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2.xml" ContentType="application/vnd.openxmlformats-officedocument.theme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theme/theme3.xml" ContentType="application/vnd.openxmlformats-officedocument.theme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theme/theme4.xml" ContentType="application/vnd.openxmlformats-officedocument.theme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2"/>
    <p:sldMasterId id="2147483841" r:id="rId3"/>
    <p:sldMasterId id="2147483915" r:id="rId4"/>
    <p:sldMasterId id="2147483991" r:id="rId5"/>
    <p:sldMasterId id="2147484053" r:id="rId6"/>
  </p:sldMasterIdLst>
  <p:notesMasterIdLst>
    <p:notesMasterId r:id="rId14"/>
  </p:notesMasterIdLst>
  <p:handoutMasterIdLst>
    <p:handoutMasterId r:id="rId15"/>
  </p:handoutMasterIdLst>
  <p:sldIdLst>
    <p:sldId id="256" r:id="rId7"/>
    <p:sldId id="2145707151" r:id="rId8"/>
    <p:sldId id="267" r:id="rId9"/>
    <p:sldId id="2145707016" r:id="rId10"/>
    <p:sldId id="2145707545" r:id="rId11"/>
    <p:sldId id="2145707550" r:id="rId12"/>
    <p:sldId id="2145707548" r:id="rId13"/>
  </p:sldIdLst>
  <p:sldSz cx="12192000" cy="6858000"/>
  <p:notesSz cx="7099300" cy="10234613"/>
  <p:embeddedFontLst>
    <p:embeddedFont>
      <p:font typeface="Skatta Sans Black" panose="00000A00000000000000" pitchFamily="2" charset="0"/>
      <p:bold r:id="rId16"/>
    </p:embeddedFont>
    <p:embeddedFont>
      <p:font typeface="Skatta Sans Bold" panose="00000800000000000000" pitchFamily="2" charset="0"/>
      <p:bold r:id="rId17"/>
    </p:embeddedFont>
    <p:embeddedFont>
      <p:font typeface="Skatta Sans Regular" panose="00000500000000000000" pitchFamily="2" charset="0"/>
      <p:regular r:id="rId18"/>
    </p:embeddedFont>
    <p:embeddedFont>
      <p:font typeface="SkattaSans-Medium" panose="00000500000000000000" pitchFamily="50" charset="0"/>
      <p:regular r:id="rId19"/>
    </p:embeddedFont>
  </p:embeddedFont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13" orient="horz" pos="1162" userDrawn="1">
          <p15:clr>
            <a:srgbClr val="A4A3A4"/>
          </p15:clr>
        </p15:guide>
        <p15:guide id="17" orient="horz" pos="3747" userDrawn="1">
          <p15:clr>
            <a:srgbClr val="A4A3A4"/>
          </p15:clr>
        </p15:guide>
        <p15:guide id="19" orient="horz" pos="346" userDrawn="1">
          <p15:clr>
            <a:srgbClr val="A4A3A4"/>
          </p15:clr>
        </p15:guide>
        <p15:guide id="26" pos="7061" userDrawn="1">
          <p15:clr>
            <a:srgbClr val="A4A3A4"/>
          </p15:clr>
        </p15:guide>
        <p15:guide id="27" pos="619" userDrawn="1">
          <p15:clr>
            <a:srgbClr val="A4A3A4"/>
          </p15:clr>
        </p15:guide>
        <p15:guide id="30" pos="3840" userDrawn="1">
          <p15:clr>
            <a:srgbClr val="A4A3A4"/>
          </p15:clr>
        </p15:guide>
        <p15:guide id="31" orient="horz" pos="1389" userDrawn="1">
          <p15:clr>
            <a:srgbClr val="A4A3A4"/>
          </p15:clr>
        </p15:guide>
        <p15:guide id="32" pos="70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6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C829F15-0A82-3E49-112C-C1312897EB30}" name="Hiltunen Reetta" initials="RH" userId="S::reetta.hiltunen@kesko.fi::e59a07ab-db9e-450f-b414-2faf196d9d33" providerId="AD"/>
  <p188:author id="{84D40A39-011F-1018-E8CC-EF386BF1E10D}" name="Soriola Susanna" initials="SS" userId="S::susanna.soriola@kesko.fi::82774290-7ce4-476b-be3d-f7599f0f3136" providerId="AD"/>
  <p188:author id="{54ECC8B0-784F-8AB6-94A6-930D66C0C9FA}" name="Saunamäki Mirjana" initials="SM" userId="S::mirjana.saunamaki@kesko.fi::6961586f-0f8f-4dcb-99c0-c448ec55c7c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6DED5"/>
    <a:srgbClr val="FF6900"/>
    <a:srgbClr val="C9C9CA"/>
    <a:srgbClr val="000000"/>
    <a:srgbClr val="25282A"/>
    <a:srgbClr val="405784"/>
    <a:srgbClr val="0020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DDC8CC2-87F2-455D-8A62-5307BA117724}" v="92" dt="2023-10-31T12:54:10.11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7514" autoAdjust="0"/>
  </p:normalViewPr>
  <p:slideViewPr>
    <p:cSldViewPr showGuides="1">
      <p:cViewPr varScale="1">
        <p:scale>
          <a:sx n="67" d="100"/>
          <a:sy n="67" d="100"/>
        </p:scale>
        <p:origin x="604" y="44"/>
      </p:cViewPr>
      <p:guideLst>
        <p:guide orient="horz" pos="2160"/>
        <p:guide orient="horz" pos="1162"/>
        <p:guide orient="horz" pos="3747"/>
        <p:guide orient="horz" pos="346"/>
        <p:guide pos="7061"/>
        <p:guide pos="619"/>
        <p:guide pos="3840"/>
        <p:guide orient="horz" pos="1389"/>
        <p:guide pos="70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howGuides="1">
      <p:cViewPr varScale="1">
        <p:scale>
          <a:sx n="79" d="100"/>
          <a:sy n="79" d="100"/>
        </p:scale>
        <p:origin x="3030" y="90"/>
      </p:cViewPr>
      <p:guideLst>
        <p:guide orient="horz" pos="3224"/>
        <p:guide pos="2236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font" Target="fonts/font3.fntdata"/><Relationship Id="rId26" Type="http://schemas.microsoft.com/office/2018/10/relationships/authors" Target="authors.xml"/><Relationship Id="rId3" Type="http://schemas.openxmlformats.org/officeDocument/2006/relationships/slideMaster" Target="slideMasters/slideMaster2.xml"/><Relationship Id="rId21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font" Target="fonts/font2.fntdata"/><Relationship Id="rId25" Type="http://schemas.microsoft.com/office/2015/10/relationships/revisionInfo" Target="revisionInfo.xml"/><Relationship Id="rId2" Type="http://schemas.openxmlformats.org/officeDocument/2006/relationships/slideMaster" Target="slideMasters/slideMaster1.xml"/><Relationship Id="rId16" Type="http://schemas.openxmlformats.org/officeDocument/2006/relationships/font" Target="fonts/font1.fntdata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5.xml"/><Relationship Id="rId11" Type="http://schemas.openxmlformats.org/officeDocument/2006/relationships/slide" Target="slides/slide5.xml"/><Relationship Id="rId24" Type="http://schemas.microsoft.com/office/2016/11/relationships/changesInfo" Target="changesInfos/changesInfo1.xml"/><Relationship Id="rId5" Type="http://schemas.openxmlformats.org/officeDocument/2006/relationships/slideMaster" Target="slideMasters/slideMaster4.xml"/><Relationship Id="rId15" Type="http://schemas.openxmlformats.org/officeDocument/2006/relationships/handoutMaster" Target="handoutMasters/handoutMaster1.xml"/><Relationship Id="rId23" Type="http://schemas.openxmlformats.org/officeDocument/2006/relationships/tableStyles" Target="tableStyles.xml"/><Relationship Id="rId28" Type="http://schemas.openxmlformats.org/officeDocument/2006/relationships/customXml" Target="../customXml/item3.xml"/><Relationship Id="rId10" Type="http://schemas.openxmlformats.org/officeDocument/2006/relationships/slide" Target="slides/slide4.xml"/><Relationship Id="rId19" Type="http://schemas.openxmlformats.org/officeDocument/2006/relationships/font" Target="fonts/font4.fntdata"/><Relationship Id="rId4" Type="http://schemas.openxmlformats.org/officeDocument/2006/relationships/slideMaster" Target="slideMasters/slideMaster3.xml"/><Relationship Id="rId9" Type="http://schemas.openxmlformats.org/officeDocument/2006/relationships/slide" Target="slides/slide3.xml"/><Relationship Id="rId14" Type="http://schemas.openxmlformats.org/officeDocument/2006/relationships/notesMaster" Target="notesMasters/notesMaster1.xml"/><Relationship Id="rId22" Type="http://schemas.openxmlformats.org/officeDocument/2006/relationships/theme" Target="theme/theme1.xml"/><Relationship Id="rId27" Type="http://schemas.openxmlformats.org/officeDocument/2006/relationships/customXml" Target="../customXml/item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ere Olli" userId="827d733d-b571-4681-89f0-a509d235f885" providerId="ADAL" clId="{5DDC8CC2-87F2-455D-8A62-5307BA117724}"/>
    <pc:docChg chg="undo custSel delSld modSld">
      <pc:chgData name="Pere Olli" userId="827d733d-b571-4681-89f0-a509d235f885" providerId="ADAL" clId="{5DDC8CC2-87F2-455D-8A62-5307BA117724}" dt="2023-10-31T12:53:59.765" v="255"/>
      <pc:docMkLst>
        <pc:docMk/>
      </pc:docMkLst>
      <pc:sldChg chg="addSp delSp modSp mod">
        <pc:chgData name="Pere Olli" userId="827d733d-b571-4681-89f0-a509d235f885" providerId="ADAL" clId="{5DDC8CC2-87F2-455D-8A62-5307BA117724}" dt="2023-10-31T12:38:42.384" v="19" actId="478"/>
        <pc:sldMkLst>
          <pc:docMk/>
          <pc:sldMk cId="548444700" sldId="256"/>
        </pc:sldMkLst>
        <pc:spChg chg="add del mod">
          <ac:chgData name="Pere Olli" userId="827d733d-b571-4681-89f0-a509d235f885" providerId="ADAL" clId="{5DDC8CC2-87F2-455D-8A62-5307BA117724}" dt="2023-10-31T12:20:29.126" v="3" actId="478"/>
          <ac:spMkLst>
            <pc:docMk/>
            <pc:sldMk cId="548444700" sldId="256"/>
            <ac:spMk id="3" creationId="{A223B35B-0961-5BD7-75E5-6D7741456710}"/>
          </ac:spMkLst>
        </pc:spChg>
        <pc:spChg chg="add del mod">
          <ac:chgData name="Pere Olli" userId="827d733d-b571-4681-89f0-a509d235f885" providerId="ADAL" clId="{5DDC8CC2-87F2-455D-8A62-5307BA117724}" dt="2023-10-31T12:20:26.249" v="2" actId="478"/>
          <ac:spMkLst>
            <pc:docMk/>
            <pc:sldMk cId="548444700" sldId="256"/>
            <ac:spMk id="5" creationId="{ABE77281-F8AD-0054-AE2B-21E6B34514DD}"/>
          </ac:spMkLst>
        </pc:spChg>
        <pc:spChg chg="del">
          <ac:chgData name="Pere Olli" userId="827d733d-b571-4681-89f0-a509d235f885" providerId="ADAL" clId="{5DDC8CC2-87F2-455D-8A62-5307BA117724}" dt="2023-10-31T12:20:23.266" v="0" actId="478"/>
          <ac:spMkLst>
            <pc:docMk/>
            <pc:sldMk cId="548444700" sldId="256"/>
            <ac:spMk id="6" creationId="{00000000-0000-0000-0000-000000000000}"/>
          </ac:spMkLst>
        </pc:spChg>
        <pc:spChg chg="del">
          <ac:chgData name="Pere Olli" userId="827d733d-b571-4681-89f0-a509d235f885" providerId="ADAL" clId="{5DDC8CC2-87F2-455D-8A62-5307BA117724}" dt="2023-10-31T12:38:42.384" v="19" actId="478"/>
          <ac:spMkLst>
            <pc:docMk/>
            <pc:sldMk cId="548444700" sldId="256"/>
            <ac:spMk id="7" creationId="{0B3BF414-5CF4-D09A-E6CE-0DB3856DBC2F}"/>
          </ac:spMkLst>
        </pc:spChg>
        <pc:spChg chg="mod">
          <ac:chgData name="Pere Olli" userId="827d733d-b571-4681-89f0-a509d235f885" providerId="ADAL" clId="{5DDC8CC2-87F2-455D-8A62-5307BA117724}" dt="2023-10-31T12:21:04.788" v="12" actId="1038"/>
          <ac:spMkLst>
            <pc:docMk/>
            <pc:sldMk cId="548444700" sldId="256"/>
            <ac:spMk id="11" creationId="{970306FE-4834-4E6B-8427-23C83963BF18}"/>
          </ac:spMkLst>
        </pc:spChg>
        <pc:spChg chg="mod">
          <ac:chgData name="Pere Olli" userId="827d733d-b571-4681-89f0-a509d235f885" providerId="ADAL" clId="{5DDC8CC2-87F2-455D-8A62-5307BA117724}" dt="2023-10-31T12:21:04.788" v="12" actId="1038"/>
          <ac:spMkLst>
            <pc:docMk/>
            <pc:sldMk cId="548444700" sldId="256"/>
            <ac:spMk id="12" creationId="{2FE22805-5812-4D10-AF53-26BEED3BA6BC}"/>
          </ac:spMkLst>
        </pc:spChg>
        <pc:grpChg chg="mod">
          <ac:chgData name="Pere Olli" userId="827d733d-b571-4681-89f0-a509d235f885" providerId="ADAL" clId="{5DDC8CC2-87F2-455D-8A62-5307BA117724}" dt="2023-10-31T12:21:04.788" v="12" actId="1038"/>
          <ac:grpSpMkLst>
            <pc:docMk/>
            <pc:sldMk cId="548444700" sldId="256"/>
            <ac:grpSpMk id="10" creationId="{64B69FDE-E535-489B-ABA7-649479301EF0}"/>
          </ac:grpSpMkLst>
        </pc:grpChg>
        <pc:picChg chg="add del mod">
          <ac:chgData name="Pere Olli" userId="827d733d-b571-4681-89f0-a509d235f885" providerId="ADAL" clId="{5DDC8CC2-87F2-455D-8A62-5307BA117724}" dt="2023-10-31T12:20:51.915" v="9" actId="1076"/>
          <ac:picMkLst>
            <pc:docMk/>
            <pc:sldMk cId="548444700" sldId="256"/>
            <ac:picMk id="8" creationId="{3D6E5299-CCF1-15BA-139A-C67A05122810}"/>
          </ac:picMkLst>
        </pc:picChg>
      </pc:sldChg>
      <pc:sldChg chg="modSp mod">
        <pc:chgData name="Pere Olli" userId="827d733d-b571-4681-89f0-a509d235f885" providerId="ADAL" clId="{5DDC8CC2-87F2-455D-8A62-5307BA117724}" dt="2023-10-31T12:53:59.765" v="255"/>
        <pc:sldMkLst>
          <pc:docMk/>
          <pc:sldMk cId="2047774572" sldId="267"/>
        </pc:sldMkLst>
        <pc:spChg chg="mod">
          <ac:chgData name="Pere Olli" userId="827d733d-b571-4681-89f0-a509d235f885" providerId="ADAL" clId="{5DDC8CC2-87F2-455D-8A62-5307BA117724}" dt="2023-10-31T12:53:59.765" v="255"/>
          <ac:spMkLst>
            <pc:docMk/>
            <pc:sldMk cId="2047774572" sldId="267"/>
            <ac:spMk id="2" creationId="{A2FEF0B2-92C0-C65D-2A88-C3D83672BE1F}"/>
          </ac:spMkLst>
        </pc:spChg>
        <pc:spChg chg="mod">
          <ac:chgData name="Pere Olli" userId="827d733d-b571-4681-89f0-a509d235f885" providerId="ADAL" clId="{5DDC8CC2-87F2-455D-8A62-5307BA117724}" dt="2023-10-31T12:42:38.568" v="56" actId="255"/>
          <ac:spMkLst>
            <pc:docMk/>
            <pc:sldMk cId="2047774572" sldId="267"/>
            <ac:spMk id="3" creationId="{F018B7AB-B567-5C37-9FB4-81A339DF5A91}"/>
          </ac:spMkLst>
        </pc:spChg>
        <pc:spChg chg="mod">
          <ac:chgData name="Pere Olli" userId="827d733d-b571-4681-89f0-a509d235f885" providerId="ADAL" clId="{5DDC8CC2-87F2-455D-8A62-5307BA117724}" dt="2023-10-31T12:43:33.407" v="66" actId="14100"/>
          <ac:spMkLst>
            <pc:docMk/>
            <pc:sldMk cId="2047774572" sldId="267"/>
            <ac:spMk id="4" creationId="{00000000-0000-0000-0000-000000000000}"/>
          </ac:spMkLst>
        </pc:spChg>
        <pc:spChg chg="mod">
          <ac:chgData name="Pere Olli" userId="827d733d-b571-4681-89f0-a509d235f885" providerId="ADAL" clId="{5DDC8CC2-87F2-455D-8A62-5307BA117724}" dt="2023-10-31T12:44:33.326" v="101" actId="20577"/>
          <ac:spMkLst>
            <pc:docMk/>
            <pc:sldMk cId="2047774572" sldId="267"/>
            <ac:spMk id="5" creationId="{00000000-0000-0000-0000-000000000000}"/>
          </ac:spMkLst>
        </pc:spChg>
        <pc:spChg chg="mod">
          <ac:chgData name="Pere Olli" userId="827d733d-b571-4681-89f0-a509d235f885" providerId="ADAL" clId="{5DDC8CC2-87F2-455D-8A62-5307BA117724}" dt="2023-10-31T12:42:36.272" v="55" actId="255"/>
          <ac:spMkLst>
            <pc:docMk/>
            <pc:sldMk cId="2047774572" sldId="267"/>
            <ac:spMk id="6" creationId="{E080A6CA-A7FC-2F73-8737-6DA2D0273218}"/>
          </ac:spMkLst>
        </pc:spChg>
        <pc:spChg chg="mod">
          <ac:chgData name="Pere Olli" userId="827d733d-b571-4681-89f0-a509d235f885" providerId="ADAL" clId="{5DDC8CC2-87F2-455D-8A62-5307BA117724}" dt="2023-10-31T12:43:24.681" v="64" actId="1038"/>
          <ac:spMkLst>
            <pc:docMk/>
            <pc:sldMk cId="2047774572" sldId="267"/>
            <ac:spMk id="20" creationId="{31FEA3DA-91F8-403D-8B65-62C5E38063E6}"/>
          </ac:spMkLst>
        </pc:spChg>
        <pc:spChg chg="mod">
          <ac:chgData name="Pere Olli" userId="827d733d-b571-4681-89f0-a509d235f885" providerId="ADAL" clId="{5DDC8CC2-87F2-455D-8A62-5307BA117724}" dt="2023-10-31T12:43:24.681" v="64" actId="1038"/>
          <ac:spMkLst>
            <pc:docMk/>
            <pc:sldMk cId="2047774572" sldId="267"/>
            <ac:spMk id="21" creationId="{990284F9-FF0A-C257-031A-7A91DE17DF69}"/>
          </ac:spMkLst>
        </pc:spChg>
        <pc:grpChg chg="mod">
          <ac:chgData name="Pere Olli" userId="827d733d-b571-4681-89f0-a509d235f885" providerId="ADAL" clId="{5DDC8CC2-87F2-455D-8A62-5307BA117724}" dt="2023-10-31T12:43:24.681" v="64" actId="1038"/>
          <ac:grpSpMkLst>
            <pc:docMk/>
            <pc:sldMk cId="2047774572" sldId="267"/>
            <ac:grpSpMk id="19" creationId="{4C245598-2686-6A29-DDB8-4579E5F35EF5}"/>
          </ac:grpSpMkLst>
        </pc:grpChg>
        <pc:picChg chg="mod">
          <ac:chgData name="Pere Olli" userId="827d733d-b571-4681-89f0-a509d235f885" providerId="ADAL" clId="{5DDC8CC2-87F2-455D-8A62-5307BA117724}" dt="2023-10-31T12:41:35.451" v="31" actId="1035"/>
          <ac:picMkLst>
            <pc:docMk/>
            <pc:sldMk cId="2047774572" sldId="267"/>
            <ac:picMk id="11" creationId="{AC58A25F-421C-D070-20CA-F5CBCD7F3F8E}"/>
          </ac:picMkLst>
        </pc:picChg>
      </pc:sldChg>
      <pc:sldChg chg="del">
        <pc:chgData name="Pere Olli" userId="827d733d-b571-4681-89f0-a509d235f885" providerId="ADAL" clId="{5DDC8CC2-87F2-455D-8A62-5307BA117724}" dt="2023-10-31T12:24:47.653" v="13" actId="47"/>
        <pc:sldMkLst>
          <pc:docMk/>
          <pc:sldMk cId="1278158220" sldId="2145707045"/>
        </pc:sldMkLst>
      </pc:sldChg>
      <pc:sldChg chg="del">
        <pc:chgData name="Pere Olli" userId="827d733d-b571-4681-89f0-a509d235f885" providerId="ADAL" clId="{5DDC8CC2-87F2-455D-8A62-5307BA117724}" dt="2023-10-31T12:24:59.395" v="14" actId="47"/>
        <pc:sldMkLst>
          <pc:docMk/>
          <pc:sldMk cId="4060873341" sldId="2145707544"/>
        </pc:sldMkLst>
      </pc:sldChg>
      <pc:sldChg chg="del">
        <pc:chgData name="Pere Olli" userId="827d733d-b571-4681-89f0-a509d235f885" providerId="ADAL" clId="{5DDC8CC2-87F2-455D-8A62-5307BA117724}" dt="2023-10-31T12:25:43.109" v="15" actId="47"/>
        <pc:sldMkLst>
          <pc:docMk/>
          <pc:sldMk cId="2619493554" sldId="2145707546"/>
        </pc:sldMkLst>
      </pc:sldChg>
      <pc:sldChg chg="del">
        <pc:chgData name="Pere Olli" userId="827d733d-b571-4681-89f0-a509d235f885" providerId="ADAL" clId="{5DDC8CC2-87F2-455D-8A62-5307BA117724}" dt="2023-10-31T12:25:46.178" v="17" actId="47"/>
        <pc:sldMkLst>
          <pc:docMk/>
          <pc:sldMk cId="279995888" sldId="2145707547"/>
        </pc:sldMkLst>
      </pc:sldChg>
      <pc:sldChg chg="del">
        <pc:chgData name="Pere Olli" userId="827d733d-b571-4681-89f0-a509d235f885" providerId="ADAL" clId="{5DDC8CC2-87F2-455D-8A62-5307BA117724}" dt="2023-10-31T12:33:04.265" v="18" actId="47"/>
        <pc:sldMkLst>
          <pc:docMk/>
          <pc:sldMk cId="2583212137" sldId="2145707551"/>
        </pc:sldMkLst>
      </pc:sldChg>
      <pc:sldChg chg="del">
        <pc:chgData name="Pere Olli" userId="827d733d-b571-4681-89f0-a509d235f885" providerId="ADAL" clId="{5DDC8CC2-87F2-455D-8A62-5307BA117724}" dt="2023-10-31T12:25:43.792" v="16" actId="47"/>
        <pc:sldMkLst>
          <pc:docMk/>
          <pc:sldMk cId="3537418877" sldId="2145707559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fi-FI" sz="9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A24CEB10-A7DA-4BF4-8BC5-A69CEF610D13}" type="datetimeFigureOut">
              <a:rPr lang="fi-FI" sz="900"/>
              <a:t>30.10.2023</a:t>
            </a:fld>
            <a:endParaRPr lang="fi-FI" sz="9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fi-FI" sz="9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BC41B3E2-863E-4496-B1EE-7C884CE27582}" type="slidenum">
              <a:rPr lang="fi-FI" sz="900"/>
              <a:t>‹#›</a:t>
            </a:fld>
            <a:endParaRPr lang="fi-FI" sz="900"/>
          </a:p>
        </p:txBody>
      </p:sp>
    </p:spTree>
    <p:extLst>
      <p:ext uri="{BB962C8B-B14F-4D97-AF65-F5344CB8AC3E}">
        <p14:creationId xmlns:p14="http://schemas.microsoft.com/office/powerpoint/2010/main" val="423867834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3223" userDrawn="1">
          <p15:clr>
            <a:srgbClr val="F26B43"/>
          </p15:clr>
        </p15:guide>
        <p15:guide id="2" pos="2236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900">
                <a:latin typeface="Skatta Sans Regular" pitchFamily="50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900">
                <a:latin typeface="Skatta Sans Regular" pitchFamily="50" charset="0"/>
              </a:defRPr>
            </a:lvl1pPr>
          </a:lstStyle>
          <a:p>
            <a:fld id="{9A19BAB7-70E9-4D39-952C-0E10F232EE6A}" type="datetimeFigureOut">
              <a:rPr lang="en-GB" smtClean="0"/>
              <a:pPr/>
              <a:t>30/10/202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900">
                <a:latin typeface="Skatta Sans Regular" pitchFamily="50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900">
                <a:latin typeface="Skatta Sans Regular" pitchFamily="50" charset="0"/>
              </a:defRPr>
            </a:lvl1pPr>
          </a:lstStyle>
          <a:p>
            <a:fld id="{B04539E8-4E7E-4BB6-978F-213AF828377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46847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Skatta Sans Regular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Skatta Sans Regular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Skatta Sans Regular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Skatta Sans Regular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Skatta Sans Regular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3223" userDrawn="1">
          <p15:clr>
            <a:srgbClr val="F26B43"/>
          </p15:clr>
        </p15:guide>
        <p15:guide id="2" pos="2236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  <a:p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4539E8-4E7E-4BB6-978F-213AF828377E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katta Sans Regular" pitchFamily="50" charset="0"/>
                <a:ea typeface="+mn-ea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katta Sans Regular" pitchFamily="50" charset="0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746818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4539E8-4E7E-4BB6-978F-213AF828377E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katta Sans Regular" pitchFamily="50" charset="0"/>
                <a:ea typeface="+mn-ea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katta Sans Regular" pitchFamily="50" charset="0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357599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A607427-79FA-44C9-98B1-E81F4156867C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RIA - RKL yrittäjäpäivä 1.11.202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Freeform 12">
            <a:extLst>
              <a:ext uri="{FF2B5EF4-FFF2-40B4-BE49-F238E27FC236}">
                <a16:creationId xmlns:a16="http://schemas.microsoft.com/office/drawing/2014/main" id="{3F6E8BCC-5353-CF01-3647-1ADAA000F05D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511825" y="0"/>
            <a:ext cx="7680176" cy="3431498"/>
          </a:xfrm>
          <a:custGeom>
            <a:avLst/>
            <a:gdLst>
              <a:gd name="T0" fmla="*/ 1118 w 7030"/>
              <a:gd name="T1" fmla="*/ 1944 h 3141"/>
              <a:gd name="T2" fmla="*/ 1437 w 7030"/>
              <a:gd name="T3" fmla="*/ 1496 h 3141"/>
              <a:gd name="T4" fmla="*/ 1756 w 7030"/>
              <a:gd name="T5" fmla="*/ 1049 h 3141"/>
              <a:gd name="T6" fmla="*/ 1757 w 7030"/>
              <a:gd name="T7" fmla="*/ 1049 h 3141"/>
              <a:gd name="T8" fmla="*/ 2131 w 7030"/>
              <a:gd name="T9" fmla="*/ 1570 h 3141"/>
              <a:gd name="T10" fmla="*/ 2504 w 7030"/>
              <a:gd name="T11" fmla="*/ 2092 h 3141"/>
              <a:gd name="T12" fmla="*/ 2184 w 7030"/>
              <a:gd name="T13" fmla="*/ 2542 h 3141"/>
              <a:gd name="T14" fmla="*/ 1864 w 7030"/>
              <a:gd name="T15" fmla="*/ 2991 h 3141"/>
              <a:gd name="T16" fmla="*/ 1491 w 7030"/>
              <a:gd name="T17" fmla="*/ 2468 h 3141"/>
              <a:gd name="T18" fmla="*/ 1118 w 7030"/>
              <a:gd name="T19" fmla="*/ 1944 h 3141"/>
              <a:gd name="T20" fmla="*/ 1971 w 7030"/>
              <a:gd name="T21" fmla="*/ 1049 h 3141"/>
              <a:gd name="T22" fmla="*/ 2556 w 7030"/>
              <a:gd name="T23" fmla="*/ 1049 h 3141"/>
              <a:gd name="T24" fmla="*/ 2928 w 7030"/>
              <a:gd name="T25" fmla="*/ 1570 h 3141"/>
              <a:gd name="T26" fmla="*/ 3300 w 7030"/>
              <a:gd name="T27" fmla="*/ 2092 h 3141"/>
              <a:gd name="T28" fmla="*/ 2718 w 7030"/>
              <a:gd name="T29" fmla="*/ 2092 h 3141"/>
              <a:gd name="T30" fmla="*/ 2345 w 7030"/>
              <a:gd name="T31" fmla="*/ 1570 h 3141"/>
              <a:gd name="T32" fmla="*/ 1971 w 7030"/>
              <a:gd name="T33" fmla="*/ 1049 h 3141"/>
              <a:gd name="T34" fmla="*/ 2769 w 7030"/>
              <a:gd name="T35" fmla="*/ 1048 h 3141"/>
              <a:gd name="T36" fmla="*/ 3088 w 7030"/>
              <a:gd name="T37" fmla="*/ 598 h 3141"/>
              <a:gd name="T38" fmla="*/ 3408 w 7030"/>
              <a:gd name="T39" fmla="*/ 150 h 3141"/>
              <a:gd name="T40" fmla="*/ 3781 w 7030"/>
              <a:gd name="T41" fmla="*/ 672 h 3141"/>
              <a:gd name="T42" fmla="*/ 4154 w 7030"/>
              <a:gd name="T43" fmla="*/ 1196 h 3141"/>
              <a:gd name="T44" fmla="*/ 3835 w 7030"/>
              <a:gd name="T45" fmla="*/ 1644 h 3141"/>
              <a:gd name="T46" fmla="*/ 3516 w 7030"/>
              <a:gd name="T47" fmla="*/ 2092 h 3141"/>
              <a:gd name="T48" fmla="*/ 3142 w 7030"/>
              <a:gd name="T49" fmla="*/ 1570 h 3141"/>
              <a:gd name="T50" fmla="*/ 2769 w 7030"/>
              <a:gd name="T51" fmla="*/ 1048 h 3141"/>
              <a:gd name="T52" fmla="*/ 6017 w 7030"/>
              <a:gd name="T53" fmla="*/ 0 h 3141"/>
              <a:gd name="T54" fmla="*/ 5645 w 7030"/>
              <a:gd name="T55" fmla="*/ 522 h 3141"/>
              <a:gd name="T56" fmla="*/ 5274 w 7030"/>
              <a:gd name="T57" fmla="*/ 1045 h 3141"/>
              <a:gd name="T58" fmla="*/ 4767 w 7030"/>
              <a:gd name="T59" fmla="*/ 1045 h 3141"/>
              <a:gd name="T60" fmla="*/ 4261 w 7030"/>
              <a:gd name="T61" fmla="*/ 1045 h 3141"/>
              <a:gd name="T62" fmla="*/ 3889 w 7030"/>
              <a:gd name="T63" fmla="*/ 522 h 3141"/>
              <a:gd name="T64" fmla="*/ 3517 w 7030"/>
              <a:gd name="T65" fmla="*/ 0 h 3141"/>
              <a:gd name="T66" fmla="*/ 3009 w 7030"/>
              <a:gd name="T67" fmla="*/ 0 h 3141"/>
              <a:gd name="T68" fmla="*/ 2503 w 7030"/>
              <a:gd name="T69" fmla="*/ 0 h 3141"/>
              <a:gd name="T70" fmla="*/ 2131 w 7030"/>
              <a:gd name="T71" fmla="*/ 522 h 3141"/>
              <a:gd name="T72" fmla="*/ 1759 w 7030"/>
              <a:gd name="T73" fmla="*/ 1045 h 3141"/>
              <a:gd name="T74" fmla="*/ 1253 w 7030"/>
              <a:gd name="T75" fmla="*/ 1045 h 3141"/>
              <a:gd name="T76" fmla="*/ 747 w 7030"/>
              <a:gd name="T77" fmla="*/ 1045 h 3141"/>
              <a:gd name="T78" fmla="*/ 373 w 7030"/>
              <a:gd name="T79" fmla="*/ 1569 h 3141"/>
              <a:gd name="T80" fmla="*/ 0 w 7030"/>
              <a:gd name="T81" fmla="*/ 2093 h 3141"/>
              <a:gd name="T82" fmla="*/ 504 w 7030"/>
              <a:gd name="T83" fmla="*/ 2093 h 3141"/>
              <a:gd name="T84" fmla="*/ 1010 w 7030"/>
              <a:gd name="T85" fmla="*/ 2093 h 3141"/>
              <a:gd name="T86" fmla="*/ 1383 w 7030"/>
              <a:gd name="T87" fmla="*/ 2617 h 3141"/>
              <a:gd name="T88" fmla="*/ 1756 w 7030"/>
              <a:gd name="T89" fmla="*/ 3141 h 3141"/>
              <a:gd name="T90" fmla="*/ 1757 w 7030"/>
              <a:gd name="T91" fmla="*/ 3141 h 3141"/>
              <a:gd name="T92" fmla="*/ 1971 w 7030"/>
              <a:gd name="T93" fmla="*/ 3141 h 3141"/>
              <a:gd name="T94" fmla="*/ 2770 w 7030"/>
              <a:gd name="T95" fmla="*/ 3141 h 3141"/>
              <a:gd name="T96" fmla="*/ 3143 w 7030"/>
              <a:gd name="T97" fmla="*/ 2617 h 3141"/>
              <a:gd name="T98" fmla="*/ 3517 w 7030"/>
              <a:gd name="T99" fmla="*/ 2093 h 3141"/>
              <a:gd name="T100" fmla="*/ 4022 w 7030"/>
              <a:gd name="T101" fmla="*/ 2093 h 3141"/>
              <a:gd name="T102" fmla="*/ 4527 w 7030"/>
              <a:gd name="T103" fmla="*/ 2093 h 3141"/>
              <a:gd name="T104" fmla="*/ 4898 w 7030"/>
              <a:gd name="T105" fmla="*/ 1571 h 3141"/>
              <a:gd name="T106" fmla="*/ 5271 w 7030"/>
              <a:gd name="T107" fmla="*/ 1049 h 3141"/>
              <a:gd name="T108" fmla="*/ 5777 w 7030"/>
              <a:gd name="T109" fmla="*/ 1049 h 3141"/>
              <a:gd name="T110" fmla="*/ 6283 w 7030"/>
              <a:gd name="T111" fmla="*/ 1049 h 3141"/>
              <a:gd name="T112" fmla="*/ 6657 w 7030"/>
              <a:gd name="T113" fmla="*/ 524 h 3141"/>
              <a:gd name="T114" fmla="*/ 7030 w 7030"/>
              <a:gd name="T115" fmla="*/ 0 h 3141"/>
              <a:gd name="T116" fmla="*/ 6524 w 7030"/>
              <a:gd name="T117" fmla="*/ 0 h 3141"/>
              <a:gd name="T118" fmla="*/ 6017 w 7030"/>
              <a:gd name="T119" fmla="*/ 0 h 3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030" h="3141">
                <a:moveTo>
                  <a:pt x="1118" y="1944"/>
                </a:moveTo>
                <a:lnTo>
                  <a:pt x="1437" y="1496"/>
                </a:lnTo>
                <a:lnTo>
                  <a:pt x="1756" y="1049"/>
                </a:lnTo>
                <a:lnTo>
                  <a:pt x="1757" y="1049"/>
                </a:lnTo>
                <a:lnTo>
                  <a:pt x="2131" y="1570"/>
                </a:lnTo>
                <a:lnTo>
                  <a:pt x="2504" y="2092"/>
                </a:lnTo>
                <a:lnTo>
                  <a:pt x="2184" y="2542"/>
                </a:lnTo>
                <a:lnTo>
                  <a:pt x="1864" y="2991"/>
                </a:lnTo>
                <a:lnTo>
                  <a:pt x="1491" y="2468"/>
                </a:lnTo>
                <a:lnTo>
                  <a:pt x="1118" y="1944"/>
                </a:lnTo>
                <a:close/>
                <a:moveTo>
                  <a:pt x="1971" y="1049"/>
                </a:moveTo>
                <a:lnTo>
                  <a:pt x="2556" y="1049"/>
                </a:lnTo>
                <a:lnTo>
                  <a:pt x="2928" y="1570"/>
                </a:lnTo>
                <a:lnTo>
                  <a:pt x="3300" y="2092"/>
                </a:lnTo>
                <a:lnTo>
                  <a:pt x="2718" y="2092"/>
                </a:lnTo>
                <a:lnTo>
                  <a:pt x="2345" y="1570"/>
                </a:lnTo>
                <a:lnTo>
                  <a:pt x="1971" y="1049"/>
                </a:lnTo>
                <a:close/>
                <a:moveTo>
                  <a:pt x="2769" y="1048"/>
                </a:moveTo>
                <a:lnTo>
                  <a:pt x="3088" y="598"/>
                </a:lnTo>
                <a:lnTo>
                  <a:pt x="3408" y="150"/>
                </a:lnTo>
                <a:lnTo>
                  <a:pt x="3781" y="672"/>
                </a:lnTo>
                <a:lnTo>
                  <a:pt x="4154" y="1196"/>
                </a:lnTo>
                <a:lnTo>
                  <a:pt x="3835" y="1644"/>
                </a:lnTo>
                <a:lnTo>
                  <a:pt x="3516" y="2092"/>
                </a:lnTo>
                <a:lnTo>
                  <a:pt x="3142" y="1570"/>
                </a:lnTo>
                <a:lnTo>
                  <a:pt x="2769" y="1048"/>
                </a:lnTo>
                <a:close/>
                <a:moveTo>
                  <a:pt x="6017" y="0"/>
                </a:moveTo>
                <a:lnTo>
                  <a:pt x="5645" y="522"/>
                </a:lnTo>
                <a:lnTo>
                  <a:pt x="5274" y="1045"/>
                </a:lnTo>
                <a:lnTo>
                  <a:pt x="4767" y="1045"/>
                </a:lnTo>
                <a:lnTo>
                  <a:pt x="4261" y="1045"/>
                </a:lnTo>
                <a:lnTo>
                  <a:pt x="3889" y="522"/>
                </a:lnTo>
                <a:lnTo>
                  <a:pt x="3517" y="0"/>
                </a:lnTo>
                <a:lnTo>
                  <a:pt x="3009" y="0"/>
                </a:lnTo>
                <a:lnTo>
                  <a:pt x="2503" y="0"/>
                </a:lnTo>
                <a:lnTo>
                  <a:pt x="2131" y="522"/>
                </a:lnTo>
                <a:lnTo>
                  <a:pt x="1759" y="1045"/>
                </a:lnTo>
                <a:lnTo>
                  <a:pt x="1253" y="1045"/>
                </a:lnTo>
                <a:lnTo>
                  <a:pt x="747" y="1045"/>
                </a:lnTo>
                <a:lnTo>
                  <a:pt x="373" y="1569"/>
                </a:lnTo>
                <a:lnTo>
                  <a:pt x="0" y="2093"/>
                </a:lnTo>
                <a:lnTo>
                  <a:pt x="504" y="2093"/>
                </a:lnTo>
                <a:lnTo>
                  <a:pt x="1010" y="2093"/>
                </a:lnTo>
                <a:lnTo>
                  <a:pt x="1383" y="2617"/>
                </a:lnTo>
                <a:lnTo>
                  <a:pt x="1756" y="3141"/>
                </a:lnTo>
                <a:lnTo>
                  <a:pt x="1757" y="3141"/>
                </a:lnTo>
                <a:lnTo>
                  <a:pt x="1971" y="3141"/>
                </a:lnTo>
                <a:lnTo>
                  <a:pt x="2770" y="3141"/>
                </a:lnTo>
                <a:lnTo>
                  <a:pt x="3143" y="2617"/>
                </a:lnTo>
                <a:lnTo>
                  <a:pt x="3517" y="2093"/>
                </a:lnTo>
                <a:lnTo>
                  <a:pt x="4022" y="2093"/>
                </a:lnTo>
                <a:lnTo>
                  <a:pt x="4527" y="2093"/>
                </a:lnTo>
                <a:lnTo>
                  <a:pt x="4898" y="1571"/>
                </a:lnTo>
                <a:lnTo>
                  <a:pt x="5271" y="1049"/>
                </a:lnTo>
                <a:lnTo>
                  <a:pt x="5777" y="1049"/>
                </a:lnTo>
                <a:lnTo>
                  <a:pt x="6283" y="1049"/>
                </a:lnTo>
                <a:lnTo>
                  <a:pt x="6657" y="524"/>
                </a:lnTo>
                <a:lnTo>
                  <a:pt x="7030" y="0"/>
                </a:lnTo>
                <a:lnTo>
                  <a:pt x="6524" y="0"/>
                </a:lnTo>
                <a:lnTo>
                  <a:pt x="6017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D384FA6-9F8B-73E8-9AB3-FEA935225E2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83432" y="3429000"/>
            <a:ext cx="4057774" cy="576000"/>
            <a:chOff x="-649288" y="2474913"/>
            <a:chExt cx="13498513" cy="1916112"/>
          </a:xfrm>
        </p:grpSpPr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3BFC7D33-8963-577B-3B56-732392617D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15">
              <a:extLst>
                <a:ext uri="{FF2B5EF4-FFF2-40B4-BE49-F238E27FC236}">
                  <a16:creationId xmlns:a16="http://schemas.microsoft.com/office/drawing/2014/main" id="{C0136CD6-A287-2A01-CF08-A624338CE4D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738465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343026" y="2348879"/>
            <a:ext cx="9505949" cy="223264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343025" y="1844675"/>
            <a:ext cx="950595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1343025" y="5229225"/>
            <a:ext cx="9505950" cy="720726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A77F1BC-06B4-4C6C-BADC-795DF9575347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IA - RKL yrittäjäpäivä 1.11.2023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E71F3B9-495D-6431-42F3-4996DE9BBD4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368" y="404664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6" name="Freeform 14">
              <a:extLst>
                <a:ext uri="{FF2B5EF4-FFF2-40B4-BE49-F238E27FC236}">
                  <a16:creationId xmlns:a16="http://schemas.microsoft.com/office/drawing/2014/main" id="{B58EE95E-1DBB-05D2-39C2-0A95F82FFFB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15">
              <a:extLst>
                <a:ext uri="{FF2B5EF4-FFF2-40B4-BE49-F238E27FC236}">
                  <a16:creationId xmlns:a16="http://schemas.microsoft.com/office/drawing/2014/main" id="{431AA149-E2D6-F893-8E95-5111124F507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401331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1/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82663" y="404664"/>
            <a:ext cx="4537273" cy="1008063"/>
          </a:xfrm>
        </p:spPr>
        <p:txBody>
          <a:bodyPr anchor="t" anchorCtr="0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982663" y="1844675"/>
            <a:ext cx="4537273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8452500-3293-4114-85F4-9E2B0352C211}" type="datetime1">
              <a:rPr lang="fi-FI" smtClean="0">
                <a:solidFill>
                  <a:srgbClr val="FF6900"/>
                </a:solidFill>
              </a:rPr>
              <a:t>31.10.2023</a:t>
            </a:fld>
            <a:endParaRPr lang="en-US">
              <a:solidFill>
                <a:srgbClr val="FF69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i-FI">
                <a:solidFill>
                  <a:srgbClr val="FF6900"/>
                </a:solidFill>
              </a:rPr>
              <a:t>RIA - RKL yrittäjäpäivä 1.11.2023</a:t>
            </a:r>
            <a:endParaRPr lang="en-US">
              <a:solidFill>
                <a:srgbClr val="FF69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1FEE6BA-E83C-4FBF-B719-E6671631796F}" type="slidenum">
              <a:rPr lang="en-US" smtClean="0">
                <a:solidFill>
                  <a:srgbClr val="FF6900"/>
                </a:solidFill>
              </a:rPr>
              <a:pPr/>
              <a:t>‹#›</a:t>
            </a:fld>
            <a:endParaRPr lang="en-US">
              <a:solidFill>
                <a:srgbClr val="FF69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9255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1/2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672065" y="404664"/>
            <a:ext cx="4537273" cy="1008063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672065" y="1844675"/>
            <a:ext cx="4537273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6096000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4DB6471E-18B4-4732-8AA1-241CC60047B6}" type="datetime1">
              <a:rPr lang="fi-FI" smtClean="0">
                <a:solidFill>
                  <a:srgbClr val="FF6900"/>
                </a:solidFill>
              </a:rPr>
              <a:t>31.10.2023</a:t>
            </a:fld>
            <a:endParaRPr lang="en-US">
              <a:solidFill>
                <a:srgbClr val="FF69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i-FI">
                <a:solidFill>
                  <a:srgbClr val="FF6900"/>
                </a:solidFill>
              </a:rPr>
              <a:t>RIA - RKL yrittäjäpäivä 1.11.2023</a:t>
            </a:r>
            <a:endParaRPr lang="en-US">
              <a:solidFill>
                <a:srgbClr val="FF69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1FEE6BA-E83C-4FBF-B719-E6671631796F}" type="slidenum">
              <a:rPr lang="en-US" smtClean="0">
                <a:solidFill>
                  <a:srgbClr val="FF6900"/>
                </a:solidFill>
              </a:rPr>
              <a:pPr/>
              <a:t>‹#›</a:t>
            </a:fld>
            <a:endParaRPr lang="en-US">
              <a:solidFill>
                <a:srgbClr val="FF69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1250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1/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82663" y="404664"/>
            <a:ext cx="6553497" cy="1008063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982663" y="1844675"/>
            <a:ext cx="6553497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8112224" y="0"/>
            <a:ext cx="4079776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BB6102EB-2BEF-4DF0-BFAB-586927807C16}" type="datetime1">
              <a:rPr lang="fi-FI" smtClean="0">
                <a:solidFill>
                  <a:srgbClr val="FF6900"/>
                </a:solidFill>
              </a:rPr>
              <a:t>31.10.2023</a:t>
            </a:fld>
            <a:endParaRPr lang="en-US">
              <a:solidFill>
                <a:srgbClr val="FF69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i-FI">
                <a:solidFill>
                  <a:srgbClr val="FF6900"/>
                </a:solidFill>
              </a:rPr>
              <a:t>RIA - RKL yrittäjäpäivä 1.11.2023</a:t>
            </a:r>
            <a:endParaRPr lang="en-US">
              <a:solidFill>
                <a:srgbClr val="FF69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1FEE6BA-E83C-4FBF-B719-E6671631796F}" type="slidenum">
              <a:rPr lang="en-US" smtClean="0">
                <a:solidFill>
                  <a:srgbClr val="FF6900"/>
                </a:solidFill>
              </a:rPr>
              <a:pPr/>
              <a:t>‹#›</a:t>
            </a:fld>
            <a:endParaRPr lang="en-US">
              <a:solidFill>
                <a:srgbClr val="FF69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4613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1/3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655840" y="404664"/>
            <a:ext cx="6553497" cy="1008063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655840" y="1844675"/>
            <a:ext cx="6553497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-1960" y="0"/>
            <a:ext cx="4081736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8AA03E7-6647-422B-8036-3BC646DC9A41}" type="datetime1">
              <a:rPr lang="fi-FI" smtClean="0">
                <a:solidFill>
                  <a:srgbClr val="FF6900"/>
                </a:solidFill>
              </a:rPr>
              <a:t>31.10.2023</a:t>
            </a:fld>
            <a:endParaRPr lang="en-US">
              <a:solidFill>
                <a:srgbClr val="FF69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1FEE6BA-E83C-4FBF-B719-E6671631796F}" type="slidenum">
              <a:rPr lang="en-US" smtClean="0">
                <a:solidFill>
                  <a:srgbClr val="FF6900"/>
                </a:solidFill>
              </a:rPr>
              <a:pPr/>
              <a:t>‹#›</a:t>
            </a:fld>
            <a:endParaRPr lang="en-US">
              <a:solidFill>
                <a:srgbClr val="FF69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1988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Orange 1/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82663" y="404664"/>
            <a:ext cx="6553497" cy="1008063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982663" y="1844675"/>
            <a:ext cx="6553497" cy="41052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8112224" y="0"/>
            <a:ext cx="4079776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D398F2-36B6-4734-85AD-423761FC2803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0186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Orange 1/3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655840" y="404664"/>
            <a:ext cx="6553497" cy="1008063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655840" y="1844675"/>
            <a:ext cx="6553497" cy="41052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-1960" y="0"/>
            <a:ext cx="4081736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CC55533-AB00-4017-9A74-A98ED69B5E6D}" type="datetime1">
              <a:rPr lang="fi-FI" smtClean="0">
                <a:solidFill>
                  <a:srgbClr val="FF6900"/>
                </a:solidFill>
              </a:rPr>
              <a:t>31.10.2023</a:t>
            </a:fld>
            <a:endParaRPr lang="en-US">
              <a:solidFill>
                <a:srgbClr val="FF69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1FEE6BA-E83C-4FBF-B719-E6671631796F}" type="slidenum">
              <a:rPr lang="en-US" smtClean="0">
                <a:solidFill>
                  <a:srgbClr val="FF6900"/>
                </a:solidFill>
              </a:rPr>
              <a:pPr/>
              <a:t>‹#›</a:t>
            </a:fld>
            <a:endParaRPr lang="en-US">
              <a:solidFill>
                <a:srgbClr val="FF6900"/>
              </a:solidFill>
            </a:endParaRPr>
          </a:p>
        </p:txBody>
      </p:sp>
      <p:sp>
        <p:nvSpPr>
          <p:cNvPr id="9" name="Freeform 6">
            <a:extLst>
              <a:ext uri="{FF2B5EF4-FFF2-40B4-BE49-F238E27FC236}">
                <a16:creationId xmlns:a16="http://schemas.microsoft.com/office/drawing/2014/main" id="{A2ADABD8-63EF-412B-829C-4AA2E0A2FE78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11418061" y="6051504"/>
            <a:ext cx="360000" cy="401832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9336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Ar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D6F04AC9-97C7-4946-8966-6775CEB077DA}"/>
              </a:ext>
            </a:extLst>
          </p:cNvPr>
          <p:cNvSpPr/>
          <p:nvPr userDrawn="1"/>
        </p:nvSpPr>
        <p:spPr>
          <a:xfrm>
            <a:off x="6312024" y="1844675"/>
            <a:ext cx="4897314" cy="4105275"/>
          </a:xfrm>
          <a:custGeom>
            <a:avLst/>
            <a:gdLst>
              <a:gd name="connsiteX0" fmla="*/ 0 w 4897314"/>
              <a:gd name="connsiteY0" fmla="*/ 0 h 4105275"/>
              <a:gd name="connsiteX1" fmla="*/ 4897314 w 4897314"/>
              <a:gd name="connsiteY1" fmla="*/ 0 h 4105275"/>
              <a:gd name="connsiteX2" fmla="*/ 4897314 w 4897314"/>
              <a:gd name="connsiteY2" fmla="*/ 4105275 h 4105275"/>
              <a:gd name="connsiteX3" fmla="*/ 0 w 4897314"/>
              <a:gd name="connsiteY3" fmla="*/ 4105275 h 4105275"/>
              <a:gd name="connsiteX4" fmla="*/ 0 w 4897314"/>
              <a:gd name="connsiteY4" fmla="*/ 864245 h 4105275"/>
              <a:gd name="connsiteX5" fmla="*/ 216024 w 4897314"/>
              <a:gd name="connsiteY5" fmla="*/ 648221 h 4105275"/>
              <a:gd name="connsiteX6" fmla="*/ 0 w 4897314"/>
              <a:gd name="connsiteY6" fmla="*/ 432197 h 4105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897314" h="4105275">
                <a:moveTo>
                  <a:pt x="0" y="0"/>
                </a:moveTo>
                <a:lnTo>
                  <a:pt x="4897314" y="0"/>
                </a:lnTo>
                <a:lnTo>
                  <a:pt x="4897314" y="4105275"/>
                </a:lnTo>
                <a:lnTo>
                  <a:pt x="0" y="4105275"/>
                </a:lnTo>
                <a:lnTo>
                  <a:pt x="0" y="864245"/>
                </a:lnTo>
                <a:lnTo>
                  <a:pt x="216024" y="648221"/>
                </a:lnTo>
                <a:lnTo>
                  <a:pt x="0" y="43219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i-FI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517EB673-4B76-4232-9808-5863578BF389}"/>
              </a:ext>
            </a:extLst>
          </p:cNvPr>
          <p:cNvSpPr/>
          <p:nvPr userDrawn="1"/>
        </p:nvSpPr>
        <p:spPr>
          <a:xfrm>
            <a:off x="982663" y="1844675"/>
            <a:ext cx="5113337" cy="4105275"/>
          </a:xfrm>
          <a:custGeom>
            <a:avLst/>
            <a:gdLst>
              <a:gd name="connsiteX0" fmla="*/ 0 w 5113337"/>
              <a:gd name="connsiteY0" fmla="*/ 0 h 4105275"/>
              <a:gd name="connsiteX1" fmla="*/ 4897313 w 5113337"/>
              <a:gd name="connsiteY1" fmla="*/ 0 h 4105275"/>
              <a:gd name="connsiteX2" fmla="*/ 4897313 w 5113337"/>
              <a:gd name="connsiteY2" fmla="*/ 432197 h 4105275"/>
              <a:gd name="connsiteX3" fmla="*/ 5113337 w 5113337"/>
              <a:gd name="connsiteY3" fmla="*/ 648221 h 4105275"/>
              <a:gd name="connsiteX4" fmla="*/ 4897313 w 5113337"/>
              <a:gd name="connsiteY4" fmla="*/ 864245 h 4105275"/>
              <a:gd name="connsiteX5" fmla="*/ 4897313 w 5113337"/>
              <a:gd name="connsiteY5" fmla="*/ 4105275 h 4105275"/>
              <a:gd name="connsiteX6" fmla="*/ 0 w 5113337"/>
              <a:gd name="connsiteY6" fmla="*/ 4105275 h 4105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13337" h="4105275">
                <a:moveTo>
                  <a:pt x="0" y="0"/>
                </a:moveTo>
                <a:lnTo>
                  <a:pt x="4897313" y="0"/>
                </a:lnTo>
                <a:lnTo>
                  <a:pt x="4897313" y="432197"/>
                </a:lnTo>
                <a:lnTo>
                  <a:pt x="5113337" y="648221"/>
                </a:lnTo>
                <a:lnTo>
                  <a:pt x="4897313" y="864245"/>
                </a:lnTo>
                <a:lnTo>
                  <a:pt x="4897313" y="4105275"/>
                </a:lnTo>
                <a:lnTo>
                  <a:pt x="0" y="4105275"/>
                </a:lnTo>
                <a:close/>
              </a:path>
            </a:pathLst>
          </a:custGeom>
          <a:noFill/>
          <a:ln w="127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127449" y="1988840"/>
            <a:ext cx="4608512" cy="432098"/>
          </a:xfrm>
        </p:spPr>
        <p:txBody>
          <a:bodyPr tIns="5400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0" cap="none" baseline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3" hasCustomPrompt="1"/>
          </p:nvPr>
        </p:nvSpPr>
        <p:spPr>
          <a:xfrm>
            <a:off x="6672063" y="1988840"/>
            <a:ext cx="4392489" cy="432098"/>
          </a:xfrm>
        </p:spPr>
        <p:txBody>
          <a:bodyPr tIns="5400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0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C9C1A-6FBD-4FFD-BAE1-C6C378C2D2BE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5829F06-1590-4139-92CF-F4749A76FD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27449" y="2420938"/>
            <a:ext cx="4608190" cy="3384326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4AA0591-5327-4698-AC7B-CD0EF569D53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72064" y="2420889"/>
            <a:ext cx="4392488" cy="33843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411627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2663" y="980728"/>
            <a:ext cx="4897437" cy="2448272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4" y="3429000"/>
            <a:ext cx="4897436" cy="122396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70000"/>
              </a:lnSpc>
              <a:defRPr lang="en-US" sz="10000" b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982663" y="4652963"/>
            <a:ext cx="4897437" cy="1296987"/>
          </a:xfrm>
        </p:spPr>
        <p:txBody>
          <a:bodyPr/>
          <a:lstStyle>
            <a:lvl1pPr>
              <a:lnSpc>
                <a:spcPct val="100000"/>
              </a:lnSpc>
              <a:spcBef>
                <a:spcPts val="200"/>
              </a:spcBef>
              <a:defRPr sz="1200"/>
            </a:lvl1pPr>
            <a:lvl2pPr>
              <a:lnSpc>
                <a:spcPct val="100000"/>
              </a:lnSpc>
              <a:spcBef>
                <a:spcPts val="200"/>
              </a:spcBef>
              <a:defRPr sz="1200"/>
            </a:lvl2pPr>
            <a:lvl3pPr>
              <a:lnSpc>
                <a:spcPct val="100000"/>
              </a:lnSpc>
              <a:spcBef>
                <a:spcPts val="200"/>
              </a:spcBef>
              <a:defRPr sz="1200"/>
            </a:lvl3pPr>
            <a:lvl4pPr>
              <a:lnSpc>
                <a:spcPct val="100000"/>
              </a:lnSpc>
              <a:spcBef>
                <a:spcPts val="200"/>
              </a:spcBef>
              <a:defRPr sz="1200"/>
            </a:lvl4pPr>
            <a:lvl5pPr>
              <a:lnSpc>
                <a:spcPct val="100000"/>
              </a:lnSpc>
              <a:spcBef>
                <a:spcPts val="200"/>
              </a:spcBef>
              <a:defRPr sz="1200"/>
            </a:lvl5pPr>
            <a:lvl6pPr>
              <a:lnSpc>
                <a:spcPct val="100000"/>
              </a:lnSpc>
              <a:spcBef>
                <a:spcPts val="200"/>
              </a:spcBef>
              <a:defRPr sz="1200"/>
            </a:lvl6pPr>
            <a:lvl7pPr>
              <a:lnSpc>
                <a:spcPct val="100000"/>
              </a:lnSpc>
              <a:spcBef>
                <a:spcPts val="200"/>
              </a:spcBef>
              <a:defRPr sz="1200"/>
            </a:lvl7pPr>
            <a:lvl8pPr>
              <a:lnSpc>
                <a:spcPct val="100000"/>
              </a:lnSpc>
              <a:spcBef>
                <a:spcPts val="200"/>
              </a:spcBef>
              <a:defRPr sz="1200"/>
            </a:lvl8pPr>
            <a:lvl9pPr>
              <a:lnSpc>
                <a:spcPct val="100000"/>
              </a:lnSpc>
              <a:spcBef>
                <a:spcPts val="200"/>
              </a:spcBef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16A08B-7286-4AD2-BC61-ACE25C071505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311900" y="981075"/>
            <a:ext cx="4897438" cy="647700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b="0" baseline="0" dirty="0">
                <a:solidFill>
                  <a:schemeClr val="accent3"/>
                </a:solidFill>
                <a:latin typeface="+mn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0" name="Chart Placeholder 9"/>
          <p:cNvSpPr>
            <a:spLocks noGrp="1"/>
          </p:cNvSpPr>
          <p:nvPr>
            <p:ph type="chart" sz="quarter" idx="16"/>
          </p:nvPr>
        </p:nvSpPr>
        <p:spPr>
          <a:xfrm>
            <a:off x="6311900" y="1844675"/>
            <a:ext cx="2448396" cy="1944365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chart</a:t>
            </a:r>
            <a:endParaRPr lang="fi-FI" dirty="0"/>
          </a:p>
        </p:txBody>
      </p:sp>
      <p:sp>
        <p:nvSpPr>
          <p:cNvPr id="11" name="Chart Placeholder 9"/>
          <p:cNvSpPr>
            <a:spLocks noGrp="1"/>
          </p:cNvSpPr>
          <p:nvPr>
            <p:ph type="chart" sz="quarter" idx="17"/>
          </p:nvPr>
        </p:nvSpPr>
        <p:spPr>
          <a:xfrm>
            <a:off x="8760297" y="1844675"/>
            <a:ext cx="2449042" cy="1944365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chart</a:t>
            </a:r>
            <a:endParaRPr lang="fi-FI" dirty="0"/>
          </a:p>
        </p:txBody>
      </p:sp>
      <p:sp>
        <p:nvSpPr>
          <p:cNvPr id="12" name="Chart Placeholder 9"/>
          <p:cNvSpPr>
            <a:spLocks noGrp="1"/>
          </p:cNvSpPr>
          <p:nvPr>
            <p:ph type="chart" sz="quarter" idx="18"/>
          </p:nvPr>
        </p:nvSpPr>
        <p:spPr>
          <a:xfrm>
            <a:off x="6311900" y="4005064"/>
            <a:ext cx="2448396" cy="1944886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chart</a:t>
            </a:r>
            <a:endParaRPr lang="fi-FI" dirty="0"/>
          </a:p>
        </p:txBody>
      </p:sp>
      <p:sp>
        <p:nvSpPr>
          <p:cNvPr id="13" name="Chart Placeholder 9"/>
          <p:cNvSpPr>
            <a:spLocks noGrp="1"/>
          </p:cNvSpPr>
          <p:nvPr>
            <p:ph type="chart" sz="quarter" idx="19"/>
          </p:nvPr>
        </p:nvSpPr>
        <p:spPr>
          <a:xfrm>
            <a:off x="8760297" y="4005064"/>
            <a:ext cx="2449042" cy="1944886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chart</a:t>
            </a:r>
            <a:endParaRPr lang="fi-FI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3277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Cont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981893" y="3501008"/>
            <a:ext cx="10226675" cy="24489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2663" y="980728"/>
            <a:ext cx="4897437" cy="2448272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126554" y="3645024"/>
            <a:ext cx="3241254" cy="288032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sz="1400" b="0" baseline="0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15CD8221-CE0D-437A-8323-A2F27860CFA7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511824" y="3645024"/>
            <a:ext cx="3168352" cy="288032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sz="1400" b="0" baseline="0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A991BBD7-252F-482A-AB1F-CB67BD97D70A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824192" y="3645024"/>
            <a:ext cx="3240360" cy="288032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sz="1400" b="0" baseline="0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0" name="Chart Placeholder 9"/>
          <p:cNvSpPr>
            <a:spLocks noGrp="1"/>
          </p:cNvSpPr>
          <p:nvPr>
            <p:ph type="chart" sz="quarter" idx="16"/>
          </p:nvPr>
        </p:nvSpPr>
        <p:spPr>
          <a:xfrm>
            <a:off x="1128828" y="4005586"/>
            <a:ext cx="3238980" cy="1799718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chart</a:t>
            </a:r>
            <a:endParaRPr lang="fi-FI" dirty="0"/>
          </a:p>
        </p:txBody>
      </p:sp>
      <p:sp>
        <p:nvSpPr>
          <p:cNvPr id="11" name="Chart Placeholder 10"/>
          <p:cNvSpPr>
            <a:spLocks noGrp="1"/>
          </p:cNvSpPr>
          <p:nvPr>
            <p:ph type="chart" sz="quarter" idx="17"/>
          </p:nvPr>
        </p:nvSpPr>
        <p:spPr>
          <a:xfrm>
            <a:off x="4511824" y="4005586"/>
            <a:ext cx="3168352" cy="1799718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chart</a:t>
            </a:r>
            <a:endParaRPr lang="fi-FI"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8"/>
          </p:nvPr>
        </p:nvSpPr>
        <p:spPr>
          <a:xfrm>
            <a:off x="7824192" y="4005064"/>
            <a:ext cx="3240360" cy="1800200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chart</a:t>
            </a:r>
            <a:endParaRPr lang="fi-FI" dirty="0"/>
          </a:p>
        </p:txBody>
      </p:sp>
      <p:sp>
        <p:nvSpPr>
          <p:cNvPr id="18" name="Freeform 6"/>
          <p:cNvSpPr>
            <a:spLocks noChangeAspect="1" noEditPoints="1"/>
          </p:cNvSpPr>
          <p:nvPr userDrawn="1"/>
        </p:nvSpPr>
        <p:spPr bwMode="black">
          <a:xfrm>
            <a:off x="11418061" y="6051504"/>
            <a:ext cx="360000" cy="401832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82A1512-C832-41B8-B6D7-1084D8B86481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IA - RKL yrittäjäpäivä 1.11.202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08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2663" y="980728"/>
            <a:ext cx="10226675" cy="2448272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6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4" y="3573016"/>
            <a:ext cx="4897436" cy="2376934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80000"/>
              </a:lnSpc>
              <a:defRPr lang="en-US" sz="18000" b="0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6311900" y="3573016"/>
            <a:ext cx="4897437" cy="2376935"/>
          </a:xfrm>
        </p:spPr>
        <p:txBody>
          <a:bodyPr/>
          <a:lstStyle>
            <a:lvl1pPr>
              <a:lnSpc>
                <a:spcPct val="100000"/>
              </a:lnSpc>
              <a:spcBef>
                <a:spcPts val="200"/>
              </a:spcBef>
              <a:defRPr sz="1600"/>
            </a:lvl1pPr>
            <a:lvl2pPr>
              <a:lnSpc>
                <a:spcPct val="100000"/>
              </a:lnSpc>
              <a:spcBef>
                <a:spcPts val="200"/>
              </a:spcBef>
              <a:defRPr sz="1600"/>
            </a:lvl2pPr>
            <a:lvl3pPr>
              <a:lnSpc>
                <a:spcPct val="100000"/>
              </a:lnSpc>
              <a:spcBef>
                <a:spcPts val="200"/>
              </a:spcBef>
              <a:defRPr sz="1400"/>
            </a:lvl3pPr>
            <a:lvl4pPr>
              <a:lnSpc>
                <a:spcPct val="100000"/>
              </a:lnSpc>
              <a:spcBef>
                <a:spcPts val="200"/>
              </a:spcBef>
              <a:defRPr sz="1400"/>
            </a:lvl4pPr>
            <a:lvl5pPr>
              <a:lnSpc>
                <a:spcPct val="100000"/>
              </a:lnSpc>
              <a:spcBef>
                <a:spcPts val="200"/>
              </a:spcBef>
              <a:defRPr sz="1400"/>
            </a:lvl5pPr>
            <a:lvl6pPr>
              <a:lnSpc>
                <a:spcPct val="100000"/>
              </a:lnSpc>
              <a:spcBef>
                <a:spcPts val="200"/>
              </a:spcBef>
              <a:defRPr sz="1200"/>
            </a:lvl6pPr>
            <a:lvl7pPr>
              <a:lnSpc>
                <a:spcPct val="100000"/>
              </a:lnSpc>
              <a:spcBef>
                <a:spcPts val="200"/>
              </a:spcBef>
              <a:defRPr sz="1200"/>
            </a:lvl7pPr>
            <a:lvl8pPr>
              <a:lnSpc>
                <a:spcPct val="100000"/>
              </a:lnSpc>
              <a:spcBef>
                <a:spcPts val="200"/>
              </a:spcBef>
              <a:defRPr sz="1200"/>
            </a:lvl8pPr>
            <a:lvl9pPr>
              <a:lnSpc>
                <a:spcPct val="100000"/>
              </a:lnSpc>
              <a:spcBef>
                <a:spcPts val="200"/>
              </a:spcBef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47A617-80CC-4007-94DE-03899389035B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Freeform 6"/>
          <p:cNvSpPr>
            <a:spLocks noChangeAspect="1" noEditPoints="1"/>
          </p:cNvSpPr>
          <p:nvPr userDrawn="1"/>
        </p:nvSpPr>
        <p:spPr bwMode="black">
          <a:xfrm>
            <a:off x="11418061" y="6051504"/>
            <a:ext cx="360000" cy="401832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487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a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343026" y="2348879"/>
            <a:ext cx="9505949" cy="2232645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1343025" y="1844675"/>
            <a:ext cx="950595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DF3F356-4896-433F-B6B0-CBD25CF1B198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IA - RKL yrittäjäpäivä 1.11.202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506ABB4-3642-3ED0-88CC-B5FFDC267EC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72464" y="6237312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3" name="Freeform 14">
              <a:extLst>
                <a:ext uri="{FF2B5EF4-FFF2-40B4-BE49-F238E27FC236}">
                  <a16:creationId xmlns:a16="http://schemas.microsoft.com/office/drawing/2014/main" id="{C8BF2F16-DEB8-A52A-0B7F-E9EB0B1879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Freeform 15">
              <a:extLst>
                <a:ext uri="{FF2B5EF4-FFF2-40B4-BE49-F238E27FC236}">
                  <a16:creationId xmlns:a16="http://schemas.microsoft.com/office/drawing/2014/main" id="{1A744F1B-C57E-5124-C95F-81D48ED4E0C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339713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Content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6696" y="3573189"/>
            <a:ext cx="4897437" cy="1223963"/>
          </a:xfrm>
        </p:spPr>
        <p:txBody>
          <a:bodyPr anchor="t" anchorCtr="0"/>
          <a:lstStyle>
            <a:lvl1pPr algn="l">
              <a:lnSpc>
                <a:spcPct val="8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4" y="980728"/>
            <a:ext cx="4897436" cy="2448272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80000"/>
              </a:lnSpc>
              <a:defRPr lang="en-US" sz="18000" b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982663" y="4797152"/>
            <a:ext cx="4897437" cy="1152798"/>
          </a:xfrm>
        </p:spPr>
        <p:txBody>
          <a:bodyPr/>
          <a:lstStyle>
            <a:lvl1pPr>
              <a:lnSpc>
                <a:spcPct val="100000"/>
              </a:lnSpc>
              <a:spcBef>
                <a:spcPts val="200"/>
              </a:spcBef>
              <a:defRPr sz="12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200"/>
              </a:spcBef>
              <a:defRPr sz="12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Bef>
                <a:spcPts val="200"/>
              </a:spcBef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Bef>
                <a:spcPts val="200"/>
              </a:spcBef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spcBef>
                <a:spcPts val="200"/>
              </a:spcBef>
              <a:defRPr sz="1200">
                <a:solidFill>
                  <a:schemeClr val="bg1"/>
                </a:solidFill>
              </a:defRPr>
            </a:lvl5pPr>
            <a:lvl6pPr>
              <a:lnSpc>
                <a:spcPct val="100000"/>
              </a:lnSpc>
              <a:spcBef>
                <a:spcPts val="200"/>
              </a:spcBef>
              <a:defRPr sz="1200"/>
            </a:lvl6pPr>
            <a:lvl7pPr>
              <a:lnSpc>
                <a:spcPct val="100000"/>
              </a:lnSpc>
              <a:spcBef>
                <a:spcPts val="200"/>
              </a:spcBef>
              <a:defRPr sz="1200"/>
            </a:lvl7pPr>
            <a:lvl8pPr>
              <a:lnSpc>
                <a:spcPct val="100000"/>
              </a:lnSpc>
              <a:spcBef>
                <a:spcPts val="200"/>
              </a:spcBef>
              <a:defRPr sz="1200"/>
            </a:lvl8pPr>
            <a:lvl9pPr>
              <a:lnSpc>
                <a:spcPct val="100000"/>
              </a:lnSpc>
              <a:spcBef>
                <a:spcPts val="200"/>
              </a:spcBef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Freeform 6"/>
          <p:cNvSpPr>
            <a:spLocks noChangeAspect="1" noEditPoints="1"/>
          </p:cNvSpPr>
          <p:nvPr userDrawn="1"/>
        </p:nvSpPr>
        <p:spPr bwMode="black">
          <a:xfrm>
            <a:off x="11418061" y="6051504"/>
            <a:ext cx="360000" cy="401832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9B8F31-1A8C-4720-9772-1505BBBDE7A9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IA - RKL yrittäjäpäivä 1.11.202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9214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2663" y="3429000"/>
            <a:ext cx="4897437" cy="252095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60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4" y="981075"/>
            <a:ext cx="4897436" cy="2303910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80000"/>
              </a:lnSpc>
              <a:defRPr lang="en-US" sz="16000" b="0" dirty="0">
                <a:solidFill>
                  <a:schemeClr val="accent3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6311900" y="981075"/>
            <a:ext cx="4897437" cy="2303909"/>
          </a:xfrm>
        </p:spPr>
        <p:txBody>
          <a:bodyPr/>
          <a:lstStyle>
            <a:lvl1pPr>
              <a:lnSpc>
                <a:spcPct val="100000"/>
              </a:lnSpc>
              <a:spcBef>
                <a:spcPts val="200"/>
              </a:spcBef>
              <a:defRPr sz="1600"/>
            </a:lvl1pPr>
            <a:lvl2pPr>
              <a:lnSpc>
                <a:spcPct val="100000"/>
              </a:lnSpc>
              <a:spcBef>
                <a:spcPts val="200"/>
              </a:spcBef>
              <a:defRPr sz="1600"/>
            </a:lvl2pPr>
            <a:lvl3pPr>
              <a:lnSpc>
                <a:spcPct val="100000"/>
              </a:lnSpc>
              <a:spcBef>
                <a:spcPts val="200"/>
              </a:spcBef>
              <a:defRPr sz="1400"/>
            </a:lvl3pPr>
            <a:lvl4pPr>
              <a:lnSpc>
                <a:spcPct val="100000"/>
              </a:lnSpc>
              <a:spcBef>
                <a:spcPts val="200"/>
              </a:spcBef>
              <a:defRPr sz="1400"/>
            </a:lvl4pPr>
            <a:lvl5pPr>
              <a:lnSpc>
                <a:spcPct val="100000"/>
              </a:lnSpc>
              <a:spcBef>
                <a:spcPts val="200"/>
              </a:spcBef>
              <a:defRPr sz="1400"/>
            </a:lvl5pPr>
            <a:lvl6pPr>
              <a:lnSpc>
                <a:spcPct val="100000"/>
              </a:lnSpc>
              <a:spcBef>
                <a:spcPts val="200"/>
              </a:spcBef>
              <a:defRPr sz="1200"/>
            </a:lvl6pPr>
            <a:lvl7pPr>
              <a:lnSpc>
                <a:spcPct val="100000"/>
              </a:lnSpc>
              <a:spcBef>
                <a:spcPts val="200"/>
              </a:spcBef>
              <a:defRPr sz="1200"/>
            </a:lvl7pPr>
            <a:lvl8pPr>
              <a:lnSpc>
                <a:spcPct val="100000"/>
              </a:lnSpc>
              <a:spcBef>
                <a:spcPts val="200"/>
              </a:spcBef>
              <a:defRPr sz="1200"/>
            </a:lvl8pPr>
            <a:lvl9pPr>
              <a:lnSpc>
                <a:spcPct val="100000"/>
              </a:lnSpc>
              <a:spcBef>
                <a:spcPts val="200"/>
              </a:spcBef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hart Placeholder 9"/>
          <p:cNvSpPr>
            <a:spLocks noGrp="1"/>
          </p:cNvSpPr>
          <p:nvPr>
            <p:ph type="chart" sz="quarter" idx="16"/>
          </p:nvPr>
        </p:nvSpPr>
        <p:spPr>
          <a:xfrm>
            <a:off x="6311900" y="3429000"/>
            <a:ext cx="4897438" cy="2520950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chart</a:t>
            </a:r>
            <a:endParaRPr lang="fi-FI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AE9CF0-5B54-4414-895D-DA71EA52DE4E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7971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Conten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2663" y="980728"/>
            <a:ext cx="4897437" cy="1728192"/>
          </a:xfrm>
        </p:spPr>
        <p:txBody>
          <a:bodyPr tIns="36000" anchor="t" anchorCtr="0"/>
          <a:lstStyle>
            <a:lvl1pPr algn="l">
              <a:lnSpc>
                <a:spcPct val="90000"/>
              </a:lnSpc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312024" y="1484957"/>
            <a:ext cx="4897436" cy="1223963"/>
          </a:xfrm>
        </p:spPr>
        <p:txBody>
          <a:bodyPr vert="horz" lIns="0" tIns="144000" rIns="0" bIns="0" rtlCol="0" anchor="t" anchorCtr="0">
            <a:noAutofit/>
          </a:bodyPr>
          <a:lstStyle>
            <a:lvl1pPr>
              <a:lnSpc>
                <a:spcPct val="70000"/>
              </a:lnSpc>
              <a:defRPr lang="en-US" sz="8000" b="0" dirty="0">
                <a:solidFill>
                  <a:schemeClr val="accent3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305B21-B538-4ED4-8A58-51E6171AF9D5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311900" y="981075"/>
            <a:ext cx="4897438" cy="35969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b="0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7B7EC3C-CA63-440B-BF6C-A47609BEFFC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82663" y="3140968"/>
            <a:ext cx="10225905" cy="28089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6919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Conten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312024" y="2348707"/>
            <a:ext cx="4897436" cy="1080294"/>
          </a:xfrm>
        </p:spPr>
        <p:txBody>
          <a:bodyPr vert="horz" lIns="0" tIns="144000" rIns="0" bIns="0" rtlCol="0" anchor="t" anchorCtr="0">
            <a:noAutofit/>
          </a:bodyPr>
          <a:lstStyle>
            <a:lvl1pPr>
              <a:lnSpc>
                <a:spcPct val="70000"/>
              </a:lnSpc>
              <a:defRPr lang="en-US" sz="8000" b="0" dirty="0">
                <a:solidFill>
                  <a:schemeClr val="accent3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9B2E0F-EE2C-4B60-BA21-617161D69054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311900" y="1844824"/>
            <a:ext cx="4897438" cy="35969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b="0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3606FFB-15CE-408A-8493-F752F10A6F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0E8E657-0EF0-4F72-90E3-DA9C0D6082D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982662" y="1844675"/>
            <a:ext cx="4897437" cy="576263"/>
          </a:xfrm>
        </p:spPr>
        <p:txBody>
          <a:bodyPr tIns="5400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0" cap="none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44C03E3-5B08-40B2-A67D-6AA499524A1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82662" y="2420939"/>
            <a:ext cx="4897438" cy="35290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D11D370E-EE54-4484-827F-0993364EDD4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24" y="4292922"/>
            <a:ext cx="4897436" cy="1080294"/>
          </a:xfrm>
        </p:spPr>
        <p:txBody>
          <a:bodyPr vert="horz" lIns="0" tIns="144000" rIns="0" bIns="0" rtlCol="0" anchor="t" anchorCtr="0">
            <a:noAutofit/>
          </a:bodyPr>
          <a:lstStyle>
            <a:lvl1pPr>
              <a:lnSpc>
                <a:spcPct val="70000"/>
              </a:lnSpc>
              <a:defRPr lang="en-US" sz="8000" b="0" dirty="0">
                <a:solidFill>
                  <a:schemeClr val="accent3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5C4E32A6-5E3A-4C1C-A077-1AE6C173EC77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311900" y="3789039"/>
            <a:ext cx="4897438" cy="35969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b="0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DC978E6-7B8F-4C4D-833D-4AC80D2A0777}"/>
              </a:ext>
            </a:extLst>
          </p:cNvPr>
          <p:cNvCxnSpPr/>
          <p:nvPr userDrawn="1"/>
        </p:nvCxnSpPr>
        <p:spPr>
          <a:xfrm>
            <a:off x="6096000" y="1844824"/>
            <a:ext cx="0" cy="4104456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161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Content 8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312024" y="1844675"/>
            <a:ext cx="4896544" cy="41052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402249-8C4A-4855-8D1D-DBB01C58449A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DA3F24-4ABE-483E-A5CB-313BB03AEA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578C2AF-0D84-445B-B990-8E67D01977BB}"/>
              </a:ext>
            </a:extLst>
          </p:cNvPr>
          <p:cNvCxnSpPr/>
          <p:nvPr userDrawn="1"/>
        </p:nvCxnSpPr>
        <p:spPr>
          <a:xfrm>
            <a:off x="6096000" y="1844824"/>
            <a:ext cx="0" cy="410445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9233129-9BD5-4C01-B019-833F2006B0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540" y="2348707"/>
            <a:ext cx="4897436" cy="1080294"/>
          </a:xfrm>
        </p:spPr>
        <p:txBody>
          <a:bodyPr vert="horz" lIns="0" tIns="144000" rIns="0" bIns="0" rtlCol="0" anchor="t" anchorCtr="0">
            <a:noAutofit/>
          </a:bodyPr>
          <a:lstStyle>
            <a:lvl1pPr>
              <a:lnSpc>
                <a:spcPct val="70000"/>
              </a:lnSpc>
              <a:defRPr lang="en-US" sz="8000" b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1D5DB1D-0828-49FC-925A-E87C6060FA5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982416" y="1844824"/>
            <a:ext cx="4897438" cy="35969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b="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E7808219-3103-4680-B89D-E15B9C0380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82540" y="4292923"/>
            <a:ext cx="4897436" cy="1080294"/>
          </a:xfrm>
        </p:spPr>
        <p:txBody>
          <a:bodyPr vert="horz" lIns="0" tIns="144000" rIns="0" bIns="0" rtlCol="0" anchor="t" anchorCtr="0">
            <a:noAutofit/>
          </a:bodyPr>
          <a:lstStyle>
            <a:lvl1pPr>
              <a:lnSpc>
                <a:spcPct val="70000"/>
              </a:lnSpc>
              <a:defRPr lang="en-US" sz="8000" b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44B32D3-35ED-400D-97C1-41008C4FD2BA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982416" y="3789040"/>
            <a:ext cx="4897438" cy="35969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b="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99307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Content 9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D56E1F24-236F-4F8B-9A03-497C1DE20AF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7" name="Freeform 6">
            <a:extLst>
              <a:ext uri="{FF2B5EF4-FFF2-40B4-BE49-F238E27FC236}">
                <a16:creationId xmlns:a16="http://schemas.microsoft.com/office/drawing/2014/main" id="{1CB7BC3F-EB5D-487A-97F4-7914DA894692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11418061" y="6051504"/>
            <a:ext cx="360000" cy="401832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C7AFEB8-AD3D-46B8-8F29-DB57E67B7BFD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DA3F24-4ABE-483E-A5CB-313BB03AEA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9233129-9BD5-4C01-B019-833F2006B0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540" y="2852762"/>
            <a:ext cx="4897436" cy="3096518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80000"/>
              </a:lnSpc>
              <a:defRPr lang="en-US" sz="16000" b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1D5DB1D-0828-49FC-925A-E87C6060FA5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982416" y="2348879"/>
            <a:ext cx="4897438" cy="35969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b="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E7808219-3103-4680-B89D-E15B9C0380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148" y="2852762"/>
            <a:ext cx="4897436" cy="3096517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80000"/>
              </a:lnSpc>
              <a:defRPr lang="en-US" sz="16000" b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44B32D3-35ED-400D-97C1-41008C4FD2BA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312024" y="2348880"/>
            <a:ext cx="4897438" cy="35969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b="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EEF6A2C-2FB2-43A8-A456-A31438059347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82662" y="1844675"/>
            <a:ext cx="10225906" cy="360189"/>
          </a:xfrm>
        </p:spPr>
        <p:txBody>
          <a:bodyPr tIns="54000" anchor="t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5066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Content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2B208F52-EBEB-4510-A28F-40A74061397D}"/>
              </a:ext>
            </a:extLst>
          </p:cNvPr>
          <p:cNvSpPr/>
          <p:nvPr userDrawn="1"/>
        </p:nvSpPr>
        <p:spPr>
          <a:xfrm>
            <a:off x="6096000" y="3429000"/>
            <a:ext cx="6105550" cy="3429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56E1F24-236F-4F8B-9A03-497C1DE20AFA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9233129-9BD5-4C01-B019-833F2006B0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540" y="1700808"/>
            <a:ext cx="4681412" cy="3096518"/>
          </a:xfrm>
        </p:spPr>
        <p:txBody>
          <a:bodyPr vert="horz" lIns="0" tIns="288000" rIns="0" bIns="0" rtlCol="0" anchor="t" anchorCtr="0">
            <a:noAutofit/>
          </a:bodyPr>
          <a:lstStyle>
            <a:lvl1pPr>
              <a:lnSpc>
                <a:spcPct val="70000"/>
              </a:lnSpc>
              <a:defRPr lang="en-US" sz="16000" b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1D5DB1D-0828-49FC-925A-E87C6060FA5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982416" y="4941168"/>
            <a:ext cx="3529408" cy="1007765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b="0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E7808219-3103-4680-B89D-E15B9C0380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48128" y="980729"/>
            <a:ext cx="1656184" cy="1008112"/>
          </a:xfrm>
        </p:spPr>
        <p:txBody>
          <a:bodyPr vert="horz" lIns="0" tIns="144000" rIns="0" bIns="0" rtlCol="0" anchor="t" anchorCtr="0">
            <a:noAutofit/>
          </a:bodyPr>
          <a:lstStyle>
            <a:lvl1pPr>
              <a:lnSpc>
                <a:spcPct val="70000"/>
              </a:lnSpc>
              <a:defRPr lang="en-US" sz="6000" b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EEF6A2C-2FB2-43A8-A456-A31438059347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82662" y="980728"/>
            <a:ext cx="4681295" cy="720080"/>
          </a:xfrm>
        </p:spPr>
        <p:txBody>
          <a:bodyPr tIns="54000" anchor="t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400" b="0" cap="all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BAADA18-EC4A-4816-BE40-9F426A4D3DF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030F580-C0AE-4B61-B246-8B257207A2BA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259C277-3032-49DE-B007-D0788CBD255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83D9BD5-1494-4543-98C3-30802878A19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DAF145C0-2DD8-4817-B648-CD947E0605F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48128" y="2132856"/>
            <a:ext cx="1656184" cy="1008112"/>
          </a:xfrm>
        </p:spPr>
        <p:txBody>
          <a:bodyPr vert="horz" lIns="0" tIns="144000" rIns="0" bIns="0" rtlCol="0" anchor="t" anchorCtr="0">
            <a:noAutofit/>
          </a:bodyPr>
          <a:lstStyle>
            <a:lvl1pPr>
              <a:lnSpc>
                <a:spcPct val="70000"/>
              </a:lnSpc>
              <a:defRPr lang="en-US" sz="6000" b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F5B55AA-1493-4DB3-A5FC-47FFFC91FA8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048328" y="981075"/>
            <a:ext cx="1872085" cy="1007765"/>
          </a:xfrm>
        </p:spPr>
        <p:txBody>
          <a:bodyPr tIns="7200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961F28A3-61E7-420A-A0D7-2A4CA93025B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528048" y="4509120"/>
            <a:ext cx="2376265" cy="360040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76B8E1E9-07B6-4EFE-8EFF-8B032D4BD9F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048328" y="2132856"/>
            <a:ext cx="1872085" cy="1007765"/>
          </a:xfrm>
        </p:spPr>
        <p:txBody>
          <a:bodyPr tIns="7200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E5ACA433-5C1D-4B57-A713-4FF287114523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528048" y="1124744"/>
            <a:ext cx="577041" cy="576064"/>
          </a:xfrm>
        </p:spPr>
        <p:txBody>
          <a:bodyPr/>
          <a:lstStyle>
            <a:lvl1pPr>
              <a:defRPr sz="1000"/>
            </a:lvl1pPr>
          </a:lstStyle>
          <a:p>
            <a:r>
              <a:rPr lang="fi-FI" dirty="0" err="1"/>
              <a:t>Icon</a:t>
            </a:r>
            <a:endParaRPr lang="fi-FI" dirty="0"/>
          </a:p>
        </p:txBody>
      </p:sp>
      <p:sp>
        <p:nvSpPr>
          <p:cNvPr id="26" name="Picture Placeholder 23">
            <a:extLst>
              <a:ext uri="{FF2B5EF4-FFF2-40B4-BE49-F238E27FC236}">
                <a16:creationId xmlns:a16="http://schemas.microsoft.com/office/drawing/2014/main" id="{CA887B23-6B60-453D-AC35-9ED6C4B6789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528048" y="2276150"/>
            <a:ext cx="577764" cy="576786"/>
          </a:xfrm>
        </p:spPr>
        <p:txBody>
          <a:bodyPr/>
          <a:lstStyle>
            <a:lvl1pPr>
              <a:defRPr sz="1000"/>
            </a:lvl1pPr>
          </a:lstStyle>
          <a:p>
            <a:r>
              <a:rPr lang="fi-FI" dirty="0" err="1"/>
              <a:t>Icon</a:t>
            </a:r>
            <a:endParaRPr lang="fi-FI" dirty="0"/>
          </a:p>
        </p:txBody>
      </p:sp>
      <p:sp>
        <p:nvSpPr>
          <p:cNvPr id="28" name="Picture Placeholder 23">
            <a:extLst>
              <a:ext uri="{FF2B5EF4-FFF2-40B4-BE49-F238E27FC236}">
                <a16:creationId xmlns:a16="http://schemas.microsoft.com/office/drawing/2014/main" id="{825C986F-1455-49A8-BC15-2C9C8C6BDD9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656075" y="4941168"/>
            <a:ext cx="1009821" cy="1008112"/>
          </a:xfrm>
        </p:spPr>
        <p:txBody>
          <a:bodyPr/>
          <a:lstStyle>
            <a:lvl1pPr>
              <a:defRPr sz="1000"/>
            </a:lvl1pPr>
          </a:lstStyle>
          <a:p>
            <a:r>
              <a:rPr lang="fi-FI" dirty="0" err="1"/>
              <a:t>Icon</a:t>
            </a:r>
            <a:r>
              <a:rPr lang="fi-FI" dirty="0"/>
              <a:t>/</a:t>
            </a:r>
            <a:r>
              <a:rPr lang="fi-FI" dirty="0" err="1"/>
              <a:t>picture</a:t>
            </a:r>
            <a:endParaRPr lang="fi-FI" dirty="0"/>
          </a:p>
        </p:txBody>
      </p:sp>
      <p:sp>
        <p:nvSpPr>
          <p:cNvPr id="29" name="Picture Placeholder 23">
            <a:extLst>
              <a:ext uri="{FF2B5EF4-FFF2-40B4-BE49-F238E27FC236}">
                <a16:creationId xmlns:a16="http://schemas.microsoft.com/office/drawing/2014/main" id="{E49DFDA1-737C-4E49-97EC-39DB76246438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528048" y="3789040"/>
            <a:ext cx="577041" cy="576064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fi-FI" dirty="0" err="1"/>
              <a:t>Icon</a:t>
            </a:r>
            <a:endParaRPr lang="fi-FI" dirty="0"/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36A6A472-4F15-4DC1-8C14-B6E21A4548B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528048" y="4941168"/>
            <a:ext cx="2376264" cy="1008112"/>
          </a:xfrm>
        </p:spPr>
        <p:txBody>
          <a:bodyPr vert="horz" lIns="0" tIns="144000" rIns="0" bIns="0" rtlCol="0" anchor="t" anchorCtr="0">
            <a:noAutofit/>
          </a:bodyPr>
          <a:lstStyle>
            <a:lvl1pPr>
              <a:lnSpc>
                <a:spcPct val="70000"/>
              </a:lnSpc>
              <a:defRPr lang="en-US" sz="6000" b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32" name="Freeform 6">
            <a:extLst>
              <a:ext uri="{FF2B5EF4-FFF2-40B4-BE49-F238E27FC236}">
                <a16:creationId xmlns:a16="http://schemas.microsoft.com/office/drawing/2014/main" id="{E5C59CC0-8F88-417B-8419-CAB851719C2E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11418061" y="6051504"/>
            <a:ext cx="360000" cy="401832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4EDD3CAC-717F-43D4-9ABD-2D43BA870F7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048328" y="4509120"/>
            <a:ext cx="1800200" cy="360040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23">
            <a:extLst>
              <a:ext uri="{FF2B5EF4-FFF2-40B4-BE49-F238E27FC236}">
                <a16:creationId xmlns:a16="http://schemas.microsoft.com/office/drawing/2014/main" id="{5287F967-0758-484D-9D6B-70CED193936B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9048328" y="3789040"/>
            <a:ext cx="577041" cy="576064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fi-FI" dirty="0" err="1"/>
              <a:t>Icon</a:t>
            </a:r>
            <a:endParaRPr lang="fi-FI" dirty="0"/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348AFBAF-37DE-4D20-A16F-9F8A2D337AB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048328" y="4941168"/>
            <a:ext cx="1800200" cy="1008112"/>
          </a:xfrm>
        </p:spPr>
        <p:txBody>
          <a:bodyPr vert="horz" lIns="0" tIns="144000" rIns="0" bIns="0" rtlCol="0" anchor="t" anchorCtr="0">
            <a:noAutofit/>
          </a:bodyPr>
          <a:lstStyle>
            <a:lvl1pPr>
              <a:lnSpc>
                <a:spcPct val="70000"/>
              </a:lnSpc>
              <a:defRPr lang="en-US" sz="6000" b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DDBAC90B-137F-4543-88E0-CDB50969912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528048" y="6021288"/>
            <a:ext cx="2376264" cy="14401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cap="none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source</a:t>
            </a:r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24A1ED6B-90E5-45BF-B779-B84ABDE6AD1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048328" y="6021288"/>
            <a:ext cx="1800200" cy="14401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cap="none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source</a:t>
            </a:r>
          </a:p>
        </p:txBody>
      </p:sp>
    </p:spTree>
    <p:extLst>
      <p:ext uri="{BB962C8B-B14F-4D97-AF65-F5344CB8AC3E}">
        <p14:creationId xmlns:p14="http://schemas.microsoft.com/office/powerpoint/2010/main" val="2591145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2663" y="2204864"/>
            <a:ext cx="10226675" cy="2448272"/>
          </a:xfrm>
        </p:spPr>
        <p:txBody>
          <a:bodyPr vert="horz" lIns="0" tIns="14400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E21752-0FE8-4CA0-9FA1-C468082EE16B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IA - RKL yrittäjäpäivä 1.11.2023</a:t>
            </a: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reeform 6"/>
          <p:cNvSpPr>
            <a:spLocks noChangeAspect="1" noEditPoints="1"/>
          </p:cNvSpPr>
          <p:nvPr userDrawn="1"/>
        </p:nvSpPr>
        <p:spPr bwMode="black">
          <a:xfrm>
            <a:off x="11418061" y="6051504"/>
            <a:ext cx="360000" cy="401832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291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2663" y="2204864"/>
            <a:ext cx="10226675" cy="2448272"/>
          </a:xfrm>
        </p:spPr>
        <p:txBody>
          <a:bodyPr vert="horz" lIns="0" tIns="144000" rIns="0" bIns="0" rtlCol="0" anchor="ctr" anchorCtr="0">
            <a:noAutofit/>
          </a:bodyPr>
          <a:lstStyle>
            <a:lvl1pPr>
              <a:defRPr lang="en-US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B66B9054-0269-4AA4-A2F6-6527186032B8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7450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800" cap="none"/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C18CD0-83D7-4A08-BD9B-8309023E5F39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2591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343026" y="2348879"/>
            <a:ext cx="9505949" cy="2232645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1343025" y="1844675"/>
            <a:ext cx="950595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accent2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01EC93-4C06-8E7D-9FE8-A00BB90DED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280A81-1501-41DD-A6E5-FDE0C7CF1949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71E0F28E-048C-8649-F8F3-2509F1813E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9B649970-ED94-A6A1-3F71-CCD07EACCC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9157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800" cap="none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2663" y="1844675"/>
            <a:ext cx="4897437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11900" y="1844675"/>
            <a:ext cx="4897438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178AC-A620-4D8E-9EB9-E5CEED10258D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6273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Comparis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800" cap="none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82662" y="1844675"/>
            <a:ext cx="4897437" cy="576263"/>
          </a:xfrm>
        </p:spPr>
        <p:txBody>
          <a:bodyPr tIns="5400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0" cap="none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3" hasCustomPrompt="1"/>
          </p:nvPr>
        </p:nvSpPr>
        <p:spPr>
          <a:xfrm>
            <a:off x="6311901" y="1844675"/>
            <a:ext cx="4897438" cy="576263"/>
          </a:xfrm>
        </p:spPr>
        <p:txBody>
          <a:bodyPr tIns="5400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0" cap="none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82662" y="2420939"/>
            <a:ext cx="4897438" cy="35290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11900" y="2420939"/>
            <a:ext cx="4897438" cy="35290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22915B-417F-4AED-978D-78DF7703BFCD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9206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ADDC4B-E92D-4560-8FC8-2D449FBB6E75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8199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A3625-39CB-4AB9-842C-DF574DE9764E}" type="datetime1">
              <a:rPr lang="fi-FI" smtClean="0"/>
              <a:t>31.10.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7005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and Contact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799856" y="2348880"/>
            <a:ext cx="6049120" cy="2736304"/>
          </a:xfrm>
        </p:spPr>
        <p:txBody>
          <a:bodyPr vert="horz" lIns="0" tIns="144000" rIns="0" bIns="0" rtlCol="0" anchor="t" anchorCtr="0">
            <a:noAutofit/>
          </a:bodyPr>
          <a:lstStyle>
            <a:lvl1pPr algn="l">
              <a:defRPr lang="en-US" sz="5400" dirty="0">
                <a:solidFill>
                  <a:schemeClr val="bg1"/>
                </a:solidFill>
              </a:defRPr>
            </a:lvl1pPr>
          </a:lstStyle>
          <a:p>
            <a:pPr lvl="0" algn="l">
              <a:lnSpc>
                <a:spcPct val="90000"/>
              </a:lnSpc>
            </a:pPr>
            <a:r>
              <a:rPr lang="fi-FI" dirty="0"/>
              <a:t>Add thank you Message.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99856" y="1844675"/>
            <a:ext cx="604912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tabLst>
                <a:tab pos="1797050" algn="l"/>
              </a:tabLst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Add your @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800599" y="5229225"/>
            <a:ext cx="6048375" cy="720726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your contact details</a:t>
            </a:r>
          </a:p>
        </p:txBody>
      </p:sp>
      <p:sp>
        <p:nvSpPr>
          <p:cNvPr id="10" name="Freeform 9"/>
          <p:cNvSpPr>
            <a:spLocks noChangeAspect="1" noEditPoints="1"/>
          </p:cNvSpPr>
          <p:nvPr userDrawn="1"/>
        </p:nvSpPr>
        <p:spPr bwMode="black">
          <a:xfrm>
            <a:off x="1649971" y="2564904"/>
            <a:ext cx="1548284" cy="1728192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1EEFCBD2-C720-4EE2-A77A-F98D60C365F6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RIA - RKL yrittäjäpäivä 1.11.2023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5162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and Contacts Bei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CA1C5F-DDCE-430C-A018-83F2C55B3500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12" name="Freeform 11"/>
          <p:cNvSpPr>
            <a:spLocks noChangeAspect="1" noEditPoints="1"/>
          </p:cNvSpPr>
          <p:nvPr userDrawn="1"/>
        </p:nvSpPr>
        <p:spPr bwMode="black">
          <a:xfrm>
            <a:off x="1649971" y="2564904"/>
            <a:ext cx="1548284" cy="1728192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800600" y="2348879"/>
            <a:ext cx="6048375" cy="273630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fi-FI" dirty="0"/>
              <a:t>Add thank you Message.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00600" y="1844675"/>
            <a:ext cx="6048375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accent2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Add your @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800600" y="5229225"/>
            <a:ext cx="6048375" cy="720726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Add your contact details</a:t>
            </a:r>
          </a:p>
        </p:txBody>
      </p:sp>
    </p:spTree>
    <p:extLst>
      <p:ext uri="{BB962C8B-B14F-4D97-AF65-F5344CB8AC3E}">
        <p14:creationId xmlns:p14="http://schemas.microsoft.com/office/powerpoint/2010/main" val="7439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lhuet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9D6C6020-4BCC-46AC-92CC-693177B3F2C3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RIA - RKL yrittäjäpäivä 1.11.202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ED41AD6-447A-4742-AE6E-D69C23E79F69}"/>
              </a:ext>
            </a:extLst>
          </p:cNvPr>
          <p:cNvGrpSpPr/>
          <p:nvPr userDrawn="1"/>
        </p:nvGrpSpPr>
        <p:grpSpPr>
          <a:xfrm>
            <a:off x="0" y="4077072"/>
            <a:ext cx="9874285" cy="1872000"/>
            <a:chOff x="0" y="4077072"/>
            <a:chExt cx="9874285" cy="1872000"/>
          </a:xfrm>
          <a:solidFill>
            <a:schemeClr val="bg1"/>
          </a:solidFill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65B0FBDF-B45A-4871-8CEF-853991A5CC20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0" y="4077072"/>
              <a:ext cx="9874285" cy="1872000"/>
            </a:xfrm>
            <a:custGeom>
              <a:avLst/>
              <a:gdLst>
                <a:gd name="T0" fmla="*/ 10894 w 23040"/>
                <a:gd name="T1" fmla="*/ 3037 h 4369"/>
                <a:gd name="T2" fmla="*/ 10931 w 23040"/>
                <a:gd name="T3" fmla="*/ 2661 h 4369"/>
                <a:gd name="T4" fmla="*/ 13479 w 23040"/>
                <a:gd name="T5" fmla="*/ 2241 h 4369"/>
                <a:gd name="T6" fmla="*/ 12981 w 23040"/>
                <a:gd name="T7" fmla="*/ 1865 h 4369"/>
                <a:gd name="T8" fmla="*/ 13222 w 23040"/>
                <a:gd name="T9" fmla="*/ 1543 h 4369"/>
                <a:gd name="T10" fmla="*/ 13525 w 23040"/>
                <a:gd name="T11" fmla="*/ 3907 h 4369"/>
                <a:gd name="T12" fmla="*/ 12729 w 23040"/>
                <a:gd name="T13" fmla="*/ 3813 h 4369"/>
                <a:gd name="T14" fmla="*/ 10912 w 23040"/>
                <a:gd name="T15" fmla="*/ 2402 h 4369"/>
                <a:gd name="T16" fmla="*/ 16652 w 23040"/>
                <a:gd name="T17" fmla="*/ 970 h 4369"/>
                <a:gd name="T18" fmla="*/ 16232 w 23040"/>
                <a:gd name="T19" fmla="*/ 332 h 4369"/>
                <a:gd name="T20" fmla="*/ 15103 w 23040"/>
                <a:gd name="T21" fmla="*/ 2262 h 4369"/>
                <a:gd name="T22" fmla="*/ 12814 w 23040"/>
                <a:gd name="T23" fmla="*/ 2991 h 4369"/>
                <a:gd name="T24" fmla="*/ 11678 w 23040"/>
                <a:gd name="T25" fmla="*/ 3172 h 4369"/>
                <a:gd name="T26" fmla="*/ 12355 w 23040"/>
                <a:gd name="T27" fmla="*/ 2838 h 4369"/>
                <a:gd name="T28" fmla="*/ 12184 w 23040"/>
                <a:gd name="T29" fmla="*/ 4304 h 4369"/>
                <a:gd name="T30" fmla="*/ 11739 w 23040"/>
                <a:gd name="T31" fmla="*/ 2627 h 4369"/>
                <a:gd name="T32" fmla="*/ 11666 w 23040"/>
                <a:gd name="T33" fmla="*/ 2291 h 4369"/>
                <a:gd name="T34" fmla="*/ 11184 w 23040"/>
                <a:gd name="T35" fmla="*/ 3107 h 4369"/>
                <a:gd name="T36" fmla="*/ 11469 w 23040"/>
                <a:gd name="T37" fmla="*/ 1044 h 4369"/>
                <a:gd name="T38" fmla="*/ 13150 w 23040"/>
                <a:gd name="T39" fmla="*/ 754 h 4369"/>
                <a:gd name="T40" fmla="*/ 16863 w 23040"/>
                <a:gd name="T41" fmla="*/ 4331 h 4369"/>
                <a:gd name="T42" fmla="*/ 14362 w 23040"/>
                <a:gd name="T43" fmla="*/ 3771 h 4369"/>
                <a:gd name="T44" fmla="*/ 14362 w 23040"/>
                <a:gd name="T45" fmla="*/ 3373 h 4369"/>
                <a:gd name="T46" fmla="*/ 14105 w 23040"/>
                <a:gd name="T47" fmla="*/ 3277 h 4369"/>
                <a:gd name="T48" fmla="*/ 14091 w 23040"/>
                <a:gd name="T49" fmla="*/ 2881 h 4369"/>
                <a:gd name="T50" fmla="*/ 20731 w 23040"/>
                <a:gd name="T51" fmla="*/ 4008 h 4369"/>
                <a:gd name="T52" fmla="*/ 19002 w 23040"/>
                <a:gd name="T53" fmla="*/ 3795 h 4369"/>
                <a:gd name="T54" fmla="*/ 19052 w 23040"/>
                <a:gd name="T55" fmla="*/ 3549 h 4369"/>
                <a:gd name="T56" fmla="*/ 19727 w 23040"/>
                <a:gd name="T57" fmla="*/ 3547 h 4369"/>
                <a:gd name="T58" fmla="*/ 21772 w 23040"/>
                <a:gd name="T59" fmla="*/ 1759 h 4369"/>
                <a:gd name="T60" fmla="*/ 20169 w 23040"/>
                <a:gd name="T61" fmla="*/ 1874 h 4369"/>
                <a:gd name="T62" fmla="*/ 18388 w 23040"/>
                <a:gd name="T63" fmla="*/ 2546 h 4369"/>
                <a:gd name="T64" fmla="*/ 19509 w 23040"/>
                <a:gd name="T65" fmla="*/ 3625 h 4369"/>
                <a:gd name="T66" fmla="*/ 18969 w 23040"/>
                <a:gd name="T67" fmla="*/ 3381 h 4369"/>
                <a:gd name="T68" fmla="*/ 2798 w 23040"/>
                <a:gd name="T69" fmla="*/ 3193 h 4369"/>
                <a:gd name="T70" fmla="*/ 440 w 23040"/>
                <a:gd name="T71" fmla="*/ 2751 h 4369"/>
                <a:gd name="T72" fmla="*/ 2868 w 23040"/>
                <a:gd name="T73" fmla="*/ 4141 h 4369"/>
                <a:gd name="T74" fmla="*/ 837 w 23040"/>
                <a:gd name="T75" fmla="*/ 3250 h 4369"/>
                <a:gd name="T76" fmla="*/ 823 w 23040"/>
                <a:gd name="T77" fmla="*/ 3336 h 4369"/>
                <a:gd name="T78" fmla="*/ 1107 w 23040"/>
                <a:gd name="T79" fmla="*/ 3717 h 4369"/>
                <a:gd name="T80" fmla="*/ 1080 w 23040"/>
                <a:gd name="T81" fmla="*/ 3810 h 4369"/>
                <a:gd name="T82" fmla="*/ 188 w 23040"/>
                <a:gd name="T83" fmla="*/ 1799 h 4369"/>
                <a:gd name="T84" fmla="*/ 2556 w 23040"/>
                <a:gd name="T85" fmla="*/ 2016 h 4369"/>
                <a:gd name="T86" fmla="*/ 2583 w 23040"/>
                <a:gd name="T87" fmla="*/ 2578 h 4369"/>
                <a:gd name="T88" fmla="*/ 8182 w 23040"/>
                <a:gd name="T89" fmla="*/ 2792 h 4369"/>
                <a:gd name="T90" fmla="*/ 9070 w 23040"/>
                <a:gd name="T91" fmla="*/ 2753 h 4369"/>
                <a:gd name="T92" fmla="*/ 6863 w 23040"/>
                <a:gd name="T93" fmla="*/ 2176 h 4369"/>
                <a:gd name="T94" fmla="*/ 6215 w 23040"/>
                <a:gd name="T95" fmla="*/ 2702 h 4369"/>
                <a:gd name="T96" fmla="*/ 7097 w 23040"/>
                <a:gd name="T97" fmla="*/ 2957 h 4369"/>
                <a:gd name="T98" fmla="*/ 6454 w 23040"/>
                <a:gd name="T99" fmla="*/ 3498 h 4369"/>
                <a:gd name="T100" fmla="*/ 6384 w 23040"/>
                <a:gd name="T101" fmla="*/ 4003 h 4369"/>
                <a:gd name="T102" fmla="*/ 8037 w 23040"/>
                <a:gd name="T103" fmla="*/ 2925 h 4369"/>
                <a:gd name="T104" fmla="*/ 8332 w 23040"/>
                <a:gd name="T105" fmla="*/ 3308 h 4369"/>
                <a:gd name="T106" fmla="*/ 8296 w 23040"/>
                <a:gd name="T107" fmla="*/ 3424 h 4369"/>
                <a:gd name="T108" fmla="*/ 8598 w 23040"/>
                <a:gd name="T109" fmla="*/ 3792 h 4369"/>
                <a:gd name="T110" fmla="*/ 5650 w 23040"/>
                <a:gd name="T111" fmla="*/ 1956 h 4369"/>
                <a:gd name="T112" fmla="*/ 8119 w 23040"/>
                <a:gd name="T113" fmla="*/ 245 h 4369"/>
                <a:gd name="T114" fmla="*/ 4680 w 23040"/>
                <a:gd name="T115" fmla="*/ 942 h 4369"/>
                <a:gd name="T116" fmla="*/ 5027 w 23040"/>
                <a:gd name="T117" fmla="*/ 2616 h 4369"/>
                <a:gd name="T118" fmla="*/ 4991 w 23040"/>
                <a:gd name="T119" fmla="*/ 2732 h 4369"/>
                <a:gd name="T120" fmla="*/ 5292 w 23040"/>
                <a:gd name="T121" fmla="*/ 3101 h 4369"/>
                <a:gd name="T122" fmla="*/ 5252 w 23040"/>
                <a:gd name="T123" fmla="*/ 3235 h 4369"/>
                <a:gd name="T124" fmla="*/ 3326 w 23040"/>
                <a:gd name="T125" fmla="*/ 3951 h 4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040" h="4369">
                  <a:moveTo>
                    <a:pt x="10933" y="3163"/>
                  </a:moveTo>
                  <a:lnTo>
                    <a:pt x="10933" y="3274"/>
                  </a:lnTo>
                  <a:lnTo>
                    <a:pt x="10931" y="3283"/>
                  </a:lnTo>
                  <a:lnTo>
                    <a:pt x="10926" y="3290"/>
                  </a:lnTo>
                  <a:lnTo>
                    <a:pt x="10920" y="3294"/>
                  </a:lnTo>
                  <a:lnTo>
                    <a:pt x="10912" y="3295"/>
                  </a:lnTo>
                  <a:lnTo>
                    <a:pt x="10906" y="3294"/>
                  </a:lnTo>
                  <a:lnTo>
                    <a:pt x="10899" y="3290"/>
                  </a:lnTo>
                  <a:lnTo>
                    <a:pt x="10894" y="3283"/>
                  </a:lnTo>
                  <a:lnTo>
                    <a:pt x="10893" y="3274"/>
                  </a:lnTo>
                  <a:lnTo>
                    <a:pt x="10893" y="3163"/>
                  </a:lnTo>
                  <a:lnTo>
                    <a:pt x="10894" y="3154"/>
                  </a:lnTo>
                  <a:lnTo>
                    <a:pt x="10899" y="3148"/>
                  </a:lnTo>
                  <a:lnTo>
                    <a:pt x="10906" y="3144"/>
                  </a:lnTo>
                  <a:lnTo>
                    <a:pt x="10912" y="3143"/>
                  </a:lnTo>
                  <a:lnTo>
                    <a:pt x="10920" y="3144"/>
                  </a:lnTo>
                  <a:lnTo>
                    <a:pt x="10926" y="3148"/>
                  </a:lnTo>
                  <a:lnTo>
                    <a:pt x="10931" y="3154"/>
                  </a:lnTo>
                  <a:lnTo>
                    <a:pt x="10933" y="3163"/>
                  </a:lnTo>
                  <a:close/>
                  <a:moveTo>
                    <a:pt x="10670" y="3163"/>
                  </a:moveTo>
                  <a:lnTo>
                    <a:pt x="10670" y="3274"/>
                  </a:lnTo>
                  <a:lnTo>
                    <a:pt x="10669" y="3283"/>
                  </a:lnTo>
                  <a:lnTo>
                    <a:pt x="10663" y="3290"/>
                  </a:lnTo>
                  <a:lnTo>
                    <a:pt x="10657" y="3294"/>
                  </a:lnTo>
                  <a:lnTo>
                    <a:pt x="10649" y="3295"/>
                  </a:lnTo>
                  <a:lnTo>
                    <a:pt x="10643" y="3294"/>
                  </a:lnTo>
                  <a:lnTo>
                    <a:pt x="10637" y="3290"/>
                  </a:lnTo>
                  <a:lnTo>
                    <a:pt x="10631" y="3283"/>
                  </a:lnTo>
                  <a:lnTo>
                    <a:pt x="10630" y="3274"/>
                  </a:lnTo>
                  <a:lnTo>
                    <a:pt x="10630" y="3163"/>
                  </a:lnTo>
                  <a:lnTo>
                    <a:pt x="10631" y="3154"/>
                  </a:lnTo>
                  <a:lnTo>
                    <a:pt x="10637" y="3148"/>
                  </a:lnTo>
                  <a:lnTo>
                    <a:pt x="10643" y="3144"/>
                  </a:lnTo>
                  <a:lnTo>
                    <a:pt x="10649" y="3143"/>
                  </a:lnTo>
                  <a:lnTo>
                    <a:pt x="10657" y="3144"/>
                  </a:lnTo>
                  <a:lnTo>
                    <a:pt x="10663" y="3148"/>
                  </a:lnTo>
                  <a:lnTo>
                    <a:pt x="10669" y="3154"/>
                  </a:lnTo>
                  <a:lnTo>
                    <a:pt x="10670" y="3163"/>
                  </a:lnTo>
                  <a:close/>
                  <a:moveTo>
                    <a:pt x="10407" y="3163"/>
                  </a:moveTo>
                  <a:lnTo>
                    <a:pt x="10407" y="3274"/>
                  </a:lnTo>
                  <a:lnTo>
                    <a:pt x="10404" y="3283"/>
                  </a:lnTo>
                  <a:lnTo>
                    <a:pt x="10401" y="3290"/>
                  </a:lnTo>
                  <a:lnTo>
                    <a:pt x="10394" y="3294"/>
                  </a:lnTo>
                  <a:lnTo>
                    <a:pt x="10386" y="3295"/>
                  </a:lnTo>
                  <a:lnTo>
                    <a:pt x="10379" y="3294"/>
                  </a:lnTo>
                  <a:lnTo>
                    <a:pt x="10372" y="3290"/>
                  </a:lnTo>
                  <a:lnTo>
                    <a:pt x="10369" y="3283"/>
                  </a:lnTo>
                  <a:lnTo>
                    <a:pt x="10366" y="3274"/>
                  </a:lnTo>
                  <a:lnTo>
                    <a:pt x="10366" y="3163"/>
                  </a:lnTo>
                  <a:lnTo>
                    <a:pt x="10369" y="3154"/>
                  </a:lnTo>
                  <a:lnTo>
                    <a:pt x="10372" y="3148"/>
                  </a:lnTo>
                  <a:lnTo>
                    <a:pt x="10379" y="3144"/>
                  </a:lnTo>
                  <a:lnTo>
                    <a:pt x="10386" y="3143"/>
                  </a:lnTo>
                  <a:lnTo>
                    <a:pt x="10394" y="3144"/>
                  </a:lnTo>
                  <a:lnTo>
                    <a:pt x="10401" y="3148"/>
                  </a:lnTo>
                  <a:lnTo>
                    <a:pt x="10404" y="3154"/>
                  </a:lnTo>
                  <a:lnTo>
                    <a:pt x="10407" y="3163"/>
                  </a:lnTo>
                  <a:close/>
                  <a:moveTo>
                    <a:pt x="10143" y="3163"/>
                  </a:moveTo>
                  <a:lnTo>
                    <a:pt x="10143" y="3274"/>
                  </a:lnTo>
                  <a:lnTo>
                    <a:pt x="10142" y="3283"/>
                  </a:lnTo>
                  <a:lnTo>
                    <a:pt x="10138" y="3290"/>
                  </a:lnTo>
                  <a:lnTo>
                    <a:pt x="10131" y="3294"/>
                  </a:lnTo>
                  <a:lnTo>
                    <a:pt x="10124" y="3295"/>
                  </a:lnTo>
                  <a:lnTo>
                    <a:pt x="10116" y="3294"/>
                  </a:lnTo>
                  <a:lnTo>
                    <a:pt x="10109" y="3290"/>
                  </a:lnTo>
                  <a:lnTo>
                    <a:pt x="10106" y="3283"/>
                  </a:lnTo>
                  <a:lnTo>
                    <a:pt x="10103" y="3274"/>
                  </a:lnTo>
                  <a:lnTo>
                    <a:pt x="10103" y="3163"/>
                  </a:lnTo>
                  <a:lnTo>
                    <a:pt x="10106" y="3154"/>
                  </a:lnTo>
                  <a:lnTo>
                    <a:pt x="10109" y="3148"/>
                  </a:lnTo>
                  <a:lnTo>
                    <a:pt x="10116" y="3144"/>
                  </a:lnTo>
                  <a:lnTo>
                    <a:pt x="10124" y="3143"/>
                  </a:lnTo>
                  <a:lnTo>
                    <a:pt x="10131" y="3144"/>
                  </a:lnTo>
                  <a:lnTo>
                    <a:pt x="10138" y="3148"/>
                  </a:lnTo>
                  <a:lnTo>
                    <a:pt x="10142" y="3154"/>
                  </a:lnTo>
                  <a:lnTo>
                    <a:pt x="10143" y="3163"/>
                  </a:lnTo>
                  <a:close/>
                  <a:moveTo>
                    <a:pt x="9880" y="3163"/>
                  </a:moveTo>
                  <a:lnTo>
                    <a:pt x="9880" y="3274"/>
                  </a:lnTo>
                  <a:lnTo>
                    <a:pt x="9879" y="3283"/>
                  </a:lnTo>
                  <a:lnTo>
                    <a:pt x="9874" y="3290"/>
                  </a:lnTo>
                  <a:lnTo>
                    <a:pt x="9867" y="3294"/>
                  </a:lnTo>
                  <a:lnTo>
                    <a:pt x="9861" y="3295"/>
                  </a:lnTo>
                  <a:lnTo>
                    <a:pt x="9853" y="3294"/>
                  </a:lnTo>
                  <a:lnTo>
                    <a:pt x="9847" y="3290"/>
                  </a:lnTo>
                  <a:lnTo>
                    <a:pt x="9841" y="3283"/>
                  </a:lnTo>
                  <a:lnTo>
                    <a:pt x="9840" y="3274"/>
                  </a:lnTo>
                  <a:lnTo>
                    <a:pt x="9840" y="3163"/>
                  </a:lnTo>
                  <a:lnTo>
                    <a:pt x="9841" y="3154"/>
                  </a:lnTo>
                  <a:lnTo>
                    <a:pt x="9847" y="3148"/>
                  </a:lnTo>
                  <a:lnTo>
                    <a:pt x="9853" y="3144"/>
                  </a:lnTo>
                  <a:lnTo>
                    <a:pt x="9861" y="3143"/>
                  </a:lnTo>
                  <a:lnTo>
                    <a:pt x="9867" y="3144"/>
                  </a:lnTo>
                  <a:lnTo>
                    <a:pt x="9874" y="3148"/>
                  </a:lnTo>
                  <a:lnTo>
                    <a:pt x="9879" y="3154"/>
                  </a:lnTo>
                  <a:lnTo>
                    <a:pt x="9880" y="3163"/>
                  </a:lnTo>
                  <a:close/>
                  <a:moveTo>
                    <a:pt x="9617" y="3163"/>
                  </a:moveTo>
                  <a:lnTo>
                    <a:pt x="9617" y="3274"/>
                  </a:lnTo>
                  <a:lnTo>
                    <a:pt x="9616" y="3283"/>
                  </a:lnTo>
                  <a:lnTo>
                    <a:pt x="9611" y="3290"/>
                  </a:lnTo>
                  <a:lnTo>
                    <a:pt x="9604" y="3294"/>
                  </a:lnTo>
                  <a:lnTo>
                    <a:pt x="9598" y="3295"/>
                  </a:lnTo>
                  <a:lnTo>
                    <a:pt x="9590" y="3294"/>
                  </a:lnTo>
                  <a:lnTo>
                    <a:pt x="9584" y="3290"/>
                  </a:lnTo>
                  <a:lnTo>
                    <a:pt x="9579" y="3283"/>
                  </a:lnTo>
                  <a:lnTo>
                    <a:pt x="9577" y="3274"/>
                  </a:lnTo>
                  <a:lnTo>
                    <a:pt x="9577" y="3163"/>
                  </a:lnTo>
                  <a:lnTo>
                    <a:pt x="9579" y="3154"/>
                  </a:lnTo>
                  <a:lnTo>
                    <a:pt x="9584" y="3148"/>
                  </a:lnTo>
                  <a:lnTo>
                    <a:pt x="9590" y="3144"/>
                  </a:lnTo>
                  <a:lnTo>
                    <a:pt x="9598" y="3143"/>
                  </a:lnTo>
                  <a:lnTo>
                    <a:pt x="9604" y="3144"/>
                  </a:lnTo>
                  <a:lnTo>
                    <a:pt x="9611" y="3148"/>
                  </a:lnTo>
                  <a:lnTo>
                    <a:pt x="9616" y="3154"/>
                  </a:lnTo>
                  <a:lnTo>
                    <a:pt x="9617" y="3163"/>
                  </a:lnTo>
                  <a:close/>
                  <a:moveTo>
                    <a:pt x="10933" y="2916"/>
                  </a:moveTo>
                  <a:lnTo>
                    <a:pt x="10933" y="3028"/>
                  </a:lnTo>
                  <a:lnTo>
                    <a:pt x="10931" y="3037"/>
                  </a:lnTo>
                  <a:lnTo>
                    <a:pt x="10926" y="3043"/>
                  </a:lnTo>
                  <a:lnTo>
                    <a:pt x="10920" y="3047"/>
                  </a:lnTo>
                  <a:lnTo>
                    <a:pt x="10912" y="3048"/>
                  </a:lnTo>
                  <a:lnTo>
                    <a:pt x="10906" y="3047"/>
                  </a:lnTo>
                  <a:lnTo>
                    <a:pt x="10899" y="3043"/>
                  </a:lnTo>
                  <a:lnTo>
                    <a:pt x="10894" y="3037"/>
                  </a:lnTo>
                  <a:lnTo>
                    <a:pt x="10893" y="3028"/>
                  </a:lnTo>
                  <a:lnTo>
                    <a:pt x="10893" y="2916"/>
                  </a:lnTo>
                  <a:lnTo>
                    <a:pt x="10894" y="2907"/>
                  </a:lnTo>
                  <a:lnTo>
                    <a:pt x="10899" y="2901"/>
                  </a:lnTo>
                  <a:lnTo>
                    <a:pt x="10906" y="2897"/>
                  </a:lnTo>
                  <a:lnTo>
                    <a:pt x="10912" y="2896"/>
                  </a:lnTo>
                  <a:lnTo>
                    <a:pt x="10920" y="2897"/>
                  </a:lnTo>
                  <a:lnTo>
                    <a:pt x="10926" y="2901"/>
                  </a:lnTo>
                  <a:lnTo>
                    <a:pt x="10931" y="2907"/>
                  </a:lnTo>
                  <a:lnTo>
                    <a:pt x="10933" y="2916"/>
                  </a:lnTo>
                  <a:close/>
                  <a:moveTo>
                    <a:pt x="10670" y="2916"/>
                  </a:moveTo>
                  <a:lnTo>
                    <a:pt x="10670" y="3028"/>
                  </a:lnTo>
                  <a:lnTo>
                    <a:pt x="10669" y="3037"/>
                  </a:lnTo>
                  <a:lnTo>
                    <a:pt x="10663" y="3043"/>
                  </a:lnTo>
                  <a:lnTo>
                    <a:pt x="10657" y="3047"/>
                  </a:lnTo>
                  <a:lnTo>
                    <a:pt x="10649" y="3048"/>
                  </a:lnTo>
                  <a:lnTo>
                    <a:pt x="10643" y="3047"/>
                  </a:lnTo>
                  <a:lnTo>
                    <a:pt x="10637" y="3043"/>
                  </a:lnTo>
                  <a:lnTo>
                    <a:pt x="10631" y="3037"/>
                  </a:lnTo>
                  <a:lnTo>
                    <a:pt x="10630" y="3028"/>
                  </a:lnTo>
                  <a:lnTo>
                    <a:pt x="10630" y="2916"/>
                  </a:lnTo>
                  <a:lnTo>
                    <a:pt x="10631" y="2907"/>
                  </a:lnTo>
                  <a:lnTo>
                    <a:pt x="10637" y="2901"/>
                  </a:lnTo>
                  <a:lnTo>
                    <a:pt x="10643" y="2897"/>
                  </a:lnTo>
                  <a:lnTo>
                    <a:pt x="10649" y="2896"/>
                  </a:lnTo>
                  <a:lnTo>
                    <a:pt x="10657" y="2897"/>
                  </a:lnTo>
                  <a:lnTo>
                    <a:pt x="10663" y="2901"/>
                  </a:lnTo>
                  <a:lnTo>
                    <a:pt x="10669" y="2907"/>
                  </a:lnTo>
                  <a:lnTo>
                    <a:pt x="10670" y="2916"/>
                  </a:lnTo>
                  <a:close/>
                  <a:moveTo>
                    <a:pt x="10407" y="2916"/>
                  </a:moveTo>
                  <a:lnTo>
                    <a:pt x="10407" y="3028"/>
                  </a:lnTo>
                  <a:lnTo>
                    <a:pt x="10404" y="3037"/>
                  </a:lnTo>
                  <a:lnTo>
                    <a:pt x="10401" y="3043"/>
                  </a:lnTo>
                  <a:lnTo>
                    <a:pt x="10394" y="3047"/>
                  </a:lnTo>
                  <a:lnTo>
                    <a:pt x="10386" y="3048"/>
                  </a:lnTo>
                  <a:lnTo>
                    <a:pt x="10379" y="3047"/>
                  </a:lnTo>
                  <a:lnTo>
                    <a:pt x="10372" y="3043"/>
                  </a:lnTo>
                  <a:lnTo>
                    <a:pt x="10369" y="3037"/>
                  </a:lnTo>
                  <a:lnTo>
                    <a:pt x="10366" y="3028"/>
                  </a:lnTo>
                  <a:lnTo>
                    <a:pt x="10366" y="2916"/>
                  </a:lnTo>
                  <a:lnTo>
                    <a:pt x="10369" y="2907"/>
                  </a:lnTo>
                  <a:lnTo>
                    <a:pt x="10372" y="2901"/>
                  </a:lnTo>
                  <a:lnTo>
                    <a:pt x="10379" y="2897"/>
                  </a:lnTo>
                  <a:lnTo>
                    <a:pt x="10386" y="2896"/>
                  </a:lnTo>
                  <a:lnTo>
                    <a:pt x="10394" y="2897"/>
                  </a:lnTo>
                  <a:lnTo>
                    <a:pt x="10401" y="2901"/>
                  </a:lnTo>
                  <a:lnTo>
                    <a:pt x="10404" y="2907"/>
                  </a:lnTo>
                  <a:lnTo>
                    <a:pt x="10407" y="2916"/>
                  </a:lnTo>
                  <a:close/>
                  <a:moveTo>
                    <a:pt x="10143" y="2916"/>
                  </a:moveTo>
                  <a:lnTo>
                    <a:pt x="10143" y="3028"/>
                  </a:lnTo>
                  <a:lnTo>
                    <a:pt x="10142" y="3037"/>
                  </a:lnTo>
                  <a:lnTo>
                    <a:pt x="10138" y="3043"/>
                  </a:lnTo>
                  <a:lnTo>
                    <a:pt x="10131" y="3047"/>
                  </a:lnTo>
                  <a:lnTo>
                    <a:pt x="10124" y="3048"/>
                  </a:lnTo>
                  <a:lnTo>
                    <a:pt x="10116" y="3047"/>
                  </a:lnTo>
                  <a:lnTo>
                    <a:pt x="10109" y="3043"/>
                  </a:lnTo>
                  <a:lnTo>
                    <a:pt x="10106" y="3037"/>
                  </a:lnTo>
                  <a:lnTo>
                    <a:pt x="10103" y="3028"/>
                  </a:lnTo>
                  <a:lnTo>
                    <a:pt x="10103" y="2916"/>
                  </a:lnTo>
                  <a:lnTo>
                    <a:pt x="10106" y="2907"/>
                  </a:lnTo>
                  <a:lnTo>
                    <a:pt x="10109" y="2901"/>
                  </a:lnTo>
                  <a:lnTo>
                    <a:pt x="10116" y="2897"/>
                  </a:lnTo>
                  <a:lnTo>
                    <a:pt x="10124" y="2896"/>
                  </a:lnTo>
                  <a:lnTo>
                    <a:pt x="10131" y="2897"/>
                  </a:lnTo>
                  <a:lnTo>
                    <a:pt x="10138" y="2901"/>
                  </a:lnTo>
                  <a:lnTo>
                    <a:pt x="10142" y="2907"/>
                  </a:lnTo>
                  <a:lnTo>
                    <a:pt x="10143" y="2916"/>
                  </a:lnTo>
                  <a:close/>
                  <a:moveTo>
                    <a:pt x="9880" y="2916"/>
                  </a:moveTo>
                  <a:lnTo>
                    <a:pt x="9880" y="3028"/>
                  </a:lnTo>
                  <a:lnTo>
                    <a:pt x="9879" y="3037"/>
                  </a:lnTo>
                  <a:lnTo>
                    <a:pt x="9874" y="3043"/>
                  </a:lnTo>
                  <a:lnTo>
                    <a:pt x="9867" y="3047"/>
                  </a:lnTo>
                  <a:lnTo>
                    <a:pt x="9861" y="3048"/>
                  </a:lnTo>
                  <a:lnTo>
                    <a:pt x="9853" y="3047"/>
                  </a:lnTo>
                  <a:lnTo>
                    <a:pt x="9847" y="3043"/>
                  </a:lnTo>
                  <a:lnTo>
                    <a:pt x="9841" y="3037"/>
                  </a:lnTo>
                  <a:lnTo>
                    <a:pt x="9840" y="3028"/>
                  </a:lnTo>
                  <a:lnTo>
                    <a:pt x="9840" y="2916"/>
                  </a:lnTo>
                  <a:lnTo>
                    <a:pt x="9841" y="2907"/>
                  </a:lnTo>
                  <a:lnTo>
                    <a:pt x="9847" y="2901"/>
                  </a:lnTo>
                  <a:lnTo>
                    <a:pt x="9853" y="2897"/>
                  </a:lnTo>
                  <a:lnTo>
                    <a:pt x="9861" y="2896"/>
                  </a:lnTo>
                  <a:lnTo>
                    <a:pt x="9867" y="2897"/>
                  </a:lnTo>
                  <a:lnTo>
                    <a:pt x="9874" y="2901"/>
                  </a:lnTo>
                  <a:lnTo>
                    <a:pt x="9879" y="2907"/>
                  </a:lnTo>
                  <a:lnTo>
                    <a:pt x="9880" y="2916"/>
                  </a:lnTo>
                  <a:close/>
                  <a:moveTo>
                    <a:pt x="9617" y="2916"/>
                  </a:moveTo>
                  <a:lnTo>
                    <a:pt x="9617" y="3028"/>
                  </a:lnTo>
                  <a:lnTo>
                    <a:pt x="9616" y="3037"/>
                  </a:lnTo>
                  <a:lnTo>
                    <a:pt x="9611" y="3043"/>
                  </a:lnTo>
                  <a:lnTo>
                    <a:pt x="9604" y="3047"/>
                  </a:lnTo>
                  <a:lnTo>
                    <a:pt x="9598" y="3048"/>
                  </a:lnTo>
                  <a:lnTo>
                    <a:pt x="9590" y="3047"/>
                  </a:lnTo>
                  <a:lnTo>
                    <a:pt x="9584" y="3043"/>
                  </a:lnTo>
                  <a:lnTo>
                    <a:pt x="9579" y="3037"/>
                  </a:lnTo>
                  <a:lnTo>
                    <a:pt x="9577" y="3028"/>
                  </a:lnTo>
                  <a:lnTo>
                    <a:pt x="9577" y="2916"/>
                  </a:lnTo>
                  <a:lnTo>
                    <a:pt x="9579" y="2907"/>
                  </a:lnTo>
                  <a:lnTo>
                    <a:pt x="9584" y="2901"/>
                  </a:lnTo>
                  <a:lnTo>
                    <a:pt x="9590" y="2897"/>
                  </a:lnTo>
                  <a:lnTo>
                    <a:pt x="9598" y="2896"/>
                  </a:lnTo>
                  <a:lnTo>
                    <a:pt x="9604" y="2897"/>
                  </a:lnTo>
                  <a:lnTo>
                    <a:pt x="9611" y="2901"/>
                  </a:lnTo>
                  <a:lnTo>
                    <a:pt x="9616" y="2907"/>
                  </a:lnTo>
                  <a:lnTo>
                    <a:pt x="9617" y="2916"/>
                  </a:lnTo>
                  <a:close/>
                  <a:moveTo>
                    <a:pt x="10933" y="2670"/>
                  </a:moveTo>
                  <a:lnTo>
                    <a:pt x="10933" y="2782"/>
                  </a:lnTo>
                  <a:lnTo>
                    <a:pt x="10931" y="2790"/>
                  </a:lnTo>
                  <a:lnTo>
                    <a:pt x="10926" y="2796"/>
                  </a:lnTo>
                  <a:lnTo>
                    <a:pt x="10920" y="2800"/>
                  </a:lnTo>
                  <a:lnTo>
                    <a:pt x="10912" y="2801"/>
                  </a:lnTo>
                  <a:lnTo>
                    <a:pt x="10906" y="2800"/>
                  </a:lnTo>
                  <a:lnTo>
                    <a:pt x="10899" y="2796"/>
                  </a:lnTo>
                  <a:lnTo>
                    <a:pt x="10894" y="2790"/>
                  </a:lnTo>
                  <a:lnTo>
                    <a:pt x="10893" y="2782"/>
                  </a:lnTo>
                  <a:lnTo>
                    <a:pt x="10893" y="2670"/>
                  </a:lnTo>
                  <a:lnTo>
                    <a:pt x="10894" y="2661"/>
                  </a:lnTo>
                  <a:lnTo>
                    <a:pt x="10899" y="2654"/>
                  </a:lnTo>
                  <a:lnTo>
                    <a:pt x="10906" y="2650"/>
                  </a:lnTo>
                  <a:lnTo>
                    <a:pt x="10912" y="2649"/>
                  </a:lnTo>
                  <a:lnTo>
                    <a:pt x="10920" y="2650"/>
                  </a:lnTo>
                  <a:lnTo>
                    <a:pt x="10926" y="2654"/>
                  </a:lnTo>
                  <a:lnTo>
                    <a:pt x="10931" y="2661"/>
                  </a:lnTo>
                  <a:lnTo>
                    <a:pt x="10933" y="2670"/>
                  </a:lnTo>
                  <a:close/>
                  <a:moveTo>
                    <a:pt x="10670" y="2670"/>
                  </a:moveTo>
                  <a:lnTo>
                    <a:pt x="10670" y="2782"/>
                  </a:lnTo>
                  <a:lnTo>
                    <a:pt x="10669" y="2790"/>
                  </a:lnTo>
                  <a:lnTo>
                    <a:pt x="10663" y="2796"/>
                  </a:lnTo>
                  <a:lnTo>
                    <a:pt x="10657" y="2800"/>
                  </a:lnTo>
                  <a:lnTo>
                    <a:pt x="10649" y="2801"/>
                  </a:lnTo>
                  <a:lnTo>
                    <a:pt x="10643" y="2800"/>
                  </a:lnTo>
                  <a:lnTo>
                    <a:pt x="10637" y="2796"/>
                  </a:lnTo>
                  <a:lnTo>
                    <a:pt x="10631" y="2790"/>
                  </a:lnTo>
                  <a:lnTo>
                    <a:pt x="10630" y="2782"/>
                  </a:lnTo>
                  <a:lnTo>
                    <a:pt x="10630" y="2670"/>
                  </a:lnTo>
                  <a:lnTo>
                    <a:pt x="10631" y="2661"/>
                  </a:lnTo>
                  <a:lnTo>
                    <a:pt x="10637" y="2654"/>
                  </a:lnTo>
                  <a:lnTo>
                    <a:pt x="10643" y="2650"/>
                  </a:lnTo>
                  <a:lnTo>
                    <a:pt x="10649" y="2649"/>
                  </a:lnTo>
                  <a:lnTo>
                    <a:pt x="10657" y="2650"/>
                  </a:lnTo>
                  <a:lnTo>
                    <a:pt x="10663" y="2654"/>
                  </a:lnTo>
                  <a:lnTo>
                    <a:pt x="10669" y="2661"/>
                  </a:lnTo>
                  <a:lnTo>
                    <a:pt x="10670" y="2670"/>
                  </a:lnTo>
                  <a:close/>
                  <a:moveTo>
                    <a:pt x="10407" y="2670"/>
                  </a:moveTo>
                  <a:lnTo>
                    <a:pt x="10407" y="2782"/>
                  </a:lnTo>
                  <a:lnTo>
                    <a:pt x="10404" y="2790"/>
                  </a:lnTo>
                  <a:lnTo>
                    <a:pt x="10401" y="2796"/>
                  </a:lnTo>
                  <a:lnTo>
                    <a:pt x="10394" y="2800"/>
                  </a:lnTo>
                  <a:lnTo>
                    <a:pt x="10386" y="2801"/>
                  </a:lnTo>
                  <a:lnTo>
                    <a:pt x="10379" y="2800"/>
                  </a:lnTo>
                  <a:lnTo>
                    <a:pt x="10372" y="2796"/>
                  </a:lnTo>
                  <a:lnTo>
                    <a:pt x="10369" y="2790"/>
                  </a:lnTo>
                  <a:lnTo>
                    <a:pt x="10366" y="2782"/>
                  </a:lnTo>
                  <a:lnTo>
                    <a:pt x="10366" y="2670"/>
                  </a:lnTo>
                  <a:lnTo>
                    <a:pt x="10369" y="2661"/>
                  </a:lnTo>
                  <a:lnTo>
                    <a:pt x="10372" y="2654"/>
                  </a:lnTo>
                  <a:lnTo>
                    <a:pt x="10379" y="2650"/>
                  </a:lnTo>
                  <a:lnTo>
                    <a:pt x="10386" y="2649"/>
                  </a:lnTo>
                  <a:lnTo>
                    <a:pt x="10394" y="2650"/>
                  </a:lnTo>
                  <a:lnTo>
                    <a:pt x="10401" y="2654"/>
                  </a:lnTo>
                  <a:lnTo>
                    <a:pt x="10404" y="2661"/>
                  </a:lnTo>
                  <a:lnTo>
                    <a:pt x="10407" y="2670"/>
                  </a:lnTo>
                  <a:close/>
                  <a:moveTo>
                    <a:pt x="10143" y="2670"/>
                  </a:moveTo>
                  <a:lnTo>
                    <a:pt x="10143" y="2782"/>
                  </a:lnTo>
                  <a:lnTo>
                    <a:pt x="10142" y="2790"/>
                  </a:lnTo>
                  <a:lnTo>
                    <a:pt x="10138" y="2796"/>
                  </a:lnTo>
                  <a:lnTo>
                    <a:pt x="10131" y="2800"/>
                  </a:lnTo>
                  <a:lnTo>
                    <a:pt x="10124" y="2801"/>
                  </a:lnTo>
                  <a:lnTo>
                    <a:pt x="10116" y="2800"/>
                  </a:lnTo>
                  <a:lnTo>
                    <a:pt x="10109" y="2796"/>
                  </a:lnTo>
                  <a:lnTo>
                    <a:pt x="10106" y="2790"/>
                  </a:lnTo>
                  <a:lnTo>
                    <a:pt x="10103" y="2782"/>
                  </a:lnTo>
                  <a:lnTo>
                    <a:pt x="10103" y="2670"/>
                  </a:lnTo>
                  <a:lnTo>
                    <a:pt x="10106" y="2661"/>
                  </a:lnTo>
                  <a:lnTo>
                    <a:pt x="10109" y="2654"/>
                  </a:lnTo>
                  <a:lnTo>
                    <a:pt x="10116" y="2650"/>
                  </a:lnTo>
                  <a:lnTo>
                    <a:pt x="10124" y="2649"/>
                  </a:lnTo>
                  <a:lnTo>
                    <a:pt x="10131" y="2650"/>
                  </a:lnTo>
                  <a:lnTo>
                    <a:pt x="10138" y="2654"/>
                  </a:lnTo>
                  <a:lnTo>
                    <a:pt x="10142" y="2661"/>
                  </a:lnTo>
                  <a:lnTo>
                    <a:pt x="10143" y="2670"/>
                  </a:lnTo>
                  <a:close/>
                  <a:moveTo>
                    <a:pt x="9880" y="2670"/>
                  </a:moveTo>
                  <a:lnTo>
                    <a:pt x="9880" y="2782"/>
                  </a:lnTo>
                  <a:lnTo>
                    <a:pt x="9879" y="2790"/>
                  </a:lnTo>
                  <a:lnTo>
                    <a:pt x="9874" y="2796"/>
                  </a:lnTo>
                  <a:lnTo>
                    <a:pt x="9867" y="2800"/>
                  </a:lnTo>
                  <a:lnTo>
                    <a:pt x="9861" y="2801"/>
                  </a:lnTo>
                  <a:lnTo>
                    <a:pt x="9853" y="2800"/>
                  </a:lnTo>
                  <a:lnTo>
                    <a:pt x="9847" y="2796"/>
                  </a:lnTo>
                  <a:lnTo>
                    <a:pt x="9841" y="2790"/>
                  </a:lnTo>
                  <a:lnTo>
                    <a:pt x="9840" y="2782"/>
                  </a:lnTo>
                  <a:lnTo>
                    <a:pt x="9840" y="2670"/>
                  </a:lnTo>
                  <a:lnTo>
                    <a:pt x="9841" y="2661"/>
                  </a:lnTo>
                  <a:lnTo>
                    <a:pt x="9847" y="2654"/>
                  </a:lnTo>
                  <a:lnTo>
                    <a:pt x="9853" y="2650"/>
                  </a:lnTo>
                  <a:lnTo>
                    <a:pt x="9861" y="2649"/>
                  </a:lnTo>
                  <a:lnTo>
                    <a:pt x="9867" y="2650"/>
                  </a:lnTo>
                  <a:lnTo>
                    <a:pt x="9874" y="2654"/>
                  </a:lnTo>
                  <a:lnTo>
                    <a:pt x="9879" y="2661"/>
                  </a:lnTo>
                  <a:lnTo>
                    <a:pt x="9880" y="2670"/>
                  </a:lnTo>
                  <a:close/>
                  <a:moveTo>
                    <a:pt x="9617" y="2670"/>
                  </a:moveTo>
                  <a:lnTo>
                    <a:pt x="9617" y="2782"/>
                  </a:lnTo>
                  <a:lnTo>
                    <a:pt x="9616" y="2790"/>
                  </a:lnTo>
                  <a:lnTo>
                    <a:pt x="9611" y="2796"/>
                  </a:lnTo>
                  <a:lnTo>
                    <a:pt x="9604" y="2800"/>
                  </a:lnTo>
                  <a:lnTo>
                    <a:pt x="9598" y="2801"/>
                  </a:lnTo>
                  <a:lnTo>
                    <a:pt x="9590" y="2800"/>
                  </a:lnTo>
                  <a:lnTo>
                    <a:pt x="9584" y="2796"/>
                  </a:lnTo>
                  <a:lnTo>
                    <a:pt x="9579" y="2790"/>
                  </a:lnTo>
                  <a:lnTo>
                    <a:pt x="9577" y="2782"/>
                  </a:lnTo>
                  <a:lnTo>
                    <a:pt x="9577" y="2670"/>
                  </a:lnTo>
                  <a:lnTo>
                    <a:pt x="9579" y="2661"/>
                  </a:lnTo>
                  <a:lnTo>
                    <a:pt x="9584" y="2654"/>
                  </a:lnTo>
                  <a:lnTo>
                    <a:pt x="9590" y="2650"/>
                  </a:lnTo>
                  <a:lnTo>
                    <a:pt x="9598" y="2649"/>
                  </a:lnTo>
                  <a:lnTo>
                    <a:pt x="9604" y="2650"/>
                  </a:lnTo>
                  <a:lnTo>
                    <a:pt x="9611" y="2654"/>
                  </a:lnTo>
                  <a:lnTo>
                    <a:pt x="9616" y="2661"/>
                  </a:lnTo>
                  <a:lnTo>
                    <a:pt x="9617" y="2670"/>
                  </a:lnTo>
                  <a:close/>
                  <a:moveTo>
                    <a:pt x="13776" y="2113"/>
                  </a:moveTo>
                  <a:lnTo>
                    <a:pt x="13776" y="2226"/>
                  </a:lnTo>
                  <a:lnTo>
                    <a:pt x="13774" y="2235"/>
                  </a:lnTo>
                  <a:lnTo>
                    <a:pt x="13769" y="2241"/>
                  </a:lnTo>
                  <a:lnTo>
                    <a:pt x="13763" y="2245"/>
                  </a:lnTo>
                  <a:lnTo>
                    <a:pt x="13756" y="2246"/>
                  </a:lnTo>
                  <a:lnTo>
                    <a:pt x="13749" y="2245"/>
                  </a:lnTo>
                  <a:lnTo>
                    <a:pt x="13742" y="2241"/>
                  </a:lnTo>
                  <a:lnTo>
                    <a:pt x="13737" y="2235"/>
                  </a:lnTo>
                  <a:lnTo>
                    <a:pt x="13736" y="2226"/>
                  </a:lnTo>
                  <a:lnTo>
                    <a:pt x="13736" y="2113"/>
                  </a:lnTo>
                  <a:lnTo>
                    <a:pt x="13737" y="2106"/>
                  </a:lnTo>
                  <a:lnTo>
                    <a:pt x="13742" y="2099"/>
                  </a:lnTo>
                  <a:lnTo>
                    <a:pt x="13749" y="2095"/>
                  </a:lnTo>
                  <a:lnTo>
                    <a:pt x="13756" y="2094"/>
                  </a:lnTo>
                  <a:lnTo>
                    <a:pt x="13763" y="2095"/>
                  </a:lnTo>
                  <a:lnTo>
                    <a:pt x="13769" y="2099"/>
                  </a:lnTo>
                  <a:lnTo>
                    <a:pt x="13774" y="2106"/>
                  </a:lnTo>
                  <a:lnTo>
                    <a:pt x="13776" y="2113"/>
                  </a:lnTo>
                  <a:close/>
                  <a:moveTo>
                    <a:pt x="13513" y="2113"/>
                  </a:moveTo>
                  <a:lnTo>
                    <a:pt x="13513" y="2226"/>
                  </a:lnTo>
                  <a:lnTo>
                    <a:pt x="13511" y="2235"/>
                  </a:lnTo>
                  <a:lnTo>
                    <a:pt x="13506" y="2241"/>
                  </a:lnTo>
                  <a:lnTo>
                    <a:pt x="13500" y="2245"/>
                  </a:lnTo>
                  <a:lnTo>
                    <a:pt x="13492" y="2246"/>
                  </a:lnTo>
                  <a:lnTo>
                    <a:pt x="13486" y="2245"/>
                  </a:lnTo>
                  <a:lnTo>
                    <a:pt x="13479" y="2241"/>
                  </a:lnTo>
                  <a:lnTo>
                    <a:pt x="13474" y="2235"/>
                  </a:lnTo>
                  <a:lnTo>
                    <a:pt x="13473" y="2226"/>
                  </a:lnTo>
                  <a:lnTo>
                    <a:pt x="13473" y="2113"/>
                  </a:lnTo>
                  <a:lnTo>
                    <a:pt x="13474" y="2106"/>
                  </a:lnTo>
                  <a:lnTo>
                    <a:pt x="13479" y="2099"/>
                  </a:lnTo>
                  <a:lnTo>
                    <a:pt x="13486" y="2095"/>
                  </a:lnTo>
                  <a:lnTo>
                    <a:pt x="13492" y="2094"/>
                  </a:lnTo>
                  <a:lnTo>
                    <a:pt x="13500" y="2095"/>
                  </a:lnTo>
                  <a:lnTo>
                    <a:pt x="13506" y="2099"/>
                  </a:lnTo>
                  <a:lnTo>
                    <a:pt x="13511" y="2106"/>
                  </a:lnTo>
                  <a:lnTo>
                    <a:pt x="13513" y="2113"/>
                  </a:lnTo>
                  <a:close/>
                  <a:moveTo>
                    <a:pt x="13250" y="2113"/>
                  </a:moveTo>
                  <a:lnTo>
                    <a:pt x="13250" y="2226"/>
                  </a:lnTo>
                  <a:lnTo>
                    <a:pt x="13247" y="2235"/>
                  </a:lnTo>
                  <a:lnTo>
                    <a:pt x="13243" y="2241"/>
                  </a:lnTo>
                  <a:lnTo>
                    <a:pt x="13237" y="2245"/>
                  </a:lnTo>
                  <a:lnTo>
                    <a:pt x="13229" y="2246"/>
                  </a:lnTo>
                  <a:lnTo>
                    <a:pt x="13222" y="2245"/>
                  </a:lnTo>
                  <a:lnTo>
                    <a:pt x="13215" y="2241"/>
                  </a:lnTo>
                  <a:lnTo>
                    <a:pt x="13211" y="2235"/>
                  </a:lnTo>
                  <a:lnTo>
                    <a:pt x="13210" y="2226"/>
                  </a:lnTo>
                  <a:lnTo>
                    <a:pt x="13210" y="2113"/>
                  </a:lnTo>
                  <a:lnTo>
                    <a:pt x="13211" y="2106"/>
                  </a:lnTo>
                  <a:lnTo>
                    <a:pt x="13215" y="2099"/>
                  </a:lnTo>
                  <a:lnTo>
                    <a:pt x="13222" y="2095"/>
                  </a:lnTo>
                  <a:lnTo>
                    <a:pt x="13229" y="2094"/>
                  </a:lnTo>
                  <a:lnTo>
                    <a:pt x="13237" y="2095"/>
                  </a:lnTo>
                  <a:lnTo>
                    <a:pt x="13243" y="2099"/>
                  </a:lnTo>
                  <a:lnTo>
                    <a:pt x="13247" y="2106"/>
                  </a:lnTo>
                  <a:lnTo>
                    <a:pt x="13250" y="2113"/>
                  </a:lnTo>
                  <a:close/>
                  <a:moveTo>
                    <a:pt x="12987" y="2113"/>
                  </a:moveTo>
                  <a:lnTo>
                    <a:pt x="12987" y="2226"/>
                  </a:lnTo>
                  <a:lnTo>
                    <a:pt x="12984" y="2235"/>
                  </a:lnTo>
                  <a:lnTo>
                    <a:pt x="12981" y="2241"/>
                  </a:lnTo>
                  <a:lnTo>
                    <a:pt x="12974" y="2245"/>
                  </a:lnTo>
                  <a:lnTo>
                    <a:pt x="12966" y="2246"/>
                  </a:lnTo>
                  <a:lnTo>
                    <a:pt x="12959" y="2245"/>
                  </a:lnTo>
                  <a:lnTo>
                    <a:pt x="12952" y="2241"/>
                  </a:lnTo>
                  <a:lnTo>
                    <a:pt x="12948" y="2235"/>
                  </a:lnTo>
                  <a:lnTo>
                    <a:pt x="12946" y="2226"/>
                  </a:lnTo>
                  <a:lnTo>
                    <a:pt x="12946" y="2113"/>
                  </a:lnTo>
                  <a:lnTo>
                    <a:pt x="12948" y="2106"/>
                  </a:lnTo>
                  <a:lnTo>
                    <a:pt x="12952" y="2099"/>
                  </a:lnTo>
                  <a:lnTo>
                    <a:pt x="12959" y="2095"/>
                  </a:lnTo>
                  <a:lnTo>
                    <a:pt x="12966" y="2094"/>
                  </a:lnTo>
                  <a:lnTo>
                    <a:pt x="12974" y="2095"/>
                  </a:lnTo>
                  <a:lnTo>
                    <a:pt x="12981" y="2099"/>
                  </a:lnTo>
                  <a:lnTo>
                    <a:pt x="12984" y="2106"/>
                  </a:lnTo>
                  <a:lnTo>
                    <a:pt x="12987" y="2113"/>
                  </a:lnTo>
                  <a:close/>
                  <a:moveTo>
                    <a:pt x="13776" y="1879"/>
                  </a:moveTo>
                  <a:lnTo>
                    <a:pt x="13776" y="1992"/>
                  </a:lnTo>
                  <a:lnTo>
                    <a:pt x="13774" y="2001"/>
                  </a:lnTo>
                  <a:lnTo>
                    <a:pt x="13769" y="2007"/>
                  </a:lnTo>
                  <a:lnTo>
                    <a:pt x="13763" y="2011"/>
                  </a:lnTo>
                  <a:lnTo>
                    <a:pt x="13756" y="2012"/>
                  </a:lnTo>
                  <a:lnTo>
                    <a:pt x="13749" y="2011"/>
                  </a:lnTo>
                  <a:lnTo>
                    <a:pt x="13742" y="2007"/>
                  </a:lnTo>
                  <a:lnTo>
                    <a:pt x="13737" y="2001"/>
                  </a:lnTo>
                  <a:lnTo>
                    <a:pt x="13736" y="1992"/>
                  </a:lnTo>
                  <a:lnTo>
                    <a:pt x="13736" y="1879"/>
                  </a:lnTo>
                  <a:lnTo>
                    <a:pt x="13737" y="1872"/>
                  </a:lnTo>
                  <a:lnTo>
                    <a:pt x="13742" y="1865"/>
                  </a:lnTo>
                  <a:lnTo>
                    <a:pt x="13749" y="1861"/>
                  </a:lnTo>
                  <a:lnTo>
                    <a:pt x="13756" y="1860"/>
                  </a:lnTo>
                  <a:lnTo>
                    <a:pt x="13763" y="1861"/>
                  </a:lnTo>
                  <a:lnTo>
                    <a:pt x="13769" y="1865"/>
                  </a:lnTo>
                  <a:lnTo>
                    <a:pt x="13774" y="1872"/>
                  </a:lnTo>
                  <a:lnTo>
                    <a:pt x="13776" y="1879"/>
                  </a:lnTo>
                  <a:close/>
                  <a:moveTo>
                    <a:pt x="13513" y="1879"/>
                  </a:moveTo>
                  <a:lnTo>
                    <a:pt x="13513" y="1992"/>
                  </a:lnTo>
                  <a:lnTo>
                    <a:pt x="13511" y="2001"/>
                  </a:lnTo>
                  <a:lnTo>
                    <a:pt x="13506" y="2007"/>
                  </a:lnTo>
                  <a:lnTo>
                    <a:pt x="13500" y="2011"/>
                  </a:lnTo>
                  <a:lnTo>
                    <a:pt x="13492" y="2012"/>
                  </a:lnTo>
                  <a:lnTo>
                    <a:pt x="13486" y="2011"/>
                  </a:lnTo>
                  <a:lnTo>
                    <a:pt x="13479" y="2007"/>
                  </a:lnTo>
                  <a:lnTo>
                    <a:pt x="13474" y="2001"/>
                  </a:lnTo>
                  <a:lnTo>
                    <a:pt x="13473" y="1992"/>
                  </a:lnTo>
                  <a:lnTo>
                    <a:pt x="13473" y="1879"/>
                  </a:lnTo>
                  <a:lnTo>
                    <a:pt x="13474" y="1872"/>
                  </a:lnTo>
                  <a:lnTo>
                    <a:pt x="13479" y="1865"/>
                  </a:lnTo>
                  <a:lnTo>
                    <a:pt x="13486" y="1861"/>
                  </a:lnTo>
                  <a:lnTo>
                    <a:pt x="13492" y="1860"/>
                  </a:lnTo>
                  <a:lnTo>
                    <a:pt x="13500" y="1861"/>
                  </a:lnTo>
                  <a:lnTo>
                    <a:pt x="13506" y="1865"/>
                  </a:lnTo>
                  <a:lnTo>
                    <a:pt x="13511" y="1872"/>
                  </a:lnTo>
                  <a:lnTo>
                    <a:pt x="13513" y="1879"/>
                  </a:lnTo>
                  <a:close/>
                  <a:moveTo>
                    <a:pt x="13250" y="1879"/>
                  </a:moveTo>
                  <a:lnTo>
                    <a:pt x="13250" y="1992"/>
                  </a:lnTo>
                  <a:lnTo>
                    <a:pt x="13247" y="2001"/>
                  </a:lnTo>
                  <a:lnTo>
                    <a:pt x="13243" y="2007"/>
                  </a:lnTo>
                  <a:lnTo>
                    <a:pt x="13237" y="2011"/>
                  </a:lnTo>
                  <a:lnTo>
                    <a:pt x="13229" y="2012"/>
                  </a:lnTo>
                  <a:lnTo>
                    <a:pt x="13222" y="2011"/>
                  </a:lnTo>
                  <a:lnTo>
                    <a:pt x="13215" y="2007"/>
                  </a:lnTo>
                  <a:lnTo>
                    <a:pt x="13211" y="2001"/>
                  </a:lnTo>
                  <a:lnTo>
                    <a:pt x="13210" y="1992"/>
                  </a:lnTo>
                  <a:lnTo>
                    <a:pt x="13210" y="1879"/>
                  </a:lnTo>
                  <a:lnTo>
                    <a:pt x="13211" y="1872"/>
                  </a:lnTo>
                  <a:lnTo>
                    <a:pt x="13215" y="1865"/>
                  </a:lnTo>
                  <a:lnTo>
                    <a:pt x="13222" y="1861"/>
                  </a:lnTo>
                  <a:lnTo>
                    <a:pt x="13229" y="1860"/>
                  </a:lnTo>
                  <a:lnTo>
                    <a:pt x="13237" y="1861"/>
                  </a:lnTo>
                  <a:lnTo>
                    <a:pt x="13243" y="1865"/>
                  </a:lnTo>
                  <a:lnTo>
                    <a:pt x="13247" y="1872"/>
                  </a:lnTo>
                  <a:lnTo>
                    <a:pt x="13250" y="1879"/>
                  </a:lnTo>
                  <a:close/>
                  <a:moveTo>
                    <a:pt x="12987" y="1879"/>
                  </a:moveTo>
                  <a:lnTo>
                    <a:pt x="12987" y="1992"/>
                  </a:lnTo>
                  <a:lnTo>
                    <a:pt x="12984" y="2001"/>
                  </a:lnTo>
                  <a:lnTo>
                    <a:pt x="12981" y="2007"/>
                  </a:lnTo>
                  <a:lnTo>
                    <a:pt x="12974" y="2011"/>
                  </a:lnTo>
                  <a:lnTo>
                    <a:pt x="12966" y="2012"/>
                  </a:lnTo>
                  <a:lnTo>
                    <a:pt x="12959" y="2011"/>
                  </a:lnTo>
                  <a:lnTo>
                    <a:pt x="12952" y="2007"/>
                  </a:lnTo>
                  <a:lnTo>
                    <a:pt x="12948" y="2001"/>
                  </a:lnTo>
                  <a:lnTo>
                    <a:pt x="12946" y="1992"/>
                  </a:lnTo>
                  <a:lnTo>
                    <a:pt x="12946" y="1879"/>
                  </a:lnTo>
                  <a:lnTo>
                    <a:pt x="12948" y="1872"/>
                  </a:lnTo>
                  <a:lnTo>
                    <a:pt x="12952" y="1865"/>
                  </a:lnTo>
                  <a:lnTo>
                    <a:pt x="12959" y="1861"/>
                  </a:lnTo>
                  <a:lnTo>
                    <a:pt x="12966" y="1860"/>
                  </a:lnTo>
                  <a:lnTo>
                    <a:pt x="12974" y="1861"/>
                  </a:lnTo>
                  <a:lnTo>
                    <a:pt x="12981" y="1865"/>
                  </a:lnTo>
                  <a:lnTo>
                    <a:pt x="12984" y="1872"/>
                  </a:lnTo>
                  <a:lnTo>
                    <a:pt x="12987" y="1879"/>
                  </a:lnTo>
                  <a:close/>
                  <a:moveTo>
                    <a:pt x="13776" y="1645"/>
                  </a:moveTo>
                  <a:lnTo>
                    <a:pt x="13776" y="1758"/>
                  </a:lnTo>
                  <a:lnTo>
                    <a:pt x="13774" y="1767"/>
                  </a:lnTo>
                  <a:lnTo>
                    <a:pt x="13769" y="1773"/>
                  </a:lnTo>
                  <a:lnTo>
                    <a:pt x="13763" y="1777"/>
                  </a:lnTo>
                  <a:lnTo>
                    <a:pt x="13756" y="1778"/>
                  </a:lnTo>
                  <a:lnTo>
                    <a:pt x="13749" y="1777"/>
                  </a:lnTo>
                  <a:lnTo>
                    <a:pt x="13742" y="1773"/>
                  </a:lnTo>
                  <a:lnTo>
                    <a:pt x="13737" y="1767"/>
                  </a:lnTo>
                  <a:lnTo>
                    <a:pt x="13736" y="1758"/>
                  </a:lnTo>
                  <a:lnTo>
                    <a:pt x="13736" y="1645"/>
                  </a:lnTo>
                  <a:lnTo>
                    <a:pt x="13737" y="1636"/>
                  </a:lnTo>
                  <a:lnTo>
                    <a:pt x="13742" y="1631"/>
                  </a:lnTo>
                  <a:lnTo>
                    <a:pt x="13749" y="1627"/>
                  </a:lnTo>
                  <a:lnTo>
                    <a:pt x="13756" y="1626"/>
                  </a:lnTo>
                  <a:lnTo>
                    <a:pt x="13763" y="1627"/>
                  </a:lnTo>
                  <a:lnTo>
                    <a:pt x="13769" y="1631"/>
                  </a:lnTo>
                  <a:lnTo>
                    <a:pt x="13774" y="1636"/>
                  </a:lnTo>
                  <a:lnTo>
                    <a:pt x="13776" y="1645"/>
                  </a:lnTo>
                  <a:close/>
                  <a:moveTo>
                    <a:pt x="13513" y="1645"/>
                  </a:moveTo>
                  <a:lnTo>
                    <a:pt x="13513" y="1758"/>
                  </a:lnTo>
                  <a:lnTo>
                    <a:pt x="13511" y="1767"/>
                  </a:lnTo>
                  <a:lnTo>
                    <a:pt x="13506" y="1773"/>
                  </a:lnTo>
                  <a:lnTo>
                    <a:pt x="13500" y="1777"/>
                  </a:lnTo>
                  <a:lnTo>
                    <a:pt x="13492" y="1778"/>
                  </a:lnTo>
                  <a:lnTo>
                    <a:pt x="13486" y="1777"/>
                  </a:lnTo>
                  <a:lnTo>
                    <a:pt x="13479" y="1773"/>
                  </a:lnTo>
                  <a:lnTo>
                    <a:pt x="13474" y="1767"/>
                  </a:lnTo>
                  <a:lnTo>
                    <a:pt x="13473" y="1758"/>
                  </a:lnTo>
                  <a:lnTo>
                    <a:pt x="13473" y="1645"/>
                  </a:lnTo>
                  <a:lnTo>
                    <a:pt x="13474" y="1636"/>
                  </a:lnTo>
                  <a:lnTo>
                    <a:pt x="13479" y="1631"/>
                  </a:lnTo>
                  <a:lnTo>
                    <a:pt x="13486" y="1627"/>
                  </a:lnTo>
                  <a:lnTo>
                    <a:pt x="13492" y="1626"/>
                  </a:lnTo>
                  <a:lnTo>
                    <a:pt x="13500" y="1627"/>
                  </a:lnTo>
                  <a:lnTo>
                    <a:pt x="13506" y="1631"/>
                  </a:lnTo>
                  <a:lnTo>
                    <a:pt x="13511" y="1636"/>
                  </a:lnTo>
                  <a:lnTo>
                    <a:pt x="13513" y="1645"/>
                  </a:lnTo>
                  <a:close/>
                  <a:moveTo>
                    <a:pt x="13250" y="1645"/>
                  </a:moveTo>
                  <a:lnTo>
                    <a:pt x="13250" y="1758"/>
                  </a:lnTo>
                  <a:lnTo>
                    <a:pt x="13247" y="1767"/>
                  </a:lnTo>
                  <a:lnTo>
                    <a:pt x="13243" y="1773"/>
                  </a:lnTo>
                  <a:lnTo>
                    <a:pt x="13237" y="1777"/>
                  </a:lnTo>
                  <a:lnTo>
                    <a:pt x="13229" y="1778"/>
                  </a:lnTo>
                  <a:lnTo>
                    <a:pt x="13222" y="1777"/>
                  </a:lnTo>
                  <a:lnTo>
                    <a:pt x="13215" y="1773"/>
                  </a:lnTo>
                  <a:lnTo>
                    <a:pt x="13211" y="1767"/>
                  </a:lnTo>
                  <a:lnTo>
                    <a:pt x="13210" y="1758"/>
                  </a:lnTo>
                  <a:lnTo>
                    <a:pt x="13210" y="1645"/>
                  </a:lnTo>
                  <a:lnTo>
                    <a:pt x="13211" y="1636"/>
                  </a:lnTo>
                  <a:lnTo>
                    <a:pt x="13215" y="1631"/>
                  </a:lnTo>
                  <a:lnTo>
                    <a:pt x="13222" y="1627"/>
                  </a:lnTo>
                  <a:lnTo>
                    <a:pt x="13229" y="1626"/>
                  </a:lnTo>
                  <a:lnTo>
                    <a:pt x="13237" y="1627"/>
                  </a:lnTo>
                  <a:lnTo>
                    <a:pt x="13243" y="1631"/>
                  </a:lnTo>
                  <a:lnTo>
                    <a:pt x="13247" y="1636"/>
                  </a:lnTo>
                  <a:lnTo>
                    <a:pt x="13250" y="1645"/>
                  </a:lnTo>
                  <a:close/>
                  <a:moveTo>
                    <a:pt x="12987" y="1645"/>
                  </a:moveTo>
                  <a:lnTo>
                    <a:pt x="12987" y="1758"/>
                  </a:lnTo>
                  <a:lnTo>
                    <a:pt x="12984" y="1767"/>
                  </a:lnTo>
                  <a:lnTo>
                    <a:pt x="12981" y="1773"/>
                  </a:lnTo>
                  <a:lnTo>
                    <a:pt x="12974" y="1777"/>
                  </a:lnTo>
                  <a:lnTo>
                    <a:pt x="12966" y="1778"/>
                  </a:lnTo>
                  <a:lnTo>
                    <a:pt x="12959" y="1777"/>
                  </a:lnTo>
                  <a:lnTo>
                    <a:pt x="12952" y="1773"/>
                  </a:lnTo>
                  <a:lnTo>
                    <a:pt x="12948" y="1767"/>
                  </a:lnTo>
                  <a:lnTo>
                    <a:pt x="12946" y="1758"/>
                  </a:lnTo>
                  <a:lnTo>
                    <a:pt x="12946" y="1645"/>
                  </a:lnTo>
                  <a:lnTo>
                    <a:pt x="12948" y="1636"/>
                  </a:lnTo>
                  <a:lnTo>
                    <a:pt x="12952" y="1631"/>
                  </a:lnTo>
                  <a:lnTo>
                    <a:pt x="12959" y="1627"/>
                  </a:lnTo>
                  <a:lnTo>
                    <a:pt x="12966" y="1626"/>
                  </a:lnTo>
                  <a:lnTo>
                    <a:pt x="12974" y="1627"/>
                  </a:lnTo>
                  <a:lnTo>
                    <a:pt x="12981" y="1631"/>
                  </a:lnTo>
                  <a:lnTo>
                    <a:pt x="12984" y="1636"/>
                  </a:lnTo>
                  <a:lnTo>
                    <a:pt x="12987" y="1645"/>
                  </a:lnTo>
                  <a:close/>
                  <a:moveTo>
                    <a:pt x="13776" y="1411"/>
                  </a:moveTo>
                  <a:lnTo>
                    <a:pt x="13776" y="1524"/>
                  </a:lnTo>
                  <a:lnTo>
                    <a:pt x="13774" y="1533"/>
                  </a:lnTo>
                  <a:lnTo>
                    <a:pt x="13769" y="1539"/>
                  </a:lnTo>
                  <a:lnTo>
                    <a:pt x="13763" y="1543"/>
                  </a:lnTo>
                  <a:lnTo>
                    <a:pt x="13756" y="1544"/>
                  </a:lnTo>
                  <a:lnTo>
                    <a:pt x="13749" y="1543"/>
                  </a:lnTo>
                  <a:lnTo>
                    <a:pt x="13742" y="1539"/>
                  </a:lnTo>
                  <a:lnTo>
                    <a:pt x="13737" y="1533"/>
                  </a:lnTo>
                  <a:lnTo>
                    <a:pt x="13736" y="1524"/>
                  </a:lnTo>
                  <a:lnTo>
                    <a:pt x="13736" y="1411"/>
                  </a:lnTo>
                  <a:lnTo>
                    <a:pt x="13737" y="1402"/>
                  </a:lnTo>
                  <a:lnTo>
                    <a:pt x="13742" y="1397"/>
                  </a:lnTo>
                  <a:lnTo>
                    <a:pt x="13749" y="1393"/>
                  </a:lnTo>
                  <a:lnTo>
                    <a:pt x="13756" y="1392"/>
                  </a:lnTo>
                  <a:lnTo>
                    <a:pt x="13763" y="1393"/>
                  </a:lnTo>
                  <a:lnTo>
                    <a:pt x="13769" y="1397"/>
                  </a:lnTo>
                  <a:lnTo>
                    <a:pt x="13774" y="1402"/>
                  </a:lnTo>
                  <a:lnTo>
                    <a:pt x="13776" y="1411"/>
                  </a:lnTo>
                  <a:close/>
                  <a:moveTo>
                    <a:pt x="13513" y="1411"/>
                  </a:moveTo>
                  <a:lnTo>
                    <a:pt x="13513" y="1524"/>
                  </a:lnTo>
                  <a:lnTo>
                    <a:pt x="13511" y="1533"/>
                  </a:lnTo>
                  <a:lnTo>
                    <a:pt x="13506" y="1539"/>
                  </a:lnTo>
                  <a:lnTo>
                    <a:pt x="13500" y="1543"/>
                  </a:lnTo>
                  <a:lnTo>
                    <a:pt x="13492" y="1544"/>
                  </a:lnTo>
                  <a:lnTo>
                    <a:pt x="13486" y="1543"/>
                  </a:lnTo>
                  <a:lnTo>
                    <a:pt x="13479" y="1539"/>
                  </a:lnTo>
                  <a:lnTo>
                    <a:pt x="13474" y="1533"/>
                  </a:lnTo>
                  <a:lnTo>
                    <a:pt x="13473" y="1524"/>
                  </a:lnTo>
                  <a:lnTo>
                    <a:pt x="13473" y="1411"/>
                  </a:lnTo>
                  <a:lnTo>
                    <a:pt x="13474" y="1402"/>
                  </a:lnTo>
                  <a:lnTo>
                    <a:pt x="13479" y="1397"/>
                  </a:lnTo>
                  <a:lnTo>
                    <a:pt x="13486" y="1393"/>
                  </a:lnTo>
                  <a:lnTo>
                    <a:pt x="13492" y="1392"/>
                  </a:lnTo>
                  <a:lnTo>
                    <a:pt x="13500" y="1393"/>
                  </a:lnTo>
                  <a:lnTo>
                    <a:pt x="13506" y="1397"/>
                  </a:lnTo>
                  <a:lnTo>
                    <a:pt x="13511" y="1402"/>
                  </a:lnTo>
                  <a:lnTo>
                    <a:pt x="13513" y="1411"/>
                  </a:lnTo>
                  <a:close/>
                  <a:moveTo>
                    <a:pt x="13250" y="1411"/>
                  </a:moveTo>
                  <a:lnTo>
                    <a:pt x="13250" y="1524"/>
                  </a:lnTo>
                  <a:lnTo>
                    <a:pt x="13247" y="1533"/>
                  </a:lnTo>
                  <a:lnTo>
                    <a:pt x="13243" y="1539"/>
                  </a:lnTo>
                  <a:lnTo>
                    <a:pt x="13237" y="1543"/>
                  </a:lnTo>
                  <a:lnTo>
                    <a:pt x="13229" y="1544"/>
                  </a:lnTo>
                  <a:lnTo>
                    <a:pt x="13222" y="1543"/>
                  </a:lnTo>
                  <a:lnTo>
                    <a:pt x="13215" y="1539"/>
                  </a:lnTo>
                  <a:lnTo>
                    <a:pt x="13211" y="1533"/>
                  </a:lnTo>
                  <a:lnTo>
                    <a:pt x="13210" y="1524"/>
                  </a:lnTo>
                  <a:lnTo>
                    <a:pt x="13210" y="1411"/>
                  </a:lnTo>
                  <a:lnTo>
                    <a:pt x="13211" y="1402"/>
                  </a:lnTo>
                  <a:lnTo>
                    <a:pt x="13215" y="1397"/>
                  </a:lnTo>
                  <a:lnTo>
                    <a:pt x="13222" y="1393"/>
                  </a:lnTo>
                  <a:lnTo>
                    <a:pt x="13229" y="1392"/>
                  </a:lnTo>
                  <a:lnTo>
                    <a:pt x="13237" y="1393"/>
                  </a:lnTo>
                  <a:lnTo>
                    <a:pt x="13243" y="1397"/>
                  </a:lnTo>
                  <a:lnTo>
                    <a:pt x="13247" y="1402"/>
                  </a:lnTo>
                  <a:lnTo>
                    <a:pt x="13250" y="1411"/>
                  </a:lnTo>
                  <a:close/>
                  <a:moveTo>
                    <a:pt x="12987" y="1411"/>
                  </a:moveTo>
                  <a:lnTo>
                    <a:pt x="12987" y="1524"/>
                  </a:lnTo>
                  <a:lnTo>
                    <a:pt x="12984" y="1533"/>
                  </a:lnTo>
                  <a:lnTo>
                    <a:pt x="12981" y="1539"/>
                  </a:lnTo>
                  <a:lnTo>
                    <a:pt x="12974" y="1543"/>
                  </a:lnTo>
                  <a:lnTo>
                    <a:pt x="12966" y="1544"/>
                  </a:lnTo>
                  <a:lnTo>
                    <a:pt x="12959" y="1543"/>
                  </a:lnTo>
                  <a:lnTo>
                    <a:pt x="12952" y="1539"/>
                  </a:lnTo>
                  <a:lnTo>
                    <a:pt x="12948" y="1533"/>
                  </a:lnTo>
                  <a:lnTo>
                    <a:pt x="12946" y="1524"/>
                  </a:lnTo>
                  <a:lnTo>
                    <a:pt x="12946" y="1411"/>
                  </a:lnTo>
                  <a:lnTo>
                    <a:pt x="12948" y="1402"/>
                  </a:lnTo>
                  <a:lnTo>
                    <a:pt x="12952" y="1397"/>
                  </a:lnTo>
                  <a:lnTo>
                    <a:pt x="12959" y="1393"/>
                  </a:lnTo>
                  <a:lnTo>
                    <a:pt x="12966" y="1392"/>
                  </a:lnTo>
                  <a:lnTo>
                    <a:pt x="12974" y="1393"/>
                  </a:lnTo>
                  <a:lnTo>
                    <a:pt x="12981" y="1397"/>
                  </a:lnTo>
                  <a:lnTo>
                    <a:pt x="12984" y="1402"/>
                  </a:lnTo>
                  <a:lnTo>
                    <a:pt x="12987" y="1411"/>
                  </a:lnTo>
                  <a:close/>
                  <a:moveTo>
                    <a:pt x="13776" y="1177"/>
                  </a:moveTo>
                  <a:lnTo>
                    <a:pt x="13776" y="1290"/>
                  </a:lnTo>
                  <a:lnTo>
                    <a:pt x="13774" y="1299"/>
                  </a:lnTo>
                  <a:lnTo>
                    <a:pt x="13769" y="1305"/>
                  </a:lnTo>
                  <a:lnTo>
                    <a:pt x="13763" y="1309"/>
                  </a:lnTo>
                  <a:lnTo>
                    <a:pt x="13756" y="1309"/>
                  </a:lnTo>
                  <a:lnTo>
                    <a:pt x="13749" y="1309"/>
                  </a:lnTo>
                  <a:lnTo>
                    <a:pt x="13742" y="1305"/>
                  </a:lnTo>
                  <a:lnTo>
                    <a:pt x="13737" y="1299"/>
                  </a:lnTo>
                  <a:lnTo>
                    <a:pt x="13736" y="1290"/>
                  </a:lnTo>
                  <a:lnTo>
                    <a:pt x="13736" y="1177"/>
                  </a:lnTo>
                  <a:lnTo>
                    <a:pt x="13737" y="1168"/>
                  </a:lnTo>
                  <a:lnTo>
                    <a:pt x="13742" y="1163"/>
                  </a:lnTo>
                  <a:lnTo>
                    <a:pt x="13749" y="1159"/>
                  </a:lnTo>
                  <a:lnTo>
                    <a:pt x="13756" y="1158"/>
                  </a:lnTo>
                  <a:lnTo>
                    <a:pt x="13763" y="1159"/>
                  </a:lnTo>
                  <a:lnTo>
                    <a:pt x="13769" y="1163"/>
                  </a:lnTo>
                  <a:lnTo>
                    <a:pt x="13774" y="1168"/>
                  </a:lnTo>
                  <a:lnTo>
                    <a:pt x="13776" y="1177"/>
                  </a:lnTo>
                  <a:close/>
                  <a:moveTo>
                    <a:pt x="13513" y="1177"/>
                  </a:moveTo>
                  <a:lnTo>
                    <a:pt x="13513" y="1290"/>
                  </a:lnTo>
                  <a:lnTo>
                    <a:pt x="13511" y="1299"/>
                  </a:lnTo>
                  <a:lnTo>
                    <a:pt x="13506" y="1305"/>
                  </a:lnTo>
                  <a:lnTo>
                    <a:pt x="13500" y="1309"/>
                  </a:lnTo>
                  <a:lnTo>
                    <a:pt x="13492" y="1309"/>
                  </a:lnTo>
                  <a:lnTo>
                    <a:pt x="13486" y="1309"/>
                  </a:lnTo>
                  <a:lnTo>
                    <a:pt x="13479" y="1305"/>
                  </a:lnTo>
                  <a:lnTo>
                    <a:pt x="13474" y="1299"/>
                  </a:lnTo>
                  <a:lnTo>
                    <a:pt x="13473" y="1290"/>
                  </a:lnTo>
                  <a:lnTo>
                    <a:pt x="13473" y="1177"/>
                  </a:lnTo>
                  <a:lnTo>
                    <a:pt x="13474" y="1168"/>
                  </a:lnTo>
                  <a:lnTo>
                    <a:pt x="13479" y="1163"/>
                  </a:lnTo>
                  <a:lnTo>
                    <a:pt x="13486" y="1159"/>
                  </a:lnTo>
                  <a:lnTo>
                    <a:pt x="13492" y="1158"/>
                  </a:lnTo>
                  <a:lnTo>
                    <a:pt x="13500" y="1159"/>
                  </a:lnTo>
                  <a:lnTo>
                    <a:pt x="13506" y="1163"/>
                  </a:lnTo>
                  <a:lnTo>
                    <a:pt x="13511" y="1168"/>
                  </a:lnTo>
                  <a:lnTo>
                    <a:pt x="13513" y="1177"/>
                  </a:lnTo>
                  <a:close/>
                  <a:moveTo>
                    <a:pt x="13250" y="1177"/>
                  </a:moveTo>
                  <a:lnTo>
                    <a:pt x="13250" y="1290"/>
                  </a:lnTo>
                  <a:lnTo>
                    <a:pt x="13247" y="1299"/>
                  </a:lnTo>
                  <a:lnTo>
                    <a:pt x="13243" y="1305"/>
                  </a:lnTo>
                  <a:lnTo>
                    <a:pt x="13237" y="1309"/>
                  </a:lnTo>
                  <a:lnTo>
                    <a:pt x="13229" y="1309"/>
                  </a:lnTo>
                  <a:lnTo>
                    <a:pt x="13222" y="1309"/>
                  </a:lnTo>
                  <a:lnTo>
                    <a:pt x="13215" y="1305"/>
                  </a:lnTo>
                  <a:lnTo>
                    <a:pt x="13211" y="1299"/>
                  </a:lnTo>
                  <a:lnTo>
                    <a:pt x="13210" y="1290"/>
                  </a:lnTo>
                  <a:lnTo>
                    <a:pt x="13210" y="1177"/>
                  </a:lnTo>
                  <a:lnTo>
                    <a:pt x="13211" y="1168"/>
                  </a:lnTo>
                  <a:lnTo>
                    <a:pt x="13215" y="1163"/>
                  </a:lnTo>
                  <a:lnTo>
                    <a:pt x="13222" y="1159"/>
                  </a:lnTo>
                  <a:lnTo>
                    <a:pt x="13229" y="1158"/>
                  </a:lnTo>
                  <a:lnTo>
                    <a:pt x="13237" y="1159"/>
                  </a:lnTo>
                  <a:lnTo>
                    <a:pt x="13243" y="1163"/>
                  </a:lnTo>
                  <a:lnTo>
                    <a:pt x="13247" y="1168"/>
                  </a:lnTo>
                  <a:lnTo>
                    <a:pt x="13250" y="1177"/>
                  </a:lnTo>
                  <a:close/>
                  <a:moveTo>
                    <a:pt x="12987" y="1177"/>
                  </a:moveTo>
                  <a:lnTo>
                    <a:pt x="12987" y="1290"/>
                  </a:lnTo>
                  <a:lnTo>
                    <a:pt x="12984" y="1299"/>
                  </a:lnTo>
                  <a:lnTo>
                    <a:pt x="12981" y="1305"/>
                  </a:lnTo>
                  <a:lnTo>
                    <a:pt x="12974" y="1309"/>
                  </a:lnTo>
                  <a:lnTo>
                    <a:pt x="12966" y="1309"/>
                  </a:lnTo>
                  <a:lnTo>
                    <a:pt x="12959" y="1309"/>
                  </a:lnTo>
                  <a:lnTo>
                    <a:pt x="12952" y="1305"/>
                  </a:lnTo>
                  <a:lnTo>
                    <a:pt x="12948" y="1299"/>
                  </a:lnTo>
                  <a:lnTo>
                    <a:pt x="12946" y="1290"/>
                  </a:lnTo>
                  <a:lnTo>
                    <a:pt x="12946" y="1177"/>
                  </a:lnTo>
                  <a:lnTo>
                    <a:pt x="12948" y="1168"/>
                  </a:lnTo>
                  <a:lnTo>
                    <a:pt x="12952" y="1163"/>
                  </a:lnTo>
                  <a:lnTo>
                    <a:pt x="12959" y="1159"/>
                  </a:lnTo>
                  <a:lnTo>
                    <a:pt x="12966" y="1158"/>
                  </a:lnTo>
                  <a:lnTo>
                    <a:pt x="12974" y="1159"/>
                  </a:lnTo>
                  <a:lnTo>
                    <a:pt x="12981" y="1163"/>
                  </a:lnTo>
                  <a:lnTo>
                    <a:pt x="12984" y="1168"/>
                  </a:lnTo>
                  <a:lnTo>
                    <a:pt x="12987" y="1177"/>
                  </a:lnTo>
                  <a:close/>
                  <a:moveTo>
                    <a:pt x="13538" y="3927"/>
                  </a:moveTo>
                  <a:lnTo>
                    <a:pt x="13538" y="4038"/>
                  </a:lnTo>
                  <a:lnTo>
                    <a:pt x="13536" y="4047"/>
                  </a:lnTo>
                  <a:lnTo>
                    <a:pt x="13532" y="4053"/>
                  </a:lnTo>
                  <a:lnTo>
                    <a:pt x="13525" y="4057"/>
                  </a:lnTo>
                  <a:lnTo>
                    <a:pt x="13518" y="4058"/>
                  </a:lnTo>
                  <a:lnTo>
                    <a:pt x="13510" y="4057"/>
                  </a:lnTo>
                  <a:lnTo>
                    <a:pt x="13504" y="4053"/>
                  </a:lnTo>
                  <a:lnTo>
                    <a:pt x="13500" y="4047"/>
                  </a:lnTo>
                  <a:lnTo>
                    <a:pt x="13497" y="4038"/>
                  </a:lnTo>
                  <a:lnTo>
                    <a:pt x="13497" y="3927"/>
                  </a:lnTo>
                  <a:lnTo>
                    <a:pt x="13500" y="3918"/>
                  </a:lnTo>
                  <a:lnTo>
                    <a:pt x="13504" y="3911"/>
                  </a:lnTo>
                  <a:lnTo>
                    <a:pt x="13510" y="3907"/>
                  </a:lnTo>
                  <a:lnTo>
                    <a:pt x="13518" y="3906"/>
                  </a:lnTo>
                  <a:lnTo>
                    <a:pt x="13525" y="3907"/>
                  </a:lnTo>
                  <a:lnTo>
                    <a:pt x="13532" y="3911"/>
                  </a:lnTo>
                  <a:lnTo>
                    <a:pt x="13536" y="3918"/>
                  </a:lnTo>
                  <a:lnTo>
                    <a:pt x="13538" y="3927"/>
                  </a:lnTo>
                  <a:close/>
                  <a:moveTo>
                    <a:pt x="13274" y="3927"/>
                  </a:moveTo>
                  <a:lnTo>
                    <a:pt x="13274" y="4038"/>
                  </a:lnTo>
                  <a:lnTo>
                    <a:pt x="13273" y="4047"/>
                  </a:lnTo>
                  <a:lnTo>
                    <a:pt x="13269" y="4053"/>
                  </a:lnTo>
                  <a:lnTo>
                    <a:pt x="13263" y="4057"/>
                  </a:lnTo>
                  <a:lnTo>
                    <a:pt x="13255" y="4058"/>
                  </a:lnTo>
                  <a:lnTo>
                    <a:pt x="13247" y="4057"/>
                  </a:lnTo>
                  <a:lnTo>
                    <a:pt x="13241" y="4053"/>
                  </a:lnTo>
                  <a:lnTo>
                    <a:pt x="13237" y="4047"/>
                  </a:lnTo>
                  <a:lnTo>
                    <a:pt x="13234" y="4038"/>
                  </a:lnTo>
                  <a:lnTo>
                    <a:pt x="13234" y="3927"/>
                  </a:lnTo>
                  <a:lnTo>
                    <a:pt x="13237" y="3918"/>
                  </a:lnTo>
                  <a:lnTo>
                    <a:pt x="13241" y="3911"/>
                  </a:lnTo>
                  <a:lnTo>
                    <a:pt x="13247" y="3907"/>
                  </a:lnTo>
                  <a:lnTo>
                    <a:pt x="13255" y="3906"/>
                  </a:lnTo>
                  <a:lnTo>
                    <a:pt x="13263" y="3907"/>
                  </a:lnTo>
                  <a:lnTo>
                    <a:pt x="13269" y="3911"/>
                  </a:lnTo>
                  <a:lnTo>
                    <a:pt x="13273" y="3918"/>
                  </a:lnTo>
                  <a:lnTo>
                    <a:pt x="13274" y="3927"/>
                  </a:lnTo>
                  <a:close/>
                  <a:moveTo>
                    <a:pt x="13011" y="3927"/>
                  </a:moveTo>
                  <a:lnTo>
                    <a:pt x="13011" y="4038"/>
                  </a:lnTo>
                  <a:lnTo>
                    <a:pt x="13010" y="4047"/>
                  </a:lnTo>
                  <a:lnTo>
                    <a:pt x="13005" y="4053"/>
                  </a:lnTo>
                  <a:lnTo>
                    <a:pt x="12998" y="4057"/>
                  </a:lnTo>
                  <a:lnTo>
                    <a:pt x="12992" y="4058"/>
                  </a:lnTo>
                  <a:lnTo>
                    <a:pt x="12984" y="4057"/>
                  </a:lnTo>
                  <a:lnTo>
                    <a:pt x="12978" y="4053"/>
                  </a:lnTo>
                  <a:lnTo>
                    <a:pt x="12973" y="4047"/>
                  </a:lnTo>
                  <a:lnTo>
                    <a:pt x="12972" y="4038"/>
                  </a:lnTo>
                  <a:lnTo>
                    <a:pt x="12972" y="3927"/>
                  </a:lnTo>
                  <a:lnTo>
                    <a:pt x="12973" y="3918"/>
                  </a:lnTo>
                  <a:lnTo>
                    <a:pt x="12978" y="3911"/>
                  </a:lnTo>
                  <a:lnTo>
                    <a:pt x="12984" y="3907"/>
                  </a:lnTo>
                  <a:lnTo>
                    <a:pt x="12992" y="3906"/>
                  </a:lnTo>
                  <a:lnTo>
                    <a:pt x="12998" y="3907"/>
                  </a:lnTo>
                  <a:lnTo>
                    <a:pt x="13005" y="3911"/>
                  </a:lnTo>
                  <a:lnTo>
                    <a:pt x="13010" y="3918"/>
                  </a:lnTo>
                  <a:lnTo>
                    <a:pt x="13011" y="3927"/>
                  </a:lnTo>
                  <a:close/>
                  <a:moveTo>
                    <a:pt x="12748" y="3927"/>
                  </a:moveTo>
                  <a:lnTo>
                    <a:pt x="12748" y="4038"/>
                  </a:lnTo>
                  <a:lnTo>
                    <a:pt x="12747" y="4047"/>
                  </a:lnTo>
                  <a:lnTo>
                    <a:pt x="12742" y="4053"/>
                  </a:lnTo>
                  <a:lnTo>
                    <a:pt x="12736" y="4057"/>
                  </a:lnTo>
                  <a:lnTo>
                    <a:pt x="12729" y="4058"/>
                  </a:lnTo>
                  <a:lnTo>
                    <a:pt x="12721" y="4057"/>
                  </a:lnTo>
                  <a:lnTo>
                    <a:pt x="12715" y="4053"/>
                  </a:lnTo>
                  <a:lnTo>
                    <a:pt x="12710" y="4047"/>
                  </a:lnTo>
                  <a:lnTo>
                    <a:pt x="12709" y="4038"/>
                  </a:lnTo>
                  <a:lnTo>
                    <a:pt x="12709" y="3927"/>
                  </a:lnTo>
                  <a:lnTo>
                    <a:pt x="12710" y="3918"/>
                  </a:lnTo>
                  <a:lnTo>
                    <a:pt x="12715" y="3911"/>
                  </a:lnTo>
                  <a:lnTo>
                    <a:pt x="12721" y="3907"/>
                  </a:lnTo>
                  <a:lnTo>
                    <a:pt x="12729" y="3906"/>
                  </a:lnTo>
                  <a:lnTo>
                    <a:pt x="12736" y="3907"/>
                  </a:lnTo>
                  <a:lnTo>
                    <a:pt x="12742" y="3911"/>
                  </a:lnTo>
                  <a:lnTo>
                    <a:pt x="12747" y="3918"/>
                  </a:lnTo>
                  <a:lnTo>
                    <a:pt x="12748" y="3927"/>
                  </a:lnTo>
                  <a:close/>
                  <a:moveTo>
                    <a:pt x="13538" y="3681"/>
                  </a:moveTo>
                  <a:lnTo>
                    <a:pt x="13538" y="3792"/>
                  </a:lnTo>
                  <a:lnTo>
                    <a:pt x="13536" y="3801"/>
                  </a:lnTo>
                  <a:lnTo>
                    <a:pt x="13532" y="3808"/>
                  </a:lnTo>
                  <a:lnTo>
                    <a:pt x="13525" y="3811"/>
                  </a:lnTo>
                  <a:lnTo>
                    <a:pt x="13518" y="3813"/>
                  </a:lnTo>
                  <a:lnTo>
                    <a:pt x="13510" y="3811"/>
                  </a:lnTo>
                  <a:lnTo>
                    <a:pt x="13504" y="3808"/>
                  </a:lnTo>
                  <a:lnTo>
                    <a:pt x="13500" y="3801"/>
                  </a:lnTo>
                  <a:lnTo>
                    <a:pt x="13497" y="3792"/>
                  </a:lnTo>
                  <a:lnTo>
                    <a:pt x="13497" y="3681"/>
                  </a:lnTo>
                  <a:lnTo>
                    <a:pt x="13500" y="3672"/>
                  </a:lnTo>
                  <a:lnTo>
                    <a:pt x="13504" y="3666"/>
                  </a:lnTo>
                  <a:lnTo>
                    <a:pt x="13510" y="3662"/>
                  </a:lnTo>
                  <a:lnTo>
                    <a:pt x="13518" y="3661"/>
                  </a:lnTo>
                  <a:lnTo>
                    <a:pt x="13525" y="3662"/>
                  </a:lnTo>
                  <a:lnTo>
                    <a:pt x="13532" y="3666"/>
                  </a:lnTo>
                  <a:lnTo>
                    <a:pt x="13536" y="3672"/>
                  </a:lnTo>
                  <a:lnTo>
                    <a:pt x="13538" y="3681"/>
                  </a:lnTo>
                  <a:close/>
                  <a:moveTo>
                    <a:pt x="13274" y="3681"/>
                  </a:moveTo>
                  <a:lnTo>
                    <a:pt x="13274" y="3792"/>
                  </a:lnTo>
                  <a:lnTo>
                    <a:pt x="13273" y="3801"/>
                  </a:lnTo>
                  <a:lnTo>
                    <a:pt x="13269" y="3808"/>
                  </a:lnTo>
                  <a:lnTo>
                    <a:pt x="13263" y="3811"/>
                  </a:lnTo>
                  <a:lnTo>
                    <a:pt x="13255" y="3813"/>
                  </a:lnTo>
                  <a:lnTo>
                    <a:pt x="13247" y="3811"/>
                  </a:lnTo>
                  <a:lnTo>
                    <a:pt x="13241" y="3808"/>
                  </a:lnTo>
                  <a:lnTo>
                    <a:pt x="13237" y="3801"/>
                  </a:lnTo>
                  <a:lnTo>
                    <a:pt x="13234" y="3792"/>
                  </a:lnTo>
                  <a:lnTo>
                    <a:pt x="13234" y="3681"/>
                  </a:lnTo>
                  <a:lnTo>
                    <a:pt x="13237" y="3672"/>
                  </a:lnTo>
                  <a:lnTo>
                    <a:pt x="13241" y="3666"/>
                  </a:lnTo>
                  <a:lnTo>
                    <a:pt x="13247" y="3662"/>
                  </a:lnTo>
                  <a:lnTo>
                    <a:pt x="13255" y="3661"/>
                  </a:lnTo>
                  <a:lnTo>
                    <a:pt x="13263" y="3662"/>
                  </a:lnTo>
                  <a:lnTo>
                    <a:pt x="13269" y="3666"/>
                  </a:lnTo>
                  <a:lnTo>
                    <a:pt x="13273" y="3672"/>
                  </a:lnTo>
                  <a:lnTo>
                    <a:pt x="13274" y="3681"/>
                  </a:lnTo>
                  <a:close/>
                  <a:moveTo>
                    <a:pt x="13011" y="3681"/>
                  </a:moveTo>
                  <a:lnTo>
                    <a:pt x="13011" y="3792"/>
                  </a:lnTo>
                  <a:lnTo>
                    <a:pt x="13010" y="3801"/>
                  </a:lnTo>
                  <a:lnTo>
                    <a:pt x="13005" y="3808"/>
                  </a:lnTo>
                  <a:lnTo>
                    <a:pt x="12998" y="3811"/>
                  </a:lnTo>
                  <a:lnTo>
                    <a:pt x="12992" y="3813"/>
                  </a:lnTo>
                  <a:lnTo>
                    <a:pt x="12984" y="3811"/>
                  </a:lnTo>
                  <a:lnTo>
                    <a:pt x="12978" y="3808"/>
                  </a:lnTo>
                  <a:lnTo>
                    <a:pt x="12973" y="3801"/>
                  </a:lnTo>
                  <a:lnTo>
                    <a:pt x="12972" y="3792"/>
                  </a:lnTo>
                  <a:lnTo>
                    <a:pt x="12972" y="3681"/>
                  </a:lnTo>
                  <a:lnTo>
                    <a:pt x="12973" y="3672"/>
                  </a:lnTo>
                  <a:lnTo>
                    <a:pt x="12978" y="3666"/>
                  </a:lnTo>
                  <a:lnTo>
                    <a:pt x="12984" y="3662"/>
                  </a:lnTo>
                  <a:lnTo>
                    <a:pt x="12992" y="3661"/>
                  </a:lnTo>
                  <a:lnTo>
                    <a:pt x="12998" y="3662"/>
                  </a:lnTo>
                  <a:lnTo>
                    <a:pt x="13005" y="3666"/>
                  </a:lnTo>
                  <a:lnTo>
                    <a:pt x="13010" y="3672"/>
                  </a:lnTo>
                  <a:lnTo>
                    <a:pt x="13011" y="3681"/>
                  </a:lnTo>
                  <a:close/>
                  <a:moveTo>
                    <a:pt x="12748" y="3681"/>
                  </a:moveTo>
                  <a:lnTo>
                    <a:pt x="12748" y="3792"/>
                  </a:lnTo>
                  <a:lnTo>
                    <a:pt x="12747" y="3801"/>
                  </a:lnTo>
                  <a:lnTo>
                    <a:pt x="12742" y="3808"/>
                  </a:lnTo>
                  <a:lnTo>
                    <a:pt x="12736" y="3811"/>
                  </a:lnTo>
                  <a:lnTo>
                    <a:pt x="12729" y="3813"/>
                  </a:lnTo>
                  <a:lnTo>
                    <a:pt x="12721" y="3811"/>
                  </a:lnTo>
                  <a:lnTo>
                    <a:pt x="12715" y="3808"/>
                  </a:lnTo>
                  <a:lnTo>
                    <a:pt x="12710" y="3801"/>
                  </a:lnTo>
                  <a:lnTo>
                    <a:pt x="12709" y="3792"/>
                  </a:lnTo>
                  <a:lnTo>
                    <a:pt x="12709" y="3681"/>
                  </a:lnTo>
                  <a:lnTo>
                    <a:pt x="12710" y="3672"/>
                  </a:lnTo>
                  <a:lnTo>
                    <a:pt x="12715" y="3666"/>
                  </a:lnTo>
                  <a:lnTo>
                    <a:pt x="12721" y="3662"/>
                  </a:lnTo>
                  <a:lnTo>
                    <a:pt x="12729" y="3661"/>
                  </a:lnTo>
                  <a:lnTo>
                    <a:pt x="12736" y="3662"/>
                  </a:lnTo>
                  <a:lnTo>
                    <a:pt x="12742" y="3666"/>
                  </a:lnTo>
                  <a:lnTo>
                    <a:pt x="12747" y="3672"/>
                  </a:lnTo>
                  <a:lnTo>
                    <a:pt x="12748" y="3681"/>
                  </a:lnTo>
                  <a:close/>
                  <a:moveTo>
                    <a:pt x="13538" y="3436"/>
                  </a:moveTo>
                  <a:lnTo>
                    <a:pt x="13538" y="3547"/>
                  </a:lnTo>
                  <a:lnTo>
                    <a:pt x="13536" y="3556"/>
                  </a:lnTo>
                  <a:lnTo>
                    <a:pt x="13532" y="3562"/>
                  </a:lnTo>
                  <a:lnTo>
                    <a:pt x="13525" y="3566"/>
                  </a:lnTo>
                  <a:lnTo>
                    <a:pt x="13518" y="3567"/>
                  </a:lnTo>
                  <a:lnTo>
                    <a:pt x="13510" y="3566"/>
                  </a:lnTo>
                  <a:lnTo>
                    <a:pt x="13504" y="3562"/>
                  </a:lnTo>
                  <a:lnTo>
                    <a:pt x="13500" y="3556"/>
                  </a:lnTo>
                  <a:lnTo>
                    <a:pt x="13497" y="3547"/>
                  </a:lnTo>
                  <a:lnTo>
                    <a:pt x="13497" y="3436"/>
                  </a:lnTo>
                  <a:lnTo>
                    <a:pt x="13500" y="3427"/>
                  </a:lnTo>
                  <a:lnTo>
                    <a:pt x="13504" y="3420"/>
                  </a:lnTo>
                  <a:lnTo>
                    <a:pt x="13510" y="3416"/>
                  </a:lnTo>
                  <a:lnTo>
                    <a:pt x="13518" y="3415"/>
                  </a:lnTo>
                  <a:lnTo>
                    <a:pt x="13525" y="3416"/>
                  </a:lnTo>
                  <a:lnTo>
                    <a:pt x="13532" y="3420"/>
                  </a:lnTo>
                  <a:lnTo>
                    <a:pt x="13536" y="3427"/>
                  </a:lnTo>
                  <a:lnTo>
                    <a:pt x="13538" y="3436"/>
                  </a:lnTo>
                  <a:close/>
                  <a:moveTo>
                    <a:pt x="13274" y="3436"/>
                  </a:moveTo>
                  <a:lnTo>
                    <a:pt x="13274" y="3547"/>
                  </a:lnTo>
                  <a:lnTo>
                    <a:pt x="13273" y="3556"/>
                  </a:lnTo>
                  <a:lnTo>
                    <a:pt x="13269" y="3562"/>
                  </a:lnTo>
                  <a:lnTo>
                    <a:pt x="13263" y="3566"/>
                  </a:lnTo>
                  <a:lnTo>
                    <a:pt x="13255" y="3567"/>
                  </a:lnTo>
                  <a:lnTo>
                    <a:pt x="13247" y="3566"/>
                  </a:lnTo>
                  <a:lnTo>
                    <a:pt x="13241" y="3562"/>
                  </a:lnTo>
                  <a:lnTo>
                    <a:pt x="13237" y="3556"/>
                  </a:lnTo>
                  <a:lnTo>
                    <a:pt x="13234" y="3547"/>
                  </a:lnTo>
                  <a:lnTo>
                    <a:pt x="13234" y="3436"/>
                  </a:lnTo>
                  <a:lnTo>
                    <a:pt x="13237" y="3427"/>
                  </a:lnTo>
                  <a:lnTo>
                    <a:pt x="13241" y="3420"/>
                  </a:lnTo>
                  <a:lnTo>
                    <a:pt x="13247" y="3416"/>
                  </a:lnTo>
                  <a:lnTo>
                    <a:pt x="13255" y="3415"/>
                  </a:lnTo>
                  <a:lnTo>
                    <a:pt x="13263" y="3416"/>
                  </a:lnTo>
                  <a:lnTo>
                    <a:pt x="13269" y="3420"/>
                  </a:lnTo>
                  <a:lnTo>
                    <a:pt x="13273" y="3427"/>
                  </a:lnTo>
                  <a:lnTo>
                    <a:pt x="13274" y="3436"/>
                  </a:lnTo>
                  <a:close/>
                  <a:moveTo>
                    <a:pt x="13011" y="3436"/>
                  </a:moveTo>
                  <a:lnTo>
                    <a:pt x="13011" y="3547"/>
                  </a:lnTo>
                  <a:lnTo>
                    <a:pt x="13010" y="3556"/>
                  </a:lnTo>
                  <a:lnTo>
                    <a:pt x="13005" y="3562"/>
                  </a:lnTo>
                  <a:lnTo>
                    <a:pt x="12998" y="3566"/>
                  </a:lnTo>
                  <a:lnTo>
                    <a:pt x="12992" y="3567"/>
                  </a:lnTo>
                  <a:lnTo>
                    <a:pt x="12984" y="3566"/>
                  </a:lnTo>
                  <a:lnTo>
                    <a:pt x="12978" y="3562"/>
                  </a:lnTo>
                  <a:lnTo>
                    <a:pt x="12973" y="3556"/>
                  </a:lnTo>
                  <a:lnTo>
                    <a:pt x="12972" y="3547"/>
                  </a:lnTo>
                  <a:lnTo>
                    <a:pt x="12972" y="3436"/>
                  </a:lnTo>
                  <a:lnTo>
                    <a:pt x="12973" y="3427"/>
                  </a:lnTo>
                  <a:lnTo>
                    <a:pt x="12978" y="3420"/>
                  </a:lnTo>
                  <a:lnTo>
                    <a:pt x="12984" y="3416"/>
                  </a:lnTo>
                  <a:lnTo>
                    <a:pt x="12992" y="3415"/>
                  </a:lnTo>
                  <a:lnTo>
                    <a:pt x="12998" y="3416"/>
                  </a:lnTo>
                  <a:lnTo>
                    <a:pt x="13005" y="3420"/>
                  </a:lnTo>
                  <a:lnTo>
                    <a:pt x="13010" y="3427"/>
                  </a:lnTo>
                  <a:lnTo>
                    <a:pt x="13011" y="3436"/>
                  </a:lnTo>
                  <a:close/>
                  <a:moveTo>
                    <a:pt x="12748" y="3436"/>
                  </a:moveTo>
                  <a:lnTo>
                    <a:pt x="12748" y="3547"/>
                  </a:lnTo>
                  <a:lnTo>
                    <a:pt x="12747" y="3556"/>
                  </a:lnTo>
                  <a:lnTo>
                    <a:pt x="12742" y="3562"/>
                  </a:lnTo>
                  <a:lnTo>
                    <a:pt x="12736" y="3566"/>
                  </a:lnTo>
                  <a:lnTo>
                    <a:pt x="12729" y="3567"/>
                  </a:lnTo>
                  <a:lnTo>
                    <a:pt x="12721" y="3566"/>
                  </a:lnTo>
                  <a:lnTo>
                    <a:pt x="12715" y="3562"/>
                  </a:lnTo>
                  <a:lnTo>
                    <a:pt x="12710" y="3556"/>
                  </a:lnTo>
                  <a:lnTo>
                    <a:pt x="12709" y="3547"/>
                  </a:lnTo>
                  <a:lnTo>
                    <a:pt x="12709" y="3436"/>
                  </a:lnTo>
                  <a:lnTo>
                    <a:pt x="12710" y="3427"/>
                  </a:lnTo>
                  <a:lnTo>
                    <a:pt x="12715" y="3420"/>
                  </a:lnTo>
                  <a:lnTo>
                    <a:pt x="12721" y="3416"/>
                  </a:lnTo>
                  <a:lnTo>
                    <a:pt x="12729" y="3415"/>
                  </a:lnTo>
                  <a:lnTo>
                    <a:pt x="12736" y="3416"/>
                  </a:lnTo>
                  <a:lnTo>
                    <a:pt x="12742" y="3420"/>
                  </a:lnTo>
                  <a:lnTo>
                    <a:pt x="12747" y="3427"/>
                  </a:lnTo>
                  <a:lnTo>
                    <a:pt x="12748" y="3436"/>
                  </a:lnTo>
                  <a:close/>
                  <a:moveTo>
                    <a:pt x="12486" y="3436"/>
                  </a:moveTo>
                  <a:lnTo>
                    <a:pt x="12486" y="3547"/>
                  </a:lnTo>
                  <a:lnTo>
                    <a:pt x="12484" y="3556"/>
                  </a:lnTo>
                  <a:lnTo>
                    <a:pt x="12479" y="3562"/>
                  </a:lnTo>
                  <a:lnTo>
                    <a:pt x="12473" y="3566"/>
                  </a:lnTo>
                  <a:lnTo>
                    <a:pt x="12465" y="3567"/>
                  </a:lnTo>
                  <a:lnTo>
                    <a:pt x="12459" y="3566"/>
                  </a:lnTo>
                  <a:lnTo>
                    <a:pt x="12452" y="3562"/>
                  </a:lnTo>
                  <a:lnTo>
                    <a:pt x="12447" y="3556"/>
                  </a:lnTo>
                  <a:lnTo>
                    <a:pt x="12446" y="3547"/>
                  </a:lnTo>
                  <a:lnTo>
                    <a:pt x="12446" y="3436"/>
                  </a:lnTo>
                  <a:lnTo>
                    <a:pt x="12447" y="3427"/>
                  </a:lnTo>
                  <a:lnTo>
                    <a:pt x="12452" y="3420"/>
                  </a:lnTo>
                  <a:lnTo>
                    <a:pt x="12459" y="3416"/>
                  </a:lnTo>
                  <a:lnTo>
                    <a:pt x="12465" y="3415"/>
                  </a:lnTo>
                  <a:lnTo>
                    <a:pt x="12473" y="3416"/>
                  </a:lnTo>
                  <a:lnTo>
                    <a:pt x="12479" y="3420"/>
                  </a:lnTo>
                  <a:lnTo>
                    <a:pt x="12484" y="3427"/>
                  </a:lnTo>
                  <a:lnTo>
                    <a:pt x="12486" y="3436"/>
                  </a:lnTo>
                  <a:close/>
                  <a:moveTo>
                    <a:pt x="10933" y="2423"/>
                  </a:moveTo>
                  <a:lnTo>
                    <a:pt x="10933" y="2535"/>
                  </a:lnTo>
                  <a:lnTo>
                    <a:pt x="10931" y="2543"/>
                  </a:lnTo>
                  <a:lnTo>
                    <a:pt x="10926" y="2549"/>
                  </a:lnTo>
                  <a:lnTo>
                    <a:pt x="10920" y="2553"/>
                  </a:lnTo>
                  <a:lnTo>
                    <a:pt x="10912" y="2555"/>
                  </a:lnTo>
                  <a:lnTo>
                    <a:pt x="10906" y="2553"/>
                  </a:lnTo>
                  <a:lnTo>
                    <a:pt x="10899" y="2549"/>
                  </a:lnTo>
                  <a:lnTo>
                    <a:pt x="10894" y="2543"/>
                  </a:lnTo>
                  <a:lnTo>
                    <a:pt x="10893" y="2535"/>
                  </a:lnTo>
                  <a:lnTo>
                    <a:pt x="10893" y="2423"/>
                  </a:lnTo>
                  <a:lnTo>
                    <a:pt x="10894" y="2414"/>
                  </a:lnTo>
                  <a:lnTo>
                    <a:pt x="10899" y="2407"/>
                  </a:lnTo>
                  <a:lnTo>
                    <a:pt x="10906" y="2404"/>
                  </a:lnTo>
                  <a:lnTo>
                    <a:pt x="10912" y="2402"/>
                  </a:lnTo>
                  <a:lnTo>
                    <a:pt x="10920" y="2404"/>
                  </a:lnTo>
                  <a:lnTo>
                    <a:pt x="10926" y="2407"/>
                  </a:lnTo>
                  <a:lnTo>
                    <a:pt x="10931" y="2414"/>
                  </a:lnTo>
                  <a:lnTo>
                    <a:pt x="10933" y="2423"/>
                  </a:lnTo>
                  <a:close/>
                  <a:moveTo>
                    <a:pt x="10670" y="2423"/>
                  </a:moveTo>
                  <a:lnTo>
                    <a:pt x="10670" y="2535"/>
                  </a:lnTo>
                  <a:lnTo>
                    <a:pt x="10669" y="2543"/>
                  </a:lnTo>
                  <a:lnTo>
                    <a:pt x="10663" y="2549"/>
                  </a:lnTo>
                  <a:lnTo>
                    <a:pt x="10657" y="2553"/>
                  </a:lnTo>
                  <a:lnTo>
                    <a:pt x="10649" y="2555"/>
                  </a:lnTo>
                  <a:lnTo>
                    <a:pt x="10643" y="2553"/>
                  </a:lnTo>
                  <a:lnTo>
                    <a:pt x="10637" y="2549"/>
                  </a:lnTo>
                  <a:lnTo>
                    <a:pt x="10631" y="2543"/>
                  </a:lnTo>
                  <a:lnTo>
                    <a:pt x="10630" y="2535"/>
                  </a:lnTo>
                  <a:lnTo>
                    <a:pt x="10630" y="2423"/>
                  </a:lnTo>
                  <a:lnTo>
                    <a:pt x="10631" y="2414"/>
                  </a:lnTo>
                  <a:lnTo>
                    <a:pt x="10637" y="2407"/>
                  </a:lnTo>
                  <a:lnTo>
                    <a:pt x="10643" y="2404"/>
                  </a:lnTo>
                  <a:lnTo>
                    <a:pt x="10649" y="2402"/>
                  </a:lnTo>
                  <a:lnTo>
                    <a:pt x="10657" y="2404"/>
                  </a:lnTo>
                  <a:lnTo>
                    <a:pt x="10663" y="2407"/>
                  </a:lnTo>
                  <a:lnTo>
                    <a:pt x="10669" y="2414"/>
                  </a:lnTo>
                  <a:lnTo>
                    <a:pt x="10670" y="2423"/>
                  </a:lnTo>
                  <a:close/>
                  <a:moveTo>
                    <a:pt x="10407" y="2423"/>
                  </a:moveTo>
                  <a:lnTo>
                    <a:pt x="10407" y="2535"/>
                  </a:lnTo>
                  <a:lnTo>
                    <a:pt x="10404" y="2543"/>
                  </a:lnTo>
                  <a:lnTo>
                    <a:pt x="10401" y="2549"/>
                  </a:lnTo>
                  <a:lnTo>
                    <a:pt x="10394" y="2553"/>
                  </a:lnTo>
                  <a:lnTo>
                    <a:pt x="10386" y="2555"/>
                  </a:lnTo>
                  <a:lnTo>
                    <a:pt x="10379" y="2553"/>
                  </a:lnTo>
                  <a:lnTo>
                    <a:pt x="10372" y="2549"/>
                  </a:lnTo>
                  <a:lnTo>
                    <a:pt x="10369" y="2543"/>
                  </a:lnTo>
                  <a:lnTo>
                    <a:pt x="10366" y="2535"/>
                  </a:lnTo>
                  <a:lnTo>
                    <a:pt x="10366" y="2423"/>
                  </a:lnTo>
                  <a:lnTo>
                    <a:pt x="10369" y="2414"/>
                  </a:lnTo>
                  <a:lnTo>
                    <a:pt x="10372" y="2407"/>
                  </a:lnTo>
                  <a:lnTo>
                    <a:pt x="10379" y="2404"/>
                  </a:lnTo>
                  <a:lnTo>
                    <a:pt x="10386" y="2402"/>
                  </a:lnTo>
                  <a:lnTo>
                    <a:pt x="10394" y="2404"/>
                  </a:lnTo>
                  <a:lnTo>
                    <a:pt x="10401" y="2407"/>
                  </a:lnTo>
                  <a:lnTo>
                    <a:pt x="10404" y="2414"/>
                  </a:lnTo>
                  <a:lnTo>
                    <a:pt x="10407" y="2423"/>
                  </a:lnTo>
                  <a:close/>
                  <a:moveTo>
                    <a:pt x="10143" y="2423"/>
                  </a:moveTo>
                  <a:lnTo>
                    <a:pt x="10143" y="2535"/>
                  </a:lnTo>
                  <a:lnTo>
                    <a:pt x="10142" y="2543"/>
                  </a:lnTo>
                  <a:lnTo>
                    <a:pt x="10138" y="2549"/>
                  </a:lnTo>
                  <a:lnTo>
                    <a:pt x="10131" y="2553"/>
                  </a:lnTo>
                  <a:lnTo>
                    <a:pt x="10124" y="2555"/>
                  </a:lnTo>
                  <a:lnTo>
                    <a:pt x="10116" y="2553"/>
                  </a:lnTo>
                  <a:lnTo>
                    <a:pt x="10109" y="2549"/>
                  </a:lnTo>
                  <a:lnTo>
                    <a:pt x="10106" y="2543"/>
                  </a:lnTo>
                  <a:lnTo>
                    <a:pt x="10103" y="2535"/>
                  </a:lnTo>
                  <a:lnTo>
                    <a:pt x="10103" y="2423"/>
                  </a:lnTo>
                  <a:lnTo>
                    <a:pt x="10106" y="2414"/>
                  </a:lnTo>
                  <a:lnTo>
                    <a:pt x="10109" y="2407"/>
                  </a:lnTo>
                  <a:lnTo>
                    <a:pt x="10116" y="2404"/>
                  </a:lnTo>
                  <a:lnTo>
                    <a:pt x="10124" y="2402"/>
                  </a:lnTo>
                  <a:lnTo>
                    <a:pt x="10131" y="2404"/>
                  </a:lnTo>
                  <a:lnTo>
                    <a:pt x="10138" y="2407"/>
                  </a:lnTo>
                  <a:lnTo>
                    <a:pt x="10142" y="2414"/>
                  </a:lnTo>
                  <a:lnTo>
                    <a:pt x="10143" y="2423"/>
                  </a:lnTo>
                  <a:close/>
                  <a:moveTo>
                    <a:pt x="9880" y="2423"/>
                  </a:moveTo>
                  <a:lnTo>
                    <a:pt x="9880" y="2535"/>
                  </a:lnTo>
                  <a:lnTo>
                    <a:pt x="9879" y="2543"/>
                  </a:lnTo>
                  <a:lnTo>
                    <a:pt x="9874" y="2549"/>
                  </a:lnTo>
                  <a:lnTo>
                    <a:pt x="9867" y="2553"/>
                  </a:lnTo>
                  <a:lnTo>
                    <a:pt x="9861" y="2555"/>
                  </a:lnTo>
                  <a:lnTo>
                    <a:pt x="9853" y="2553"/>
                  </a:lnTo>
                  <a:lnTo>
                    <a:pt x="9847" y="2549"/>
                  </a:lnTo>
                  <a:lnTo>
                    <a:pt x="9841" y="2543"/>
                  </a:lnTo>
                  <a:lnTo>
                    <a:pt x="9840" y="2535"/>
                  </a:lnTo>
                  <a:lnTo>
                    <a:pt x="9840" y="2423"/>
                  </a:lnTo>
                  <a:lnTo>
                    <a:pt x="9841" y="2414"/>
                  </a:lnTo>
                  <a:lnTo>
                    <a:pt x="9847" y="2407"/>
                  </a:lnTo>
                  <a:lnTo>
                    <a:pt x="9853" y="2404"/>
                  </a:lnTo>
                  <a:lnTo>
                    <a:pt x="9861" y="2402"/>
                  </a:lnTo>
                  <a:lnTo>
                    <a:pt x="9867" y="2404"/>
                  </a:lnTo>
                  <a:lnTo>
                    <a:pt x="9874" y="2407"/>
                  </a:lnTo>
                  <a:lnTo>
                    <a:pt x="9879" y="2414"/>
                  </a:lnTo>
                  <a:lnTo>
                    <a:pt x="9880" y="2423"/>
                  </a:lnTo>
                  <a:close/>
                  <a:moveTo>
                    <a:pt x="9617" y="2423"/>
                  </a:moveTo>
                  <a:lnTo>
                    <a:pt x="9617" y="2535"/>
                  </a:lnTo>
                  <a:lnTo>
                    <a:pt x="9616" y="2543"/>
                  </a:lnTo>
                  <a:lnTo>
                    <a:pt x="9611" y="2549"/>
                  </a:lnTo>
                  <a:lnTo>
                    <a:pt x="9604" y="2553"/>
                  </a:lnTo>
                  <a:lnTo>
                    <a:pt x="9598" y="2555"/>
                  </a:lnTo>
                  <a:lnTo>
                    <a:pt x="9590" y="2553"/>
                  </a:lnTo>
                  <a:lnTo>
                    <a:pt x="9584" y="2549"/>
                  </a:lnTo>
                  <a:lnTo>
                    <a:pt x="9579" y="2543"/>
                  </a:lnTo>
                  <a:lnTo>
                    <a:pt x="9577" y="2535"/>
                  </a:lnTo>
                  <a:lnTo>
                    <a:pt x="9577" y="2423"/>
                  </a:lnTo>
                  <a:lnTo>
                    <a:pt x="9579" y="2414"/>
                  </a:lnTo>
                  <a:lnTo>
                    <a:pt x="9584" y="2407"/>
                  </a:lnTo>
                  <a:lnTo>
                    <a:pt x="9590" y="2404"/>
                  </a:lnTo>
                  <a:lnTo>
                    <a:pt x="9598" y="2402"/>
                  </a:lnTo>
                  <a:lnTo>
                    <a:pt x="9604" y="2404"/>
                  </a:lnTo>
                  <a:lnTo>
                    <a:pt x="9611" y="2407"/>
                  </a:lnTo>
                  <a:lnTo>
                    <a:pt x="9616" y="2414"/>
                  </a:lnTo>
                  <a:lnTo>
                    <a:pt x="9617" y="2423"/>
                  </a:lnTo>
                  <a:close/>
                  <a:moveTo>
                    <a:pt x="16589" y="796"/>
                  </a:moveTo>
                  <a:lnTo>
                    <a:pt x="16589" y="847"/>
                  </a:lnTo>
                  <a:lnTo>
                    <a:pt x="16588" y="859"/>
                  </a:lnTo>
                  <a:lnTo>
                    <a:pt x="16584" y="869"/>
                  </a:lnTo>
                  <a:lnTo>
                    <a:pt x="16576" y="878"/>
                  </a:lnTo>
                  <a:lnTo>
                    <a:pt x="16566" y="883"/>
                  </a:lnTo>
                  <a:lnTo>
                    <a:pt x="16556" y="890"/>
                  </a:lnTo>
                  <a:lnTo>
                    <a:pt x="16547" y="896"/>
                  </a:lnTo>
                  <a:lnTo>
                    <a:pt x="16534" y="913"/>
                  </a:lnTo>
                  <a:lnTo>
                    <a:pt x="16529" y="923"/>
                  </a:lnTo>
                  <a:lnTo>
                    <a:pt x="16526" y="934"/>
                  </a:lnTo>
                  <a:lnTo>
                    <a:pt x="16526" y="956"/>
                  </a:lnTo>
                  <a:lnTo>
                    <a:pt x="16530" y="968"/>
                  </a:lnTo>
                  <a:lnTo>
                    <a:pt x="16535" y="978"/>
                  </a:lnTo>
                  <a:lnTo>
                    <a:pt x="16541" y="987"/>
                  </a:lnTo>
                  <a:lnTo>
                    <a:pt x="16549" y="996"/>
                  </a:lnTo>
                  <a:lnTo>
                    <a:pt x="16568" y="1006"/>
                  </a:lnTo>
                  <a:lnTo>
                    <a:pt x="16591" y="1011"/>
                  </a:lnTo>
                  <a:lnTo>
                    <a:pt x="16604" y="1009"/>
                  </a:lnTo>
                  <a:lnTo>
                    <a:pt x="16617" y="1005"/>
                  </a:lnTo>
                  <a:lnTo>
                    <a:pt x="16629" y="1000"/>
                  </a:lnTo>
                  <a:lnTo>
                    <a:pt x="16638" y="991"/>
                  </a:lnTo>
                  <a:lnTo>
                    <a:pt x="16647" y="982"/>
                  </a:lnTo>
                  <a:lnTo>
                    <a:pt x="16652" y="970"/>
                  </a:lnTo>
                  <a:lnTo>
                    <a:pt x="16656" y="957"/>
                  </a:lnTo>
                  <a:lnTo>
                    <a:pt x="16657" y="945"/>
                  </a:lnTo>
                  <a:lnTo>
                    <a:pt x="16659" y="936"/>
                  </a:lnTo>
                  <a:lnTo>
                    <a:pt x="16663" y="929"/>
                  </a:lnTo>
                  <a:lnTo>
                    <a:pt x="16670" y="925"/>
                  </a:lnTo>
                  <a:lnTo>
                    <a:pt x="16677" y="924"/>
                  </a:lnTo>
                  <a:lnTo>
                    <a:pt x="16685" y="925"/>
                  </a:lnTo>
                  <a:lnTo>
                    <a:pt x="16691" y="929"/>
                  </a:lnTo>
                  <a:lnTo>
                    <a:pt x="16695" y="936"/>
                  </a:lnTo>
                  <a:lnTo>
                    <a:pt x="16698" y="945"/>
                  </a:lnTo>
                  <a:lnTo>
                    <a:pt x="16695" y="966"/>
                  </a:lnTo>
                  <a:lnTo>
                    <a:pt x="16689" y="986"/>
                  </a:lnTo>
                  <a:lnTo>
                    <a:pt x="16679" y="1003"/>
                  </a:lnTo>
                  <a:lnTo>
                    <a:pt x="16666" y="1020"/>
                  </a:lnTo>
                  <a:lnTo>
                    <a:pt x="16650" y="1033"/>
                  </a:lnTo>
                  <a:lnTo>
                    <a:pt x="16632" y="1042"/>
                  </a:lnTo>
                  <a:lnTo>
                    <a:pt x="16612" y="1048"/>
                  </a:lnTo>
                  <a:lnTo>
                    <a:pt x="16591" y="1051"/>
                  </a:lnTo>
                  <a:lnTo>
                    <a:pt x="16572" y="1048"/>
                  </a:lnTo>
                  <a:lnTo>
                    <a:pt x="16556" y="1044"/>
                  </a:lnTo>
                  <a:lnTo>
                    <a:pt x="16539" y="1037"/>
                  </a:lnTo>
                  <a:lnTo>
                    <a:pt x="16523" y="1025"/>
                  </a:lnTo>
                  <a:lnTo>
                    <a:pt x="16511" y="1014"/>
                  </a:lnTo>
                  <a:lnTo>
                    <a:pt x="16500" y="998"/>
                  </a:lnTo>
                  <a:lnTo>
                    <a:pt x="16495" y="991"/>
                  </a:lnTo>
                  <a:lnTo>
                    <a:pt x="16491" y="982"/>
                  </a:lnTo>
                  <a:lnTo>
                    <a:pt x="16488" y="964"/>
                  </a:lnTo>
                  <a:lnTo>
                    <a:pt x="16485" y="945"/>
                  </a:lnTo>
                  <a:lnTo>
                    <a:pt x="16486" y="928"/>
                  </a:lnTo>
                  <a:lnTo>
                    <a:pt x="16490" y="910"/>
                  </a:lnTo>
                  <a:lnTo>
                    <a:pt x="16498" y="895"/>
                  </a:lnTo>
                  <a:lnTo>
                    <a:pt x="16507" y="879"/>
                  </a:lnTo>
                  <a:lnTo>
                    <a:pt x="16518" y="867"/>
                  </a:lnTo>
                  <a:lnTo>
                    <a:pt x="16532" y="856"/>
                  </a:lnTo>
                  <a:lnTo>
                    <a:pt x="16549" y="847"/>
                  </a:lnTo>
                  <a:lnTo>
                    <a:pt x="16549" y="796"/>
                  </a:lnTo>
                  <a:lnTo>
                    <a:pt x="16550" y="787"/>
                  </a:lnTo>
                  <a:lnTo>
                    <a:pt x="16556" y="782"/>
                  </a:lnTo>
                  <a:lnTo>
                    <a:pt x="16562" y="778"/>
                  </a:lnTo>
                  <a:lnTo>
                    <a:pt x="16568" y="777"/>
                  </a:lnTo>
                  <a:lnTo>
                    <a:pt x="16576" y="778"/>
                  </a:lnTo>
                  <a:lnTo>
                    <a:pt x="16582" y="782"/>
                  </a:lnTo>
                  <a:lnTo>
                    <a:pt x="16588" y="787"/>
                  </a:lnTo>
                  <a:lnTo>
                    <a:pt x="16589" y="796"/>
                  </a:lnTo>
                  <a:close/>
                  <a:moveTo>
                    <a:pt x="17183" y="112"/>
                  </a:moveTo>
                  <a:lnTo>
                    <a:pt x="17100" y="225"/>
                  </a:lnTo>
                  <a:lnTo>
                    <a:pt x="17100" y="309"/>
                  </a:lnTo>
                  <a:lnTo>
                    <a:pt x="17183" y="309"/>
                  </a:lnTo>
                  <a:lnTo>
                    <a:pt x="17183" y="112"/>
                  </a:lnTo>
                  <a:close/>
                  <a:moveTo>
                    <a:pt x="17059" y="309"/>
                  </a:moveTo>
                  <a:lnTo>
                    <a:pt x="17059" y="218"/>
                  </a:lnTo>
                  <a:lnTo>
                    <a:pt x="17063" y="207"/>
                  </a:lnTo>
                  <a:lnTo>
                    <a:pt x="17175" y="55"/>
                  </a:lnTo>
                  <a:lnTo>
                    <a:pt x="16382" y="309"/>
                  </a:lnTo>
                  <a:lnTo>
                    <a:pt x="16906" y="309"/>
                  </a:lnTo>
                  <a:lnTo>
                    <a:pt x="17015" y="309"/>
                  </a:lnTo>
                  <a:lnTo>
                    <a:pt x="17059" y="309"/>
                  </a:lnTo>
                  <a:close/>
                  <a:moveTo>
                    <a:pt x="17222" y="309"/>
                  </a:moveTo>
                  <a:lnTo>
                    <a:pt x="17388" y="309"/>
                  </a:lnTo>
                  <a:lnTo>
                    <a:pt x="17222" y="80"/>
                  </a:lnTo>
                  <a:lnTo>
                    <a:pt x="17222" y="309"/>
                  </a:lnTo>
                  <a:close/>
                  <a:moveTo>
                    <a:pt x="17183" y="481"/>
                  </a:moveTo>
                  <a:lnTo>
                    <a:pt x="17015" y="481"/>
                  </a:lnTo>
                  <a:lnTo>
                    <a:pt x="17007" y="478"/>
                  </a:lnTo>
                  <a:lnTo>
                    <a:pt x="17000" y="474"/>
                  </a:lnTo>
                  <a:lnTo>
                    <a:pt x="16995" y="468"/>
                  </a:lnTo>
                  <a:lnTo>
                    <a:pt x="16994" y="460"/>
                  </a:lnTo>
                  <a:lnTo>
                    <a:pt x="16994" y="349"/>
                  </a:lnTo>
                  <a:lnTo>
                    <a:pt x="16926" y="349"/>
                  </a:lnTo>
                  <a:lnTo>
                    <a:pt x="16926" y="552"/>
                  </a:lnTo>
                  <a:lnTo>
                    <a:pt x="17067" y="552"/>
                  </a:lnTo>
                  <a:lnTo>
                    <a:pt x="17183" y="552"/>
                  </a:lnTo>
                  <a:lnTo>
                    <a:pt x="17183" y="481"/>
                  </a:lnTo>
                  <a:close/>
                  <a:moveTo>
                    <a:pt x="17222" y="349"/>
                  </a:moveTo>
                  <a:lnTo>
                    <a:pt x="17222" y="460"/>
                  </a:lnTo>
                  <a:lnTo>
                    <a:pt x="17222" y="573"/>
                  </a:lnTo>
                  <a:lnTo>
                    <a:pt x="17222" y="1413"/>
                  </a:lnTo>
                  <a:lnTo>
                    <a:pt x="17222" y="2253"/>
                  </a:lnTo>
                  <a:lnTo>
                    <a:pt x="17220" y="2262"/>
                  </a:lnTo>
                  <a:lnTo>
                    <a:pt x="17216" y="2268"/>
                  </a:lnTo>
                  <a:lnTo>
                    <a:pt x="17209" y="2272"/>
                  </a:lnTo>
                  <a:lnTo>
                    <a:pt x="17202" y="2273"/>
                  </a:lnTo>
                  <a:lnTo>
                    <a:pt x="17194" y="2272"/>
                  </a:lnTo>
                  <a:lnTo>
                    <a:pt x="17188" y="2268"/>
                  </a:lnTo>
                  <a:lnTo>
                    <a:pt x="17184" y="2262"/>
                  </a:lnTo>
                  <a:lnTo>
                    <a:pt x="17183" y="2253"/>
                  </a:lnTo>
                  <a:lnTo>
                    <a:pt x="17183" y="1422"/>
                  </a:lnTo>
                  <a:lnTo>
                    <a:pt x="17183" y="592"/>
                  </a:lnTo>
                  <a:lnTo>
                    <a:pt x="17088" y="592"/>
                  </a:lnTo>
                  <a:lnTo>
                    <a:pt x="17088" y="1422"/>
                  </a:lnTo>
                  <a:lnTo>
                    <a:pt x="17088" y="2253"/>
                  </a:lnTo>
                  <a:lnTo>
                    <a:pt x="17085" y="2262"/>
                  </a:lnTo>
                  <a:lnTo>
                    <a:pt x="17081" y="2268"/>
                  </a:lnTo>
                  <a:lnTo>
                    <a:pt x="17075" y="2272"/>
                  </a:lnTo>
                  <a:lnTo>
                    <a:pt x="17067" y="2273"/>
                  </a:lnTo>
                  <a:lnTo>
                    <a:pt x="17059" y="2272"/>
                  </a:lnTo>
                  <a:lnTo>
                    <a:pt x="17053" y="2268"/>
                  </a:lnTo>
                  <a:lnTo>
                    <a:pt x="17049" y="2262"/>
                  </a:lnTo>
                  <a:lnTo>
                    <a:pt x="17047" y="2253"/>
                  </a:lnTo>
                  <a:lnTo>
                    <a:pt x="17047" y="1422"/>
                  </a:lnTo>
                  <a:lnTo>
                    <a:pt x="17047" y="592"/>
                  </a:lnTo>
                  <a:lnTo>
                    <a:pt x="16906" y="592"/>
                  </a:lnTo>
                  <a:lnTo>
                    <a:pt x="16898" y="590"/>
                  </a:lnTo>
                  <a:lnTo>
                    <a:pt x="16891" y="587"/>
                  </a:lnTo>
                  <a:lnTo>
                    <a:pt x="16888" y="580"/>
                  </a:lnTo>
                  <a:lnTo>
                    <a:pt x="16886" y="573"/>
                  </a:lnTo>
                  <a:lnTo>
                    <a:pt x="16886" y="349"/>
                  </a:lnTo>
                  <a:lnTo>
                    <a:pt x="16584" y="349"/>
                  </a:lnTo>
                  <a:lnTo>
                    <a:pt x="16584" y="740"/>
                  </a:lnTo>
                  <a:lnTo>
                    <a:pt x="16581" y="749"/>
                  </a:lnTo>
                  <a:lnTo>
                    <a:pt x="16577" y="755"/>
                  </a:lnTo>
                  <a:lnTo>
                    <a:pt x="16571" y="759"/>
                  </a:lnTo>
                  <a:lnTo>
                    <a:pt x="16563" y="761"/>
                  </a:lnTo>
                  <a:lnTo>
                    <a:pt x="16556" y="759"/>
                  </a:lnTo>
                  <a:lnTo>
                    <a:pt x="16549" y="755"/>
                  </a:lnTo>
                  <a:lnTo>
                    <a:pt x="16545" y="749"/>
                  </a:lnTo>
                  <a:lnTo>
                    <a:pt x="16544" y="740"/>
                  </a:lnTo>
                  <a:lnTo>
                    <a:pt x="16544" y="349"/>
                  </a:lnTo>
                  <a:lnTo>
                    <a:pt x="16255" y="349"/>
                  </a:lnTo>
                  <a:lnTo>
                    <a:pt x="16246" y="348"/>
                  </a:lnTo>
                  <a:lnTo>
                    <a:pt x="16239" y="344"/>
                  </a:lnTo>
                  <a:lnTo>
                    <a:pt x="16235" y="339"/>
                  </a:lnTo>
                  <a:lnTo>
                    <a:pt x="16232" y="332"/>
                  </a:lnTo>
                  <a:lnTo>
                    <a:pt x="16232" y="326"/>
                  </a:lnTo>
                  <a:lnTo>
                    <a:pt x="16235" y="319"/>
                  </a:lnTo>
                  <a:lnTo>
                    <a:pt x="16241" y="314"/>
                  </a:lnTo>
                  <a:lnTo>
                    <a:pt x="16249" y="310"/>
                  </a:lnTo>
                  <a:lnTo>
                    <a:pt x="17184" y="9"/>
                  </a:lnTo>
                  <a:lnTo>
                    <a:pt x="17188" y="5"/>
                  </a:lnTo>
                  <a:lnTo>
                    <a:pt x="17192" y="2"/>
                  </a:lnTo>
                  <a:lnTo>
                    <a:pt x="17203" y="0"/>
                  </a:lnTo>
                  <a:lnTo>
                    <a:pt x="17213" y="2"/>
                  </a:lnTo>
                  <a:lnTo>
                    <a:pt x="17220" y="10"/>
                  </a:lnTo>
                  <a:lnTo>
                    <a:pt x="17443" y="317"/>
                  </a:lnTo>
                  <a:lnTo>
                    <a:pt x="17447" y="323"/>
                  </a:lnTo>
                  <a:lnTo>
                    <a:pt x="17449" y="328"/>
                  </a:lnTo>
                  <a:lnTo>
                    <a:pt x="17447" y="339"/>
                  </a:lnTo>
                  <a:lnTo>
                    <a:pt x="17440" y="346"/>
                  </a:lnTo>
                  <a:lnTo>
                    <a:pt x="17427" y="349"/>
                  </a:lnTo>
                  <a:lnTo>
                    <a:pt x="17222" y="349"/>
                  </a:lnTo>
                  <a:close/>
                  <a:moveTo>
                    <a:pt x="17183" y="349"/>
                  </a:moveTo>
                  <a:lnTo>
                    <a:pt x="17034" y="349"/>
                  </a:lnTo>
                  <a:lnTo>
                    <a:pt x="17034" y="440"/>
                  </a:lnTo>
                  <a:lnTo>
                    <a:pt x="17183" y="440"/>
                  </a:lnTo>
                  <a:lnTo>
                    <a:pt x="17183" y="349"/>
                  </a:lnTo>
                  <a:close/>
                  <a:moveTo>
                    <a:pt x="15662" y="1363"/>
                  </a:moveTo>
                  <a:lnTo>
                    <a:pt x="15676" y="1370"/>
                  </a:lnTo>
                  <a:lnTo>
                    <a:pt x="15687" y="1379"/>
                  </a:lnTo>
                  <a:lnTo>
                    <a:pt x="15696" y="1391"/>
                  </a:lnTo>
                  <a:lnTo>
                    <a:pt x="15704" y="1404"/>
                  </a:lnTo>
                  <a:lnTo>
                    <a:pt x="15709" y="1417"/>
                  </a:lnTo>
                  <a:lnTo>
                    <a:pt x="15713" y="1431"/>
                  </a:lnTo>
                  <a:lnTo>
                    <a:pt x="15713" y="1461"/>
                  </a:lnTo>
                  <a:lnTo>
                    <a:pt x="15709" y="1477"/>
                  </a:lnTo>
                  <a:lnTo>
                    <a:pt x="15702" y="1491"/>
                  </a:lnTo>
                  <a:lnTo>
                    <a:pt x="15693" y="1503"/>
                  </a:lnTo>
                  <a:lnTo>
                    <a:pt x="15681" y="1515"/>
                  </a:lnTo>
                  <a:lnTo>
                    <a:pt x="15668" y="1524"/>
                  </a:lnTo>
                  <a:lnTo>
                    <a:pt x="15654" y="1530"/>
                  </a:lnTo>
                  <a:lnTo>
                    <a:pt x="15640" y="1534"/>
                  </a:lnTo>
                  <a:lnTo>
                    <a:pt x="15623" y="1535"/>
                  </a:lnTo>
                  <a:lnTo>
                    <a:pt x="15605" y="1534"/>
                  </a:lnTo>
                  <a:lnTo>
                    <a:pt x="15589" y="1529"/>
                  </a:lnTo>
                  <a:lnTo>
                    <a:pt x="15573" y="1520"/>
                  </a:lnTo>
                  <a:lnTo>
                    <a:pt x="15559" y="1509"/>
                  </a:lnTo>
                  <a:lnTo>
                    <a:pt x="15549" y="1496"/>
                  </a:lnTo>
                  <a:lnTo>
                    <a:pt x="15540" y="1480"/>
                  </a:lnTo>
                  <a:lnTo>
                    <a:pt x="15535" y="1464"/>
                  </a:lnTo>
                  <a:lnTo>
                    <a:pt x="15532" y="1445"/>
                  </a:lnTo>
                  <a:lnTo>
                    <a:pt x="15535" y="1437"/>
                  </a:lnTo>
                  <a:lnTo>
                    <a:pt x="15539" y="1431"/>
                  </a:lnTo>
                  <a:lnTo>
                    <a:pt x="15545" y="1427"/>
                  </a:lnTo>
                  <a:lnTo>
                    <a:pt x="15553" y="1425"/>
                  </a:lnTo>
                  <a:lnTo>
                    <a:pt x="15560" y="1427"/>
                  </a:lnTo>
                  <a:lnTo>
                    <a:pt x="15567" y="1431"/>
                  </a:lnTo>
                  <a:lnTo>
                    <a:pt x="15571" y="1437"/>
                  </a:lnTo>
                  <a:lnTo>
                    <a:pt x="15573" y="1445"/>
                  </a:lnTo>
                  <a:lnTo>
                    <a:pt x="15573" y="1455"/>
                  </a:lnTo>
                  <a:lnTo>
                    <a:pt x="15577" y="1465"/>
                  </a:lnTo>
                  <a:lnTo>
                    <a:pt x="15581" y="1474"/>
                  </a:lnTo>
                  <a:lnTo>
                    <a:pt x="15587" y="1480"/>
                  </a:lnTo>
                  <a:lnTo>
                    <a:pt x="15595" y="1487"/>
                  </a:lnTo>
                  <a:lnTo>
                    <a:pt x="15604" y="1492"/>
                  </a:lnTo>
                  <a:lnTo>
                    <a:pt x="15623" y="1496"/>
                  </a:lnTo>
                  <a:lnTo>
                    <a:pt x="15641" y="1492"/>
                  </a:lnTo>
                  <a:lnTo>
                    <a:pt x="15655" y="1484"/>
                  </a:lnTo>
                  <a:lnTo>
                    <a:pt x="15662" y="1478"/>
                  </a:lnTo>
                  <a:lnTo>
                    <a:pt x="15667" y="1470"/>
                  </a:lnTo>
                  <a:lnTo>
                    <a:pt x="15673" y="1455"/>
                  </a:lnTo>
                  <a:lnTo>
                    <a:pt x="15675" y="1436"/>
                  </a:lnTo>
                  <a:lnTo>
                    <a:pt x="15669" y="1423"/>
                  </a:lnTo>
                  <a:lnTo>
                    <a:pt x="15662" y="1413"/>
                  </a:lnTo>
                  <a:lnTo>
                    <a:pt x="15652" y="1405"/>
                  </a:lnTo>
                  <a:lnTo>
                    <a:pt x="15631" y="1390"/>
                  </a:lnTo>
                  <a:lnTo>
                    <a:pt x="15625" y="1379"/>
                  </a:lnTo>
                  <a:lnTo>
                    <a:pt x="15622" y="1365"/>
                  </a:lnTo>
                  <a:lnTo>
                    <a:pt x="15622" y="1323"/>
                  </a:lnTo>
                  <a:lnTo>
                    <a:pt x="15623" y="1314"/>
                  </a:lnTo>
                  <a:lnTo>
                    <a:pt x="15628" y="1308"/>
                  </a:lnTo>
                  <a:lnTo>
                    <a:pt x="15635" y="1305"/>
                  </a:lnTo>
                  <a:lnTo>
                    <a:pt x="15643" y="1304"/>
                  </a:lnTo>
                  <a:lnTo>
                    <a:pt x="15649" y="1305"/>
                  </a:lnTo>
                  <a:lnTo>
                    <a:pt x="15655" y="1308"/>
                  </a:lnTo>
                  <a:lnTo>
                    <a:pt x="15660" y="1314"/>
                  </a:lnTo>
                  <a:lnTo>
                    <a:pt x="15662" y="1323"/>
                  </a:lnTo>
                  <a:lnTo>
                    <a:pt x="15662" y="1363"/>
                  </a:lnTo>
                  <a:close/>
                  <a:moveTo>
                    <a:pt x="15667" y="963"/>
                  </a:moveTo>
                  <a:lnTo>
                    <a:pt x="15667" y="1277"/>
                  </a:lnTo>
                  <a:lnTo>
                    <a:pt x="15664" y="1286"/>
                  </a:lnTo>
                  <a:lnTo>
                    <a:pt x="15660" y="1292"/>
                  </a:lnTo>
                  <a:lnTo>
                    <a:pt x="15654" y="1296"/>
                  </a:lnTo>
                  <a:lnTo>
                    <a:pt x="15646" y="1298"/>
                  </a:lnTo>
                  <a:lnTo>
                    <a:pt x="15639" y="1296"/>
                  </a:lnTo>
                  <a:lnTo>
                    <a:pt x="15632" y="1292"/>
                  </a:lnTo>
                  <a:lnTo>
                    <a:pt x="15628" y="1286"/>
                  </a:lnTo>
                  <a:lnTo>
                    <a:pt x="15627" y="1277"/>
                  </a:lnTo>
                  <a:lnTo>
                    <a:pt x="15627" y="963"/>
                  </a:lnTo>
                  <a:lnTo>
                    <a:pt x="15385" y="963"/>
                  </a:lnTo>
                  <a:lnTo>
                    <a:pt x="15385" y="1139"/>
                  </a:lnTo>
                  <a:lnTo>
                    <a:pt x="15384" y="1147"/>
                  </a:lnTo>
                  <a:lnTo>
                    <a:pt x="15378" y="1153"/>
                  </a:lnTo>
                  <a:lnTo>
                    <a:pt x="15372" y="1157"/>
                  </a:lnTo>
                  <a:lnTo>
                    <a:pt x="15366" y="1158"/>
                  </a:lnTo>
                  <a:lnTo>
                    <a:pt x="15253" y="1158"/>
                  </a:lnTo>
                  <a:lnTo>
                    <a:pt x="15253" y="1705"/>
                  </a:lnTo>
                  <a:lnTo>
                    <a:pt x="15253" y="2253"/>
                  </a:lnTo>
                  <a:lnTo>
                    <a:pt x="15250" y="2262"/>
                  </a:lnTo>
                  <a:lnTo>
                    <a:pt x="15246" y="2268"/>
                  </a:lnTo>
                  <a:lnTo>
                    <a:pt x="15240" y="2272"/>
                  </a:lnTo>
                  <a:lnTo>
                    <a:pt x="15232" y="2273"/>
                  </a:lnTo>
                  <a:lnTo>
                    <a:pt x="15225" y="2272"/>
                  </a:lnTo>
                  <a:lnTo>
                    <a:pt x="15218" y="2268"/>
                  </a:lnTo>
                  <a:lnTo>
                    <a:pt x="15214" y="2262"/>
                  </a:lnTo>
                  <a:lnTo>
                    <a:pt x="15213" y="2253"/>
                  </a:lnTo>
                  <a:lnTo>
                    <a:pt x="15213" y="1705"/>
                  </a:lnTo>
                  <a:lnTo>
                    <a:pt x="15213" y="1158"/>
                  </a:lnTo>
                  <a:lnTo>
                    <a:pt x="15141" y="1158"/>
                  </a:lnTo>
                  <a:lnTo>
                    <a:pt x="15141" y="1705"/>
                  </a:lnTo>
                  <a:lnTo>
                    <a:pt x="15141" y="2253"/>
                  </a:lnTo>
                  <a:lnTo>
                    <a:pt x="15140" y="2262"/>
                  </a:lnTo>
                  <a:lnTo>
                    <a:pt x="15135" y="2268"/>
                  </a:lnTo>
                  <a:lnTo>
                    <a:pt x="15128" y="2272"/>
                  </a:lnTo>
                  <a:lnTo>
                    <a:pt x="15122" y="2273"/>
                  </a:lnTo>
                  <a:lnTo>
                    <a:pt x="15114" y="2272"/>
                  </a:lnTo>
                  <a:lnTo>
                    <a:pt x="15108" y="2268"/>
                  </a:lnTo>
                  <a:lnTo>
                    <a:pt x="15103" y="2262"/>
                  </a:lnTo>
                  <a:lnTo>
                    <a:pt x="15101" y="2253"/>
                  </a:lnTo>
                  <a:lnTo>
                    <a:pt x="15101" y="1695"/>
                  </a:lnTo>
                  <a:lnTo>
                    <a:pt x="15101" y="1139"/>
                  </a:lnTo>
                  <a:lnTo>
                    <a:pt x="15101" y="1047"/>
                  </a:lnTo>
                  <a:lnTo>
                    <a:pt x="15101" y="963"/>
                  </a:lnTo>
                  <a:lnTo>
                    <a:pt x="14931" y="963"/>
                  </a:lnTo>
                  <a:lnTo>
                    <a:pt x="14918" y="960"/>
                  </a:lnTo>
                  <a:lnTo>
                    <a:pt x="14913" y="956"/>
                  </a:lnTo>
                  <a:lnTo>
                    <a:pt x="14910" y="952"/>
                  </a:lnTo>
                  <a:lnTo>
                    <a:pt x="14909" y="947"/>
                  </a:lnTo>
                  <a:lnTo>
                    <a:pt x="14909" y="942"/>
                  </a:lnTo>
                  <a:lnTo>
                    <a:pt x="14914" y="931"/>
                  </a:lnTo>
                  <a:lnTo>
                    <a:pt x="15105" y="680"/>
                  </a:lnTo>
                  <a:lnTo>
                    <a:pt x="15116" y="675"/>
                  </a:lnTo>
                  <a:lnTo>
                    <a:pt x="15127" y="674"/>
                  </a:lnTo>
                  <a:lnTo>
                    <a:pt x="15907" y="924"/>
                  </a:lnTo>
                  <a:lnTo>
                    <a:pt x="15920" y="933"/>
                  </a:lnTo>
                  <a:lnTo>
                    <a:pt x="15922" y="940"/>
                  </a:lnTo>
                  <a:lnTo>
                    <a:pt x="15923" y="946"/>
                  </a:lnTo>
                  <a:lnTo>
                    <a:pt x="15921" y="952"/>
                  </a:lnTo>
                  <a:lnTo>
                    <a:pt x="15916" y="957"/>
                  </a:lnTo>
                  <a:lnTo>
                    <a:pt x="15909" y="961"/>
                  </a:lnTo>
                  <a:lnTo>
                    <a:pt x="15900" y="963"/>
                  </a:lnTo>
                  <a:lnTo>
                    <a:pt x="15667" y="963"/>
                  </a:lnTo>
                  <a:close/>
                  <a:moveTo>
                    <a:pt x="15167" y="727"/>
                  </a:moveTo>
                  <a:lnTo>
                    <a:pt x="15240" y="828"/>
                  </a:lnTo>
                  <a:lnTo>
                    <a:pt x="15244" y="840"/>
                  </a:lnTo>
                  <a:lnTo>
                    <a:pt x="15244" y="923"/>
                  </a:lnTo>
                  <a:lnTo>
                    <a:pt x="15276" y="923"/>
                  </a:lnTo>
                  <a:lnTo>
                    <a:pt x="15366" y="923"/>
                  </a:lnTo>
                  <a:lnTo>
                    <a:pt x="15773" y="923"/>
                  </a:lnTo>
                  <a:lnTo>
                    <a:pt x="15167" y="727"/>
                  </a:lnTo>
                  <a:close/>
                  <a:moveTo>
                    <a:pt x="15203" y="923"/>
                  </a:moveTo>
                  <a:lnTo>
                    <a:pt x="15203" y="846"/>
                  </a:lnTo>
                  <a:lnTo>
                    <a:pt x="15141" y="762"/>
                  </a:lnTo>
                  <a:lnTo>
                    <a:pt x="15141" y="923"/>
                  </a:lnTo>
                  <a:lnTo>
                    <a:pt x="15203" y="923"/>
                  </a:lnTo>
                  <a:close/>
                  <a:moveTo>
                    <a:pt x="15101" y="752"/>
                  </a:moveTo>
                  <a:lnTo>
                    <a:pt x="14971" y="923"/>
                  </a:lnTo>
                  <a:lnTo>
                    <a:pt x="15101" y="923"/>
                  </a:lnTo>
                  <a:lnTo>
                    <a:pt x="15101" y="752"/>
                  </a:lnTo>
                  <a:close/>
                  <a:moveTo>
                    <a:pt x="15296" y="963"/>
                  </a:moveTo>
                  <a:lnTo>
                    <a:pt x="15296" y="1047"/>
                  </a:lnTo>
                  <a:lnTo>
                    <a:pt x="15295" y="1055"/>
                  </a:lnTo>
                  <a:lnTo>
                    <a:pt x="15290" y="1061"/>
                  </a:lnTo>
                  <a:lnTo>
                    <a:pt x="15283" y="1065"/>
                  </a:lnTo>
                  <a:lnTo>
                    <a:pt x="15276" y="1066"/>
                  </a:lnTo>
                  <a:lnTo>
                    <a:pt x="15141" y="1066"/>
                  </a:lnTo>
                  <a:lnTo>
                    <a:pt x="15141" y="1119"/>
                  </a:lnTo>
                  <a:lnTo>
                    <a:pt x="15232" y="1119"/>
                  </a:lnTo>
                  <a:lnTo>
                    <a:pt x="15345" y="1119"/>
                  </a:lnTo>
                  <a:lnTo>
                    <a:pt x="15345" y="963"/>
                  </a:lnTo>
                  <a:lnTo>
                    <a:pt x="15296" y="963"/>
                  </a:lnTo>
                  <a:close/>
                  <a:moveTo>
                    <a:pt x="15257" y="963"/>
                  </a:moveTo>
                  <a:lnTo>
                    <a:pt x="15141" y="963"/>
                  </a:lnTo>
                  <a:lnTo>
                    <a:pt x="15141" y="1027"/>
                  </a:lnTo>
                  <a:lnTo>
                    <a:pt x="15257" y="1027"/>
                  </a:lnTo>
                  <a:lnTo>
                    <a:pt x="15257" y="963"/>
                  </a:lnTo>
                  <a:close/>
                  <a:moveTo>
                    <a:pt x="12486" y="3681"/>
                  </a:moveTo>
                  <a:lnTo>
                    <a:pt x="12486" y="3792"/>
                  </a:lnTo>
                  <a:lnTo>
                    <a:pt x="12484" y="3800"/>
                  </a:lnTo>
                  <a:lnTo>
                    <a:pt x="12482" y="3805"/>
                  </a:lnTo>
                  <a:lnTo>
                    <a:pt x="12523" y="3838"/>
                  </a:lnTo>
                  <a:lnTo>
                    <a:pt x="12559" y="3875"/>
                  </a:lnTo>
                  <a:lnTo>
                    <a:pt x="12592" y="3918"/>
                  </a:lnTo>
                  <a:lnTo>
                    <a:pt x="12606" y="3939"/>
                  </a:lnTo>
                  <a:lnTo>
                    <a:pt x="12619" y="3962"/>
                  </a:lnTo>
                  <a:lnTo>
                    <a:pt x="12641" y="4011"/>
                  </a:lnTo>
                  <a:lnTo>
                    <a:pt x="12657" y="4062"/>
                  </a:lnTo>
                  <a:lnTo>
                    <a:pt x="12666" y="4116"/>
                  </a:lnTo>
                  <a:lnTo>
                    <a:pt x="12670" y="4171"/>
                  </a:lnTo>
                  <a:lnTo>
                    <a:pt x="12666" y="4226"/>
                  </a:lnTo>
                  <a:lnTo>
                    <a:pt x="12661" y="4265"/>
                  </a:lnTo>
                  <a:lnTo>
                    <a:pt x="12654" y="4304"/>
                  </a:lnTo>
                  <a:lnTo>
                    <a:pt x="13197" y="4304"/>
                  </a:lnTo>
                  <a:lnTo>
                    <a:pt x="13741" y="4304"/>
                  </a:lnTo>
                  <a:lnTo>
                    <a:pt x="13741" y="3764"/>
                  </a:lnTo>
                  <a:lnTo>
                    <a:pt x="13741" y="3225"/>
                  </a:lnTo>
                  <a:lnTo>
                    <a:pt x="13183" y="3225"/>
                  </a:lnTo>
                  <a:lnTo>
                    <a:pt x="12625" y="3225"/>
                  </a:lnTo>
                  <a:lnTo>
                    <a:pt x="12616" y="3222"/>
                  </a:lnTo>
                  <a:lnTo>
                    <a:pt x="12610" y="3218"/>
                  </a:lnTo>
                  <a:lnTo>
                    <a:pt x="12606" y="3212"/>
                  </a:lnTo>
                  <a:lnTo>
                    <a:pt x="12606" y="3204"/>
                  </a:lnTo>
                  <a:lnTo>
                    <a:pt x="12606" y="3196"/>
                  </a:lnTo>
                  <a:lnTo>
                    <a:pt x="12610" y="3190"/>
                  </a:lnTo>
                  <a:lnTo>
                    <a:pt x="12616" y="3186"/>
                  </a:lnTo>
                  <a:lnTo>
                    <a:pt x="12625" y="3184"/>
                  </a:lnTo>
                  <a:lnTo>
                    <a:pt x="12793" y="3184"/>
                  </a:lnTo>
                  <a:lnTo>
                    <a:pt x="12793" y="3031"/>
                  </a:lnTo>
                  <a:lnTo>
                    <a:pt x="12353" y="3031"/>
                  </a:lnTo>
                  <a:lnTo>
                    <a:pt x="12353" y="3184"/>
                  </a:lnTo>
                  <a:lnTo>
                    <a:pt x="12493" y="3184"/>
                  </a:lnTo>
                  <a:lnTo>
                    <a:pt x="12502" y="3186"/>
                  </a:lnTo>
                  <a:lnTo>
                    <a:pt x="12509" y="3190"/>
                  </a:lnTo>
                  <a:lnTo>
                    <a:pt x="12512" y="3196"/>
                  </a:lnTo>
                  <a:lnTo>
                    <a:pt x="12514" y="3204"/>
                  </a:lnTo>
                  <a:lnTo>
                    <a:pt x="12512" y="3212"/>
                  </a:lnTo>
                  <a:lnTo>
                    <a:pt x="12509" y="3218"/>
                  </a:lnTo>
                  <a:lnTo>
                    <a:pt x="12502" y="3222"/>
                  </a:lnTo>
                  <a:lnTo>
                    <a:pt x="12493" y="3225"/>
                  </a:lnTo>
                  <a:lnTo>
                    <a:pt x="12236" y="3225"/>
                  </a:lnTo>
                  <a:lnTo>
                    <a:pt x="12236" y="3670"/>
                  </a:lnTo>
                  <a:lnTo>
                    <a:pt x="12233" y="3679"/>
                  </a:lnTo>
                  <a:lnTo>
                    <a:pt x="12229" y="3685"/>
                  </a:lnTo>
                  <a:lnTo>
                    <a:pt x="12223" y="3689"/>
                  </a:lnTo>
                  <a:lnTo>
                    <a:pt x="12215" y="3690"/>
                  </a:lnTo>
                  <a:lnTo>
                    <a:pt x="12207" y="3689"/>
                  </a:lnTo>
                  <a:lnTo>
                    <a:pt x="12201" y="3685"/>
                  </a:lnTo>
                  <a:lnTo>
                    <a:pt x="12197" y="3679"/>
                  </a:lnTo>
                  <a:lnTo>
                    <a:pt x="12194" y="3670"/>
                  </a:lnTo>
                  <a:lnTo>
                    <a:pt x="12194" y="3204"/>
                  </a:lnTo>
                  <a:lnTo>
                    <a:pt x="12197" y="3196"/>
                  </a:lnTo>
                  <a:lnTo>
                    <a:pt x="12201" y="3190"/>
                  </a:lnTo>
                  <a:lnTo>
                    <a:pt x="12207" y="3186"/>
                  </a:lnTo>
                  <a:lnTo>
                    <a:pt x="12215" y="3184"/>
                  </a:lnTo>
                  <a:lnTo>
                    <a:pt x="12314" y="3184"/>
                  </a:lnTo>
                  <a:lnTo>
                    <a:pt x="12314" y="3011"/>
                  </a:lnTo>
                  <a:lnTo>
                    <a:pt x="12315" y="3003"/>
                  </a:lnTo>
                  <a:lnTo>
                    <a:pt x="12319" y="2997"/>
                  </a:lnTo>
                  <a:lnTo>
                    <a:pt x="12325" y="2993"/>
                  </a:lnTo>
                  <a:lnTo>
                    <a:pt x="12333" y="2991"/>
                  </a:lnTo>
                  <a:lnTo>
                    <a:pt x="12814" y="2991"/>
                  </a:lnTo>
                  <a:lnTo>
                    <a:pt x="12822" y="2993"/>
                  </a:lnTo>
                  <a:lnTo>
                    <a:pt x="12828" y="2997"/>
                  </a:lnTo>
                  <a:lnTo>
                    <a:pt x="12832" y="3003"/>
                  </a:lnTo>
                  <a:lnTo>
                    <a:pt x="12833" y="3011"/>
                  </a:lnTo>
                  <a:lnTo>
                    <a:pt x="12833" y="3184"/>
                  </a:lnTo>
                  <a:lnTo>
                    <a:pt x="13761" y="3184"/>
                  </a:lnTo>
                  <a:lnTo>
                    <a:pt x="13769" y="3186"/>
                  </a:lnTo>
                  <a:lnTo>
                    <a:pt x="13776" y="3190"/>
                  </a:lnTo>
                  <a:lnTo>
                    <a:pt x="13779" y="3196"/>
                  </a:lnTo>
                  <a:lnTo>
                    <a:pt x="13782" y="3204"/>
                  </a:lnTo>
                  <a:lnTo>
                    <a:pt x="13782" y="3764"/>
                  </a:lnTo>
                  <a:lnTo>
                    <a:pt x="13782" y="4324"/>
                  </a:lnTo>
                  <a:lnTo>
                    <a:pt x="13779" y="4332"/>
                  </a:lnTo>
                  <a:lnTo>
                    <a:pt x="13776" y="4338"/>
                  </a:lnTo>
                  <a:lnTo>
                    <a:pt x="13769" y="4342"/>
                  </a:lnTo>
                  <a:lnTo>
                    <a:pt x="13761" y="4343"/>
                  </a:lnTo>
                  <a:lnTo>
                    <a:pt x="13197" y="4343"/>
                  </a:lnTo>
                  <a:lnTo>
                    <a:pt x="12633" y="4343"/>
                  </a:lnTo>
                  <a:lnTo>
                    <a:pt x="12628" y="4347"/>
                  </a:lnTo>
                  <a:lnTo>
                    <a:pt x="12621" y="4349"/>
                  </a:lnTo>
                  <a:lnTo>
                    <a:pt x="12016" y="4349"/>
                  </a:lnTo>
                  <a:lnTo>
                    <a:pt x="11412" y="4349"/>
                  </a:lnTo>
                  <a:lnTo>
                    <a:pt x="11403" y="4346"/>
                  </a:lnTo>
                  <a:lnTo>
                    <a:pt x="11397" y="4341"/>
                  </a:lnTo>
                  <a:lnTo>
                    <a:pt x="11388" y="4334"/>
                  </a:lnTo>
                  <a:lnTo>
                    <a:pt x="11385" y="4329"/>
                  </a:lnTo>
                  <a:lnTo>
                    <a:pt x="11385" y="4323"/>
                  </a:lnTo>
                  <a:lnTo>
                    <a:pt x="11385" y="3936"/>
                  </a:lnTo>
                  <a:lnTo>
                    <a:pt x="11346" y="3930"/>
                  </a:lnTo>
                  <a:lnTo>
                    <a:pt x="11307" y="3924"/>
                  </a:lnTo>
                  <a:lnTo>
                    <a:pt x="11271" y="3913"/>
                  </a:lnTo>
                  <a:lnTo>
                    <a:pt x="11235" y="3898"/>
                  </a:lnTo>
                  <a:lnTo>
                    <a:pt x="11202" y="3881"/>
                  </a:lnTo>
                  <a:lnTo>
                    <a:pt x="11171" y="3860"/>
                  </a:lnTo>
                  <a:lnTo>
                    <a:pt x="11142" y="3837"/>
                  </a:lnTo>
                  <a:lnTo>
                    <a:pt x="11115" y="3811"/>
                  </a:lnTo>
                  <a:lnTo>
                    <a:pt x="11090" y="3783"/>
                  </a:lnTo>
                  <a:lnTo>
                    <a:pt x="11069" y="3753"/>
                  </a:lnTo>
                  <a:lnTo>
                    <a:pt x="11049" y="3721"/>
                  </a:lnTo>
                  <a:lnTo>
                    <a:pt x="11034" y="3686"/>
                  </a:lnTo>
                  <a:lnTo>
                    <a:pt x="11021" y="3650"/>
                  </a:lnTo>
                  <a:lnTo>
                    <a:pt x="11011" y="3613"/>
                  </a:lnTo>
                  <a:lnTo>
                    <a:pt x="11006" y="3575"/>
                  </a:lnTo>
                  <a:lnTo>
                    <a:pt x="11005" y="3535"/>
                  </a:lnTo>
                  <a:lnTo>
                    <a:pt x="11006" y="3494"/>
                  </a:lnTo>
                  <a:lnTo>
                    <a:pt x="11012" y="3453"/>
                  </a:lnTo>
                  <a:lnTo>
                    <a:pt x="11022" y="3415"/>
                  </a:lnTo>
                  <a:lnTo>
                    <a:pt x="11035" y="3379"/>
                  </a:lnTo>
                  <a:lnTo>
                    <a:pt x="11052" y="3343"/>
                  </a:lnTo>
                  <a:lnTo>
                    <a:pt x="11072" y="3310"/>
                  </a:lnTo>
                  <a:lnTo>
                    <a:pt x="11096" y="3280"/>
                  </a:lnTo>
                  <a:lnTo>
                    <a:pt x="11121" y="3251"/>
                  </a:lnTo>
                  <a:lnTo>
                    <a:pt x="11151" y="3226"/>
                  </a:lnTo>
                  <a:lnTo>
                    <a:pt x="11181" y="3203"/>
                  </a:lnTo>
                  <a:lnTo>
                    <a:pt x="11214" y="3182"/>
                  </a:lnTo>
                  <a:lnTo>
                    <a:pt x="11249" y="3166"/>
                  </a:lnTo>
                  <a:lnTo>
                    <a:pt x="11287" y="3152"/>
                  </a:lnTo>
                  <a:lnTo>
                    <a:pt x="11325" y="3143"/>
                  </a:lnTo>
                  <a:lnTo>
                    <a:pt x="11365" y="3136"/>
                  </a:lnTo>
                  <a:lnTo>
                    <a:pt x="11406" y="3134"/>
                  </a:lnTo>
                  <a:lnTo>
                    <a:pt x="11447" y="3136"/>
                  </a:lnTo>
                  <a:lnTo>
                    <a:pt x="11487" y="3143"/>
                  </a:lnTo>
                  <a:lnTo>
                    <a:pt x="11525" y="3152"/>
                  </a:lnTo>
                  <a:lnTo>
                    <a:pt x="11562" y="3166"/>
                  </a:lnTo>
                  <a:lnTo>
                    <a:pt x="11597" y="3182"/>
                  </a:lnTo>
                  <a:lnTo>
                    <a:pt x="11630" y="3203"/>
                  </a:lnTo>
                  <a:lnTo>
                    <a:pt x="11661" y="3226"/>
                  </a:lnTo>
                  <a:lnTo>
                    <a:pt x="11689" y="3251"/>
                  </a:lnTo>
                  <a:lnTo>
                    <a:pt x="11716" y="3280"/>
                  </a:lnTo>
                  <a:lnTo>
                    <a:pt x="11739" y="3310"/>
                  </a:lnTo>
                  <a:lnTo>
                    <a:pt x="11759" y="3343"/>
                  </a:lnTo>
                  <a:lnTo>
                    <a:pt x="11775" y="3379"/>
                  </a:lnTo>
                  <a:lnTo>
                    <a:pt x="11789" y="3415"/>
                  </a:lnTo>
                  <a:lnTo>
                    <a:pt x="11800" y="3453"/>
                  </a:lnTo>
                  <a:lnTo>
                    <a:pt x="11805" y="3494"/>
                  </a:lnTo>
                  <a:lnTo>
                    <a:pt x="11807" y="3535"/>
                  </a:lnTo>
                  <a:lnTo>
                    <a:pt x="11806" y="3575"/>
                  </a:lnTo>
                  <a:lnTo>
                    <a:pt x="11800" y="3613"/>
                  </a:lnTo>
                  <a:lnTo>
                    <a:pt x="11791" y="3650"/>
                  </a:lnTo>
                  <a:lnTo>
                    <a:pt x="11778" y="3686"/>
                  </a:lnTo>
                  <a:lnTo>
                    <a:pt x="11761" y="3721"/>
                  </a:lnTo>
                  <a:lnTo>
                    <a:pt x="11743" y="3753"/>
                  </a:lnTo>
                  <a:lnTo>
                    <a:pt x="11720" y="3783"/>
                  </a:lnTo>
                  <a:lnTo>
                    <a:pt x="11696" y="3811"/>
                  </a:lnTo>
                  <a:lnTo>
                    <a:pt x="11669" y="3837"/>
                  </a:lnTo>
                  <a:lnTo>
                    <a:pt x="11639" y="3860"/>
                  </a:lnTo>
                  <a:lnTo>
                    <a:pt x="11608" y="3881"/>
                  </a:lnTo>
                  <a:lnTo>
                    <a:pt x="11575" y="3898"/>
                  </a:lnTo>
                  <a:lnTo>
                    <a:pt x="11539" y="3913"/>
                  </a:lnTo>
                  <a:lnTo>
                    <a:pt x="11502" y="3924"/>
                  </a:lnTo>
                  <a:lnTo>
                    <a:pt x="11465" y="3932"/>
                  </a:lnTo>
                  <a:lnTo>
                    <a:pt x="11425" y="3936"/>
                  </a:lnTo>
                  <a:lnTo>
                    <a:pt x="11425" y="4205"/>
                  </a:lnTo>
                  <a:lnTo>
                    <a:pt x="11443" y="4178"/>
                  </a:lnTo>
                  <a:lnTo>
                    <a:pt x="11464" y="4153"/>
                  </a:lnTo>
                  <a:lnTo>
                    <a:pt x="11488" y="4130"/>
                  </a:lnTo>
                  <a:lnTo>
                    <a:pt x="11516" y="4108"/>
                  </a:lnTo>
                  <a:lnTo>
                    <a:pt x="11549" y="4090"/>
                  </a:lnTo>
                  <a:lnTo>
                    <a:pt x="11585" y="4076"/>
                  </a:lnTo>
                  <a:lnTo>
                    <a:pt x="11625" y="4067"/>
                  </a:lnTo>
                  <a:lnTo>
                    <a:pt x="11646" y="4065"/>
                  </a:lnTo>
                  <a:lnTo>
                    <a:pt x="11669" y="4065"/>
                  </a:lnTo>
                  <a:lnTo>
                    <a:pt x="11685" y="4066"/>
                  </a:lnTo>
                  <a:lnTo>
                    <a:pt x="11702" y="4069"/>
                  </a:lnTo>
                  <a:lnTo>
                    <a:pt x="11719" y="4074"/>
                  </a:lnTo>
                  <a:lnTo>
                    <a:pt x="11734" y="4080"/>
                  </a:lnTo>
                  <a:lnTo>
                    <a:pt x="11766" y="4092"/>
                  </a:lnTo>
                  <a:lnTo>
                    <a:pt x="11783" y="4095"/>
                  </a:lnTo>
                  <a:lnTo>
                    <a:pt x="11800" y="4097"/>
                  </a:lnTo>
                  <a:lnTo>
                    <a:pt x="11814" y="4095"/>
                  </a:lnTo>
                  <a:lnTo>
                    <a:pt x="11825" y="4090"/>
                  </a:lnTo>
                  <a:lnTo>
                    <a:pt x="11837" y="4084"/>
                  </a:lnTo>
                  <a:lnTo>
                    <a:pt x="11847" y="4076"/>
                  </a:lnTo>
                  <a:lnTo>
                    <a:pt x="11847" y="3213"/>
                  </a:lnTo>
                  <a:lnTo>
                    <a:pt x="11833" y="3208"/>
                  </a:lnTo>
                  <a:lnTo>
                    <a:pt x="11820" y="3199"/>
                  </a:lnTo>
                  <a:lnTo>
                    <a:pt x="11796" y="3182"/>
                  </a:lnTo>
                  <a:lnTo>
                    <a:pt x="11784" y="3173"/>
                  </a:lnTo>
                  <a:lnTo>
                    <a:pt x="11771" y="3167"/>
                  </a:lnTo>
                  <a:lnTo>
                    <a:pt x="11757" y="3163"/>
                  </a:lnTo>
                  <a:lnTo>
                    <a:pt x="11742" y="3163"/>
                  </a:lnTo>
                  <a:lnTo>
                    <a:pt x="11696" y="3170"/>
                  </a:lnTo>
                  <a:lnTo>
                    <a:pt x="11678" y="3172"/>
                  </a:lnTo>
                  <a:lnTo>
                    <a:pt x="11661" y="3171"/>
                  </a:lnTo>
                  <a:lnTo>
                    <a:pt x="11646" y="3166"/>
                  </a:lnTo>
                  <a:lnTo>
                    <a:pt x="11632" y="3156"/>
                  </a:lnTo>
                  <a:lnTo>
                    <a:pt x="11624" y="3148"/>
                  </a:lnTo>
                  <a:lnTo>
                    <a:pt x="11617" y="3139"/>
                  </a:lnTo>
                  <a:lnTo>
                    <a:pt x="11602" y="3115"/>
                  </a:lnTo>
                  <a:lnTo>
                    <a:pt x="11591" y="3093"/>
                  </a:lnTo>
                  <a:lnTo>
                    <a:pt x="11580" y="3079"/>
                  </a:lnTo>
                  <a:lnTo>
                    <a:pt x="11570" y="3070"/>
                  </a:lnTo>
                  <a:lnTo>
                    <a:pt x="11561" y="3065"/>
                  </a:lnTo>
                  <a:lnTo>
                    <a:pt x="11537" y="3060"/>
                  </a:lnTo>
                  <a:lnTo>
                    <a:pt x="11520" y="3055"/>
                  </a:lnTo>
                  <a:lnTo>
                    <a:pt x="11498" y="3047"/>
                  </a:lnTo>
                  <a:lnTo>
                    <a:pt x="11475" y="3033"/>
                  </a:lnTo>
                  <a:lnTo>
                    <a:pt x="11467" y="3024"/>
                  </a:lnTo>
                  <a:lnTo>
                    <a:pt x="11462" y="3015"/>
                  </a:lnTo>
                  <a:lnTo>
                    <a:pt x="11456" y="2996"/>
                  </a:lnTo>
                  <a:lnTo>
                    <a:pt x="11453" y="2974"/>
                  </a:lnTo>
                  <a:lnTo>
                    <a:pt x="11453" y="2953"/>
                  </a:lnTo>
                  <a:lnTo>
                    <a:pt x="11451" y="2933"/>
                  </a:lnTo>
                  <a:lnTo>
                    <a:pt x="11446" y="2913"/>
                  </a:lnTo>
                  <a:lnTo>
                    <a:pt x="11440" y="2904"/>
                  </a:lnTo>
                  <a:lnTo>
                    <a:pt x="11434" y="2896"/>
                  </a:lnTo>
                  <a:lnTo>
                    <a:pt x="11399" y="2864"/>
                  </a:lnTo>
                  <a:lnTo>
                    <a:pt x="11387" y="2851"/>
                  </a:lnTo>
                  <a:lnTo>
                    <a:pt x="11376" y="2837"/>
                  </a:lnTo>
                  <a:lnTo>
                    <a:pt x="11371" y="2823"/>
                  </a:lnTo>
                  <a:lnTo>
                    <a:pt x="11370" y="2805"/>
                  </a:lnTo>
                  <a:lnTo>
                    <a:pt x="11375" y="2783"/>
                  </a:lnTo>
                  <a:lnTo>
                    <a:pt x="11384" y="2757"/>
                  </a:lnTo>
                  <a:lnTo>
                    <a:pt x="11394" y="2734"/>
                  </a:lnTo>
                  <a:lnTo>
                    <a:pt x="11398" y="2722"/>
                  </a:lnTo>
                  <a:lnTo>
                    <a:pt x="11401" y="2711"/>
                  </a:lnTo>
                  <a:lnTo>
                    <a:pt x="11397" y="2689"/>
                  </a:lnTo>
                  <a:lnTo>
                    <a:pt x="11389" y="2670"/>
                  </a:lnTo>
                  <a:lnTo>
                    <a:pt x="11380" y="2650"/>
                  </a:lnTo>
                  <a:lnTo>
                    <a:pt x="11373" y="2633"/>
                  </a:lnTo>
                  <a:lnTo>
                    <a:pt x="11369" y="2613"/>
                  </a:lnTo>
                  <a:lnTo>
                    <a:pt x="11373" y="2593"/>
                  </a:lnTo>
                  <a:lnTo>
                    <a:pt x="11378" y="2581"/>
                  </a:lnTo>
                  <a:lnTo>
                    <a:pt x="11387" y="2570"/>
                  </a:lnTo>
                  <a:lnTo>
                    <a:pt x="11412" y="2543"/>
                  </a:lnTo>
                  <a:lnTo>
                    <a:pt x="11430" y="2526"/>
                  </a:lnTo>
                  <a:lnTo>
                    <a:pt x="11442" y="2512"/>
                  </a:lnTo>
                  <a:lnTo>
                    <a:pt x="11448" y="2502"/>
                  </a:lnTo>
                  <a:lnTo>
                    <a:pt x="11451" y="2492"/>
                  </a:lnTo>
                  <a:lnTo>
                    <a:pt x="11452" y="2466"/>
                  </a:lnTo>
                  <a:lnTo>
                    <a:pt x="11456" y="2427"/>
                  </a:lnTo>
                  <a:lnTo>
                    <a:pt x="11460" y="2413"/>
                  </a:lnTo>
                  <a:lnTo>
                    <a:pt x="11465" y="2401"/>
                  </a:lnTo>
                  <a:lnTo>
                    <a:pt x="11471" y="2392"/>
                  </a:lnTo>
                  <a:lnTo>
                    <a:pt x="11479" y="2384"/>
                  </a:lnTo>
                  <a:lnTo>
                    <a:pt x="11497" y="2374"/>
                  </a:lnTo>
                  <a:lnTo>
                    <a:pt x="11516" y="2368"/>
                  </a:lnTo>
                  <a:lnTo>
                    <a:pt x="11537" y="2363"/>
                  </a:lnTo>
                  <a:lnTo>
                    <a:pt x="11557" y="2356"/>
                  </a:lnTo>
                  <a:lnTo>
                    <a:pt x="11566" y="2351"/>
                  </a:lnTo>
                  <a:lnTo>
                    <a:pt x="11575" y="2346"/>
                  </a:lnTo>
                  <a:lnTo>
                    <a:pt x="11582" y="2340"/>
                  </a:lnTo>
                  <a:lnTo>
                    <a:pt x="11589" y="2331"/>
                  </a:lnTo>
                  <a:lnTo>
                    <a:pt x="11612" y="2291"/>
                  </a:lnTo>
                  <a:lnTo>
                    <a:pt x="11623" y="2275"/>
                  </a:lnTo>
                  <a:lnTo>
                    <a:pt x="11633" y="2263"/>
                  </a:lnTo>
                  <a:lnTo>
                    <a:pt x="11647" y="2254"/>
                  </a:lnTo>
                  <a:lnTo>
                    <a:pt x="11664" y="2249"/>
                  </a:lnTo>
                  <a:lnTo>
                    <a:pt x="11685" y="2248"/>
                  </a:lnTo>
                  <a:lnTo>
                    <a:pt x="11714" y="2251"/>
                  </a:lnTo>
                  <a:lnTo>
                    <a:pt x="11743" y="2257"/>
                  </a:lnTo>
                  <a:lnTo>
                    <a:pt x="11762" y="2257"/>
                  </a:lnTo>
                  <a:lnTo>
                    <a:pt x="11780" y="2249"/>
                  </a:lnTo>
                  <a:lnTo>
                    <a:pt x="11805" y="2231"/>
                  </a:lnTo>
                  <a:lnTo>
                    <a:pt x="11832" y="2213"/>
                  </a:lnTo>
                  <a:lnTo>
                    <a:pt x="11848" y="2207"/>
                  </a:lnTo>
                  <a:lnTo>
                    <a:pt x="11866" y="2204"/>
                  </a:lnTo>
                  <a:lnTo>
                    <a:pt x="11885" y="2207"/>
                  </a:lnTo>
                  <a:lnTo>
                    <a:pt x="11901" y="2213"/>
                  </a:lnTo>
                  <a:lnTo>
                    <a:pt x="11916" y="2222"/>
                  </a:lnTo>
                  <a:lnTo>
                    <a:pt x="11930" y="2232"/>
                  </a:lnTo>
                  <a:lnTo>
                    <a:pt x="11943" y="2243"/>
                  </a:lnTo>
                  <a:lnTo>
                    <a:pt x="11959" y="2251"/>
                  </a:lnTo>
                  <a:lnTo>
                    <a:pt x="11974" y="2257"/>
                  </a:lnTo>
                  <a:lnTo>
                    <a:pt x="11992" y="2257"/>
                  </a:lnTo>
                  <a:lnTo>
                    <a:pt x="12037" y="2250"/>
                  </a:lnTo>
                  <a:lnTo>
                    <a:pt x="12056" y="2248"/>
                  </a:lnTo>
                  <a:lnTo>
                    <a:pt x="12073" y="2249"/>
                  </a:lnTo>
                  <a:lnTo>
                    <a:pt x="12088" y="2254"/>
                  </a:lnTo>
                  <a:lnTo>
                    <a:pt x="12102" y="2264"/>
                  </a:lnTo>
                  <a:lnTo>
                    <a:pt x="12109" y="2272"/>
                  </a:lnTo>
                  <a:lnTo>
                    <a:pt x="12116" y="2281"/>
                  </a:lnTo>
                  <a:lnTo>
                    <a:pt x="12130" y="2305"/>
                  </a:lnTo>
                  <a:lnTo>
                    <a:pt x="12143" y="2327"/>
                  </a:lnTo>
                  <a:lnTo>
                    <a:pt x="12153" y="2341"/>
                  </a:lnTo>
                  <a:lnTo>
                    <a:pt x="12162" y="2350"/>
                  </a:lnTo>
                  <a:lnTo>
                    <a:pt x="12173" y="2355"/>
                  </a:lnTo>
                  <a:lnTo>
                    <a:pt x="12197" y="2360"/>
                  </a:lnTo>
                  <a:lnTo>
                    <a:pt x="12214" y="2365"/>
                  </a:lnTo>
                  <a:lnTo>
                    <a:pt x="12234" y="2373"/>
                  </a:lnTo>
                  <a:lnTo>
                    <a:pt x="12257" y="2388"/>
                  </a:lnTo>
                  <a:lnTo>
                    <a:pt x="12265" y="2396"/>
                  </a:lnTo>
                  <a:lnTo>
                    <a:pt x="12271" y="2405"/>
                  </a:lnTo>
                  <a:lnTo>
                    <a:pt x="12278" y="2425"/>
                  </a:lnTo>
                  <a:lnTo>
                    <a:pt x="12279" y="2446"/>
                  </a:lnTo>
                  <a:lnTo>
                    <a:pt x="12280" y="2466"/>
                  </a:lnTo>
                  <a:lnTo>
                    <a:pt x="12282" y="2488"/>
                  </a:lnTo>
                  <a:lnTo>
                    <a:pt x="12287" y="2507"/>
                  </a:lnTo>
                  <a:lnTo>
                    <a:pt x="12292" y="2516"/>
                  </a:lnTo>
                  <a:lnTo>
                    <a:pt x="12300" y="2524"/>
                  </a:lnTo>
                  <a:lnTo>
                    <a:pt x="12333" y="2556"/>
                  </a:lnTo>
                  <a:lnTo>
                    <a:pt x="12347" y="2569"/>
                  </a:lnTo>
                  <a:lnTo>
                    <a:pt x="12356" y="2583"/>
                  </a:lnTo>
                  <a:lnTo>
                    <a:pt x="12361" y="2598"/>
                  </a:lnTo>
                  <a:lnTo>
                    <a:pt x="12362" y="2615"/>
                  </a:lnTo>
                  <a:lnTo>
                    <a:pt x="12359" y="2636"/>
                  </a:lnTo>
                  <a:lnTo>
                    <a:pt x="12348" y="2663"/>
                  </a:lnTo>
                  <a:lnTo>
                    <a:pt x="12337" y="2690"/>
                  </a:lnTo>
                  <a:lnTo>
                    <a:pt x="12333" y="2711"/>
                  </a:lnTo>
                  <a:lnTo>
                    <a:pt x="12336" y="2731"/>
                  </a:lnTo>
                  <a:lnTo>
                    <a:pt x="12343" y="2750"/>
                  </a:lnTo>
                  <a:lnTo>
                    <a:pt x="12352" y="2769"/>
                  </a:lnTo>
                  <a:lnTo>
                    <a:pt x="12360" y="2787"/>
                  </a:lnTo>
                  <a:lnTo>
                    <a:pt x="12364" y="2806"/>
                  </a:lnTo>
                  <a:lnTo>
                    <a:pt x="12360" y="2828"/>
                  </a:lnTo>
                  <a:lnTo>
                    <a:pt x="12355" y="2838"/>
                  </a:lnTo>
                  <a:lnTo>
                    <a:pt x="12347" y="2851"/>
                  </a:lnTo>
                  <a:lnTo>
                    <a:pt x="12321" y="2877"/>
                  </a:lnTo>
                  <a:lnTo>
                    <a:pt x="12302" y="2893"/>
                  </a:lnTo>
                  <a:lnTo>
                    <a:pt x="12291" y="2907"/>
                  </a:lnTo>
                  <a:lnTo>
                    <a:pt x="12284" y="2918"/>
                  </a:lnTo>
                  <a:lnTo>
                    <a:pt x="12282" y="2929"/>
                  </a:lnTo>
                  <a:lnTo>
                    <a:pt x="12282" y="2953"/>
                  </a:lnTo>
                  <a:lnTo>
                    <a:pt x="12278" y="2993"/>
                  </a:lnTo>
                  <a:lnTo>
                    <a:pt x="12274" y="3007"/>
                  </a:lnTo>
                  <a:lnTo>
                    <a:pt x="12269" y="3019"/>
                  </a:lnTo>
                  <a:lnTo>
                    <a:pt x="12262" y="3028"/>
                  </a:lnTo>
                  <a:lnTo>
                    <a:pt x="12255" y="3035"/>
                  </a:lnTo>
                  <a:lnTo>
                    <a:pt x="12237" y="3046"/>
                  </a:lnTo>
                  <a:lnTo>
                    <a:pt x="12216" y="3053"/>
                  </a:lnTo>
                  <a:lnTo>
                    <a:pt x="12196" y="3058"/>
                  </a:lnTo>
                  <a:lnTo>
                    <a:pt x="12177" y="3065"/>
                  </a:lnTo>
                  <a:lnTo>
                    <a:pt x="12168" y="3069"/>
                  </a:lnTo>
                  <a:lnTo>
                    <a:pt x="12159" y="3074"/>
                  </a:lnTo>
                  <a:lnTo>
                    <a:pt x="12151" y="3081"/>
                  </a:lnTo>
                  <a:lnTo>
                    <a:pt x="12144" y="3089"/>
                  </a:lnTo>
                  <a:lnTo>
                    <a:pt x="12121" y="3130"/>
                  </a:lnTo>
                  <a:lnTo>
                    <a:pt x="12111" y="3145"/>
                  </a:lnTo>
                  <a:lnTo>
                    <a:pt x="12100" y="3158"/>
                  </a:lnTo>
                  <a:lnTo>
                    <a:pt x="12087" y="3167"/>
                  </a:lnTo>
                  <a:lnTo>
                    <a:pt x="12070" y="3171"/>
                  </a:lnTo>
                  <a:lnTo>
                    <a:pt x="12048" y="3172"/>
                  </a:lnTo>
                  <a:lnTo>
                    <a:pt x="12020" y="3168"/>
                  </a:lnTo>
                  <a:lnTo>
                    <a:pt x="11989" y="3163"/>
                  </a:lnTo>
                  <a:lnTo>
                    <a:pt x="11971" y="3163"/>
                  </a:lnTo>
                  <a:lnTo>
                    <a:pt x="11953" y="3172"/>
                  </a:lnTo>
                  <a:lnTo>
                    <a:pt x="11929" y="3189"/>
                  </a:lnTo>
                  <a:lnTo>
                    <a:pt x="11910" y="3202"/>
                  </a:lnTo>
                  <a:lnTo>
                    <a:pt x="11887" y="3213"/>
                  </a:lnTo>
                  <a:lnTo>
                    <a:pt x="11887" y="4017"/>
                  </a:lnTo>
                  <a:lnTo>
                    <a:pt x="11933" y="3925"/>
                  </a:lnTo>
                  <a:lnTo>
                    <a:pt x="11961" y="3877"/>
                  </a:lnTo>
                  <a:lnTo>
                    <a:pt x="11994" y="3829"/>
                  </a:lnTo>
                  <a:lnTo>
                    <a:pt x="12014" y="3808"/>
                  </a:lnTo>
                  <a:lnTo>
                    <a:pt x="12035" y="3787"/>
                  </a:lnTo>
                  <a:lnTo>
                    <a:pt x="12060" y="3769"/>
                  </a:lnTo>
                  <a:lnTo>
                    <a:pt x="12073" y="3762"/>
                  </a:lnTo>
                  <a:lnTo>
                    <a:pt x="12085" y="3754"/>
                  </a:lnTo>
                  <a:lnTo>
                    <a:pt x="12115" y="3741"/>
                  </a:lnTo>
                  <a:lnTo>
                    <a:pt x="12148" y="3731"/>
                  </a:lnTo>
                  <a:lnTo>
                    <a:pt x="12184" y="3725"/>
                  </a:lnTo>
                  <a:lnTo>
                    <a:pt x="12224" y="3723"/>
                  </a:lnTo>
                  <a:lnTo>
                    <a:pt x="12283" y="3727"/>
                  </a:lnTo>
                  <a:lnTo>
                    <a:pt x="12341" y="3739"/>
                  </a:lnTo>
                  <a:lnTo>
                    <a:pt x="12368" y="3748"/>
                  </a:lnTo>
                  <a:lnTo>
                    <a:pt x="12395" y="3758"/>
                  </a:lnTo>
                  <a:lnTo>
                    <a:pt x="12420" y="3769"/>
                  </a:lnTo>
                  <a:lnTo>
                    <a:pt x="12446" y="3782"/>
                  </a:lnTo>
                  <a:lnTo>
                    <a:pt x="12446" y="3681"/>
                  </a:lnTo>
                  <a:lnTo>
                    <a:pt x="12447" y="3672"/>
                  </a:lnTo>
                  <a:lnTo>
                    <a:pt x="12452" y="3666"/>
                  </a:lnTo>
                  <a:lnTo>
                    <a:pt x="12459" y="3662"/>
                  </a:lnTo>
                  <a:lnTo>
                    <a:pt x="12465" y="3661"/>
                  </a:lnTo>
                  <a:lnTo>
                    <a:pt x="12473" y="3662"/>
                  </a:lnTo>
                  <a:lnTo>
                    <a:pt x="12479" y="3666"/>
                  </a:lnTo>
                  <a:lnTo>
                    <a:pt x="12484" y="3672"/>
                  </a:lnTo>
                  <a:lnTo>
                    <a:pt x="12486" y="3681"/>
                  </a:lnTo>
                  <a:close/>
                  <a:moveTo>
                    <a:pt x="12630" y="4171"/>
                  </a:moveTo>
                  <a:lnTo>
                    <a:pt x="12628" y="4130"/>
                  </a:lnTo>
                  <a:lnTo>
                    <a:pt x="12621" y="4089"/>
                  </a:lnTo>
                  <a:lnTo>
                    <a:pt x="12613" y="4051"/>
                  </a:lnTo>
                  <a:lnTo>
                    <a:pt x="12598" y="4012"/>
                  </a:lnTo>
                  <a:lnTo>
                    <a:pt x="12582" y="3976"/>
                  </a:lnTo>
                  <a:lnTo>
                    <a:pt x="12561" y="3943"/>
                  </a:lnTo>
                  <a:lnTo>
                    <a:pt x="12537" y="3911"/>
                  </a:lnTo>
                  <a:lnTo>
                    <a:pt x="12511" y="3883"/>
                  </a:lnTo>
                  <a:lnTo>
                    <a:pt x="12482" y="3856"/>
                  </a:lnTo>
                  <a:lnTo>
                    <a:pt x="12451" y="3833"/>
                  </a:lnTo>
                  <a:lnTo>
                    <a:pt x="12418" y="3813"/>
                  </a:lnTo>
                  <a:lnTo>
                    <a:pt x="12382" y="3795"/>
                  </a:lnTo>
                  <a:lnTo>
                    <a:pt x="12345" y="3781"/>
                  </a:lnTo>
                  <a:lnTo>
                    <a:pt x="12306" y="3772"/>
                  </a:lnTo>
                  <a:lnTo>
                    <a:pt x="12265" y="3765"/>
                  </a:lnTo>
                  <a:lnTo>
                    <a:pt x="12224" y="3763"/>
                  </a:lnTo>
                  <a:lnTo>
                    <a:pt x="12197" y="3764"/>
                  </a:lnTo>
                  <a:lnTo>
                    <a:pt x="12173" y="3767"/>
                  </a:lnTo>
                  <a:lnTo>
                    <a:pt x="12150" y="3772"/>
                  </a:lnTo>
                  <a:lnTo>
                    <a:pt x="12128" y="3780"/>
                  </a:lnTo>
                  <a:lnTo>
                    <a:pt x="12089" y="3797"/>
                  </a:lnTo>
                  <a:lnTo>
                    <a:pt x="12073" y="3809"/>
                  </a:lnTo>
                  <a:lnTo>
                    <a:pt x="12057" y="3822"/>
                  </a:lnTo>
                  <a:lnTo>
                    <a:pt x="12029" y="3850"/>
                  </a:lnTo>
                  <a:lnTo>
                    <a:pt x="12005" y="3881"/>
                  </a:lnTo>
                  <a:lnTo>
                    <a:pt x="11984" y="3915"/>
                  </a:lnTo>
                  <a:lnTo>
                    <a:pt x="11965" y="3950"/>
                  </a:lnTo>
                  <a:lnTo>
                    <a:pt x="11932" y="4017"/>
                  </a:lnTo>
                  <a:lnTo>
                    <a:pt x="11915" y="4049"/>
                  </a:lnTo>
                  <a:lnTo>
                    <a:pt x="11897" y="4077"/>
                  </a:lnTo>
                  <a:lnTo>
                    <a:pt x="11878" y="4102"/>
                  </a:lnTo>
                  <a:lnTo>
                    <a:pt x="11866" y="4112"/>
                  </a:lnTo>
                  <a:lnTo>
                    <a:pt x="11855" y="4120"/>
                  </a:lnTo>
                  <a:lnTo>
                    <a:pt x="11843" y="4127"/>
                  </a:lnTo>
                  <a:lnTo>
                    <a:pt x="11830" y="4132"/>
                  </a:lnTo>
                  <a:lnTo>
                    <a:pt x="11800" y="4136"/>
                  </a:lnTo>
                  <a:lnTo>
                    <a:pt x="11783" y="4135"/>
                  </a:lnTo>
                  <a:lnTo>
                    <a:pt x="11766" y="4131"/>
                  </a:lnTo>
                  <a:lnTo>
                    <a:pt x="11750" y="4126"/>
                  </a:lnTo>
                  <a:lnTo>
                    <a:pt x="11734" y="4120"/>
                  </a:lnTo>
                  <a:lnTo>
                    <a:pt x="11702" y="4109"/>
                  </a:lnTo>
                  <a:lnTo>
                    <a:pt x="11685" y="4106"/>
                  </a:lnTo>
                  <a:lnTo>
                    <a:pt x="11669" y="4104"/>
                  </a:lnTo>
                  <a:lnTo>
                    <a:pt x="11625" y="4108"/>
                  </a:lnTo>
                  <a:lnTo>
                    <a:pt x="11603" y="4112"/>
                  </a:lnTo>
                  <a:lnTo>
                    <a:pt x="11584" y="4118"/>
                  </a:lnTo>
                  <a:lnTo>
                    <a:pt x="11565" y="4127"/>
                  </a:lnTo>
                  <a:lnTo>
                    <a:pt x="11546" y="4136"/>
                  </a:lnTo>
                  <a:lnTo>
                    <a:pt x="11529" y="4148"/>
                  </a:lnTo>
                  <a:lnTo>
                    <a:pt x="11512" y="4161"/>
                  </a:lnTo>
                  <a:lnTo>
                    <a:pt x="11498" y="4175"/>
                  </a:lnTo>
                  <a:lnTo>
                    <a:pt x="11484" y="4190"/>
                  </a:lnTo>
                  <a:lnTo>
                    <a:pt x="11471" y="4208"/>
                  </a:lnTo>
                  <a:lnTo>
                    <a:pt x="11461" y="4226"/>
                  </a:lnTo>
                  <a:lnTo>
                    <a:pt x="11452" y="4245"/>
                  </a:lnTo>
                  <a:lnTo>
                    <a:pt x="11444" y="4265"/>
                  </a:lnTo>
                  <a:lnTo>
                    <a:pt x="11438" y="4286"/>
                  </a:lnTo>
                  <a:lnTo>
                    <a:pt x="11434" y="4309"/>
                  </a:lnTo>
                  <a:lnTo>
                    <a:pt x="12171" y="4309"/>
                  </a:lnTo>
                  <a:lnTo>
                    <a:pt x="12177" y="4305"/>
                  </a:lnTo>
                  <a:lnTo>
                    <a:pt x="12184" y="4304"/>
                  </a:lnTo>
                  <a:lnTo>
                    <a:pt x="12609" y="4304"/>
                  </a:lnTo>
                  <a:lnTo>
                    <a:pt x="12618" y="4271"/>
                  </a:lnTo>
                  <a:lnTo>
                    <a:pt x="12625" y="4239"/>
                  </a:lnTo>
                  <a:lnTo>
                    <a:pt x="12629" y="4204"/>
                  </a:lnTo>
                  <a:lnTo>
                    <a:pt x="12630" y="4171"/>
                  </a:lnTo>
                  <a:close/>
                  <a:moveTo>
                    <a:pt x="11425" y="3810"/>
                  </a:moveTo>
                  <a:lnTo>
                    <a:pt x="11524" y="3712"/>
                  </a:lnTo>
                  <a:lnTo>
                    <a:pt x="11532" y="3707"/>
                  </a:lnTo>
                  <a:lnTo>
                    <a:pt x="11539" y="3705"/>
                  </a:lnTo>
                  <a:lnTo>
                    <a:pt x="11547" y="3707"/>
                  </a:lnTo>
                  <a:lnTo>
                    <a:pt x="11553" y="3712"/>
                  </a:lnTo>
                  <a:lnTo>
                    <a:pt x="11557" y="3717"/>
                  </a:lnTo>
                  <a:lnTo>
                    <a:pt x="11558" y="3725"/>
                  </a:lnTo>
                  <a:lnTo>
                    <a:pt x="11557" y="3732"/>
                  </a:lnTo>
                  <a:lnTo>
                    <a:pt x="11553" y="3740"/>
                  </a:lnTo>
                  <a:lnTo>
                    <a:pt x="11426" y="3866"/>
                  </a:lnTo>
                  <a:lnTo>
                    <a:pt x="11425" y="3895"/>
                  </a:lnTo>
                  <a:lnTo>
                    <a:pt x="11460" y="3892"/>
                  </a:lnTo>
                  <a:lnTo>
                    <a:pt x="11494" y="3884"/>
                  </a:lnTo>
                  <a:lnTo>
                    <a:pt x="11528" y="3874"/>
                  </a:lnTo>
                  <a:lnTo>
                    <a:pt x="11558" y="3861"/>
                  </a:lnTo>
                  <a:lnTo>
                    <a:pt x="11589" y="3846"/>
                  </a:lnTo>
                  <a:lnTo>
                    <a:pt x="11617" y="3828"/>
                  </a:lnTo>
                  <a:lnTo>
                    <a:pt x="11643" y="3806"/>
                  </a:lnTo>
                  <a:lnTo>
                    <a:pt x="11667" y="3783"/>
                  </a:lnTo>
                  <a:lnTo>
                    <a:pt x="11689" y="3758"/>
                  </a:lnTo>
                  <a:lnTo>
                    <a:pt x="11710" y="3731"/>
                  </a:lnTo>
                  <a:lnTo>
                    <a:pt x="11726" y="3702"/>
                  </a:lnTo>
                  <a:lnTo>
                    <a:pt x="11741" y="3671"/>
                  </a:lnTo>
                  <a:lnTo>
                    <a:pt x="11752" y="3639"/>
                  </a:lnTo>
                  <a:lnTo>
                    <a:pt x="11761" y="3606"/>
                  </a:lnTo>
                  <a:lnTo>
                    <a:pt x="11766" y="3571"/>
                  </a:lnTo>
                  <a:lnTo>
                    <a:pt x="11767" y="3535"/>
                  </a:lnTo>
                  <a:lnTo>
                    <a:pt x="11765" y="3498"/>
                  </a:lnTo>
                  <a:lnTo>
                    <a:pt x="11760" y="3462"/>
                  </a:lnTo>
                  <a:lnTo>
                    <a:pt x="11751" y="3428"/>
                  </a:lnTo>
                  <a:lnTo>
                    <a:pt x="11739" y="3395"/>
                  </a:lnTo>
                  <a:lnTo>
                    <a:pt x="11724" y="3363"/>
                  </a:lnTo>
                  <a:lnTo>
                    <a:pt x="11706" y="3333"/>
                  </a:lnTo>
                  <a:lnTo>
                    <a:pt x="11684" y="3305"/>
                  </a:lnTo>
                  <a:lnTo>
                    <a:pt x="11661" y="3280"/>
                  </a:lnTo>
                  <a:lnTo>
                    <a:pt x="11635" y="3257"/>
                  </a:lnTo>
                  <a:lnTo>
                    <a:pt x="11608" y="3236"/>
                  </a:lnTo>
                  <a:lnTo>
                    <a:pt x="11578" y="3218"/>
                  </a:lnTo>
                  <a:lnTo>
                    <a:pt x="11547" y="3203"/>
                  </a:lnTo>
                  <a:lnTo>
                    <a:pt x="11530" y="3196"/>
                  </a:lnTo>
                  <a:lnTo>
                    <a:pt x="11514" y="3190"/>
                  </a:lnTo>
                  <a:lnTo>
                    <a:pt x="11479" y="3181"/>
                  </a:lnTo>
                  <a:lnTo>
                    <a:pt x="11443" y="3176"/>
                  </a:lnTo>
                  <a:lnTo>
                    <a:pt x="11406" y="3175"/>
                  </a:lnTo>
                  <a:lnTo>
                    <a:pt x="11369" y="3176"/>
                  </a:lnTo>
                  <a:lnTo>
                    <a:pt x="11333" y="3181"/>
                  </a:lnTo>
                  <a:lnTo>
                    <a:pt x="11298" y="3190"/>
                  </a:lnTo>
                  <a:lnTo>
                    <a:pt x="11265" y="3203"/>
                  </a:lnTo>
                  <a:lnTo>
                    <a:pt x="11233" y="3218"/>
                  </a:lnTo>
                  <a:lnTo>
                    <a:pt x="11203" y="3236"/>
                  </a:lnTo>
                  <a:lnTo>
                    <a:pt x="11175" y="3257"/>
                  </a:lnTo>
                  <a:lnTo>
                    <a:pt x="11149" y="3280"/>
                  </a:lnTo>
                  <a:lnTo>
                    <a:pt x="11126" y="3305"/>
                  </a:lnTo>
                  <a:lnTo>
                    <a:pt x="11106" y="3333"/>
                  </a:lnTo>
                  <a:lnTo>
                    <a:pt x="11088" y="3363"/>
                  </a:lnTo>
                  <a:lnTo>
                    <a:pt x="11072" y="3395"/>
                  </a:lnTo>
                  <a:lnTo>
                    <a:pt x="11066" y="3411"/>
                  </a:lnTo>
                  <a:lnTo>
                    <a:pt x="11060" y="3428"/>
                  </a:lnTo>
                  <a:lnTo>
                    <a:pt x="11051" y="3462"/>
                  </a:lnTo>
                  <a:lnTo>
                    <a:pt x="11046" y="3498"/>
                  </a:lnTo>
                  <a:lnTo>
                    <a:pt x="11044" y="3535"/>
                  </a:lnTo>
                  <a:lnTo>
                    <a:pt x="11046" y="3570"/>
                  </a:lnTo>
                  <a:lnTo>
                    <a:pt x="11051" y="3606"/>
                  </a:lnTo>
                  <a:lnTo>
                    <a:pt x="11060" y="3639"/>
                  </a:lnTo>
                  <a:lnTo>
                    <a:pt x="11070" y="3671"/>
                  </a:lnTo>
                  <a:lnTo>
                    <a:pt x="11085" y="3702"/>
                  </a:lnTo>
                  <a:lnTo>
                    <a:pt x="11102" y="3731"/>
                  </a:lnTo>
                  <a:lnTo>
                    <a:pt x="11121" y="3758"/>
                  </a:lnTo>
                  <a:lnTo>
                    <a:pt x="11143" y="3783"/>
                  </a:lnTo>
                  <a:lnTo>
                    <a:pt x="11167" y="3806"/>
                  </a:lnTo>
                  <a:lnTo>
                    <a:pt x="11193" y="3827"/>
                  </a:lnTo>
                  <a:lnTo>
                    <a:pt x="11221" y="3846"/>
                  </a:lnTo>
                  <a:lnTo>
                    <a:pt x="11252" y="3861"/>
                  </a:lnTo>
                  <a:lnTo>
                    <a:pt x="11283" y="3874"/>
                  </a:lnTo>
                  <a:lnTo>
                    <a:pt x="11316" y="3884"/>
                  </a:lnTo>
                  <a:lnTo>
                    <a:pt x="11349" y="3891"/>
                  </a:lnTo>
                  <a:lnTo>
                    <a:pt x="11385" y="3895"/>
                  </a:lnTo>
                  <a:lnTo>
                    <a:pt x="11385" y="3757"/>
                  </a:lnTo>
                  <a:lnTo>
                    <a:pt x="11258" y="3631"/>
                  </a:lnTo>
                  <a:lnTo>
                    <a:pt x="11253" y="3624"/>
                  </a:lnTo>
                  <a:lnTo>
                    <a:pt x="11252" y="3616"/>
                  </a:lnTo>
                  <a:lnTo>
                    <a:pt x="11255" y="3608"/>
                  </a:lnTo>
                  <a:lnTo>
                    <a:pt x="11258" y="3602"/>
                  </a:lnTo>
                  <a:lnTo>
                    <a:pt x="11265" y="3598"/>
                  </a:lnTo>
                  <a:lnTo>
                    <a:pt x="11271" y="3597"/>
                  </a:lnTo>
                  <a:lnTo>
                    <a:pt x="11279" y="3598"/>
                  </a:lnTo>
                  <a:lnTo>
                    <a:pt x="11287" y="3602"/>
                  </a:lnTo>
                  <a:lnTo>
                    <a:pt x="11385" y="3700"/>
                  </a:lnTo>
                  <a:lnTo>
                    <a:pt x="11385" y="3589"/>
                  </a:lnTo>
                  <a:lnTo>
                    <a:pt x="11385" y="3581"/>
                  </a:lnTo>
                  <a:lnTo>
                    <a:pt x="11385" y="3447"/>
                  </a:lnTo>
                  <a:lnTo>
                    <a:pt x="11387" y="3439"/>
                  </a:lnTo>
                  <a:lnTo>
                    <a:pt x="11392" y="3433"/>
                  </a:lnTo>
                  <a:lnTo>
                    <a:pt x="11398" y="3429"/>
                  </a:lnTo>
                  <a:lnTo>
                    <a:pt x="11405" y="3428"/>
                  </a:lnTo>
                  <a:lnTo>
                    <a:pt x="11412" y="3429"/>
                  </a:lnTo>
                  <a:lnTo>
                    <a:pt x="11419" y="3433"/>
                  </a:lnTo>
                  <a:lnTo>
                    <a:pt x="11424" y="3439"/>
                  </a:lnTo>
                  <a:lnTo>
                    <a:pt x="11425" y="3447"/>
                  </a:lnTo>
                  <a:lnTo>
                    <a:pt x="11425" y="3537"/>
                  </a:lnTo>
                  <a:lnTo>
                    <a:pt x="11517" y="3445"/>
                  </a:lnTo>
                  <a:lnTo>
                    <a:pt x="11525" y="3439"/>
                  </a:lnTo>
                  <a:lnTo>
                    <a:pt x="11533" y="3438"/>
                  </a:lnTo>
                  <a:lnTo>
                    <a:pt x="11541" y="3441"/>
                  </a:lnTo>
                  <a:lnTo>
                    <a:pt x="11546" y="3445"/>
                  </a:lnTo>
                  <a:lnTo>
                    <a:pt x="11551" y="3451"/>
                  </a:lnTo>
                  <a:lnTo>
                    <a:pt x="11552" y="3457"/>
                  </a:lnTo>
                  <a:lnTo>
                    <a:pt x="11551" y="3465"/>
                  </a:lnTo>
                  <a:lnTo>
                    <a:pt x="11546" y="3473"/>
                  </a:lnTo>
                  <a:lnTo>
                    <a:pt x="11425" y="3593"/>
                  </a:lnTo>
                  <a:lnTo>
                    <a:pt x="11425" y="3810"/>
                  </a:lnTo>
                  <a:close/>
                  <a:moveTo>
                    <a:pt x="11847" y="2875"/>
                  </a:moveTo>
                  <a:lnTo>
                    <a:pt x="11847" y="2753"/>
                  </a:lnTo>
                  <a:lnTo>
                    <a:pt x="11743" y="2650"/>
                  </a:lnTo>
                  <a:lnTo>
                    <a:pt x="11738" y="2643"/>
                  </a:lnTo>
                  <a:lnTo>
                    <a:pt x="11737" y="2635"/>
                  </a:lnTo>
                  <a:lnTo>
                    <a:pt x="11739" y="2627"/>
                  </a:lnTo>
                  <a:lnTo>
                    <a:pt x="11743" y="2622"/>
                  </a:lnTo>
                  <a:lnTo>
                    <a:pt x="11750" y="2617"/>
                  </a:lnTo>
                  <a:lnTo>
                    <a:pt x="11757" y="2616"/>
                  </a:lnTo>
                  <a:lnTo>
                    <a:pt x="11764" y="2617"/>
                  </a:lnTo>
                  <a:lnTo>
                    <a:pt x="11771" y="2622"/>
                  </a:lnTo>
                  <a:lnTo>
                    <a:pt x="11847" y="2696"/>
                  </a:lnTo>
                  <a:lnTo>
                    <a:pt x="11847" y="2643"/>
                  </a:lnTo>
                  <a:lnTo>
                    <a:pt x="11848" y="2634"/>
                  </a:lnTo>
                  <a:lnTo>
                    <a:pt x="11853" y="2627"/>
                  </a:lnTo>
                  <a:lnTo>
                    <a:pt x="11860" y="2624"/>
                  </a:lnTo>
                  <a:lnTo>
                    <a:pt x="11866" y="2622"/>
                  </a:lnTo>
                  <a:lnTo>
                    <a:pt x="11874" y="2624"/>
                  </a:lnTo>
                  <a:lnTo>
                    <a:pt x="11880" y="2627"/>
                  </a:lnTo>
                  <a:lnTo>
                    <a:pt x="11885" y="2634"/>
                  </a:lnTo>
                  <a:lnTo>
                    <a:pt x="11887" y="2643"/>
                  </a:lnTo>
                  <a:lnTo>
                    <a:pt x="11887" y="2741"/>
                  </a:lnTo>
                  <a:lnTo>
                    <a:pt x="11887" y="2748"/>
                  </a:lnTo>
                  <a:lnTo>
                    <a:pt x="11887" y="2831"/>
                  </a:lnTo>
                  <a:lnTo>
                    <a:pt x="12024" y="2693"/>
                  </a:lnTo>
                  <a:lnTo>
                    <a:pt x="12032" y="2688"/>
                  </a:lnTo>
                  <a:lnTo>
                    <a:pt x="12039" y="2686"/>
                  </a:lnTo>
                  <a:lnTo>
                    <a:pt x="12047" y="2689"/>
                  </a:lnTo>
                  <a:lnTo>
                    <a:pt x="12052" y="2693"/>
                  </a:lnTo>
                  <a:lnTo>
                    <a:pt x="12057" y="2699"/>
                  </a:lnTo>
                  <a:lnTo>
                    <a:pt x="12059" y="2707"/>
                  </a:lnTo>
                  <a:lnTo>
                    <a:pt x="12057" y="2714"/>
                  </a:lnTo>
                  <a:lnTo>
                    <a:pt x="12052" y="2721"/>
                  </a:lnTo>
                  <a:lnTo>
                    <a:pt x="11887" y="2887"/>
                  </a:lnTo>
                  <a:lnTo>
                    <a:pt x="11887" y="2960"/>
                  </a:lnTo>
                  <a:lnTo>
                    <a:pt x="11887" y="2968"/>
                  </a:lnTo>
                  <a:lnTo>
                    <a:pt x="11887" y="3172"/>
                  </a:lnTo>
                  <a:lnTo>
                    <a:pt x="11897" y="3164"/>
                  </a:lnTo>
                  <a:lnTo>
                    <a:pt x="11907" y="3156"/>
                  </a:lnTo>
                  <a:lnTo>
                    <a:pt x="11919" y="3147"/>
                  </a:lnTo>
                  <a:lnTo>
                    <a:pt x="11932" y="3138"/>
                  </a:lnTo>
                  <a:lnTo>
                    <a:pt x="11947" y="3130"/>
                  </a:lnTo>
                  <a:lnTo>
                    <a:pt x="11968" y="3126"/>
                  </a:lnTo>
                  <a:lnTo>
                    <a:pt x="11993" y="3125"/>
                  </a:lnTo>
                  <a:lnTo>
                    <a:pt x="12027" y="3129"/>
                  </a:lnTo>
                  <a:lnTo>
                    <a:pt x="12043" y="3131"/>
                  </a:lnTo>
                  <a:lnTo>
                    <a:pt x="12056" y="3131"/>
                  </a:lnTo>
                  <a:lnTo>
                    <a:pt x="12066" y="3129"/>
                  </a:lnTo>
                  <a:lnTo>
                    <a:pt x="12075" y="3125"/>
                  </a:lnTo>
                  <a:lnTo>
                    <a:pt x="12088" y="3112"/>
                  </a:lnTo>
                  <a:lnTo>
                    <a:pt x="12097" y="3097"/>
                  </a:lnTo>
                  <a:lnTo>
                    <a:pt x="12106" y="3078"/>
                  </a:lnTo>
                  <a:lnTo>
                    <a:pt x="12118" y="3058"/>
                  </a:lnTo>
                  <a:lnTo>
                    <a:pt x="12135" y="3040"/>
                  </a:lnTo>
                  <a:lnTo>
                    <a:pt x="12148" y="3033"/>
                  </a:lnTo>
                  <a:lnTo>
                    <a:pt x="12162" y="3026"/>
                  </a:lnTo>
                  <a:lnTo>
                    <a:pt x="12211" y="3012"/>
                  </a:lnTo>
                  <a:lnTo>
                    <a:pt x="12224" y="3007"/>
                  </a:lnTo>
                  <a:lnTo>
                    <a:pt x="12232" y="3001"/>
                  </a:lnTo>
                  <a:lnTo>
                    <a:pt x="12237" y="2992"/>
                  </a:lnTo>
                  <a:lnTo>
                    <a:pt x="12238" y="2978"/>
                  </a:lnTo>
                  <a:lnTo>
                    <a:pt x="12242" y="2928"/>
                  </a:lnTo>
                  <a:lnTo>
                    <a:pt x="12244" y="2911"/>
                  </a:lnTo>
                  <a:lnTo>
                    <a:pt x="12250" y="2897"/>
                  </a:lnTo>
                  <a:lnTo>
                    <a:pt x="12262" y="2875"/>
                  </a:lnTo>
                  <a:lnTo>
                    <a:pt x="12270" y="2868"/>
                  </a:lnTo>
                  <a:lnTo>
                    <a:pt x="12279" y="2860"/>
                  </a:lnTo>
                  <a:lnTo>
                    <a:pt x="12296" y="2847"/>
                  </a:lnTo>
                  <a:lnTo>
                    <a:pt x="12310" y="2836"/>
                  </a:lnTo>
                  <a:lnTo>
                    <a:pt x="12315" y="2828"/>
                  </a:lnTo>
                  <a:lnTo>
                    <a:pt x="12319" y="2821"/>
                  </a:lnTo>
                  <a:lnTo>
                    <a:pt x="12320" y="2812"/>
                  </a:lnTo>
                  <a:lnTo>
                    <a:pt x="12320" y="2801"/>
                  </a:lnTo>
                  <a:lnTo>
                    <a:pt x="12312" y="2773"/>
                  </a:lnTo>
                  <a:lnTo>
                    <a:pt x="12300" y="2743"/>
                  </a:lnTo>
                  <a:lnTo>
                    <a:pt x="12294" y="2727"/>
                  </a:lnTo>
                  <a:lnTo>
                    <a:pt x="12293" y="2711"/>
                  </a:lnTo>
                  <a:lnTo>
                    <a:pt x="12294" y="2693"/>
                  </a:lnTo>
                  <a:lnTo>
                    <a:pt x="12300" y="2676"/>
                  </a:lnTo>
                  <a:lnTo>
                    <a:pt x="12318" y="2629"/>
                  </a:lnTo>
                  <a:lnTo>
                    <a:pt x="12323" y="2616"/>
                  </a:lnTo>
                  <a:lnTo>
                    <a:pt x="12323" y="2606"/>
                  </a:lnTo>
                  <a:lnTo>
                    <a:pt x="12319" y="2598"/>
                  </a:lnTo>
                  <a:lnTo>
                    <a:pt x="12309" y="2588"/>
                  </a:lnTo>
                  <a:lnTo>
                    <a:pt x="12271" y="2553"/>
                  </a:lnTo>
                  <a:lnTo>
                    <a:pt x="12261" y="2540"/>
                  </a:lnTo>
                  <a:lnTo>
                    <a:pt x="12252" y="2529"/>
                  </a:lnTo>
                  <a:lnTo>
                    <a:pt x="12247" y="2516"/>
                  </a:lnTo>
                  <a:lnTo>
                    <a:pt x="12243" y="2505"/>
                  </a:lnTo>
                  <a:lnTo>
                    <a:pt x="12242" y="2483"/>
                  </a:lnTo>
                  <a:lnTo>
                    <a:pt x="12242" y="2461"/>
                  </a:lnTo>
                  <a:lnTo>
                    <a:pt x="12241" y="2443"/>
                  </a:lnTo>
                  <a:lnTo>
                    <a:pt x="12238" y="2434"/>
                  </a:lnTo>
                  <a:lnTo>
                    <a:pt x="12236" y="2427"/>
                  </a:lnTo>
                  <a:lnTo>
                    <a:pt x="12229" y="2419"/>
                  </a:lnTo>
                  <a:lnTo>
                    <a:pt x="12220" y="2413"/>
                  </a:lnTo>
                  <a:lnTo>
                    <a:pt x="12209" y="2406"/>
                  </a:lnTo>
                  <a:lnTo>
                    <a:pt x="12193" y="2401"/>
                  </a:lnTo>
                  <a:lnTo>
                    <a:pt x="12164" y="2393"/>
                  </a:lnTo>
                  <a:lnTo>
                    <a:pt x="12143" y="2384"/>
                  </a:lnTo>
                  <a:lnTo>
                    <a:pt x="12129" y="2376"/>
                  </a:lnTo>
                  <a:lnTo>
                    <a:pt x="12120" y="2365"/>
                  </a:lnTo>
                  <a:lnTo>
                    <a:pt x="12106" y="2340"/>
                  </a:lnTo>
                  <a:lnTo>
                    <a:pt x="12096" y="2322"/>
                  </a:lnTo>
                  <a:lnTo>
                    <a:pt x="12082" y="2301"/>
                  </a:lnTo>
                  <a:lnTo>
                    <a:pt x="12077" y="2295"/>
                  </a:lnTo>
                  <a:lnTo>
                    <a:pt x="12070" y="2291"/>
                  </a:lnTo>
                  <a:lnTo>
                    <a:pt x="12055" y="2287"/>
                  </a:lnTo>
                  <a:lnTo>
                    <a:pt x="12038" y="2289"/>
                  </a:lnTo>
                  <a:lnTo>
                    <a:pt x="12020" y="2292"/>
                  </a:lnTo>
                  <a:lnTo>
                    <a:pt x="12000" y="2296"/>
                  </a:lnTo>
                  <a:lnTo>
                    <a:pt x="11978" y="2296"/>
                  </a:lnTo>
                  <a:lnTo>
                    <a:pt x="11955" y="2292"/>
                  </a:lnTo>
                  <a:lnTo>
                    <a:pt x="11930" y="2281"/>
                  </a:lnTo>
                  <a:lnTo>
                    <a:pt x="11900" y="2259"/>
                  </a:lnTo>
                  <a:lnTo>
                    <a:pt x="11882" y="2248"/>
                  </a:lnTo>
                  <a:lnTo>
                    <a:pt x="11866" y="2244"/>
                  </a:lnTo>
                  <a:lnTo>
                    <a:pt x="11851" y="2246"/>
                  </a:lnTo>
                  <a:lnTo>
                    <a:pt x="11843" y="2250"/>
                  </a:lnTo>
                  <a:lnTo>
                    <a:pt x="11837" y="2254"/>
                  </a:lnTo>
                  <a:lnTo>
                    <a:pt x="11812" y="2276"/>
                  </a:lnTo>
                  <a:lnTo>
                    <a:pt x="11796" y="2286"/>
                  </a:lnTo>
                  <a:lnTo>
                    <a:pt x="11774" y="2294"/>
                  </a:lnTo>
                  <a:lnTo>
                    <a:pt x="11744" y="2295"/>
                  </a:lnTo>
                  <a:lnTo>
                    <a:pt x="11726" y="2294"/>
                  </a:lnTo>
                  <a:lnTo>
                    <a:pt x="11706" y="2291"/>
                  </a:lnTo>
                  <a:lnTo>
                    <a:pt x="11691" y="2289"/>
                  </a:lnTo>
                  <a:lnTo>
                    <a:pt x="11676" y="2289"/>
                  </a:lnTo>
                  <a:lnTo>
                    <a:pt x="11666" y="2291"/>
                  </a:lnTo>
                  <a:lnTo>
                    <a:pt x="11658" y="2295"/>
                  </a:lnTo>
                  <a:lnTo>
                    <a:pt x="11646" y="2308"/>
                  </a:lnTo>
                  <a:lnTo>
                    <a:pt x="11637" y="2324"/>
                  </a:lnTo>
                  <a:lnTo>
                    <a:pt x="11628" y="2342"/>
                  </a:lnTo>
                  <a:lnTo>
                    <a:pt x="11616" y="2361"/>
                  </a:lnTo>
                  <a:lnTo>
                    <a:pt x="11598" y="2379"/>
                  </a:lnTo>
                  <a:lnTo>
                    <a:pt x="11585" y="2387"/>
                  </a:lnTo>
                  <a:lnTo>
                    <a:pt x="11570" y="2393"/>
                  </a:lnTo>
                  <a:lnTo>
                    <a:pt x="11521" y="2409"/>
                  </a:lnTo>
                  <a:lnTo>
                    <a:pt x="11508" y="2414"/>
                  </a:lnTo>
                  <a:lnTo>
                    <a:pt x="11501" y="2419"/>
                  </a:lnTo>
                  <a:lnTo>
                    <a:pt x="11497" y="2428"/>
                  </a:lnTo>
                  <a:lnTo>
                    <a:pt x="11494" y="2442"/>
                  </a:lnTo>
                  <a:lnTo>
                    <a:pt x="11491" y="2492"/>
                  </a:lnTo>
                  <a:lnTo>
                    <a:pt x="11488" y="2509"/>
                  </a:lnTo>
                  <a:lnTo>
                    <a:pt x="11484" y="2523"/>
                  </a:lnTo>
                  <a:lnTo>
                    <a:pt x="11470" y="2544"/>
                  </a:lnTo>
                  <a:lnTo>
                    <a:pt x="11462" y="2552"/>
                  </a:lnTo>
                  <a:lnTo>
                    <a:pt x="11455" y="2560"/>
                  </a:lnTo>
                  <a:lnTo>
                    <a:pt x="11438" y="2572"/>
                  </a:lnTo>
                  <a:lnTo>
                    <a:pt x="11424" y="2585"/>
                  </a:lnTo>
                  <a:lnTo>
                    <a:pt x="11419" y="2592"/>
                  </a:lnTo>
                  <a:lnTo>
                    <a:pt x="11415" y="2599"/>
                  </a:lnTo>
                  <a:lnTo>
                    <a:pt x="11412" y="2608"/>
                  </a:lnTo>
                  <a:lnTo>
                    <a:pt x="11412" y="2620"/>
                  </a:lnTo>
                  <a:lnTo>
                    <a:pt x="11421" y="2647"/>
                  </a:lnTo>
                  <a:lnTo>
                    <a:pt x="11434" y="2677"/>
                  </a:lnTo>
                  <a:lnTo>
                    <a:pt x="11438" y="2694"/>
                  </a:lnTo>
                  <a:lnTo>
                    <a:pt x="11440" y="2711"/>
                  </a:lnTo>
                  <a:lnTo>
                    <a:pt x="11438" y="2732"/>
                  </a:lnTo>
                  <a:lnTo>
                    <a:pt x="11432" y="2751"/>
                  </a:lnTo>
                  <a:lnTo>
                    <a:pt x="11416" y="2782"/>
                  </a:lnTo>
                  <a:lnTo>
                    <a:pt x="11411" y="2797"/>
                  </a:lnTo>
                  <a:lnTo>
                    <a:pt x="11411" y="2805"/>
                  </a:lnTo>
                  <a:lnTo>
                    <a:pt x="11412" y="2812"/>
                  </a:lnTo>
                  <a:lnTo>
                    <a:pt x="11420" y="2828"/>
                  </a:lnTo>
                  <a:lnTo>
                    <a:pt x="11438" y="2847"/>
                  </a:lnTo>
                  <a:lnTo>
                    <a:pt x="11461" y="2868"/>
                  </a:lnTo>
                  <a:lnTo>
                    <a:pt x="11476" y="2884"/>
                  </a:lnTo>
                  <a:lnTo>
                    <a:pt x="11484" y="2899"/>
                  </a:lnTo>
                  <a:lnTo>
                    <a:pt x="11488" y="2911"/>
                  </a:lnTo>
                  <a:lnTo>
                    <a:pt x="11491" y="2941"/>
                  </a:lnTo>
                  <a:lnTo>
                    <a:pt x="11491" y="2960"/>
                  </a:lnTo>
                  <a:lnTo>
                    <a:pt x="11494" y="2985"/>
                  </a:lnTo>
                  <a:lnTo>
                    <a:pt x="11502" y="3000"/>
                  </a:lnTo>
                  <a:lnTo>
                    <a:pt x="11514" y="3010"/>
                  </a:lnTo>
                  <a:lnTo>
                    <a:pt x="11529" y="3015"/>
                  </a:lnTo>
                  <a:lnTo>
                    <a:pt x="11547" y="3020"/>
                  </a:lnTo>
                  <a:lnTo>
                    <a:pt x="11567" y="3026"/>
                  </a:lnTo>
                  <a:lnTo>
                    <a:pt x="11587" y="3034"/>
                  </a:lnTo>
                  <a:lnTo>
                    <a:pt x="11606" y="3048"/>
                  </a:lnTo>
                  <a:lnTo>
                    <a:pt x="11615" y="3057"/>
                  </a:lnTo>
                  <a:lnTo>
                    <a:pt x="11623" y="3069"/>
                  </a:lnTo>
                  <a:lnTo>
                    <a:pt x="11648" y="3112"/>
                  </a:lnTo>
                  <a:lnTo>
                    <a:pt x="11656" y="3124"/>
                  </a:lnTo>
                  <a:lnTo>
                    <a:pt x="11664" y="3130"/>
                  </a:lnTo>
                  <a:lnTo>
                    <a:pt x="11673" y="3133"/>
                  </a:lnTo>
                  <a:lnTo>
                    <a:pt x="11687" y="3131"/>
                  </a:lnTo>
                  <a:lnTo>
                    <a:pt x="11737" y="3124"/>
                  </a:lnTo>
                  <a:lnTo>
                    <a:pt x="11757" y="3124"/>
                  </a:lnTo>
                  <a:lnTo>
                    <a:pt x="11774" y="3126"/>
                  </a:lnTo>
                  <a:lnTo>
                    <a:pt x="11789" y="3131"/>
                  </a:lnTo>
                  <a:lnTo>
                    <a:pt x="11803" y="3139"/>
                  </a:lnTo>
                  <a:lnTo>
                    <a:pt x="11826" y="3156"/>
                  </a:lnTo>
                  <a:lnTo>
                    <a:pt x="11847" y="3171"/>
                  </a:lnTo>
                  <a:lnTo>
                    <a:pt x="11847" y="2973"/>
                  </a:lnTo>
                  <a:lnTo>
                    <a:pt x="11769" y="2895"/>
                  </a:lnTo>
                  <a:lnTo>
                    <a:pt x="11764" y="2887"/>
                  </a:lnTo>
                  <a:lnTo>
                    <a:pt x="11762" y="2879"/>
                  </a:lnTo>
                  <a:lnTo>
                    <a:pt x="11765" y="2873"/>
                  </a:lnTo>
                  <a:lnTo>
                    <a:pt x="11769" y="2867"/>
                  </a:lnTo>
                  <a:lnTo>
                    <a:pt x="11775" y="2863"/>
                  </a:lnTo>
                  <a:lnTo>
                    <a:pt x="11782" y="2860"/>
                  </a:lnTo>
                  <a:lnTo>
                    <a:pt x="11789" y="2861"/>
                  </a:lnTo>
                  <a:lnTo>
                    <a:pt x="11797" y="2867"/>
                  </a:lnTo>
                  <a:lnTo>
                    <a:pt x="11847" y="2916"/>
                  </a:lnTo>
                  <a:lnTo>
                    <a:pt x="11847" y="2882"/>
                  </a:lnTo>
                  <a:lnTo>
                    <a:pt x="11847" y="2875"/>
                  </a:lnTo>
                  <a:close/>
                  <a:moveTo>
                    <a:pt x="11887" y="2960"/>
                  </a:moveTo>
                  <a:lnTo>
                    <a:pt x="11887" y="2968"/>
                  </a:lnTo>
                  <a:lnTo>
                    <a:pt x="11887" y="2960"/>
                  </a:lnTo>
                  <a:close/>
                  <a:moveTo>
                    <a:pt x="11887" y="2741"/>
                  </a:moveTo>
                  <a:lnTo>
                    <a:pt x="11887" y="2748"/>
                  </a:lnTo>
                  <a:lnTo>
                    <a:pt x="11887" y="2741"/>
                  </a:lnTo>
                  <a:close/>
                  <a:moveTo>
                    <a:pt x="11847" y="2882"/>
                  </a:moveTo>
                  <a:lnTo>
                    <a:pt x="11847" y="2875"/>
                  </a:lnTo>
                  <a:lnTo>
                    <a:pt x="11847" y="2882"/>
                  </a:lnTo>
                  <a:close/>
                  <a:moveTo>
                    <a:pt x="9740" y="1741"/>
                  </a:moveTo>
                  <a:lnTo>
                    <a:pt x="9740" y="1619"/>
                  </a:lnTo>
                  <a:lnTo>
                    <a:pt x="9741" y="1611"/>
                  </a:lnTo>
                  <a:lnTo>
                    <a:pt x="9747" y="1604"/>
                  </a:lnTo>
                  <a:lnTo>
                    <a:pt x="9753" y="1601"/>
                  </a:lnTo>
                  <a:lnTo>
                    <a:pt x="9761" y="1599"/>
                  </a:lnTo>
                  <a:lnTo>
                    <a:pt x="10006" y="1599"/>
                  </a:lnTo>
                  <a:lnTo>
                    <a:pt x="10013" y="1601"/>
                  </a:lnTo>
                  <a:lnTo>
                    <a:pt x="10020" y="1604"/>
                  </a:lnTo>
                  <a:lnTo>
                    <a:pt x="10024" y="1611"/>
                  </a:lnTo>
                  <a:lnTo>
                    <a:pt x="10026" y="1619"/>
                  </a:lnTo>
                  <a:lnTo>
                    <a:pt x="10026" y="1741"/>
                  </a:lnTo>
                  <a:lnTo>
                    <a:pt x="10978" y="1741"/>
                  </a:lnTo>
                  <a:lnTo>
                    <a:pt x="10987" y="1744"/>
                  </a:lnTo>
                  <a:lnTo>
                    <a:pt x="10994" y="1749"/>
                  </a:lnTo>
                  <a:lnTo>
                    <a:pt x="11211" y="2048"/>
                  </a:lnTo>
                  <a:lnTo>
                    <a:pt x="11235" y="2048"/>
                  </a:lnTo>
                  <a:lnTo>
                    <a:pt x="11242" y="2051"/>
                  </a:lnTo>
                  <a:lnTo>
                    <a:pt x="11248" y="2055"/>
                  </a:lnTo>
                  <a:lnTo>
                    <a:pt x="11253" y="2061"/>
                  </a:lnTo>
                  <a:lnTo>
                    <a:pt x="11255" y="2069"/>
                  </a:lnTo>
                  <a:lnTo>
                    <a:pt x="11255" y="2241"/>
                  </a:lnTo>
                  <a:lnTo>
                    <a:pt x="11253" y="2249"/>
                  </a:lnTo>
                  <a:lnTo>
                    <a:pt x="11248" y="2255"/>
                  </a:lnTo>
                  <a:lnTo>
                    <a:pt x="11242" y="2260"/>
                  </a:lnTo>
                  <a:lnTo>
                    <a:pt x="11235" y="2262"/>
                  </a:lnTo>
                  <a:lnTo>
                    <a:pt x="11224" y="2262"/>
                  </a:lnTo>
                  <a:lnTo>
                    <a:pt x="11224" y="3107"/>
                  </a:lnTo>
                  <a:lnTo>
                    <a:pt x="11223" y="3116"/>
                  </a:lnTo>
                  <a:lnTo>
                    <a:pt x="11217" y="3122"/>
                  </a:lnTo>
                  <a:lnTo>
                    <a:pt x="11211" y="3126"/>
                  </a:lnTo>
                  <a:lnTo>
                    <a:pt x="11205" y="3127"/>
                  </a:lnTo>
                  <a:lnTo>
                    <a:pt x="11197" y="3126"/>
                  </a:lnTo>
                  <a:lnTo>
                    <a:pt x="11190" y="3122"/>
                  </a:lnTo>
                  <a:lnTo>
                    <a:pt x="11185" y="3116"/>
                  </a:lnTo>
                  <a:lnTo>
                    <a:pt x="11184" y="3107"/>
                  </a:lnTo>
                  <a:lnTo>
                    <a:pt x="11184" y="2262"/>
                  </a:lnTo>
                  <a:lnTo>
                    <a:pt x="10285" y="2262"/>
                  </a:lnTo>
                  <a:lnTo>
                    <a:pt x="9388" y="2262"/>
                  </a:lnTo>
                  <a:lnTo>
                    <a:pt x="9388" y="3282"/>
                  </a:lnTo>
                  <a:lnTo>
                    <a:pt x="9388" y="4304"/>
                  </a:lnTo>
                  <a:lnTo>
                    <a:pt x="10285" y="4304"/>
                  </a:lnTo>
                  <a:lnTo>
                    <a:pt x="11184" y="4304"/>
                  </a:lnTo>
                  <a:lnTo>
                    <a:pt x="11184" y="3976"/>
                  </a:lnTo>
                  <a:lnTo>
                    <a:pt x="11185" y="3969"/>
                  </a:lnTo>
                  <a:lnTo>
                    <a:pt x="11190" y="3962"/>
                  </a:lnTo>
                  <a:lnTo>
                    <a:pt x="11197" y="3959"/>
                  </a:lnTo>
                  <a:lnTo>
                    <a:pt x="11205" y="3957"/>
                  </a:lnTo>
                  <a:lnTo>
                    <a:pt x="11211" y="3959"/>
                  </a:lnTo>
                  <a:lnTo>
                    <a:pt x="11217" y="3962"/>
                  </a:lnTo>
                  <a:lnTo>
                    <a:pt x="11223" y="3969"/>
                  </a:lnTo>
                  <a:lnTo>
                    <a:pt x="11224" y="3976"/>
                  </a:lnTo>
                  <a:lnTo>
                    <a:pt x="11224" y="4324"/>
                  </a:lnTo>
                  <a:lnTo>
                    <a:pt x="11223" y="4332"/>
                  </a:lnTo>
                  <a:lnTo>
                    <a:pt x="11217" y="4338"/>
                  </a:lnTo>
                  <a:lnTo>
                    <a:pt x="11211" y="4342"/>
                  </a:lnTo>
                  <a:lnTo>
                    <a:pt x="11205" y="4343"/>
                  </a:lnTo>
                  <a:lnTo>
                    <a:pt x="10285" y="4343"/>
                  </a:lnTo>
                  <a:lnTo>
                    <a:pt x="9367" y="4343"/>
                  </a:lnTo>
                  <a:lnTo>
                    <a:pt x="9361" y="4342"/>
                  </a:lnTo>
                  <a:lnTo>
                    <a:pt x="9354" y="4338"/>
                  </a:lnTo>
                  <a:lnTo>
                    <a:pt x="9349" y="4332"/>
                  </a:lnTo>
                  <a:lnTo>
                    <a:pt x="9348" y="4324"/>
                  </a:lnTo>
                  <a:lnTo>
                    <a:pt x="9348" y="3808"/>
                  </a:lnTo>
                  <a:lnTo>
                    <a:pt x="9348" y="3292"/>
                  </a:lnTo>
                  <a:lnTo>
                    <a:pt x="9348" y="2777"/>
                  </a:lnTo>
                  <a:lnTo>
                    <a:pt x="9348" y="2262"/>
                  </a:lnTo>
                  <a:lnTo>
                    <a:pt x="9336" y="2262"/>
                  </a:lnTo>
                  <a:lnTo>
                    <a:pt x="9329" y="2260"/>
                  </a:lnTo>
                  <a:lnTo>
                    <a:pt x="9322" y="2255"/>
                  </a:lnTo>
                  <a:lnTo>
                    <a:pt x="9318" y="2249"/>
                  </a:lnTo>
                  <a:lnTo>
                    <a:pt x="9317" y="2241"/>
                  </a:lnTo>
                  <a:lnTo>
                    <a:pt x="9317" y="2069"/>
                  </a:lnTo>
                  <a:lnTo>
                    <a:pt x="9318" y="2061"/>
                  </a:lnTo>
                  <a:lnTo>
                    <a:pt x="9322" y="2055"/>
                  </a:lnTo>
                  <a:lnTo>
                    <a:pt x="9329" y="2051"/>
                  </a:lnTo>
                  <a:lnTo>
                    <a:pt x="9336" y="2048"/>
                  </a:lnTo>
                  <a:lnTo>
                    <a:pt x="9364" y="2048"/>
                  </a:lnTo>
                  <a:lnTo>
                    <a:pt x="9581" y="1749"/>
                  </a:lnTo>
                  <a:lnTo>
                    <a:pt x="9589" y="1744"/>
                  </a:lnTo>
                  <a:lnTo>
                    <a:pt x="9598" y="1741"/>
                  </a:lnTo>
                  <a:lnTo>
                    <a:pt x="9740" y="1741"/>
                  </a:lnTo>
                  <a:close/>
                  <a:moveTo>
                    <a:pt x="9985" y="1741"/>
                  </a:moveTo>
                  <a:lnTo>
                    <a:pt x="9985" y="1639"/>
                  </a:lnTo>
                  <a:lnTo>
                    <a:pt x="9780" y="1639"/>
                  </a:lnTo>
                  <a:lnTo>
                    <a:pt x="9780" y="1741"/>
                  </a:lnTo>
                  <a:lnTo>
                    <a:pt x="9799" y="1741"/>
                  </a:lnTo>
                  <a:lnTo>
                    <a:pt x="9808" y="1743"/>
                  </a:lnTo>
                  <a:lnTo>
                    <a:pt x="9815" y="1748"/>
                  </a:lnTo>
                  <a:lnTo>
                    <a:pt x="9818" y="1754"/>
                  </a:lnTo>
                  <a:lnTo>
                    <a:pt x="9820" y="1762"/>
                  </a:lnTo>
                  <a:lnTo>
                    <a:pt x="9818" y="1768"/>
                  </a:lnTo>
                  <a:lnTo>
                    <a:pt x="9815" y="1775"/>
                  </a:lnTo>
                  <a:lnTo>
                    <a:pt x="9808" y="1780"/>
                  </a:lnTo>
                  <a:lnTo>
                    <a:pt x="9799" y="1781"/>
                  </a:lnTo>
                  <a:lnTo>
                    <a:pt x="9607" y="1781"/>
                  </a:lnTo>
                  <a:lnTo>
                    <a:pt x="9413" y="2048"/>
                  </a:lnTo>
                  <a:lnTo>
                    <a:pt x="10288" y="2048"/>
                  </a:lnTo>
                  <a:lnTo>
                    <a:pt x="11162" y="2048"/>
                  </a:lnTo>
                  <a:lnTo>
                    <a:pt x="10967" y="1781"/>
                  </a:lnTo>
                  <a:lnTo>
                    <a:pt x="9953" y="1781"/>
                  </a:lnTo>
                  <a:lnTo>
                    <a:pt x="9944" y="1780"/>
                  </a:lnTo>
                  <a:lnTo>
                    <a:pt x="9938" y="1775"/>
                  </a:lnTo>
                  <a:lnTo>
                    <a:pt x="9934" y="1768"/>
                  </a:lnTo>
                  <a:lnTo>
                    <a:pt x="9933" y="1762"/>
                  </a:lnTo>
                  <a:lnTo>
                    <a:pt x="9934" y="1754"/>
                  </a:lnTo>
                  <a:lnTo>
                    <a:pt x="9938" y="1748"/>
                  </a:lnTo>
                  <a:lnTo>
                    <a:pt x="9944" y="1743"/>
                  </a:lnTo>
                  <a:lnTo>
                    <a:pt x="9953" y="1741"/>
                  </a:lnTo>
                  <a:lnTo>
                    <a:pt x="9985" y="1741"/>
                  </a:lnTo>
                  <a:close/>
                  <a:moveTo>
                    <a:pt x="9372" y="2089"/>
                  </a:moveTo>
                  <a:lnTo>
                    <a:pt x="9357" y="2089"/>
                  </a:lnTo>
                  <a:lnTo>
                    <a:pt x="9357" y="2222"/>
                  </a:lnTo>
                  <a:lnTo>
                    <a:pt x="10285" y="2222"/>
                  </a:lnTo>
                  <a:lnTo>
                    <a:pt x="11215" y="2222"/>
                  </a:lnTo>
                  <a:lnTo>
                    <a:pt x="11215" y="2089"/>
                  </a:lnTo>
                  <a:lnTo>
                    <a:pt x="11205" y="2089"/>
                  </a:lnTo>
                  <a:lnTo>
                    <a:pt x="11198" y="2089"/>
                  </a:lnTo>
                  <a:lnTo>
                    <a:pt x="10288" y="2089"/>
                  </a:lnTo>
                  <a:lnTo>
                    <a:pt x="9379" y="2089"/>
                  </a:lnTo>
                  <a:lnTo>
                    <a:pt x="9372" y="2089"/>
                  </a:lnTo>
                  <a:close/>
                  <a:moveTo>
                    <a:pt x="11205" y="2089"/>
                  </a:moveTo>
                  <a:lnTo>
                    <a:pt x="11198" y="2089"/>
                  </a:lnTo>
                  <a:lnTo>
                    <a:pt x="11205" y="2089"/>
                  </a:lnTo>
                  <a:close/>
                  <a:moveTo>
                    <a:pt x="9379" y="2089"/>
                  </a:moveTo>
                  <a:lnTo>
                    <a:pt x="9372" y="2089"/>
                  </a:lnTo>
                  <a:lnTo>
                    <a:pt x="9379" y="2089"/>
                  </a:lnTo>
                  <a:close/>
                  <a:moveTo>
                    <a:pt x="11106" y="1136"/>
                  </a:moveTo>
                  <a:lnTo>
                    <a:pt x="11083" y="1126"/>
                  </a:lnTo>
                  <a:lnTo>
                    <a:pt x="11056" y="1122"/>
                  </a:lnTo>
                  <a:lnTo>
                    <a:pt x="11035" y="1125"/>
                  </a:lnTo>
                  <a:lnTo>
                    <a:pt x="11017" y="1130"/>
                  </a:lnTo>
                  <a:lnTo>
                    <a:pt x="10999" y="1140"/>
                  </a:lnTo>
                  <a:lnTo>
                    <a:pt x="10985" y="1152"/>
                  </a:lnTo>
                  <a:lnTo>
                    <a:pt x="10972" y="1167"/>
                  </a:lnTo>
                  <a:lnTo>
                    <a:pt x="10963" y="1185"/>
                  </a:lnTo>
                  <a:lnTo>
                    <a:pt x="10957" y="1204"/>
                  </a:lnTo>
                  <a:lnTo>
                    <a:pt x="10956" y="1225"/>
                  </a:lnTo>
                  <a:lnTo>
                    <a:pt x="10958" y="1246"/>
                  </a:lnTo>
                  <a:lnTo>
                    <a:pt x="11683" y="1245"/>
                  </a:lnTo>
                  <a:lnTo>
                    <a:pt x="11683" y="1227"/>
                  </a:lnTo>
                  <a:lnTo>
                    <a:pt x="11682" y="1208"/>
                  </a:lnTo>
                  <a:lnTo>
                    <a:pt x="11675" y="1190"/>
                  </a:lnTo>
                  <a:lnTo>
                    <a:pt x="11666" y="1174"/>
                  </a:lnTo>
                  <a:lnTo>
                    <a:pt x="11653" y="1159"/>
                  </a:lnTo>
                  <a:lnTo>
                    <a:pt x="11647" y="1153"/>
                  </a:lnTo>
                  <a:lnTo>
                    <a:pt x="11639" y="1148"/>
                  </a:lnTo>
                  <a:lnTo>
                    <a:pt x="11621" y="1139"/>
                  </a:lnTo>
                  <a:lnTo>
                    <a:pt x="11603" y="1133"/>
                  </a:lnTo>
                  <a:lnTo>
                    <a:pt x="11583" y="1131"/>
                  </a:lnTo>
                  <a:lnTo>
                    <a:pt x="11558" y="1134"/>
                  </a:lnTo>
                  <a:lnTo>
                    <a:pt x="11542" y="1138"/>
                  </a:lnTo>
                  <a:lnTo>
                    <a:pt x="11523" y="1139"/>
                  </a:lnTo>
                  <a:lnTo>
                    <a:pt x="11489" y="1133"/>
                  </a:lnTo>
                  <a:lnTo>
                    <a:pt x="11489" y="1113"/>
                  </a:lnTo>
                  <a:lnTo>
                    <a:pt x="11487" y="1096"/>
                  </a:lnTo>
                  <a:lnTo>
                    <a:pt x="11482" y="1078"/>
                  </a:lnTo>
                  <a:lnTo>
                    <a:pt x="11476" y="1061"/>
                  </a:lnTo>
                  <a:lnTo>
                    <a:pt x="11469" y="1044"/>
                  </a:lnTo>
                  <a:lnTo>
                    <a:pt x="11460" y="1030"/>
                  </a:lnTo>
                  <a:lnTo>
                    <a:pt x="11451" y="1016"/>
                  </a:lnTo>
                  <a:lnTo>
                    <a:pt x="11439" y="1002"/>
                  </a:lnTo>
                  <a:lnTo>
                    <a:pt x="11412" y="980"/>
                  </a:lnTo>
                  <a:lnTo>
                    <a:pt x="11383" y="964"/>
                  </a:lnTo>
                  <a:lnTo>
                    <a:pt x="11366" y="957"/>
                  </a:lnTo>
                  <a:lnTo>
                    <a:pt x="11349" y="954"/>
                  </a:lnTo>
                  <a:lnTo>
                    <a:pt x="11312" y="950"/>
                  </a:lnTo>
                  <a:lnTo>
                    <a:pt x="11278" y="954"/>
                  </a:lnTo>
                  <a:lnTo>
                    <a:pt x="11261" y="957"/>
                  </a:lnTo>
                  <a:lnTo>
                    <a:pt x="11246" y="963"/>
                  </a:lnTo>
                  <a:lnTo>
                    <a:pt x="11230" y="970"/>
                  </a:lnTo>
                  <a:lnTo>
                    <a:pt x="11216" y="978"/>
                  </a:lnTo>
                  <a:lnTo>
                    <a:pt x="11190" y="998"/>
                  </a:lnTo>
                  <a:lnTo>
                    <a:pt x="11170" y="1024"/>
                  </a:lnTo>
                  <a:lnTo>
                    <a:pt x="11153" y="1053"/>
                  </a:lnTo>
                  <a:lnTo>
                    <a:pt x="11147" y="1069"/>
                  </a:lnTo>
                  <a:lnTo>
                    <a:pt x="11142" y="1085"/>
                  </a:lnTo>
                  <a:lnTo>
                    <a:pt x="11138" y="1102"/>
                  </a:lnTo>
                  <a:lnTo>
                    <a:pt x="11137" y="1120"/>
                  </a:lnTo>
                  <a:lnTo>
                    <a:pt x="11134" y="1131"/>
                  </a:lnTo>
                  <a:lnTo>
                    <a:pt x="11126" y="1138"/>
                  </a:lnTo>
                  <a:lnTo>
                    <a:pt x="11122" y="1139"/>
                  </a:lnTo>
                  <a:lnTo>
                    <a:pt x="11117" y="1140"/>
                  </a:lnTo>
                  <a:lnTo>
                    <a:pt x="11106" y="1136"/>
                  </a:lnTo>
                  <a:close/>
                  <a:moveTo>
                    <a:pt x="11528" y="1106"/>
                  </a:moveTo>
                  <a:lnTo>
                    <a:pt x="11539" y="1098"/>
                  </a:lnTo>
                  <a:lnTo>
                    <a:pt x="11555" y="1094"/>
                  </a:lnTo>
                  <a:lnTo>
                    <a:pt x="11583" y="1090"/>
                  </a:lnTo>
                  <a:lnTo>
                    <a:pt x="11611" y="1094"/>
                  </a:lnTo>
                  <a:lnTo>
                    <a:pt x="11624" y="1097"/>
                  </a:lnTo>
                  <a:lnTo>
                    <a:pt x="11637" y="1102"/>
                  </a:lnTo>
                  <a:lnTo>
                    <a:pt x="11660" y="1115"/>
                  </a:lnTo>
                  <a:lnTo>
                    <a:pt x="11682" y="1131"/>
                  </a:lnTo>
                  <a:lnTo>
                    <a:pt x="11698" y="1151"/>
                  </a:lnTo>
                  <a:lnTo>
                    <a:pt x="11712" y="1174"/>
                  </a:lnTo>
                  <a:lnTo>
                    <a:pt x="11720" y="1199"/>
                  </a:lnTo>
                  <a:lnTo>
                    <a:pt x="11723" y="1213"/>
                  </a:lnTo>
                  <a:lnTo>
                    <a:pt x="11723" y="1227"/>
                  </a:lnTo>
                  <a:lnTo>
                    <a:pt x="11723" y="1243"/>
                  </a:lnTo>
                  <a:lnTo>
                    <a:pt x="11721" y="1262"/>
                  </a:lnTo>
                  <a:lnTo>
                    <a:pt x="11714" y="1278"/>
                  </a:lnTo>
                  <a:lnTo>
                    <a:pt x="11707" y="1284"/>
                  </a:lnTo>
                  <a:lnTo>
                    <a:pt x="11700" y="1285"/>
                  </a:lnTo>
                  <a:lnTo>
                    <a:pt x="10943" y="1286"/>
                  </a:lnTo>
                  <a:lnTo>
                    <a:pt x="10934" y="1285"/>
                  </a:lnTo>
                  <a:lnTo>
                    <a:pt x="10928" y="1280"/>
                  </a:lnTo>
                  <a:lnTo>
                    <a:pt x="10924" y="1271"/>
                  </a:lnTo>
                  <a:lnTo>
                    <a:pt x="10920" y="1262"/>
                  </a:lnTo>
                  <a:lnTo>
                    <a:pt x="10916" y="1240"/>
                  </a:lnTo>
                  <a:lnTo>
                    <a:pt x="10915" y="1225"/>
                  </a:lnTo>
                  <a:lnTo>
                    <a:pt x="10919" y="1197"/>
                  </a:lnTo>
                  <a:lnTo>
                    <a:pt x="10926" y="1170"/>
                  </a:lnTo>
                  <a:lnTo>
                    <a:pt x="10939" y="1145"/>
                  </a:lnTo>
                  <a:lnTo>
                    <a:pt x="10956" y="1125"/>
                  </a:lnTo>
                  <a:lnTo>
                    <a:pt x="10978" y="1107"/>
                  </a:lnTo>
                  <a:lnTo>
                    <a:pt x="10989" y="1099"/>
                  </a:lnTo>
                  <a:lnTo>
                    <a:pt x="11001" y="1094"/>
                  </a:lnTo>
                  <a:lnTo>
                    <a:pt x="11028" y="1085"/>
                  </a:lnTo>
                  <a:lnTo>
                    <a:pt x="11042" y="1083"/>
                  </a:lnTo>
                  <a:lnTo>
                    <a:pt x="11056" y="1083"/>
                  </a:lnTo>
                  <a:lnTo>
                    <a:pt x="11079" y="1084"/>
                  </a:lnTo>
                  <a:lnTo>
                    <a:pt x="11101" y="1089"/>
                  </a:lnTo>
                  <a:lnTo>
                    <a:pt x="11110" y="1052"/>
                  </a:lnTo>
                  <a:lnTo>
                    <a:pt x="11126" y="1019"/>
                  </a:lnTo>
                  <a:lnTo>
                    <a:pt x="11147" y="988"/>
                  </a:lnTo>
                  <a:lnTo>
                    <a:pt x="11173" y="961"/>
                  </a:lnTo>
                  <a:lnTo>
                    <a:pt x="11202" y="940"/>
                  </a:lnTo>
                  <a:lnTo>
                    <a:pt x="11237" y="923"/>
                  </a:lnTo>
                  <a:lnTo>
                    <a:pt x="11274" y="913"/>
                  </a:lnTo>
                  <a:lnTo>
                    <a:pt x="11312" y="910"/>
                  </a:lnTo>
                  <a:lnTo>
                    <a:pt x="11355" y="914"/>
                  </a:lnTo>
                  <a:lnTo>
                    <a:pt x="11374" y="918"/>
                  </a:lnTo>
                  <a:lnTo>
                    <a:pt x="11393" y="925"/>
                  </a:lnTo>
                  <a:lnTo>
                    <a:pt x="11428" y="942"/>
                  </a:lnTo>
                  <a:lnTo>
                    <a:pt x="11444" y="954"/>
                  </a:lnTo>
                  <a:lnTo>
                    <a:pt x="11458" y="966"/>
                  </a:lnTo>
                  <a:lnTo>
                    <a:pt x="11473" y="980"/>
                  </a:lnTo>
                  <a:lnTo>
                    <a:pt x="11485" y="996"/>
                  </a:lnTo>
                  <a:lnTo>
                    <a:pt x="11506" y="1029"/>
                  </a:lnTo>
                  <a:lnTo>
                    <a:pt x="11514" y="1047"/>
                  </a:lnTo>
                  <a:lnTo>
                    <a:pt x="11520" y="1066"/>
                  </a:lnTo>
                  <a:lnTo>
                    <a:pt x="11525" y="1085"/>
                  </a:lnTo>
                  <a:lnTo>
                    <a:pt x="11528" y="1106"/>
                  </a:lnTo>
                  <a:close/>
                  <a:moveTo>
                    <a:pt x="13515" y="644"/>
                  </a:moveTo>
                  <a:lnTo>
                    <a:pt x="13404" y="644"/>
                  </a:lnTo>
                  <a:lnTo>
                    <a:pt x="13404" y="754"/>
                  </a:lnTo>
                  <a:lnTo>
                    <a:pt x="13515" y="754"/>
                  </a:lnTo>
                  <a:lnTo>
                    <a:pt x="13515" y="644"/>
                  </a:lnTo>
                  <a:close/>
                  <a:moveTo>
                    <a:pt x="13534" y="605"/>
                  </a:moveTo>
                  <a:lnTo>
                    <a:pt x="13542" y="606"/>
                  </a:lnTo>
                  <a:lnTo>
                    <a:pt x="13549" y="611"/>
                  </a:lnTo>
                  <a:lnTo>
                    <a:pt x="13552" y="617"/>
                  </a:lnTo>
                  <a:lnTo>
                    <a:pt x="13555" y="624"/>
                  </a:lnTo>
                  <a:lnTo>
                    <a:pt x="13555" y="754"/>
                  </a:lnTo>
                  <a:lnTo>
                    <a:pt x="14078" y="754"/>
                  </a:lnTo>
                  <a:lnTo>
                    <a:pt x="14086" y="757"/>
                  </a:lnTo>
                  <a:lnTo>
                    <a:pt x="14092" y="761"/>
                  </a:lnTo>
                  <a:lnTo>
                    <a:pt x="14097" y="767"/>
                  </a:lnTo>
                  <a:lnTo>
                    <a:pt x="14099" y="775"/>
                  </a:lnTo>
                  <a:lnTo>
                    <a:pt x="14099" y="1471"/>
                  </a:lnTo>
                  <a:lnTo>
                    <a:pt x="14099" y="2170"/>
                  </a:lnTo>
                  <a:lnTo>
                    <a:pt x="14097" y="2177"/>
                  </a:lnTo>
                  <a:lnTo>
                    <a:pt x="14092" y="2184"/>
                  </a:lnTo>
                  <a:lnTo>
                    <a:pt x="14086" y="2188"/>
                  </a:lnTo>
                  <a:lnTo>
                    <a:pt x="14078" y="2189"/>
                  </a:lnTo>
                  <a:lnTo>
                    <a:pt x="14072" y="2188"/>
                  </a:lnTo>
                  <a:lnTo>
                    <a:pt x="14065" y="2184"/>
                  </a:lnTo>
                  <a:lnTo>
                    <a:pt x="14060" y="2177"/>
                  </a:lnTo>
                  <a:lnTo>
                    <a:pt x="14059" y="2170"/>
                  </a:lnTo>
                  <a:lnTo>
                    <a:pt x="14059" y="1482"/>
                  </a:lnTo>
                  <a:lnTo>
                    <a:pt x="14059" y="795"/>
                  </a:lnTo>
                  <a:lnTo>
                    <a:pt x="13534" y="795"/>
                  </a:lnTo>
                  <a:lnTo>
                    <a:pt x="13384" y="795"/>
                  </a:lnTo>
                  <a:lnTo>
                    <a:pt x="13150" y="795"/>
                  </a:lnTo>
                  <a:lnTo>
                    <a:pt x="13141" y="793"/>
                  </a:lnTo>
                  <a:lnTo>
                    <a:pt x="13134" y="789"/>
                  </a:lnTo>
                  <a:lnTo>
                    <a:pt x="13131" y="782"/>
                  </a:lnTo>
                  <a:lnTo>
                    <a:pt x="13129" y="775"/>
                  </a:lnTo>
                  <a:lnTo>
                    <a:pt x="13131" y="767"/>
                  </a:lnTo>
                  <a:lnTo>
                    <a:pt x="13134" y="761"/>
                  </a:lnTo>
                  <a:lnTo>
                    <a:pt x="13141" y="757"/>
                  </a:lnTo>
                  <a:lnTo>
                    <a:pt x="13150" y="754"/>
                  </a:lnTo>
                  <a:lnTo>
                    <a:pt x="13201" y="754"/>
                  </a:lnTo>
                  <a:lnTo>
                    <a:pt x="13201" y="612"/>
                  </a:lnTo>
                  <a:lnTo>
                    <a:pt x="12798" y="612"/>
                  </a:lnTo>
                  <a:lnTo>
                    <a:pt x="12798" y="754"/>
                  </a:lnTo>
                  <a:lnTo>
                    <a:pt x="12852" y="754"/>
                  </a:lnTo>
                  <a:lnTo>
                    <a:pt x="12861" y="757"/>
                  </a:lnTo>
                  <a:lnTo>
                    <a:pt x="12868" y="761"/>
                  </a:lnTo>
                  <a:lnTo>
                    <a:pt x="12872" y="767"/>
                  </a:lnTo>
                  <a:lnTo>
                    <a:pt x="12873" y="775"/>
                  </a:lnTo>
                  <a:lnTo>
                    <a:pt x="12872" y="782"/>
                  </a:lnTo>
                  <a:lnTo>
                    <a:pt x="12868" y="789"/>
                  </a:lnTo>
                  <a:lnTo>
                    <a:pt x="12861" y="793"/>
                  </a:lnTo>
                  <a:lnTo>
                    <a:pt x="12852" y="795"/>
                  </a:lnTo>
                  <a:lnTo>
                    <a:pt x="12664" y="795"/>
                  </a:lnTo>
                  <a:lnTo>
                    <a:pt x="12664" y="1810"/>
                  </a:lnTo>
                  <a:lnTo>
                    <a:pt x="12664" y="2826"/>
                  </a:lnTo>
                  <a:lnTo>
                    <a:pt x="12661" y="2835"/>
                  </a:lnTo>
                  <a:lnTo>
                    <a:pt x="12657" y="2840"/>
                  </a:lnTo>
                  <a:lnTo>
                    <a:pt x="12651" y="2844"/>
                  </a:lnTo>
                  <a:lnTo>
                    <a:pt x="12643" y="2845"/>
                  </a:lnTo>
                  <a:lnTo>
                    <a:pt x="12636" y="2844"/>
                  </a:lnTo>
                  <a:lnTo>
                    <a:pt x="12629" y="2840"/>
                  </a:lnTo>
                  <a:lnTo>
                    <a:pt x="12625" y="2835"/>
                  </a:lnTo>
                  <a:lnTo>
                    <a:pt x="12624" y="2826"/>
                  </a:lnTo>
                  <a:lnTo>
                    <a:pt x="12624" y="2313"/>
                  </a:lnTo>
                  <a:lnTo>
                    <a:pt x="12624" y="1800"/>
                  </a:lnTo>
                  <a:lnTo>
                    <a:pt x="12624" y="1287"/>
                  </a:lnTo>
                  <a:lnTo>
                    <a:pt x="12624" y="775"/>
                  </a:lnTo>
                  <a:lnTo>
                    <a:pt x="12625" y="767"/>
                  </a:lnTo>
                  <a:lnTo>
                    <a:pt x="12629" y="761"/>
                  </a:lnTo>
                  <a:lnTo>
                    <a:pt x="12636" y="757"/>
                  </a:lnTo>
                  <a:lnTo>
                    <a:pt x="12643" y="754"/>
                  </a:lnTo>
                  <a:lnTo>
                    <a:pt x="12759" y="754"/>
                  </a:lnTo>
                  <a:lnTo>
                    <a:pt x="12759" y="592"/>
                  </a:lnTo>
                  <a:lnTo>
                    <a:pt x="12760" y="584"/>
                  </a:lnTo>
                  <a:lnTo>
                    <a:pt x="12764" y="578"/>
                  </a:lnTo>
                  <a:lnTo>
                    <a:pt x="12770" y="574"/>
                  </a:lnTo>
                  <a:lnTo>
                    <a:pt x="12778" y="573"/>
                  </a:lnTo>
                  <a:lnTo>
                    <a:pt x="13220" y="573"/>
                  </a:lnTo>
                  <a:lnTo>
                    <a:pt x="13228" y="574"/>
                  </a:lnTo>
                  <a:lnTo>
                    <a:pt x="13234" y="578"/>
                  </a:lnTo>
                  <a:lnTo>
                    <a:pt x="13240" y="584"/>
                  </a:lnTo>
                  <a:lnTo>
                    <a:pt x="13241" y="592"/>
                  </a:lnTo>
                  <a:lnTo>
                    <a:pt x="13241" y="754"/>
                  </a:lnTo>
                  <a:lnTo>
                    <a:pt x="13364" y="754"/>
                  </a:lnTo>
                  <a:lnTo>
                    <a:pt x="13364" y="624"/>
                  </a:lnTo>
                  <a:lnTo>
                    <a:pt x="13365" y="617"/>
                  </a:lnTo>
                  <a:lnTo>
                    <a:pt x="13370" y="611"/>
                  </a:lnTo>
                  <a:lnTo>
                    <a:pt x="13377" y="606"/>
                  </a:lnTo>
                  <a:lnTo>
                    <a:pt x="13384" y="605"/>
                  </a:lnTo>
                  <a:lnTo>
                    <a:pt x="13534" y="605"/>
                  </a:lnTo>
                  <a:close/>
                  <a:moveTo>
                    <a:pt x="15835" y="2587"/>
                  </a:moveTo>
                  <a:lnTo>
                    <a:pt x="15677" y="2587"/>
                  </a:lnTo>
                  <a:lnTo>
                    <a:pt x="15677" y="3445"/>
                  </a:lnTo>
                  <a:lnTo>
                    <a:pt x="15677" y="4304"/>
                  </a:lnTo>
                  <a:lnTo>
                    <a:pt x="16008" y="4304"/>
                  </a:lnTo>
                  <a:lnTo>
                    <a:pt x="16008" y="3419"/>
                  </a:lnTo>
                  <a:lnTo>
                    <a:pt x="16008" y="2534"/>
                  </a:lnTo>
                  <a:lnTo>
                    <a:pt x="16009" y="2525"/>
                  </a:lnTo>
                  <a:lnTo>
                    <a:pt x="16012" y="2519"/>
                  </a:lnTo>
                  <a:lnTo>
                    <a:pt x="16016" y="2515"/>
                  </a:lnTo>
                  <a:lnTo>
                    <a:pt x="16021" y="2511"/>
                  </a:lnTo>
                  <a:lnTo>
                    <a:pt x="16027" y="2511"/>
                  </a:lnTo>
                  <a:lnTo>
                    <a:pt x="16032" y="2512"/>
                  </a:lnTo>
                  <a:lnTo>
                    <a:pt x="16039" y="2516"/>
                  </a:lnTo>
                  <a:lnTo>
                    <a:pt x="16045" y="2523"/>
                  </a:lnTo>
                  <a:lnTo>
                    <a:pt x="16536" y="3199"/>
                  </a:lnTo>
                  <a:lnTo>
                    <a:pt x="16536" y="2534"/>
                  </a:lnTo>
                  <a:lnTo>
                    <a:pt x="16538" y="2525"/>
                  </a:lnTo>
                  <a:lnTo>
                    <a:pt x="16540" y="2519"/>
                  </a:lnTo>
                  <a:lnTo>
                    <a:pt x="16544" y="2515"/>
                  </a:lnTo>
                  <a:lnTo>
                    <a:pt x="16549" y="2511"/>
                  </a:lnTo>
                  <a:lnTo>
                    <a:pt x="16556" y="2511"/>
                  </a:lnTo>
                  <a:lnTo>
                    <a:pt x="16562" y="2512"/>
                  </a:lnTo>
                  <a:lnTo>
                    <a:pt x="16567" y="2516"/>
                  </a:lnTo>
                  <a:lnTo>
                    <a:pt x="16573" y="2523"/>
                  </a:lnTo>
                  <a:lnTo>
                    <a:pt x="17076" y="3214"/>
                  </a:lnTo>
                  <a:lnTo>
                    <a:pt x="17076" y="2534"/>
                  </a:lnTo>
                  <a:lnTo>
                    <a:pt x="17077" y="2525"/>
                  </a:lnTo>
                  <a:lnTo>
                    <a:pt x="17080" y="2519"/>
                  </a:lnTo>
                  <a:lnTo>
                    <a:pt x="17084" y="2515"/>
                  </a:lnTo>
                  <a:lnTo>
                    <a:pt x="17089" y="2511"/>
                  </a:lnTo>
                  <a:lnTo>
                    <a:pt x="17094" y="2511"/>
                  </a:lnTo>
                  <a:lnTo>
                    <a:pt x="17100" y="2512"/>
                  </a:lnTo>
                  <a:lnTo>
                    <a:pt x="17107" y="2516"/>
                  </a:lnTo>
                  <a:lnTo>
                    <a:pt x="17112" y="2523"/>
                  </a:lnTo>
                  <a:lnTo>
                    <a:pt x="17640" y="3249"/>
                  </a:lnTo>
                  <a:lnTo>
                    <a:pt x="17644" y="3258"/>
                  </a:lnTo>
                  <a:lnTo>
                    <a:pt x="17644" y="3265"/>
                  </a:lnTo>
                  <a:lnTo>
                    <a:pt x="17642" y="3272"/>
                  </a:lnTo>
                  <a:lnTo>
                    <a:pt x="17636" y="3277"/>
                  </a:lnTo>
                  <a:lnTo>
                    <a:pt x="17630" y="3281"/>
                  </a:lnTo>
                  <a:lnTo>
                    <a:pt x="17622" y="3281"/>
                  </a:lnTo>
                  <a:lnTo>
                    <a:pt x="17615" y="3280"/>
                  </a:lnTo>
                  <a:lnTo>
                    <a:pt x="17608" y="3273"/>
                  </a:lnTo>
                  <a:lnTo>
                    <a:pt x="17116" y="2595"/>
                  </a:lnTo>
                  <a:lnTo>
                    <a:pt x="17116" y="3262"/>
                  </a:lnTo>
                  <a:lnTo>
                    <a:pt x="17113" y="3271"/>
                  </a:lnTo>
                  <a:lnTo>
                    <a:pt x="17108" y="3278"/>
                  </a:lnTo>
                  <a:lnTo>
                    <a:pt x="17099" y="3281"/>
                  </a:lnTo>
                  <a:lnTo>
                    <a:pt x="17090" y="3281"/>
                  </a:lnTo>
                  <a:lnTo>
                    <a:pt x="17080" y="3281"/>
                  </a:lnTo>
                  <a:lnTo>
                    <a:pt x="17074" y="3278"/>
                  </a:lnTo>
                  <a:lnTo>
                    <a:pt x="17070" y="3273"/>
                  </a:lnTo>
                  <a:lnTo>
                    <a:pt x="16577" y="2595"/>
                  </a:lnTo>
                  <a:lnTo>
                    <a:pt x="16577" y="3258"/>
                  </a:lnTo>
                  <a:lnTo>
                    <a:pt x="16577" y="3264"/>
                  </a:lnTo>
                  <a:lnTo>
                    <a:pt x="16575" y="3269"/>
                  </a:lnTo>
                  <a:lnTo>
                    <a:pt x="16571" y="3276"/>
                  </a:lnTo>
                  <a:lnTo>
                    <a:pt x="16563" y="3281"/>
                  </a:lnTo>
                  <a:lnTo>
                    <a:pt x="16554" y="3281"/>
                  </a:lnTo>
                  <a:lnTo>
                    <a:pt x="16547" y="3278"/>
                  </a:lnTo>
                  <a:lnTo>
                    <a:pt x="16541" y="3276"/>
                  </a:lnTo>
                  <a:lnTo>
                    <a:pt x="16539" y="3271"/>
                  </a:lnTo>
                  <a:lnTo>
                    <a:pt x="16049" y="2595"/>
                  </a:lnTo>
                  <a:lnTo>
                    <a:pt x="16049" y="3450"/>
                  </a:lnTo>
                  <a:lnTo>
                    <a:pt x="16049" y="4304"/>
                  </a:lnTo>
                  <a:lnTo>
                    <a:pt x="16844" y="4304"/>
                  </a:lnTo>
                  <a:lnTo>
                    <a:pt x="16853" y="4305"/>
                  </a:lnTo>
                  <a:lnTo>
                    <a:pt x="16859" y="4310"/>
                  </a:lnTo>
                  <a:lnTo>
                    <a:pt x="16863" y="4317"/>
                  </a:lnTo>
                  <a:lnTo>
                    <a:pt x="16865" y="4324"/>
                  </a:lnTo>
                  <a:lnTo>
                    <a:pt x="16863" y="4331"/>
                  </a:lnTo>
                  <a:lnTo>
                    <a:pt x="16859" y="4337"/>
                  </a:lnTo>
                  <a:lnTo>
                    <a:pt x="16853" y="4342"/>
                  </a:lnTo>
                  <a:lnTo>
                    <a:pt x="16844" y="4343"/>
                  </a:lnTo>
                  <a:lnTo>
                    <a:pt x="16250" y="4343"/>
                  </a:lnTo>
                  <a:lnTo>
                    <a:pt x="15657" y="4343"/>
                  </a:lnTo>
                  <a:lnTo>
                    <a:pt x="14760" y="4343"/>
                  </a:lnTo>
                  <a:lnTo>
                    <a:pt x="13864" y="4343"/>
                  </a:lnTo>
                  <a:lnTo>
                    <a:pt x="13856" y="4342"/>
                  </a:lnTo>
                  <a:lnTo>
                    <a:pt x="13850" y="4338"/>
                  </a:lnTo>
                  <a:lnTo>
                    <a:pt x="13846" y="4332"/>
                  </a:lnTo>
                  <a:lnTo>
                    <a:pt x="13843" y="4324"/>
                  </a:lnTo>
                  <a:lnTo>
                    <a:pt x="13843" y="3455"/>
                  </a:lnTo>
                  <a:lnTo>
                    <a:pt x="13843" y="2587"/>
                  </a:lnTo>
                  <a:lnTo>
                    <a:pt x="13686" y="2587"/>
                  </a:lnTo>
                  <a:lnTo>
                    <a:pt x="13677" y="2585"/>
                  </a:lnTo>
                  <a:lnTo>
                    <a:pt x="13670" y="2581"/>
                  </a:lnTo>
                  <a:lnTo>
                    <a:pt x="13667" y="2575"/>
                  </a:lnTo>
                  <a:lnTo>
                    <a:pt x="13665" y="2567"/>
                  </a:lnTo>
                  <a:lnTo>
                    <a:pt x="13667" y="2560"/>
                  </a:lnTo>
                  <a:lnTo>
                    <a:pt x="13670" y="2553"/>
                  </a:lnTo>
                  <a:lnTo>
                    <a:pt x="13677" y="2549"/>
                  </a:lnTo>
                  <a:lnTo>
                    <a:pt x="13686" y="2547"/>
                  </a:lnTo>
                  <a:lnTo>
                    <a:pt x="13963" y="2547"/>
                  </a:lnTo>
                  <a:lnTo>
                    <a:pt x="13963" y="2374"/>
                  </a:lnTo>
                  <a:lnTo>
                    <a:pt x="13964" y="2367"/>
                  </a:lnTo>
                  <a:lnTo>
                    <a:pt x="13968" y="2360"/>
                  </a:lnTo>
                  <a:lnTo>
                    <a:pt x="13974" y="2355"/>
                  </a:lnTo>
                  <a:lnTo>
                    <a:pt x="13982" y="2354"/>
                  </a:lnTo>
                  <a:lnTo>
                    <a:pt x="14750" y="2354"/>
                  </a:lnTo>
                  <a:lnTo>
                    <a:pt x="15519" y="2354"/>
                  </a:lnTo>
                  <a:lnTo>
                    <a:pt x="15527" y="2355"/>
                  </a:lnTo>
                  <a:lnTo>
                    <a:pt x="15534" y="2360"/>
                  </a:lnTo>
                  <a:lnTo>
                    <a:pt x="15537" y="2367"/>
                  </a:lnTo>
                  <a:lnTo>
                    <a:pt x="15539" y="2374"/>
                  </a:lnTo>
                  <a:lnTo>
                    <a:pt x="15539" y="2547"/>
                  </a:lnTo>
                  <a:lnTo>
                    <a:pt x="15835" y="2547"/>
                  </a:lnTo>
                  <a:lnTo>
                    <a:pt x="15844" y="2549"/>
                  </a:lnTo>
                  <a:lnTo>
                    <a:pt x="15850" y="2553"/>
                  </a:lnTo>
                  <a:lnTo>
                    <a:pt x="15854" y="2560"/>
                  </a:lnTo>
                  <a:lnTo>
                    <a:pt x="15855" y="2567"/>
                  </a:lnTo>
                  <a:lnTo>
                    <a:pt x="15854" y="2575"/>
                  </a:lnTo>
                  <a:lnTo>
                    <a:pt x="15850" y="2581"/>
                  </a:lnTo>
                  <a:lnTo>
                    <a:pt x="15844" y="2585"/>
                  </a:lnTo>
                  <a:lnTo>
                    <a:pt x="15835" y="2587"/>
                  </a:lnTo>
                  <a:close/>
                  <a:moveTo>
                    <a:pt x="15636" y="2587"/>
                  </a:moveTo>
                  <a:lnTo>
                    <a:pt x="14760" y="2587"/>
                  </a:lnTo>
                  <a:lnTo>
                    <a:pt x="13885" y="2587"/>
                  </a:lnTo>
                  <a:lnTo>
                    <a:pt x="13885" y="3445"/>
                  </a:lnTo>
                  <a:lnTo>
                    <a:pt x="13885" y="4304"/>
                  </a:lnTo>
                  <a:lnTo>
                    <a:pt x="14760" y="4304"/>
                  </a:lnTo>
                  <a:lnTo>
                    <a:pt x="15636" y="4304"/>
                  </a:lnTo>
                  <a:lnTo>
                    <a:pt x="15636" y="3445"/>
                  </a:lnTo>
                  <a:lnTo>
                    <a:pt x="15636" y="2587"/>
                  </a:lnTo>
                  <a:close/>
                  <a:moveTo>
                    <a:pt x="14002" y="2547"/>
                  </a:moveTo>
                  <a:lnTo>
                    <a:pt x="14750" y="2547"/>
                  </a:lnTo>
                  <a:lnTo>
                    <a:pt x="15499" y="2547"/>
                  </a:lnTo>
                  <a:lnTo>
                    <a:pt x="15499" y="2393"/>
                  </a:lnTo>
                  <a:lnTo>
                    <a:pt x="14750" y="2393"/>
                  </a:lnTo>
                  <a:lnTo>
                    <a:pt x="14002" y="2393"/>
                  </a:lnTo>
                  <a:lnTo>
                    <a:pt x="14002" y="2547"/>
                  </a:lnTo>
                  <a:close/>
                  <a:moveTo>
                    <a:pt x="15171" y="3639"/>
                  </a:moveTo>
                  <a:lnTo>
                    <a:pt x="15171" y="3751"/>
                  </a:lnTo>
                  <a:lnTo>
                    <a:pt x="15168" y="3760"/>
                  </a:lnTo>
                  <a:lnTo>
                    <a:pt x="15164" y="3765"/>
                  </a:lnTo>
                  <a:lnTo>
                    <a:pt x="15158" y="3769"/>
                  </a:lnTo>
                  <a:lnTo>
                    <a:pt x="15150" y="3771"/>
                  </a:lnTo>
                  <a:lnTo>
                    <a:pt x="15142" y="3769"/>
                  </a:lnTo>
                  <a:lnTo>
                    <a:pt x="15136" y="3765"/>
                  </a:lnTo>
                  <a:lnTo>
                    <a:pt x="15132" y="3760"/>
                  </a:lnTo>
                  <a:lnTo>
                    <a:pt x="15131" y="3751"/>
                  </a:lnTo>
                  <a:lnTo>
                    <a:pt x="15131" y="3639"/>
                  </a:lnTo>
                  <a:lnTo>
                    <a:pt x="15132" y="3630"/>
                  </a:lnTo>
                  <a:lnTo>
                    <a:pt x="15136" y="3624"/>
                  </a:lnTo>
                  <a:lnTo>
                    <a:pt x="15142" y="3620"/>
                  </a:lnTo>
                  <a:lnTo>
                    <a:pt x="15150" y="3618"/>
                  </a:lnTo>
                  <a:lnTo>
                    <a:pt x="15158" y="3620"/>
                  </a:lnTo>
                  <a:lnTo>
                    <a:pt x="15164" y="3624"/>
                  </a:lnTo>
                  <a:lnTo>
                    <a:pt x="15168" y="3630"/>
                  </a:lnTo>
                  <a:lnTo>
                    <a:pt x="15171" y="3639"/>
                  </a:lnTo>
                  <a:close/>
                  <a:moveTo>
                    <a:pt x="14908" y="3639"/>
                  </a:moveTo>
                  <a:lnTo>
                    <a:pt x="14908" y="3751"/>
                  </a:lnTo>
                  <a:lnTo>
                    <a:pt x="14905" y="3760"/>
                  </a:lnTo>
                  <a:lnTo>
                    <a:pt x="14901" y="3765"/>
                  </a:lnTo>
                  <a:lnTo>
                    <a:pt x="14895" y="3769"/>
                  </a:lnTo>
                  <a:lnTo>
                    <a:pt x="14887" y="3771"/>
                  </a:lnTo>
                  <a:lnTo>
                    <a:pt x="14880" y="3769"/>
                  </a:lnTo>
                  <a:lnTo>
                    <a:pt x="14873" y="3765"/>
                  </a:lnTo>
                  <a:lnTo>
                    <a:pt x="14869" y="3760"/>
                  </a:lnTo>
                  <a:lnTo>
                    <a:pt x="14867" y="3751"/>
                  </a:lnTo>
                  <a:lnTo>
                    <a:pt x="14867" y="3639"/>
                  </a:lnTo>
                  <a:lnTo>
                    <a:pt x="14869" y="3630"/>
                  </a:lnTo>
                  <a:lnTo>
                    <a:pt x="14873" y="3624"/>
                  </a:lnTo>
                  <a:lnTo>
                    <a:pt x="14880" y="3620"/>
                  </a:lnTo>
                  <a:lnTo>
                    <a:pt x="14887" y="3618"/>
                  </a:lnTo>
                  <a:lnTo>
                    <a:pt x="14895" y="3620"/>
                  </a:lnTo>
                  <a:lnTo>
                    <a:pt x="14901" y="3624"/>
                  </a:lnTo>
                  <a:lnTo>
                    <a:pt x="14905" y="3630"/>
                  </a:lnTo>
                  <a:lnTo>
                    <a:pt x="14908" y="3639"/>
                  </a:lnTo>
                  <a:close/>
                  <a:moveTo>
                    <a:pt x="14644" y="3639"/>
                  </a:moveTo>
                  <a:lnTo>
                    <a:pt x="14644" y="3751"/>
                  </a:lnTo>
                  <a:lnTo>
                    <a:pt x="14642" y="3760"/>
                  </a:lnTo>
                  <a:lnTo>
                    <a:pt x="14637" y="3765"/>
                  </a:lnTo>
                  <a:lnTo>
                    <a:pt x="14631" y="3769"/>
                  </a:lnTo>
                  <a:lnTo>
                    <a:pt x="14624" y="3771"/>
                  </a:lnTo>
                  <a:lnTo>
                    <a:pt x="14617" y="3769"/>
                  </a:lnTo>
                  <a:lnTo>
                    <a:pt x="14610" y="3765"/>
                  </a:lnTo>
                  <a:lnTo>
                    <a:pt x="14606" y="3760"/>
                  </a:lnTo>
                  <a:lnTo>
                    <a:pt x="14604" y="3751"/>
                  </a:lnTo>
                  <a:lnTo>
                    <a:pt x="14604" y="3639"/>
                  </a:lnTo>
                  <a:lnTo>
                    <a:pt x="14606" y="3630"/>
                  </a:lnTo>
                  <a:lnTo>
                    <a:pt x="14610" y="3624"/>
                  </a:lnTo>
                  <a:lnTo>
                    <a:pt x="14617" y="3620"/>
                  </a:lnTo>
                  <a:lnTo>
                    <a:pt x="14624" y="3618"/>
                  </a:lnTo>
                  <a:lnTo>
                    <a:pt x="14631" y="3620"/>
                  </a:lnTo>
                  <a:lnTo>
                    <a:pt x="14637" y="3624"/>
                  </a:lnTo>
                  <a:lnTo>
                    <a:pt x="14642" y="3630"/>
                  </a:lnTo>
                  <a:lnTo>
                    <a:pt x="14644" y="3639"/>
                  </a:lnTo>
                  <a:close/>
                  <a:moveTo>
                    <a:pt x="14381" y="3639"/>
                  </a:moveTo>
                  <a:lnTo>
                    <a:pt x="14381" y="3751"/>
                  </a:lnTo>
                  <a:lnTo>
                    <a:pt x="14379" y="3760"/>
                  </a:lnTo>
                  <a:lnTo>
                    <a:pt x="14374" y="3765"/>
                  </a:lnTo>
                  <a:lnTo>
                    <a:pt x="14368" y="3769"/>
                  </a:lnTo>
                  <a:lnTo>
                    <a:pt x="14362" y="3771"/>
                  </a:lnTo>
                  <a:lnTo>
                    <a:pt x="14354" y="3769"/>
                  </a:lnTo>
                  <a:lnTo>
                    <a:pt x="14347" y="3765"/>
                  </a:lnTo>
                  <a:lnTo>
                    <a:pt x="14342" y="3760"/>
                  </a:lnTo>
                  <a:lnTo>
                    <a:pt x="14341" y="3751"/>
                  </a:lnTo>
                  <a:lnTo>
                    <a:pt x="14341" y="3639"/>
                  </a:lnTo>
                  <a:lnTo>
                    <a:pt x="14342" y="3630"/>
                  </a:lnTo>
                  <a:lnTo>
                    <a:pt x="14347" y="3624"/>
                  </a:lnTo>
                  <a:lnTo>
                    <a:pt x="14354" y="3620"/>
                  </a:lnTo>
                  <a:lnTo>
                    <a:pt x="14362" y="3618"/>
                  </a:lnTo>
                  <a:lnTo>
                    <a:pt x="14368" y="3620"/>
                  </a:lnTo>
                  <a:lnTo>
                    <a:pt x="14374" y="3624"/>
                  </a:lnTo>
                  <a:lnTo>
                    <a:pt x="14379" y="3630"/>
                  </a:lnTo>
                  <a:lnTo>
                    <a:pt x="14381" y="3639"/>
                  </a:lnTo>
                  <a:close/>
                  <a:moveTo>
                    <a:pt x="14118" y="3639"/>
                  </a:moveTo>
                  <a:lnTo>
                    <a:pt x="14118" y="3751"/>
                  </a:lnTo>
                  <a:lnTo>
                    <a:pt x="14117" y="3760"/>
                  </a:lnTo>
                  <a:lnTo>
                    <a:pt x="14111" y="3765"/>
                  </a:lnTo>
                  <a:lnTo>
                    <a:pt x="14105" y="3769"/>
                  </a:lnTo>
                  <a:lnTo>
                    <a:pt x="14097" y="3771"/>
                  </a:lnTo>
                  <a:lnTo>
                    <a:pt x="14091" y="3769"/>
                  </a:lnTo>
                  <a:lnTo>
                    <a:pt x="14085" y="3765"/>
                  </a:lnTo>
                  <a:lnTo>
                    <a:pt x="14079" y="3760"/>
                  </a:lnTo>
                  <a:lnTo>
                    <a:pt x="14078" y="3751"/>
                  </a:lnTo>
                  <a:lnTo>
                    <a:pt x="14078" y="3639"/>
                  </a:lnTo>
                  <a:lnTo>
                    <a:pt x="14079" y="3630"/>
                  </a:lnTo>
                  <a:lnTo>
                    <a:pt x="14085" y="3624"/>
                  </a:lnTo>
                  <a:lnTo>
                    <a:pt x="14091" y="3620"/>
                  </a:lnTo>
                  <a:lnTo>
                    <a:pt x="14097" y="3618"/>
                  </a:lnTo>
                  <a:lnTo>
                    <a:pt x="14105" y="3620"/>
                  </a:lnTo>
                  <a:lnTo>
                    <a:pt x="14111" y="3624"/>
                  </a:lnTo>
                  <a:lnTo>
                    <a:pt x="14117" y="3630"/>
                  </a:lnTo>
                  <a:lnTo>
                    <a:pt x="14118" y="3639"/>
                  </a:lnTo>
                  <a:close/>
                  <a:moveTo>
                    <a:pt x="15434" y="3392"/>
                  </a:moveTo>
                  <a:lnTo>
                    <a:pt x="15434" y="3505"/>
                  </a:lnTo>
                  <a:lnTo>
                    <a:pt x="15432" y="3514"/>
                  </a:lnTo>
                  <a:lnTo>
                    <a:pt x="15427" y="3520"/>
                  </a:lnTo>
                  <a:lnTo>
                    <a:pt x="15421" y="3524"/>
                  </a:lnTo>
                  <a:lnTo>
                    <a:pt x="15413" y="3524"/>
                  </a:lnTo>
                  <a:lnTo>
                    <a:pt x="15407" y="3524"/>
                  </a:lnTo>
                  <a:lnTo>
                    <a:pt x="15400" y="3520"/>
                  </a:lnTo>
                  <a:lnTo>
                    <a:pt x="15395" y="3514"/>
                  </a:lnTo>
                  <a:lnTo>
                    <a:pt x="15394" y="3505"/>
                  </a:lnTo>
                  <a:lnTo>
                    <a:pt x="15394" y="3392"/>
                  </a:lnTo>
                  <a:lnTo>
                    <a:pt x="15395" y="3383"/>
                  </a:lnTo>
                  <a:lnTo>
                    <a:pt x="15400" y="3378"/>
                  </a:lnTo>
                  <a:lnTo>
                    <a:pt x="15407" y="3374"/>
                  </a:lnTo>
                  <a:lnTo>
                    <a:pt x="15413" y="3373"/>
                  </a:lnTo>
                  <a:lnTo>
                    <a:pt x="15421" y="3374"/>
                  </a:lnTo>
                  <a:lnTo>
                    <a:pt x="15427" y="3378"/>
                  </a:lnTo>
                  <a:lnTo>
                    <a:pt x="15432" y="3383"/>
                  </a:lnTo>
                  <a:lnTo>
                    <a:pt x="15434" y="3392"/>
                  </a:lnTo>
                  <a:close/>
                  <a:moveTo>
                    <a:pt x="15171" y="3392"/>
                  </a:moveTo>
                  <a:lnTo>
                    <a:pt x="15171" y="3505"/>
                  </a:lnTo>
                  <a:lnTo>
                    <a:pt x="15168" y="3514"/>
                  </a:lnTo>
                  <a:lnTo>
                    <a:pt x="15164" y="3520"/>
                  </a:lnTo>
                  <a:lnTo>
                    <a:pt x="15158" y="3524"/>
                  </a:lnTo>
                  <a:lnTo>
                    <a:pt x="15150" y="3524"/>
                  </a:lnTo>
                  <a:lnTo>
                    <a:pt x="15142" y="3524"/>
                  </a:lnTo>
                  <a:lnTo>
                    <a:pt x="15136" y="3520"/>
                  </a:lnTo>
                  <a:lnTo>
                    <a:pt x="15132" y="3514"/>
                  </a:lnTo>
                  <a:lnTo>
                    <a:pt x="15131" y="3505"/>
                  </a:lnTo>
                  <a:lnTo>
                    <a:pt x="15131" y="3392"/>
                  </a:lnTo>
                  <a:lnTo>
                    <a:pt x="15132" y="3383"/>
                  </a:lnTo>
                  <a:lnTo>
                    <a:pt x="15136" y="3378"/>
                  </a:lnTo>
                  <a:lnTo>
                    <a:pt x="15142" y="3374"/>
                  </a:lnTo>
                  <a:lnTo>
                    <a:pt x="15150" y="3373"/>
                  </a:lnTo>
                  <a:lnTo>
                    <a:pt x="15158" y="3374"/>
                  </a:lnTo>
                  <a:lnTo>
                    <a:pt x="15164" y="3378"/>
                  </a:lnTo>
                  <a:lnTo>
                    <a:pt x="15168" y="3383"/>
                  </a:lnTo>
                  <a:lnTo>
                    <a:pt x="15171" y="3392"/>
                  </a:lnTo>
                  <a:close/>
                  <a:moveTo>
                    <a:pt x="14908" y="3392"/>
                  </a:moveTo>
                  <a:lnTo>
                    <a:pt x="14908" y="3505"/>
                  </a:lnTo>
                  <a:lnTo>
                    <a:pt x="14905" y="3514"/>
                  </a:lnTo>
                  <a:lnTo>
                    <a:pt x="14901" y="3520"/>
                  </a:lnTo>
                  <a:lnTo>
                    <a:pt x="14895" y="3524"/>
                  </a:lnTo>
                  <a:lnTo>
                    <a:pt x="14887" y="3524"/>
                  </a:lnTo>
                  <a:lnTo>
                    <a:pt x="14880" y="3524"/>
                  </a:lnTo>
                  <a:lnTo>
                    <a:pt x="14873" y="3520"/>
                  </a:lnTo>
                  <a:lnTo>
                    <a:pt x="14869" y="3514"/>
                  </a:lnTo>
                  <a:lnTo>
                    <a:pt x="14867" y="3505"/>
                  </a:lnTo>
                  <a:lnTo>
                    <a:pt x="14867" y="3392"/>
                  </a:lnTo>
                  <a:lnTo>
                    <a:pt x="14869" y="3383"/>
                  </a:lnTo>
                  <a:lnTo>
                    <a:pt x="14873" y="3378"/>
                  </a:lnTo>
                  <a:lnTo>
                    <a:pt x="14880" y="3374"/>
                  </a:lnTo>
                  <a:lnTo>
                    <a:pt x="14887" y="3373"/>
                  </a:lnTo>
                  <a:lnTo>
                    <a:pt x="14895" y="3374"/>
                  </a:lnTo>
                  <a:lnTo>
                    <a:pt x="14901" y="3378"/>
                  </a:lnTo>
                  <a:lnTo>
                    <a:pt x="14905" y="3383"/>
                  </a:lnTo>
                  <a:lnTo>
                    <a:pt x="14908" y="3392"/>
                  </a:lnTo>
                  <a:close/>
                  <a:moveTo>
                    <a:pt x="14644" y="3392"/>
                  </a:moveTo>
                  <a:lnTo>
                    <a:pt x="14644" y="3505"/>
                  </a:lnTo>
                  <a:lnTo>
                    <a:pt x="14642" y="3514"/>
                  </a:lnTo>
                  <a:lnTo>
                    <a:pt x="14637" y="3520"/>
                  </a:lnTo>
                  <a:lnTo>
                    <a:pt x="14631" y="3524"/>
                  </a:lnTo>
                  <a:lnTo>
                    <a:pt x="14624" y="3524"/>
                  </a:lnTo>
                  <a:lnTo>
                    <a:pt x="14617" y="3524"/>
                  </a:lnTo>
                  <a:lnTo>
                    <a:pt x="14610" y="3520"/>
                  </a:lnTo>
                  <a:lnTo>
                    <a:pt x="14606" y="3514"/>
                  </a:lnTo>
                  <a:lnTo>
                    <a:pt x="14604" y="3505"/>
                  </a:lnTo>
                  <a:lnTo>
                    <a:pt x="14604" y="3392"/>
                  </a:lnTo>
                  <a:lnTo>
                    <a:pt x="14606" y="3383"/>
                  </a:lnTo>
                  <a:lnTo>
                    <a:pt x="14610" y="3378"/>
                  </a:lnTo>
                  <a:lnTo>
                    <a:pt x="14617" y="3374"/>
                  </a:lnTo>
                  <a:lnTo>
                    <a:pt x="14624" y="3373"/>
                  </a:lnTo>
                  <a:lnTo>
                    <a:pt x="14631" y="3374"/>
                  </a:lnTo>
                  <a:lnTo>
                    <a:pt x="14637" y="3378"/>
                  </a:lnTo>
                  <a:lnTo>
                    <a:pt x="14642" y="3383"/>
                  </a:lnTo>
                  <a:lnTo>
                    <a:pt x="14644" y="3392"/>
                  </a:lnTo>
                  <a:close/>
                  <a:moveTo>
                    <a:pt x="14381" y="3392"/>
                  </a:moveTo>
                  <a:lnTo>
                    <a:pt x="14381" y="3505"/>
                  </a:lnTo>
                  <a:lnTo>
                    <a:pt x="14379" y="3514"/>
                  </a:lnTo>
                  <a:lnTo>
                    <a:pt x="14374" y="3520"/>
                  </a:lnTo>
                  <a:lnTo>
                    <a:pt x="14368" y="3524"/>
                  </a:lnTo>
                  <a:lnTo>
                    <a:pt x="14362" y="3524"/>
                  </a:lnTo>
                  <a:lnTo>
                    <a:pt x="14354" y="3524"/>
                  </a:lnTo>
                  <a:lnTo>
                    <a:pt x="14347" y="3520"/>
                  </a:lnTo>
                  <a:lnTo>
                    <a:pt x="14342" y="3514"/>
                  </a:lnTo>
                  <a:lnTo>
                    <a:pt x="14341" y="3505"/>
                  </a:lnTo>
                  <a:lnTo>
                    <a:pt x="14341" y="3392"/>
                  </a:lnTo>
                  <a:lnTo>
                    <a:pt x="14342" y="3383"/>
                  </a:lnTo>
                  <a:lnTo>
                    <a:pt x="14347" y="3378"/>
                  </a:lnTo>
                  <a:lnTo>
                    <a:pt x="14354" y="3374"/>
                  </a:lnTo>
                  <a:lnTo>
                    <a:pt x="14362" y="3373"/>
                  </a:lnTo>
                  <a:lnTo>
                    <a:pt x="14368" y="3374"/>
                  </a:lnTo>
                  <a:lnTo>
                    <a:pt x="14374" y="3378"/>
                  </a:lnTo>
                  <a:lnTo>
                    <a:pt x="14379" y="3383"/>
                  </a:lnTo>
                  <a:lnTo>
                    <a:pt x="14381" y="3392"/>
                  </a:lnTo>
                  <a:close/>
                  <a:moveTo>
                    <a:pt x="14118" y="3392"/>
                  </a:moveTo>
                  <a:lnTo>
                    <a:pt x="14118" y="3505"/>
                  </a:lnTo>
                  <a:lnTo>
                    <a:pt x="14117" y="3514"/>
                  </a:lnTo>
                  <a:lnTo>
                    <a:pt x="14111" y="3520"/>
                  </a:lnTo>
                  <a:lnTo>
                    <a:pt x="14105" y="3524"/>
                  </a:lnTo>
                  <a:lnTo>
                    <a:pt x="14097" y="3524"/>
                  </a:lnTo>
                  <a:lnTo>
                    <a:pt x="14091" y="3524"/>
                  </a:lnTo>
                  <a:lnTo>
                    <a:pt x="14085" y="3520"/>
                  </a:lnTo>
                  <a:lnTo>
                    <a:pt x="14079" y="3514"/>
                  </a:lnTo>
                  <a:lnTo>
                    <a:pt x="14078" y="3505"/>
                  </a:lnTo>
                  <a:lnTo>
                    <a:pt x="14078" y="3392"/>
                  </a:lnTo>
                  <a:lnTo>
                    <a:pt x="14079" y="3383"/>
                  </a:lnTo>
                  <a:lnTo>
                    <a:pt x="14085" y="3378"/>
                  </a:lnTo>
                  <a:lnTo>
                    <a:pt x="14091" y="3374"/>
                  </a:lnTo>
                  <a:lnTo>
                    <a:pt x="14097" y="3373"/>
                  </a:lnTo>
                  <a:lnTo>
                    <a:pt x="14105" y="3374"/>
                  </a:lnTo>
                  <a:lnTo>
                    <a:pt x="14111" y="3378"/>
                  </a:lnTo>
                  <a:lnTo>
                    <a:pt x="14117" y="3383"/>
                  </a:lnTo>
                  <a:lnTo>
                    <a:pt x="14118" y="3392"/>
                  </a:lnTo>
                  <a:close/>
                  <a:moveTo>
                    <a:pt x="15434" y="3145"/>
                  </a:moveTo>
                  <a:lnTo>
                    <a:pt x="15434" y="3258"/>
                  </a:lnTo>
                  <a:lnTo>
                    <a:pt x="15432" y="3267"/>
                  </a:lnTo>
                  <a:lnTo>
                    <a:pt x="15427" y="3273"/>
                  </a:lnTo>
                  <a:lnTo>
                    <a:pt x="15421" y="3277"/>
                  </a:lnTo>
                  <a:lnTo>
                    <a:pt x="15413" y="3278"/>
                  </a:lnTo>
                  <a:lnTo>
                    <a:pt x="15407" y="3277"/>
                  </a:lnTo>
                  <a:lnTo>
                    <a:pt x="15400" y="3273"/>
                  </a:lnTo>
                  <a:lnTo>
                    <a:pt x="15395" y="3267"/>
                  </a:lnTo>
                  <a:lnTo>
                    <a:pt x="15394" y="3258"/>
                  </a:lnTo>
                  <a:lnTo>
                    <a:pt x="15394" y="3145"/>
                  </a:lnTo>
                  <a:lnTo>
                    <a:pt x="15395" y="3138"/>
                  </a:lnTo>
                  <a:lnTo>
                    <a:pt x="15400" y="3131"/>
                  </a:lnTo>
                  <a:lnTo>
                    <a:pt x="15407" y="3127"/>
                  </a:lnTo>
                  <a:lnTo>
                    <a:pt x="15413" y="3126"/>
                  </a:lnTo>
                  <a:lnTo>
                    <a:pt x="15421" y="3127"/>
                  </a:lnTo>
                  <a:lnTo>
                    <a:pt x="15427" y="3131"/>
                  </a:lnTo>
                  <a:lnTo>
                    <a:pt x="15432" y="3138"/>
                  </a:lnTo>
                  <a:lnTo>
                    <a:pt x="15434" y="3145"/>
                  </a:lnTo>
                  <a:close/>
                  <a:moveTo>
                    <a:pt x="15171" y="3145"/>
                  </a:moveTo>
                  <a:lnTo>
                    <a:pt x="15171" y="3258"/>
                  </a:lnTo>
                  <a:lnTo>
                    <a:pt x="15168" y="3267"/>
                  </a:lnTo>
                  <a:lnTo>
                    <a:pt x="15164" y="3273"/>
                  </a:lnTo>
                  <a:lnTo>
                    <a:pt x="15158" y="3277"/>
                  </a:lnTo>
                  <a:lnTo>
                    <a:pt x="15150" y="3278"/>
                  </a:lnTo>
                  <a:lnTo>
                    <a:pt x="15142" y="3277"/>
                  </a:lnTo>
                  <a:lnTo>
                    <a:pt x="15136" y="3273"/>
                  </a:lnTo>
                  <a:lnTo>
                    <a:pt x="15132" y="3267"/>
                  </a:lnTo>
                  <a:lnTo>
                    <a:pt x="15131" y="3258"/>
                  </a:lnTo>
                  <a:lnTo>
                    <a:pt x="15131" y="3145"/>
                  </a:lnTo>
                  <a:lnTo>
                    <a:pt x="15132" y="3138"/>
                  </a:lnTo>
                  <a:lnTo>
                    <a:pt x="15136" y="3131"/>
                  </a:lnTo>
                  <a:lnTo>
                    <a:pt x="15142" y="3127"/>
                  </a:lnTo>
                  <a:lnTo>
                    <a:pt x="15150" y="3126"/>
                  </a:lnTo>
                  <a:lnTo>
                    <a:pt x="15158" y="3127"/>
                  </a:lnTo>
                  <a:lnTo>
                    <a:pt x="15164" y="3131"/>
                  </a:lnTo>
                  <a:lnTo>
                    <a:pt x="15168" y="3138"/>
                  </a:lnTo>
                  <a:lnTo>
                    <a:pt x="15171" y="3145"/>
                  </a:lnTo>
                  <a:close/>
                  <a:moveTo>
                    <a:pt x="14908" y="3145"/>
                  </a:moveTo>
                  <a:lnTo>
                    <a:pt x="14908" y="3258"/>
                  </a:lnTo>
                  <a:lnTo>
                    <a:pt x="14905" y="3267"/>
                  </a:lnTo>
                  <a:lnTo>
                    <a:pt x="14901" y="3273"/>
                  </a:lnTo>
                  <a:lnTo>
                    <a:pt x="14895" y="3277"/>
                  </a:lnTo>
                  <a:lnTo>
                    <a:pt x="14887" y="3278"/>
                  </a:lnTo>
                  <a:lnTo>
                    <a:pt x="14880" y="3277"/>
                  </a:lnTo>
                  <a:lnTo>
                    <a:pt x="14873" y="3273"/>
                  </a:lnTo>
                  <a:lnTo>
                    <a:pt x="14869" y="3267"/>
                  </a:lnTo>
                  <a:lnTo>
                    <a:pt x="14867" y="3258"/>
                  </a:lnTo>
                  <a:lnTo>
                    <a:pt x="14867" y="3145"/>
                  </a:lnTo>
                  <a:lnTo>
                    <a:pt x="14869" y="3138"/>
                  </a:lnTo>
                  <a:lnTo>
                    <a:pt x="14873" y="3131"/>
                  </a:lnTo>
                  <a:lnTo>
                    <a:pt x="14880" y="3127"/>
                  </a:lnTo>
                  <a:lnTo>
                    <a:pt x="14887" y="3126"/>
                  </a:lnTo>
                  <a:lnTo>
                    <a:pt x="14895" y="3127"/>
                  </a:lnTo>
                  <a:lnTo>
                    <a:pt x="14901" y="3131"/>
                  </a:lnTo>
                  <a:lnTo>
                    <a:pt x="14905" y="3138"/>
                  </a:lnTo>
                  <a:lnTo>
                    <a:pt x="14908" y="3145"/>
                  </a:lnTo>
                  <a:close/>
                  <a:moveTo>
                    <a:pt x="14644" y="3145"/>
                  </a:moveTo>
                  <a:lnTo>
                    <a:pt x="14644" y="3258"/>
                  </a:lnTo>
                  <a:lnTo>
                    <a:pt x="14642" y="3267"/>
                  </a:lnTo>
                  <a:lnTo>
                    <a:pt x="14637" y="3273"/>
                  </a:lnTo>
                  <a:lnTo>
                    <a:pt x="14631" y="3277"/>
                  </a:lnTo>
                  <a:lnTo>
                    <a:pt x="14624" y="3278"/>
                  </a:lnTo>
                  <a:lnTo>
                    <a:pt x="14617" y="3277"/>
                  </a:lnTo>
                  <a:lnTo>
                    <a:pt x="14610" y="3273"/>
                  </a:lnTo>
                  <a:lnTo>
                    <a:pt x="14606" y="3267"/>
                  </a:lnTo>
                  <a:lnTo>
                    <a:pt x="14604" y="3258"/>
                  </a:lnTo>
                  <a:lnTo>
                    <a:pt x="14604" y="3145"/>
                  </a:lnTo>
                  <a:lnTo>
                    <a:pt x="14606" y="3138"/>
                  </a:lnTo>
                  <a:lnTo>
                    <a:pt x="14610" y="3131"/>
                  </a:lnTo>
                  <a:lnTo>
                    <a:pt x="14617" y="3127"/>
                  </a:lnTo>
                  <a:lnTo>
                    <a:pt x="14624" y="3126"/>
                  </a:lnTo>
                  <a:lnTo>
                    <a:pt x="14631" y="3127"/>
                  </a:lnTo>
                  <a:lnTo>
                    <a:pt x="14637" y="3131"/>
                  </a:lnTo>
                  <a:lnTo>
                    <a:pt x="14642" y="3138"/>
                  </a:lnTo>
                  <a:lnTo>
                    <a:pt x="14644" y="3145"/>
                  </a:lnTo>
                  <a:close/>
                  <a:moveTo>
                    <a:pt x="14381" y="3145"/>
                  </a:moveTo>
                  <a:lnTo>
                    <a:pt x="14381" y="3258"/>
                  </a:lnTo>
                  <a:lnTo>
                    <a:pt x="14379" y="3267"/>
                  </a:lnTo>
                  <a:lnTo>
                    <a:pt x="14374" y="3273"/>
                  </a:lnTo>
                  <a:lnTo>
                    <a:pt x="14368" y="3277"/>
                  </a:lnTo>
                  <a:lnTo>
                    <a:pt x="14362" y="3278"/>
                  </a:lnTo>
                  <a:lnTo>
                    <a:pt x="14354" y="3277"/>
                  </a:lnTo>
                  <a:lnTo>
                    <a:pt x="14347" y="3273"/>
                  </a:lnTo>
                  <a:lnTo>
                    <a:pt x="14342" y="3267"/>
                  </a:lnTo>
                  <a:lnTo>
                    <a:pt x="14341" y="3258"/>
                  </a:lnTo>
                  <a:lnTo>
                    <a:pt x="14341" y="3145"/>
                  </a:lnTo>
                  <a:lnTo>
                    <a:pt x="14342" y="3138"/>
                  </a:lnTo>
                  <a:lnTo>
                    <a:pt x="14347" y="3131"/>
                  </a:lnTo>
                  <a:lnTo>
                    <a:pt x="14354" y="3127"/>
                  </a:lnTo>
                  <a:lnTo>
                    <a:pt x="14362" y="3126"/>
                  </a:lnTo>
                  <a:lnTo>
                    <a:pt x="14368" y="3127"/>
                  </a:lnTo>
                  <a:lnTo>
                    <a:pt x="14374" y="3131"/>
                  </a:lnTo>
                  <a:lnTo>
                    <a:pt x="14379" y="3138"/>
                  </a:lnTo>
                  <a:lnTo>
                    <a:pt x="14381" y="3145"/>
                  </a:lnTo>
                  <a:close/>
                  <a:moveTo>
                    <a:pt x="14118" y="3145"/>
                  </a:moveTo>
                  <a:lnTo>
                    <a:pt x="14118" y="3258"/>
                  </a:lnTo>
                  <a:lnTo>
                    <a:pt x="14117" y="3267"/>
                  </a:lnTo>
                  <a:lnTo>
                    <a:pt x="14111" y="3273"/>
                  </a:lnTo>
                  <a:lnTo>
                    <a:pt x="14105" y="3277"/>
                  </a:lnTo>
                  <a:lnTo>
                    <a:pt x="14097" y="3278"/>
                  </a:lnTo>
                  <a:lnTo>
                    <a:pt x="14091" y="3277"/>
                  </a:lnTo>
                  <a:lnTo>
                    <a:pt x="14085" y="3273"/>
                  </a:lnTo>
                  <a:lnTo>
                    <a:pt x="14079" y="3267"/>
                  </a:lnTo>
                  <a:lnTo>
                    <a:pt x="14078" y="3258"/>
                  </a:lnTo>
                  <a:lnTo>
                    <a:pt x="14078" y="3145"/>
                  </a:lnTo>
                  <a:lnTo>
                    <a:pt x="14079" y="3138"/>
                  </a:lnTo>
                  <a:lnTo>
                    <a:pt x="14085" y="3131"/>
                  </a:lnTo>
                  <a:lnTo>
                    <a:pt x="14091" y="3127"/>
                  </a:lnTo>
                  <a:lnTo>
                    <a:pt x="14097" y="3126"/>
                  </a:lnTo>
                  <a:lnTo>
                    <a:pt x="14105" y="3127"/>
                  </a:lnTo>
                  <a:lnTo>
                    <a:pt x="14111" y="3131"/>
                  </a:lnTo>
                  <a:lnTo>
                    <a:pt x="14117" y="3138"/>
                  </a:lnTo>
                  <a:lnTo>
                    <a:pt x="14118" y="3145"/>
                  </a:lnTo>
                  <a:close/>
                  <a:moveTo>
                    <a:pt x="15434" y="2900"/>
                  </a:moveTo>
                  <a:lnTo>
                    <a:pt x="15434" y="3011"/>
                  </a:lnTo>
                  <a:lnTo>
                    <a:pt x="15432" y="3020"/>
                  </a:lnTo>
                  <a:lnTo>
                    <a:pt x="15427" y="3026"/>
                  </a:lnTo>
                  <a:lnTo>
                    <a:pt x="15421" y="3030"/>
                  </a:lnTo>
                  <a:lnTo>
                    <a:pt x="15413" y="3031"/>
                  </a:lnTo>
                  <a:lnTo>
                    <a:pt x="15407" y="3030"/>
                  </a:lnTo>
                  <a:lnTo>
                    <a:pt x="15400" y="3026"/>
                  </a:lnTo>
                  <a:lnTo>
                    <a:pt x="15395" y="3020"/>
                  </a:lnTo>
                  <a:lnTo>
                    <a:pt x="15394" y="3011"/>
                  </a:lnTo>
                  <a:lnTo>
                    <a:pt x="15394" y="2900"/>
                  </a:lnTo>
                  <a:lnTo>
                    <a:pt x="15395" y="2891"/>
                  </a:lnTo>
                  <a:lnTo>
                    <a:pt x="15400" y="2884"/>
                  </a:lnTo>
                  <a:lnTo>
                    <a:pt x="15407" y="2881"/>
                  </a:lnTo>
                  <a:lnTo>
                    <a:pt x="15413" y="2879"/>
                  </a:lnTo>
                  <a:lnTo>
                    <a:pt x="15421" y="2881"/>
                  </a:lnTo>
                  <a:lnTo>
                    <a:pt x="15427" y="2884"/>
                  </a:lnTo>
                  <a:lnTo>
                    <a:pt x="15432" y="2891"/>
                  </a:lnTo>
                  <a:lnTo>
                    <a:pt x="15434" y="2900"/>
                  </a:lnTo>
                  <a:close/>
                  <a:moveTo>
                    <a:pt x="15171" y="2900"/>
                  </a:moveTo>
                  <a:lnTo>
                    <a:pt x="15171" y="3011"/>
                  </a:lnTo>
                  <a:lnTo>
                    <a:pt x="15168" y="3020"/>
                  </a:lnTo>
                  <a:lnTo>
                    <a:pt x="15164" y="3026"/>
                  </a:lnTo>
                  <a:lnTo>
                    <a:pt x="15158" y="3030"/>
                  </a:lnTo>
                  <a:lnTo>
                    <a:pt x="15150" y="3031"/>
                  </a:lnTo>
                  <a:lnTo>
                    <a:pt x="15142" y="3030"/>
                  </a:lnTo>
                  <a:lnTo>
                    <a:pt x="15136" y="3026"/>
                  </a:lnTo>
                  <a:lnTo>
                    <a:pt x="15132" y="3020"/>
                  </a:lnTo>
                  <a:lnTo>
                    <a:pt x="15131" y="3011"/>
                  </a:lnTo>
                  <a:lnTo>
                    <a:pt x="15131" y="2900"/>
                  </a:lnTo>
                  <a:lnTo>
                    <a:pt x="15132" y="2891"/>
                  </a:lnTo>
                  <a:lnTo>
                    <a:pt x="15136" y="2884"/>
                  </a:lnTo>
                  <a:lnTo>
                    <a:pt x="15142" y="2881"/>
                  </a:lnTo>
                  <a:lnTo>
                    <a:pt x="15150" y="2879"/>
                  </a:lnTo>
                  <a:lnTo>
                    <a:pt x="15158" y="2881"/>
                  </a:lnTo>
                  <a:lnTo>
                    <a:pt x="15164" y="2884"/>
                  </a:lnTo>
                  <a:lnTo>
                    <a:pt x="15168" y="2891"/>
                  </a:lnTo>
                  <a:lnTo>
                    <a:pt x="15171" y="2900"/>
                  </a:lnTo>
                  <a:close/>
                  <a:moveTo>
                    <a:pt x="14908" y="2900"/>
                  </a:moveTo>
                  <a:lnTo>
                    <a:pt x="14908" y="3011"/>
                  </a:lnTo>
                  <a:lnTo>
                    <a:pt x="14905" y="3020"/>
                  </a:lnTo>
                  <a:lnTo>
                    <a:pt x="14901" y="3026"/>
                  </a:lnTo>
                  <a:lnTo>
                    <a:pt x="14895" y="3030"/>
                  </a:lnTo>
                  <a:lnTo>
                    <a:pt x="14887" y="3031"/>
                  </a:lnTo>
                  <a:lnTo>
                    <a:pt x="14880" y="3030"/>
                  </a:lnTo>
                  <a:lnTo>
                    <a:pt x="14873" y="3026"/>
                  </a:lnTo>
                  <a:lnTo>
                    <a:pt x="14869" y="3020"/>
                  </a:lnTo>
                  <a:lnTo>
                    <a:pt x="14867" y="3011"/>
                  </a:lnTo>
                  <a:lnTo>
                    <a:pt x="14867" y="2900"/>
                  </a:lnTo>
                  <a:lnTo>
                    <a:pt x="14869" y="2891"/>
                  </a:lnTo>
                  <a:lnTo>
                    <a:pt x="14873" y="2884"/>
                  </a:lnTo>
                  <a:lnTo>
                    <a:pt x="14880" y="2881"/>
                  </a:lnTo>
                  <a:lnTo>
                    <a:pt x="14887" y="2879"/>
                  </a:lnTo>
                  <a:lnTo>
                    <a:pt x="14895" y="2881"/>
                  </a:lnTo>
                  <a:lnTo>
                    <a:pt x="14901" y="2884"/>
                  </a:lnTo>
                  <a:lnTo>
                    <a:pt x="14905" y="2891"/>
                  </a:lnTo>
                  <a:lnTo>
                    <a:pt x="14908" y="2900"/>
                  </a:lnTo>
                  <a:close/>
                  <a:moveTo>
                    <a:pt x="14644" y="2900"/>
                  </a:moveTo>
                  <a:lnTo>
                    <a:pt x="14644" y="3011"/>
                  </a:lnTo>
                  <a:lnTo>
                    <a:pt x="14642" y="3020"/>
                  </a:lnTo>
                  <a:lnTo>
                    <a:pt x="14637" y="3026"/>
                  </a:lnTo>
                  <a:lnTo>
                    <a:pt x="14631" y="3030"/>
                  </a:lnTo>
                  <a:lnTo>
                    <a:pt x="14624" y="3031"/>
                  </a:lnTo>
                  <a:lnTo>
                    <a:pt x="14617" y="3030"/>
                  </a:lnTo>
                  <a:lnTo>
                    <a:pt x="14610" y="3026"/>
                  </a:lnTo>
                  <a:lnTo>
                    <a:pt x="14606" y="3020"/>
                  </a:lnTo>
                  <a:lnTo>
                    <a:pt x="14604" y="3011"/>
                  </a:lnTo>
                  <a:lnTo>
                    <a:pt x="14604" y="2900"/>
                  </a:lnTo>
                  <a:lnTo>
                    <a:pt x="14606" y="2891"/>
                  </a:lnTo>
                  <a:lnTo>
                    <a:pt x="14610" y="2884"/>
                  </a:lnTo>
                  <a:lnTo>
                    <a:pt x="14617" y="2881"/>
                  </a:lnTo>
                  <a:lnTo>
                    <a:pt x="14624" y="2879"/>
                  </a:lnTo>
                  <a:lnTo>
                    <a:pt x="14631" y="2881"/>
                  </a:lnTo>
                  <a:lnTo>
                    <a:pt x="14637" y="2884"/>
                  </a:lnTo>
                  <a:lnTo>
                    <a:pt x="14642" y="2891"/>
                  </a:lnTo>
                  <a:lnTo>
                    <a:pt x="14644" y="2900"/>
                  </a:lnTo>
                  <a:close/>
                  <a:moveTo>
                    <a:pt x="14381" y="2900"/>
                  </a:moveTo>
                  <a:lnTo>
                    <a:pt x="14381" y="3011"/>
                  </a:lnTo>
                  <a:lnTo>
                    <a:pt x="14379" y="3020"/>
                  </a:lnTo>
                  <a:lnTo>
                    <a:pt x="14374" y="3026"/>
                  </a:lnTo>
                  <a:lnTo>
                    <a:pt x="14368" y="3030"/>
                  </a:lnTo>
                  <a:lnTo>
                    <a:pt x="14362" y="3031"/>
                  </a:lnTo>
                  <a:lnTo>
                    <a:pt x="14354" y="3030"/>
                  </a:lnTo>
                  <a:lnTo>
                    <a:pt x="14347" y="3026"/>
                  </a:lnTo>
                  <a:lnTo>
                    <a:pt x="14342" y="3020"/>
                  </a:lnTo>
                  <a:lnTo>
                    <a:pt x="14341" y="3011"/>
                  </a:lnTo>
                  <a:lnTo>
                    <a:pt x="14341" y="2900"/>
                  </a:lnTo>
                  <a:lnTo>
                    <a:pt x="14342" y="2891"/>
                  </a:lnTo>
                  <a:lnTo>
                    <a:pt x="14347" y="2884"/>
                  </a:lnTo>
                  <a:lnTo>
                    <a:pt x="14354" y="2881"/>
                  </a:lnTo>
                  <a:lnTo>
                    <a:pt x="14362" y="2879"/>
                  </a:lnTo>
                  <a:lnTo>
                    <a:pt x="14368" y="2881"/>
                  </a:lnTo>
                  <a:lnTo>
                    <a:pt x="14374" y="2884"/>
                  </a:lnTo>
                  <a:lnTo>
                    <a:pt x="14379" y="2891"/>
                  </a:lnTo>
                  <a:lnTo>
                    <a:pt x="14381" y="2900"/>
                  </a:lnTo>
                  <a:close/>
                  <a:moveTo>
                    <a:pt x="14118" y="2900"/>
                  </a:moveTo>
                  <a:lnTo>
                    <a:pt x="14118" y="3011"/>
                  </a:lnTo>
                  <a:lnTo>
                    <a:pt x="14117" y="3020"/>
                  </a:lnTo>
                  <a:lnTo>
                    <a:pt x="14111" y="3026"/>
                  </a:lnTo>
                  <a:lnTo>
                    <a:pt x="14105" y="3030"/>
                  </a:lnTo>
                  <a:lnTo>
                    <a:pt x="14097" y="3031"/>
                  </a:lnTo>
                  <a:lnTo>
                    <a:pt x="14091" y="3030"/>
                  </a:lnTo>
                  <a:lnTo>
                    <a:pt x="14085" y="3026"/>
                  </a:lnTo>
                  <a:lnTo>
                    <a:pt x="14079" y="3020"/>
                  </a:lnTo>
                  <a:lnTo>
                    <a:pt x="14078" y="3011"/>
                  </a:lnTo>
                  <a:lnTo>
                    <a:pt x="14078" y="2900"/>
                  </a:lnTo>
                  <a:lnTo>
                    <a:pt x="14079" y="2891"/>
                  </a:lnTo>
                  <a:lnTo>
                    <a:pt x="14085" y="2884"/>
                  </a:lnTo>
                  <a:lnTo>
                    <a:pt x="14091" y="2881"/>
                  </a:lnTo>
                  <a:lnTo>
                    <a:pt x="14097" y="2879"/>
                  </a:lnTo>
                  <a:lnTo>
                    <a:pt x="14105" y="2881"/>
                  </a:lnTo>
                  <a:lnTo>
                    <a:pt x="14111" y="2884"/>
                  </a:lnTo>
                  <a:lnTo>
                    <a:pt x="14117" y="2891"/>
                  </a:lnTo>
                  <a:lnTo>
                    <a:pt x="14118" y="2900"/>
                  </a:lnTo>
                  <a:close/>
                  <a:moveTo>
                    <a:pt x="15434" y="3639"/>
                  </a:moveTo>
                  <a:lnTo>
                    <a:pt x="15434" y="3751"/>
                  </a:lnTo>
                  <a:lnTo>
                    <a:pt x="15432" y="3760"/>
                  </a:lnTo>
                  <a:lnTo>
                    <a:pt x="15427" y="3765"/>
                  </a:lnTo>
                  <a:lnTo>
                    <a:pt x="15421" y="3769"/>
                  </a:lnTo>
                  <a:lnTo>
                    <a:pt x="15413" y="3771"/>
                  </a:lnTo>
                  <a:lnTo>
                    <a:pt x="15407" y="3769"/>
                  </a:lnTo>
                  <a:lnTo>
                    <a:pt x="15400" y="3765"/>
                  </a:lnTo>
                  <a:lnTo>
                    <a:pt x="15395" y="3760"/>
                  </a:lnTo>
                  <a:lnTo>
                    <a:pt x="15394" y="3751"/>
                  </a:lnTo>
                  <a:lnTo>
                    <a:pt x="15394" y="3639"/>
                  </a:lnTo>
                  <a:lnTo>
                    <a:pt x="15395" y="3630"/>
                  </a:lnTo>
                  <a:lnTo>
                    <a:pt x="15400" y="3624"/>
                  </a:lnTo>
                  <a:lnTo>
                    <a:pt x="15407" y="3620"/>
                  </a:lnTo>
                  <a:lnTo>
                    <a:pt x="15413" y="3618"/>
                  </a:lnTo>
                  <a:lnTo>
                    <a:pt x="15421" y="3620"/>
                  </a:lnTo>
                  <a:lnTo>
                    <a:pt x="15427" y="3624"/>
                  </a:lnTo>
                  <a:lnTo>
                    <a:pt x="15432" y="3630"/>
                  </a:lnTo>
                  <a:lnTo>
                    <a:pt x="15434" y="3639"/>
                  </a:lnTo>
                  <a:close/>
                  <a:moveTo>
                    <a:pt x="18172" y="964"/>
                  </a:moveTo>
                  <a:lnTo>
                    <a:pt x="17643" y="964"/>
                  </a:lnTo>
                  <a:lnTo>
                    <a:pt x="17643" y="1019"/>
                  </a:lnTo>
                  <a:lnTo>
                    <a:pt x="18172" y="1019"/>
                  </a:lnTo>
                  <a:lnTo>
                    <a:pt x="18172" y="964"/>
                  </a:lnTo>
                  <a:close/>
                  <a:moveTo>
                    <a:pt x="17665" y="1323"/>
                  </a:moveTo>
                  <a:lnTo>
                    <a:pt x="18163" y="2010"/>
                  </a:lnTo>
                  <a:lnTo>
                    <a:pt x="18134" y="1058"/>
                  </a:lnTo>
                  <a:lnTo>
                    <a:pt x="17680" y="1058"/>
                  </a:lnTo>
                  <a:lnTo>
                    <a:pt x="17665" y="1322"/>
                  </a:lnTo>
                  <a:lnTo>
                    <a:pt x="17665" y="1323"/>
                  </a:lnTo>
                  <a:close/>
                  <a:moveTo>
                    <a:pt x="17638" y="1754"/>
                  </a:moveTo>
                  <a:lnTo>
                    <a:pt x="18179" y="2500"/>
                  </a:lnTo>
                  <a:lnTo>
                    <a:pt x="18166" y="2079"/>
                  </a:lnTo>
                  <a:lnTo>
                    <a:pt x="18161" y="2074"/>
                  </a:lnTo>
                  <a:lnTo>
                    <a:pt x="17661" y="1385"/>
                  </a:lnTo>
                  <a:lnTo>
                    <a:pt x="17638" y="1754"/>
                  </a:lnTo>
                  <a:close/>
                  <a:moveTo>
                    <a:pt x="17611" y="2186"/>
                  </a:moveTo>
                  <a:lnTo>
                    <a:pt x="18194" y="2989"/>
                  </a:lnTo>
                  <a:lnTo>
                    <a:pt x="18181" y="2571"/>
                  </a:lnTo>
                  <a:lnTo>
                    <a:pt x="17634" y="1817"/>
                  </a:lnTo>
                  <a:lnTo>
                    <a:pt x="17611" y="2186"/>
                  </a:lnTo>
                  <a:close/>
                  <a:moveTo>
                    <a:pt x="22919" y="2556"/>
                  </a:moveTo>
                  <a:lnTo>
                    <a:pt x="22895" y="2525"/>
                  </a:lnTo>
                  <a:lnTo>
                    <a:pt x="22869" y="2494"/>
                  </a:lnTo>
                  <a:lnTo>
                    <a:pt x="22841" y="2464"/>
                  </a:lnTo>
                  <a:lnTo>
                    <a:pt x="22812" y="2434"/>
                  </a:lnTo>
                  <a:lnTo>
                    <a:pt x="22748" y="2377"/>
                  </a:lnTo>
                  <a:lnTo>
                    <a:pt x="22714" y="2350"/>
                  </a:lnTo>
                  <a:lnTo>
                    <a:pt x="22678" y="2323"/>
                  </a:lnTo>
                  <a:lnTo>
                    <a:pt x="22603" y="2272"/>
                  </a:lnTo>
                  <a:lnTo>
                    <a:pt x="22522" y="2225"/>
                  </a:lnTo>
                  <a:lnTo>
                    <a:pt x="22436" y="2181"/>
                  </a:lnTo>
                  <a:lnTo>
                    <a:pt x="22346" y="2142"/>
                  </a:lnTo>
                  <a:lnTo>
                    <a:pt x="22250" y="2104"/>
                  </a:lnTo>
                  <a:lnTo>
                    <a:pt x="22151" y="2072"/>
                  </a:lnTo>
                  <a:lnTo>
                    <a:pt x="22048" y="2046"/>
                  </a:lnTo>
                  <a:lnTo>
                    <a:pt x="21995" y="2033"/>
                  </a:lnTo>
                  <a:lnTo>
                    <a:pt x="21941" y="2023"/>
                  </a:lnTo>
                  <a:lnTo>
                    <a:pt x="21831" y="2003"/>
                  </a:lnTo>
                  <a:lnTo>
                    <a:pt x="21774" y="1997"/>
                  </a:lnTo>
                  <a:lnTo>
                    <a:pt x="21718" y="1991"/>
                  </a:lnTo>
                  <a:lnTo>
                    <a:pt x="21601" y="1983"/>
                  </a:lnTo>
                  <a:lnTo>
                    <a:pt x="21483" y="1980"/>
                  </a:lnTo>
                  <a:lnTo>
                    <a:pt x="21365" y="1983"/>
                  </a:lnTo>
                  <a:lnTo>
                    <a:pt x="21249" y="1991"/>
                  </a:lnTo>
                  <a:lnTo>
                    <a:pt x="21136" y="2003"/>
                  </a:lnTo>
                  <a:lnTo>
                    <a:pt x="21026" y="2023"/>
                  </a:lnTo>
                  <a:lnTo>
                    <a:pt x="20972" y="2033"/>
                  </a:lnTo>
                  <a:lnTo>
                    <a:pt x="20919" y="2046"/>
                  </a:lnTo>
                  <a:lnTo>
                    <a:pt x="20815" y="2072"/>
                  </a:lnTo>
                  <a:lnTo>
                    <a:pt x="20717" y="2104"/>
                  </a:lnTo>
                  <a:lnTo>
                    <a:pt x="20622" y="2142"/>
                  </a:lnTo>
                  <a:lnTo>
                    <a:pt x="20531" y="2181"/>
                  </a:lnTo>
                  <a:lnTo>
                    <a:pt x="20445" y="2225"/>
                  </a:lnTo>
                  <a:lnTo>
                    <a:pt x="20364" y="2272"/>
                  </a:lnTo>
                  <a:lnTo>
                    <a:pt x="20288" y="2323"/>
                  </a:lnTo>
                  <a:lnTo>
                    <a:pt x="20219" y="2377"/>
                  </a:lnTo>
                  <a:lnTo>
                    <a:pt x="20187" y="2405"/>
                  </a:lnTo>
                  <a:lnTo>
                    <a:pt x="20155" y="2434"/>
                  </a:lnTo>
                  <a:lnTo>
                    <a:pt x="20125" y="2464"/>
                  </a:lnTo>
                  <a:lnTo>
                    <a:pt x="20098" y="2494"/>
                  </a:lnTo>
                  <a:lnTo>
                    <a:pt x="20047" y="2556"/>
                  </a:lnTo>
                  <a:lnTo>
                    <a:pt x="20765" y="2556"/>
                  </a:lnTo>
                  <a:lnTo>
                    <a:pt x="21483" y="2556"/>
                  </a:lnTo>
                  <a:lnTo>
                    <a:pt x="22201" y="2556"/>
                  </a:lnTo>
                  <a:lnTo>
                    <a:pt x="22919" y="2556"/>
                  </a:lnTo>
                  <a:close/>
                  <a:moveTo>
                    <a:pt x="21733" y="1952"/>
                  </a:moveTo>
                  <a:lnTo>
                    <a:pt x="21733" y="1794"/>
                  </a:lnTo>
                  <a:lnTo>
                    <a:pt x="21235" y="1794"/>
                  </a:lnTo>
                  <a:lnTo>
                    <a:pt x="21235" y="1952"/>
                  </a:lnTo>
                  <a:lnTo>
                    <a:pt x="21295" y="1947"/>
                  </a:lnTo>
                  <a:lnTo>
                    <a:pt x="21358" y="1943"/>
                  </a:lnTo>
                  <a:lnTo>
                    <a:pt x="21420" y="1941"/>
                  </a:lnTo>
                  <a:lnTo>
                    <a:pt x="21483" y="1939"/>
                  </a:lnTo>
                  <a:lnTo>
                    <a:pt x="21609" y="1943"/>
                  </a:lnTo>
                  <a:lnTo>
                    <a:pt x="21733" y="1952"/>
                  </a:lnTo>
                  <a:close/>
                  <a:moveTo>
                    <a:pt x="20024" y="2977"/>
                  </a:moveTo>
                  <a:lnTo>
                    <a:pt x="20754" y="2977"/>
                  </a:lnTo>
                  <a:lnTo>
                    <a:pt x="21483" y="2977"/>
                  </a:lnTo>
                  <a:lnTo>
                    <a:pt x="22213" y="2977"/>
                  </a:lnTo>
                  <a:lnTo>
                    <a:pt x="22943" y="2977"/>
                  </a:lnTo>
                  <a:lnTo>
                    <a:pt x="22943" y="2750"/>
                  </a:lnTo>
                  <a:lnTo>
                    <a:pt x="22213" y="2750"/>
                  </a:lnTo>
                  <a:lnTo>
                    <a:pt x="21483" y="2750"/>
                  </a:lnTo>
                  <a:lnTo>
                    <a:pt x="20754" y="2750"/>
                  </a:lnTo>
                  <a:lnTo>
                    <a:pt x="20024" y="2750"/>
                  </a:lnTo>
                  <a:lnTo>
                    <a:pt x="20024" y="2977"/>
                  </a:lnTo>
                  <a:close/>
                  <a:moveTo>
                    <a:pt x="20768" y="4017"/>
                  </a:moveTo>
                  <a:lnTo>
                    <a:pt x="20768" y="4324"/>
                  </a:lnTo>
                  <a:lnTo>
                    <a:pt x="20974" y="4324"/>
                  </a:lnTo>
                  <a:lnTo>
                    <a:pt x="20974" y="3670"/>
                  </a:lnTo>
                  <a:lnTo>
                    <a:pt x="20974" y="3016"/>
                  </a:lnTo>
                  <a:lnTo>
                    <a:pt x="20523" y="3016"/>
                  </a:lnTo>
                  <a:lnTo>
                    <a:pt x="20523" y="3670"/>
                  </a:lnTo>
                  <a:lnTo>
                    <a:pt x="20523" y="4324"/>
                  </a:lnTo>
                  <a:lnTo>
                    <a:pt x="20728" y="4324"/>
                  </a:lnTo>
                  <a:lnTo>
                    <a:pt x="20728" y="4017"/>
                  </a:lnTo>
                  <a:lnTo>
                    <a:pt x="20731" y="4008"/>
                  </a:lnTo>
                  <a:lnTo>
                    <a:pt x="20734" y="4002"/>
                  </a:lnTo>
                  <a:lnTo>
                    <a:pt x="20741" y="3998"/>
                  </a:lnTo>
                  <a:lnTo>
                    <a:pt x="20749" y="3997"/>
                  </a:lnTo>
                  <a:lnTo>
                    <a:pt x="20756" y="3998"/>
                  </a:lnTo>
                  <a:lnTo>
                    <a:pt x="20763" y="4002"/>
                  </a:lnTo>
                  <a:lnTo>
                    <a:pt x="20767" y="4008"/>
                  </a:lnTo>
                  <a:lnTo>
                    <a:pt x="20768" y="4017"/>
                  </a:lnTo>
                  <a:close/>
                  <a:moveTo>
                    <a:pt x="21260" y="4017"/>
                  </a:moveTo>
                  <a:lnTo>
                    <a:pt x="21260" y="4324"/>
                  </a:lnTo>
                  <a:lnTo>
                    <a:pt x="21467" y="4324"/>
                  </a:lnTo>
                  <a:lnTo>
                    <a:pt x="21467" y="3670"/>
                  </a:lnTo>
                  <a:lnTo>
                    <a:pt x="21467" y="3016"/>
                  </a:lnTo>
                  <a:lnTo>
                    <a:pt x="21014" y="3016"/>
                  </a:lnTo>
                  <a:lnTo>
                    <a:pt x="21014" y="3670"/>
                  </a:lnTo>
                  <a:lnTo>
                    <a:pt x="21014" y="4324"/>
                  </a:lnTo>
                  <a:lnTo>
                    <a:pt x="21220" y="4324"/>
                  </a:lnTo>
                  <a:lnTo>
                    <a:pt x="21220" y="4017"/>
                  </a:lnTo>
                  <a:lnTo>
                    <a:pt x="21222" y="4008"/>
                  </a:lnTo>
                  <a:lnTo>
                    <a:pt x="21227" y="4002"/>
                  </a:lnTo>
                  <a:lnTo>
                    <a:pt x="21233" y="3998"/>
                  </a:lnTo>
                  <a:lnTo>
                    <a:pt x="21241" y="3997"/>
                  </a:lnTo>
                  <a:lnTo>
                    <a:pt x="21247" y="3998"/>
                  </a:lnTo>
                  <a:lnTo>
                    <a:pt x="21254" y="4002"/>
                  </a:lnTo>
                  <a:lnTo>
                    <a:pt x="21259" y="4008"/>
                  </a:lnTo>
                  <a:lnTo>
                    <a:pt x="21260" y="4017"/>
                  </a:lnTo>
                  <a:close/>
                  <a:moveTo>
                    <a:pt x="21753" y="4017"/>
                  </a:moveTo>
                  <a:lnTo>
                    <a:pt x="21753" y="4324"/>
                  </a:lnTo>
                  <a:lnTo>
                    <a:pt x="21959" y="4324"/>
                  </a:lnTo>
                  <a:lnTo>
                    <a:pt x="21959" y="3670"/>
                  </a:lnTo>
                  <a:lnTo>
                    <a:pt x="21959" y="3016"/>
                  </a:lnTo>
                  <a:lnTo>
                    <a:pt x="21506" y="3016"/>
                  </a:lnTo>
                  <a:lnTo>
                    <a:pt x="21506" y="3670"/>
                  </a:lnTo>
                  <a:lnTo>
                    <a:pt x="21506" y="4324"/>
                  </a:lnTo>
                  <a:lnTo>
                    <a:pt x="21713" y="4324"/>
                  </a:lnTo>
                  <a:lnTo>
                    <a:pt x="21713" y="4017"/>
                  </a:lnTo>
                  <a:lnTo>
                    <a:pt x="21714" y="4008"/>
                  </a:lnTo>
                  <a:lnTo>
                    <a:pt x="21719" y="4002"/>
                  </a:lnTo>
                  <a:lnTo>
                    <a:pt x="21726" y="3998"/>
                  </a:lnTo>
                  <a:lnTo>
                    <a:pt x="21732" y="3997"/>
                  </a:lnTo>
                  <a:lnTo>
                    <a:pt x="21740" y="3998"/>
                  </a:lnTo>
                  <a:lnTo>
                    <a:pt x="21746" y="4002"/>
                  </a:lnTo>
                  <a:lnTo>
                    <a:pt x="21751" y="4008"/>
                  </a:lnTo>
                  <a:lnTo>
                    <a:pt x="21753" y="4017"/>
                  </a:lnTo>
                  <a:close/>
                  <a:moveTo>
                    <a:pt x="22245" y="4017"/>
                  </a:moveTo>
                  <a:lnTo>
                    <a:pt x="22245" y="4324"/>
                  </a:lnTo>
                  <a:lnTo>
                    <a:pt x="22450" y="4324"/>
                  </a:lnTo>
                  <a:lnTo>
                    <a:pt x="22450" y="3670"/>
                  </a:lnTo>
                  <a:lnTo>
                    <a:pt x="22450" y="3016"/>
                  </a:lnTo>
                  <a:lnTo>
                    <a:pt x="21999" y="3016"/>
                  </a:lnTo>
                  <a:lnTo>
                    <a:pt x="21999" y="3670"/>
                  </a:lnTo>
                  <a:lnTo>
                    <a:pt x="21999" y="4324"/>
                  </a:lnTo>
                  <a:lnTo>
                    <a:pt x="22205" y="4324"/>
                  </a:lnTo>
                  <a:lnTo>
                    <a:pt x="22205" y="4017"/>
                  </a:lnTo>
                  <a:lnTo>
                    <a:pt x="22207" y="4008"/>
                  </a:lnTo>
                  <a:lnTo>
                    <a:pt x="22210" y="4002"/>
                  </a:lnTo>
                  <a:lnTo>
                    <a:pt x="22217" y="3998"/>
                  </a:lnTo>
                  <a:lnTo>
                    <a:pt x="22224" y="3997"/>
                  </a:lnTo>
                  <a:lnTo>
                    <a:pt x="22232" y="3998"/>
                  </a:lnTo>
                  <a:lnTo>
                    <a:pt x="22239" y="4002"/>
                  </a:lnTo>
                  <a:lnTo>
                    <a:pt x="22242" y="4008"/>
                  </a:lnTo>
                  <a:lnTo>
                    <a:pt x="22245" y="4017"/>
                  </a:lnTo>
                  <a:close/>
                  <a:moveTo>
                    <a:pt x="22737" y="4017"/>
                  </a:moveTo>
                  <a:lnTo>
                    <a:pt x="22737" y="4324"/>
                  </a:lnTo>
                  <a:lnTo>
                    <a:pt x="22943" y="4324"/>
                  </a:lnTo>
                  <a:lnTo>
                    <a:pt x="22943" y="3670"/>
                  </a:lnTo>
                  <a:lnTo>
                    <a:pt x="22943" y="3016"/>
                  </a:lnTo>
                  <a:lnTo>
                    <a:pt x="22491" y="3016"/>
                  </a:lnTo>
                  <a:lnTo>
                    <a:pt x="22491" y="3670"/>
                  </a:lnTo>
                  <a:lnTo>
                    <a:pt x="22491" y="4324"/>
                  </a:lnTo>
                  <a:lnTo>
                    <a:pt x="22696" y="4324"/>
                  </a:lnTo>
                  <a:lnTo>
                    <a:pt x="22696" y="4017"/>
                  </a:lnTo>
                  <a:lnTo>
                    <a:pt x="22699" y="4008"/>
                  </a:lnTo>
                  <a:lnTo>
                    <a:pt x="22703" y="4002"/>
                  </a:lnTo>
                  <a:lnTo>
                    <a:pt x="22709" y="3998"/>
                  </a:lnTo>
                  <a:lnTo>
                    <a:pt x="22717" y="3997"/>
                  </a:lnTo>
                  <a:lnTo>
                    <a:pt x="22725" y="3998"/>
                  </a:lnTo>
                  <a:lnTo>
                    <a:pt x="22731" y="4002"/>
                  </a:lnTo>
                  <a:lnTo>
                    <a:pt x="22735" y="4008"/>
                  </a:lnTo>
                  <a:lnTo>
                    <a:pt x="22737" y="4017"/>
                  </a:lnTo>
                  <a:close/>
                  <a:moveTo>
                    <a:pt x="21727" y="1754"/>
                  </a:moveTo>
                  <a:lnTo>
                    <a:pt x="21714" y="1740"/>
                  </a:lnTo>
                  <a:lnTo>
                    <a:pt x="21696" y="1727"/>
                  </a:lnTo>
                  <a:lnTo>
                    <a:pt x="21673" y="1714"/>
                  </a:lnTo>
                  <a:lnTo>
                    <a:pt x="21645" y="1703"/>
                  </a:lnTo>
                  <a:lnTo>
                    <a:pt x="21612" y="1693"/>
                  </a:lnTo>
                  <a:lnTo>
                    <a:pt x="21573" y="1686"/>
                  </a:lnTo>
                  <a:lnTo>
                    <a:pt x="21531" y="1681"/>
                  </a:lnTo>
                  <a:lnTo>
                    <a:pt x="21483" y="1679"/>
                  </a:lnTo>
                  <a:lnTo>
                    <a:pt x="21437" y="1681"/>
                  </a:lnTo>
                  <a:lnTo>
                    <a:pt x="21394" y="1686"/>
                  </a:lnTo>
                  <a:lnTo>
                    <a:pt x="21356" y="1693"/>
                  </a:lnTo>
                  <a:lnTo>
                    <a:pt x="21322" y="1703"/>
                  </a:lnTo>
                  <a:lnTo>
                    <a:pt x="21294" y="1714"/>
                  </a:lnTo>
                  <a:lnTo>
                    <a:pt x="21270" y="1727"/>
                  </a:lnTo>
                  <a:lnTo>
                    <a:pt x="21253" y="1740"/>
                  </a:lnTo>
                  <a:lnTo>
                    <a:pt x="21241" y="1754"/>
                  </a:lnTo>
                  <a:lnTo>
                    <a:pt x="21727" y="1754"/>
                  </a:lnTo>
                  <a:close/>
                  <a:moveTo>
                    <a:pt x="19597" y="4131"/>
                  </a:moveTo>
                  <a:lnTo>
                    <a:pt x="19564" y="4135"/>
                  </a:lnTo>
                  <a:lnTo>
                    <a:pt x="19532" y="4145"/>
                  </a:lnTo>
                  <a:lnTo>
                    <a:pt x="19500" y="4154"/>
                  </a:lnTo>
                  <a:lnTo>
                    <a:pt x="19465" y="4159"/>
                  </a:lnTo>
                  <a:lnTo>
                    <a:pt x="19436" y="4154"/>
                  </a:lnTo>
                  <a:lnTo>
                    <a:pt x="19423" y="4149"/>
                  </a:lnTo>
                  <a:lnTo>
                    <a:pt x="19410" y="4143"/>
                  </a:lnTo>
                  <a:lnTo>
                    <a:pt x="19388" y="4125"/>
                  </a:lnTo>
                  <a:lnTo>
                    <a:pt x="19369" y="4100"/>
                  </a:lnTo>
                  <a:lnTo>
                    <a:pt x="19351" y="4072"/>
                  </a:lnTo>
                  <a:lnTo>
                    <a:pt x="19334" y="4040"/>
                  </a:lnTo>
                  <a:lnTo>
                    <a:pt x="19300" y="3973"/>
                  </a:lnTo>
                  <a:lnTo>
                    <a:pt x="19282" y="3937"/>
                  </a:lnTo>
                  <a:lnTo>
                    <a:pt x="19260" y="3904"/>
                  </a:lnTo>
                  <a:lnTo>
                    <a:pt x="19235" y="3872"/>
                  </a:lnTo>
                  <a:lnTo>
                    <a:pt x="19209" y="3843"/>
                  </a:lnTo>
                  <a:lnTo>
                    <a:pt x="19175" y="3820"/>
                  </a:lnTo>
                  <a:lnTo>
                    <a:pt x="19157" y="3810"/>
                  </a:lnTo>
                  <a:lnTo>
                    <a:pt x="19138" y="3801"/>
                  </a:lnTo>
                  <a:lnTo>
                    <a:pt x="19116" y="3795"/>
                  </a:lnTo>
                  <a:lnTo>
                    <a:pt x="19093" y="3790"/>
                  </a:lnTo>
                  <a:lnTo>
                    <a:pt x="19069" y="3787"/>
                  </a:lnTo>
                  <a:lnTo>
                    <a:pt x="19042" y="3786"/>
                  </a:lnTo>
                  <a:lnTo>
                    <a:pt x="19014" y="3790"/>
                  </a:lnTo>
                  <a:lnTo>
                    <a:pt x="19002" y="3795"/>
                  </a:lnTo>
                  <a:lnTo>
                    <a:pt x="18993" y="3801"/>
                  </a:lnTo>
                  <a:lnTo>
                    <a:pt x="18974" y="3817"/>
                  </a:lnTo>
                  <a:lnTo>
                    <a:pt x="18952" y="3836"/>
                  </a:lnTo>
                  <a:lnTo>
                    <a:pt x="18925" y="3854"/>
                  </a:lnTo>
                  <a:lnTo>
                    <a:pt x="18908" y="3863"/>
                  </a:lnTo>
                  <a:lnTo>
                    <a:pt x="18889" y="3869"/>
                  </a:lnTo>
                  <a:lnTo>
                    <a:pt x="18865" y="3875"/>
                  </a:lnTo>
                  <a:lnTo>
                    <a:pt x="18838" y="3881"/>
                  </a:lnTo>
                  <a:lnTo>
                    <a:pt x="18806" y="3884"/>
                  </a:lnTo>
                  <a:lnTo>
                    <a:pt x="18769" y="3886"/>
                  </a:lnTo>
                  <a:lnTo>
                    <a:pt x="18742" y="3883"/>
                  </a:lnTo>
                  <a:lnTo>
                    <a:pt x="18720" y="3879"/>
                  </a:lnTo>
                  <a:lnTo>
                    <a:pt x="18688" y="3868"/>
                  </a:lnTo>
                  <a:lnTo>
                    <a:pt x="18662" y="3855"/>
                  </a:lnTo>
                  <a:lnTo>
                    <a:pt x="18649" y="3851"/>
                  </a:lnTo>
                  <a:lnTo>
                    <a:pt x="18637" y="3850"/>
                  </a:lnTo>
                  <a:lnTo>
                    <a:pt x="18615" y="3851"/>
                  </a:lnTo>
                  <a:lnTo>
                    <a:pt x="18594" y="3856"/>
                  </a:lnTo>
                  <a:lnTo>
                    <a:pt x="18575" y="3864"/>
                  </a:lnTo>
                  <a:lnTo>
                    <a:pt x="18557" y="3875"/>
                  </a:lnTo>
                  <a:lnTo>
                    <a:pt x="18540" y="3888"/>
                  </a:lnTo>
                  <a:lnTo>
                    <a:pt x="18524" y="3902"/>
                  </a:lnTo>
                  <a:lnTo>
                    <a:pt x="18494" y="3936"/>
                  </a:lnTo>
                  <a:lnTo>
                    <a:pt x="18467" y="3973"/>
                  </a:lnTo>
                  <a:lnTo>
                    <a:pt x="18442" y="4011"/>
                  </a:lnTo>
                  <a:lnTo>
                    <a:pt x="18416" y="4047"/>
                  </a:lnTo>
                  <a:lnTo>
                    <a:pt x="18389" y="4077"/>
                  </a:lnTo>
                  <a:lnTo>
                    <a:pt x="18366" y="4097"/>
                  </a:lnTo>
                  <a:lnTo>
                    <a:pt x="18337" y="4116"/>
                  </a:lnTo>
                  <a:lnTo>
                    <a:pt x="18266" y="4155"/>
                  </a:lnTo>
                  <a:lnTo>
                    <a:pt x="18261" y="4161"/>
                  </a:lnTo>
                  <a:lnTo>
                    <a:pt x="18253" y="4163"/>
                  </a:lnTo>
                  <a:lnTo>
                    <a:pt x="18207" y="4191"/>
                  </a:lnTo>
                  <a:lnTo>
                    <a:pt x="18169" y="4221"/>
                  </a:lnTo>
                  <a:lnTo>
                    <a:pt x="18153" y="4236"/>
                  </a:lnTo>
                  <a:lnTo>
                    <a:pt x="18147" y="4245"/>
                  </a:lnTo>
                  <a:lnTo>
                    <a:pt x="18142" y="4253"/>
                  </a:lnTo>
                  <a:lnTo>
                    <a:pt x="18134" y="4269"/>
                  </a:lnTo>
                  <a:lnTo>
                    <a:pt x="18131" y="4287"/>
                  </a:lnTo>
                  <a:lnTo>
                    <a:pt x="18133" y="4308"/>
                  </a:lnTo>
                  <a:lnTo>
                    <a:pt x="18137" y="4329"/>
                  </a:lnTo>
                  <a:lnTo>
                    <a:pt x="18256" y="4329"/>
                  </a:lnTo>
                  <a:lnTo>
                    <a:pt x="18261" y="4329"/>
                  </a:lnTo>
                  <a:lnTo>
                    <a:pt x="19046" y="4329"/>
                  </a:lnTo>
                  <a:lnTo>
                    <a:pt x="19830" y="4329"/>
                  </a:lnTo>
                  <a:lnTo>
                    <a:pt x="19825" y="4308"/>
                  </a:lnTo>
                  <a:lnTo>
                    <a:pt x="19819" y="4286"/>
                  </a:lnTo>
                  <a:lnTo>
                    <a:pt x="19810" y="4265"/>
                  </a:lnTo>
                  <a:lnTo>
                    <a:pt x="19801" y="4248"/>
                  </a:lnTo>
                  <a:lnTo>
                    <a:pt x="19778" y="4213"/>
                  </a:lnTo>
                  <a:lnTo>
                    <a:pt x="19764" y="4198"/>
                  </a:lnTo>
                  <a:lnTo>
                    <a:pt x="19748" y="4185"/>
                  </a:lnTo>
                  <a:lnTo>
                    <a:pt x="19733" y="4172"/>
                  </a:lnTo>
                  <a:lnTo>
                    <a:pt x="19716" y="4162"/>
                  </a:lnTo>
                  <a:lnTo>
                    <a:pt x="19698" y="4153"/>
                  </a:lnTo>
                  <a:lnTo>
                    <a:pt x="19679" y="4145"/>
                  </a:lnTo>
                  <a:lnTo>
                    <a:pt x="19660" y="4139"/>
                  </a:lnTo>
                  <a:lnTo>
                    <a:pt x="19639" y="4134"/>
                  </a:lnTo>
                  <a:lnTo>
                    <a:pt x="19597" y="4131"/>
                  </a:lnTo>
                  <a:close/>
                  <a:moveTo>
                    <a:pt x="18860" y="2743"/>
                  </a:moveTo>
                  <a:lnTo>
                    <a:pt x="18742" y="2904"/>
                  </a:lnTo>
                  <a:lnTo>
                    <a:pt x="18742" y="3047"/>
                  </a:lnTo>
                  <a:lnTo>
                    <a:pt x="18794" y="3040"/>
                  </a:lnTo>
                  <a:lnTo>
                    <a:pt x="18803" y="3039"/>
                  </a:lnTo>
                  <a:lnTo>
                    <a:pt x="18811" y="3043"/>
                  </a:lnTo>
                  <a:lnTo>
                    <a:pt x="18815" y="3048"/>
                  </a:lnTo>
                  <a:lnTo>
                    <a:pt x="18819" y="3056"/>
                  </a:lnTo>
                  <a:lnTo>
                    <a:pt x="18819" y="3062"/>
                  </a:lnTo>
                  <a:lnTo>
                    <a:pt x="18816" y="3070"/>
                  </a:lnTo>
                  <a:lnTo>
                    <a:pt x="18811" y="3075"/>
                  </a:lnTo>
                  <a:lnTo>
                    <a:pt x="18802" y="3079"/>
                  </a:lnTo>
                  <a:lnTo>
                    <a:pt x="18773" y="3084"/>
                  </a:lnTo>
                  <a:lnTo>
                    <a:pt x="18742" y="3086"/>
                  </a:lnTo>
                  <a:lnTo>
                    <a:pt x="18742" y="3827"/>
                  </a:lnTo>
                  <a:lnTo>
                    <a:pt x="18741" y="3836"/>
                  </a:lnTo>
                  <a:lnTo>
                    <a:pt x="18735" y="3842"/>
                  </a:lnTo>
                  <a:lnTo>
                    <a:pt x="18751" y="3845"/>
                  </a:lnTo>
                  <a:lnTo>
                    <a:pt x="18769" y="3845"/>
                  </a:lnTo>
                  <a:lnTo>
                    <a:pt x="18798" y="3845"/>
                  </a:lnTo>
                  <a:lnTo>
                    <a:pt x="18825" y="3843"/>
                  </a:lnTo>
                  <a:lnTo>
                    <a:pt x="18850" y="3840"/>
                  </a:lnTo>
                  <a:lnTo>
                    <a:pt x="18871" y="3835"/>
                  </a:lnTo>
                  <a:lnTo>
                    <a:pt x="18892" y="3826"/>
                  </a:lnTo>
                  <a:lnTo>
                    <a:pt x="18911" y="3815"/>
                  </a:lnTo>
                  <a:lnTo>
                    <a:pt x="18952" y="3782"/>
                  </a:lnTo>
                  <a:lnTo>
                    <a:pt x="18973" y="3767"/>
                  </a:lnTo>
                  <a:lnTo>
                    <a:pt x="18982" y="3760"/>
                  </a:lnTo>
                  <a:lnTo>
                    <a:pt x="18992" y="3755"/>
                  </a:lnTo>
                  <a:lnTo>
                    <a:pt x="19015" y="3748"/>
                  </a:lnTo>
                  <a:lnTo>
                    <a:pt x="19042" y="3745"/>
                  </a:lnTo>
                  <a:lnTo>
                    <a:pt x="19075" y="3748"/>
                  </a:lnTo>
                  <a:lnTo>
                    <a:pt x="19107" y="3751"/>
                  </a:lnTo>
                  <a:lnTo>
                    <a:pt x="19135" y="3758"/>
                  </a:lnTo>
                  <a:lnTo>
                    <a:pt x="19162" y="3768"/>
                  </a:lnTo>
                  <a:lnTo>
                    <a:pt x="19187" y="3780"/>
                  </a:lnTo>
                  <a:lnTo>
                    <a:pt x="19209" y="3794"/>
                  </a:lnTo>
                  <a:lnTo>
                    <a:pt x="19229" y="3809"/>
                  </a:lnTo>
                  <a:lnTo>
                    <a:pt x="19248" y="3827"/>
                  </a:lnTo>
                  <a:lnTo>
                    <a:pt x="19282" y="3866"/>
                  </a:lnTo>
                  <a:lnTo>
                    <a:pt x="19311" y="3911"/>
                  </a:lnTo>
                  <a:lnTo>
                    <a:pt x="19338" y="3960"/>
                  </a:lnTo>
                  <a:lnTo>
                    <a:pt x="19364" y="4012"/>
                  </a:lnTo>
                  <a:lnTo>
                    <a:pt x="19369" y="4021"/>
                  </a:lnTo>
                  <a:lnTo>
                    <a:pt x="19369" y="3649"/>
                  </a:lnTo>
                  <a:lnTo>
                    <a:pt x="19334" y="3663"/>
                  </a:lnTo>
                  <a:lnTo>
                    <a:pt x="19319" y="3670"/>
                  </a:lnTo>
                  <a:lnTo>
                    <a:pt x="19302" y="3676"/>
                  </a:lnTo>
                  <a:lnTo>
                    <a:pt x="19284" y="3676"/>
                  </a:lnTo>
                  <a:lnTo>
                    <a:pt x="19275" y="3675"/>
                  </a:lnTo>
                  <a:lnTo>
                    <a:pt x="19265" y="3671"/>
                  </a:lnTo>
                  <a:lnTo>
                    <a:pt x="19255" y="3666"/>
                  </a:lnTo>
                  <a:lnTo>
                    <a:pt x="19244" y="3658"/>
                  </a:lnTo>
                  <a:lnTo>
                    <a:pt x="19221" y="3634"/>
                  </a:lnTo>
                  <a:lnTo>
                    <a:pt x="19205" y="3616"/>
                  </a:lnTo>
                  <a:lnTo>
                    <a:pt x="19191" y="3604"/>
                  </a:lnTo>
                  <a:lnTo>
                    <a:pt x="19180" y="3598"/>
                  </a:lnTo>
                  <a:lnTo>
                    <a:pt x="19169" y="3595"/>
                  </a:lnTo>
                  <a:lnTo>
                    <a:pt x="19144" y="3594"/>
                  </a:lnTo>
                  <a:lnTo>
                    <a:pt x="19105" y="3590"/>
                  </a:lnTo>
                  <a:lnTo>
                    <a:pt x="19091" y="3586"/>
                  </a:lnTo>
                  <a:lnTo>
                    <a:pt x="19079" y="3581"/>
                  </a:lnTo>
                  <a:lnTo>
                    <a:pt x="19062" y="3567"/>
                  </a:lnTo>
                  <a:lnTo>
                    <a:pt x="19052" y="3549"/>
                  </a:lnTo>
                  <a:lnTo>
                    <a:pt x="19044" y="3530"/>
                  </a:lnTo>
                  <a:lnTo>
                    <a:pt x="19039" y="3510"/>
                  </a:lnTo>
                  <a:lnTo>
                    <a:pt x="19033" y="3489"/>
                  </a:lnTo>
                  <a:lnTo>
                    <a:pt x="19029" y="3480"/>
                  </a:lnTo>
                  <a:lnTo>
                    <a:pt x="19024" y="3471"/>
                  </a:lnTo>
                  <a:lnTo>
                    <a:pt x="19016" y="3464"/>
                  </a:lnTo>
                  <a:lnTo>
                    <a:pt x="19009" y="3457"/>
                  </a:lnTo>
                  <a:lnTo>
                    <a:pt x="18967" y="3434"/>
                  </a:lnTo>
                  <a:lnTo>
                    <a:pt x="18952" y="3424"/>
                  </a:lnTo>
                  <a:lnTo>
                    <a:pt x="18939" y="3414"/>
                  </a:lnTo>
                  <a:lnTo>
                    <a:pt x="18930" y="3400"/>
                  </a:lnTo>
                  <a:lnTo>
                    <a:pt x="18926" y="3383"/>
                  </a:lnTo>
                  <a:lnTo>
                    <a:pt x="18925" y="3361"/>
                  </a:lnTo>
                  <a:lnTo>
                    <a:pt x="18929" y="3333"/>
                  </a:lnTo>
                  <a:lnTo>
                    <a:pt x="18934" y="3304"/>
                  </a:lnTo>
                  <a:lnTo>
                    <a:pt x="18934" y="3285"/>
                  </a:lnTo>
                  <a:lnTo>
                    <a:pt x="18925" y="3267"/>
                  </a:lnTo>
                  <a:lnTo>
                    <a:pt x="18908" y="3242"/>
                  </a:lnTo>
                  <a:lnTo>
                    <a:pt x="18891" y="3216"/>
                  </a:lnTo>
                  <a:lnTo>
                    <a:pt x="18884" y="3199"/>
                  </a:lnTo>
                  <a:lnTo>
                    <a:pt x="18882" y="3181"/>
                  </a:lnTo>
                  <a:lnTo>
                    <a:pt x="18884" y="3162"/>
                  </a:lnTo>
                  <a:lnTo>
                    <a:pt x="18891" y="3145"/>
                  </a:lnTo>
                  <a:lnTo>
                    <a:pt x="18908" y="3118"/>
                  </a:lnTo>
                  <a:lnTo>
                    <a:pt x="18923" y="3098"/>
                  </a:lnTo>
                  <a:lnTo>
                    <a:pt x="18930" y="3083"/>
                  </a:lnTo>
                  <a:lnTo>
                    <a:pt x="18934" y="3070"/>
                  </a:lnTo>
                  <a:lnTo>
                    <a:pt x="18935" y="3060"/>
                  </a:lnTo>
                  <a:lnTo>
                    <a:pt x="18929" y="3035"/>
                  </a:lnTo>
                  <a:lnTo>
                    <a:pt x="18925" y="2996"/>
                  </a:lnTo>
                  <a:lnTo>
                    <a:pt x="18928" y="2969"/>
                  </a:lnTo>
                  <a:lnTo>
                    <a:pt x="18932" y="2959"/>
                  </a:lnTo>
                  <a:lnTo>
                    <a:pt x="18938" y="2950"/>
                  </a:lnTo>
                  <a:lnTo>
                    <a:pt x="18944" y="2942"/>
                  </a:lnTo>
                  <a:lnTo>
                    <a:pt x="18952" y="2936"/>
                  </a:lnTo>
                  <a:lnTo>
                    <a:pt x="18970" y="2924"/>
                  </a:lnTo>
                  <a:lnTo>
                    <a:pt x="19007" y="2904"/>
                  </a:lnTo>
                  <a:lnTo>
                    <a:pt x="19023" y="2891"/>
                  </a:lnTo>
                  <a:lnTo>
                    <a:pt x="19033" y="2872"/>
                  </a:lnTo>
                  <a:lnTo>
                    <a:pt x="19047" y="2828"/>
                  </a:lnTo>
                  <a:lnTo>
                    <a:pt x="19053" y="2810"/>
                  </a:lnTo>
                  <a:lnTo>
                    <a:pt x="19061" y="2796"/>
                  </a:lnTo>
                  <a:lnTo>
                    <a:pt x="19073" y="2785"/>
                  </a:lnTo>
                  <a:lnTo>
                    <a:pt x="19088" y="2776"/>
                  </a:lnTo>
                  <a:lnTo>
                    <a:pt x="19109" y="2771"/>
                  </a:lnTo>
                  <a:lnTo>
                    <a:pt x="19138" y="2768"/>
                  </a:lnTo>
                  <a:lnTo>
                    <a:pt x="19162" y="2766"/>
                  </a:lnTo>
                  <a:lnTo>
                    <a:pt x="19180" y="2763"/>
                  </a:lnTo>
                  <a:lnTo>
                    <a:pt x="19192" y="2758"/>
                  </a:lnTo>
                  <a:lnTo>
                    <a:pt x="19201" y="2751"/>
                  </a:lnTo>
                  <a:lnTo>
                    <a:pt x="19216" y="2732"/>
                  </a:lnTo>
                  <a:lnTo>
                    <a:pt x="19228" y="2719"/>
                  </a:lnTo>
                  <a:lnTo>
                    <a:pt x="19243" y="2704"/>
                  </a:lnTo>
                  <a:lnTo>
                    <a:pt x="19265" y="2690"/>
                  </a:lnTo>
                  <a:lnTo>
                    <a:pt x="19274" y="2686"/>
                  </a:lnTo>
                  <a:lnTo>
                    <a:pt x="19284" y="2685"/>
                  </a:lnTo>
                  <a:lnTo>
                    <a:pt x="19302" y="2686"/>
                  </a:lnTo>
                  <a:lnTo>
                    <a:pt x="19319" y="2691"/>
                  </a:lnTo>
                  <a:lnTo>
                    <a:pt x="19352" y="2707"/>
                  </a:lnTo>
                  <a:lnTo>
                    <a:pt x="19370" y="2713"/>
                  </a:lnTo>
                  <a:lnTo>
                    <a:pt x="19388" y="2716"/>
                  </a:lnTo>
                  <a:lnTo>
                    <a:pt x="19410" y="2712"/>
                  </a:lnTo>
                  <a:lnTo>
                    <a:pt x="19429" y="2705"/>
                  </a:lnTo>
                  <a:lnTo>
                    <a:pt x="19448" y="2696"/>
                  </a:lnTo>
                  <a:lnTo>
                    <a:pt x="19466" y="2689"/>
                  </a:lnTo>
                  <a:lnTo>
                    <a:pt x="19486" y="2685"/>
                  </a:lnTo>
                  <a:lnTo>
                    <a:pt x="19506" y="2688"/>
                  </a:lnTo>
                  <a:lnTo>
                    <a:pt x="19518" y="2694"/>
                  </a:lnTo>
                  <a:lnTo>
                    <a:pt x="19529" y="2702"/>
                  </a:lnTo>
                  <a:lnTo>
                    <a:pt x="19556" y="2727"/>
                  </a:lnTo>
                  <a:lnTo>
                    <a:pt x="19573" y="2746"/>
                  </a:lnTo>
                  <a:lnTo>
                    <a:pt x="19586" y="2758"/>
                  </a:lnTo>
                  <a:lnTo>
                    <a:pt x="19597" y="2764"/>
                  </a:lnTo>
                  <a:lnTo>
                    <a:pt x="19607" y="2767"/>
                  </a:lnTo>
                  <a:lnTo>
                    <a:pt x="19633" y="2767"/>
                  </a:lnTo>
                  <a:lnTo>
                    <a:pt x="19673" y="2771"/>
                  </a:lnTo>
                  <a:lnTo>
                    <a:pt x="19687" y="2774"/>
                  </a:lnTo>
                  <a:lnTo>
                    <a:pt x="19698" y="2780"/>
                  </a:lnTo>
                  <a:lnTo>
                    <a:pt x="19715" y="2794"/>
                  </a:lnTo>
                  <a:lnTo>
                    <a:pt x="19725" y="2812"/>
                  </a:lnTo>
                  <a:lnTo>
                    <a:pt x="19732" y="2832"/>
                  </a:lnTo>
                  <a:lnTo>
                    <a:pt x="19737" y="2852"/>
                  </a:lnTo>
                  <a:lnTo>
                    <a:pt x="19743" y="2872"/>
                  </a:lnTo>
                  <a:lnTo>
                    <a:pt x="19748" y="2881"/>
                  </a:lnTo>
                  <a:lnTo>
                    <a:pt x="19754" y="2890"/>
                  </a:lnTo>
                  <a:lnTo>
                    <a:pt x="19760" y="2897"/>
                  </a:lnTo>
                  <a:lnTo>
                    <a:pt x="19769" y="2904"/>
                  </a:lnTo>
                  <a:lnTo>
                    <a:pt x="19809" y="2927"/>
                  </a:lnTo>
                  <a:lnTo>
                    <a:pt x="19825" y="2937"/>
                  </a:lnTo>
                  <a:lnTo>
                    <a:pt x="19837" y="2948"/>
                  </a:lnTo>
                  <a:lnTo>
                    <a:pt x="19846" y="2961"/>
                  </a:lnTo>
                  <a:lnTo>
                    <a:pt x="19851" y="2978"/>
                  </a:lnTo>
                  <a:lnTo>
                    <a:pt x="19852" y="3000"/>
                  </a:lnTo>
                  <a:lnTo>
                    <a:pt x="19848" y="3028"/>
                  </a:lnTo>
                  <a:lnTo>
                    <a:pt x="19843" y="3057"/>
                  </a:lnTo>
                  <a:lnTo>
                    <a:pt x="19843" y="3076"/>
                  </a:lnTo>
                  <a:lnTo>
                    <a:pt x="19851" y="3094"/>
                  </a:lnTo>
                  <a:lnTo>
                    <a:pt x="19869" y="3118"/>
                  </a:lnTo>
                  <a:lnTo>
                    <a:pt x="19887" y="3145"/>
                  </a:lnTo>
                  <a:lnTo>
                    <a:pt x="19893" y="3162"/>
                  </a:lnTo>
                  <a:lnTo>
                    <a:pt x="19896" y="3181"/>
                  </a:lnTo>
                  <a:lnTo>
                    <a:pt x="19893" y="3199"/>
                  </a:lnTo>
                  <a:lnTo>
                    <a:pt x="19887" y="3216"/>
                  </a:lnTo>
                  <a:lnTo>
                    <a:pt x="19878" y="3230"/>
                  </a:lnTo>
                  <a:lnTo>
                    <a:pt x="19868" y="3244"/>
                  </a:lnTo>
                  <a:lnTo>
                    <a:pt x="19857" y="3258"/>
                  </a:lnTo>
                  <a:lnTo>
                    <a:pt x="19848" y="3272"/>
                  </a:lnTo>
                  <a:lnTo>
                    <a:pt x="19843" y="3287"/>
                  </a:lnTo>
                  <a:lnTo>
                    <a:pt x="19843" y="3305"/>
                  </a:lnTo>
                  <a:lnTo>
                    <a:pt x="19850" y="3351"/>
                  </a:lnTo>
                  <a:lnTo>
                    <a:pt x="19852" y="3369"/>
                  </a:lnTo>
                  <a:lnTo>
                    <a:pt x="19851" y="3386"/>
                  </a:lnTo>
                  <a:lnTo>
                    <a:pt x="19846" y="3401"/>
                  </a:lnTo>
                  <a:lnTo>
                    <a:pt x="19836" y="3415"/>
                  </a:lnTo>
                  <a:lnTo>
                    <a:pt x="19819" y="3429"/>
                  </a:lnTo>
                  <a:lnTo>
                    <a:pt x="19795" y="3445"/>
                  </a:lnTo>
                  <a:lnTo>
                    <a:pt x="19773" y="3456"/>
                  </a:lnTo>
                  <a:lnTo>
                    <a:pt x="19759" y="3466"/>
                  </a:lnTo>
                  <a:lnTo>
                    <a:pt x="19750" y="3476"/>
                  </a:lnTo>
                  <a:lnTo>
                    <a:pt x="19745" y="3485"/>
                  </a:lnTo>
                  <a:lnTo>
                    <a:pt x="19739" y="3510"/>
                  </a:lnTo>
                  <a:lnTo>
                    <a:pt x="19734" y="3526"/>
                  </a:lnTo>
                  <a:lnTo>
                    <a:pt x="19727" y="3547"/>
                  </a:lnTo>
                  <a:lnTo>
                    <a:pt x="19711" y="3570"/>
                  </a:lnTo>
                  <a:lnTo>
                    <a:pt x="19704" y="3579"/>
                  </a:lnTo>
                  <a:lnTo>
                    <a:pt x="19695" y="3584"/>
                  </a:lnTo>
                  <a:lnTo>
                    <a:pt x="19674" y="3590"/>
                  </a:lnTo>
                  <a:lnTo>
                    <a:pt x="19653" y="3593"/>
                  </a:lnTo>
                  <a:lnTo>
                    <a:pt x="19632" y="3593"/>
                  </a:lnTo>
                  <a:lnTo>
                    <a:pt x="19611" y="3594"/>
                  </a:lnTo>
                  <a:lnTo>
                    <a:pt x="19592" y="3601"/>
                  </a:lnTo>
                  <a:lnTo>
                    <a:pt x="19583" y="3606"/>
                  </a:lnTo>
                  <a:lnTo>
                    <a:pt x="19575" y="3612"/>
                  </a:lnTo>
                  <a:lnTo>
                    <a:pt x="19543" y="3647"/>
                  </a:lnTo>
                  <a:lnTo>
                    <a:pt x="19530" y="3659"/>
                  </a:lnTo>
                  <a:lnTo>
                    <a:pt x="19516" y="3668"/>
                  </a:lnTo>
                  <a:lnTo>
                    <a:pt x="19501" y="3675"/>
                  </a:lnTo>
                  <a:lnTo>
                    <a:pt x="19484" y="3676"/>
                  </a:lnTo>
                  <a:lnTo>
                    <a:pt x="19462" y="3671"/>
                  </a:lnTo>
                  <a:lnTo>
                    <a:pt x="19436" y="3661"/>
                  </a:lnTo>
                  <a:lnTo>
                    <a:pt x="19409" y="3649"/>
                  </a:lnTo>
                  <a:lnTo>
                    <a:pt x="19409" y="4083"/>
                  </a:lnTo>
                  <a:lnTo>
                    <a:pt x="19409" y="4086"/>
                  </a:lnTo>
                  <a:lnTo>
                    <a:pt x="19420" y="4099"/>
                  </a:lnTo>
                  <a:lnTo>
                    <a:pt x="19434" y="4109"/>
                  </a:lnTo>
                  <a:lnTo>
                    <a:pt x="19448" y="4117"/>
                  </a:lnTo>
                  <a:lnTo>
                    <a:pt x="19465" y="4118"/>
                  </a:lnTo>
                  <a:lnTo>
                    <a:pt x="19498" y="4115"/>
                  </a:lnTo>
                  <a:lnTo>
                    <a:pt x="19530" y="4104"/>
                  </a:lnTo>
                  <a:lnTo>
                    <a:pt x="19564" y="4095"/>
                  </a:lnTo>
                  <a:lnTo>
                    <a:pt x="19597" y="4090"/>
                  </a:lnTo>
                  <a:lnTo>
                    <a:pt x="19629" y="4093"/>
                  </a:lnTo>
                  <a:lnTo>
                    <a:pt x="19660" y="4098"/>
                  </a:lnTo>
                  <a:lnTo>
                    <a:pt x="19688" y="4106"/>
                  </a:lnTo>
                  <a:lnTo>
                    <a:pt x="19715" y="4116"/>
                  </a:lnTo>
                  <a:lnTo>
                    <a:pt x="19739" y="4130"/>
                  </a:lnTo>
                  <a:lnTo>
                    <a:pt x="19761" y="4144"/>
                  </a:lnTo>
                  <a:lnTo>
                    <a:pt x="19782" y="4161"/>
                  </a:lnTo>
                  <a:lnTo>
                    <a:pt x="19800" y="4178"/>
                  </a:lnTo>
                  <a:lnTo>
                    <a:pt x="19830" y="4217"/>
                  </a:lnTo>
                  <a:lnTo>
                    <a:pt x="19842" y="4236"/>
                  </a:lnTo>
                  <a:lnTo>
                    <a:pt x="19852" y="4255"/>
                  </a:lnTo>
                  <a:lnTo>
                    <a:pt x="19861" y="4274"/>
                  </a:lnTo>
                  <a:lnTo>
                    <a:pt x="19866" y="4292"/>
                  </a:lnTo>
                  <a:lnTo>
                    <a:pt x="19871" y="4309"/>
                  </a:lnTo>
                  <a:lnTo>
                    <a:pt x="19874" y="4324"/>
                  </a:lnTo>
                  <a:lnTo>
                    <a:pt x="20236" y="4324"/>
                  </a:lnTo>
                  <a:lnTo>
                    <a:pt x="20236" y="4017"/>
                  </a:lnTo>
                  <a:lnTo>
                    <a:pt x="20238" y="4008"/>
                  </a:lnTo>
                  <a:lnTo>
                    <a:pt x="20242" y="4002"/>
                  </a:lnTo>
                  <a:lnTo>
                    <a:pt x="20248" y="3998"/>
                  </a:lnTo>
                  <a:lnTo>
                    <a:pt x="20256" y="3997"/>
                  </a:lnTo>
                  <a:lnTo>
                    <a:pt x="20264" y="3998"/>
                  </a:lnTo>
                  <a:lnTo>
                    <a:pt x="20270" y="4002"/>
                  </a:lnTo>
                  <a:lnTo>
                    <a:pt x="20274" y="4008"/>
                  </a:lnTo>
                  <a:lnTo>
                    <a:pt x="20277" y="4017"/>
                  </a:lnTo>
                  <a:lnTo>
                    <a:pt x="20277" y="4324"/>
                  </a:lnTo>
                  <a:lnTo>
                    <a:pt x="20482" y="4324"/>
                  </a:lnTo>
                  <a:lnTo>
                    <a:pt x="20482" y="3670"/>
                  </a:lnTo>
                  <a:lnTo>
                    <a:pt x="20482" y="3016"/>
                  </a:lnTo>
                  <a:lnTo>
                    <a:pt x="20024" y="3016"/>
                  </a:lnTo>
                  <a:lnTo>
                    <a:pt x="20024" y="3584"/>
                  </a:lnTo>
                  <a:lnTo>
                    <a:pt x="20024" y="4152"/>
                  </a:lnTo>
                  <a:lnTo>
                    <a:pt x="20023" y="4161"/>
                  </a:lnTo>
                  <a:lnTo>
                    <a:pt x="20018" y="4167"/>
                  </a:lnTo>
                  <a:lnTo>
                    <a:pt x="20011" y="4171"/>
                  </a:lnTo>
                  <a:lnTo>
                    <a:pt x="20005" y="4172"/>
                  </a:lnTo>
                  <a:lnTo>
                    <a:pt x="19997" y="4171"/>
                  </a:lnTo>
                  <a:lnTo>
                    <a:pt x="19991" y="4167"/>
                  </a:lnTo>
                  <a:lnTo>
                    <a:pt x="19986" y="4161"/>
                  </a:lnTo>
                  <a:lnTo>
                    <a:pt x="19984" y="4152"/>
                  </a:lnTo>
                  <a:lnTo>
                    <a:pt x="19984" y="3451"/>
                  </a:lnTo>
                  <a:lnTo>
                    <a:pt x="19984" y="2750"/>
                  </a:lnTo>
                  <a:lnTo>
                    <a:pt x="19946" y="2750"/>
                  </a:lnTo>
                  <a:lnTo>
                    <a:pt x="19939" y="2748"/>
                  </a:lnTo>
                  <a:lnTo>
                    <a:pt x="19933" y="2744"/>
                  </a:lnTo>
                  <a:lnTo>
                    <a:pt x="19928" y="2737"/>
                  </a:lnTo>
                  <a:lnTo>
                    <a:pt x="19927" y="2730"/>
                  </a:lnTo>
                  <a:lnTo>
                    <a:pt x="19927" y="2576"/>
                  </a:lnTo>
                  <a:lnTo>
                    <a:pt x="19928" y="2569"/>
                  </a:lnTo>
                  <a:lnTo>
                    <a:pt x="19933" y="2562"/>
                  </a:lnTo>
                  <a:lnTo>
                    <a:pt x="19939" y="2558"/>
                  </a:lnTo>
                  <a:lnTo>
                    <a:pt x="19946" y="2556"/>
                  </a:lnTo>
                  <a:lnTo>
                    <a:pt x="19998" y="2556"/>
                  </a:lnTo>
                  <a:lnTo>
                    <a:pt x="20041" y="2500"/>
                  </a:lnTo>
                  <a:lnTo>
                    <a:pt x="20089" y="2443"/>
                  </a:lnTo>
                  <a:lnTo>
                    <a:pt x="20116" y="2418"/>
                  </a:lnTo>
                  <a:lnTo>
                    <a:pt x="20143" y="2391"/>
                  </a:lnTo>
                  <a:lnTo>
                    <a:pt x="20201" y="2340"/>
                  </a:lnTo>
                  <a:lnTo>
                    <a:pt x="20264" y="2292"/>
                  </a:lnTo>
                  <a:lnTo>
                    <a:pt x="20331" y="2246"/>
                  </a:lnTo>
                  <a:lnTo>
                    <a:pt x="20402" y="2203"/>
                  </a:lnTo>
                  <a:lnTo>
                    <a:pt x="20477" y="2163"/>
                  </a:lnTo>
                  <a:lnTo>
                    <a:pt x="20556" y="2126"/>
                  </a:lnTo>
                  <a:lnTo>
                    <a:pt x="20638" y="2092"/>
                  </a:lnTo>
                  <a:lnTo>
                    <a:pt x="20681" y="2075"/>
                  </a:lnTo>
                  <a:lnTo>
                    <a:pt x="20724" y="2060"/>
                  </a:lnTo>
                  <a:lnTo>
                    <a:pt x="20813" y="2033"/>
                  </a:lnTo>
                  <a:lnTo>
                    <a:pt x="20904" y="2009"/>
                  </a:lnTo>
                  <a:lnTo>
                    <a:pt x="20999" y="1987"/>
                  </a:lnTo>
                  <a:lnTo>
                    <a:pt x="21095" y="1970"/>
                  </a:lnTo>
                  <a:lnTo>
                    <a:pt x="21194" y="1956"/>
                  </a:lnTo>
                  <a:lnTo>
                    <a:pt x="21194" y="1775"/>
                  </a:lnTo>
                  <a:lnTo>
                    <a:pt x="21196" y="1759"/>
                  </a:lnTo>
                  <a:lnTo>
                    <a:pt x="21200" y="1744"/>
                  </a:lnTo>
                  <a:lnTo>
                    <a:pt x="21209" y="1730"/>
                  </a:lnTo>
                  <a:lnTo>
                    <a:pt x="21219" y="1717"/>
                  </a:lnTo>
                  <a:lnTo>
                    <a:pt x="21232" y="1705"/>
                  </a:lnTo>
                  <a:lnTo>
                    <a:pt x="21247" y="1694"/>
                  </a:lnTo>
                  <a:lnTo>
                    <a:pt x="21265" y="1684"/>
                  </a:lnTo>
                  <a:lnTo>
                    <a:pt x="21285" y="1675"/>
                  </a:lnTo>
                  <a:lnTo>
                    <a:pt x="21329" y="1659"/>
                  </a:lnTo>
                  <a:lnTo>
                    <a:pt x="21378" y="1648"/>
                  </a:lnTo>
                  <a:lnTo>
                    <a:pt x="21429" y="1642"/>
                  </a:lnTo>
                  <a:lnTo>
                    <a:pt x="21483" y="1639"/>
                  </a:lnTo>
                  <a:lnTo>
                    <a:pt x="21537" y="1642"/>
                  </a:lnTo>
                  <a:lnTo>
                    <a:pt x="21590" y="1648"/>
                  </a:lnTo>
                  <a:lnTo>
                    <a:pt x="21614" y="1653"/>
                  </a:lnTo>
                  <a:lnTo>
                    <a:pt x="21638" y="1659"/>
                  </a:lnTo>
                  <a:lnTo>
                    <a:pt x="21660" y="1666"/>
                  </a:lnTo>
                  <a:lnTo>
                    <a:pt x="21682" y="1675"/>
                  </a:lnTo>
                  <a:lnTo>
                    <a:pt x="21719" y="1694"/>
                  </a:lnTo>
                  <a:lnTo>
                    <a:pt x="21747" y="1717"/>
                  </a:lnTo>
                  <a:lnTo>
                    <a:pt x="21759" y="1730"/>
                  </a:lnTo>
                  <a:lnTo>
                    <a:pt x="21767" y="1744"/>
                  </a:lnTo>
                  <a:lnTo>
                    <a:pt x="21772" y="1759"/>
                  </a:lnTo>
                  <a:lnTo>
                    <a:pt x="21773" y="1775"/>
                  </a:lnTo>
                  <a:lnTo>
                    <a:pt x="21773" y="1956"/>
                  </a:lnTo>
                  <a:lnTo>
                    <a:pt x="21872" y="1970"/>
                  </a:lnTo>
                  <a:lnTo>
                    <a:pt x="21969" y="1987"/>
                  </a:lnTo>
                  <a:lnTo>
                    <a:pt x="22063" y="2009"/>
                  </a:lnTo>
                  <a:lnTo>
                    <a:pt x="22155" y="2033"/>
                  </a:lnTo>
                  <a:lnTo>
                    <a:pt x="22244" y="2060"/>
                  </a:lnTo>
                  <a:lnTo>
                    <a:pt x="22328" y="2092"/>
                  </a:lnTo>
                  <a:lnTo>
                    <a:pt x="22412" y="2126"/>
                  </a:lnTo>
                  <a:lnTo>
                    <a:pt x="22490" y="2163"/>
                  </a:lnTo>
                  <a:lnTo>
                    <a:pt x="22566" y="2203"/>
                  </a:lnTo>
                  <a:lnTo>
                    <a:pt x="22601" y="2225"/>
                  </a:lnTo>
                  <a:lnTo>
                    <a:pt x="22636" y="2246"/>
                  </a:lnTo>
                  <a:lnTo>
                    <a:pt x="22703" y="2292"/>
                  </a:lnTo>
                  <a:lnTo>
                    <a:pt x="22766" y="2340"/>
                  </a:lnTo>
                  <a:lnTo>
                    <a:pt x="22795" y="2365"/>
                  </a:lnTo>
                  <a:lnTo>
                    <a:pt x="22825" y="2391"/>
                  </a:lnTo>
                  <a:lnTo>
                    <a:pt x="22877" y="2445"/>
                  </a:lnTo>
                  <a:lnTo>
                    <a:pt x="22926" y="2500"/>
                  </a:lnTo>
                  <a:lnTo>
                    <a:pt x="22969" y="2556"/>
                  </a:lnTo>
                  <a:lnTo>
                    <a:pt x="23021" y="2556"/>
                  </a:lnTo>
                  <a:lnTo>
                    <a:pt x="23028" y="2558"/>
                  </a:lnTo>
                  <a:lnTo>
                    <a:pt x="23035" y="2562"/>
                  </a:lnTo>
                  <a:lnTo>
                    <a:pt x="23039" y="2569"/>
                  </a:lnTo>
                  <a:lnTo>
                    <a:pt x="23040" y="2576"/>
                  </a:lnTo>
                  <a:lnTo>
                    <a:pt x="23040" y="2730"/>
                  </a:lnTo>
                  <a:lnTo>
                    <a:pt x="23039" y="2737"/>
                  </a:lnTo>
                  <a:lnTo>
                    <a:pt x="23035" y="2744"/>
                  </a:lnTo>
                  <a:lnTo>
                    <a:pt x="23028" y="2748"/>
                  </a:lnTo>
                  <a:lnTo>
                    <a:pt x="23021" y="2750"/>
                  </a:lnTo>
                  <a:lnTo>
                    <a:pt x="22982" y="2750"/>
                  </a:lnTo>
                  <a:lnTo>
                    <a:pt x="22982" y="3547"/>
                  </a:lnTo>
                  <a:lnTo>
                    <a:pt x="22982" y="4345"/>
                  </a:lnTo>
                  <a:lnTo>
                    <a:pt x="22981" y="4352"/>
                  </a:lnTo>
                  <a:lnTo>
                    <a:pt x="22977" y="4359"/>
                  </a:lnTo>
                  <a:lnTo>
                    <a:pt x="22971" y="4363"/>
                  </a:lnTo>
                  <a:lnTo>
                    <a:pt x="22963" y="4365"/>
                  </a:lnTo>
                  <a:lnTo>
                    <a:pt x="22717" y="4365"/>
                  </a:lnTo>
                  <a:lnTo>
                    <a:pt x="21733" y="4365"/>
                  </a:lnTo>
                  <a:lnTo>
                    <a:pt x="21241" y="4365"/>
                  </a:lnTo>
                  <a:lnTo>
                    <a:pt x="20749" y="4365"/>
                  </a:lnTo>
                  <a:lnTo>
                    <a:pt x="20257" y="4365"/>
                  </a:lnTo>
                  <a:lnTo>
                    <a:pt x="19865" y="4365"/>
                  </a:lnTo>
                  <a:lnTo>
                    <a:pt x="19859" y="4368"/>
                  </a:lnTo>
                  <a:lnTo>
                    <a:pt x="19852" y="4369"/>
                  </a:lnTo>
                  <a:lnTo>
                    <a:pt x="18987" y="4369"/>
                  </a:lnTo>
                  <a:lnTo>
                    <a:pt x="18122" y="4369"/>
                  </a:lnTo>
                  <a:lnTo>
                    <a:pt x="18119" y="4369"/>
                  </a:lnTo>
                  <a:lnTo>
                    <a:pt x="17558" y="4369"/>
                  </a:lnTo>
                  <a:lnTo>
                    <a:pt x="17549" y="4366"/>
                  </a:lnTo>
                  <a:lnTo>
                    <a:pt x="17543" y="4363"/>
                  </a:lnTo>
                  <a:lnTo>
                    <a:pt x="17540" y="4356"/>
                  </a:lnTo>
                  <a:lnTo>
                    <a:pt x="17539" y="4349"/>
                  </a:lnTo>
                  <a:lnTo>
                    <a:pt x="17540" y="4341"/>
                  </a:lnTo>
                  <a:lnTo>
                    <a:pt x="17543" y="4334"/>
                  </a:lnTo>
                  <a:lnTo>
                    <a:pt x="17549" y="4331"/>
                  </a:lnTo>
                  <a:lnTo>
                    <a:pt x="17558" y="4329"/>
                  </a:lnTo>
                  <a:lnTo>
                    <a:pt x="18096" y="4329"/>
                  </a:lnTo>
                  <a:lnTo>
                    <a:pt x="18092" y="4305"/>
                  </a:lnTo>
                  <a:lnTo>
                    <a:pt x="18090" y="4287"/>
                  </a:lnTo>
                  <a:lnTo>
                    <a:pt x="18094" y="4262"/>
                  </a:lnTo>
                  <a:lnTo>
                    <a:pt x="18103" y="4237"/>
                  </a:lnTo>
                  <a:lnTo>
                    <a:pt x="18116" y="4216"/>
                  </a:lnTo>
                  <a:lnTo>
                    <a:pt x="18134" y="4196"/>
                  </a:lnTo>
                  <a:lnTo>
                    <a:pt x="18155" y="4178"/>
                  </a:lnTo>
                  <a:lnTo>
                    <a:pt x="18178" y="4162"/>
                  </a:lnTo>
                  <a:lnTo>
                    <a:pt x="18230" y="4131"/>
                  </a:lnTo>
                  <a:lnTo>
                    <a:pt x="18213" y="3595"/>
                  </a:lnTo>
                  <a:lnTo>
                    <a:pt x="18197" y="3061"/>
                  </a:lnTo>
                  <a:lnTo>
                    <a:pt x="17607" y="2249"/>
                  </a:lnTo>
                  <a:lnTo>
                    <a:pt x="17579" y="2705"/>
                  </a:lnTo>
                  <a:lnTo>
                    <a:pt x="17576" y="2714"/>
                  </a:lnTo>
                  <a:lnTo>
                    <a:pt x="17571" y="2719"/>
                  </a:lnTo>
                  <a:lnTo>
                    <a:pt x="17557" y="2725"/>
                  </a:lnTo>
                  <a:lnTo>
                    <a:pt x="17551" y="2722"/>
                  </a:lnTo>
                  <a:lnTo>
                    <a:pt x="17544" y="2718"/>
                  </a:lnTo>
                  <a:lnTo>
                    <a:pt x="17540" y="2712"/>
                  </a:lnTo>
                  <a:lnTo>
                    <a:pt x="17539" y="2703"/>
                  </a:lnTo>
                  <a:lnTo>
                    <a:pt x="17570" y="2195"/>
                  </a:lnTo>
                  <a:lnTo>
                    <a:pt x="17571" y="2188"/>
                  </a:lnTo>
                  <a:lnTo>
                    <a:pt x="17597" y="1763"/>
                  </a:lnTo>
                  <a:lnTo>
                    <a:pt x="17597" y="1755"/>
                  </a:lnTo>
                  <a:lnTo>
                    <a:pt x="17640" y="1058"/>
                  </a:lnTo>
                  <a:lnTo>
                    <a:pt x="17622" y="1058"/>
                  </a:lnTo>
                  <a:lnTo>
                    <a:pt x="17615" y="1057"/>
                  </a:lnTo>
                  <a:lnTo>
                    <a:pt x="17608" y="1053"/>
                  </a:lnTo>
                  <a:lnTo>
                    <a:pt x="17604" y="1047"/>
                  </a:lnTo>
                  <a:lnTo>
                    <a:pt x="17603" y="1039"/>
                  </a:lnTo>
                  <a:lnTo>
                    <a:pt x="17603" y="943"/>
                  </a:lnTo>
                  <a:lnTo>
                    <a:pt x="17604" y="936"/>
                  </a:lnTo>
                  <a:lnTo>
                    <a:pt x="17608" y="929"/>
                  </a:lnTo>
                  <a:lnTo>
                    <a:pt x="17615" y="925"/>
                  </a:lnTo>
                  <a:lnTo>
                    <a:pt x="17622" y="924"/>
                  </a:lnTo>
                  <a:lnTo>
                    <a:pt x="18192" y="924"/>
                  </a:lnTo>
                  <a:lnTo>
                    <a:pt x="18199" y="925"/>
                  </a:lnTo>
                  <a:lnTo>
                    <a:pt x="18206" y="929"/>
                  </a:lnTo>
                  <a:lnTo>
                    <a:pt x="18211" y="936"/>
                  </a:lnTo>
                  <a:lnTo>
                    <a:pt x="18212" y="943"/>
                  </a:lnTo>
                  <a:lnTo>
                    <a:pt x="18212" y="1039"/>
                  </a:lnTo>
                  <a:lnTo>
                    <a:pt x="18211" y="1047"/>
                  </a:lnTo>
                  <a:lnTo>
                    <a:pt x="18206" y="1053"/>
                  </a:lnTo>
                  <a:lnTo>
                    <a:pt x="18199" y="1057"/>
                  </a:lnTo>
                  <a:lnTo>
                    <a:pt x="18192" y="1058"/>
                  </a:lnTo>
                  <a:lnTo>
                    <a:pt x="18174" y="1058"/>
                  </a:lnTo>
                  <a:lnTo>
                    <a:pt x="18201" y="1919"/>
                  </a:lnTo>
                  <a:lnTo>
                    <a:pt x="18930" y="1919"/>
                  </a:lnTo>
                  <a:lnTo>
                    <a:pt x="19661" y="1919"/>
                  </a:lnTo>
                  <a:lnTo>
                    <a:pt x="19698" y="1158"/>
                  </a:lnTo>
                  <a:lnTo>
                    <a:pt x="19736" y="399"/>
                  </a:lnTo>
                  <a:lnTo>
                    <a:pt x="19738" y="392"/>
                  </a:lnTo>
                  <a:lnTo>
                    <a:pt x="19742" y="386"/>
                  </a:lnTo>
                  <a:lnTo>
                    <a:pt x="19748" y="382"/>
                  </a:lnTo>
                  <a:lnTo>
                    <a:pt x="19756" y="381"/>
                  </a:lnTo>
                  <a:lnTo>
                    <a:pt x="20084" y="381"/>
                  </a:lnTo>
                  <a:lnTo>
                    <a:pt x="20092" y="382"/>
                  </a:lnTo>
                  <a:lnTo>
                    <a:pt x="20098" y="386"/>
                  </a:lnTo>
                  <a:lnTo>
                    <a:pt x="20102" y="392"/>
                  </a:lnTo>
                  <a:lnTo>
                    <a:pt x="20105" y="399"/>
                  </a:lnTo>
                  <a:lnTo>
                    <a:pt x="20142" y="1126"/>
                  </a:lnTo>
                  <a:lnTo>
                    <a:pt x="20181" y="1855"/>
                  </a:lnTo>
                  <a:lnTo>
                    <a:pt x="20179" y="1864"/>
                  </a:lnTo>
                  <a:lnTo>
                    <a:pt x="20175" y="1870"/>
                  </a:lnTo>
                  <a:lnTo>
                    <a:pt x="20169" y="1874"/>
                  </a:lnTo>
                  <a:lnTo>
                    <a:pt x="20161" y="1877"/>
                  </a:lnTo>
                  <a:lnTo>
                    <a:pt x="20147" y="1872"/>
                  </a:lnTo>
                  <a:lnTo>
                    <a:pt x="20143" y="1867"/>
                  </a:lnTo>
                  <a:lnTo>
                    <a:pt x="20141" y="1858"/>
                  </a:lnTo>
                  <a:lnTo>
                    <a:pt x="20102" y="1139"/>
                  </a:lnTo>
                  <a:lnTo>
                    <a:pt x="20065" y="420"/>
                  </a:lnTo>
                  <a:lnTo>
                    <a:pt x="19775" y="420"/>
                  </a:lnTo>
                  <a:lnTo>
                    <a:pt x="19737" y="1180"/>
                  </a:lnTo>
                  <a:lnTo>
                    <a:pt x="19700" y="1939"/>
                  </a:lnTo>
                  <a:lnTo>
                    <a:pt x="19700" y="1942"/>
                  </a:lnTo>
                  <a:lnTo>
                    <a:pt x="19698" y="1947"/>
                  </a:lnTo>
                  <a:lnTo>
                    <a:pt x="19695" y="1952"/>
                  </a:lnTo>
                  <a:lnTo>
                    <a:pt x="19688" y="1956"/>
                  </a:lnTo>
                  <a:lnTo>
                    <a:pt x="19682" y="1959"/>
                  </a:lnTo>
                  <a:lnTo>
                    <a:pt x="18942" y="1959"/>
                  </a:lnTo>
                  <a:lnTo>
                    <a:pt x="18202" y="1959"/>
                  </a:lnTo>
                  <a:lnTo>
                    <a:pt x="18221" y="2560"/>
                  </a:lnTo>
                  <a:lnTo>
                    <a:pt x="18221" y="2567"/>
                  </a:lnTo>
                  <a:lnTo>
                    <a:pt x="18244" y="3338"/>
                  </a:lnTo>
                  <a:lnTo>
                    <a:pt x="18269" y="4111"/>
                  </a:lnTo>
                  <a:lnTo>
                    <a:pt x="18320" y="4081"/>
                  </a:lnTo>
                  <a:lnTo>
                    <a:pt x="18342" y="4066"/>
                  </a:lnTo>
                  <a:lnTo>
                    <a:pt x="18361" y="4049"/>
                  </a:lnTo>
                  <a:lnTo>
                    <a:pt x="18392" y="4015"/>
                  </a:lnTo>
                  <a:lnTo>
                    <a:pt x="18419" y="3976"/>
                  </a:lnTo>
                  <a:lnTo>
                    <a:pt x="18447" y="3936"/>
                  </a:lnTo>
                  <a:lnTo>
                    <a:pt x="18475" y="3897"/>
                  </a:lnTo>
                  <a:lnTo>
                    <a:pt x="18506" y="3863"/>
                  </a:lnTo>
                  <a:lnTo>
                    <a:pt x="18524" y="3849"/>
                  </a:lnTo>
                  <a:lnTo>
                    <a:pt x="18542" y="3835"/>
                  </a:lnTo>
                  <a:lnTo>
                    <a:pt x="18562" y="3824"/>
                  </a:lnTo>
                  <a:lnTo>
                    <a:pt x="18585" y="3817"/>
                  </a:lnTo>
                  <a:lnTo>
                    <a:pt x="18610" y="3811"/>
                  </a:lnTo>
                  <a:lnTo>
                    <a:pt x="18637" y="3810"/>
                  </a:lnTo>
                  <a:lnTo>
                    <a:pt x="18656" y="3811"/>
                  </a:lnTo>
                  <a:lnTo>
                    <a:pt x="18673" y="3817"/>
                  </a:lnTo>
                  <a:lnTo>
                    <a:pt x="18702" y="3831"/>
                  </a:lnTo>
                  <a:lnTo>
                    <a:pt x="18702" y="3827"/>
                  </a:lnTo>
                  <a:lnTo>
                    <a:pt x="18702" y="3086"/>
                  </a:lnTo>
                  <a:lnTo>
                    <a:pt x="18664" y="3083"/>
                  </a:lnTo>
                  <a:lnTo>
                    <a:pt x="18625" y="3075"/>
                  </a:lnTo>
                  <a:lnTo>
                    <a:pt x="18588" y="3065"/>
                  </a:lnTo>
                  <a:lnTo>
                    <a:pt x="18553" y="3051"/>
                  </a:lnTo>
                  <a:lnTo>
                    <a:pt x="18519" y="3033"/>
                  </a:lnTo>
                  <a:lnTo>
                    <a:pt x="18488" y="3012"/>
                  </a:lnTo>
                  <a:lnTo>
                    <a:pt x="18458" y="2989"/>
                  </a:lnTo>
                  <a:lnTo>
                    <a:pt x="18431" y="2964"/>
                  </a:lnTo>
                  <a:lnTo>
                    <a:pt x="18407" y="2936"/>
                  </a:lnTo>
                  <a:lnTo>
                    <a:pt x="18385" y="2905"/>
                  </a:lnTo>
                  <a:lnTo>
                    <a:pt x="18366" y="2873"/>
                  </a:lnTo>
                  <a:lnTo>
                    <a:pt x="18349" y="2838"/>
                  </a:lnTo>
                  <a:lnTo>
                    <a:pt x="18337" y="2803"/>
                  </a:lnTo>
                  <a:lnTo>
                    <a:pt x="18328" y="2766"/>
                  </a:lnTo>
                  <a:lnTo>
                    <a:pt x="18322" y="2726"/>
                  </a:lnTo>
                  <a:lnTo>
                    <a:pt x="18320" y="2686"/>
                  </a:lnTo>
                  <a:lnTo>
                    <a:pt x="18322" y="2645"/>
                  </a:lnTo>
                  <a:lnTo>
                    <a:pt x="18328" y="2606"/>
                  </a:lnTo>
                  <a:lnTo>
                    <a:pt x="18338" y="2567"/>
                  </a:lnTo>
                  <a:lnTo>
                    <a:pt x="18352" y="2530"/>
                  </a:lnTo>
                  <a:lnTo>
                    <a:pt x="18369" y="2496"/>
                  </a:lnTo>
                  <a:lnTo>
                    <a:pt x="18388" y="2462"/>
                  </a:lnTo>
                  <a:lnTo>
                    <a:pt x="18412" y="2432"/>
                  </a:lnTo>
                  <a:lnTo>
                    <a:pt x="18438" y="2404"/>
                  </a:lnTo>
                  <a:lnTo>
                    <a:pt x="18466" y="2377"/>
                  </a:lnTo>
                  <a:lnTo>
                    <a:pt x="18497" y="2354"/>
                  </a:lnTo>
                  <a:lnTo>
                    <a:pt x="18530" y="2335"/>
                  </a:lnTo>
                  <a:lnTo>
                    <a:pt x="18565" y="2317"/>
                  </a:lnTo>
                  <a:lnTo>
                    <a:pt x="18602" y="2304"/>
                  </a:lnTo>
                  <a:lnTo>
                    <a:pt x="18640" y="2294"/>
                  </a:lnTo>
                  <a:lnTo>
                    <a:pt x="18680" y="2287"/>
                  </a:lnTo>
                  <a:lnTo>
                    <a:pt x="18721" y="2286"/>
                  </a:lnTo>
                  <a:lnTo>
                    <a:pt x="18764" y="2287"/>
                  </a:lnTo>
                  <a:lnTo>
                    <a:pt x="18803" y="2294"/>
                  </a:lnTo>
                  <a:lnTo>
                    <a:pt x="18842" y="2304"/>
                  </a:lnTo>
                  <a:lnTo>
                    <a:pt x="18879" y="2318"/>
                  </a:lnTo>
                  <a:lnTo>
                    <a:pt x="18914" y="2335"/>
                  </a:lnTo>
                  <a:lnTo>
                    <a:pt x="18947" y="2355"/>
                  </a:lnTo>
                  <a:lnTo>
                    <a:pt x="18978" y="2378"/>
                  </a:lnTo>
                  <a:lnTo>
                    <a:pt x="19007" y="2404"/>
                  </a:lnTo>
                  <a:lnTo>
                    <a:pt x="19033" y="2433"/>
                  </a:lnTo>
                  <a:lnTo>
                    <a:pt x="19056" y="2464"/>
                  </a:lnTo>
                  <a:lnTo>
                    <a:pt x="19075" y="2497"/>
                  </a:lnTo>
                  <a:lnTo>
                    <a:pt x="19092" y="2532"/>
                  </a:lnTo>
                  <a:lnTo>
                    <a:pt x="19106" y="2569"/>
                  </a:lnTo>
                  <a:lnTo>
                    <a:pt x="19115" y="2607"/>
                  </a:lnTo>
                  <a:lnTo>
                    <a:pt x="19121" y="2645"/>
                  </a:lnTo>
                  <a:lnTo>
                    <a:pt x="19124" y="2686"/>
                  </a:lnTo>
                  <a:lnTo>
                    <a:pt x="19121" y="2695"/>
                  </a:lnTo>
                  <a:lnTo>
                    <a:pt x="19118" y="2702"/>
                  </a:lnTo>
                  <a:lnTo>
                    <a:pt x="19111" y="2705"/>
                  </a:lnTo>
                  <a:lnTo>
                    <a:pt x="19103" y="2707"/>
                  </a:lnTo>
                  <a:lnTo>
                    <a:pt x="19096" y="2705"/>
                  </a:lnTo>
                  <a:lnTo>
                    <a:pt x="19089" y="2702"/>
                  </a:lnTo>
                  <a:lnTo>
                    <a:pt x="19085" y="2695"/>
                  </a:lnTo>
                  <a:lnTo>
                    <a:pt x="19083" y="2686"/>
                  </a:lnTo>
                  <a:lnTo>
                    <a:pt x="19082" y="2650"/>
                  </a:lnTo>
                  <a:lnTo>
                    <a:pt x="19076" y="2615"/>
                  </a:lnTo>
                  <a:lnTo>
                    <a:pt x="19067" y="2580"/>
                  </a:lnTo>
                  <a:lnTo>
                    <a:pt x="19055" y="2547"/>
                  </a:lnTo>
                  <a:lnTo>
                    <a:pt x="19041" y="2515"/>
                  </a:lnTo>
                  <a:lnTo>
                    <a:pt x="19023" y="2485"/>
                  </a:lnTo>
                  <a:lnTo>
                    <a:pt x="19002" y="2457"/>
                  </a:lnTo>
                  <a:lnTo>
                    <a:pt x="18978" y="2432"/>
                  </a:lnTo>
                  <a:lnTo>
                    <a:pt x="18952" y="2409"/>
                  </a:lnTo>
                  <a:lnTo>
                    <a:pt x="18925" y="2388"/>
                  </a:lnTo>
                  <a:lnTo>
                    <a:pt x="18894" y="2369"/>
                  </a:lnTo>
                  <a:lnTo>
                    <a:pt x="18864" y="2354"/>
                  </a:lnTo>
                  <a:lnTo>
                    <a:pt x="18830" y="2342"/>
                  </a:lnTo>
                  <a:lnTo>
                    <a:pt x="18796" y="2333"/>
                  </a:lnTo>
                  <a:lnTo>
                    <a:pt x="18758" y="2328"/>
                  </a:lnTo>
                  <a:lnTo>
                    <a:pt x="18721" y="2326"/>
                  </a:lnTo>
                  <a:lnTo>
                    <a:pt x="18684" y="2328"/>
                  </a:lnTo>
                  <a:lnTo>
                    <a:pt x="18648" y="2333"/>
                  </a:lnTo>
                  <a:lnTo>
                    <a:pt x="18614" y="2342"/>
                  </a:lnTo>
                  <a:lnTo>
                    <a:pt x="18580" y="2354"/>
                  </a:lnTo>
                  <a:lnTo>
                    <a:pt x="18549" y="2369"/>
                  </a:lnTo>
                  <a:lnTo>
                    <a:pt x="18520" y="2387"/>
                  </a:lnTo>
                  <a:lnTo>
                    <a:pt x="18492" y="2407"/>
                  </a:lnTo>
                  <a:lnTo>
                    <a:pt x="18466" y="2432"/>
                  </a:lnTo>
                  <a:lnTo>
                    <a:pt x="18443" y="2457"/>
                  </a:lnTo>
                  <a:lnTo>
                    <a:pt x="18421" y="2484"/>
                  </a:lnTo>
                  <a:lnTo>
                    <a:pt x="18403" y="2515"/>
                  </a:lnTo>
                  <a:lnTo>
                    <a:pt x="18388" y="2546"/>
                  </a:lnTo>
                  <a:lnTo>
                    <a:pt x="18381" y="2562"/>
                  </a:lnTo>
                  <a:lnTo>
                    <a:pt x="18376" y="2579"/>
                  </a:lnTo>
                  <a:lnTo>
                    <a:pt x="18367" y="2613"/>
                  </a:lnTo>
                  <a:lnTo>
                    <a:pt x="18362" y="2649"/>
                  </a:lnTo>
                  <a:lnTo>
                    <a:pt x="18360" y="2686"/>
                  </a:lnTo>
                  <a:lnTo>
                    <a:pt x="18362" y="2722"/>
                  </a:lnTo>
                  <a:lnTo>
                    <a:pt x="18367" y="2757"/>
                  </a:lnTo>
                  <a:lnTo>
                    <a:pt x="18375" y="2790"/>
                  </a:lnTo>
                  <a:lnTo>
                    <a:pt x="18387" y="2823"/>
                  </a:lnTo>
                  <a:lnTo>
                    <a:pt x="18401" y="2854"/>
                  </a:lnTo>
                  <a:lnTo>
                    <a:pt x="18417" y="2882"/>
                  </a:lnTo>
                  <a:lnTo>
                    <a:pt x="18438" y="2910"/>
                  </a:lnTo>
                  <a:lnTo>
                    <a:pt x="18460" y="2936"/>
                  </a:lnTo>
                  <a:lnTo>
                    <a:pt x="18484" y="2959"/>
                  </a:lnTo>
                  <a:lnTo>
                    <a:pt x="18510" y="2979"/>
                  </a:lnTo>
                  <a:lnTo>
                    <a:pt x="18538" y="2997"/>
                  </a:lnTo>
                  <a:lnTo>
                    <a:pt x="18569" y="3014"/>
                  </a:lnTo>
                  <a:lnTo>
                    <a:pt x="18599" y="3026"/>
                  </a:lnTo>
                  <a:lnTo>
                    <a:pt x="18633" y="3037"/>
                  </a:lnTo>
                  <a:lnTo>
                    <a:pt x="18667" y="3043"/>
                  </a:lnTo>
                  <a:lnTo>
                    <a:pt x="18702" y="3047"/>
                  </a:lnTo>
                  <a:lnTo>
                    <a:pt x="18702" y="3011"/>
                  </a:lnTo>
                  <a:lnTo>
                    <a:pt x="18701" y="3008"/>
                  </a:lnTo>
                  <a:lnTo>
                    <a:pt x="18597" y="2865"/>
                  </a:lnTo>
                  <a:lnTo>
                    <a:pt x="18593" y="2858"/>
                  </a:lnTo>
                  <a:lnTo>
                    <a:pt x="18593" y="2850"/>
                  </a:lnTo>
                  <a:lnTo>
                    <a:pt x="18596" y="2842"/>
                  </a:lnTo>
                  <a:lnTo>
                    <a:pt x="18601" y="2837"/>
                  </a:lnTo>
                  <a:lnTo>
                    <a:pt x="18607" y="2835"/>
                  </a:lnTo>
                  <a:lnTo>
                    <a:pt x="18615" y="2833"/>
                  </a:lnTo>
                  <a:lnTo>
                    <a:pt x="18623" y="2836"/>
                  </a:lnTo>
                  <a:lnTo>
                    <a:pt x="18629" y="2842"/>
                  </a:lnTo>
                  <a:lnTo>
                    <a:pt x="18702" y="2943"/>
                  </a:lnTo>
                  <a:lnTo>
                    <a:pt x="18702" y="2901"/>
                  </a:lnTo>
                  <a:lnTo>
                    <a:pt x="18702" y="2895"/>
                  </a:lnTo>
                  <a:lnTo>
                    <a:pt x="18702" y="2744"/>
                  </a:lnTo>
                  <a:lnTo>
                    <a:pt x="18606" y="2611"/>
                  </a:lnTo>
                  <a:lnTo>
                    <a:pt x="18602" y="2603"/>
                  </a:lnTo>
                  <a:lnTo>
                    <a:pt x="18602" y="2595"/>
                  </a:lnTo>
                  <a:lnTo>
                    <a:pt x="18606" y="2588"/>
                  </a:lnTo>
                  <a:lnTo>
                    <a:pt x="18611" y="2583"/>
                  </a:lnTo>
                  <a:lnTo>
                    <a:pt x="18617" y="2580"/>
                  </a:lnTo>
                  <a:lnTo>
                    <a:pt x="18625" y="2579"/>
                  </a:lnTo>
                  <a:lnTo>
                    <a:pt x="18633" y="2581"/>
                  </a:lnTo>
                  <a:lnTo>
                    <a:pt x="18639" y="2588"/>
                  </a:lnTo>
                  <a:lnTo>
                    <a:pt x="18702" y="2675"/>
                  </a:lnTo>
                  <a:lnTo>
                    <a:pt x="18702" y="2599"/>
                  </a:lnTo>
                  <a:lnTo>
                    <a:pt x="18705" y="2590"/>
                  </a:lnTo>
                  <a:lnTo>
                    <a:pt x="18708" y="2584"/>
                  </a:lnTo>
                  <a:lnTo>
                    <a:pt x="18715" y="2580"/>
                  </a:lnTo>
                  <a:lnTo>
                    <a:pt x="18723" y="2579"/>
                  </a:lnTo>
                  <a:lnTo>
                    <a:pt x="18730" y="2580"/>
                  </a:lnTo>
                  <a:lnTo>
                    <a:pt x="18737" y="2584"/>
                  </a:lnTo>
                  <a:lnTo>
                    <a:pt x="18741" y="2590"/>
                  </a:lnTo>
                  <a:lnTo>
                    <a:pt x="18742" y="2599"/>
                  </a:lnTo>
                  <a:lnTo>
                    <a:pt x="18742" y="2734"/>
                  </a:lnTo>
                  <a:lnTo>
                    <a:pt x="18742" y="2740"/>
                  </a:lnTo>
                  <a:lnTo>
                    <a:pt x="18742" y="2836"/>
                  </a:lnTo>
                  <a:lnTo>
                    <a:pt x="18828" y="2718"/>
                  </a:lnTo>
                  <a:lnTo>
                    <a:pt x="18834" y="2712"/>
                  </a:lnTo>
                  <a:lnTo>
                    <a:pt x="18842" y="2711"/>
                  </a:lnTo>
                  <a:lnTo>
                    <a:pt x="18856" y="2714"/>
                  </a:lnTo>
                  <a:lnTo>
                    <a:pt x="18861" y="2719"/>
                  </a:lnTo>
                  <a:lnTo>
                    <a:pt x="18864" y="2726"/>
                  </a:lnTo>
                  <a:lnTo>
                    <a:pt x="18864" y="2734"/>
                  </a:lnTo>
                  <a:lnTo>
                    <a:pt x="18860" y="2743"/>
                  </a:lnTo>
                  <a:close/>
                  <a:moveTo>
                    <a:pt x="20006" y="2597"/>
                  </a:moveTo>
                  <a:lnTo>
                    <a:pt x="19966" y="2597"/>
                  </a:lnTo>
                  <a:lnTo>
                    <a:pt x="19966" y="2709"/>
                  </a:lnTo>
                  <a:lnTo>
                    <a:pt x="20724" y="2709"/>
                  </a:lnTo>
                  <a:lnTo>
                    <a:pt x="21483" y="2709"/>
                  </a:lnTo>
                  <a:lnTo>
                    <a:pt x="22241" y="2709"/>
                  </a:lnTo>
                  <a:lnTo>
                    <a:pt x="23000" y="2709"/>
                  </a:lnTo>
                  <a:lnTo>
                    <a:pt x="23000" y="2597"/>
                  </a:lnTo>
                  <a:lnTo>
                    <a:pt x="22962" y="2597"/>
                  </a:lnTo>
                  <a:lnTo>
                    <a:pt x="22954" y="2597"/>
                  </a:lnTo>
                  <a:lnTo>
                    <a:pt x="22218" y="2597"/>
                  </a:lnTo>
                  <a:lnTo>
                    <a:pt x="21483" y="2597"/>
                  </a:lnTo>
                  <a:lnTo>
                    <a:pt x="20747" y="2597"/>
                  </a:lnTo>
                  <a:lnTo>
                    <a:pt x="20013" y="2597"/>
                  </a:lnTo>
                  <a:lnTo>
                    <a:pt x="20006" y="2597"/>
                  </a:lnTo>
                  <a:close/>
                  <a:moveTo>
                    <a:pt x="19369" y="3221"/>
                  </a:moveTo>
                  <a:lnTo>
                    <a:pt x="19369" y="3011"/>
                  </a:lnTo>
                  <a:lnTo>
                    <a:pt x="19370" y="3002"/>
                  </a:lnTo>
                  <a:lnTo>
                    <a:pt x="19375" y="2996"/>
                  </a:lnTo>
                  <a:lnTo>
                    <a:pt x="19382" y="2992"/>
                  </a:lnTo>
                  <a:lnTo>
                    <a:pt x="19388" y="2991"/>
                  </a:lnTo>
                  <a:lnTo>
                    <a:pt x="19396" y="2992"/>
                  </a:lnTo>
                  <a:lnTo>
                    <a:pt x="19402" y="2996"/>
                  </a:lnTo>
                  <a:lnTo>
                    <a:pt x="19407" y="3002"/>
                  </a:lnTo>
                  <a:lnTo>
                    <a:pt x="19409" y="3011"/>
                  </a:lnTo>
                  <a:lnTo>
                    <a:pt x="19409" y="3162"/>
                  </a:lnTo>
                  <a:lnTo>
                    <a:pt x="19442" y="3116"/>
                  </a:lnTo>
                  <a:lnTo>
                    <a:pt x="19448" y="3111"/>
                  </a:lnTo>
                  <a:lnTo>
                    <a:pt x="19456" y="3108"/>
                  </a:lnTo>
                  <a:lnTo>
                    <a:pt x="19470" y="3112"/>
                  </a:lnTo>
                  <a:lnTo>
                    <a:pt x="19475" y="3117"/>
                  </a:lnTo>
                  <a:lnTo>
                    <a:pt x="19478" y="3124"/>
                  </a:lnTo>
                  <a:lnTo>
                    <a:pt x="19478" y="3131"/>
                  </a:lnTo>
                  <a:lnTo>
                    <a:pt x="19474" y="3140"/>
                  </a:lnTo>
                  <a:lnTo>
                    <a:pt x="19409" y="3231"/>
                  </a:lnTo>
                  <a:lnTo>
                    <a:pt x="19409" y="3413"/>
                  </a:lnTo>
                  <a:lnTo>
                    <a:pt x="19432" y="3381"/>
                  </a:lnTo>
                  <a:lnTo>
                    <a:pt x="19438" y="3374"/>
                  </a:lnTo>
                  <a:lnTo>
                    <a:pt x="19446" y="3372"/>
                  </a:lnTo>
                  <a:lnTo>
                    <a:pt x="19460" y="3375"/>
                  </a:lnTo>
                  <a:lnTo>
                    <a:pt x="19465" y="3382"/>
                  </a:lnTo>
                  <a:lnTo>
                    <a:pt x="19468" y="3388"/>
                  </a:lnTo>
                  <a:lnTo>
                    <a:pt x="19468" y="3396"/>
                  </a:lnTo>
                  <a:lnTo>
                    <a:pt x="19464" y="3404"/>
                  </a:lnTo>
                  <a:lnTo>
                    <a:pt x="19409" y="3480"/>
                  </a:lnTo>
                  <a:lnTo>
                    <a:pt x="19409" y="3491"/>
                  </a:lnTo>
                  <a:lnTo>
                    <a:pt x="19409" y="3498"/>
                  </a:lnTo>
                  <a:lnTo>
                    <a:pt x="19409" y="3608"/>
                  </a:lnTo>
                  <a:lnTo>
                    <a:pt x="19425" y="3613"/>
                  </a:lnTo>
                  <a:lnTo>
                    <a:pt x="19441" y="3620"/>
                  </a:lnTo>
                  <a:lnTo>
                    <a:pt x="19455" y="3627"/>
                  </a:lnTo>
                  <a:lnTo>
                    <a:pt x="19468" y="3632"/>
                  </a:lnTo>
                  <a:lnTo>
                    <a:pt x="19480" y="3635"/>
                  </a:lnTo>
                  <a:lnTo>
                    <a:pt x="19488" y="3635"/>
                  </a:lnTo>
                  <a:lnTo>
                    <a:pt x="19494" y="3632"/>
                  </a:lnTo>
                  <a:lnTo>
                    <a:pt x="19501" y="3630"/>
                  </a:lnTo>
                  <a:lnTo>
                    <a:pt x="19509" y="3625"/>
                  </a:lnTo>
                  <a:lnTo>
                    <a:pt x="19525" y="3608"/>
                  </a:lnTo>
                  <a:lnTo>
                    <a:pt x="19547" y="3585"/>
                  </a:lnTo>
                  <a:lnTo>
                    <a:pt x="19562" y="3570"/>
                  </a:lnTo>
                  <a:lnTo>
                    <a:pt x="19577" y="3562"/>
                  </a:lnTo>
                  <a:lnTo>
                    <a:pt x="19591" y="3558"/>
                  </a:lnTo>
                  <a:lnTo>
                    <a:pt x="19620" y="3556"/>
                  </a:lnTo>
                  <a:lnTo>
                    <a:pt x="19639" y="3554"/>
                  </a:lnTo>
                  <a:lnTo>
                    <a:pt x="19664" y="3552"/>
                  </a:lnTo>
                  <a:lnTo>
                    <a:pt x="19679" y="3544"/>
                  </a:lnTo>
                  <a:lnTo>
                    <a:pt x="19684" y="3539"/>
                  </a:lnTo>
                  <a:lnTo>
                    <a:pt x="19688" y="3533"/>
                  </a:lnTo>
                  <a:lnTo>
                    <a:pt x="19695" y="3517"/>
                  </a:lnTo>
                  <a:lnTo>
                    <a:pt x="19700" y="3499"/>
                  </a:lnTo>
                  <a:lnTo>
                    <a:pt x="19705" y="3479"/>
                  </a:lnTo>
                  <a:lnTo>
                    <a:pt x="19714" y="3460"/>
                  </a:lnTo>
                  <a:lnTo>
                    <a:pt x="19728" y="3441"/>
                  </a:lnTo>
                  <a:lnTo>
                    <a:pt x="19737" y="3432"/>
                  </a:lnTo>
                  <a:lnTo>
                    <a:pt x="19748" y="3424"/>
                  </a:lnTo>
                  <a:lnTo>
                    <a:pt x="19792" y="3398"/>
                  </a:lnTo>
                  <a:lnTo>
                    <a:pt x="19804" y="3391"/>
                  </a:lnTo>
                  <a:lnTo>
                    <a:pt x="19810" y="3383"/>
                  </a:lnTo>
                  <a:lnTo>
                    <a:pt x="19813" y="3373"/>
                  </a:lnTo>
                  <a:lnTo>
                    <a:pt x="19811" y="3360"/>
                  </a:lnTo>
                  <a:lnTo>
                    <a:pt x="19804" y="3310"/>
                  </a:lnTo>
                  <a:lnTo>
                    <a:pt x="19804" y="3286"/>
                  </a:lnTo>
                  <a:lnTo>
                    <a:pt x="19807" y="3265"/>
                  </a:lnTo>
                  <a:lnTo>
                    <a:pt x="19816" y="3248"/>
                  </a:lnTo>
                  <a:lnTo>
                    <a:pt x="19827" y="3232"/>
                  </a:lnTo>
                  <a:lnTo>
                    <a:pt x="19847" y="3207"/>
                  </a:lnTo>
                  <a:lnTo>
                    <a:pt x="19854" y="3194"/>
                  </a:lnTo>
                  <a:lnTo>
                    <a:pt x="19856" y="3181"/>
                  </a:lnTo>
                  <a:lnTo>
                    <a:pt x="19854" y="3164"/>
                  </a:lnTo>
                  <a:lnTo>
                    <a:pt x="19850" y="3158"/>
                  </a:lnTo>
                  <a:lnTo>
                    <a:pt x="19846" y="3152"/>
                  </a:lnTo>
                  <a:lnTo>
                    <a:pt x="19824" y="3126"/>
                  </a:lnTo>
                  <a:lnTo>
                    <a:pt x="19814" y="3109"/>
                  </a:lnTo>
                  <a:lnTo>
                    <a:pt x="19806" y="3088"/>
                  </a:lnTo>
                  <a:lnTo>
                    <a:pt x="19805" y="3060"/>
                  </a:lnTo>
                  <a:lnTo>
                    <a:pt x="19806" y="3042"/>
                  </a:lnTo>
                  <a:lnTo>
                    <a:pt x="19809" y="3020"/>
                  </a:lnTo>
                  <a:lnTo>
                    <a:pt x="19811" y="3005"/>
                  </a:lnTo>
                  <a:lnTo>
                    <a:pt x="19811" y="2992"/>
                  </a:lnTo>
                  <a:lnTo>
                    <a:pt x="19809" y="2982"/>
                  </a:lnTo>
                  <a:lnTo>
                    <a:pt x="19805" y="2973"/>
                  </a:lnTo>
                  <a:lnTo>
                    <a:pt x="19792" y="2960"/>
                  </a:lnTo>
                  <a:lnTo>
                    <a:pt x="19775" y="2951"/>
                  </a:lnTo>
                  <a:lnTo>
                    <a:pt x="19757" y="2942"/>
                  </a:lnTo>
                  <a:lnTo>
                    <a:pt x="19738" y="2930"/>
                  </a:lnTo>
                  <a:lnTo>
                    <a:pt x="19720" y="2913"/>
                  </a:lnTo>
                  <a:lnTo>
                    <a:pt x="19712" y="2900"/>
                  </a:lnTo>
                  <a:lnTo>
                    <a:pt x="19706" y="2884"/>
                  </a:lnTo>
                  <a:lnTo>
                    <a:pt x="19691" y="2837"/>
                  </a:lnTo>
                  <a:lnTo>
                    <a:pt x="19686" y="2824"/>
                  </a:lnTo>
                  <a:lnTo>
                    <a:pt x="19683" y="2819"/>
                  </a:lnTo>
                  <a:lnTo>
                    <a:pt x="19680" y="2815"/>
                  </a:lnTo>
                  <a:lnTo>
                    <a:pt x="19671" y="2812"/>
                  </a:lnTo>
                  <a:lnTo>
                    <a:pt x="19657" y="2810"/>
                  </a:lnTo>
                  <a:lnTo>
                    <a:pt x="19607" y="2806"/>
                  </a:lnTo>
                  <a:lnTo>
                    <a:pt x="19591" y="2803"/>
                  </a:lnTo>
                  <a:lnTo>
                    <a:pt x="19577" y="2799"/>
                  </a:lnTo>
                  <a:lnTo>
                    <a:pt x="19555" y="2786"/>
                  </a:lnTo>
                  <a:lnTo>
                    <a:pt x="19547" y="2778"/>
                  </a:lnTo>
                  <a:lnTo>
                    <a:pt x="19539" y="2769"/>
                  </a:lnTo>
                  <a:lnTo>
                    <a:pt x="19527" y="2753"/>
                  </a:lnTo>
                  <a:lnTo>
                    <a:pt x="19514" y="2739"/>
                  </a:lnTo>
                  <a:lnTo>
                    <a:pt x="19507" y="2734"/>
                  </a:lnTo>
                  <a:lnTo>
                    <a:pt x="19500" y="2730"/>
                  </a:lnTo>
                  <a:lnTo>
                    <a:pt x="19491" y="2727"/>
                  </a:lnTo>
                  <a:lnTo>
                    <a:pt x="19479" y="2728"/>
                  </a:lnTo>
                  <a:lnTo>
                    <a:pt x="19452" y="2736"/>
                  </a:lnTo>
                  <a:lnTo>
                    <a:pt x="19421" y="2749"/>
                  </a:lnTo>
                  <a:lnTo>
                    <a:pt x="19405" y="2754"/>
                  </a:lnTo>
                  <a:lnTo>
                    <a:pt x="19388" y="2755"/>
                  </a:lnTo>
                  <a:lnTo>
                    <a:pt x="19366" y="2753"/>
                  </a:lnTo>
                  <a:lnTo>
                    <a:pt x="19347" y="2746"/>
                  </a:lnTo>
                  <a:lnTo>
                    <a:pt x="19316" y="2731"/>
                  </a:lnTo>
                  <a:lnTo>
                    <a:pt x="19301" y="2727"/>
                  </a:lnTo>
                  <a:lnTo>
                    <a:pt x="19293" y="2726"/>
                  </a:lnTo>
                  <a:lnTo>
                    <a:pt x="19287" y="2727"/>
                  </a:lnTo>
                  <a:lnTo>
                    <a:pt x="19270" y="2736"/>
                  </a:lnTo>
                  <a:lnTo>
                    <a:pt x="19251" y="2753"/>
                  </a:lnTo>
                  <a:lnTo>
                    <a:pt x="19230" y="2776"/>
                  </a:lnTo>
                  <a:lnTo>
                    <a:pt x="19214" y="2791"/>
                  </a:lnTo>
                  <a:lnTo>
                    <a:pt x="19200" y="2799"/>
                  </a:lnTo>
                  <a:lnTo>
                    <a:pt x="19187" y="2804"/>
                  </a:lnTo>
                  <a:lnTo>
                    <a:pt x="19157" y="2805"/>
                  </a:lnTo>
                  <a:lnTo>
                    <a:pt x="19138" y="2806"/>
                  </a:lnTo>
                  <a:lnTo>
                    <a:pt x="19112" y="2810"/>
                  </a:lnTo>
                  <a:lnTo>
                    <a:pt x="19098" y="2817"/>
                  </a:lnTo>
                  <a:lnTo>
                    <a:pt x="19093" y="2822"/>
                  </a:lnTo>
                  <a:lnTo>
                    <a:pt x="19088" y="2828"/>
                  </a:lnTo>
                  <a:lnTo>
                    <a:pt x="19082" y="2844"/>
                  </a:lnTo>
                  <a:lnTo>
                    <a:pt x="19078" y="2863"/>
                  </a:lnTo>
                  <a:lnTo>
                    <a:pt x="19071" y="2882"/>
                  </a:lnTo>
                  <a:lnTo>
                    <a:pt x="19064" y="2902"/>
                  </a:lnTo>
                  <a:lnTo>
                    <a:pt x="19050" y="2920"/>
                  </a:lnTo>
                  <a:lnTo>
                    <a:pt x="19041" y="2929"/>
                  </a:lnTo>
                  <a:lnTo>
                    <a:pt x="19029" y="2937"/>
                  </a:lnTo>
                  <a:lnTo>
                    <a:pt x="18985" y="2962"/>
                  </a:lnTo>
                  <a:lnTo>
                    <a:pt x="18974" y="2970"/>
                  </a:lnTo>
                  <a:lnTo>
                    <a:pt x="18967" y="2978"/>
                  </a:lnTo>
                  <a:lnTo>
                    <a:pt x="18965" y="2988"/>
                  </a:lnTo>
                  <a:lnTo>
                    <a:pt x="18966" y="3002"/>
                  </a:lnTo>
                  <a:lnTo>
                    <a:pt x="18974" y="3052"/>
                  </a:lnTo>
                  <a:lnTo>
                    <a:pt x="18974" y="3079"/>
                  </a:lnTo>
                  <a:lnTo>
                    <a:pt x="18967" y="3101"/>
                  </a:lnTo>
                  <a:lnTo>
                    <a:pt x="18956" y="3121"/>
                  </a:lnTo>
                  <a:lnTo>
                    <a:pt x="18941" y="3143"/>
                  </a:lnTo>
                  <a:lnTo>
                    <a:pt x="18926" y="3164"/>
                  </a:lnTo>
                  <a:lnTo>
                    <a:pt x="18923" y="3172"/>
                  </a:lnTo>
                  <a:lnTo>
                    <a:pt x="18921" y="3181"/>
                  </a:lnTo>
                  <a:lnTo>
                    <a:pt x="18924" y="3196"/>
                  </a:lnTo>
                  <a:lnTo>
                    <a:pt x="18928" y="3204"/>
                  </a:lnTo>
                  <a:lnTo>
                    <a:pt x="18932" y="3211"/>
                  </a:lnTo>
                  <a:lnTo>
                    <a:pt x="18953" y="3235"/>
                  </a:lnTo>
                  <a:lnTo>
                    <a:pt x="18964" y="3251"/>
                  </a:lnTo>
                  <a:lnTo>
                    <a:pt x="18970" y="3273"/>
                  </a:lnTo>
                  <a:lnTo>
                    <a:pt x="18973" y="3303"/>
                  </a:lnTo>
                  <a:lnTo>
                    <a:pt x="18971" y="3320"/>
                  </a:lnTo>
                  <a:lnTo>
                    <a:pt x="18969" y="3341"/>
                  </a:lnTo>
                  <a:lnTo>
                    <a:pt x="18966" y="3356"/>
                  </a:lnTo>
                  <a:lnTo>
                    <a:pt x="18966" y="3369"/>
                  </a:lnTo>
                  <a:lnTo>
                    <a:pt x="18969" y="3381"/>
                  </a:lnTo>
                  <a:lnTo>
                    <a:pt x="18973" y="3388"/>
                  </a:lnTo>
                  <a:lnTo>
                    <a:pt x="18984" y="3401"/>
                  </a:lnTo>
                  <a:lnTo>
                    <a:pt x="19001" y="3410"/>
                  </a:lnTo>
                  <a:lnTo>
                    <a:pt x="19020" y="3419"/>
                  </a:lnTo>
                  <a:lnTo>
                    <a:pt x="19039" y="3430"/>
                  </a:lnTo>
                  <a:lnTo>
                    <a:pt x="19057" y="3448"/>
                  </a:lnTo>
                  <a:lnTo>
                    <a:pt x="19065" y="3461"/>
                  </a:lnTo>
                  <a:lnTo>
                    <a:pt x="19071" y="3476"/>
                  </a:lnTo>
                  <a:lnTo>
                    <a:pt x="19085" y="3524"/>
                  </a:lnTo>
                  <a:lnTo>
                    <a:pt x="19091" y="3538"/>
                  </a:lnTo>
                  <a:lnTo>
                    <a:pt x="19093" y="3542"/>
                  </a:lnTo>
                  <a:lnTo>
                    <a:pt x="19097" y="3546"/>
                  </a:lnTo>
                  <a:lnTo>
                    <a:pt x="19106" y="3549"/>
                  </a:lnTo>
                  <a:lnTo>
                    <a:pt x="19120" y="3551"/>
                  </a:lnTo>
                  <a:lnTo>
                    <a:pt x="19170" y="3556"/>
                  </a:lnTo>
                  <a:lnTo>
                    <a:pt x="19187" y="3558"/>
                  </a:lnTo>
                  <a:lnTo>
                    <a:pt x="19201" y="3562"/>
                  </a:lnTo>
                  <a:lnTo>
                    <a:pt x="19221" y="3576"/>
                  </a:lnTo>
                  <a:lnTo>
                    <a:pt x="19230" y="3584"/>
                  </a:lnTo>
                  <a:lnTo>
                    <a:pt x="19238" y="3592"/>
                  </a:lnTo>
                  <a:lnTo>
                    <a:pt x="19251" y="3608"/>
                  </a:lnTo>
                  <a:lnTo>
                    <a:pt x="19262" y="3622"/>
                  </a:lnTo>
                  <a:lnTo>
                    <a:pt x="19270" y="3627"/>
                  </a:lnTo>
                  <a:lnTo>
                    <a:pt x="19278" y="3631"/>
                  </a:lnTo>
                  <a:lnTo>
                    <a:pt x="19287" y="3634"/>
                  </a:lnTo>
                  <a:lnTo>
                    <a:pt x="19297" y="3634"/>
                  </a:lnTo>
                  <a:lnTo>
                    <a:pt x="19325" y="3625"/>
                  </a:lnTo>
                  <a:lnTo>
                    <a:pt x="19347" y="3616"/>
                  </a:lnTo>
                  <a:lnTo>
                    <a:pt x="19369" y="3608"/>
                  </a:lnTo>
                  <a:lnTo>
                    <a:pt x="19369" y="3506"/>
                  </a:lnTo>
                  <a:lnTo>
                    <a:pt x="19364" y="3502"/>
                  </a:lnTo>
                  <a:lnTo>
                    <a:pt x="19360" y="3498"/>
                  </a:lnTo>
                  <a:lnTo>
                    <a:pt x="19359" y="3487"/>
                  </a:lnTo>
                  <a:lnTo>
                    <a:pt x="19264" y="3358"/>
                  </a:lnTo>
                  <a:lnTo>
                    <a:pt x="19260" y="3349"/>
                  </a:lnTo>
                  <a:lnTo>
                    <a:pt x="19260" y="3341"/>
                  </a:lnTo>
                  <a:lnTo>
                    <a:pt x="19264" y="3335"/>
                  </a:lnTo>
                  <a:lnTo>
                    <a:pt x="19269" y="3329"/>
                  </a:lnTo>
                  <a:lnTo>
                    <a:pt x="19275" y="3326"/>
                  </a:lnTo>
                  <a:lnTo>
                    <a:pt x="19283" y="3326"/>
                  </a:lnTo>
                  <a:lnTo>
                    <a:pt x="19289" y="3328"/>
                  </a:lnTo>
                  <a:lnTo>
                    <a:pt x="19297" y="3333"/>
                  </a:lnTo>
                  <a:lnTo>
                    <a:pt x="19369" y="3433"/>
                  </a:lnTo>
                  <a:lnTo>
                    <a:pt x="19369" y="3320"/>
                  </a:lnTo>
                  <a:lnTo>
                    <a:pt x="19262" y="3176"/>
                  </a:lnTo>
                  <a:lnTo>
                    <a:pt x="19259" y="3167"/>
                  </a:lnTo>
                  <a:lnTo>
                    <a:pt x="19259" y="3159"/>
                  </a:lnTo>
                  <a:lnTo>
                    <a:pt x="19262" y="3153"/>
                  </a:lnTo>
                  <a:lnTo>
                    <a:pt x="19268" y="3148"/>
                  </a:lnTo>
                  <a:lnTo>
                    <a:pt x="19274" y="3144"/>
                  </a:lnTo>
                  <a:lnTo>
                    <a:pt x="19282" y="3144"/>
                  </a:lnTo>
                  <a:lnTo>
                    <a:pt x="19289" y="3147"/>
                  </a:lnTo>
                  <a:lnTo>
                    <a:pt x="19296" y="3152"/>
                  </a:lnTo>
                  <a:lnTo>
                    <a:pt x="19369" y="3253"/>
                  </a:lnTo>
                  <a:lnTo>
                    <a:pt x="19369" y="3227"/>
                  </a:lnTo>
                  <a:lnTo>
                    <a:pt x="19369" y="3221"/>
                  </a:lnTo>
                  <a:close/>
                  <a:moveTo>
                    <a:pt x="22962" y="2597"/>
                  </a:moveTo>
                  <a:lnTo>
                    <a:pt x="22954" y="2597"/>
                  </a:lnTo>
                  <a:lnTo>
                    <a:pt x="22962" y="2597"/>
                  </a:lnTo>
                  <a:close/>
                  <a:moveTo>
                    <a:pt x="20013" y="2597"/>
                  </a:moveTo>
                  <a:lnTo>
                    <a:pt x="20006" y="2597"/>
                  </a:lnTo>
                  <a:lnTo>
                    <a:pt x="20013" y="2597"/>
                  </a:lnTo>
                  <a:close/>
                  <a:moveTo>
                    <a:pt x="19409" y="3491"/>
                  </a:moveTo>
                  <a:lnTo>
                    <a:pt x="19409" y="3498"/>
                  </a:lnTo>
                  <a:lnTo>
                    <a:pt x="19409" y="3491"/>
                  </a:lnTo>
                  <a:close/>
                  <a:moveTo>
                    <a:pt x="19369" y="3227"/>
                  </a:moveTo>
                  <a:lnTo>
                    <a:pt x="19369" y="3221"/>
                  </a:lnTo>
                  <a:lnTo>
                    <a:pt x="19369" y="3227"/>
                  </a:lnTo>
                  <a:close/>
                  <a:moveTo>
                    <a:pt x="20708" y="1885"/>
                  </a:moveTo>
                  <a:lnTo>
                    <a:pt x="20672" y="1152"/>
                  </a:lnTo>
                  <a:lnTo>
                    <a:pt x="20636" y="420"/>
                  </a:lnTo>
                  <a:lnTo>
                    <a:pt x="20345" y="420"/>
                  </a:lnTo>
                  <a:lnTo>
                    <a:pt x="20306" y="1139"/>
                  </a:lnTo>
                  <a:lnTo>
                    <a:pt x="20269" y="1858"/>
                  </a:lnTo>
                  <a:lnTo>
                    <a:pt x="20268" y="1867"/>
                  </a:lnTo>
                  <a:lnTo>
                    <a:pt x="20263" y="1872"/>
                  </a:lnTo>
                  <a:lnTo>
                    <a:pt x="20256" y="1876"/>
                  </a:lnTo>
                  <a:lnTo>
                    <a:pt x="20248" y="1877"/>
                  </a:lnTo>
                  <a:lnTo>
                    <a:pt x="20241" y="1874"/>
                  </a:lnTo>
                  <a:lnTo>
                    <a:pt x="20234" y="1870"/>
                  </a:lnTo>
                  <a:lnTo>
                    <a:pt x="20231" y="1864"/>
                  </a:lnTo>
                  <a:lnTo>
                    <a:pt x="20229" y="1855"/>
                  </a:lnTo>
                  <a:lnTo>
                    <a:pt x="20268" y="1126"/>
                  </a:lnTo>
                  <a:lnTo>
                    <a:pt x="20306" y="399"/>
                  </a:lnTo>
                  <a:lnTo>
                    <a:pt x="20307" y="392"/>
                  </a:lnTo>
                  <a:lnTo>
                    <a:pt x="20313" y="386"/>
                  </a:lnTo>
                  <a:lnTo>
                    <a:pt x="20318" y="382"/>
                  </a:lnTo>
                  <a:lnTo>
                    <a:pt x="20325" y="381"/>
                  </a:lnTo>
                  <a:lnTo>
                    <a:pt x="20655" y="381"/>
                  </a:lnTo>
                  <a:lnTo>
                    <a:pt x="20661" y="382"/>
                  </a:lnTo>
                  <a:lnTo>
                    <a:pt x="20668" y="386"/>
                  </a:lnTo>
                  <a:lnTo>
                    <a:pt x="20673" y="392"/>
                  </a:lnTo>
                  <a:lnTo>
                    <a:pt x="20674" y="399"/>
                  </a:lnTo>
                  <a:lnTo>
                    <a:pt x="20710" y="1140"/>
                  </a:lnTo>
                  <a:lnTo>
                    <a:pt x="20747" y="1882"/>
                  </a:lnTo>
                  <a:lnTo>
                    <a:pt x="20746" y="1891"/>
                  </a:lnTo>
                  <a:lnTo>
                    <a:pt x="20742" y="1897"/>
                  </a:lnTo>
                  <a:lnTo>
                    <a:pt x="20736" y="1901"/>
                  </a:lnTo>
                  <a:lnTo>
                    <a:pt x="20728" y="1902"/>
                  </a:lnTo>
                  <a:lnTo>
                    <a:pt x="20715" y="1899"/>
                  </a:lnTo>
                  <a:lnTo>
                    <a:pt x="20710" y="1892"/>
                  </a:lnTo>
                  <a:lnTo>
                    <a:pt x="20708" y="1885"/>
                  </a:lnTo>
                  <a:close/>
                  <a:moveTo>
                    <a:pt x="2868" y="3476"/>
                  </a:moveTo>
                  <a:lnTo>
                    <a:pt x="2980" y="3323"/>
                  </a:lnTo>
                  <a:lnTo>
                    <a:pt x="2953" y="3268"/>
                  </a:lnTo>
                  <a:lnTo>
                    <a:pt x="2939" y="3245"/>
                  </a:lnTo>
                  <a:lnTo>
                    <a:pt x="2925" y="3225"/>
                  </a:lnTo>
                  <a:lnTo>
                    <a:pt x="2911" y="3207"/>
                  </a:lnTo>
                  <a:lnTo>
                    <a:pt x="2897" y="3193"/>
                  </a:lnTo>
                  <a:lnTo>
                    <a:pt x="2883" y="3181"/>
                  </a:lnTo>
                  <a:lnTo>
                    <a:pt x="2868" y="3175"/>
                  </a:lnTo>
                  <a:lnTo>
                    <a:pt x="2868" y="3476"/>
                  </a:lnTo>
                  <a:close/>
                  <a:moveTo>
                    <a:pt x="2998" y="3365"/>
                  </a:moveTo>
                  <a:lnTo>
                    <a:pt x="2868" y="3544"/>
                  </a:lnTo>
                  <a:lnTo>
                    <a:pt x="2868" y="3753"/>
                  </a:lnTo>
                  <a:lnTo>
                    <a:pt x="3045" y="3507"/>
                  </a:lnTo>
                  <a:lnTo>
                    <a:pt x="3027" y="3445"/>
                  </a:lnTo>
                  <a:lnTo>
                    <a:pt x="2998" y="3365"/>
                  </a:lnTo>
                  <a:close/>
                  <a:moveTo>
                    <a:pt x="2716" y="3324"/>
                  </a:moveTo>
                  <a:lnTo>
                    <a:pt x="2829" y="3479"/>
                  </a:lnTo>
                  <a:lnTo>
                    <a:pt x="2829" y="3173"/>
                  </a:lnTo>
                  <a:lnTo>
                    <a:pt x="2813" y="3181"/>
                  </a:lnTo>
                  <a:lnTo>
                    <a:pt x="2798" y="3193"/>
                  </a:lnTo>
                  <a:lnTo>
                    <a:pt x="2790" y="3199"/>
                  </a:lnTo>
                  <a:lnTo>
                    <a:pt x="2783" y="3207"/>
                  </a:lnTo>
                  <a:lnTo>
                    <a:pt x="2768" y="3225"/>
                  </a:lnTo>
                  <a:lnTo>
                    <a:pt x="2742" y="3269"/>
                  </a:lnTo>
                  <a:lnTo>
                    <a:pt x="2715" y="3323"/>
                  </a:lnTo>
                  <a:lnTo>
                    <a:pt x="2716" y="3324"/>
                  </a:lnTo>
                  <a:close/>
                  <a:moveTo>
                    <a:pt x="3060" y="3557"/>
                  </a:moveTo>
                  <a:lnTo>
                    <a:pt x="2868" y="3820"/>
                  </a:lnTo>
                  <a:lnTo>
                    <a:pt x="2868" y="4028"/>
                  </a:lnTo>
                  <a:lnTo>
                    <a:pt x="3089" y="3725"/>
                  </a:lnTo>
                  <a:lnTo>
                    <a:pt x="3094" y="3718"/>
                  </a:lnTo>
                  <a:lnTo>
                    <a:pt x="3080" y="3640"/>
                  </a:lnTo>
                  <a:lnTo>
                    <a:pt x="3060" y="3557"/>
                  </a:lnTo>
                  <a:close/>
                  <a:moveTo>
                    <a:pt x="2654" y="3515"/>
                  </a:moveTo>
                  <a:lnTo>
                    <a:pt x="2829" y="3754"/>
                  </a:lnTo>
                  <a:lnTo>
                    <a:pt x="2829" y="3547"/>
                  </a:lnTo>
                  <a:lnTo>
                    <a:pt x="2698" y="3367"/>
                  </a:lnTo>
                  <a:lnTo>
                    <a:pt x="2672" y="3437"/>
                  </a:lnTo>
                  <a:lnTo>
                    <a:pt x="2650" y="3511"/>
                  </a:lnTo>
                  <a:lnTo>
                    <a:pt x="2654" y="3515"/>
                  </a:lnTo>
                  <a:close/>
                  <a:moveTo>
                    <a:pt x="3103" y="3773"/>
                  </a:moveTo>
                  <a:lnTo>
                    <a:pt x="2868" y="4095"/>
                  </a:lnTo>
                  <a:lnTo>
                    <a:pt x="2868" y="4102"/>
                  </a:lnTo>
                  <a:lnTo>
                    <a:pt x="2893" y="4098"/>
                  </a:lnTo>
                  <a:lnTo>
                    <a:pt x="2917" y="4093"/>
                  </a:lnTo>
                  <a:lnTo>
                    <a:pt x="2940" y="4085"/>
                  </a:lnTo>
                  <a:lnTo>
                    <a:pt x="2962" y="4076"/>
                  </a:lnTo>
                  <a:lnTo>
                    <a:pt x="2983" y="4065"/>
                  </a:lnTo>
                  <a:lnTo>
                    <a:pt x="3003" y="4051"/>
                  </a:lnTo>
                  <a:lnTo>
                    <a:pt x="3021" y="4037"/>
                  </a:lnTo>
                  <a:lnTo>
                    <a:pt x="3038" y="4020"/>
                  </a:lnTo>
                  <a:lnTo>
                    <a:pt x="3067" y="3982"/>
                  </a:lnTo>
                  <a:lnTo>
                    <a:pt x="3079" y="3961"/>
                  </a:lnTo>
                  <a:lnTo>
                    <a:pt x="3089" y="3939"/>
                  </a:lnTo>
                  <a:lnTo>
                    <a:pt x="3097" y="3916"/>
                  </a:lnTo>
                  <a:lnTo>
                    <a:pt x="3103" y="3893"/>
                  </a:lnTo>
                  <a:lnTo>
                    <a:pt x="3107" y="3868"/>
                  </a:lnTo>
                  <a:lnTo>
                    <a:pt x="3108" y="3843"/>
                  </a:lnTo>
                  <a:lnTo>
                    <a:pt x="3107" y="3811"/>
                  </a:lnTo>
                  <a:lnTo>
                    <a:pt x="3103" y="3773"/>
                  </a:lnTo>
                  <a:close/>
                  <a:moveTo>
                    <a:pt x="2603" y="3719"/>
                  </a:moveTo>
                  <a:lnTo>
                    <a:pt x="2829" y="4012"/>
                  </a:lnTo>
                  <a:lnTo>
                    <a:pt x="2829" y="3822"/>
                  </a:lnTo>
                  <a:lnTo>
                    <a:pt x="2638" y="3560"/>
                  </a:lnTo>
                  <a:lnTo>
                    <a:pt x="2618" y="3644"/>
                  </a:lnTo>
                  <a:lnTo>
                    <a:pt x="2603" y="3719"/>
                  </a:lnTo>
                  <a:close/>
                  <a:moveTo>
                    <a:pt x="2784" y="1296"/>
                  </a:moveTo>
                  <a:lnTo>
                    <a:pt x="2784" y="1465"/>
                  </a:lnTo>
                  <a:lnTo>
                    <a:pt x="2781" y="1474"/>
                  </a:lnTo>
                  <a:lnTo>
                    <a:pt x="2777" y="1480"/>
                  </a:lnTo>
                  <a:lnTo>
                    <a:pt x="2771" y="1484"/>
                  </a:lnTo>
                  <a:lnTo>
                    <a:pt x="2763" y="1486"/>
                  </a:lnTo>
                  <a:lnTo>
                    <a:pt x="2756" y="1484"/>
                  </a:lnTo>
                  <a:lnTo>
                    <a:pt x="2749" y="1480"/>
                  </a:lnTo>
                  <a:lnTo>
                    <a:pt x="2745" y="1474"/>
                  </a:lnTo>
                  <a:lnTo>
                    <a:pt x="2743" y="1465"/>
                  </a:lnTo>
                  <a:lnTo>
                    <a:pt x="2743" y="1296"/>
                  </a:lnTo>
                  <a:lnTo>
                    <a:pt x="2650" y="1296"/>
                  </a:lnTo>
                  <a:lnTo>
                    <a:pt x="2650" y="1465"/>
                  </a:lnTo>
                  <a:lnTo>
                    <a:pt x="2649" y="1474"/>
                  </a:lnTo>
                  <a:lnTo>
                    <a:pt x="2644" y="1480"/>
                  </a:lnTo>
                  <a:lnTo>
                    <a:pt x="2638" y="1484"/>
                  </a:lnTo>
                  <a:lnTo>
                    <a:pt x="2631" y="1486"/>
                  </a:lnTo>
                  <a:lnTo>
                    <a:pt x="2624" y="1484"/>
                  </a:lnTo>
                  <a:lnTo>
                    <a:pt x="2617" y="1480"/>
                  </a:lnTo>
                  <a:lnTo>
                    <a:pt x="2612" y="1474"/>
                  </a:lnTo>
                  <a:lnTo>
                    <a:pt x="2611" y="1465"/>
                  </a:lnTo>
                  <a:lnTo>
                    <a:pt x="2611" y="1296"/>
                  </a:lnTo>
                  <a:lnTo>
                    <a:pt x="2518" y="1296"/>
                  </a:lnTo>
                  <a:lnTo>
                    <a:pt x="2518" y="1465"/>
                  </a:lnTo>
                  <a:lnTo>
                    <a:pt x="2516" y="1474"/>
                  </a:lnTo>
                  <a:lnTo>
                    <a:pt x="2512" y="1480"/>
                  </a:lnTo>
                  <a:lnTo>
                    <a:pt x="2506" y="1484"/>
                  </a:lnTo>
                  <a:lnTo>
                    <a:pt x="2498" y="1486"/>
                  </a:lnTo>
                  <a:lnTo>
                    <a:pt x="2490" y="1484"/>
                  </a:lnTo>
                  <a:lnTo>
                    <a:pt x="2484" y="1480"/>
                  </a:lnTo>
                  <a:lnTo>
                    <a:pt x="2480" y="1474"/>
                  </a:lnTo>
                  <a:lnTo>
                    <a:pt x="2477" y="1465"/>
                  </a:lnTo>
                  <a:lnTo>
                    <a:pt x="2477" y="1296"/>
                  </a:lnTo>
                  <a:lnTo>
                    <a:pt x="2385" y="1296"/>
                  </a:lnTo>
                  <a:lnTo>
                    <a:pt x="2385" y="1465"/>
                  </a:lnTo>
                  <a:lnTo>
                    <a:pt x="2384" y="1474"/>
                  </a:lnTo>
                  <a:lnTo>
                    <a:pt x="2379" y="1480"/>
                  </a:lnTo>
                  <a:lnTo>
                    <a:pt x="2372" y="1484"/>
                  </a:lnTo>
                  <a:lnTo>
                    <a:pt x="2366" y="1486"/>
                  </a:lnTo>
                  <a:lnTo>
                    <a:pt x="2358" y="1484"/>
                  </a:lnTo>
                  <a:lnTo>
                    <a:pt x="2352" y="1480"/>
                  </a:lnTo>
                  <a:lnTo>
                    <a:pt x="2347" y="1474"/>
                  </a:lnTo>
                  <a:lnTo>
                    <a:pt x="2345" y="1465"/>
                  </a:lnTo>
                  <a:lnTo>
                    <a:pt x="2345" y="1296"/>
                  </a:lnTo>
                  <a:lnTo>
                    <a:pt x="2282" y="1296"/>
                  </a:lnTo>
                  <a:lnTo>
                    <a:pt x="2282" y="1634"/>
                  </a:lnTo>
                  <a:lnTo>
                    <a:pt x="2852" y="1634"/>
                  </a:lnTo>
                  <a:lnTo>
                    <a:pt x="2852" y="1296"/>
                  </a:lnTo>
                  <a:lnTo>
                    <a:pt x="2784" y="1296"/>
                  </a:lnTo>
                  <a:close/>
                  <a:moveTo>
                    <a:pt x="332" y="4356"/>
                  </a:moveTo>
                  <a:lnTo>
                    <a:pt x="322" y="4359"/>
                  </a:lnTo>
                  <a:lnTo>
                    <a:pt x="313" y="4356"/>
                  </a:lnTo>
                  <a:lnTo>
                    <a:pt x="0" y="4356"/>
                  </a:lnTo>
                  <a:lnTo>
                    <a:pt x="0" y="4317"/>
                  </a:lnTo>
                  <a:lnTo>
                    <a:pt x="64" y="4317"/>
                  </a:lnTo>
                  <a:lnTo>
                    <a:pt x="64" y="3833"/>
                  </a:lnTo>
                  <a:lnTo>
                    <a:pt x="0" y="3833"/>
                  </a:lnTo>
                  <a:lnTo>
                    <a:pt x="0" y="3792"/>
                  </a:lnTo>
                  <a:lnTo>
                    <a:pt x="197" y="3792"/>
                  </a:lnTo>
                  <a:lnTo>
                    <a:pt x="206" y="3795"/>
                  </a:lnTo>
                  <a:lnTo>
                    <a:pt x="213" y="3799"/>
                  </a:lnTo>
                  <a:lnTo>
                    <a:pt x="217" y="3805"/>
                  </a:lnTo>
                  <a:lnTo>
                    <a:pt x="218" y="3813"/>
                  </a:lnTo>
                  <a:lnTo>
                    <a:pt x="217" y="3820"/>
                  </a:lnTo>
                  <a:lnTo>
                    <a:pt x="213" y="3827"/>
                  </a:lnTo>
                  <a:lnTo>
                    <a:pt x="206" y="3831"/>
                  </a:lnTo>
                  <a:lnTo>
                    <a:pt x="197" y="3833"/>
                  </a:lnTo>
                  <a:lnTo>
                    <a:pt x="104" y="3833"/>
                  </a:lnTo>
                  <a:lnTo>
                    <a:pt x="104" y="4317"/>
                  </a:lnTo>
                  <a:lnTo>
                    <a:pt x="303" y="4317"/>
                  </a:lnTo>
                  <a:lnTo>
                    <a:pt x="303" y="3544"/>
                  </a:lnTo>
                  <a:lnTo>
                    <a:pt x="303" y="2772"/>
                  </a:lnTo>
                  <a:lnTo>
                    <a:pt x="304" y="2764"/>
                  </a:lnTo>
                  <a:lnTo>
                    <a:pt x="308" y="2758"/>
                  </a:lnTo>
                  <a:lnTo>
                    <a:pt x="314" y="2753"/>
                  </a:lnTo>
                  <a:lnTo>
                    <a:pt x="322" y="2751"/>
                  </a:lnTo>
                  <a:lnTo>
                    <a:pt x="440" y="2751"/>
                  </a:lnTo>
                  <a:lnTo>
                    <a:pt x="440" y="2579"/>
                  </a:lnTo>
                  <a:lnTo>
                    <a:pt x="441" y="2571"/>
                  </a:lnTo>
                  <a:lnTo>
                    <a:pt x="446" y="2565"/>
                  </a:lnTo>
                  <a:lnTo>
                    <a:pt x="453" y="2560"/>
                  </a:lnTo>
                  <a:lnTo>
                    <a:pt x="460" y="2558"/>
                  </a:lnTo>
                  <a:lnTo>
                    <a:pt x="541" y="2558"/>
                  </a:lnTo>
                  <a:lnTo>
                    <a:pt x="1007" y="2558"/>
                  </a:lnTo>
                  <a:lnTo>
                    <a:pt x="1997" y="2558"/>
                  </a:lnTo>
                  <a:lnTo>
                    <a:pt x="2004" y="2560"/>
                  </a:lnTo>
                  <a:lnTo>
                    <a:pt x="2011" y="2565"/>
                  </a:lnTo>
                  <a:lnTo>
                    <a:pt x="2014" y="2571"/>
                  </a:lnTo>
                  <a:lnTo>
                    <a:pt x="2017" y="2579"/>
                  </a:lnTo>
                  <a:lnTo>
                    <a:pt x="2017" y="2751"/>
                  </a:lnTo>
                  <a:lnTo>
                    <a:pt x="2098" y="2751"/>
                  </a:lnTo>
                  <a:lnTo>
                    <a:pt x="2098" y="2203"/>
                  </a:lnTo>
                  <a:lnTo>
                    <a:pt x="2098" y="1654"/>
                  </a:lnTo>
                  <a:lnTo>
                    <a:pt x="2099" y="1647"/>
                  </a:lnTo>
                  <a:lnTo>
                    <a:pt x="2103" y="1640"/>
                  </a:lnTo>
                  <a:lnTo>
                    <a:pt x="2109" y="1635"/>
                  </a:lnTo>
                  <a:lnTo>
                    <a:pt x="2117" y="1634"/>
                  </a:lnTo>
                  <a:lnTo>
                    <a:pt x="2243" y="1634"/>
                  </a:lnTo>
                  <a:lnTo>
                    <a:pt x="2243" y="1276"/>
                  </a:lnTo>
                  <a:lnTo>
                    <a:pt x="2244" y="1268"/>
                  </a:lnTo>
                  <a:lnTo>
                    <a:pt x="2249" y="1262"/>
                  </a:lnTo>
                  <a:lnTo>
                    <a:pt x="2254" y="1258"/>
                  </a:lnTo>
                  <a:lnTo>
                    <a:pt x="2262" y="1257"/>
                  </a:lnTo>
                  <a:lnTo>
                    <a:pt x="2872" y="1257"/>
                  </a:lnTo>
                  <a:lnTo>
                    <a:pt x="2880" y="1258"/>
                  </a:lnTo>
                  <a:lnTo>
                    <a:pt x="2886" y="1262"/>
                  </a:lnTo>
                  <a:lnTo>
                    <a:pt x="2890" y="1268"/>
                  </a:lnTo>
                  <a:lnTo>
                    <a:pt x="2893" y="1276"/>
                  </a:lnTo>
                  <a:lnTo>
                    <a:pt x="2893" y="1634"/>
                  </a:lnTo>
                  <a:lnTo>
                    <a:pt x="3017" y="1634"/>
                  </a:lnTo>
                  <a:lnTo>
                    <a:pt x="3025" y="1635"/>
                  </a:lnTo>
                  <a:lnTo>
                    <a:pt x="3031" y="1640"/>
                  </a:lnTo>
                  <a:lnTo>
                    <a:pt x="3035" y="1647"/>
                  </a:lnTo>
                  <a:lnTo>
                    <a:pt x="3038" y="1654"/>
                  </a:lnTo>
                  <a:lnTo>
                    <a:pt x="3038" y="2434"/>
                  </a:lnTo>
                  <a:lnTo>
                    <a:pt x="3038" y="3214"/>
                  </a:lnTo>
                  <a:lnTo>
                    <a:pt x="3035" y="3223"/>
                  </a:lnTo>
                  <a:lnTo>
                    <a:pt x="3031" y="3230"/>
                  </a:lnTo>
                  <a:lnTo>
                    <a:pt x="3025" y="3234"/>
                  </a:lnTo>
                  <a:lnTo>
                    <a:pt x="3017" y="3235"/>
                  </a:lnTo>
                  <a:lnTo>
                    <a:pt x="3010" y="3234"/>
                  </a:lnTo>
                  <a:lnTo>
                    <a:pt x="3003" y="3230"/>
                  </a:lnTo>
                  <a:lnTo>
                    <a:pt x="2999" y="3223"/>
                  </a:lnTo>
                  <a:lnTo>
                    <a:pt x="2998" y="3214"/>
                  </a:lnTo>
                  <a:lnTo>
                    <a:pt x="2998" y="2443"/>
                  </a:lnTo>
                  <a:lnTo>
                    <a:pt x="2998" y="1674"/>
                  </a:lnTo>
                  <a:lnTo>
                    <a:pt x="2138" y="1674"/>
                  </a:lnTo>
                  <a:lnTo>
                    <a:pt x="2138" y="2333"/>
                  </a:lnTo>
                  <a:lnTo>
                    <a:pt x="2138" y="2994"/>
                  </a:lnTo>
                  <a:lnTo>
                    <a:pt x="2138" y="3655"/>
                  </a:lnTo>
                  <a:lnTo>
                    <a:pt x="2138" y="4317"/>
                  </a:lnTo>
                  <a:lnTo>
                    <a:pt x="2829" y="4317"/>
                  </a:lnTo>
                  <a:lnTo>
                    <a:pt x="2829" y="4141"/>
                  </a:lnTo>
                  <a:lnTo>
                    <a:pt x="2799" y="4138"/>
                  </a:lnTo>
                  <a:lnTo>
                    <a:pt x="2771" y="4132"/>
                  </a:lnTo>
                  <a:lnTo>
                    <a:pt x="2744" y="4123"/>
                  </a:lnTo>
                  <a:lnTo>
                    <a:pt x="2731" y="4118"/>
                  </a:lnTo>
                  <a:lnTo>
                    <a:pt x="2718" y="4113"/>
                  </a:lnTo>
                  <a:lnTo>
                    <a:pt x="2694" y="4099"/>
                  </a:lnTo>
                  <a:lnTo>
                    <a:pt x="2671" y="4084"/>
                  </a:lnTo>
                  <a:lnTo>
                    <a:pt x="2649" y="4067"/>
                  </a:lnTo>
                  <a:lnTo>
                    <a:pt x="2630" y="4048"/>
                  </a:lnTo>
                  <a:lnTo>
                    <a:pt x="2612" y="4026"/>
                  </a:lnTo>
                  <a:lnTo>
                    <a:pt x="2595" y="4005"/>
                  </a:lnTo>
                  <a:lnTo>
                    <a:pt x="2581" y="3980"/>
                  </a:lnTo>
                  <a:lnTo>
                    <a:pt x="2570" y="3955"/>
                  </a:lnTo>
                  <a:lnTo>
                    <a:pt x="2561" y="3929"/>
                  </a:lnTo>
                  <a:lnTo>
                    <a:pt x="2554" y="3901"/>
                  </a:lnTo>
                  <a:lnTo>
                    <a:pt x="2549" y="3873"/>
                  </a:lnTo>
                  <a:lnTo>
                    <a:pt x="2548" y="3843"/>
                  </a:lnTo>
                  <a:lnTo>
                    <a:pt x="2549" y="3813"/>
                  </a:lnTo>
                  <a:lnTo>
                    <a:pt x="2554" y="3773"/>
                  </a:lnTo>
                  <a:lnTo>
                    <a:pt x="2570" y="3675"/>
                  </a:lnTo>
                  <a:lnTo>
                    <a:pt x="2581" y="3617"/>
                  </a:lnTo>
                  <a:lnTo>
                    <a:pt x="2595" y="3558"/>
                  </a:lnTo>
                  <a:lnTo>
                    <a:pt x="2630" y="3436"/>
                  </a:lnTo>
                  <a:lnTo>
                    <a:pt x="2650" y="3377"/>
                  </a:lnTo>
                  <a:lnTo>
                    <a:pt x="2674" y="3320"/>
                  </a:lnTo>
                  <a:lnTo>
                    <a:pt x="2698" y="3268"/>
                  </a:lnTo>
                  <a:lnTo>
                    <a:pt x="2725" y="3222"/>
                  </a:lnTo>
                  <a:lnTo>
                    <a:pt x="2753" y="3185"/>
                  </a:lnTo>
                  <a:lnTo>
                    <a:pt x="2783" y="3156"/>
                  </a:lnTo>
                  <a:lnTo>
                    <a:pt x="2799" y="3144"/>
                  </a:lnTo>
                  <a:lnTo>
                    <a:pt x="2815" y="3136"/>
                  </a:lnTo>
                  <a:lnTo>
                    <a:pt x="2831" y="3133"/>
                  </a:lnTo>
                  <a:lnTo>
                    <a:pt x="2848" y="3130"/>
                  </a:lnTo>
                  <a:lnTo>
                    <a:pt x="2866" y="3133"/>
                  </a:lnTo>
                  <a:lnTo>
                    <a:pt x="2883" y="3138"/>
                  </a:lnTo>
                  <a:lnTo>
                    <a:pt x="2899" y="3145"/>
                  </a:lnTo>
                  <a:lnTo>
                    <a:pt x="2915" y="3157"/>
                  </a:lnTo>
                  <a:lnTo>
                    <a:pt x="2945" y="3187"/>
                  </a:lnTo>
                  <a:lnTo>
                    <a:pt x="2953" y="3196"/>
                  </a:lnTo>
                  <a:lnTo>
                    <a:pt x="2960" y="3205"/>
                  </a:lnTo>
                  <a:lnTo>
                    <a:pt x="2974" y="3226"/>
                  </a:lnTo>
                  <a:lnTo>
                    <a:pt x="3001" y="3272"/>
                  </a:lnTo>
                  <a:lnTo>
                    <a:pt x="3024" y="3323"/>
                  </a:lnTo>
                  <a:lnTo>
                    <a:pt x="3045" y="3377"/>
                  </a:lnTo>
                  <a:lnTo>
                    <a:pt x="3065" y="3433"/>
                  </a:lnTo>
                  <a:lnTo>
                    <a:pt x="3083" y="3492"/>
                  </a:lnTo>
                  <a:lnTo>
                    <a:pt x="3099" y="3551"/>
                  </a:lnTo>
                  <a:lnTo>
                    <a:pt x="3113" y="3609"/>
                  </a:lnTo>
                  <a:lnTo>
                    <a:pt x="3125" y="3666"/>
                  </a:lnTo>
                  <a:lnTo>
                    <a:pt x="3135" y="3719"/>
                  </a:lnTo>
                  <a:lnTo>
                    <a:pt x="3142" y="3767"/>
                  </a:lnTo>
                  <a:lnTo>
                    <a:pt x="3147" y="3809"/>
                  </a:lnTo>
                  <a:lnTo>
                    <a:pt x="3148" y="3843"/>
                  </a:lnTo>
                  <a:lnTo>
                    <a:pt x="3147" y="3873"/>
                  </a:lnTo>
                  <a:lnTo>
                    <a:pt x="3143" y="3901"/>
                  </a:lnTo>
                  <a:lnTo>
                    <a:pt x="3135" y="3929"/>
                  </a:lnTo>
                  <a:lnTo>
                    <a:pt x="3126" y="3955"/>
                  </a:lnTo>
                  <a:lnTo>
                    <a:pt x="3115" y="3980"/>
                  </a:lnTo>
                  <a:lnTo>
                    <a:pt x="3101" y="4005"/>
                  </a:lnTo>
                  <a:lnTo>
                    <a:pt x="3067" y="4048"/>
                  </a:lnTo>
                  <a:lnTo>
                    <a:pt x="3025" y="4084"/>
                  </a:lnTo>
                  <a:lnTo>
                    <a:pt x="3002" y="4099"/>
                  </a:lnTo>
                  <a:lnTo>
                    <a:pt x="2977" y="4113"/>
                  </a:lnTo>
                  <a:lnTo>
                    <a:pt x="2952" y="4123"/>
                  </a:lnTo>
                  <a:lnTo>
                    <a:pt x="2925" y="4132"/>
                  </a:lnTo>
                  <a:lnTo>
                    <a:pt x="2897" y="4138"/>
                  </a:lnTo>
                  <a:lnTo>
                    <a:pt x="2868" y="4141"/>
                  </a:lnTo>
                  <a:lnTo>
                    <a:pt x="2868" y="4317"/>
                  </a:lnTo>
                  <a:lnTo>
                    <a:pt x="2998" y="4317"/>
                  </a:lnTo>
                  <a:lnTo>
                    <a:pt x="2998" y="4193"/>
                  </a:lnTo>
                  <a:lnTo>
                    <a:pt x="2999" y="4184"/>
                  </a:lnTo>
                  <a:lnTo>
                    <a:pt x="3003" y="4177"/>
                  </a:lnTo>
                  <a:lnTo>
                    <a:pt x="3010" y="4173"/>
                  </a:lnTo>
                  <a:lnTo>
                    <a:pt x="3017" y="4172"/>
                  </a:lnTo>
                  <a:lnTo>
                    <a:pt x="3025" y="4173"/>
                  </a:lnTo>
                  <a:lnTo>
                    <a:pt x="3031" y="4177"/>
                  </a:lnTo>
                  <a:lnTo>
                    <a:pt x="3035" y="4184"/>
                  </a:lnTo>
                  <a:lnTo>
                    <a:pt x="3038" y="4193"/>
                  </a:lnTo>
                  <a:lnTo>
                    <a:pt x="3038" y="4332"/>
                  </a:lnTo>
                  <a:lnTo>
                    <a:pt x="3036" y="4340"/>
                  </a:lnTo>
                  <a:lnTo>
                    <a:pt x="3031" y="4346"/>
                  </a:lnTo>
                  <a:lnTo>
                    <a:pt x="3025" y="4354"/>
                  </a:lnTo>
                  <a:lnTo>
                    <a:pt x="3013" y="4356"/>
                  </a:lnTo>
                  <a:lnTo>
                    <a:pt x="2343" y="4356"/>
                  </a:lnTo>
                  <a:lnTo>
                    <a:pt x="1672" y="4356"/>
                  </a:lnTo>
                  <a:lnTo>
                    <a:pt x="1001" y="4356"/>
                  </a:lnTo>
                  <a:lnTo>
                    <a:pt x="332" y="4356"/>
                  </a:lnTo>
                  <a:close/>
                  <a:moveTo>
                    <a:pt x="1458" y="2791"/>
                  </a:moveTo>
                  <a:lnTo>
                    <a:pt x="900" y="2791"/>
                  </a:lnTo>
                  <a:lnTo>
                    <a:pt x="342" y="2791"/>
                  </a:lnTo>
                  <a:lnTo>
                    <a:pt x="342" y="3553"/>
                  </a:lnTo>
                  <a:lnTo>
                    <a:pt x="342" y="4317"/>
                  </a:lnTo>
                  <a:lnTo>
                    <a:pt x="1218" y="4317"/>
                  </a:lnTo>
                  <a:lnTo>
                    <a:pt x="2095" y="4317"/>
                  </a:lnTo>
                  <a:lnTo>
                    <a:pt x="2095" y="3553"/>
                  </a:lnTo>
                  <a:lnTo>
                    <a:pt x="2095" y="2791"/>
                  </a:lnTo>
                  <a:lnTo>
                    <a:pt x="1723" y="2791"/>
                  </a:lnTo>
                  <a:lnTo>
                    <a:pt x="1714" y="2790"/>
                  </a:lnTo>
                  <a:lnTo>
                    <a:pt x="1708" y="2786"/>
                  </a:lnTo>
                  <a:lnTo>
                    <a:pt x="1704" y="2780"/>
                  </a:lnTo>
                  <a:lnTo>
                    <a:pt x="1703" y="2772"/>
                  </a:lnTo>
                  <a:lnTo>
                    <a:pt x="1704" y="2764"/>
                  </a:lnTo>
                  <a:lnTo>
                    <a:pt x="1708" y="2758"/>
                  </a:lnTo>
                  <a:lnTo>
                    <a:pt x="1714" y="2754"/>
                  </a:lnTo>
                  <a:lnTo>
                    <a:pt x="1723" y="2751"/>
                  </a:lnTo>
                  <a:lnTo>
                    <a:pt x="1976" y="2751"/>
                  </a:lnTo>
                  <a:lnTo>
                    <a:pt x="1976" y="2598"/>
                  </a:lnTo>
                  <a:lnTo>
                    <a:pt x="1025" y="2598"/>
                  </a:lnTo>
                  <a:lnTo>
                    <a:pt x="1018" y="2602"/>
                  </a:lnTo>
                  <a:lnTo>
                    <a:pt x="1010" y="2603"/>
                  </a:lnTo>
                  <a:lnTo>
                    <a:pt x="544" y="2603"/>
                  </a:lnTo>
                  <a:lnTo>
                    <a:pt x="536" y="2602"/>
                  </a:lnTo>
                  <a:lnTo>
                    <a:pt x="531" y="2598"/>
                  </a:lnTo>
                  <a:lnTo>
                    <a:pt x="480" y="2598"/>
                  </a:lnTo>
                  <a:lnTo>
                    <a:pt x="480" y="2751"/>
                  </a:lnTo>
                  <a:lnTo>
                    <a:pt x="1458" y="2751"/>
                  </a:lnTo>
                  <a:lnTo>
                    <a:pt x="1467" y="2754"/>
                  </a:lnTo>
                  <a:lnTo>
                    <a:pt x="1473" y="2758"/>
                  </a:lnTo>
                  <a:lnTo>
                    <a:pt x="1477" y="2764"/>
                  </a:lnTo>
                  <a:lnTo>
                    <a:pt x="1478" y="2772"/>
                  </a:lnTo>
                  <a:lnTo>
                    <a:pt x="1477" y="2780"/>
                  </a:lnTo>
                  <a:lnTo>
                    <a:pt x="1473" y="2786"/>
                  </a:lnTo>
                  <a:lnTo>
                    <a:pt x="1467" y="2790"/>
                  </a:lnTo>
                  <a:lnTo>
                    <a:pt x="1458" y="2791"/>
                  </a:lnTo>
                  <a:close/>
                  <a:moveTo>
                    <a:pt x="2829" y="4085"/>
                  </a:moveTo>
                  <a:lnTo>
                    <a:pt x="2829" y="4077"/>
                  </a:lnTo>
                  <a:lnTo>
                    <a:pt x="2594" y="3774"/>
                  </a:lnTo>
                  <a:lnTo>
                    <a:pt x="2590" y="3814"/>
                  </a:lnTo>
                  <a:lnTo>
                    <a:pt x="2588" y="3843"/>
                  </a:lnTo>
                  <a:lnTo>
                    <a:pt x="2589" y="3868"/>
                  </a:lnTo>
                  <a:lnTo>
                    <a:pt x="2593" y="3893"/>
                  </a:lnTo>
                  <a:lnTo>
                    <a:pt x="2599" y="3916"/>
                  </a:lnTo>
                  <a:lnTo>
                    <a:pt x="2607" y="3939"/>
                  </a:lnTo>
                  <a:lnTo>
                    <a:pt x="2617" y="3961"/>
                  </a:lnTo>
                  <a:lnTo>
                    <a:pt x="2629" y="3982"/>
                  </a:lnTo>
                  <a:lnTo>
                    <a:pt x="2643" y="4002"/>
                  </a:lnTo>
                  <a:lnTo>
                    <a:pt x="2658" y="4020"/>
                  </a:lnTo>
                  <a:lnTo>
                    <a:pt x="2675" y="4037"/>
                  </a:lnTo>
                  <a:lnTo>
                    <a:pt x="2693" y="4051"/>
                  </a:lnTo>
                  <a:lnTo>
                    <a:pt x="2713" y="4065"/>
                  </a:lnTo>
                  <a:lnTo>
                    <a:pt x="2734" y="4076"/>
                  </a:lnTo>
                  <a:lnTo>
                    <a:pt x="2756" y="4085"/>
                  </a:lnTo>
                  <a:lnTo>
                    <a:pt x="2779" y="4093"/>
                  </a:lnTo>
                  <a:lnTo>
                    <a:pt x="2803" y="4098"/>
                  </a:lnTo>
                  <a:lnTo>
                    <a:pt x="2829" y="4102"/>
                  </a:lnTo>
                  <a:lnTo>
                    <a:pt x="2829" y="4093"/>
                  </a:lnTo>
                  <a:lnTo>
                    <a:pt x="2829" y="4085"/>
                  </a:lnTo>
                  <a:close/>
                  <a:moveTo>
                    <a:pt x="1903" y="3824"/>
                  </a:moveTo>
                  <a:lnTo>
                    <a:pt x="1903" y="3937"/>
                  </a:lnTo>
                  <a:lnTo>
                    <a:pt x="1902" y="3946"/>
                  </a:lnTo>
                  <a:lnTo>
                    <a:pt x="1896" y="3952"/>
                  </a:lnTo>
                  <a:lnTo>
                    <a:pt x="1890" y="3956"/>
                  </a:lnTo>
                  <a:lnTo>
                    <a:pt x="1882" y="3957"/>
                  </a:lnTo>
                  <a:lnTo>
                    <a:pt x="1876" y="3956"/>
                  </a:lnTo>
                  <a:lnTo>
                    <a:pt x="1870" y="3952"/>
                  </a:lnTo>
                  <a:lnTo>
                    <a:pt x="1864" y="3946"/>
                  </a:lnTo>
                  <a:lnTo>
                    <a:pt x="1863" y="3937"/>
                  </a:lnTo>
                  <a:lnTo>
                    <a:pt x="1863" y="3824"/>
                  </a:lnTo>
                  <a:lnTo>
                    <a:pt x="1864" y="3817"/>
                  </a:lnTo>
                  <a:lnTo>
                    <a:pt x="1870" y="3810"/>
                  </a:lnTo>
                  <a:lnTo>
                    <a:pt x="1876" y="3806"/>
                  </a:lnTo>
                  <a:lnTo>
                    <a:pt x="1882" y="3805"/>
                  </a:lnTo>
                  <a:lnTo>
                    <a:pt x="1890" y="3806"/>
                  </a:lnTo>
                  <a:lnTo>
                    <a:pt x="1896" y="3810"/>
                  </a:lnTo>
                  <a:lnTo>
                    <a:pt x="1902" y="3817"/>
                  </a:lnTo>
                  <a:lnTo>
                    <a:pt x="1903" y="3824"/>
                  </a:lnTo>
                  <a:close/>
                  <a:moveTo>
                    <a:pt x="587" y="3118"/>
                  </a:moveTo>
                  <a:lnTo>
                    <a:pt x="587" y="3231"/>
                  </a:lnTo>
                  <a:lnTo>
                    <a:pt x="586" y="3240"/>
                  </a:lnTo>
                  <a:lnTo>
                    <a:pt x="581" y="3246"/>
                  </a:lnTo>
                  <a:lnTo>
                    <a:pt x="574" y="3250"/>
                  </a:lnTo>
                  <a:lnTo>
                    <a:pt x="567" y="3251"/>
                  </a:lnTo>
                  <a:lnTo>
                    <a:pt x="560" y="3250"/>
                  </a:lnTo>
                  <a:lnTo>
                    <a:pt x="554" y="3246"/>
                  </a:lnTo>
                  <a:lnTo>
                    <a:pt x="549" y="3240"/>
                  </a:lnTo>
                  <a:lnTo>
                    <a:pt x="548" y="3231"/>
                  </a:lnTo>
                  <a:lnTo>
                    <a:pt x="548" y="3118"/>
                  </a:lnTo>
                  <a:lnTo>
                    <a:pt x="549" y="3111"/>
                  </a:lnTo>
                  <a:lnTo>
                    <a:pt x="554" y="3104"/>
                  </a:lnTo>
                  <a:lnTo>
                    <a:pt x="560" y="3101"/>
                  </a:lnTo>
                  <a:lnTo>
                    <a:pt x="567" y="3099"/>
                  </a:lnTo>
                  <a:lnTo>
                    <a:pt x="574" y="3101"/>
                  </a:lnTo>
                  <a:lnTo>
                    <a:pt x="581" y="3104"/>
                  </a:lnTo>
                  <a:lnTo>
                    <a:pt x="586" y="3111"/>
                  </a:lnTo>
                  <a:lnTo>
                    <a:pt x="587" y="3118"/>
                  </a:lnTo>
                  <a:close/>
                  <a:moveTo>
                    <a:pt x="850" y="3118"/>
                  </a:moveTo>
                  <a:lnTo>
                    <a:pt x="850" y="3231"/>
                  </a:lnTo>
                  <a:lnTo>
                    <a:pt x="849" y="3240"/>
                  </a:lnTo>
                  <a:lnTo>
                    <a:pt x="844" y="3246"/>
                  </a:lnTo>
                  <a:lnTo>
                    <a:pt x="837" y="3250"/>
                  </a:lnTo>
                  <a:lnTo>
                    <a:pt x="831" y="3251"/>
                  </a:lnTo>
                  <a:lnTo>
                    <a:pt x="823" y="3250"/>
                  </a:lnTo>
                  <a:lnTo>
                    <a:pt x="817" y="3246"/>
                  </a:lnTo>
                  <a:lnTo>
                    <a:pt x="812" y="3240"/>
                  </a:lnTo>
                  <a:lnTo>
                    <a:pt x="810" y="3231"/>
                  </a:lnTo>
                  <a:lnTo>
                    <a:pt x="810" y="3118"/>
                  </a:lnTo>
                  <a:lnTo>
                    <a:pt x="812" y="3111"/>
                  </a:lnTo>
                  <a:lnTo>
                    <a:pt x="817" y="3104"/>
                  </a:lnTo>
                  <a:lnTo>
                    <a:pt x="823" y="3101"/>
                  </a:lnTo>
                  <a:lnTo>
                    <a:pt x="831" y="3099"/>
                  </a:lnTo>
                  <a:lnTo>
                    <a:pt x="837" y="3101"/>
                  </a:lnTo>
                  <a:lnTo>
                    <a:pt x="844" y="3104"/>
                  </a:lnTo>
                  <a:lnTo>
                    <a:pt x="849" y="3111"/>
                  </a:lnTo>
                  <a:lnTo>
                    <a:pt x="850" y="3118"/>
                  </a:lnTo>
                  <a:close/>
                  <a:moveTo>
                    <a:pt x="1113" y="3118"/>
                  </a:moveTo>
                  <a:lnTo>
                    <a:pt x="1113" y="3231"/>
                  </a:lnTo>
                  <a:lnTo>
                    <a:pt x="1112" y="3240"/>
                  </a:lnTo>
                  <a:lnTo>
                    <a:pt x="1107" y="3246"/>
                  </a:lnTo>
                  <a:lnTo>
                    <a:pt x="1100" y="3250"/>
                  </a:lnTo>
                  <a:lnTo>
                    <a:pt x="1094" y="3251"/>
                  </a:lnTo>
                  <a:lnTo>
                    <a:pt x="1086" y="3250"/>
                  </a:lnTo>
                  <a:lnTo>
                    <a:pt x="1080" y="3246"/>
                  </a:lnTo>
                  <a:lnTo>
                    <a:pt x="1076" y="3240"/>
                  </a:lnTo>
                  <a:lnTo>
                    <a:pt x="1073" y="3231"/>
                  </a:lnTo>
                  <a:lnTo>
                    <a:pt x="1073" y="3118"/>
                  </a:lnTo>
                  <a:lnTo>
                    <a:pt x="1076" y="3111"/>
                  </a:lnTo>
                  <a:lnTo>
                    <a:pt x="1080" y="3104"/>
                  </a:lnTo>
                  <a:lnTo>
                    <a:pt x="1086" y="3101"/>
                  </a:lnTo>
                  <a:lnTo>
                    <a:pt x="1094" y="3099"/>
                  </a:lnTo>
                  <a:lnTo>
                    <a:pt x="1100" y="3101"/>
                  </a:lnTo>
                  <a:lnTo>
                    <a:pt x="1107" y="3104"/>
                  </a:lnTo>
                  <a:lnTo>
                    <a:pt x="1112" y="3111"/>
                  </a:lnTo>
                  <a:lnTo>
                    <a:pt x="1113" y="3118"/>
                  </a:lnTo>
                  <a:close/>
                  <a:moveTo>
                    <a:pt x="1377" y="3118"/>
                  </a:moveTo>
                  <a:lnTo>
                    <a:pt x="1377" y="3231"/>
                  </a:lnTo>
                  <a:lnTo>
                    <a:pt x="1375" y="3240"/>
                  </a:lnTo>
                  <a:lnTo>
                    <a:pt x="1371" y="3246"/>
                  </a:lnTo>
                  <a:lnTo>
                    <a:pt x="1364" y="3250"/>
                  </a:lnTo>
                  <a:lnTo>
                    <a:pt x="1357" y="3251"/>
                  </a:lnTo>
                  <a:lnTo>
                    <a:pt x="1349" y="3250"/>
                  </a:lnTo>
                  <a:lnTo>
                    <a:pt x="1343" y="3246"/>
                  </a:lnTo>
                  <a:lnTo>
                    <a:pt x="1339" y="3240"/>
                  </a:lnTo>
                  <a:lnTo>
                    <a:pt x="1336" y="3231"/>
                  </a:lnTo>
                  <a:lnTo>
                    <a:pt x="1336" y="3118"/>
                  </a:lnTo>
                  <a:lnTo>
                    <a:pt x="1339" y="3111"/>
                  </a:lnTo>
                  <a:lnTo>
                    <a:pt x="1343" y="3104"/>
                  </a:lnTo>
                  <a:lnTo>
                    <a:pt x="1349" y="3101"/>
                  </a:lnTo>
                  <a:lnTo>
                    <a:pt x="1357" y="3099"/>
                  </a:lnTo>
                  <a:lnTo>
                    <a:pt x="1364" y="3101"/>
                  </a:lnTo>
                  <a:lnTo>
                    <a:pt x="1371" y="3104"/>
                  </a:lnTo>
                  <a:lnTo>
                    <a:pt x="1375" y="3111"/>
                  </a:lnTo>
                  <a:lnTo>
                    <a:pt x="1377" y="3118"/>
                  </a:lnTo>
                  <a:close/>
                  <a:moveTo>
                    <a:pt x="1640" y="3118"/>
                  </a:moveTo>
                  <a:lnTo>
                    <a:pt x="1640" y="3231"/>
                  </a:lnTo>
                  <a:lnTo>
                    <a:pt x="1637" y="3240"/>
                  </a:lnTo>
                  <a:lnTo>
                    <a:pt x="1634" y="3246"/>
                  </a:lnTo>
                  <a:lnTo>
                    <a:pt x="1627" y="3250"/>
                  </a:lnTo>
                  <a:lnTo>
                    <a:pt x="1620" y="3251"/>
                  </a:lnTo>
                  <a:lnTo>
                    <a:pt x="1612" y="3250"/>
                  </a:lnTo>
                  <a:lnTo>
                    <a:pt x="1605" y="3246"/>
                  </a:lnTo>
                  <a:lnTo>
                    <a:pt x="1602" y="3240"/>
                  </a:lnTo>
                  <a:lnTo>
                    <a:pt x="1600" y="3231"/>
                  </a:lnTo>
                  <a:lnTo>
                    <a:pt x="1600" y="3118"/>
                  </a:lnTo>
                  <a:lnTo>
                    <a:pt x="1602" y="3111"/>
                  </a:lnTo>
                  <a:lnTo>
                    <a:pt x="1605" y="3104"/>
                  </a:lnTo>
                  <a:lnTo>
                    <a:pt x="1612" y="3101"/>
                  </a:lnTo>
                  <a:lnTo>
                    <a:pt x="1620" y="3099"/>
                  </a:lnTo>
                  <a:lnTo>
                    <a:pt x="1627" y="3101"/>
                  </a:lnTo>
                  <a:lnTo>
                    <a:pt x="1634" y="3104"/>
                  </a:lnTo>
                  <a:lnTo>
                    <a:pt x="1637" y="3111"/>
                  </a:lnTo>
                  <a:lnTo>
                    <a:pt x="1640" y="3118"/>
                  </a:lnTo>
                  <a:close/>
                  <a:moveTo>
                    <a:pt x="1903" y="3118"/>
                  </a:moveTo>
                  <a:lnTo>
                    <a:pt x="1903" y="3231"/>
                  </a:lnTo>
                  <a:lnTo>
                    <a:pt x="1902" y="3240"/>
                  </a:lnTo>
                  <a:lnTo>
                    <a:pt x="1896" y="3246"/>
                  </a:lnTo>
                  <a:lnTo>
                    <a:pt x="1890" y="3250"/>
                  </a:lnTo>
                  <a:lnTo>
                    <a:pt x="1882" y="3251"/>
                  </a:lnTo>
                  <a:lnTo>
                    <a:pt x="1876" y="3250"/>
                  </a:lnTo>
                  <a:lnTo>
                    <a:pt x="1870" y="3246"/>
                  </a:lnTo>
                  <a:lnTo>
                    <a:pt x="1864" y="3240"/>
                  </a:lnTo>
                  <a:lnTo>
                    <a:pt x="1863" y="3231"/>
                  </a:lnTo>
                  <a:lnTo>
                    <a:pt x="1863" y="3118"/>
                  </a:lnTo>
                  <a:lnTo>
                    <a:pt x="1864" y="3111"/>
                  </a:lnTo>
                  <a:lnTo>
                    <a:pt x="1870" y="3104"/>
                  </a:lnTo>
                  <a:lnTo>
                    <a:pt x="1876" y="3101"/>
                  </a:lnTo>
                  <a:lnTo>
                    <a:pt x="1882" y="3099"/>
                  </a:lnTo>
                  <a:lnTo>
                    <a:pt x="1890" y="3101"/>
                  </a:lnTo>
                  <a:lnTo>
                    <a:pt x="1896" y="3104"/>
                  </a:lnTo>
                  <a:lnTo>
                    <a:pt x="1902" y="3111"/>
                  </a:lnTo>
                  <a:lnTo>
                    <a:pt x="1903" y="3118"/>
                  </a:lnTo>
                  <a:close/>
                  <a:moveTo>
                    <a:pt x="587" y="3354"/>
                  </a:moveTo>
                  <a:lnTo>
                    <a:pt x="587" y="3466"/>
                  </a:lnTo>
                  <a:lnTo>
                    <a:pt x="586" y="3475"/>
                  </a:lnTo>
                  <a:lnTo>
                    <a:pt x="581" y="3482"/>
                  </a:lnTo>
                  <a:lnTo>
                    <a:pt x="574" y="3485"/>
                  </a:lnTo>
                  <a:lnTo>
                    <a:pt x="567" y="3487"/>
                  </a:lnTo>
                  <a:lnTo>
                    <a:pt x="560" y="3485"/>
                  </a:lnTo>
                  <a:lnTo>
                    <a:pt x="554" y="3482"/>
                  </a:lnTo>
                  <a:lnTo>
                    <a:pt x="549" y="3475"/>
                  </a:lnTo>
                  <a:lnTo>
                    <a:pt x="548" y="3466"/>
                  </a:lnTo>
                  <a:lnTo>
                    <a:pt x="548" y="3354"/>
                  </a:lnTo>
                  <a:lnTo>
                    <a:pt x="549" y="3346"/>
                  </a:lnTo>
                  <a:lnTo>
                    <a:pt x="554" y="3340"/>
                  </a:lnTo>
                  <a:lnTo>
                    <a:pt x="560" y="3336"/>
                  </a:lnTo>
                  <a:lnTo>
                    <a:pt x="567" y="3335"/>
                  </a:lnTo>
                  <a:lnTo>
                    <a:pt x="574" y="3336"/>
                  </a:lnTo>
                  <a:lnTo>
                    <a:pt x="581" y="3340"/>
                  </a:lnTo>
                  <a:lnTo>
                    <a:pt x="586" y="3346"/>
                  </a:lnTo>
                  <a:lnTo>
                    <a:pt x="587" y="3354"/>
                  </a:lnTo>
                  <a:close/>
                  <a:moveTo>
                    <a:pt x="850" y="3354"/>
                  </a:moveTo>
                  <a:lnTo>
                    <a:pt x="850" y="3466"/>
                  </a:lnTo>
                  <a:lnTo>
                    <a:pt x="849" y="3475"/>
                  </a:lnTo>
                  <a:lnTo>
                    <a:pt x="844" y="3482"/>
                  </a:lnTo>
                  <a:lnTo>
                    <a:pt x="837" y="3485"/>
                  </a:lnTo>
                  <a:lnTo>
                    <a:pt x="831" y="3487"/>
                  </a:lnTo>
                  <a:lnTo>
                    <a:pt x="823" y="3485"/>
                  </a:lnTo>
                  <a:lnTo>
                    <a:pt x="817" y="3482"/>
                  </a:lnTo>
                  <a:lnTo>
                    <a:pt x="812" y="3475"/>
                  </a:lnTo>
                  <a:lnTo>
                    <a:pt x="810" y="3466"/>
                  </a:lnTo>
                  <a:lnTo>
                    <a:pt x="810" y="3354"/>
                  </a:lnTo>
                  <a:lnTo>
                    <a:pt x="812" y="3346"/>
                  </a:lnTo>
                  <a:lnTo>
                    <a:pt x="817" y="3340"/>
                  </a:lnTo>
                  <a:lnTo>
                    <a:pt x="823" y="3336"/>
                  </a:lnTo>
                  <a:lnTo>
                    <a:pt x="831" y="3335"/>
                  </a:lnTo>
                  <a:lnTo>
                    <a:pt x="837" y="3336"/>
                  </a:lnTo>
                  <a:lnTo>
                    <a:pt x="844" y="3340"/>
                  </a:lnTo>
                  <a:lnTo>
                    <a:pt x="849" y="3346"/>
                  </a:lnTo>
                  <a:lnTo>
                    <a:pt x="850" y="3354"/>
                  </a:lnTo>
                  <a:close/>
                  <a:moveTo>
                    <a:pt x="1113" y="3354"/>
                  </a:moveTo>
                  <a:lnTo>
                    <a:pt x="1113" y="3466"/>
                  </a:lnTo>
                  <a:lnTo>
                    <a:pt x="1112" y="3475"/>
                  </a:lnTo>
                  <a:lnTo>
                    <a:pt x="1107" y="3482"/>
                  </a:lnTo>
                  <a:lnTo>
                    <a:pt x="1100" y="3485"/>
                  </a:lnTo>
                  <a:lnTo>
                    <a:pt x="1094" y="3487"/>
                  </a:lnTo>
                  <a:lnTo>
                    <a:pt x="1086" y="3485"/>
                  </a:lnTo>
                  <a:lnTo>
                    <a:pt x="1080" y="3482"/>
                  </a:lnTo>
                  <a:lnTo>
                    <a:pt x="1076" y="3475"/>
                  </a:lnTo>
                  <a:lnTo>
                    <a:pt x="1073" y="3466"/>
                  </a:lnTo>
                  <a:lnTo>
                    <a:pt x="1073" y="3354"/>
                  </a:lnTo>
                  <a:lnTo>
                    <a:pt x="1076" y="3346"/>
                  </a:lnTo>
                  <a:lnTo>
                    <a:pt x="1080" y="3340"/>
                  </a:lnTo>
                  <a:lnTo>
                    <a:pt x="1086" y="3336"/>
                  </a:lnTo>
                  <a:lnTo>
                    <a:pt x="1094" y="3335"/>
                  </a:lnTo>
                  <a:lnTo>
                    <a:pt x="1100" y="3336"/>
                  </a:lnTo>
                  <a:lnTo>
                    <a:pt x="1107" y="3340"/>
                  </a:lnTo>
                  <a:lnTo>
                    <a:pt x="1112" y="3346"/>
                  </a:lnTo>
                  <a:lnTo>
                    <a:pt x="1113" y="3354"/>
                  </a:lnTo>
                  <a:close/>
                  <a:moveTo>
                    <a:pt x="1377" y="3354"/>
                  </a:moveTo>
                  <a:lnTo>
                    <a:pt x="1377" y="3466"/>
                  </a:lnTo>
                  <a:lnTo>
                    <a:pt x="1375" y="3475"/>
                  </a:lnTo>
                  <a:lnTo>
                    <a:pt x="1371" y="3482"/>
                  </a:lnTo>
                  <a:lnTo>
                    <a:pt x="1364" y="3485"/>
                  </a:lnTo>
                  <a:lnTo>
                    <a:pt x="1357" y="3487"/>
                  </a:lnTo>
                  <a:lnTo>
                    <a:pt x="1349" y="3485"/>
                  </a:lnTo>
                  <a:lnTo>
                    <a:pt x="1343" y="3482"/>
                  </a:lnTo>
                  <a:lnTo>
                    <a:pt x="1339" y="3475"/>
                  </a:lnTo>
                  <a:lnTo>
                    <a:pt x="1336" y="3466"/>
                  </a:lnTo>
                  <a:lnTo>
                    <a:pt x="1336" y="3354"/>
                  </a:lnTo>
                  <a:lnTo>
                    <a:pt x="1339" y="3346"/>
                  </a:lnTo>
                  <a:lnTo>
                    <a:pt x="1343" y="3340"/>
                  </a:lnTo>
                  <a:lnTo>
                    <a:pt x="1349" y="3336"/>
                  </a:lnTo>
                  <a:lnTo>
                    <a:pt x="1357" y="3335"/>
                  </a:lnTo>
                  <a:lnTo>
                    <a:pt x="1364" y="3336"/>
                  </a:lnTo>
                  <a:lnTo>
                    <a:pt x="1371" y="3340"/>
                  </a:lnTo>
                  <a:lnTo>
                    <a:pt x="1375" y="3346"/>
                  </a:lnTo>
                  <a:lnTo>
                    <a:pt x="1377" y="3354"/>
                  </a:lnTo>
                  <a:close/>
                  <a:moveTo>
                    <a:pt x="1640" y="3354"/>
                  </a:moveTo>
                  <a:lnTo>
                    <a:pt x="1640" y="3466"/>
                  </a:lnTo>
                  <a:lnTo>
                    <a:pt x="1637" y="3475"/>
                  </a:lnTo>
                  <a:lnTo>
                    <a:pt x="1634" y="3482"/>
                  </a:lnTo>
                  <a:lnTo>
                    <a:pt x="1627" y="3485"/>
                  </a:lnTo>
                  <a:lnTo>
                    <a:pt x="1620" y="3487"/>
                  </a:lnTo>
                  <a:lnTo>
                    <a:pt x="1612" y="3485"/>
                  </a:lnTo>
                  <a:lnTo>
                    <a:pt x="1605" y="3482"/>
                  </a:lnTo>
                  <a:lnTo>
                    <a:pt x="1602" y="3475"/>
                  </a:lnTo>
                  <a:lnTo>
                    <a:pt x="1600" y="3466"/>
                  </a:lnTo>
                  <a:lnTo>
                    <a:pt x="1600" y="3354"/>
                  </a:lnTo>
                  <a:lnTo>
                    <a:pt x="1602" y="3346"/>
                  </a:lnTo>
                  <a:lnTo>
                    <a:pt x="1605" y="3340"/>
                  </a:lnTo>
                  <a:lnTo>
                    <a:pt x="1612" y="3336"/>
                  </a:lnTo>
                  <a:lnTo>
                    <a:pt x="1620" y="3335"/>
                  </a:lnTo>
                  <a:lnTo>
                    <a:pt x="1627" y="3336"/>
                  </a:lnTo>
                  <a:lnTo>
                    <a:pt x="1634" y="3340"/>
                  </a:lnTo>
                  <a:lnTo>
                    <a:pt x="1637" y="3346"/>
                  </a:lnTo>
                  <a:lnTo>
                    <a:pt x="1640" y="3354"/>
                  </a:lnTo>
                  <a:close/>
                  <a:moveTo>
                    <a:pt x="1903" y="3354"/>
                  </a:moveTo>
                  <a:lnTo>
                    <a:pt x="1903" y="3466"/>
                  </a:lnTo>
                  <a:lnTo>
                    <a:pt x="1902" y="3475"/>
                  </a:lnTo>
                  <a:lnTo>
                    <a:pt x="1896" y="3482"/>
                  </a:lnTo>
                  <a:lnTo>
                    <a:pt x="1890" y="3485"/>
                  </a:lnTo>
                  <a:lnTo>
                    <a:pt x="1882" y="3487"/>
                  </a:lnTo>
                  <a:lnTo>
                    <a:pt x="1876" y="3485"/>
                  </a:lnTo>
                  <a:lnTo>
                    <a:pt x="1870" y="3482"/>
                  </a:lnTo>
                  <a:lnTo>
                    <a:pt x="1864" y="3475"/>
                  </a:lnTo>
                  <a:lnTo>
                    <a:pt x="1863" y="3466"/>
                  </a:lnTo>
                  <a:lnTo>
                    <a:pt x="1863" y="3354"/>
                  </a:lnTo>
                  <a:lnTo>
                    <a:pt x="1864" y="3346"/>
                  </a:lnTo>
                  <a:lnTo>
                    <a:pt x="1870" y="3340"/>
                  </a:lnTo>
                  <a:lnTo>
                    <a:pt x="1876" y="3336"/>
                  </a:lnTo>
                  <a:lnTo>
                    <a:pt x="1882" y="3335"/>
                  </a:lnTo>
                  <a:lnTo>
                    <a:pt x="1890" y="3336"/>
                  </a:lnTo>
                  <a:lnTo>
                    <a:pt x="1896" y="3340"/>
                  </a:lnTo>
                  <a:lnTo>
                    <a:pt x="1902" y="3346"/>
                  </a:lnTo>
                  <a:lnTo>
                    <a:pt x="1903" y="3354"/>
                  </a:lnTo>
                  <a:close/>
                  <a:moveTo>
                    <a:pt x="587" y="3589"/>
                  </a:moveTo>
                  <a:lnTo>
                    <a:pt x="587" y="3702"/>
                  </a:lnTo>
                  <a:lnTo>
                    <a:pt x="586" y="3710"/>
                  </a:lnTo>
                  <a:lnTo>
                    <a:pt x="581" y="3717"/>
                  </a:lnTo>
                  <a:lnTo>
                    <a:pt x="574" y="3721"/>
                  </a:lnTo>
                  <a:lnTo>
                    <a:pt x="567" y="3722"/>
                  </a:lnTo>
                  <a:lnTo>
                    <a:pt x="560" y="3721"/>
                  </a:lnTo>
                  <a:lnTo>
                    <a:pt x="554" y="3717"/>
                  </a:lnTo>
                  <a:lnTo>
                    <a:pt x="549" y="3710"/>
                  </a:lnTo>
                  <a:lnTo>
                    <a:pt x="548" y="3702"/>
                  </a:lnTo>
                  <a:lnTo>
                    <a:pt x="548" y="3589"/>
                  </a:lnTo>
                  <a:lnTo>
                    <a:pt x="549" y="3581"/>
                  </a:lnTo>
                  <a:lnTo>
                    <a:pt x="554" y="3575"/>
                  </a:lnTo>
                  <a:lnTo>
                    <a:pt x="560" y="3571"/>
                  </a:lnTo>
                  <a:lnTo>
                    <a:pt x="567" y="3570"/>
                  </a:lnTo>
                  <a:lnTo>
                    <a:pt x="574" y="3571"/>
                  </a:lnTo>
                  <a:lnTo>
                    <a:pt x="581" y="3575"/>
                  </a:lnTo>
                  <a:lnTo>
                    <a:pt x="586" y="3581"/>
                  </a:lnTo>
                  <a:lnTo>
                    <a:pt x="587" y="3589"/>
                  </a:lnTo>
                  <a:close/>
                  <a:moveTo>
                    <a:pt x="850" y="3589"/>
                  </a:moveTo>
                  <a:lnTo>
                    <a:pt x="850" y="3702"/>
                  </a:lnTo>
                  <a:lnTo>
                    <a:pt x="849" y="3710"/>
                  </a:lnTo>
                  <a:lnTo>
                    <a:pt x="844" y="3717"/>
                  </a:lnTo>
                  <a:lnTo>
                    <a:pt x="837" y="3721"/>
                  </a:lnTo>
                  <a:lnTo>
                    <a:pt x="831" y="3722"/>
                  </a:lnTo>
                  <a:lnTo>
                    <a:pt x="823" y="3721"/>
                  </a:lnTo>
                  <a:lnTo>
                    <a:pt x="817" y="3717"/>
                  </a:lnTo>
                  <a:lnTo>
                    <a:pt x="812" y="3710"/>
                  </a:lnTo>
                  <a:lnTo>
                    <a:pt x="810" y="3702"/>
                  </a:lnTo>
                  <a:lnTo>
                    <a:pt x="810" y="3589"/>
                  </a:lnTo>
                  <a:lnTo>
                    <a:pt x="812" y="3581"/>
                  </a:lnTo>
                  <a:lnTo>
                    <a:pt x="817" y="3575"/>
                  </a:lnTo>
                  <a:lnTo>
                    <a:pt x="823" y="3571"/>
                  </a:lnTo>
                  <a:lnTo>
                    <a:pt x="831" y="3570"/>
                  </a:lnTo>
                  <a:lnTo>
                    <a:pt x="837" y="3571"/>
                  </a:lnTo>
                  <a:lnTo>
                    <a:pt x="844" y="3575"/>
                  </a:lnTo>
                  <a:lnTo>
                    <a:pt x="849" y="3581"/>
                  </a:lnTo>
                  <a:lnTo>
                    <a:pt x="850" y="3589"/>
                  </a:lnTo>
                  <a:close/>
                  <a:moveTo>
                    <a:pt x="1113" y="3589"/>
                  </a:moveTo>
                  <a:lnTo>
                    <a:pt x="1113" y="3702"/>
                  </a:lnTo>
                  <a:lnTo>
                    <a:pt x="1112" y="3710"/>
                  </a:lnTo>
                  <a:lnTo>
                    <a:pt x="1107" y="3717"/>
                  </a:lnTo>
                  <a:lnTo>
                    <a:pt x="1100" y="3721"/>
                  </a:lnTo>
                  <a:lnTo>
                    <a:pt x="1094" y="3722"/>
                  </a:lnTo>
                  <a:lnTo>
                    <a:pt x="1086" y="3721"/>
                  </a:lnTo>
                  <a:lnTo>
                    <a:pt x="1080" y="3717"/>
                  </a:lnTo>
                  <a:lnTo>
                    <a:pt x="1076" y="3710"/>
                  </a:lnTo>
                  <a:lnTo>
                    <a:pt x="1073" y="3702"/>
                  </a:lnTo>
                  <a:lnTo>
                    <a:pt x="1073" y="3589"/>
                  </a:lnTo>
                  <a:lnTo>
                    <a:pt x="1076" y="3581"/>
                  </a:lnTo>
                  <a:lnTo>
                    <a:pt x="1080" y="3575"/>
                  </a:lnTo>
                  <a:lnTo>
                    <a:pt x="1086" y="3571"/>
                  </a:lnTo>
                  <a:lnTo>
                    <a:pt x="1094" y="3570"/>
                  </a:lnTo>
                  <a:lnTo>
                    <a:pt x="1100" y="3571"/>
                  </a:lnTo>
                  <a:lnTo>
                    <a:pt x="1107" y="3575"/>
                  </a:lnTo>
                  <a:lnTo>
                    <a:pt x="1112" y="3581"/>
                  </a:lnTo>
                  <a:lnTo>
                    <a:pt x="1113" y="3589"/>
                  </a:lnTo>
                  <a:close/>
                  <a:moveTo>
                    <a:pt x="1377" y="3589"/>
                  </a:moveTo>
                  <a:lnTo>
                    <a:pt x="1377" y="3702"/>
                  </a:lnTo>
                  <a:lnTo>
                    <a:pt x="1375" y="3710"/>
                  </a:lnTo>
                  <a:lnTo>
                    <a:pt x="1371" y="3717"/>
                  </a:lnTo>
                  <a:lnTo>
                    <a:pt x="1364" y="3721"/>
                  </a:lnTo>
                  <a:lnTo>
                    <a:pt x="1357" y="3722"/>
                  </a:lnTo>
                  <a:lnTo>
                    <a:pt x="1349" y="3721"/>
                  </a:lnTo>
                  <a:lnTo>
                    <a:pt x="1343" y="3717"/>
                  </a:lnTo>
                  <a:lnTo>
                    <a:pt x="1339" y="3710"/>
                  </a:lnTo>
                  <a:lnTo>
                    <a:pt x="1336" y="3702"/>
                  </a:lnTo>
                  <a:lnTo>
                    <a:pt x="1336" y="3589"/>
                  </a:lnTo>
                  <a:lnTo>
                    <a:pt x="1339" y="3581"/>
                  </a:lnTo>
                  <a:lnTo>
                    <a:pt x="1343" y="3575"/>
                  </a:lnTo>
                  <a:lnTo>
                    <a:pt x="1349" y="3571"/>
                  </a:lnTo>
                  <a:lnTo>
                    <a:pt x="1357" y="3570"/>
                  </a:lnTo>
                  <a:lnTo>
                    <a:pt x="1364" y="3571"/>
                  </a:lnTo>
                  <a:lnTo>
                    <a:pt x="1371" y="3575"/>
                  </a:lnTo>
                  <a:lnTo>
                    <a:pt x="1375" y="3581"/>
                  </a:lnTo>
                  <a:lnTo>
                    <a:pt x="1377" y="3589"/>
                  </a:lnTo>
                  <a:close/>
                  <a:moveTo>
                    <a:pt x="1640" y="3589"/>
                  </a:moveTo>
                  <a:lnTo>
                    <a:pt x="1640" y="3702"/>
                  </a:lnTo>
                  <a:lnTo>
                    <a:pt x="1637" y="3710"/>
                  </a:lnTo>
                  <a:lnTo>
                    <a:pt x="1634" y="3717"/>
                  </a:lnTo>
                  <a:lnTo>
                    <a:pt x="1627" y="3721"/>
                  </a:lnTo>
                  <a:lnTo>
                    <a:pt x="1620" y="3722"/>
                  </a:lnTo>
                  <a:lnTo>
                    <a:pt x="1612" y="3721"/>
                  </a:lnTo>
                  <a:lnTo>
                    <a:pt x="1605" y="3717"/>
                  </a:lnTo>
                  <a:lnTo>
                    <a:pt x="1602" y="3710"/>
                  </a:lnTo>
                  <a:lnTo>
                    <a:pt x="1600" y="3702"/>
                  </a:lnTo>
                  <a:lnTo>
                    <a:pt x="1600" y="3589"/>
                  </a:lnTo>
                  <a:lnTo>
                    <a:pt x="1602" y="3581"/>
                  </a:lnTo>
                  <a:lnTo>
                    <a:pt x="1605" y="3575"/>
                  </a:lnTo>
                  <a:lnTo>
                    <a:pt x="1612" y="3571"/>
                  </a:lnTo>
                  <a:lnTo>
                    <a:pt x="1620" y="3570"/>
                  </a:lnTo>
                  <a:lnTo>
                    <a:pt x="1627" y="3571"/>
                  </a:lnTo>
                  <a:lnTo>
                    <a:pt x="1634" y="3575"/>
                  </a:lnTo>
                  <a:lnTo>
                    <a:pt x="1637" y="3581"/>
                  </a:lnTo>
                  <a:lnTo>
                    <a:pt x="1640" y="3589"/>
                  </a:lnTo>
                  <a:close/>
                  <a:moveTo>
                    <a:pt x="1903" y="3589"/>
                  </a:moveTo>
                  <a:lnTo>
                    <a:pt x="1903" y="3702"/>
                  </a:lnTo>
                  <a:lnTo>
                    <a:pt x="1902" y="3710"/>
                  </a:lnTo>
                  <a:lnTo>
                    <a:pt x="1896" y="3717"/>
                  </a:lnTo>
                  <a:lnTo>
                    <a:pt x="1890" y="3721"/>
                  </a:lnTo>
                  <a:lnTo>
                    <a:pt x="1882" y="3722"/>
                  </a:lnTo>
                  <a:lnTo>
                    <a:pt x="1876" y="3721"/>
                  </a:lnTo>
                  <a:lnTo>
                    <a:pt x="1870" y="3717"/>
                  </a:lnTo>
                  <a:lnTo>
                    <a:pt x="1864" y="3710"/>
                  </a:lnTo>
                  <a:lnTo>
                    <a:pt x="1863" y="3702"/>
                  </a:lnTo>
                  <a:lnTo>
                    <a:pt x="1863" y="3589"/>
                  </a:lnTo>
                  <a:lnTo>
                    <a:pt x="1864" y="3581"/>
                  </a:lnTo>
                  <a:lnTo>
                    <a:pt x="1870" y="3575"/>
                  </a:lnTo>
                  <a:lnTo>
                    <a:pt x="1876" y="3571"/>
                  </a:lnTo>
                  <a:lnTo>
                    <a:pt x="1882" y="3570"/>
                  </a:lnTo>
                  <a:lnTo>
                    <a:pt x="1890" y="3571"/>
                  </a:lnTo>
                  <a:lnTo>
                    <a:pt x="1896" y="3575"/>
                  </a:lnTo>
                  <a:lnTo>
                    <a:pt x="1902" y="3581"/>
                  </a:lnTo>
                  <a:lnTo>
                    <a:pt x="1903" y="3589"/>
                  </a:lnTo>
                  <a:close/>
                  <a:moveTo>
                    <a:pt x="587" y="3824"/>
                  </a:moveTo>
                  <a:lnTo>
                    <a:pt x="587" y="3937"/>
                  </a:lnTo>
                  <a:lnTo>
                    <a:pt x="586" y="3946"/>
                  </a:lnTo>
                  <a:lnTo>
                    <a:pt x="581" y="3952"/>
                  </a:lnTo>
                  <a:lnTo>
                    <a:pt x="574" y="3956"/>
                  </a:lnTo>
                  <a:lnTo>
                    <a:pt x="567" y="3957"/>
                  </a:lnTo>
                  <a:lnTo>
                    <a:pt x="560" y="3956"/>
                  </a:lnTo>
                  <a:lnTo>
                    <a:pt x="554" y="3952"/>
                  </a:lnTo>
                  <a:lnTo>
                    <a:pt x="549" y="3946"/>
                  </a:lnTo>
                  <a:lnTo>
                    <a:pt x="548" y="3937"/>
                  </a:lnTo>
                  <a:lnTo>
                    <a:pt x="548" y="3824"/>
                  </a:lnTo>
                  <a:lnTo>
                    <a:pt x="549" y="3817"/>
                  </a:lnTo>
                  <a:lnTo>
                    <a:pt x="554" y="3810"/>
                  </a:lnTo>
                  <a:lnTo>
                    <a:pt x="560" y="3806"/>
                  </a:lnTo>
                  <a:lnTo>
                    <a:pt x="567" y="3805"/>
                  </a:lnTo>
                  <a:lnTo>
                    <a:pt x="574" y="3806"/>
                  </a:lnTo>
                  <a:lnTo>
                    <a:pt x="581" y="3810"/>
                  </a:lnTo>
                  <a:lnTo>
                    <a:pt x="586" y="3817"/>
                  </a:lnTo>
                  <a:lnTo>
                    <a:pt x="587" y="3824"/>
                  </a:lnTo>
                  <a:close/>
                  <a:moveTo>
                    <a:pt x="850" y="3824"/>
                  </a:moveTo>
                  <a:lnTo>
                    <a:pt x="850" y="3937"/>
                  </a:lnTo>
                  <a:lnTo>
                    <a:pt x="849" y="3946"/>
                  </a:lnTo>
                  <a:lnTo>
                    <a:pt x="844" y="3952"/>
                  </a:lnTo>
                  <a:lnTo>
                    <a:pt x="837" y="3956"/>
                  </a:lnTo>
                  <a:lnTo>
                    <a:pt x="831" y="3957"/>
                  </a:lnTo>
                  <a:lnTo>
                    <a:pt x="823" y="3956"/>
                  </a:lnTo>
                  <a:lnTo>
                    <a:pt x="817" y="3952"/>
                  </a:lnTo>
                  <a:lnTo>
                    <a:pt x="812" y="3946"/>
                  </a:lnTo>
                  <a:lnTo>
                    <a:pt x="810" y="3937"/>
                  </a:lnTo>
                  <a:lnTo>
                    <a:pt x="810" y="3824"/>
                  </a:lnTo>
                  <a:lnTo>
                    <a:pt x="812" y="3817"/>
                  </a:lnTo>
                  <a:lnTo>
                    <a:pt x="817" y="3810"/>
                  </a:lnTo>
                  <a:lnTo>
                    <a:pt x="823" y="3806"/>
                  </a:lnTo>
                  <a:lnTo>
                    <a:pt x="831" y="3805"/>
                  </a:lnTo>
                  <a:lnTo>
                    <a:pt x="837" y="3806"/>
                  </a:lnTo>
                  <a:lnTo>
                    <a:pt x="844" y="3810"/>
                  </a:lnTo>
                  <a:lnTo>
                    <a:pt x="849" y="3817"/>
                  </a:lnTo>
                  <a:lnTo>
                    <a:pt x="850" y="3824"/>
                  </a:lnTo>
                  <a:close/>
                  <a:moveTo>
                    <a:pt x="1113" y="3824"/>
                  </a:moveTo>
                  <a:lnTo>
                    <a:pt x="1113" y="3937"/>
                  </a:lnTo>
                  <a:lnTo>
                    <a:pt x="1112" y="3946"/>
                  </a:lnTo>
                  <a:lnTo>
                    <a:pt x="1107" y="3952"/>
                  </a:lnTo>
                  <a:lnTo>
                    <a:pt x="1100" y="3956"/>
                  </a:lnTo>
                  <a:lnTo>
                    <a:pt x="1094" y="3957"/>
                  </a:lnTo>
                  <a:lnTo>
                    <a:pt x="1086" y="3956"/>
                  </a:lnTo>
                  <a:lnTo>
                    <a:pt x="1080" y="3952"/>
                  </a:lnTo>
                  <a:lnTo>
                    <a:pt x="1076" y="3946"/>
                  </a:lnTo>
                  <a:lnTo>
                    <a:pt x="1073" y="3937"/>
                  </a:lnTo>
                  <a:lnTo>
                    <a:pt x="1073" y="3824"/>
                  </a:lnTo>
                  <a:lnTo>
                    <a:pt x="1076" y="3817"/>
                  </a:lnTo>
                  <a:lnTo>
                    <a:pt x="1080" y="3810"/>
                  </a:lnTo>
                  <a:lnTo>
                    <a:pt x="1086" y="3806"/>
                  </a:lnTo>
                  <a:lnTo>
                    <a:pt x="1094" y="3805"/>
                  </a:lnTo>
                  <a:lnTo>
                    <a:pt x="1100" y="3806"/>
                  </a:lnTo>
                  <a:lnTo>
                    <a:pt x="1107" y="3810"/>
                  </a:lnTo>
                  <a:lnTo>
                    <a:pt x="1112" y="3817"/>
                  </a:lnTo>
                  <a:lnTo>
                    <a:pt x="1113" y="3824"/>
                  </a:lnTo>
                  <a:close/>
                  <a:moveTo>
                    <a:pt x="1377" y="3824"/>
                  </a:moveTo>
                  <a:lnTo>
                    <a:pt x="1377" y="3937"/>
                  </a:lnTo>
                  <a:lnTo>
                    <a:pt x="1375" y="3946"/>
                  </a:lnTo>
                  <a:lnTo>
                    <a:pt x="1371" y="3952"/>
                  </a:lnTo>
                  <a:lnTo>
                    <a:pt x="1364" y="3956"/>
                  </a:lnTo>
                  <a:lnTo>
                    <a:pt x="1357" y="3957"/>
                  </a:lnTo>
                  <a:lnTo>
                    <a:pt x="1349" y="3956"/>
                  </a:lnTo>
                  <a:lnTo>
                    <a:pt x="1343" y="3952"/>
                  </a:lnTo>
                  <a:lnTo>
                    <a:pt x="1339" y="3946"/>
                  </a:lnTo>
                  <a:lnTo>
                    <a:pt x="1336" y="3937"/>
                  </a:lnTo>
                  <a:lnTo>
                    <a:pt x="1336" y="3824"/>
                  </a:lnTo>
                  <a:lnTo>
                    <a:pt x="1339" y="3817"/>
                  </a:lnTo>
                  <a:lnTo>
                    <a:pt x="1343" y="3810"/>
                  </a:lnTo>
                  <a:lnTo>
                    <a:pt x="1349" y="3806"/>
                  </a:lnTo>
                  <a:lnTo>
                    <a:pt x="1357" y="3805"/>
                  </a:lnTo>
                  <a:lnTo>
                    <a:pt x="1364" y="3806"/>
                  </a:lnTo>
                  <a:lnTo>
                    <a:pt x="1371" y="3810"/>
                  </a:lnTo>
                  <a:lnTo>
                    <a:pt x="1375" y="3817"/>
                  </a:lnTo>
                  <a:lnTo>
                    <a:pt x="1377" y="3824"/>
                  </a:lnTo>
                  <a:close/>
                  <a:moveTo>
                    <a:pt x="1640" y="3824"/>
                  </a:moveTo>
                  <a:lnTo>
                    <a:pt x="1640" y="3937"/>
                  </a:lnTo>
                  <a:lnTo>
                    <a:pt x="1637" y="3946"/>
                  </a:lnTo>
                  <a:lnTo>
                    <a:pt x="1634" y="3952"/>
                  </a:lnTo>
                  <a:lnTo>
                    <a:pt x="1627" y="3956"/>
                  </a:lnTo>
                  <a:lnTo>
                    <a:pt x="1620" y="3957"/>
                  </a:lnTo>
                  <a:lnTo>
                    <a:pt x="1612" y="3956"/>
                  </a:lnTo>
                  <a:lnTo>
                    <a:pt x="1605" y="3952"/>
                  </a:lnTo>
                  <a:lnTo>
                    <a:pt x="1602" y="3946"/>
                  </a:lnTo>
                  <a:lnTo>
                    <a:pt x="1600" y="3937"/>
                  </a:lnTo>
                  <a:lnTo>
                    <a:pt x="1600" y="3824"/>
                  </a:lnTo>
                  <a:lnTo>
                    <a:pt x="1602" y="3817"/>
                  </a:lnTo>
                  <a:lnTo>
                    <a:pt x="1605" y="3810"/>
                  </a:lnTo>
                  <a:lnTo>
                    <a:pt x="1612" y="3806"/>
                  </a:lnTo>
                  <a:lnTo>
                    <a:pt x="1620" y="3805"/>
                  </a:lnTo>
                  <a:lnTo>
                    <a:pt x="1627" y="3806"/>
                  </a:lnTo>
                  <a:lnTo>
                    <a:pt x="1634" y="3810"/>
                  </a:lnTo>
                  <a:lnTo>
                    <a:pt x="1637" y="3817"/>
                  </a:lnTo>
                  <a:lnTo>
                    <a:pt x="1640" y="3824"/>
                  </a:lnTo>
                  <a:close/>
                  <a:moveTo>
                    <a:pt x="2829" y="4093"/>
                  </a:moveTo>
                  <a:lnTo>
                    <a:pt x="2829" y="4085"/>
                  </a:lnTo>
                  <a:lnTo>
                    <a:pt x="2829" y="4093"/>
                  </a:lnTo>
                  <a:close/>
                  <a:moveTo>
                    <a:pt x="0" y="915"/>
                  </a:moveTo>
                  <a:lnTo>
                    <a:pt x="492" y="915"/>
                  </a:lnTo>
                  <a:lnTo>
                    <a:pt x="500" y="917"/>
                  </a:lnTo>
                  <a:lnTo>
                    <a:pt x="507" y="922"/>
                  </a:lnTo>
                  <a:lnTo>
                    <a:pt x="512" y="928"/>
                  </a:lnTo>
                  <a:lnTo>
                    <a:pt x="513" y="936"/>
                  </a:lnTo>
                  <a:lnTo>
                    <a:pt x="513" y="1633"/>
                  </a:lnTo>
                  <a:lnTo>
                    <a:pt x="513" y="2329"/>
                  </a:lnTo>
                  <a:lnTo>
                    <a:pt x="512" y="2338"/>
                  </a:lnTo>
                  <a:lnTo>
                    <a:pt x="507" y="2345"/>
                  </a:lnTo>
                  <a:lnTo>
                    <a:pt x="500" y="2349"/>
                  </a:lnTo>
                  <a:lnTo>
                    <a:pt x="492" y="2350"/>
                  </a:lnTo>
                  <a:lnTo>
                    <a:pt x="486" y="2349"/>
                  </a:lnTo>
                  <a:lnTo>
                    <a:pt x="480" y="2345"/>
                  </a:lnTo>
                  <a:lnTo>
                    <a:pt x="474" y="2338"/>
                  </a:lnTo>
                  <a:lnTo>
                    <a:pt x="473" y="2329"/>
                  </a:lnTo>
                  <a:lnTo>
                    <a:pt x="473" y="1642"/>
                  </a:lnTo>
                  <a:lnTo>
                    <a:pt x="473" y="955"/>
                  </a:lnTo>
                  <a:lnTo>
                    <a:pt x="0" y="955"/>
                  </a:lnTo>
                  <a:lnTo>
                    <a:pt x="0" y="915"/>
                  </a:lnTo>
                  <a:close/>
                  <a:moveTo>
                    <a:pt x="190" y="1345"/>
                  </a:moveTo>
                  <a:lnTo>
                    <a:pt x="190" y="1450"/>
                  </a:lnTo>
                  <a:lnTo>
                    <a:pt x="188" y="1457"/>
                  </a:lnTo>
                  <a:lnTo>
                    <a:pt x="183" y="1464"/>
                  </a:lnTo>
                  <a:lnTo>
                    <a:pt x="177" y="1468"/>
                  </a:lnTo>
                  <a:lnTo>
                    <a:pt x="171" y="1469"/>
                  </a:lnTo>
                  <a:lnTo>
                    <a:pt x="163" y="1468"/>
                  </a:lnTo>
                  <a:lnTo>
                    <a:pt x="156" y="1464"/>
                  </a:lnTo>
                  <a:lnTo>
                    <a:pt x="151" y="1457"/>
                  </a:lnTo>
                  <a:lnTo>
                    <a:pt x="150" y="1450"/>
                  </a:lnTo>
                  <a:lnTo>
                    <a:pt x="150" y="1345"/>
                  </a:lnTo>
                  <a:lnTo>
                    <a:pt x="151" y="1337"/>
                  </a:lnTo>
                  <a:lnTo>
                    <a:pt x="156" y="1331"/>
                  </a:lnTo>
                  <a:lnTo>
                    <a:pt x="163" y="1327"/>
                  </a:lnTo>
                  <a:lnTo>
                    <a:pt x="171" y="1326"/>
                  </a:lnTo>
                  <a:lnTo>
                    <a:pt x="177" y="1327"/>
                  </a:lnTo>
                  <a:lnTo>
                    <a:pt x="183" y="1331"/>
                  </a:lnTo>
                  <a:lnTo>
                    <a:pt x="188" y="1337"/>
                  </a:lnTo>
                  <a:lnTo>
                    <a:pt x="190" y="1345"/>
                  </a:lnTo>
                  <a:close/>
                  <a:moveTo>
                    <a:pt x="190" y="1576"/>
                  </a:moveTo>
                  <a:lnTo>
                    <a:pt x="190" y="1680"/>
                  </a:lnTo>
                  <a:lnTo>
                    <a:pt x="188" y="1689"/>
                  </a:lnTo>
                  <a:lnTo>
                    <a:pt x="183" y="1695"/>
                  </a:lnTo>
                  <a:lnTo>
                    <a:pt x="177" y="1699"/>
                  </a:lnTo>
                  <a:lnTo>
                    <a:pt x="171" y="1700"/>
                  </a:lnTo>
                  <a:lnTo>
                    <a:pt x="163" y="1699"/>
                  </a:lnTo>
                  <a:lnTo>
                    <a:pt x="156" y="1695"/>
                  </a:lnTo>
                  <a:lnTo>
                    <a:pt x="151" y="1689"/>
                  </a:lnTo>
                  <a:lnTo>
                    <a:pt x="150" y="1680"/>
                  </a:lnTo>
                  <a:lnTo>
                    <a:pt x="150" y="1576"/>
                  </a:lnTo>
                  <a:lnTo>
                    <a:pt x="151" y="1567"/>
                  </a:lnTo>
                  <a:lnTo>
                    <a:pt x="156" y="1561"/>
                  </a:lnTo>
                  <a:lnTo>
                    <a:pt x="163" y="1558"/>
                  </a:lnTo>
                  <a:lnTo>
                    <a:pt x="171" y="1557"/>
                  </a:lnTo>
                  <a:lnTo>
                    <a:pt x="177" y="1558"/>
                  </a:lnTo>
                  <a:lnTo>
                    <a:pt x="183" y="1561"/>
                  </a:lnTo>
                  <a:lnTo>
                    <a:pt x="188" y="1567"/>
                  </a:lnTo>
                  <a:lnTo>
                    <a:pt x="190" y="1576"/>
                  </a:lnTo>
                  <a:close/>
                  <a:moveTo>
                    <a:pt x="190" y="1808"/>
                  </a:moveTo>
                  <a:lnTo>
                    <a:pt x="190" y="1911"/>
                  </a:lnTo>
                  <a:lnTo>
                    <a:pt x="188" y="1920"/>
                  </a:lnTo>
                  <a:lnTo>
                    <a:pt x="183" y="1927"/>
                  </a:lnTo>
                  <a:lnTo>
                    <a:pt x="177" y="1931"/>
                  </a:lnTo>
                  <a:lnTo>
                    <a:pt x="171" y="1932"/>
                  </a:lnTo>
                  <a:lnTo>
                    <a:pt x="163" y="1931"/>
                  </a:lnTo>
                  <a:lnTo>
                    <a:pt x="156" y="1927"/>
                  </a:lnTo>
                  <a:lnTo>
                    <a:pt x="151" y="1920"/>
                  </a:lnTo>
                  <a:lnTo>
                    <a:pt x="150" y="1911"/>
                  </a:lnTo>
                  <a:lnTo>
                    <a:pt x="150" y="1808"/>
                  </a:lnTo>
                  <a:lnTo>
                    <a:pt x="151" y="1799"/>
                  </a:lnTo>
                  <a:lnTo>
                    <a:pt x="156" y="1792"/>
                  </a:lnTo>
                  <a:lnTo>
                    <a:pt x="163" y="1789"/>
                  </a:lnTo>
                  <a:lnTo>
                    <a:pt x="171" y="1787"/>
                  </a:lnTo>
                  <a:lnTo>
                    <a:pt x="177" y="1789"/>
                  </a:lnTo>
                  <a:lnTo>
                    <a:pt x="183" y="1792"/>
                  </a:lnTo>
                  <a:lnTo>
                    <a:pt x="188" y="1799"/>
                  </a:lnTo>
                  <a:lnTo>
                    <a:pt x="190" y="1808"/>
                  </a:lnTo>
                  <a:close/>
                  <a:moveTo>
                    <a:pt x="190" y="2039"/>
                  </a:moveTo>
                  <a:lnTo>
                    <a:pt x="190" y="2143"/>
                  </a:lnTo>
                  <a:lnTo>
                    <a:pt x="188" y="2150"/>
                  </a:lnTo>
                  <a:lnTo>
                    <a:pt x="183" y="2157"/>
                  </a:lnTo>
                  <a:lnTo>
                    <a:pt x="177" y="2161"/>
                  </a:lnTo>
                  <a:lnTo>
                    <a:pt x="171" y="2162"/>
                  </a:lnTo>
                  <a:lnTo>
                    <a:pt x="163" y="2161"/>
                  </a:lnTo>
                  <a:lnTo>
                    <a:pt x="156" y="2157"/>
                  </a:lnTo>
                  <a:lnTo>
                    <a:pt x="151" y="2150"/>
                  </a:lnTo>
                  <a:lnTo>
                    <a:pt x="150" y="2143"/>
                  </a:lnTo>
                  <a:lnTo>
                    <a:pt x="150" y="2039"/>
                  </a:lnTo>
                  <a:lnTo>
                    <a:pt x="151" y="2030"/>
                  </a:lnTo>
                  <a:lnTo>
                    <a:pt x="156" y="2024"/>
                  </a:lnTo>
                  <a:lnTo>
                    <a:pt x="163" y="2020"/>
                  </a:lnTo>
                  <a:lnTo>
                    <a:pt x="171" y="2019"/>
                  </a:lnTo>
                  <a:lnTo>
                    <a:pt x="177" y="2020"/>
                  </a:lnTo>
                  <a:lnTo>
                    <a:pt x="183" y="2024"/>
                  </a:lnTo>
                  <a:lnTo>
                    <a:pt x="188" y="2030"/>
                  </a:lnTo>
                  <a:lnTo>
                    <a:pt x="190" y="2039"/>
                  </a:lnTo>
                  <a:close/>
                  <a:moveTo>
                    <a:pt x="190" y="2269"/>
                  </a:moveTo>
                  <a:lnTo>
                    <a:pt x="190" y="2373"/>
                  </a:lnTo>
                  <a:lnTo>
                    <a:pt x="188" y="2382"/>
                  </a:lnTo>
                  <a:lnTo>
                    <a:pt x="183" y="2388"/>
                  </a:lnTo>
                  <a:lnTo>
                    <a:pt x="177" y="2392"/>
                  </a:lnTo>
                  <a:lnTo>
                    <a:pt x="171" y="2393"/>
                  </a:lnTo>
                  <a:lnTo>
                    <a:pt x="163" y="2392"/>
                  </a:lnTo>
                  <a:lnTo>
                    <a:pt x="156" y="2388"/>
                  </a:lnTo>
                  <a:lnTo>
                    <a:pt x="151" y="2382"/>
                  </a:lnTo>
                  <a:lnTo>
                    <a:pt x="150" y="2373"/>
                  </a:lnTo>
                  <a:lnTo>
                    <a:pt x="150" y="2269"/>
                  </a:lnTo>
                  <a:lnTo>
                    <a:pt x="151" y="2260"/>
                  </a:lnTo>
                  <a:lnTo>
                    <a:pt x="156" y="2255"/>
                  </a:lnTo>
                  <a:lnTo>
                    <a:pt x="163" y="2251"/>
                  </a:lnTo>
                  <a:lnTo>
                    <a:pt x="171" y="2250"/>
                  </a:lnTo>
                  <a:lnTo>
                    <a:pt x="177" y="2251"/>
                  </a:lnTo>
                  <a:lnTo>
                    <a:pt x="183" y="2255"/>
                  </a:lnTo>
                  <a:lnTo>
                    <a:pt x="188" y="2260"/>
                  </a:lnTo>
                  <a:lnTo>
                    <a:pt x="190" y="2269"/>
                  </a:lnTo>
                  <a:close/>
                  <a:moveTo>
                    <a:pt x="190" y="2501"/>
                  </a:moveTo>
                  <a:lnTo>
                    <a:pt x="190" y="2604"/>
                  </a:lnTo>
                  <a:lnTo>
                    <a:pt x="188" y="2613"/>
                  </a:lnTo>
                  <a:lnTo>
                    <a:pt x="183" y="2620"/>
                  </a:lnTo>
                  <a:lnTo>
                    <a:pt x="177" y="2624"/>
                  </a:lnTo>
                  <a:lnTo>
                    <a:pt x="171" y="2625"/>
                  </a:lnTo>
                  <a:lnTo>
                    <a:pt x="163" y="2624"/>
                  </a:lnTo>
                  <a:lnTo>
                    <a:pt x="156" y="2620"/>
                  </a:lnTo>
                  <a:lnTo>
                    <a:pt x="151" y="2613"/>
                  </a:lnTo>
                  <a:lnTo>
                    <a:pt x="150" y="2604"/>
                  </a:lnTo>
                  <a:lnTo>
                    <a:pt x="150" y="2501"/>
                  </a:lnTo>
                  <a:lnTo>
                    <a:pt x="151" y="2492"/>
                  </a:lnTo>
                  <a:lnTo>
                    <a:pt x="156" y="2485"/>
                  </a:lnTo>
                  <a:lnTo>
                    <a:pt x="163" y="2482"/>
                  </a:lnTo>
                  <a:lnTo>
                    <a:pt x="171" y="2480"/>
                  </a:lnTo>
                  <a:lnTo>
                    <a:pt x="177" y="2482"/>
                  </a:lnTo>
                  <a:lnTo>
                    <a:pt x="183" y="2485"/>
                  </a:lnTo>
                  <a:lnTo>
                    <a:pt x="188" y="2492"/>
                  </a:lnTo>
                  <a:lnTo>
                    <a:pt x="190" y="2501"/>
                  </a:lnTo>
                  <a:close/>
                  <a:moveTo>
                    <a:pt x="190" y="2732"/>
                  </a:moveTo>
                  <a:lnTo>
                    <a:pt x="190" y="2836"/>
                  </a:lnTo>
                  <a:lnTo>
                    <a:pt x="188" y="2845"/>
                  </a:lnTo>
                  <a:lnTo>
                    <a:pt x="183" y="2850"/>
                  </a:lnTo>
                  <a:lnTo>
                    <a:pt x="177" y="2854"/>
                  </a:lnTo>
                  <a:lnTo>
                    <a:pt x="171" y="2855"/>
                  </a:lnTo>
                  <a:lnTo>
                    <a:pt x="163" y="2854"/>
                  </a:lnTo>
                  <a:lnTo>
                    <a:pt x="156" y="2850"/>
                  </a:lnTo>
                  <a:lnTo>
                    <a:pt x="151" y="2845"/>
                  </a:lnTo>
                  <a:lnTo>
                    <a:pt x="150" y="2836"/>
                  </a:lnTo>
                  <a:lnTo>
                    <a:pt x="150" y="2732"/>
                  </a:lnTo>
                  <a:lnTo>
                    <a:pt x="151" y="2723"/>
                  </a:lnTo>
                  <a:lnTo>
                    <a:pt x="156" y="2717"/>
                  </a:lnTo>
                  <a:lnTo>
                    <a:pt x="163" y="2713"/>
                  </a:lnTo>
                  <a:lnTo>
                    <a:pt x="171" y="2712"/>
                  </a:lnTo>
                  <a:lnTo>
                    <a:pt x="177" y="2713"/>
                  </a:lnTo>
                  <a:lnTo>
                    <a:pt x="183" y="2717"/>
                  </a:lnTo>
                  <a:lnTo>
                    <a:pt x="188" y="2723"/>
                  </a:lnTo>
                  <a:lnTo>
                    <a:pt x="190" y="2732"/>
                  </a:lnTo>
                  <a:close/>
                  <a:moveTo>
                    <a:pt x="190" y="2962"/>
                  </a:moveTo>
                  <a:lnTo>
                    <a:pt x="190" y="3066"/>
                  </a:lnTo>
                  <a:lnTo>
                    <a:pt x="188" y="3075"/>
                  </a:lnTo>
                  <a:lnTo>
                    <a:pt x="183" y="3081"/>
                  </a:lnTo>
                  <a:lnTo>
                    <a:pt x="177" y="3085"/>
                  </a:lnTo>
                  <a:lnTo>
                    <a:pt x="171" y="3086"/>
                  </a:lnTo>
                  <a:lnTo>
                    <a:pt x="163" y="3085"/>
                  </a:lnTo>
                  <a:lnTo>
                    <a:pt x="156" y="3081"/>
                  </a:lnTo>
                  <a:lnTo>
                    <a:pt x="151" y="3075"/>
                  </a:lnTo>
                  <a:lnTo>
                    <a:pt x="150" y="3066"/>
                  </a:lnTo>
                  <a:lnTo>
                    <a:pt x="150" y="2962"/>
                  </a:lnTo>
                  <a:lnTo>
                    <a:pt x="151" y="2953"/>
                  </a:lnTo>
                  <a:lnTo>
                    <a:pt x="156" y="2948"/>
                  </a:lnTo>
                  <a:lnTo>
                    <a:pt x="163" y="2945"/>
                  </a:lnTo>
                  <a:lnTo>
                    <a:pt x="171" y="2943"/>
                  </a:lnTo>
                  <a:lnTo>
                    <a:pt x="177" y="2945"/>
                  </a:lnTo>
                  <a:lnTo>
                    <a:pt x="183" y="2948"/>
                  </a:lnTo>
                  <a:lnTo>
                    <a:pt x="188" y="2953"/>
                  </a:lnTo>
                  <a:lnTo>
                    <a:pt x="190" y="2962"/>
                  </a:lnTo>
                  <a:close/>
                  <a:moveTo>
                    <a:pt x="2375" y="1897"/>
                  </a:moveTo>
                  <a:lnTo>
                    <a:pt x="2375" y="2001"/>
                  </a:lnTo>
                  <a:lnTo>
                    <a:pt x="2372" y="2010"/>
                  </a:lnTo>
                  <a:lnTo>
                    <a:pt x="2368" y="2016"/>
                  </a:lnTo>
                  <a:lnTo>
                    <a:pt x="2362" y="2020"/>
                  </a:lnTo>
                  <a:lnTo>
                    <a:pt x="2354" y="2021"/>
                  </a:lnTo>
                  <a:lnTo>
                    <a:pt x="2347" y="2020"/>
                  </a:lnTo>
                  <a:lnTo>
                    <a:pt x="2340" y="2016"/>
                  </a:lnTo>
                  <a:lnTo>
                    <a:pt x="2336" y="2010"/>
                  </a:lnTo>
                  <a:lnTo>
                    <a:pt x="2334" y="2001"/>
                  </a:lnTo>
                  <a:lnTo>
                    <a:pt x="2334" y="1897"/>
                  </a:lnTo>
                  <a:lnTo>
                    <a:pt x="2336" y="1888"/>
                  </a:lnTo>
                  <a:lnTo>
                    <a:pt x="2340" y="1882"/>
                  </a:lnTo>
                  <a:lnTo>
                    <a:pt x="2347" y="1878"/>
                  </a:lnTo>
                  <a:lnTo>
                    <a:pt x="2354" y="1877"/>
                  </a:lnTo>
                  <a:lnTo>
                    <a:pt x="2362" y="1878"/>
                  </a:lnTo>
                  <a:lnTo>
                    <a:pt x="2368" y="1882"/>
                  </a:lnTo>
                  <a:lnTo>
                    <a:pt x="2372" y="1888"/>
                  </a:lnTo>
                  <a:lnTo>
                    <a:pt x="2375" y="1897"/>
                  </a:lnTo>
                  <a:close/>
                  <a:moveTo>
                    <a:pt x="2589" y="1897"/>
                  </a:moveTo>
                  <a:lnTo>
                    <a:pt x="2589" y="2001"/>
                  </a:lnTo>
                  <a:lnTo>
                    <a:pt x="2588" y="2010"/>
                  </a:lnTo>
                  <a:lnTo>
                    <a:pt x="2583" y="2016"/>
                  </a:lnTo>
                  <a:lnTo>
                    <a:pt x="2576" y="2020"/>
                  </a:lnTo>
                  <a:lnTo>
                    <a:pt x="2570" y="2021"/>
                  </a:lnTo>
                  <a:lnTo>
                    <a:pt x="2562" y="2020"/>
                  </a:lnTo>
                  <a:lnTo>
                    <a:pt x="2556" y="2016"/>
                  </a:lnTo>
                  <a:lnTo>
                    <a:pt x="2550" y="2010"/>
                  </a:lnTo>
                  <a:lnTo>
                    <a:pt x="2549" y="2001"/>
                  </a:lnTo>
                  <a:lnTo>
                    <a:pt x="2549" y="1897"/>
                  </a:lnTo>
                  <a:lnTo>
                    <a:pt x="2550" y="1888"/>
                  </a:lnTo>
                  <a:lnTo>
                    <a:pt x="2556" y="1882"/>
                  </a:lnTo>
                  <a:lnTo>
                    <a:pt x="2562" y="1878"/>
                  </a:lnTo>
                  <a:lnTo>
                    <a:pt x="2570" y="1877"/>
                  </a:lnTo>
                  <a:lnTo>
                    <a:pt x="2576" y="1878"/>
                  </a:lnTo>
                  <a:lnTo>
                    <a:pt x="2583" y="1882"/>
                  </a:lnTo>
                  <a:lnTo>
                    <a:pt x="2588" y="1888"/>
                  </a:lnTo>
                  <a:lnTo>
                    <a:pt x="2589" y="1897"/>
                  </a:lnTo>
                  <a:close/>
                  <a:moveTo>
                    <a:pt x="2804" y="1897"/>
                  </a:moveTo>
                  <a:lnTo>
                    <a:pt x="2804" y="2001"/>
                  </a:lnTo>
                  <a:lnTo>
                    <a:pt x="2803" y="2010"/>
                  </a:lnTo>
                  <a:lnTo>
                    <a:pt x="2798" y="2016"/>
                  </a:lnTo>
                  <a:lnTo>
                    <a:pt x="2792" y="2020"/>
                  </a:lnTo>
                  <a:lnTo>
                    <a:pt x="2784" y="2021"/>
                  </a:lnTo>
                  <a:lnTo>
                    <a:pt x="2777" y="2020"/>
                  </a:lnTo>
                  <a:lnTo>
                    <a:pt x="2771" y="2016"/>
                  </a:lnTo>
                  <a:lnTo>
                    <a:pt x="2766" y="2010"/>
                  </a:lnTo>
                  <a:lnTo>
                    <a:pt x="2765" y="2001"/>
                  </a:lnTo>
                  <a:lnTo>
                    <a:pt x="2765" y="1897"/>
                  </a:lnTo>
                  <a:lnTo>
                    <a:pt x="2766" y="1888"/>
                  </a:lnTo>
                  <a:lnTo>
                    <a:pt x="2771" y="1882"/>
                  </a:lnTo>
                  <a:lnTo>
                    <a:pt x="2777" y="1878"/>
                  </a:lnTo>
                  <a:lnTo>
                    <a:pt x="2784" y="1877"/>
                  </a:lnTo>
                  <a:lnTo>
                    <a:pt x="2792" y="1878"/>
                  </a:lnTo>
                  <a:lnTo>
                    <a:pt x="2798" y="1882"/>
                  </a:lnTo>
                  <a:lnTo>
                    <a:pt x="2803" y="1888"/>
                  </a:lnTo>
                  <a:lnTo>
                    <a:pt x="2804" y="1897"/>
                  </a:lnTo>
                  <a:close/>
                  <a:moveTo>
                    <a:pt x="2375" y="2245"/>
                  </a:moveTo>
                  <a:lnTo>
                    <a:pt x="2375" y="2349"/>
                  </a:lnTo>
                  <a:lnTo>
                    <a:pt x="2372" y="2358"/>
                  </a:lnTo>
                  <a:lnTo>
                    <a:pt x="2368" y="2364"/>
                  </a:lnTo>
                  <a:lnTo>
                    <a:pt x="2362" y="2368"/>
                  </a:lnTo>
                  <a:lnTo>
                    <a:pt x="2354" y="2369"/>
                  </a:lnTo>
                  <a:lnTo>
                    <a:pt x="2347" y="2368"/>
                  </a:lnTo>
                  <a:lnTo>
                    <a:pt x="2340" y="2364"/>
                  </a:lnTo>
                  <a:lnTo>
                    <a:pt x="2336" y="2358"/>
                  </a:lnTo>
                  <a:lnTo>
                    <a:pt x="2334" y="2349"/>
                  </a:lnTo>
                  <a:lnTo>
                    <a:pt x="2334" y="2245"/>
                  </a:lnTo>
                  <a:lnTo>
                    <a:pt x="2336" y="2236"/>
                  </a:lnTo>
                  <a:lnTo>
                    <a:pt x="2340" y="2230"/>
                  </a:lnTo>
                  <a:lnTo>
                    <a:pt x="2347" y="2226"/>
                  </a:lnTo>
                  <a:lnTo>
                    <a:pt x="2354" y="2225"/>
                  </a:lnTo>
                  <a:lnTo>
                    <a:pt x="2362" y="2226"/>
                  </a:lnTo>
                  <a:lnTo>
                    <a:pt x="2368" y="2230"/>
                  </a:lnTo>
                  <a:lnTo>
                    <a:pt x="2372" y="2236"/>
                  </a:lnTo>
                  <a:lnTo>
                    <a:pt x="2375" y="2245"/>
                  </a:lnTo>
                  <a:close/>
                  <a:moveTo>
                    <a:pt x="2589" y="2245"/>
                  </a:moveTo>
                  <a:lnTo>
                    <a:pt x="2589" y="2349"/>
                  </a:lnTo>
                  <a:lnTo>
                    <a:pt x="2588" y="2358"/>
                  </a:lnTo>
                  <a:lnTo>
                    <a:pt x="2583" y="2364"/>
                  </a:lnTo>
                  <a:lnTo>
                    <a:pt x="2576" y="2368"/>
                  </a:lnTo>
                  <a:lnTo>
                    <a:pt x="2570" y="2369"/>
                  </a:lnTo>
                  <a:lnTo>
                    <a:pt x="2562" y="2368"/>
                  </a:lnTo>
                  <a:lnTo>
                    <a:pt x="2556" y="2364"/>
                  </a:lnTo>
                  <a:lnTo>
                    <a:pt x="2550" y="2358"/>
                  </a:lnTo>
                  <a:lnTo>
                    <a:pt x="2549" y="2349"/>
                  </a:lnTo>
                  <a:lnTo>
                    <a:pt x="2549" y="2245"/>
                  </a:lnTo>
                  <a:lnTo>
                    <a:pt x="2550" y="2236"/>
                  </a:lnTo>
                  <a:lnTo>
                    <a:pt x="2556" y="2230"/>
                  </a:lnTo>
                  <a:lnTo>
                    <a:pt x="2562" y="2226"/>
                  </a:lnTo>
                  <a:lnTo>
                    <a:pt x="2570" y="2225"/>
                  </a:lnTo>
                  <a:lnTo>
                    <a:pt x="2576" y="2226"/>
                  </a:lnTo>
                  <a:lnTo>
                    <a:pt x="2583" y="2230"/>
                  </a:lnTo>
                  <a:lnTo>
                    <a:pt x="2588" y="2236"/>
                  </a:lnTo>
                  <a:lnTo>
                    <a:pt x="2589" y="2245"/>
                  </a:lnTo>
                  <a:close/>
                  <a:moveTo>
                    <a:pt x="2804" y="2245"/>
                  </a:moveTo>
                  <a:lnTo>
                    <a:pt x="2804" y="2349"/>
                  </a:lnTo>
                  <a:lnTo>
                    <a:pt x="2803" y="2358"/>
                  </a:lnTo>
                  <a:lnTo>
                    <a:pt x="2798" y="2364"/>
                  </a:lnTo>
                  <a:lnTo>
                    <a:pt x="2792" y="2368"/>
                  </a:lnTo>
                  <a:lnTo>
                    <a:pt x="2784" y="2369"/>
                  </a:lnTo>
                  <a:lnTo>
                    <a:pt x="2777" y="2368"/>
                  </a:lnTo>
                  <a:lnTo>
                    <a:pt x="2771" y="2364"/>
                  </a:lnTo>
                  <a:lnTo>
                    <a:pt x="2766" y="2358"/>
                  </a:lnTo>
                  <a:lnTo>
                    <a:pt x="2765" y="2349"/>
                  </a:lnTo>
                  <a:lnTo>
                    <a:pt x="2765" y="2245"/>
                  </a:lnTo>
                  <a:lnTo>
                    <a:pt x="2766" y="2236"/>
                  </a:lnTo>
                  <a:lnTo>
                    <a:pt x="2771" y="2230"/>
                  </a:lnTo>
                  <a:lnTo>
                    <a:pt x="2777" y="2226"/>
                  </a:lnTo>
                  <a:lnTo>
                    <a:pt x="2784" y="2225"/>
                  </a:lnTo>
                  <a:lnTo>
                    <a:pt x="2792" y="2226"/>
                  </a:lnTo>
                  <a:lnTo>
                    <a:pt x="2798" y="2230"/>
                  </a:lnTo>
                  <a:lnTo>
                    <a:pt x="2803" y="2236"/>
                  </a:lnTo>
                  <a:lnTo>
                    <a:pt x="2804" y="2245"/>
                  </a:lnTo>
                  <a:close/>
                  <a:moveTo>
                    <a:pt x="2375" y="2593"/>
                  </a:moveTo>
                  <a:lnTo>
                    <a:pt x="2375" y="2696"/>
                  </a:lnTo>
                  <a:lnTo>
                    <a:pt x="2372" y="2705"/>
                  </a:lnTo>
                  <a:lnTo>
                    <a:pt x="2368" y="2712"/>
                  </a:lnTo>
                  <a:lnTo>
                    <a:pt x="2362" y="2716"/>
                  </a:lnTo>
                  <a:lnTo>
                    <a:pt x="2354" y="2717"/>
                  </a:lnTo>
                  <a:lnTo>
                    <a:pt x="2347" y="2716"/>
                  </a:lnTo>
                  <a:lnTo>
                    <a:pt x="2340" y="2712"/>
                  </a:lnTo>
                  <a:lnTo>
                    <a:pt x="2336" y="2705"/>
                  </a:lnTo>
                  <a:lnTo>
                    <a:pt x="2334" y="2696"/>
                  </a:lnTo>
                  <a:lnTo>
                    <a:pt x="2334" y="2593"/>
                  </a:lnTo>
                  <a:lnTo>
                    <a:pt x="2336" y="2584"/>
                  </a:lnTo>
                  <a:lnTo>
                    <a:pt x="2340" y="2578"/>
                  </a:lnTo>
                  <a:lnTo>
                    <a:pt x="2347" y="2574"/>
                  </a:lnTo>
                  <a:lnTo>
                    <a:pt x="2354" y="2572"/>
                  </a:lnTo>
                  <a:lnTo>
                    <a:pt x="2362" y="2574"/>
                  </a:lnTo>
                  <a:lnTo>
                    <a:pt x="2368" y="2578"/>
                  </a:lnTo>
                  <a:lnTo>
                    <a:pt x="2372" y="2584"/>
                  </a:lnTo>
                  <a:lnTo>
                    <a:pt x="2375" y="2593"/>
                  </a:lnTo>
                  <a:close/>
                  <a:moveTo>
                    <a:pt x="2589" y="2593"/>
                  </a:moveTo>
                  <a:lnTo>
                    <a:pt x="2589" y="2696"/>
                  </a:lnTo>
                  <a:lnTo>
                    <a:pt x="2588" y="2705"/>
                  </a:lnTo>
                  <a:lnTo>
                    <a:pt x="2583" y="2712"/>
                  </a:lnTo>
                  <a:lnTo>
                    <a:pt x="2576" y="2716"/>
                  </a:lnTo>
                  <a:lnTo>
                    <a:pt x="2570" y="2717"/>
                  </a:lnTo>
                  <a:lnTo>
                    <a:pt x="2562" y="2716"/>
                  </a:lnTo>
                  <a:lnTo>
                    <a:pt x="2556" y="2712"/>
                  </a:lnTo>
                  <a:lnTo>
                    <a:pt x="2550" y="2705"/>
                  </a:lnTo>
                  <a:lnTo>
                    <a:pt x="2549" y="2696"/>
                  </a:lnTo>
                  <a:lnTo>
                    <a:pt x="2549" y="2593"/>
                  </a:lnTo>
                  <a:lnTo>
                    <a:pt x="2550" y="2584"/>
                  </a:lnTo>
                  <a:lnTo>
                    <a:pt x="2556" y="2578"/>
                  </a:lnTo>
                  <a:lnTo>
                    <a:pt x="2562" y="2574"/>
                  </a:lnTo>
                  <a:lnTo>
                    <a:pt x="2570" y="2572"/>
                  </a:lnTo>
                  <a:lnTo>
                    <a:pt x="2576" y="2574"/>
                  </a:lnTo>
                  <a:lnTo>
                    <a:pt x="2583" y="2578"/>
                  </a:lnTo>
                  <a:lnTo>
                    <a:pt x="2588" y="2584"/>
                  </a:lnTo>
                  <a:lnTo>
                    <a:pt x="2589" y="2593"/>
                  </a:lnTo>
                  <a:close/>
                  <a:moveTo>
                    <a:pt x="2804" y="2593"/>
                  </a:moveTo>
                  <a:lnTo>
                    <a:pt x="2804" y="2696"/>
                  </a:lnTo>
                  <a:lnTo>
                    <a:pt x="2803" y="2705"/>
                  </a:lnTo>
                  <a:lnTo>
                    <a:pt x="2798" y="2712"/>
                  </a:lnTo>
                  <a:lnTo>
                    <a:pt x="2792" y="2716"/>
                  </a:lnTo>
                  <a:lnTo>
                    <a:pt x="2784" y="2717"/>
                  </a:lnTo>
                  <a:lnTo>
                    <a:pt x="2777" y="2716"/>
                  </a:lnTo>
                  <a:lnTo>
                    <a:pt x="2771" y="2712"/>
                  </a:lnTo>
                  <a:lnTo>
                    <a:pt x="2766" y="2705"/>
                  </a:lnTo>
                  <a:lnTo>
                    <a:pt x="2765" y="2696"/>
                  </a:lnTo>
                  <a:lnTo>
                    <a:pt x="2765" y="2593"/>
                  </a:lnTo>
                  <a:lnTo>
                    <a:pt x="2766" y="2584"/>
                  </a:lnTo>
                  <a:lnTo>
                    <a:pt x="2771" y="2578"/>
                  </a:lnTo>
                  <a:lnTo>
                    <a:pt x="2777" y="2574"/>
                  </a:lnTo>
                  <a:lnTo>
                    <a:pt x="2784" y="2572"/>
                  </a:lnTo>
                  <a:lnTo>
                    <a:pt x="2792" y="2574"/>
                  </a:lnTo>
                  <a:lnTo>
                    <a:pt x="2798" y="2578"/>
                  </a:lnTo>
                  <a:lnTo>
                    <a:pt x="2803" y="2584"/>
                  </a:lnTo>
                  <a:lnTo>
                    <a:pt x="2804" y="2593"/>
                  </a:lnTo>
                  <a:close/>
                  <a:moveTo>
                    <a:pt x="2375" y="2941"/>
                  </a:moveTo>
                  <a:lnTo>
                    <a:pt x="2375" y="3044"/>
                  </a:lnTo>
                  <a:lnTo>
                    <a:pt x="2372" y="3053"/>
                  </a:lnTo>
                  <a:lnTo>
                    <a:pt x="2368" y="3060"/>
                  </a:lnTo>
                  <a:lnTo>
                    <a:pt x="2362" y="3063"/>
                  </a:lnTo>
                  <a:lnTo>
                    <a:pt x="2354" y="3065"/>
                  </a:lnTo>
                  <a:lnTo>
                    <a:pt x="2347" y="3063"/>
                  </a:lnTo>
                  <a:lnTo>
                    <a:pt x="2340" y="3060"/>
                  </a:lnTo>
                  <a:lnTo>
                    <a:pt x="2336" y="3053"/>
                  </a:lnTo>
                  <a:lnTo>
                    <a:pt x="2334" y="3044"/>
                  </a:lnTo>
                  <a:lnTo>
                    <a:pt x="2334" y="2941"/>
                  </a:lnTo>
                  <a:lnTo>
                    <a:pt x="2336" y="2932"/>
                  </a:lnTo>
                  <a:lnTo>
                    <a:pt x="2340" y="2925"/>
                  </a:lnTo>
                  <a:lnTo>
                    <a:pt x="2347" y="2922"/>
                  </a:lnTo>
                  <a:lnTo>
                    <a:pt x="2354" y="2920"/>
                  </a:lnTo>
                  <a:lnTo>
                    <a:pt x="2362" y="2922"/>
                  </a:lnTo>
                  <a:lnTo>
                    <a:pt x="2368" y="2925"/>
                  </a:lnTo>
                  <a:lnTo>
                    <a:pt x="2372" y="2932"/>
                  </a:lnTo>
                  <a:lnTo>
                    <a:pt x="2375" y="2941"/>
                  </a:lnTo>
                  <a:close/>
                  <a:moveTo>
                    <a:pt x="2589" y="2941"/>
                  </a:moveTo>
                  <a:lnTo>
                    <a:pt x="2589" y="3044"/>
                  </a:lnTo>
                  <a:lnTo>
                    <a:pt x="2588" y="3053"/>
                  </a:lnTo>
                  <a:lnTo>
                    <a:pt x="2583" y="3060"/>
                  </a:lnTo>
                  <a:lnTo>
                    <a:pt x="2576" y="3063"/>
                  </a:lnTo>
                  <a:lnTo>
                    <a:pt x="2570" y="3065"/>
                  </a:lnTo>
                  <a:lnTo>
                    <a:pt x="2562" y="3063"/>
                  </a:lnTo>
                  <a:lnTo>
                    <a:pt x="2556" y="3060"/>
                  </a:lnTo>
                  <a:lnTo>
                    <a:pt x="2550" y="3053"/>
                  </a:lnTo>
                  <a:lnTo>
                    <a:pt x="2549" y="3044"/>
                  </a:lnTo>
                  <a:lnTo>
                    <a:pt x="2549" y="2941"/>
                  </a:lnTo>
                  <a:lnTo>
                    <a:pt x="2550" y="2932"/>
                  </a:lnTo>
                  <a:lnTo>
                    <a:pt x="2556" y="2925"/>
                  </a:lnTo>
                  <a:lnTo>
                    <a:pt x="2562" y="2922"/>
                  </a:lnTo>
                  <a:lnTo>
                    <a:pt x="2570" y="2920"/>
                  </a:lnTo>
                  <a:lnTo>
                    <a:pt x="2576" y="2922"/>
                  </a:lnTo>
                  <a:lnTo>
                    <a:pt x="2583" y="2925"/>
                  </a:lnTo>
                  <a:lnTo>
                    <a:pt x="2588" y="2932"/>
                  </a:lnTo>
                  <a:lnTo>
                    <a:pt x="2589" y="2941"/>
                  </a:lnTo>
                  <a:close/>
                  <a:moveTo>
                    <a:pt x="2804" y="2941"/>
                  </a:moveTo>
                  <a:lnTo>
                    <a:pt x="2804" y="3044"/>
                  </a:lnTo>
                  <a:lnTo>
                    <a:pt x="2803" y="3053"/>
                  </a:lnTo>
                  <a:lnTo>
                    <a:pt x="2798" y="3060"/>
                  </a:lnTo>
                  <a:lnTo>
                    <a:pt x="2792" y="3063"/>
                  </a:lnTo>
                  <a:lnTo>
                    <a:pt x="2784" y="3065"/>
                  </a:lnTo>
                  <a:lnTo>
                    <a:pt x="2777" y="3063"/>
                  </a:lnTo>
                  <a:lnTo>
                    <a:pt x="2771" y="3060"/>
                  </a:lnTo>
                  <a:lnTo>
                    <a:pt x="2766" y="3053"/>
                  </a:lnTo>
                  <a:lnTo>
                    <a:pt x="2765" y="3044"/>
                  </a:lnTo>
                  <a:lnTo>
                    <a:pt x="2765" y="2941"/>
                  </a:lnTo>
                  <a:lnTo>
                    <a:pt x="2766" y="2932"/>
                  </a:lnTo>
                  <a:lnTo>
                    <a:pt x="2771" y="2925"/>
                  </a:lnTo>
                  <a:lnTo>
                    <a:pt x="2777" y="2922"/>
                  </a:lnTo>
                  <a:lnTo>
                    <a:pt x="2784" y="2920"/>
                  </a:lnTo>
                  <a:lnTo>
                    <a:pt x="2792" y="2922"/>
                  </a:lnTo>
                  <a:lnTo>
                    <a:pt x="2798" y="2925"/>
                  </a:lnTo>
                  <a:lnTo>
                    <a:pt x="2803" y="2932"/>
                  </a:lnTo>
                  <a:lnTo>
                    <a:pt x="2804" y="2941"/>
                  </a:lnTo>
                  <a:close/>
                  <a:moveTo>
                    <a:pt x="6888" y="1521"/>
                  </a:moveTo>
                  <a:lnTo>
                    <a:pt x="6778" y="1521"/>
                  </a:lnTo>
                  <a:lnTo>
                    <a:pt x="6778" y="1631"/>
                  </a:lnTo>
                  <a:lnTo>
                    <a:pt x="6888" y="1631"/>
                  </a:lnTo>
                  <a:lnTo>
                    <a:pt x="6888" y="1521"/>
                  </a:lnTo>
                  <a:close/>
                  <a:moveTo>
                    <a:pt x="7276" y="2772"/>
                  </a:moveTo>
                  <a:lnTo>
                    <a:pt x="7276" y="2585"/>
                  </a:lnTo>
                  <a:lnTo>
                    <a:pt x="7276" y="2277"/>
                  </a:lnTo>
                  <a:lnTo>
                    <a:pt x="7277" y="2271"/>
                  </a:lnTo>
                  <a:lnTo>
                    <a:pt x="7277" y="1671"/>
                  </a:lnTo>
                  <a:lnTo>
                    <a:pt x="6909" y="1671"/>
                  </a:lnTo>
                  <a:lnTo>
                    <a:pt x="6758" y="1671"/>
                  </a:lnTo>
                  <a:lnTo>
                    <a:pt x="6469" y="1671"/>
                  </a:lnTo>
                  <a:lnTo>
                    <a:pt x="6460" y="1670"/>
                  </a:lnTo>
                  <a:lnTo>
                    <a:pt x="6454" y="1665"/>
                  </a:lnTo>
                  <a:lnTo>
                    <a:pt x="6450" y="1658"/>
                  </a:lnTo>
                  <a:lnTo>
                    <a:pt x="6449" y="1652"/>
                  </a:lnTo>
                  <a:lnTo>
                    <a:pt x="6450" y="1644"/>
                  </a:lnTo>
                  <a:lnTo>
                    <a:pt x="6454" y="1638"/>
                  </a:lnTo>
                  <a:lnTo>
                    <a:pt x="6460" y="1633"/>
                  </a:lnTo>
                  <a:lnTo>
                    <a:pt x="6469" y="1631"/>
                  </a:lnTo>
                  <a:lnTo>
                    <a:pt x="6574" y="1631"/>
                  </a:lnTo>
                  <a:lnTo>
                    <a:pt x="6574" y="1488"/>
                  </a:lnTo>
                  <a:lnTo>
                    <a:pt x="6172" y="1488"/>
                  </a:lnTo>
                  <a:lnTo>
                    <a:pt x="6172" y="1631"/>
                  </a:lnTo>
                  <a:lnTo>
                    <a:pt x="6204" y="1631"/>
                  </a:lnTo>
                  <a:lnTo>
                    <a:pt x="6213" y="1633"/>
                  </a:lnTo>
                  <a:lnTo>
                    <a:pt x="6219" y="1638"/>
                  </a:lnTo>
                  <a:lnTo>
                    <a:pt x="6223" y="1644"/>
                  </a:lnTo>
                  <a:lnTo>
                    <a:pt x="6224" y="1652"/>
                  </a:lnTo>
                  <a:lnTo>
                    <a:pt x="6223" y="1658"/>
                  </a:lnTo>
                  <a:lnTo>
                    <a:pt x="6219" y="1665"/>
                  </a:lnTo>
                  <a:lnTo>
                    <a:pt x="6213" y="1670"/>
                  </a:lnTo>
                  <a:lnTo>
                    <a:pt x="6204" y="1671"/>
                  </a:lnTo>
                  <a:lnTo>
                    <a:pt x="6037" y="1671"/>
                  </a:lnTo>
                  <a:lnTo>
                    <a:pt x="6037" y="2332"/>
                  </a:lnTo>
                  <a:lnTo>
                    <a:pt x="6037" y="2993"/>
                  </a:lnTo>
                  <a:lnTo>
                    <a:pt x="6037" y="3654"/>
                  </a:lnTo>
                  <a:lnTo>
                    <a:pt x="6037" y="4317"/>
                  </a:lnTo>
                  <a:lnTo>
                    <a:pt x="6656" y="4317"/>
                  </a:lnTo>
                  <a:lnTo>
                    <a:pt x="7276" y="4317"/>
                  </a:lnTo>
                  <a:lnTo>
                    <a:pt x="7276" y="3544"/>
                  </a:lnTo>
                  <a:lnTo>
                    <a:pt x="7276" y="2772"/>
                  </a:lnTo>
                  <a:close/>
                  <a:moveTo>
                    <a:pt x="9050" y="2792"/>
                  </a:moveTo>
                  <a:lnTo>
                    <a:pt x="8182" y="2792"/>
                  </a:lnTo>
                  <a:lnTo>
                    <a:pt x="7315" y="2792"/>
                  </a:lnTo>
                  <a:lnTo>
                    <a:pt x="7315" y="3554"/>
                  </a:lnTo>
                  <a:lnTo>
                    <a:pt x="7315" y="4317"/>
                  </a:lnTo>
                  <a:lnTo>
                    <a:pt x="8182" y="4317"/>
                  </a:lnTo>
                  <a:lnTo>
                    <a:pt x="9050" y="4317"/>
                  </a:lnTo>
                  <a:lnTo>
                    <a:pt x="9050" y="3554"/>
                  </a:lnTo>
                  <a:lnTo>
                    <a:pt x="9050" y="2792"/>
                  </a:lnTo>
                  <a:close/>
                  <a:moveTo>
                    <a:pt x="8412" y="2258"/>
                  </a:moveTo>
                  <a:lnTo>
                    <a:pt x="8412" y="2135"/>
                  </a:lnTo>
                  <a:lnTo>
                    <a:pt x="8413" y="2127"/>
                  </a:lnTo>
                  <a:lnTo>
                    <a:pt x="8418" y="2121"/>
                  </a:lnTo>
                  <a:lnTo>
                    <a:pt x="8425" y="2117"/>
                  </a:lnTo>
                  <a:lnTo>
                    <a:pt x="8432" y="2116"/>
                  </a:lnTo>
                  <a:lnTo>
                    <a:pt x="8677" y="2116"/>
                  </a:lnTo>
                  <a:lnTo>
                    <a:pt x="8685" y="2117"/>
                  </a:lnTo>
                  <a:lnTo>
                    <a:pt x="8691" y="2121"/>
                  </a:lnTo>
                  <a:lnTo>
                    <a:pt x="8695" y="2127"/>
                  </a:lnTo>
                  <a:lnTo>
                    <a:pt x="8698" y="2135"/>
                  </a:lnTo>
                  <a:lnTo>
                    <a:pt x="8698" y="2258"/>
                  </a:lnTo>
                  <a:lnTo>
                    <a:pt x="8853" y="2258"/>
                  </a:lnTo>
                  <a:lnTo>
                    <a:pt x="8868" y="2266"/>
                  </a:lnTo>
                  <a:lnTo>
                    <a:pt x="9089" y="2565"/>
                  </a:lnTo>
                  <a:lnTo>
                    <a:pt x="9100" y="2565"/>
                  </a:lnTo>
                  <a:lnTo>
                    <a:pt x="9108" y="2566"/>
                  </a:lnTo>
                  <a:lnTo>
                    <a:pt x="9114" y="2571"/>
                  </a:lnTo>
                  <a:lnTo>
                    <a:pt x="9120" y="2578"/>
                  </a:lnTo>
                  <a:lnTo>
                    <a:pt x="9121" y="2585"/>
                  </a:lnTo>
                  <a:lnTo>
                    <a:pt x="9121" y="2772"/>
                  </a:lnTo>
                  <a:lnTo>
                    <a:pt x="9120" y="2780"/>
                  </a:lnTo>
                  <a:lnTo>
                    <a:pt x="9114" y="2786"/>
                  </a:lnTo>
                  <a:lnTo>
                    <a:pt x="9108" y="2791"/>
                  </a:lnTo>
                  <a:lnTo>
                    <a:pt x="9100" y="2792"/>
                  </a:lnTo>
                  <a:lnTo>
                    <a:pt x="9090" y="2792"/>
                  </a:lnTo>
                  <a:lnTo>
                    <a:pt x="9090" y="3563"/>
                  </a:lnTo>
                  <a:lnTo>
                    <a:pt x="9090" y="4336"/>
                  </a:lnTo>
                  <a:lnTo>
                    <a:pt x="9089" y="4343"/>
                  </a:lnTo>
                  <a:lnTo>
                    <a:pt x="9084" y="4350"/>
                  </a:lnTo>
                  <a:lnTo>
                    <a:pt x="9077" y="4355"/>
                  </a:lnTo>
                  <a:lnTo>
                    <a:pt x="9070" y="4356"/>
                  </a:lnTo>
                  <a:lnTo>
                    <a:pt x="8184" y="4356"/>
                  </a:lnTo>
                  <a:lnTo>
                    <a:pt x="7297" y="4356"/>
                  </a:lnTo>
                  <a:lnTo>
                    <a:pt x="7295" y="4356"/>
                  </a:lnTo>
                  <a:lnTo>
                    <a:pt x="6656" y="4356"/>
                  </a:lnTo>
                  <a:lnTo>
                    <a:pt x="6018" y="4356"/>
                  </a:lnTo>
                  <a:lnTo>
                    <a:pt x="6010" y="4355"/>
                  </a:lnTo>
                  <a:lnTo>
                    <a:pt x="6004" y="4350"/>
                  </a:lnTo>
                  <a:lnTo>
                    <a:pt x="5999" y="4343"/>
                  </a:lnTo>
                  <a:lnTo>
                    <a:pt x="5997" y="4336"/>
                  </a:lnTo>
                  <a:lnTo>
                    <a:pt x="5997" y="3664"/>
                  </a:lnTo>
                  <a:lnTo>
                    <a:pt x="5997" y="2993"/>
                  </a:lnTo>
                  <a:lnTo>
                    <a:pt x="5997" y="2322"/>
                  </a:lnTo>
                  <a:lnTo>
                    <a:pt x="5997" y="1652"/>
                  </a:lnTo>
                  <a:lnTo>
                    <a:pt x="5999" y="1644"/>
                  </a:lnTo>
                  <a:lnTo>
                    <a:pt x="6004" y="1638"/>
                  </a:lnTo>
                  <a:lnTo>
                    <a:pt x="6010" y="1633"/>
                  </a:lnTo>
                  <a:lnTo>
                    <a:pt x="6018" y="1631"/>
                  </a:lnTo>
                  <a:lnTo>
                    <a:pt x="6132" y="1631"/>
                  </a:lnTo>
                  <a:lnTo>
                    <a:pt x="6132" y="1469"/>
                  </a:lnTo>
                  <a:lnTo>
                    <a:pt x="6133" y="1461"/>
                  </a:lnTo>
                  <a:lnTo>
                    <a:pt x="6138" y="1455"/>
                  </a:lnTo>
                  <a:lnTo>
                    <a:pt x="6145" y="1451"/>
                  </a:lnTo>
                  <a:lnTo>
                    <a:pt x="6152" y="1448"/>
                  </a:lnTo>
                  <a:lnTo>
                    <a:pt x="6595" y="1448"/>
                  </a:lnTo>
                  <a:lnTo>
                    <a:pt x="6602" y="1451"/>
                  </a:lnTo>
                  <a:lnTo>
                    <a:pt x="6609" y="1455"/>
                  </a:lnTo>
                  <a:lnTo>
                    <a:pt x="6613" y="1461"/>
                  </a:lnTo>
                  <a:lnTo>
                    <a:pt x="6614" y="1469"/>
                  </a:lnTo>
                  <a:lnTo>
                    <a:pt x="6614" y="1631"/>
                  </a:lnTo>
                  <a:lnTo>
                    <a:pt x="6738" y="1631"/>
                  </a:lnTo>
                  <a:lnTo>
                    <a:pt x="6738" y="1501"/>
                  </a:lnTo>
                  <a:lnTo>
                    <a:pt x="6740" y="1493"/>
                  </a:lnTo>
                  <a:lnTo>
                    <a:pt x="6744" y="1487"/>
                  </a:lnTo>
                  <a:lnTo>
                    <a:pt x="6750" y="1483"/>
                  </a:lnTo>
                  <a:lnTo>
                    <a:pt x="6758" y="1480"/>
                  </a:lnTo>
                  <a:lnTo>
                    <a:pt x="6909" y="1480"/>
                  </a:lnTo>
                  <a:lnTo>
                    <a:pt x="6917" y="1483"/>
                  </a:lnTo>
                  <a:lnTo>
                    <a:pt x="6923" y="1487"/>
                  </a:lnTo>
                  <a:lnTo>
                    <a:pt x="6927" y="1493"/>
                  </a:lnTo>
                  <a:lnTo>
                    <a:pt x="6928" y="1501"/>
                  </a:lnTo>
                  <a:lnTo>
                    <a:pt x="6928" y="1631"/>
                  </a:lnTo>
                  <a:lnTo>
                    <a:pt x="7297" y="1631"/>
                  </a:lnTo>
                  <a:lnTo>
                    <a:pt x="7305" y="1633"/>
                  </a:lnTo>
                  <a:lnTo>
                    <a:pt x="7312" y="1638"/>
                  </a:lnTo>
                  <a:lnTo>
                    <a:pt x="7315" y="1644"/>
                  </a:lnTo>
                  <a:lnTo>
                    <a:pt x="7317" y="1652"/>
                  </a:lnTo>
                  <a:lnTo>
                    <a:pt x="7317" y="2258"/>
                  </a:lnTo>
                  <a:lnTo>
                    <a:pt x="7864" y="2258"/>
                  </a:lnTo>
                  <a:lnTo>
                    <a:pt x="8412" y="2258"/>
                  </a:lnTo>
                  <a:close/>
                  <a:moveTo>
                    <a:pt x="8657" y="2258"/>
                  </a:moveTo>
                  <a:lnTo>
                    <a:pt x="8657" y="2156"/>
                  </a:lnTo>
                  <a:lnTo>
                    <a:pt x="8452" y="2156"/>
                  </a:lnTo>
                  <a:lnTo>
                    <a:pt x="8452" y="2258"/>
                  </a:lnTo>
                  <a:lnTo>
                    <a:pt x="8482" y="2258"/>
                  </a:lnTo>
                  <a:lnTo>
                    <a:pt x="8491" y="2259"/>
                  </a:lnTo>
                  <a:lnTo>
                    <a:pt x="8496" y="2264"/>
                  </a:lnTo>
                  <a:lnTo>
                    <a:pt x="8500" y="2271"/>
                  </a:lnTo>
                  <a:lnTo>
                    <a:pt x="8502" y="2277"/>
                  </a:lnTo>
                  <a:lnTo>
                    <a:pt x="8500" y="2285"/>
                  </a:lnTo>
                  <a:lnTo>
                    <a:pt x="8496" y="2291"/>
                  </a:lnTo>
                  <a:lnTo>
                    <a:pt x="8491" y="2296"/>
                  </a:lnTo>
                  <a:lnTo>
                    <a:pt x="8482" y="2298"/>
                  </a:lnTo>
                  <a:lnTo>
                    <a:pt x="7899" y="2298"/>
                  </a:lnTo>
                  <a:lnTo>
                    <a:pt x="7315" y="2298"/>
                  </a:lnTo>
                  <a:lnTo>
                    <a:pt x="7315" y="2565"/>
                  </a:lnTo>
                  <a:lnTo>
                    <a:pt x="8177" y="2565"/>
                  </a:lnTo>
                  <a:lnTo>
                    <a:pt x="9039" y="2565"/>
                  </a:lnTo>
                  <a:lnTo>
                    <a:pt x="8843" y="2298"/>
                  </a:lnTo>
                  <a:lnTo>
                    <a:pt x="8637" y="2298"/>
                  </a:lnTo>
                  <a:lnTo>
                    <a:pt x="8630" y="2296"/>
                  </a:lnTo>
                  <a:lnTo>
                    <a:pt x="8623" y="2291"/>
                  </a:lnTo>
                  <a:lnTo>
                    <a:pt x="8619" y="2285"/>
                  </a:lnTo>
                  <a:lnTo>
                    <a:pt x="8618" y="2277"/>
                  </a:lnTo>
                  <a:lnTo>
                    <a:pt x="8619" y="2271"/>
                  </a:lnTo>
                  <a:lnTo>
                    <a:pt x="8623" y="2264"/>
                  </a:lnTo>
                  <a:lnTo>
                    <a:pt x="8630" y="2259"/>
                  </a:lnTo>
                  <a:lnTo>
                    <a:pt x="8637" y="2258"/>
                  </a:lnTo>
                  <a:lnTo>
                    <a:pt x="8657" y="2258"/>
                  </a:lnTo>
                  <a:close/>
                  <a:moveTo>
                    <a:pt x="9075" y="2604"/>
                  </a:moveTo>
                  <a:lnTo>
                    <a:pt x="8195" y="2604"/>
                  </a:lnTo>
                  <a:lnTo>
                    <a:pt x="7315" y="2604"/>
                  </a:lnTo>
                  <a:lnTo>
                    <a:pt x="7315" y="2753"/>
                  </a:lnTo>
                  <a:lnTo>
                    <a:pt x="8192" y="2753"/>
                  </a:lnTo>
                  <a:lnTo>
                    <a:pt x="9070" y="2753"/>
                  </a:lnTo>
                  <a:lnTo>
                    <a:pt x="9081" y="2753"/>
                  </a:lnTo>
                  <a:lnTo>
                    <a:pt x="9081" y="2604"/>
                  </a:lnTo>
                  <a:lnTo>
                    <a:pt x="9075" y="2604"/>
                  </a:lnTo>
                  <a:close/>
                  <a:moveTo>
                    <a:pt x="6236" y="1893"/>
                  </a:moveTo>
                  <a:lnTo>
                    <a:pt x="6369" y="1893"/>
                  </a:lnTo>
                  <a:lnTo>
                    <a:pt x="6378" y="1895"/>
                  </a:lnTo>
                  <a:lnTo>
                    <a:pt x="6384" y="1900"/>
                  </a:lnTo>
                  <a:lnTo>
                    <a:pt x="6387" y="1906"/>
                  </a:lnTo>
                  <a:lnTo>
                    <a:pt x="6388" y="1913"/>
                  </a:lnTo>
                  <a:lnTo>
                    <a:pt x="6387" y="1920"/>
                  </a:lnTo>
                  <a:lnTo>
                    <a:pt x="6384" y="1927"/>
                  </a:lnTo>
                  <a:lnTo>
                    <a:pt x="6378" y="1932"/>
                  </a:lnTo>
                  <a:lnTo>
                    <a:pt x="6369" y="1933"/>
                  </a:lnTo>
                  <a:lnTo>
                    <a:pt x="6236" y="1933"/>
                  </a:lnTo>
                  <a:lnTo>
                    <a:pt x="6227" y="1932"/>
                  </a:lnTo>
                  <a:lnTo>
                    <a:pt x="6220" y="1927"/>
                  </a:lnTo>
                  <a:lnTo>
                    <a:pt x="6216" y="1920"/>
                  </a:lnTo>
                  <a:lnTo>
                    <a:pt x="6215" y="1913"/>
                  </a:lnTo>
                  <a:lnTo>
                    <a:pt x="6216" y="1906"/>
                  </a:lnTo>
                  <a:lnTo>
                    <a:pt x="6220" y="1900"/>
                  </a:lnTo>
                  <a:lnTo>
                    <a:pt x="6227" y="1895"/>
                  </a:lnTo>
                  <a:lnTo>
                    <a:pt x="6236" y="1893"/>
                  </a:lnTo>
                  <a:close/>
                  <a:moveTo>
                    <a:pt x="6472" y="1893"/>
                  </a:moveTo>
                  <a:lnTo>
                    <a:pt x="6605" y="1893"/>
                  </a:lnTo>
                  <a:lnTo>
                    <a:pt x="6614" y="1895"/>
                  </a:lnTo>
                  <a:lnTo>
                    <a:pt x="6620" y="1900"/>
                  </a:lnTo>
                  <a:lnTo>
                    <a:pt x="6624" y="1906"/>
                  </a:lnTo>
                  <a:lnTo>
                    <a:pt x="6626" y="1913"/>
                  </a:lnTo>
                  <a:lnTo>
                    <a:pt x="6624" y="1920"/>
                  </a:lnTo>
                  <a:lnTo>
                    <a:pt x="6620" y="1927"/>
                  </a:lnTo>
                  <a:lnTo>
                    <a:pt x="6614" y="1932"/>
                  </a:lnTo>
                  <a:lnTo>
                    <a:pt x="6605" y="1933"/>
                  </a:lnTo>
                  <a:lnTo>
                    <a:pt x="6472" y="1933"/>
                  </a:lnTo>
                  <a:lnTo>
                    <a:pt x="6464" y="1932"/>
                  </a:lnTo>
                  <a:lnTo>
                    <a:pt x="6458" y="1927"/>
                  </a:lnTo>
                  <a:lnTo>
                    <a:pt x="6454" y="1920"/>
                  </a:lnTo>
                  <a:lnTo>
                    <a:pt x="6452" y="1913"/>
                  </a:lnTo>
                  <a:lnTo>
                    <a:pt x="6454" y="1906"/>
                  </a:lnTo>
                  <a:lnTo>
                    <a:pt x="6458" y="1900"/>
                  </a:lnTo>
                  <a:lnTo>
                    <a:pt x="6464" y="1895"/>
                  </a:lnTo>
                  <a:lnTo>
                    <a:pt x="6472" y="1893"/>
                  </a:lnTo>
                  <a:close/>
                  <a:moveTo>
                    <a:pt x="6709" y="1893"/>
                  </a:moveTo>
                  <a:lnTo>
                    <a:pt x="6842" y="1893"/>
                  </a:lnTo>
                  <a:lnTo>
                    <a:pt x="6851" y="1895"/>
                  </a:lnTo>
                  <a:lnTo>
                    <a:pt x="6858" y="1900"/>
                  </a:lnTo>
                  <a:lnTo>
                    <a:pt x="6861" y="1906"/>
                  </a:lnTo>
                  <a:lnTo>
                    <a:pt x="6863" y="1913"/>
                  </a:lnTo>
                  <a:lnTo>
                    <a:pt x="6861" y="1920"/>
                  </a:lnTo>
                  <a:lnTo>
                    <a:pt x="6858" y="1927"/>
                  </a:lnTo>
                  <a:lnTo>
                    <a:pt x="6851" y="1932"/>
                  </a:lnTo>
                  <a:lnTo>
                    <a:pt x="6842" y="1933"/>
                  </a:lnTo>
                  <a:lnTo>
                    <a:pt x="6709" y="1933"/>
                  </a:lnTo>
                  <a:lnTo>
                    <a:pt x="6700" y="1932"/>
                  </a:lnTo>
                  <a:lnTo>
                    <a:pt x="6693" y="1927"/>
                  </a:lnTo>
                  <a:lnTo>
                    <a:pt x="6690" y="1920"/>
                  </a:lnTo>
                  <a:lnTo>
                    <a:pt x="6688" y="1913"/>
                  </a:lnTo>
                  <a:lnTo>
                    <a:pt x="6690" y="1906"/>
                  </a:lnTo>
                  <a:lnTo>
                    <a:pt x="6693" y="1900"/>
                  </a:lnTo>
                  <a:lnTo>
                    <a:pt x="6700" y="1895"/>
                  </a:lnTo>
                  <a:lnTo>
                    <a:pt x="6709" y="1893"/>
                  </a:lnTo>
                  <a:close/>
                  <a:moveTo>
                    <a:pt x="6946" y="1893"/>
                  </a:moveTo>
                  <a:lnTo>
                    <a:pt x="7078" y="1893"/>
                  </a:lnTo>
                  <a:lnTo>
                    <a:pt x="7087" y="1895"/>
                  </a:lnTo>
                  <a:lnTo>
                    <a:pt x="7094" y="1900"/>
                  </a:lnTo>
                  <a:lnTo>
                    <a:pt x="7097" y="1906"/>
                  </a:lnTo>
                  <a:lnTo>
                    <a:pt x="7099" y="1913"/>
                  </a:lnTo>
                  <a:lnTo>
                    <a:pt x="7097" y="1920"/>
                  </a:lnTo>
                  <a:lnTo>
                    <a:pt x="7094" y="1927"/>
                  </a:lnTo>
                  <a:lnTo>
                    <a:pt x="7087" y="1932"/>
                  </a:lnTo>
                  <a:lnTo>
                    <a:pt x="7078" y="1933"/>
                  </a:lnTo>
                  <a:lnTo>
                    <a:pt x="6946" y="1933"/>
                  </a:lnTo>
                  <a:lnTo>
                    <a:pt x="6937" y="1932"/>
                  </a:lnTo>
                  <a:lnTo>
                    <a:pt x="6931" y="1927"/>
                  </a:lnTo>
                  <a:lnTo>
                    <a:pt x="6927" y="1920"/>
                  </a:lnTo>
                  <a:lnTo>
                    <a:pt x="6926" y="1913"/>
                  </a:lnTo>
                  <a:lnTo>
                    <a:pt x="6927" y="1906"/>
                  </a:lnTo>
                  <a:lnTo>
                    <a:pt x="6931" y="1900"/>
                  </a:lnTo>
                  <a:lnTo>
                    <a:pt x="6937" y="1895"/>
                  </a:lnTo>
                  <a:lnTo>
                    <a:pt x="6946" y="1893"/>
                  </a:lnTo>
                  <a:close/>
                  <a:moveTo>
                    <a:pt x="6236" y="2156"/>
                  </a:moveTo>
                  <a:lnTo>
                    <a:pt x="6369" y="2156"/>
                  </a:lnTo>
                  <a:lnTo>
                    <a:pt x="6378" y="2158"/>
                  </a:lnTo>
                  <a:lnTo>
                    <a:pt x="6384" y="2162"/>
                  </a:lnTo>
                  <a:lnTo>
                    <a:pt x="6387" y="2168"/>
                  </a:lnTo>
                  <a:lnTo>
                    <a:pt x="6388" y="2176"/>
                  </a:lnTo>
                  <a:lnTo>
                    <a:pt x="6387" y="2184"/>
                  </a:lnTo>
                  <a:lnTo>
                    <a:pt x="6384" y="2190"/>
                  </a:lnTo>
                  <a:lnTo>
                    <a:pt x="6378" y="2194"/>
                  </a:lnTo>
                  <a:lnTo>
                    <a:pt x="6369" y="2197"/>
                  </a:lnTo>
                  <a:lnTo>
                    <a:pt x="6236" y="2197"/>
                  </a:lnTo>
                  <a:lnTo>
                    <a:pt x="6227" y="2194"/>
                  </a:lnTo>
                  <a:lnTo>
                    <a:pt x="6220" y="2190"/>
                  </a:lnTo>
                  <a:lnTo>
                    <a:pt x="6216" y="2184"/>
                  </a:lnTo>
                  <a:lnTo>
                    <a:pt x="6215" y="2176"/>
                  </a:lnTo>
                  <a:lnTo>
                    <a:pt x="6216" y="2168"/>
                  </a:lnTo>
                  <a:lnTo>
                    <a:pt x="6220" y="2162"/>
                  </a:lnTo>
                  <a:lnTo>
                    <a:pt x="6227" y="2158"/>
                  </a:lnTo>
                  <a:lnTo>
                    <a:pt x="6236" y="2156"/>
                  </a:lnTo>
                  <a:close/>
                  <a:moveTo>
                    <a:pt x="6472" y="2156"/>
                  </a:moveTo>
                  <a:lnTo>
                    <a:pt x="6605" y="2156"/>
                  </a:lnTo>
                  <a:lnTo>
                    <a:pt x="6614" y="2158"/>
                  </a:lnTo>
                  <a:lnTo>
                    <a:pt x="6620" y="2162"/>
                  </a:lnTo>
                  <a:lnTo>
                    <a:pt x="6624" y="2168"/>
                  </a:lnTo>
                  <a:lnTo>
                    <a:pt x="6626" y="2176"/>
                  </a:lnTo>
                  <a:lnTo>
                    <a:pt x="6624" y="2184"/>
                  </a:lnTo>
                  <a:lnTo>
                    <a:pt x="6620" y="2190"/>
                  </a:lnTo>
                  <a:lnTo>
                    <a:pt x="6614" y="2194"/>
                  </a:lnTo>
                  <a:lnTo>
                    <a:pt x="6605" y="2197"/>
                  </a:lnTo>
                  <a:lnTo>
                    <a:pt x="6472" y="2197"/>
                  </a:lnTo>
                  <a:lnTo>
                    <a:pt x="6464" y="2194"/>
                  </a:lnTo>
                  <a:lnTo>
                    <a:pt x="6458" y="2190"/>
                  </a:lnTo>
                  <a:lnTo>
                    <a:pt x="6454" y="2184"/>
                  </a:lnTo>
                  <a:lnTo>
                    <a:pt x="6452" y="2176"/>
                  </a:lnTo>
                  <a:lnTo>
                    <a:pt x="6454" y="2168"/>
                  </a:lnTo>
                  <a:lnTo>
                    <a:pt x="6458" y="2162"/>
                  </a:lnTo>
                  <a:lnTo>
                    <a:pt x="6464" y="2158"/>
                  </a:lnTo>
                  <a:lnTo>
                    <a:pt x="6472" y="2156"/>
                  </a:lnTo>
                  <a:close/>
                  <a:moveTo>
                    <a:pt x="6709" y="2156"/>
                  </a:moveTo>
                  <a:lnTo>
                    <a:pt x="6842" y="2156"/>
                  </a:lnTo>
                  <a:lnTo>
                    <a:pt x="6851" y="2158"/>
                  </a:lnTo>
                  <a:lnTo>
                    <a:pt x="6858" y="2162"/>
                  </a:lnTo>
                  <a:lnTo>
                    <a:pt x="6861" y="2168"/>
                  </a:lnTo>
                  <a:lnTo>
                    <a:pt x="6863" y="2176"/>
                  </a:lnTo>
                  <a:lnTo>
                    <a:pt x="6861" y="2184"/>
                  </a:lnTo>
                  <a:lnTo>
                    <a:pt x="6858" y="2190"/>
                  </a:lnTo>
                  <a:lnTo>
                    <a:pt x="6851" y="2194"/>
                  </a:lnTo>
                  <a:lnTo>
                    <a:pt x="6842" y="2197"/>
                  </a:lnTo>
                  <a:lnTo>
                    <a:pt x="6709" y="2197"/>
                  </a:lnTo>
                  <a:lnTo>
                    <a:pt x="6700" y="2194"/>
                  </a:lnTo>
                  <a:lnTo>
                    <a:pt x="6693" y="2190"/>
                  </a:lnTo>
                  <a:lnTo>
                    <a:pt x="6690" y="2184"/>
                  </a:lnTo>
                  <a:lnTo>
                    <a:pt x="6688" y="2176"/>
                  </a:lnTo>
                  <a:lnTo>
                    <a:pt x="6690" y="2168"/>
                  </a:lnTo>
                  <a:lnTo>
                    <a:pt x="6693" y="2162"/>
                  </a:lnTo>
                  <a:lnTo>
                    <a:pt x="6700" y="2158"/>
                  </a:lnTo>
                  <a:lnTo>
                    <a:pt x="6709" y="2156"/>
                  </a:lnTo>
                  <a:close/>
                  <a:moveTo>
                    <a:pt x="6946" y="2156"/>
                  </a:moveTo>
                  <a:lnTo>
                    <a:pt x="7078" y="2156"/>
                  </a:lnTo>
                  <a:lnTo>
                    <a:pt x="7087" y="2158"/>
                  </a:lnTo>
                  <a:lnTo>
                    <a:pt x="7094" y="2162"/>
                  </a:lnTo>
                  <a:lnTo>
                    <a:pt x="7097" y="2168"/>
                  </a:lnTo>
                  <a:lnTo>
                    <a:pt x="7099" y="2176"/>
                  </a:lnTo>
                  <a:lnTo>
                    <a:pt x="7097" y="2184"/>
                  </a:lnTo>
                  <a:lnTo>
                    <a:pt x="7094" y="2190"/>
                  </a:lnTo>
                  <a:lnTo>
                    <a:pt x="7087" y="2194"/>
                  </a:lnTo>
                  <a:lnTo>
                    <a:pt x="7078" y="2197"/>
                  </a:lnTo>
                  <a:lnTo>
                    <a:pt x="6946" y="2197"/>
                  </a:lnTo>
                  <a:lnTo>
                    <a:pt x="6937" y="2194"/>
                  </a:lnTo>
                  <a:lnTo>
                    <a:pt x="6931" y="2190"/>
                  </a:lnTo>
                  <a:lnTo>
                    <a:pt x="6927" y="2184"/>
                  </a:lnTo>
                  <a:lnTo>
                    <a:pt x="6926" y="2176"/>
                  </a:lnTo>
                  <a:lnTo>
                    <a:pt x="6927" y="2168"/>
                  </a:lnTo>
                  <a:lnTo>
                    <a:pt x="6931" y="2162"/>
                  </a:lnTo>
                  <a:lnTo>
                    <a:pt x="6937" y="2158"/>
                  </a:lnTo>
                  <a:lnTo>
                    <a:pt x="6946" y="2156"/>
                  </a:lnTo>
                  <a:close/>
                  <a:moveTo>
                    <a:pt x="6236" y="2419"/>
                  </a:moveTo>
                  <a:lnTo>
                    <a:pt x="6369" y="2419"/>
                  </a:lnTo>
                  <a:lnTo>
                    <a:pt x="6378" y="2420"/>
                  </a:lnTo>
                  <a:lnTo>
                    <a:pt x="6384" y="2425"/>
                  </a:lnTo>
                  <a:lnTo>
                    <a:pt x="6387" y="2432"/>
                  </a:lnTo>
                  <a:lnTo>
                    <a:pt x="6388" y="2439"/>
                  </a:lnTo>
                  <a:lnTo>
                    <a:pt x="6387" y="2446"/>
                  </a:lnTo>
                  <a:lnTo>
                    <a:pt x="6384" y="2452"/>
                  </a:lnTo>
                  <a:lnTo>
                    <a:pt x="6378" y="2457"/>
                  </a:lnTo>
                  <a:lnTo>
                    <a:pt x="6369" y="2459"/>
                  </a:lnTo>
                  <a:lnTo>
                    <a:pt x="6236" y="2459"/>
                  </a:lnTo>
                  <a:lnTo>
                    <a:pt x="6227" y="2457"/>
                  </a:lnTo>
                  <a:lnTo>
                    <a:pt x="6220" y="2452"/>
                  </a:lnTo>
                  <a:lnTo>
                    <a:pt x="6216" y="2446"/>
                  </a:lnTo>
                  <a:lnTo>
                    <a:pt x="6215" y="2439"/>
                  </a:lnTo>
                  <a:lnTo>
                    <a:pt x="6216" y="2432"/>
                  </a:lnTo>
                  <a:lnTo>
                    <a:pt x="6220" y="2425"/>
                  </a:lnTo>
                  <a:lnTo>
                    <a:pt x="6227" y="2420"/>
                  </a:lnTo>
                  <a:lnTo>
                    <a:pt x="6236" y="2419"/>
                  </a:lnTo>
                  <a:close/>
                  <a:moveTo>
                    <a:pt x="6472" y="2419"/>
                  </a:moveTo>
                  <a:lnTo>
                    <a:pt x="6605" y="2419"/>
                  </a:lnTo>
                  <a:lnTo>
                    <a:pt x="6614" y="2420"/>
                  </a:lnTo>
                  <a:lnTo>
                    <a:pt x="6620" y="2425"/>
                  </a:lnTo>
                  <a:lnTo>
                    <a:pt x="6624" y="2432"/>
                  </a:lnTo>
                  <a:lnTo>
                    <a:pt x="6626" y="2439"/>
                  </a:lnTo>
                  <a:lnTo>
                    <a:pt x="6624" y="2446"/>
                  </a:lnTo>
                  <a:lnTo>
                    <a:pt x="6620" y="2452"/>
                  </a:lnTo>
                  <a:lnTo>
                    <a:pt x="6614" y="2457"/>
                  </a:lnTo>
                  <a:lnTo>
                    <a:pt x="6605" y="2459"/>
                  </a:lnTo>
                  <a:lnTo>
                    <a:pt x="6472" y="2459"/>
                  </a:lnTo>
                  <a:lnTo>
                    <a:pt x="6464" y="2457"/>
                  </a:lnTo>
                  <a:lnTo>
                    <a:pt x="6458" y="2452"/>
                  </a:lnTo>
                  <a:lnTo>
                    <a:pt x="6454" y="2446"/>
                  </a:lnTo>
                  <a:lnTo>
                    <a:pt x="6452" y="2439"/>
                  </a:lnTo>
                  <a:lnTo>
                    <a:pt x="6454" y="2432"/>
                  </a:lnTo>
                  <a:lnTo>
                    <a:pt x="6458" y="2425"/>
                  </a:lnTo>
                  <a:lnTo>
                    <a:pt x="6464" y="2420"/>
                  </a:lnTo>
                  <a:lnTo>
                    <a:pt x="6472" y="2419"/>
                  </a:lnTo>
                  <a:close/>
                  <a:moveTo>
                    <a:pt x="6709" y="2419"/>
                  </a:moveTo>
                  <a:lnTo>
                    <a:pt x="6842" y="2419"/>
                  </a:lnTo>
                  <a:lnTo>
                    <a:pt x="6851" y="2420"/>
                  </a:lnTo>
                  <a:lnTo>
                    <a:pt x="6858" y="2425"/>
                  </a:lnTo>
                  <a:lnTo>
                    <a:pt x="6861" y="2432"/>
                  </a:lnTo>
                  <a:lnTo>
                    <a:pt x="6863" y="2439"/>
                  </a:lnTo>
                  <a:lnTo>
                    <a:pt x="6861" y="2446"/>
                  </a:lnTo>
                  <a:lnTo>
                    <a:pt x="6858" y="2452"/>
                  </a:lnTo>
                  <a:lnTo>
                    <a:pt x="6851" y="2457"/>
                  </a:lnTo>
                  <a:lnTo>
                    <a:pt x="6842" y="2459"/>
                  </a:lnTo>
                  <a:lnTo>
                    <a:pt x="6709" y="2459"/>
                  </a:lnTo>
                  <a:lnTo>
                    <a:pt x="6700" y="2457"/>
                  </a:lnTo>
                  <a:lnTo>
                    <a:pt x="6693" y="2452"/>
                  </a:lnTo>
                  <a:lnTo>
                    <a:pt x="6690" y="2446"/>
                  </a:lnTo>
                  <a:lnTo>
                    <a:pt x="6688" y="2439"/>
                  </a:lnTo>
                  <a:lnTo>
                    <a:pt x="6690" y="2432"/>
                  </a:lnTo>
                  <a:lnTo>
                    <a:pt x="6693" y="2425"/>
                  </a:lnTo>
                  <a:lnTo>
                    <a:pt x="6700" y="2420"/>
                  </a:lnTo>
                  <a:lnTo>
                    <a:pt x="6709" y="2419"/>
                  </a:lnTo>
                  <a:close/>
                  <a:moveTo>
                    <a:pt x="6946" y="2419"/>
                  </a:moveTo>
                  <a:lnTo>
                    <a:pt x="7078" y="2419"/>
                  </a:lnTo>
                  <a:lnTo>
                    <a:pt x="7087" y="2420"/>
                  </a:lnTo>
                  <a:lnTo>
                    <a:pt x="7094" y="2425"/>
                  </a:lnTo>
                  <a:lnTo>
                    <a:pt x="7097" y="2432"/>
                  </a:lnTo>
                  <a:lnTo>
                    <a:pt x="7099" y="2439"/>
                  </a:lnTo>
                  <a:lnTo>
                    <a:pt x="7097" y="2446"/>
                  </a:lnTo>
                  <a:lnTo>
                    <a:pt x="7094" y="2452"/>
                  </a:lnTo>
                  <a:lnTo>
                    <a:pt x="7087" y="2457"/>
                  </a:lnTo>
                  <a:lnTo>
                    <a:pt x="7078" y="2459"/>
                  </a:lnTo>
                  <a:lnTo>
                    <a:pt x="6946" y="2459"/>
                  </a:lnTo>
                  <a:lnTo>
                    <a:pt x="6937" y="2457"/>
                  </a:lnTo>
                  <a:lnTo>
                    <a:pt x="6931" y="2452"/>
                  </a:lnTo>
                  <a:lnTo>
                    <a:pt x="6927" y="2446"/>
                  </a:lnTo>
                  <a:lnTo>
                    <a:pt x="6926" y="2439"/>
                  </a:lnTo>
                  <a:lnTo>
                    <a:pt x="6927" y="2432"/>
                  </a:lnTo>
                  <a:lnTo>
                    <a:pt x="6931" y="2425"/>
                  </a:lnTo>
                  <a:lnTo>
                    <a:pt x="6937" y="2420"/>
                  </a:lnTo>
                  <a:lnTo>
                    <a:pt x="6946" y="2419"/>
                  </a:lnTo>
                  <a:close/>
                  <a:moveTo>
                    <a:pt x="6236" y="2682"/>
                  </a:moveTo>
                  <a:lnTo>
                    <a:pt x="6369" y="2682"/>
                  </a:lnTo>
                  <a:lnTo>
                    <a:pt x="6378" y="2684"/>
                  </a:lnTo>
                  <a:lnTo>
                    <a:pt x="6384" y="2689"/>
                  </a:lnTo>
                  <a:lnTo>
                    <a:pt x="6387" y="2695"/>
                  </a:lnTo>
                  <a:lnTo>
                    <a:pt x="6388" y="2702"/>
                  </a:lnTo>
                  <a:lnTo>
                    <a:pt x="6387" y="2709"/>
                  </a:lnTo>
                  <a:lnTo>
                    <a:pt x="6384" y="2716"/>
                  </a:lnTo>
                  <a:lnTo>
                    <a:pt x="6378" y="2721"/>
                  </a:lnTo>
                  <a:lnTo>
                    <a:pt x="6369" y="2722"/>
                  </a:lnTo>
                  <a:lnTo>
                    <a:pt x="6236" y="2722"/>
                  </a:lnTo>
                  <a:lnTo>
                    <a:pt x="6227" y="2721"/>
                  </a:lnTo>
                  <a:lnTo>
                    <a:pt x="6220" y="2716"/>
                  </a:lnTo>
                  <a:lnTo>
                    <a:pt x="6216" y="2709"/>
                  </a:lnTo>
                  <a:lnTo>
                    <a:pt x="6215" y="2702"/>
                  </a:lnTo>
                  <a:lnTo>
                    <a:pt x="6216" y="2695"/>
                  </a:lnTo>
                  <a:lnTo>
                    <a:pt x="6220" y="2689"/>
                  </a:lnTo>
                  <a:lnTo>
                    <a:pt x="6227" y="2684"/>
                  </a:lnTo>
                  <a:lnTo>
                    <a:pt x="6236" y="2682"/>
                  </a:lnTo>
                  <a:close/>
                  <a:moveTo>
                    <a:pt x="6472" y="2682"/>
                  </a:moveTo>
                  <a:lnTo>
                    <a:pt x="6605" y="2682"/>
                  </a:lnTo>
                  <a:lnTo>
                    <a:pt x="6614" y="2684"/>
                  </a:lnTo>
                  <a:lnTo>
                    <a:pt x="6620" y="2689"/>
                  </a:lnTo>
                  <a:lnTo>
                    <a:pt x="6624" y="2695"/>
                  </a:lnTo>
                  <a:lnTo>
                    <a:pt x="6626" y="2702"/>
                  </a:lnTo>
                  <a:lnTo>
                    <a:pt x="6624" y="2709"/>
                  </a:lnTo>
                  <a:lnTo>
                    <a:pt x="6620" y="2716"/>
                  </a:lnTo>
                  <a:lnTo>
                    <a:pt x="6614" y="2721"/>
                  </a:lnTo>
                  <a:lnTo>
                    <a:pt x="6605" y="2722"/>
                  </a:lnTo>
                  <a:lnTo>
                    <a:pt x="6472" y="2722"/>
                  </a:lnTo>
                  <a:lnTo>
                    <a:pt x="6464" y="2721"/>
                  </a:lnTo>
                  <a:lnTo>
                    <a:pt x="6458" y="2716"/>
                  </a:lnTo>
                  <a:lnTo>
                    <a:pt x="6454" y="2709"/>
                  </a:lnTo>
                  <a:lnTo>
                    <a:pt x="6452" y="2702"/>
                  </a:lnTo>
                  <a:lnTo>
                    <a:pt x="6454" y="2695"/>
                  </a:lnTo>
                  <a:lnTo>
                    <a:pt x="6458" y="2689"/>
                  </a:lnTo>
                  <a:lnTo>
                    <a:pt x="6464" y="2684"/>
                  </a:lnTo>
                  <a:lnTo>
                    <a:pt x="6472" y="2682"/>
                  </a:lnTo>
                  <a:close/>
                  <a:moveTo>
                    <a:pt x="6709" y="2682"/>
                  </a:moveTo>
                  <a:lnTo>
                    <a:pt x="6842" y="2682"/>
                  </a:lnTo>
                  <a:lnTo>
                    <a:pt x="6851" y="2684"/>
                  </a:lnTo>
                  <a:lnTo>
                    <a:pt x="6858" y="2689"/>
                  </a:lnTo>
                  <a:lnTo>
                    <a:pt x="6861" y="2695"/>
                  </a:lnTo>
                  <a:lnTo>
                    <a:pt x="6863" y="2702"/>
                  </a:lnTo>
                  <a:lnTo>
                    <a:pt x="6861" y="2709"/>
                  </a:lnTo>
                  <a:lnTo>
                    <a:pt x="6858" y="2716"/>
                  </a:lnTo>
                  <a:lnTo>
                    <a:pt x="6851" y="2721"/>
                  </a:lnTo>
                  <a:lnTo>
                    <a:pt x="6842" y="2722"/>
                  </a:lnTo>
                  <a:lnTo>
                    <a:pt x="6709" y="2722"/>
                  </a:lnTo>
                  <a:lnTo>
                    <a:pt x="6700" y="2721"/>
                  </a:lnTo>
                  <a:lnTo>
                    <a:pt x="6693" y="2716"/>
                  </a:lnTo>
                  <a:lnTo>
                    <a:pt x="6690" y="2709"/>
                  </a:lnTo>
                  <a:lnTo>
                    <a:pt x="6688" y="2702"/>
                  </a:lnTo>
                  <a:lnTo>
                    <a:pt x="6690" y="2695"/>
                  </a:lnTo>
                  <a:lnTo>
                    <a:pt x="6693" y="2689"/>
                  </a:lnTo>
                  <a:lnTo>
                    <a:pt x="6700" y="2684"/>
                  </a:lnTo>
                  <a:lnTo>
                    <a:pt x="6709" y="2682"/>
                  </a:lnTo>
                  <a:close/>
                  <a:moveTo>
                    <a:pt x="6946" y="2682"/>
                  </a:moveTo>
                  <a:lnTo>
                    <a:pt x="7078" y="2682"/>
                  </a:lnTo>
                  <a:lnTo>
                    <a:pt x="7087" y="2684"/>
                  </a:lnTo>
                  <a:lnTo>
                    <a:pt x="7094" y="2689"/>
                  </a:lnTo>
                  <a:lnTo>
                    <a:pt x="7097" y="2695"/>
                  </a:lnTo>
                  <a:lnTo>
                    <a:pt x="7099" y="2702"/>
                  </a:lnTo>
                  <a:lnTo>
                    <a:pt x="7097" y="2709"/>
                  </a:lnTo>
                  <a:lnTo>
                    <a:pt x="7094" y="2716"/>
                  </a:lnTo>
                  <a:lnTo>
                    <a:pt x="7087" y="2721"/>
                  </a:lnTo>
                  <a:lnTo>
                    <a:pt x="7078" y="2722"/>
                  </a:lnTo>
                  <a:lnTo>
                    <a:pt x="6946" y="2722"/>
                  </a:lnTo>
                  <a:lnTo>
                    <a:pt x="6937" y="2721"/>
                  </a:lnTo>
                  <a:lnTo>
                    <a:pt x="6931" y="2716"/>
                  </a:lnTo>
                  <a:lnTo>
                    <a:pt x="6927" y="2709"/>
                  </a:lnTo>
                  <a:lnTo>
                    <a:pt x="6926" y="2702"/>
                  </a:lnTo>
                  <a:lnTo>
                    <a:pt x="6927" y="2695"/>
                  </a:lnTo>
                  <a:lnTo>
                    <a:pt x="6931" y="2689"/>
                  </a:lnTo>
                  <a:lnTo>
                    <a:pt x="6937" y="2684"/>
                  </a:lnTo>
                  <a:lnTo>
                    <a:pt x="6946" y="2682"/>
                  </a:lnTo>
                  <a:close/>
                  <a:moveTo>
                    <a:pt x="6236" y="2946"/>
                  </a:moveTo>
                  <a:lnTo>
                    <a:pt x="6369" y="2946"/>
                  </a:lnTo>
                  <a:lnTo>
                    <a:pt x="6378" y="2947"/>
                  </a:lnTo>
                  <a:lnTo>
                    <a:pt x="6384" y="2951"/>
                  </a:lnTo>
                  <a:lnTo>
                    <a:pt x="6387" y="2957"/>
                  </a:lnTo>
                  <a:lnTo>
                    <a:pt x="6388" y="2965"/>
                  </a:lnTo>
                  <a:lnTo>
                    <a:pt x="6387" y="2973"/>
                  </a:lnTo>
                  <a:lnTo>
                    <a:pt x="6384" y="2979"/>
                  </a:lnTo>
                  <a:lnTo>
                    <a:pt x="6378" y="2983"/>
                  </a:lnTo>
                  <a:lnTo>
                    <a:pt x="6369" y="2985"/>
                  </a:lnTo>
                  <a:lnTo>
                    <a:pt x="6236" y="2985"/>
                  </a:lnTo>
                  <a:lnTo>
                    <a:pt x="6227" y="2983"/>
                  </a:lnTo>
                  <a:lnTo>
                    <a:pt x="6220" y="2979"/>
                  </a:lnTo>
                  <a:lnTo>
                    <a:pt x="6216" y="2973"/>
                  </a:lnTo>
                  <a:lnTo>
                    <a:pt x="6215" y="2965"/>
                  </a:lnTo>
                  <a:lnTo>
                    <a:pt x="6216" y="2957"/>
                  </a:lnTo>
                  <a:lnTo>
                    <a:pt x="6220" y="2951"/>
                  </a:lnTo>
                  <a:lnTo>
                    <a:pt x="6227" y="2947"/>
                  </a:lnTo>
                  <a:lnTo>
                    <a:pt x="6236" y="2946"/>
                  </a:lnTo>
                  <a:close/>
                  <a:moveTo>
                    <a:pt x="6472" y="2946"/>
                  </a:moveTo>
                  <a:lnTo>
                    <a:pt x="6605" y="2946"/>
                  </a:lnTo>
                  <a:lnTo>
                    <a:pt x="6614" y="2947"/>
                  </a:lnTo>
                  <a:lnTo>
                    <a:pt x="6620" y="2951"/>
                  </a:lnTo>
                  <a:lnTo>
                    <a:pt x="6624" y="2957"/>
                  </a:lnTo>
                  <a:lnTo>
                    <a:pt x="6626" y="2965"/>
                  </a:lnTo>
                  <a:lnTo>
                    <a:pt x="6624" y="2973"/>
                  </a:lnTo>
                  <a:lnTo>
                    <a:pt x="6620" y="2979"/>
                  </a:lnTo>
                  <a:lnTo>
                    <a:pt x="6614" y="2983"/>
                  </a:lnTo>
                  <a:lnTo>
                    <a:pt x="6605" y="2985"/>
                  </a:lnTo>
                  <a:lnTo>
                    <a:pt x="6472" y="2985"/>
                  </a:lnTo>
                  <a:lnTo>
                    <a:pt x="6464" y="2983"/>
                  </a:lnTo>
                  <a:lnTo>
                    <a:pt x="6458" y="2979"/>
                  </a:lnTo>
                  <a:lnTo>
                    <a:pt x="6454" y="2973"/>
                  </a:lnTo>
                  <a:lnTo>
                    <a:pt x="6452" y="2965"/>
                  </a:lnTo>
                  <a:lnTo>
                    <a:pt x="6454" y="2957"/>
                  </a:lnTo>
                  <a:lnTo>
                    <a:pt x="6458" y="2951"/>
                  </a:lnTo>
                  <a:lnTo>
                    <a:pt x="6464" y="2947"/>
                  </a:lnTo>
                  <a:lnTo>
                    <a:pt x="6472" y="2946"/>
                  </a:lnTo>
                  <a:close/>
                  <a:moveTo>
                    <a:pt x="6709" y="2946"/>
                  </a:moveTo>
                  <a:lnTo>
                    <a:pt x="6842" y="2946"/>
                  </a:lnTo>
                  <a:lnTo>
                    <a:pt x="6851" y="2947"/>
                  </a:lnTo>
                  <a:lnTo>
                    <a:pt x="6858" y="2951"/>
                  </a:lnTo>
                  <a:lnTo>
                    <a:pt x="6861" y="2957"/>
                  </a:lnTo>
                  <a:lnTo>
                    <a:pt x="6863" y="2965"/>
                  </a:lnTo>
                  <a:lnTo>
                    <a:pt x="6861" y="2973"/>
                  </a:lnTo>
                  <a:lnTo>
                    <a:pt x="6858" y="2979"/>
                  </a:lnTo>
                  <a:lnTo>
                    <a:pt x="6851" y="2983"/>
                  </a:lnTo>
                  <a:lnTo>
                    <a:pt x="6842" y="2985"/>
                  </a:lnTo>
                  <a:lnTo>
                    <a:pt x="6709" y="2985"/>
                  </a:lnTo>
                  <a:lnTo>
                    <a:pt x="6700" y="2983"/>
                  </a:lnTo>
                  <a:lnTo>
                    <a:pt x="6693" y="2979"/>
                  </a:lnTo>
                  <a:lnTo>
                    <a:pt x="6690" y="2973"/>
                  </a:lnTo>
                  <a:lnTo>
                    <a:pt x="6688" y="2965"/>
                  </a:lnTo>
                  <a:lnTo>
                    <a:pt x="6690" y="2957"/>
                  </a:lnTo>
                  <a:lnTo>
                    <a:pt x="6693" y="2951"/>
                  </a:lnTo>
                  <a:lnTo>
                    <a:pt x="6700" y="2947"/>
                  </a:lnTo>
                  <a:lnTo>
                    <a:pt x="6709" y="2946"/>
                  </a:lnTo>
                  <a:close/>
                  <a:moveTo>
                    <a:pt x="6946" y="2946"/>
                  </a:moveTo>
                  <a:lnTo>
                    <a:pt x="7078" y="2946"/>
                  </a:lnTo>
                  <a:lnTo>
                    <a:pt x="7087" y="2947"/>
                  </a:lnTo>
                  <a:lnTo>
                    <a:pt x="7094" y="2951"/>
                  </a:lnTo>
                  <a:lnTo>
                    <a:pt x="7097" y="2957"/>
                  </a:lnTo>
                  <a:lnTo>
                    <a:pt x="7099" y="2965"/>
                  </a:lnTo>
                  <a:lnTo>
                    <a:pt x="7097" y="2973"/>
                  </a:lnTo>
                  <a:lnTo>
                    <a:pt x="7094" y="2979"/>
                  </a:lnTo>
                  <a:lnTo>
                    <a:pt x="7087" y="2983"/>
                  </a:lnTo>
                  <a:lnTo>
                    <a:pt x="7078" y="2985"/>
                  </a:lnTo>
                  <a:lnTo>
                    <a:pt x="6946" y="2985"/>
                  </a:lnTo>
                  <a:lnTo>
                    <a:pt x="6937" y="2983"/>
                  </a:lnTo>
                  <a:lnTo>
                    <a:pt x="6931" y="2979"/>
                  </a:lnTo>
                  <a:lnTo>
                    <a:pt x="6927" y="2973"/>
                  </a:lnTo>
                  <a:lnTo>
                    <a:pt x="6926" y="2965"/>
                  </a:lnTo>
                  <a:lnTo>
                    <a:pt x="6927" y="2957"/>
                  </a:lnTo>
                  <a:lnTo>
                    <a:pt x="6931" y="2951"/>
                  </a:lnTo>
                  <a:lnTo>
                    <a:pt x="6937" y="2947"/>
                  </a:lnTo>
                  <a:lnTo>
                    <a:pt x="6946" y="2946"/>
                  </a:lnTo>
                  <a:close/>
                  <a:moveTo>
                    <a:pt x="6236" y="3208"/>
                  </a:moveTo>
                  <a:lnTo>
                    <a:pt x="6369" y="3208"/>
                  </a:lnTo>
                  <a:lnTo>
                    <a:pt x="6378" y="3211"/>
                  </a:lnTo>
                  <a:lnTo>
                    <a:pt x="6384" y="3214"/>
                  </a:lnTo>
                  <a:lnTo>
                    <a:pt x="6387" y="3221"/>
                  </a:lnTo>
                  <a:lnTo>
                    <a:pt x="6388" y="3228"/>
                  </a:lnTo>
                  <a:lnTo>
                    <a:pt x="6387" y="3236"/>
                  </a:lnTo>
                  <a:lnTo>
                    <a:pt x="6384" y="3242"/>
                  </a:lnTo>
                  <a:lnTo>
                    <a:pt x="6378" y="3246"/>
                  </a:lnTo>
                  <a:lnTo>
                    <a:pt x="6369" y="3248"/>
                  </a:lnTo>
                  <a:lnTo>
                    <a:pt x="6236" y="3248"/>
                  </a:lnTo>
                  <a:lnTo>
                    <a:pt x="6227" y="3246"/>
                  </a:lnTo>
                  <a:lnTo>
                    <a:pt x="6220" y="3242"/>
                  </a:lnTo>
                  <a:lnTo>
                    <a:pt x="6216" y="3236"/>
                  </a:lnTo>
                  <a:lnTo>
                    <a:pt x="6215" y="3228"/>
                  </a:lnTo>
                  <a:lnTo>
                    <a:pt x="6216" y="3221"/>
                  </a:lnTo>
                  <a:lnTo>
                    <a:pt x="6220" y="3214"/>
                  </a:lnTo>
                  <a:lnTo>
                    <a:pt x="6227" y="3211"/>
                  </a:lnTo>
                  <a:lnTo>
                    <a:pt x="6236" y="3208"/>
                  </a:lnTo>
                  <a:close/>
                  <a:moveTo>
                    <a:pt x="6472" y="3208"/>
                  </a:moveTo>
                  <a:lnTo>
                    <a:pt x="6605" y="3208"/>
                  </a:lnTo>
                  <a:lnTo>
                    <a:pt x="6614" y="3211"/>
                  </a:lnTo>
                  <a:lnTo>
                    <a:pt x="6620" y="3214"/>
                  </a:lnTo>
                  <a:lnTo>
                    <a:pt x="6624" y="3221"/>
                  </a:lnTo>
                  <a:lnTo>
                    <a:pt x="6626" y="3228"/>
                  </a:lnTo>
                  <a:lnTo>
                    <a:pt x="6624" y="3236"/>
                  </a:lnTo>
                  <a:lnTo>
                    <a:pt x="6620" y="3242"/>
                  </a:lnTo>
                  <a:lnTo>
                    <a:pt x="6614" y="3246"/>
                  </a:lnTo>
                  <a:lnTo>
                    <a:pt x="6605" y="3248"/>
                  </a:lnTo>
                  <a:lnTo>
                    <a:pt x="6472" y="3248"/>
                  </a:lnTo>
                  <a:lnTo>
                    <a:pt x="6464" y="3246"/>
                  </a:lnTo>
                  <a:lnTo>
                    <a:pt x="6458" y="3242"/>
                  </a:lnTo>
                  <a:lnTo>
                    <a:pt x="6454" y="3236"/>
                  </a:lnTo>
                  <a:lnTo>
                    <a:pt x="6452" y="3228"/>
                  </a:lnTo>
                  <a:lnTo>
                    <a:pt x="6454" y="3221"/>
                  </a:lnTo>
                  <a:lnTo>
                    <a:pt x="6458" y="3214"/>
                  </a:lnTo>
                  <a:lnTo>
                    <a:pt x="6464" y="3211"/>
                  </a:lnTo>
                  <a:lnTo>
                    <a:pt x="6472" y="3208"/>
                  </a:lnTo>
                  <a:close/>
                  <a:moveTo>
                    <a:pt x="6709" y="3208"/>
                  </a:moveTo>
                  <a:lnTo>
                    <a:pt x="6842" y="3208"/>
                  </a:lnTo>
                  <a:lnTo>
                    <a:pt x="6851" y="3211"/>
                  </a:lnTo>
                  <a:lnTo>
                    <a:pt x="6858" y="3214"/>
                  </a:lnTo>
                  <a:lnTo>
                    <a:pt x="6861" y="3221"/>
                  </a:lnTo>
                  <a:lnTo>
                    <a:pt x="6863" y="3228"/>
                  </a:lnTo>
                  <a:lnTo>
                    <a:pt x="6861" y="3236"/>
                  </a:lnTo>
                  <a:lnTo>
                    <a:pt x="6858" y="3242"/>
                  </a:lnTo>
                  <a:lnTo>
                    <a:pt x="6851" y="3246"/>
                  </a:lnTo>
                  <a:lnTo>
                    <a:pt x="6842" y="3248"/>
                  </a:lnTo>
                  <a:lnTo>
                    <a:pt x="6709" y="3248"/>
                  </a:lnTo>
                  <a:lnTo>
                    <a:pt x="6700" y="3246"/>
                  </a:lnTo>
                  <a:lnTo>
                    <a:pt x="6693" y="3242"/>
                  </a:lnTo>
                  <a:lnTo>
                    <a:pt x="6690" y="3236"/>
                  </a:lnTo>
                  <a:lnTo>
                    <a:pt x="6688" y="3228"/>
                  </a:lnTo>
                  <a:lnTo>
                    <a:pt x="6690" y="3221"/>
                  </a:lnTo>
                  <a:lnTo>
                    <a:pt x="6693" y="3214"/>
                  </a:lnTo>
                  <a:lnTo>
                    <a:pt x="6700" y="3211"/>
                  </a:lnTo>
                  <a:lnTo>
                    <a:pt x="6709" y="3208"/>
                  </a:lnTo>
                  <a:close/>
                  <a:moveTo>
                    <a:pt x="6946" y="3208"/>
                  </a:moveTo>
                  <a:lnTo>
                    <a:pt x="7078" y="3208"/>
                  </a:lnTo>
                  <a:lnTo>
                    <a:pt x="7087" y="3211"/>
                  </a:lnTo>
                  <a:lnTo>
                    <a:pt x="7094" y="3214"/>
                  </a:lnTo>
                  <a:lnTo>
                    <a:pt x="7097" y="3221"/>
                  </a:lnTo>
                  <a:lnTo>
                    <a:pt x="7099" y="3228"/>
                  </a:lnTo>
                  <a:lnTo>
                    <a:pt x="7097" y="3236"/>
                  </a:lnTo>
                  <a:lnTo>
                    <a:pt x="7094" y="3242"/>
                  </a:lnTo>
                  <a:lnTo>
                    <a:pt x="7087" y="3246"/>
                  </a:lnTo>
                  <a:lnTo>
                    <a:pt x="7078" y="3248"/>
                  </a:lnTo>
                  <a:lnTo>
                    <a:pt x="6946" y="3248"/>
                  </a:lnTo>
                  <a:lnTo>
                    <a:pt x="6937" y="3246"/>
                  </a:lnTo>
                  <a:lnTo>
                    <a:pt x="6931" y="3242"/>
                  </a:lnTo>
                  <a:lnTo>
                    <a:pt x="6927" y="3236"/>
                  </a:lnTo>
                  <a:lnTo>
                    <a:pt x="6926" y="3228"/>
                  </a:lnTo>
                  <a:lnTo>
                    <a:pt x="6927" y="3221"/>
                  </a:lnTo>
                  <a:lnTo>
                    <a:pt x="6931" y="3214"/>
                  </a:lnTo>
                  <a:lnTo>
                    <a:pt x="6937" y="3211"/>
                  </a:lnTo>
                  <a:lnTo>
                    <a:pt x="6946" y="3208"/>
                  </a:lnTo>
                  <a:close/>
                  <a:moveTo>
                    <a:pt x="6236" y="3471"/>
                  </a:moveTo>
                  <a:lnTo>
                    <a:pt x="6369" y="3471"/>
                  </a:lnTo>
                  <a:lnTo>
                    <a:pt x="6378" y="3473"/>
                  </a:lnTo>
                  <a:lnTo>
                    <a:pt x="6384" y="3478"/>
                  </a:lnTo>
                  <a:lnTo>
                    <a:pt x="6387" y="3484"/>
                  </a:lnTo>
                  <a:lnTo>
                    <a:pt x="6388" y="3492"/>
                  </a:lnTo>
                  <a:lnTo>
                    <a:pt x="6387" y="3498"/>
                  </a:lnTo>
                  <a:lnTo>
                    <a:pt x="6384" y="3505"/>
                  </a:lnTo>
                  <a:lnTo>
                    <a:pt x="6378" y="3510"/>
                  </a:lnTo>
                  <a:lnTo>
                    <a:pt x="6369" y="3511"/>
                  </a:lnTo>
                  <a:lnTo>
                    <a:pt x="6236" y="3511"/>
                  </a:lnTo>
                  <a:lnTo>
                    <a:pt x="6227" y="3510"/>
                  </a:lnTo>
                  <a:lnTo>
                    <a:pt x="6220" y="3505"/>
                  </a:lnTo>
                  <a:lnTo>
                    <a:pt x="6216" y="3498"/>
                  </a:lnTo>
                  <a:lnTo>
                    <a:pt x="6215" y="3492"/>
                  </a:lnTo>
                  <a:lnTo>
                    <a:pt x="6216" y="3484"/>
                  </a:lnTo>
                  <a:lnTo>
                    <a:pt x="6220" y="3478"/>
                  </a:lnTo>
                  <a:lnTo>
                    <a:pt x="6227" y="3473"/>
                  </a:lnTo>
                  <a:lnTo>
                    <a:pt x="6236" y="3471"/>
                  </a:lnTo>
                  <a:close/>
                  <a:moveTo>
                    <a:pt x="6472" y="3471"/>
                  </a:moveTo>
                  <a:lnTo>
                    <a:pt x="6605" y="3471"/>
                  </a:lnTo>
                  <a:lnTo>
                    <a:pt x="6614" y="3473"/>
                  </a:lnTo>
                  <a:lnTo>
                    <a:pt x="6620" y="3478"/>
                  </a:lnTo>
                  <a:lnTo>
                    <a:pt x="6624" y="3484"/>
                  </a:lnTo>
                  <a:lnTo>
                    <a:pt x="6626" y="3492"/>
                  </a:lnTo>
                  <a:lnTo>
                    <a:pt x="6624" y="3498"/>
                  </a:lnTo>
                  <a:lnTo>
                    <a:pt x="6620" y="3505"/>
                  </a:lnTo>
                  <a:lnTo>
                    <a:pt x="6614" y="3510"/>
                  </a:lnTo>
                  <a:lnTo>
                    <a:pt x="6605" y="3511"/>
                  </a:lnTo>
                  <a:lnTo>
                    <a:pt x="6472" y="3511"/>
                  </a:lnTo>
                  <a:lnTo>
                    <a:pt x="6464" y="3510"/>
                  </a:lnTo>
                  <a:lnTo>
                    <a:pt x="6458" y="3505"/>
                  </a:lnTo>
                  <a:lnTo>
                    <a:pt x="6454" y="3498"/>
                  </a:lnTo>
                  <a:lnTo>
                    <a:pt x="6452" y="3492"/>
                  </a:lnTo>
                  <a:lnTo>
                    <a:pt x="6454" y="3484"/>
                  </a:lnTo>
                  <a:lnTo>
                    <a:pt x="6458" y="3478"/>
                  </a:lnTo>
                  <a:lnTo>
                    <a:pt x="6464" y="3473"/>
                  </a:lnTo>
                  <a:lnTo>
                    <a:pt x="6472" y="3471"/>
                  </a:lnTo>
                  <a:close/>
                  <a:moveTo>
                    <a:pt x="6709" y="3471"/>
                  </a:moveTo>
                  <a:lnTo>
                    <a:pt x="6842" y="3471"/>
                  </a:lnTo>
                  <a:lnTo>
                    <a:pt x="6851" y="3473"/>
                  </a:lnTo>
                  <a:lnTo>
                    <a:pt x="6858" y="3478"/>
                  </a:lnTo>
                  <a:lnTo>
                    <a:pt x="6861" y="3484"/>
                  </a:lnTo>
                  <a:lnTo>
                    <a:pt x="6863" y="3492"/>
                  </a:lnTo>
                  <a:lnTo>
                    <a:pt x="6861" y="3498"/>
                  </a:lnTo>
                  <a:lnTo>
                    <a:pt x="6858" y="3505"/>
                  </a:lnTo>
                  <a:lnTo>
                    <a:pt x="6851" y="3510"/>
                  </a:lnTo>
                  <a:lnTo>
                    <a:pt x="6842" y="3511"/>
                  </a:lnTo>
                  <a:lnTo>
                    <a:pt x="6709" y="3511"/>
                  </a:lnTo>
                  <a:lnTo>
                    <a:pt x="6700" y="3510"/>
                  </a:lnTo>
                  <a:lnTo>
                    <a:pt x="6693" y="3505"/>
                  </a:lnTo>
                  <a:lnTo>
                    <a:pt x="6690" y="3498"/>
                  </a:lnTo>
                  <a:lnTo>
                    <a:pt x="6688" y="3492"/>
                  </a:lnTo>
                  <a:lnTo>
                    <a:pt x="6690" y="3484"/>
                  </a:lnTo>
                  <a:lnTo>
                    <a:pt x="6693" y="3478"/>
                  </a:lnTo>
                  <a:lnTo>
                    <a:pt x="6700" y="3473"/>
                  </a:lnTo>
                  <a:lnTo>
                    <a:pt x="6709" y="3471"/>
                  </a:lnTo>
                  <a:close/>
                  <a:moveTo>
                    <a:pt x="6946" y="3471"/>
                  </a:moveTo>
                  <a:lnTo>
                    <a:pt x="7078" y="3471"/>
                  </a:lnTo>
                  <a:lnTo>
                    <a:pt x="7087" y="3473"/>
                  </a:lnTo>
                  <a:lnTo>
                    <a:pt x="7094" y="3478"/>
                  </a:lnTo>
                  <a:lnTo>
                    <a:pt x="7097" y="3484"/>
                  </a:lnTo>
                  <a:lnTo>
                    <a:pt x="7099" y="3492"/>
                  </a:lnTo>
                  <a:lnTo>
                    <a:pt x="7097" y="3498"/>
                  </a:lnTo>
                  <a:lnTo>
                    <a:pt x="7094" y="3505"/>
                  </a:lnTo>
                  <a:lnTo>
                    <a:pt x="7087" y="3510"/>
                  </a:lnTo>
                  <a:lnTo>
                    <a:pt x="7078" y="3511"/>
                  </a:lnTo>
                  <a:lnTo>
                    <a:pt x="6946" y="3511"/>
                  </a:lnTo>
                  <a:lnTo>
                    <a:pt x="6937" y="3510"/>
                  </a:lnTo>
                  <a:lnTo>
                    <a:pt x="6931" y="3505"/>
                  </a:lnTo>
                  <a:lnTo>
                    <a:pt x="6927" y="3498"/>
                  </a:lnTo>
                  <a:lnTo>
                    <a:pt x="6926" y="3492"/>
                  </a:lnTo>
                  <a:lnTo>
                    <a:pt x="6927" y="3484"/>
                  </a:lnTo>
                  <a:lnTo>
                    <a:pt x="6931" y="3478"/>
                  </a:lnTo>
                  <a:lnTo>
                    <a:pt x="6937" y="3473"/>
                  </a:lnTo>
                  <a:lnTo>
                    <a:pt x="6946" y="3471"/>
                  </a:lnTo>
                  <a:close/>
                  <a:moveTo>
                    <a:pt x="6236" y="3735"/>
                  </a:moveTo>
                  <a:lnTo>
                    <a:pt x="6369" y="3735"/>
                  </a:lnTo>
                  <a:lnTo>
                    <a:pt x="6378" y="3736"/>
                  </a:lnTo>
                  <a:lnTo>
                    <a:pt x="6384" y="3741"/>
                  </a:lnTo>
                  <a:lnTo>
                    <a:pt x="6387" y="3748"/>
                  </a:lnTo>
                  <a:lnTo>
                    <a:pt x="6388" y="3754"/>
                  </a:lnTo>
                  <a:lnTo>
                    <a:pt x="6387" y="3762"/>
                  </a:lnTo>
                  <a:lnTo>
                    <a:pt x="6384" y="3768"/>
                  </a:lnTo>
                  <a:lnTo>
                    <a:pt x="6378" y="3773"/>
                  </a:lnTo>
                  <a:lnTo>
                    <a:pt x="6369" y="3774"/>
                  </a:lnTo>
                  <a:lnTo>
                    <a:pt x="6236" y="3774"/>
                  </a:lnTo>
                  <a:lnTo>
                    <a:pt x="6227" y="3773"/>
                  </a:lnTo>
                  <a:lnTo>
                    <a:pt x="6220" y="3768"/>
                  </a:lnTo>
                  <a:lnTo>
                    <a:pt x="6216" y="3762"/>
                  </a:lnTo>
                  <a:lnTo>
                    <a:pt x="6215" y="3754"/>
                  </a:lnTo>
                  <a:lnTo>
                    <a:pt x="6216" y="3748"/>
                  </a:lnTo>
                  <a:lnTo>
                    <a:pt x="6220" y="3741"/>
                  </a:lnTo>
                  <a:lnTo>
                    <a:pt x="6227" y="3736"/>
                  </a:lnTo>
                  <a:lnTo>
                    <a:pt x="6236" y="3735"/>
                  </a:lnTo>
                  <a:close/>
                  <a:moveTo>
                    <a:pt x="6472" y="3735"/>
                  </a:moveTo>
                  <a:lnTo>
                    <a:pt x="6605" y="3735"/>
                  </a:lnTo>
                  <a:lnTo>
                    <a:pt x="6614" y="3736"/>
                  </a:lnTo>
                  <a:lnTo>
                    <a:pt x="6620" y="3741"/>
                  </a:lnTo>
                  <a:lnTo>
                    <a:pt x="6624" y="3748"/>
                  </a:lnTo>
                  <a:lnTo>
                    <a:pt x="6626" y="3754"/>
                  </a:lnTo>
                  <a:lnTo>
                    <a:pt x="6624" y="3762"/>
                  </a:lnTo>
                  <a:lnTo>
                    <a:pt x="6620" y="3768"/>
                  </a:lnTo>
                  <a:lnTo>
                    <a:pt x="6614" y="3773"/>
                  </a:lnTo>
                  <a:lnTo>
                    <a:pt x="6605" y="3774"/>
                  </a:lnTo>
                  <a:lnTo>
                    <a:pt x="6472" y="3774"/>
                  </a:lnTo>
                  <a:lnTo>
                    <a:pt x="6464" y="3773"/>
                  </a:lnTo>
                  <a:lnTo>
                    <a:pt x="6458" y="3768"/>
                  </a:lnTo>
                  <a:lnTo>
                    <a:pt x="6454" y="3762"/>
                  </a:lnTo>
                  <a:lnTo>
                    <a:pt x="6452" y="3754"/>
                  </a:lnTo>
                  <a:lnTo>
                    <a:pt x="6454" y="3748"/>
                  </a:lnTo>
                  <a:lnTo>
                    <a:pt x="6458" y="3741"/>
                  </a:lnTo>
                  <a:lnTo>
                    <a:pt x="6464" y="3736"/>
                  </a:lnTo>
                  <a:lnTo>
                    <a:pt x="6472" y="3735"/>
                  </a:lnTo>
                  <a:close/>
                  <a:moveTo>
                    <a:pt x="6709" y="3735"/>
                  </a:moveTo>
                  <a:lnTo>
                    <a:pt x="6842" y="3735"/>
                  </a:lnTo>
                  <a:lnTo>
                    <a:pt x="6851" y="3736"/>
                  </a:lnTo>
                  <a:lnTo>
                    <a:pt x="6858" y="3741"/>
                  </a:lnTo>
                  <a:lnTo>
                    <a:pt x="6861" y="3748"/>
                  </a:lnTo>
                  <a:lnTo>
                    <a:pt x="6863" y="3754"/>
                  </a:lnTo>
                  <a:lnTo>
                    <a:pt x="6861" y="3762"/>
                  </a:lnTo>
                  <a:lnTo>
                    <a:pt x="6858" y="3768"/>
                  </a:lnTo>
                  <a:lnTo>
                    <a:pt x="6851" y="3773"/>
                  </a:lnTo>
                  <a:lnTo>
                    <a:pt x="6842" y="3774"/>
                  </a:lnTo>
                  <a:lnTo>
                    <a:pt x="6709" y="3774"/>
                  </a:lnTo>
                  <a:lnTo>
                    <a:pt x="6700" y="3773"/>
                  </a:lnTo>
                  <a:lnTo>
                    <a:pt x="6693" y="3768"/>
                  </a:lnTo>
                  <a:lnTo>
                    <a:pt x="6690" y="3762"/>
                  </a:lnTo>
                  <a:lnTo>
                    <a:pt x="6688" y="3754"/>
                  </a:lnTo>
                  <a:lnTo>
                    <a:pt x="6690" y="3748"/>
                  </a:lnTo>
                  <a:lnTo>
                    <a:pt x="6693" y="3741"/>
                  </a:lnTo>
                  <a:lnTo>
                    <a:pt x="6700" y="3736"/>
                  </a:lnTo>
                  <a:lnTo>
                    <a:pt x="6709" y="3735"/>
                  </a:lnTo>
                  <a:close/>
                  <a:moveTo>
                    <a:pt x="6946" y="3735"/>
                  </a:moveTo>
                  <a:lnTo>
                    <a:pt x="7078" y="3735"/>
                  </a:lnTo>
                  <a:lnTo>
                    <a:pt x="7087" y="3736"/>
                  </a:lnTo>
                  <a:lnTo>
                    <a:pt x="7094" y="3741"/>
                  </a:lnTo>
                  <a:lnTo>
                    <a:pt x="7097" y="3748"/>
                  </a:lnTo>
                  <a:lnTo>
                    <a:pt x="7099" y="3754"/>
                  </a:lnTo>
                  <a:lnTo>
                    <a:pt x="7097" y="3762"/>
                  </a:lnTo>
                  <a:lnTo>
                    <a:pt x="7094" y="3768"/>
                  </a:lnTo>
                  <a:lnTo>
                    <a:pt x="7087" y="3773"/>
                  </a:lnTo>
                  <a:lnTo>
                    <a:pt x="7078" y="3774"/>
                  </a:lnTo>
                  <a:lnTo>
                    <a:pt x="6946" y="3774"/>
                  </a:lnTo>
                  <a:lnTo>
                    <a:pt x="6937" y="3773"/>
                  </a:lnTo>
                  <a:lnTo>
                    <a:pt x="6931" y="3768"/>
                  </a:lnTo>
                  <a:lnTo>
                    <a:pt x="6927" y="3762"/>
                  </a:lnTo>
                  <a:lnTo>
                    <a:pt x="6926" y="3754"/>
                  </a:lnTo>
                  <a:lnTo>
                    <a:pt x="6927" y="3748"/>
                  </a:lnTo>
                  <a:lnTo>
                    <a:pt x="6931" y="3741"/>
                  </a:lnTo>
                  <a:lnTo>
                    <a:pt x="6937" y="3736"/>
                  </a:lnTo>
                  <a:lnTo>
                    <a:pt x="6946" y="3735"/>
                  </a:lnTo>
                  <a:close/>
                  <a:moveTo>
                    <a:pt x="6236" y="3997"/>
                  </a:moveTo>
                  <a:lnTo>
                    <a:pt x="6369" y="3997"/>
                  </a:lnTo>
                  <a:lnTo>
                    <a:pt x="6378" y="3999"/>
                  </a:lnTo>
                  <a:lnTo>
                    <a:pt x="6384" y="4003"/>
                  </a:lnTo>
                  <a:lnTo>
                    <a:pt x="6387" y="4010"/>
                  </a:lnTo>
                  <a:lnTo>
                    <a:pt x="6388" y="4017"/>
                  </a:lnTo>
                  <a:lnTo>
                    <a:pt x="6387" y="4025"/>
                  </a:lnTo>
                  <a:lnTo>
                    <a:pt x="6384" y="4031"/>
                  </a:lnTo>
                  <a:lnTo>
                    <a:pt x="6378" y="4035"/>
                  </a:lnTo>
                  <a:lnTo>
                    <a:pt x="6369" y="4038"/>
                  </a:lnTo>
                  <a:lnTo>
                    <a:pt x="6236" y="4038"/>
                  </a:lnTo>
                  <a:lnTo>
                    <a:pt x="6227" y="4035"/>
                  </a:lnTo>
                  <a:lnTo>
                    <a:pt x="6220" y="4031"/>
                  </a:lnTo>
                  <a:lnTo>
                    <a:pt x="6216" y="4025"/>
                  </a:lnTo>
                  <a:lnTo>
                    <a:pt x="6215" y="4017"/>
                  </a:lnTo>
                  <a:lnTo>
                    <a:pt x="6216" y="4010"/>
                  </a:lnTo>
                  <a:lnTo>
                    <a:pt x="6220" y="4003"/>
                  </a:lnTo>
                  <a:lnTo>
                    <a:pt x="6227" y="3999"/>
                  </a:lnTo>
                  <a:lnTo>
                    <a:pt x="6236" y="3997"/>
                  </a:lnTo>
                  <a:close/>
                  <a:moveTo>
                    <a:pt x="6472" y="3997"/>
                  </a:moveTo>
                  <a:lnTo>
                    <a:pt x="6605" y="3997"/>
                  </a:lnTo>
                  <a:lnTo>
                    <a:pt x="6614" y="3999"/>
                  </a:lnTo>
                  <a:lnTo>
                    <a:pt x="6620" y="4003"/>
                  </a:lnTo>
                  <a:lnTo>
                    <a:pt x="6624" y="4010"/>
                  </a:lnTo>
                  <a:lnTo>
                    <a:pt x="6626" y="4017"/>
                  </a:lnTo>
                  <a:lnTo>
                    <a:pt x="6624" y="4025"/>
                  </a:lnTo>
                  <a:lnTo>
                    <a:pt x="6620" y="4031"/>
                  </a:lnTo>
                  <a:lnTo>
                    <a:pt x="6614" y="4035"/>
                  </a:lnTo>
                  <a:lnTo>
                    <a:pt x="6605" y="4038"/>
                  </a:lnTo>
                  <a:lnTo>
                    <a:pt x="6472" y="4038"/>
                  </a:lnTo>
                  <a:lnTo>
                    <a:pt x="6464" y="4035"/>
                  </a:lnTo>
                  <a:lnTo>
                    <a:pt x="6458" y="4031"/>
                  </a:lnTo>
                  <a:lnTo>
                    <a:pt x="6454" y="4025"/>
                  </a:lnTo>
                  <a:lnTo>
                    <a:pt x="6452" y="4017"/>
                  </a:lnTo>
                  <a:lnTo>
                    <a:pt x="6454" y="4010"/>
                  </a:lnTo>
                  <a:lnTo>
                    <a:pt x="6458" y="4003"/>
                  </a:lnTo>
                  <a:lnTo>
                    <a:pt x="6464" y="3999"/>
                  </a:lnTo>
                  <a:lnTo>
                    <a:pt x="6472" y="3997"/>
                  </a:lnTo>
                  <a:close/>
                  <a:moveTo>
                    <a:pt x="6709" y="3997"/>
                  </a:moveTo>
                  <a:lnTo>
                    <a:pt x="6842" y="3997"/>
                  </a:lnTo>
                  <a:lnTo>
                    <a:pt x="6851" y="3999"/>
                  </a:lnTo>
                  <a:lnTo>
                    <a:pt x="6858" y="4003"/>
                  </a:lnTo>
                  <a:lnTo>
                    <a:pt x="6861" y="4010"/>
                  </a:lnTo>
                  <a:lnTo>
                    <a:pt x="6863" y="4017"/>
                  </a:lnTo>
                  <a:lnTo>
                    <a:pt x="6861" y="4025"/>
                  </a:lnTo>
                  <a:lnTo>
                    <a:pt x="6858" y="4031"/>
                  </a:lnTo>
                  <a:lnTo>
                    <a:pt x="6851" y="4035"/>
                  </a:lnTo>
                  <a:lnTo>
                    <a:pt x="6842" y="4038"/>
                  </a:lnTo>
                  <a:lnTo>
                    <a:pt x="6709" y="4038"/>
                  </a:lnTo>
                  <a:lnTo>
                    <a:pt x="6700" y="4035"/>
                  </a:lnTo>
                  <a:lnTo>
                    <a:pt x="6693" y="4031"/>
                  </a:lnTo>
                  <a:lnTo>
                    <a:pt x="6690" y="4025"/>
                  </a:lnTo>
                  <a:lnTo>
                    <a:pt x="6688" y="4017"/>
                  </a:lnTo>
                  <a:lnTo>
                    <a:pt x="6690" y="4010"/>
                  </a:lnTo>
                  <a:lnTo>
                    <a:pt x="6693" y="4003"/>
                  </a:lnTo>
                  <a:lnTo>
                    <a:pt x="6700" y="3999"/>
                  </a:lnTo>
                  <a:lnTo>
                    <a:pt x="6709" y="3997"/>
                  </a:lnTo>
                  <a:close/>
                  <a:moveTo>
                    <a:pt x="6946" y="3997"/>
                  </a:moveTo>
                  <a:lnTo>
                    <a:pt x="7078" y="3997"/>
                  </a:lnTo>
                  <a:lnTo>
                    <a:pt x="7087" y="3999"/>
                  </a:lnTo>
                  <a:lnTo>
                    <a:pt x="7094" y="4003"/>
                  </a:lnTo>
                  <a:lnTo>
                    <a:pt x="7097" y="4010"/>
                  </a:lnTo>
                  <a:lnTo>
                    <a:pt x="7099" y="4017"/>
                  </a:lnTo>
                  <a:lnTo>
                    <a:pt x="7097" y="4025"/>
                  </a:lnTo>
                  <a:lnTo>
                    <a:pt x="7094" y="4031"/>
                  </a:lnTo>
                  <a:lnTo>
                    <a:pt x="7087" y="4035"/>
                  </a:lnTo>
                  <a:lnTo>
                    <a:pt x="7078" y="4038"/>
                  </a:lnTo>
                  <a:lnTo>
                    <a:pt x="6946" y="4038"/>
                  </a:lnTo>
                  <a:lnTo>
                    <a:pt x="6937" y="4035"/>
                  </a:lnTo>
                  <a:lnTo>
                    <a:pt x="6931" y="4031"/>
                  </a:lnTo>
                  <a:lnTo>
                    <a:pt x="6927" y="4025"/>
                  </a:lnTo>
                  <a:lnTo>
                    <a:pt x="6926" y="4017"/>
                  </a:lnTo>
                  <a:lnTo>
                    <a:pt x="6927" y="4010"/>
                  </a:lnTo>
                  <a:lnTo>
                    <a:pt x="6931" y="4003"/>
                  </a:lnTo>
                  <a:lnTo>
                    <a:pt x="6937" y="3999"/>
                  </a:lnTo>
                  <a:lnTo>
                    <a:pt x="6946" y="3997"/>
                  </a:lnTo>
                  <a:close/>
                  <a:moveTo>
                    <a:pt x="7545" y="2941"/>
                  </a:moveTo>
                  <a:lnTo>
                    <a:pt x="7545" y="3052"/>
                  </a:lnTo>
                  <a:lnTo>
                    <a:pt x="7542" y="3061"/>
                  </a:lnTo>
                  <a:lnTo>
                    <a:pt x="7539" y="3067"/>
                  </a:lnTo>
                  <a:lnTo>
                    <a:pt x="7532" y="3071"/>
                  </a:lnTo>
                  <a:lnTo>
                    <a:pt x="7524" y="3072"/>
                  </a:lnTo>
                  <a:lnTo>
                    <a:pt x="7517" y="3071"/>
                  </a:lnTo>
                  <a:lnTo>
                    <a:pt x="7510" y="3067"/>
                  </a:lnTo>
                  <a:lnTo>
                    <a:pt x="7506" y="3061"/>
                  </a:lnTo>
                  <a:lnTo>
                    <a:pt x="7505" y="3052"/>
                  </a:lnTo>
                  <a:lnTo>
                    <a:pt x="7505" y="2941"/>
                  </a:lnTo>
                  <a:lnTo>
                    <a:pt x="7506" y="2932"/>
                  </a:lnTo>
                  <a:lnTo>
                    <a:pt x="7510" y="2925"/>
                  </a:lnTo>
                  <a:lnTo>
                    <a:pt x="7517" y="2922"/>
                  </a:lnTo>
                  <a:lnTo>
                    <a:pt x="7524" y="2920"/>
                  </a:lnTo>
                  <a:lnTo>
                    <a:pt x="7532" y="2922"/>
                  </a:lnTo>
                  <a:lnTo>
                    <a:pt x="7539" y="2925"/>
                  </a:lnTo>
                  <a:lnTo>
                    <a:pt x="7542" y="2932"/>
                  </a:lnTo>
                  <a:lnTo>
                    <a:pt x="7545" y="2941"/>
                  </a:lnTo>
                  <a:close/>
                  <a:moveTo>
                    <a:pt x="7808" y="2941"/>
                  </a:moveTo>
                  <a:lnTo>
                    <a:pt x="7808" y="3052"/>
                  </a:lnTo>
                  <a:lnTo>
                    <a:pt x="7807" y="3061"/>
                  </a:lnTo>
                  <a:lnTo>
                    <a:pt x="7801" y="3067"/>
                  </a:lnTo>
                  <a:lnTo>
                    <a:pt x="7795" y="3071"/>
                  </a:lnTo>
                  <a:lnTo>
                    <a:pt x="7787" y="3072"/>
                  </a:lnTo>
                  <a:lnTo>
                    <a:pt x="7781" y="3071"/>
                  </a:lnTo>
                  <a:lnTo>
                    <a:pt x="7774" y="3067"/>
                  </a:lnTo>
                  <a:lnTo>
                    <a:pt x="7769" y="3061"/>
                  </a:lnTo>
                  <a:lnTo>
                    <a:pt x="7768" y="3052"/>
                  </a:lnTo>
                  <a:lnTo>
                    <a:pt x="7768" y="2941"/>
                  </a:lnTo>
                  <a:lnTo>
                    <a:pt x="7769" y="2932"/>
                  </a:lnTo>
                  <a:lnTo>
                    <a:pt x="7774" y="2925"/>
                  </a:lnTo>
                  <a:lnTo>
                    <a:pt x="7781" y="2922"/>
                  </a:lnTo>
                  <a:lnTo>
                    <a:pt x="7787" y="2920"/>
                  </a:lnTo>
                  <a:lnTo>
                    <a:pt x="7795" y="2922"/>
                  </a:lnTo>
                  <a:lnTo>
                    <a:pt x="7801" y="2925"/>
                  </a:lnTo>
                  <a:lnTo>
                    <a:pt x="7807" y="2932"/>
                  </a:lnTo>
                  <a:lnTo>
                    <a:pt x="7808" y="2941"/>
                  </a:lnTo>
                  <a:close/>
                  <a:moveTo>
                    <a:pt x="8071" y="2941"/>
                  </a:moveTo>
                  <a:lnTo>
                    <a:pt x="8071" y="3052"/>
                  </a:lnTo>
                  <a:lnTo>
                    <a:pt x="8069" y="3061"/>
                  </a:lnTo>
                  <a:lnTo>
                    <a:pt x="8064" y="3067"/>
                  </a:lnTo>
                  <a:lnTo>
                    <a:pt x="8058" y="3071"/>
                  </a:lnTo>
                  <a:lnTo>
                    <a:pt x="8051" y="3072"/>
                  </a:lnTo>
                  <a:lnTo>
                    <a:pt x="8044" y="3071"/>
                  </a:lnTo>
                  <a:lnTo>
                    <a:pt x="8037" y="3067"/>
                  </a:lnTo>
                  <a:lnTo>
                    <a:pt x="8032" y="3061"/>
                  </a:lnTo>
                  <a:lnTo>
                    <a:pt x="8031" y="3052"/>
                  </a:lnTo>
                  <a:lnTo>
                    <a:pt x="8031" y="2941"/>
                  </a:lnTo>
                  <a:lnTo>
                    <a:pt x="8032" y="2932"/>
                  </a:lnTo>
                  <a:lnTo>
                    <a:pt x="8037" y="2925"/>
                  </a:lnTo>
                  <a:lnTo>
                    <a:pt x="8044" y="2922"/>
                  </a:lnTo>
                  <a:lnTo>
                    <a:pt x="8051" y="2920"/>
                  </a:lnTo>
                  <a:lnTo>
                    <a:pt x="8058" y="2922"/>
                  </a:lnTo>
                  <a:lnTo>
                    <a:pt x="8064" y="2925"/>
                  </a:lnTo>
                  <a:lnTo>
                    <a:pt x="8069" y="2932"/>
                  </a:lnTo>
                  <a:lnTo>
                    <a:pt x="8071" y="2941"/>
                  </a:lnTo>
                  <a:close/>
                  <a:moveTo>
                    <a:pt x="8334" y="2941"/>
                  </a:moveTo>
                  <a:lnTo>
                    <a:pt x="8334" y="3052"/>
                  </a:lnTo>
                  <a:lnTo>
                    <a:pt x="8332" y="3061"/>
                  </a:lnTo>
                  <a:lnTo>
                    <a:pt x="8327" y="3067"/>
                  </a:lnTo>
                  <a:lnTo>
                    <a:pt x="8322" y="3071"/>
                  </a:lnTo>
                  <a:lnTo>
                    <a:pt x="8314" y="3072"/>
                  </a:lnTo>
                  <a:lnTo>
                    <a:pt x="8307" y="3071"/>
                  </a:lnTo>
                  <a:lnTo>
                    <a:pt x="8300" y="3067"/>
                  </a:lnTo>
                  <a:lnTo>
                    <a:pt x="8296" y="3061"/>
                  </a:lnTo>
                  <a:lnTo>
                    <a:pt x="8294" y="3052"/>
                  </a:lnTo>
                  <a:lnTo>
                    <a:pt x="8294" y="2941"/>
                  </a:lnTo>
                  <a:lnTo>
                    <a:pt x="8296" y="2932"/>
                  </a:lnTo>
                  <a:lnTo>
                    <a:pt x="8300" y="2925"/>
                  </a:lnTo>
                  <a:lnTo>
                    <a:pt x="8307" y="2922"/>
                  </a:lnTo>
                  <a:lnTo>
                    <a:pt x="8314" y="2920"/>
                  </a:lnTo>
                  <a:lnTo>
                    <a:pt x="8322" y="2922"/>
                  </a:lnTo>
                  <a:lnTo>
                    <a:pt x="8327" y="2925"/>
                  </a:lnTo>
                  <a:lnTo>
                    <a:pt x="8332" y="2932"/>
                  </a:lnTo>
                  <a:lnTo>
                    <a:pt x="8334" y="2941"/>
                  </a:lnTo>
                  <a:close/>
                  <a:moveTo>
                    <a:pt x="8598" y="2941"/>
                  </a:moveTo>
                  <a:lnTo>
                    <a:pt x="8598" y="3052"/>
                  </a:lnTo>
                  <a:lnTo>
                    <a:pt x="8595" y="3061"/>
                  </a:lnTo>
                  <a:lnTo>
                    <a:pt x="8591" y="3067"/>
                  </a:lnTo>
                  <a:lnTo>
                    <a:pt x="8585" y="3071"/>
                  </a:lnTo>
                  <a:lnTo>
                    <a:pt x="8577" y="3072"/>
                  </a:lnTo>
                  <a:lnTo>
                    <a:pt x="8569" y="3071"/>
                  </a:lnTo>
                  <a:lnTo>
                    <a:pt x="8563" y="3067"/>
                  </a:lnTo>
                  <a:lnTo>
                    <a:pt x="8559" y="3061"/>
                  </a:lnTo>
                  <a:lnTo>
                    <a:pt x="8557" y="3052"/>
                  </a:lnTo>
                  <a:lnTo>
                    <a:pt x="8557" y="2941"/>
                  </a:lnTo>
                  <a:lnTo>
                    <a:pt x="8559" y="2932"/>
                  </a:lnTo>
                  <a:lnTo>
                    <a:pt x="8563" y="2925"/>
                  </a:lnTo>
                  <a:lnTo>
                    <a:pt x="8569" y="2922"/>
                  </a:lnTo>
                  <a:lnTo>
                    <a:pt x="8577" y="2920"/>
                  </a:lnTo>
                  <a:lnTo>
                    <a:pt x="8585" y="2922"/>
                  </a:lnTo>
                  <a:lnTo>
                    <a:pt x="8591" y="2925"/>
                  </a:lnTo>
                  <a:lnTo>
                    <a:pt x="8595" y="2932"/>
                  </a:lnTo>
                  <a:lnTo>
                    <a:pt x="8598" y="2941"/>
                  </a:lnTo>
                  <a:close/>
                  <a:moveTo>
                    <a:pt x="8861" y="2941"/>
                  </a:moveTo>
                  <a:lnTo>
                    <a:pt x="8861" y="3052"/>
                  </a:lnTo>
                  <a:lnTo>
                    <a:pt x="8858" y="3061"/>
                  </a:lnTo>
                  <a:lnTo>
                    <a:pt x="8854" y="3067"/>
                  </a:lnTo>
                  <a:lnTo>
                    <a:pt x="8848" y="3071"/>
                  </a:lnTo>
                  <a:lnTo>
                    <a:pt x="8840" y="3072"/>
                  </a:lnTo>
                  <a:lnTo>
                    <a:pt x="8832" y="3071"/>
                  </a:lnTo>
                  <a:lnTo>
                    <a:pt x="8826" y="3067"/>
                  </a:lnTo>
                  <a:lnTo>
                    <a:pt x="8822" y="3061"/>
                  </a:lnTo>
                  <a:lnTo>
                    <a:pt x="8821" y="3052"/>
                  </a:lnTo>
                  <a:lnTo>
                    <a:pt x="8821" y="2941"/>
                  </a:lnTo>
                  <a:lnTo>
                    <a:pt x="8822" y="2932"/>
                  </a:lnTo>
                  <a:lnTo>
                    <a:pt x="8826" y="2925"/>
                  </a:lnTo>
                  <a:lnTo>
                    <a:pt x="8832" y="2922"/>
                  </a:lnTo>
                  <a:lnTo>
                    <a:pt x="8840" y="2920"/>
                  </a:lnTo>
                  <a:lnTo>
                    <a:pt x="8848" y="2922"/>
                  </a:lnTo>
                  <a:lnTo>
                    <a:pt x="8854" y="2925"/>
                  </a:lnTo>
                  <a:lnTo>
                    <a:pt x="8858" y="2932"/>
                  </a:lnTo>
                  <a:lnTo>
                    <a:pt x="8861" y="2941"/>
                  </a:lnTo>
                  <a:close/>
                  <a:moveTo>
                    <a:pt x="7545" y="3186"/>
                  </a:moveTo>
                  <a:lnTo>
                    <a:pt x="7545" y="3299"/>
                  </a:lnTo>
                  <a:lnTo>
                    <a:pt x="7542" y="3308"/>
                  </a:lnTo>
                  <a:lnTo>
                    <a:pt x="7539" y="3314"/>
                  </a:lnTo>
                  <a:lnTo>
                    <a:pt x="7532" y="3318"/>
                  </a:lnTo>
                  <a:lnTo>
                    <a:pt x="7524" y="3319"/>
                  </a:lnTo>
                  <a:lnTo>
                    <a:pt x="7517" y="3318"/>
                  </a:lnTo>
                  <a:lnTo>
                    <a:pt x="7510" y="3314"/>
                  </a:lnTo>
                  <a:lnTo>
                    <a:pt x="7506" y="3308"/>
                  </a:lnTo>
                  <a:lnTo>
                    <a:pt x="7505" y="3299"/>
                  </a:lnTo>
                  <a:lnTo>
                    <a:pt x="7505" y="3186"/>
                  </a:lnTo>
                  <a:lnTo>
                    <a:pt x="7506" y="3179"/>
                  </a:lnTo>
                  <a:lnTo>
                    <a:pt x="7510" y="3172"/>
                  </a:lnTo>
                  <a:lnTo>
                    <a:pt x="7517" y="3168"/>
                  </a:lnTo>
                  <a:lnTo>
                    <a:pt x="7524" y="3167"/>
                  </a:lnTo>
                  <a:lnTo>
                    <a:pt x="7532" y="3168"/>
                  </a:lnTo>
                  <a:lnTo>
                    <a:pt x="7539" y="3172"/>
                  </a:lnTo>
                  <a:lnTo>
                    <a:pt x="7542" y="3179"/>
                  </a:lnTo>
                  <a:lnTo>
                    <a:pt x="7545" y="3186"/>
                  </a:lnTo>
                  <a:close/>
                  <a:moveTo>
                    <a:pt x="7808" y="3186"/>
                  </a:moveTo>
                  <a:lnTo>
                    <a:pt x="7808" y="3299"/>
                  </a:lnTo>
                  <a:lnTo>
                    <a:pt x="7807" y="3308"/>
                  </a:lnTo>
                  <a:lnTo>
                    <a:pt x="7801" y="3314"/>
                  </a:lnTo>
                  <a:lnTo>
                    <a:pt x="7795" y="3318"/>
                  </a:lnTo>
                  <a:lnTo>
                    <a:pt x="7787" y="3319"/>
                  </a:lnTo>
                  <a:lnTo>
                    <a:pt x="7781" y="3318"/>
                  </a:lnTo>
                  <a:lnTo>
                    <a:pt x="7774" y="3314"/>
                  </a:lnTo>
                  <a:lnTo>
                    <a:pt x="7769" y="3308"/>
                  </a:lnTo>
                  <a:lnTo>
                    <a:pt x="7768" y="3299"/>
                  </a:lnTo>
                  <a:lnTo>
                    <a:pt x="7768" y="3186"/>
                  </a:lnTo>
                  <a:lnTo>
                    <a:pt x="7769" y="3179"/>
                  </a:lnTo>
                  <a:lnTo>
                    <a:pt x="7774" y="3172"/>
                  </a:lnTo>
                  <a:lnTo>
                    <a:pt x="7781" y="3168"/>
                  </a:lnTo>
                  <a:lnTo>
                    <a:pt x="7787" y="3167"/>
                  </a:lnTo>
                  <a:lnTo>
                    <a:pt x="7795" y="3168"/>
                  </a:lnTo>
                  <a:lnTo>
                    <a:pt x="7801" y="3172"/>
                  </a:lnTo>
                  <a:lnTo>
                    <a:pt x="7807" y="3179"/>
                  </a:lnTo>
                  <a:lnTo>
                    <a:pt x="7808" y="3186"/>
                  </a:lnTo>
                  <a:close/>
                  <a:moveTo>
                    <a:pt x="8071" y="3186"/>
                  </a:moveTo>
                  <a:lnTo>
                    <a:pt x="8071" y="3299"/>
                  </a:lnTo>
                  <a:lnTo>
                    <a:pt x="8069" y="3308"/>
                  </a:lnTo>
                  <a:lnTo>
                    <a:pt x="8064" y="3314"/>
                  </a:lnTo>
                  <a:lnTo>
                    <a:pt x="8058" y="3318"/>
                  </a:lnTo>
                  <a:lnTo>
                    <a:pt x="8051" y="3319"/>
                  </a:lnTo>
                  <a:lnTo>
                    <a:pt x="8044" y="3318"/>
                  </a:lnTo>
                  <a:lnTo>
                    <a:pt x="8037" y="3314"/>
                  </a:lnTo>
                  <a:lnTo>
                    <a:pt x="8032" y="3308"/>
                  </a:lnTo>
                  <a:lnTo>
                    <a:pt x="8031" y="3299"/>
                  </a:lnTo>
                  <a:lnTo>
                    <a:pt x="8031" y="3186"/>
                  </a:lnTo>
                  <a:lnTo>
                    <a:pt x="8032" y="3179"/>
                  </a:lnTo>
                  <a:lnTo>
                    <a:pt x="8037" y="3172"/>
                  </a:lnTo>
                  <a:lnTo>
                    <a:pt x="8044" y="3168"/>
                  </a:lnTo>
                  <a:lnTo>
                    <a:pt x="8051" y="3167"/>
                  </a:lnTo>
                  <a:lnTo>
                    <a:pt x="8058" y="3168"/>
                  </a:lnTo>
                  <a:lnTo>
                    <a:pt x="8064" y="3172"/>
                  </a:lnTo>
                  <a:lnTo>
                    <a:pt x="8069" y="3179"/>
                  </a:lnTo>
                  <a:lnTo>
                    <a:pt x="8071" y="3186"/>
                  </a:lnTo>
                  <a:close/>
                  <a:moveTo>
                    <a:pt x="8334" y="3186"/>
                  </a:moveTo>
                  <a:lnTo>
                    <a:pt x="8334" y="3299"/>
                  </a:lnTo>
                  <a:lnTo>
                    <a:pt x="8332" y="3308"/>
                  </a:lnTo>
                  <a:lnTo>
                    <a:pt x="8327" y="3314"/>
                  </a:lnTo>
                  <a:lnTo>
                    <a:pt x="8322" y="3318"/>
                  </a:lnTo>
                  <a:lnTo>
                    <a:pt x="8314" y="3319"/>
                  </a:lnTo>
                  <a:lnTo>
                    <a:pt x="8307" y="3318"/>
                  </a:lnTo>
                  <a:lnTo>
                    <a:pt x="8300" y="3314"/>
                  </a:lnTo>
                  <a:lnTo>
                    <a:pt x="8296" y="3308"/>
                  </a:lnTo>
                  <a:lnTo>
                    <a:pt x="8294" y="3299"/>
                  </a:lnTo>
                  <a:lnTo>
                    <a:pt x="8294" y="3186"/>
                  </a:lnTo>
                  <a:lnTo>
                    <a:pt x="8296" y="3179"/>
                  </a:lnTo>
                  <a:lnTo>
                    <a:pt x="8300" y="3172"/>
                  </a:lnTo>
                  <a:lnTo>
                    <a:pt x="8307" y="3168"/>
                  </a:lnTo>
                  <a:lnTo>
                    <a:pt x="8314" y="3167"/>
                  </a:lnTo>
                  <a:lnTo>
                    <a:pt x="8322" y="3168"/>
                  </a:lnTo>
                  <a:lnTo>
                    <a:pt x="8327" y="3172"/>
                  </a:lnTo>
                  <a:lnTo>
                    <a:pt x="8332" y="3179"/>
                  </a:lnTo>
                  <a:lnTo>
                    <a:pt x="8334" y="3186"/>
                  </a:lnTo>
                  <a:close/>
                  <a:moveTo>
                    <a:pt x="8598" y="3186"/>
                  </a:moveTo>
                  <a:lnTo>
                    <a:pt x="8598" y="3299"/>
                  </a:lnTo>
                  <a:lnTo>
                    <a:pt x="8595" y="3308"/>
                  </a:lnTo>
                  <a:lnTo>
                    <a:pt x="8591" y="3314"/>
                  </a:lnTo>
                  <a:lnTo>
                    <a:pt x="8585" y="3318"/>
                  </a:lnTo>
                  <a:lnTo>
                    <a:pt x="8577" y="3319"/>
                  </a:lnTo>
                  <a:lnTo>
                    <a:pt x="8569" y="3318"/>
                  </a:lnTo>
                  <a:lnTo>
                    <a:pt x="8563" y="3314"/>
                  </a:lnTo>
                  <a:lnTo>
                    <a:pt x="8559" y="3308"/>
                  </a:lnTo>
                  <a:lnTo>
                    <a:pt x="8557" y="3299"/>
                  </a:lnTo>
                  <a:lnTo>
                    <a:pt x="8557" y="3186"/>
                  </a:lnTo>
                  <a:lnTo>
                    <a:pt x="8559" y="3179"/>
                  </a:lnTo>
                  <a:lnTo>
                    <a:pt x="8563" y="3172"/>
                  </a:lnTo>
                  <a:lnTo>
                    <a:pt x="8569" y="3168"/>
                  </a:lnTo>
                  <a:lnTo>
                    <a:pt x="8577" y="3167"/>
                  </a:lnTo>
                  <a:lnTo>
                    <a:pt x="8585" y="3168"/>
                  </a:lnTo>
                  <a:lnTo>
                    <a:pt x="8591" y="3172"/>
                  </a:lnTo>
                  <a:lnTo>
                    <a:pt x="8595" y="3179"/>
                  </a:lnTo>
                  <a:lnTo>
                    <a:pt x="8598" y="3186"/>
                  </a:lnTo>
                  <a:close/>
                  <a:moveTo>
                    <a:pt x="8861" y="3186"/>
                  </a:moveTo>
                  <a:lnTo>
                    <a:pt x="8861" y="3299"/>
                  </a:lnTo>
                  <a:lnTo>
                    <a:pt x="8858" y="3308"/>
                  </a:lnTo>
                  <a:lnTo>
                    <a:pt x="8854" y="3314"/>
                  </a:lnTo>
                  <a:lnTo>
                    <a:pt x="8848" y="3318"/>
                  </a:lnTo>
                  <a:lnTo>
                    <a:pt x="8840" y="3319"/>
                  </a:lnTo>
                  <a:lnTo>
                    <a:pt x="8832" y="3318"/>
                  </a:lnTo>
                  <a:lnTo>
                    <a:pt x="8826" y="3314"/>
                  </a:lnTo>
                  <a:lnTo>
                    <a:pt x="8822" y="3308"/>
                  </a:lnTo>
                  <a:lnTo>
                    <a:pt x="8821" y="3299"/>
                  </a:lnTo>
                  <a:lnTo>
                    <a:pt x="8821" y="3186"/>
                  </a:lnTo>
                  <a:lnTo>
                    <a:pt x="8822" y="3179"/>
                  </a:lnTo>
                  <a:lnTo>
                    <a:pt x="8826" y="3172"/>
                  </a:lnTo>
                  <a:lnTo>
                    <a:pt x="8832" y="3168"/>
                  </a:lnTo>
                  <a:lnTo>
                    <a:pt x="8840" y="3167"/>
                  </a:lnTo>
                  <a:lnTo>
                    <a:pt x="8848" y="3168"/>
                  </a:lnTo>
                  <a:lnTo>
                    <a:pt x="8854" y="3172"/>
                  </a:lnTo>
                  <a:lnTo>
                    <a:pt x="8858" y="3179"/>
                  </a:lnTo>
                  <a:lnTo>
                    <a:pt x="8861" y="3186"/>
                  </a:lnTo>
                  <a:close/>
                  <a:moveTo>
                    <a:pt x="7545" y="3433"/>
                  </a:moveTo>
                  <a:lnTo>
                    <a:pt x="7545" y="3546"/>
                  </a:lnTo>
                  <a:lnTo>
                    <a:pt x="7542" y="3554"/>
                  </a:lnTo>
                  <a:lnTo>
                    <a:pt x="7539" y="3561"/>
                  </a:lnTo>
                  <a:lnTo>
                    <a:pt x="7532" y="3565"/>
                  </a:lnTo>
                  <a:lnTo>
                    <a:pt x="7524" y="3565"/>
                  </a:lnTo>
                  <a:lnTo>
                    <a:pt x="7517" y="3565"/>
                  </a:lnTo>
                  <a:lnTo>
                    <a:pt x="7510" y="3561"/>
                  </a:lnTo>
                  <a:lnTo>
                    <a:pt x="7506" y="3554"/>
                  </a:lnTo>
                  <a:lnTo>
                    <a:pt x="7505" y="3546"/>
                  </a:lnTo>
                  <a:lnTo>
                    <a:pt x="7505" y="3433"/>
                  </a:lnTo>
                  <a:lnTo>
                    <a:pt x="7506" y="3424"/>
                  </a:lnTo>
                  <a:lnTo>
                    <a:pt x="7510" y="3419"/>
                  </a:lnTo>
                  <a:lnTo>
                    <a:pt x="7517" y="3415"/>
                  </a:lnTo>
                  <a:lnTo>
                    <a:pt x="7524" y="3414"/>
                  </a:lnTo>
                  <a:lnTo>
                    <a:pt x="7532" y="3415"/>
                  </a:lnTo>
                  <a:lnTo>
                    <a:pt x="7539" y="3419"/>
                  </a:lnTo>
                  <a:lnTo>
                    <a:pt x="7542" y="3424"/>
                  </a:lnTo>
                  <a:lnTo>
                    <a:pt x="7545" y="3433"/>
                  </a:lnTo>
                  <a:close/>
                  <a:moveTo>
                    <a:pt x="7808" y="3433"/>
                  </a:moveTo>
                  <a:lnTo>
                    <a:pt x="7808" y="3546"/>
                  </a:lnTo>
                  <a:lnTo>
                    <a:pt x="7807" y="3554"/>
                  </a:lnTo>
                  <a:lnTo>
                    <a:pt x="7801" y="3561"/>
                  </a:lnTo>
                  <a:lnTo>
                    <a:pt x="7795" y="3565"/>
                  </a:lnTo>
                  <a:lnTo>
                    <a:pt x="7787" y="3565"/>
                  </a:lnTo>
                  <a:lnTo>
                    <a:pt x="7781" y="3565"/>
                  </a:lnTo>
                  <a:lnTo>
                    <a:pt x="7774" y="3561"/>
                  </a:lnTo>
                  <a:lnTo>
                    <a:pt x="7769" y="3554"/>
                  </a:lnTo>
                  <a:lnTo>
                    <a:pt x="7768" y="3546"/>
                  </a:lnTo>
                  <a:lnTo>
                    <a:pt x="7768" y="3433"/>
                  </a:lnTo>
                  <a:lnTo>
                    <a:pt x="7769" y="3424"/>
                  </a:lnTo>
                  <a:lnTo>
                    <a:pt x="7774" y="3419"/>
                  </a:lnTo>
                  <a:lnTo>
                    <a:pt x="7781" y="3415"/>
                  </a:lnTo>
                  <a:lnTo>
                    <a:pt x="7787" y="3414"/>
                  </a:lnTo>
                  <a:lnTo>
                    <a:pt x="7795" y="3415"/>
                  </a:lnTo>
                  <a:lnTo>
                    <a:pt x="7801" y="3419"/>
                  </a:lnTo>
                  <a:lnTo>
                    <a:pt x="7807" y="3424"/>
                  </a:lnTo>
                  <a:lnTo>
                    <a:pt x="7808" y="3433"/>
                  </a:lnTo>
                  <a:close/>
                  <a:moveTo>
                    <a:pt x="8071" y="3433"/>
                  </a:moveTo>
                  <a:lnTo>
                    <a:pt x="8071" y="3546"/>
                  </a:lnTo>
                  <a:lnTo>
                    <a:pt x="8069" y="3554"/>
                  </a:lnTo>
                  <a:lnTo>
                    <a:pt x="8064" y="3561"/>
                  </a:lnTo>
                  <a:lnTo>
                    <a:pt x="8058" y="3565"/>
                  </a:lnTo>
                  <a:lnTo>
                    <a:pt x="8051" y="3565"/>
                  </a:lnTo>
                  <a:lnTo>
                    <a:pt x="8044" y="3565"/>
                  </a:lnTo>
                  <a:lnTo>
                    <a:pt x="8037" y="3561"/>
                  </a:lnTo>
                  <a:lnTo>
                    <a:pt x="8032" y="3554"/>
                  </a:lnTo>
                  <a:lnTo>
                    <a:pt x="8031" y="3546"/>
                  </a:lnTo>
                  <a:lnTo>
                    <a:pt x="8031" y="3433"/>
                  </a:lnTo>
                  <a:lnTo>
                    <a:pt x="8032" y="3424"/>
                  </a:lnTo>
                  <a:lnTo>
                    <a:pt x="8037" y="3419"/>
                  </a:lnTo>
                  <a:lnTo>
                    <a:pt x="8044" y="3415"/>
                  </a:lnTo>
                  <a:lnTo>
                    <a:pt x="8051" y="3414"/>
                  </a:lnTo>
                  <a:lnTo>
                    <a:pt x="8058" y="3415"/>
                  </a:lnTo>
                  <a:lnTo>
                    <a:pt x="8064" y="3419"/>
                  </a:lnTo>
                  <a:lnTo>
                    <a:pt x="8069" y="3424"/>
                  </a:lnTo>
                  <a:lnTo>
                    <a:pt x="8071" y="3433"/>
                  </a:lnTo>
                  <a:close/>
                  <a:moveTo>
                    <a:pt x="8334" y="3433"/>
                  </a:moveTo>
                  <a:lnTo>
                    <a:pt x="8334" y="3546"/>
                  </a:lnTo>
                  <a:lnTo>
                    <a:pt x="8332" y="3554"/>
                  </a:lnTo>
                  <a:lnTo>
                    <a:pt x="8327" y="3561"/>
                  </a:lnTo>
                  <a:lnTo>
                    <a:pt x="8322" y="3565"/>
                  </a:lnTo>
                  <a:lnTo>
                    <a:pt x="8314" y="3565"/>
                  </a:lnTo>
                  <a:lnTo>
                    <a:pt x="8307" y="3565"/>
                  </a:lnTo>
                  <a:lnTo>
                    <a:pt x="8300" y="3561"/>
                  </a:lnTo>
                  <a:lnTo>
                    <a:pt x="8296" y="3554"/>
                  </a:lnTo>
                  <a:lnTo>
                    <a:pt x="8294" y="3546"/>
                  </a:lnTo>
                  <a:lnTo>
                    <a:pt x="8294" y="3433"/>
                  </a:lnTo>
                  <a:lnTo>
                    <a:pt x="8296" y="3424"/>
                  </a:lnTo>
                  <a:lnTo>
                    <a:pt x="8300" y="3419"/>
                  </a:lnTo>
                  <a:lnTo>
                    <a:pt x="8307" y="3415"/>
                  </a:lnTo>
                  <a:lnTo>
                    <a:pt x="8314" y="3414"/>
                  </a:lnTo>
                  <a:lnTo>
                    <a:pt x="8322" y="3415"/>
                  </a:lnTo>
                  <a:lnTo>
                    <a:pt x="8327" y="3419"/>
                  </a:lnTo>
                  <a:lnTo>
                    <a:pt x="8332" y="3424"/>
                  </a:lnTo>
                  <a:lnTo>
                    <a:pt x="8334" y="3433"/>
                  </a:lnTo>
                  <a:close/>
                  <a:moveTo>
                    <a:pt x="8598" y="3433"/>
                  </a:moveTo>
                  <a:lnTo>
                    <a:pt x="8598" y="3546"/>
                  </a:lnTo>
                  <a:lnTo>
                    <a:pt x="8595" y="3554"/>
                  </a:lnTo>
                  <a:lnTo>
                    <a:pt x="8591" y="3561"/>
                  </a:lnTo>
                  <a:lnTo>
                    <a:pt x="8585" y="3565"/>
                  </a:lnTo>
                  <a:lnTo>
                    <a:pt x="8577" y="3565"/>
                  </a:lnTo>
                  <a:lnTo>
                    <a:pt x="8569" y="3565"/>
                  </a:lnTo>
                  <a:lnTo>
                    <a:pt x="8563" y="3561"/>
                  </a:lnTo>
                  <a:lnTo>
                    <a:pt x="8559" y="3554"/>
                  </a:lnTo>
                  <a:lnTo>
                    <a:pt x="8557" y="3546"/>
                  </a:lnTo>
                  <a:lnTo>
                    <a:pt x="8557" y="3433"/>
                  </a:lnTo>
                  <a:lnTo>
                    <a:pt x="8559" y="3424"/>
                  </a:lnTo>
                  <a:lnTo>
                    <a:pt x="8563" y="3419"/>
                  </a:lnTo>
                  <a:lnTo>
                    <a:pt x="8569" y="3415"/>
                  </a:lnTo>
                  <a:lnTo>
                    <a:pt x="8577" y="3414"/>
                  </a:lnTo>
                  <a:lnTo>
                    <a:pt x="8585" y="3415"/>
                  </a:lnTo>
                  <a:lnTo>
                    <a:pt x="8591" y="3419"/>
                  </a:lnTo>
                  <a:lnTo>
                    <a:pt x="8595" y="3424"/>
                  </a:lnTo>
                  <a:lnTo>
                    <a:pt x="8598" y="3433"/>
                  </a:lnTo>
                  <a:close/>
                  <a:moveTo>
                    <a:pt x="8861" y="3433"/>
                  </a:moveTo>
                  <a:lnTo>
                    <a:pt x="8861" y="3546"/>
                  </a:lnTo>
                  <a:lnTo>
                    <a:pt x="8858" y="3554"/>
                  </a:lnTo>
                  <a:lnTo>
                    <a:pt x="8854" y="3561"/>
                  </a:lnTo>
                  <a:lnTo>
                    <a:pt x="8848" y="3565"/>
                  </a:lnTo>
                  <a:lnTo>
                    <a:pt x="8840" y="3565"/>
                  </a:lnTo>
                  <a:lnTo>
                    <a:pt x="8832" y="3565"/>
                  </a:lnTo>
                  <a:lnTo>
                    <a:pt x="8826" y="3561"/>
                  </a:lnTo>
                  <a:lnTo>
                    <a:pt x="8822" y="3554"/>
                  </a:lnTo>
                  <a:lnTo>
                    <a:pt x="8821" y="3546"/>
                  </a:lnTo>
                  <a:lnTo>
                    <a:pt x="8821" y="3433"/>
                  </a:lnTo>
                  <a:lnTo>
                    <a:pt x="8822" y="3424"/>
                  </a:lnTo>
                  <a:lnTo>
                    <a:pt x="8826" y="3419"/>
                  </a:lnTo>
                  <a:lnTo>
                    <a:pt x="8832" y="3415"/>
                  </a:lnTo>
                  <a:lnTo>
                    <a:pt x="8840" y="3414"/>
                  </a:lnTo>
                  <a:lnTo>
                    <a:pt x="8848" y="3415"/>
                  </a:lnTo>
                  <a:lnTo>
                    <a:pt x="8854" y="3419"/>
                  </a:lnTo>
                  <a:lnTo>
                    <a:pt x="8858" y="3424"/>
                  </a:lnTo>
                  <a:lnTo>
                    <a:pt x="8861" y="3433"/>
                  </a:lnTo>
                  <a:close/>
                  <a:moveTo>
                    <a:pt x="7545" y="3680"/>
                  </a:moveTo>
                  <a:lnTo>
                    <a:pt x="7545" y="3792"/>
                  </a:lnTo>
                  <a:lnTo>
                    <a:pt x="7542" y="3801"/>
                  </a:lnTo>
                  <a:lnTo>
                    <a:pt x="7539" y="3806"/>
                  </a:lnTo>
                  <a:lnTo>
                    <a:pt x="7532" y="3810"/>
                  </a:lnTo>
                  <a:lnTo>
                    <a:pt x="7524" y="3811"/>
                  </a:lnTo>
                  <a:lnTo>
                    <a:pt x="7517" y="3810"/>
                  </a:lnTo>
                  <a:lnTo>
                    <a:pt x="7510" y="3806"/>
                  </a:lnTo>
                  <a:lnTo>
                    <a:pt x="7506" y="3801"/>
                  </a:lnTo>
                  <a:lnTo>
                    <a:pt x="7505" y="3792"/>
                  </a:lnTo>
                  <a:lnTo>
                    <a:pt x="7505" y="3680"/>
                  </a:lnTo>
                  <a:lnTo>
                    <a:pt x="7506" y="3671"/>
                  </a:lnTo>
                  <a:lnTo>
                    <a:pt x="7510" y="3664"/>
                  </a:lnTo>
                  <a:lnTo>
                    <a:pt x="7517" y="3661"/>
                  </a:lnTo>
                  <a:lnTo>
                    <a:pt x="7524" y="3659"/>
                  </a:lnTo>
                  <a:lnTo>
                    <a:pt x="7532" y="3661"/>
                  </a:lnTo>
                  <a:lnTo>
                    <a:pt x="7539" y="3664"/>
                  </a:lnTo>
                  <a:lnTo>
                    <a:pt x="7542" y="3671"/>
                  </a:lnTo>
                  <a:lnTo>
                    <a:pt x="7545" y="3680"/>
                  </a:lnTo>
                  <a:close/>
                  <a:moveTo>
                    <a:pt x="7808" y="3680"/>
                  </a:moveTo>
                  <a:lnTo>
                    <a:pt x="7808" y="3792"/>
                  </a:lnTo>
                  <a:lnTo>
                    <a:pt x="7807" y="3801"/>
                  </a:lnTo>
                  <a:lnTo>
                    <a:pt x="7801" y="3806"/>
                  </a:lnTo>
                  <a:lnTo>
                    <a:pt x="7795" y="3810"/>
                  </a:lnTo>
                  <a:lnTo>
                    <a:pt x="7787" y="3811"/>
                  </a:lnTo>
                  <a:lnTo>
                    <a:pt x="7781" y="3810"/>
                  </a:lnTo>
                  <a:lnTo>
                    <a:pt x="7774" y="3806"/>
                  </a:lnTo>
                  <a:lnTo>
                    <a:pt x="7769" y="3801"/>
                  </a:lnTo>
                  <a:lnTo>
                    <a:pt x="7768" y="3792"/>
                  </a:lnTo>
                  <a:lnTo>
                    <a:pt x="7768" y="3680"/>
                  </a:lnTo>
                  <a:lnTo>
                    <a:pt x="7769" y="3671"/>
                  </a:lnTo>
                  <a:lnTo>
                    <a:pt x="7774" y="3664"/>
                  </a:lnTo>
                  <a:lnTo>
                    <a:pt x="7781" y="3661"/>
                  </a:lnTo>
                  <a:lnTo>
                    <a:pt x="7787" y="3659"/>
                  </a:lnTo>
                  <a:lnTo>
                    <a:pt x="7795" y="3661"/>
                  </a:lnTo>
                  <a:lnTo>
                    <a:pt x="7801" y="3664"/>
                  </a:lnTo>
                  <a:lnTo>
                    <a:pt x="7807" y="3671"/>
                  </a:lnTo>
                  <a:lnTo>
                    <a:pt x="7808" y="3680"/>
                  </a:lnTo>
                  <a:close/>
                  <a:moveTo>
                    <a:pt x="8071" y="3680"/>
                  </a:moveTo>
                  <a:lnTo>
                    <a:pt x="8071" y="3792"/>
                  </a:lnTo>
                  <a:lnTo>
                    <a:pt x="8069" y="3801"/>
                  </a:lnTo>
                  <a:lnTo>
                    <a:pt x="8064" y="3806"/>
                  </a:lnTo>
                  <a:lnTo>
                    <a:pt x="8058" y="3810"/>
                  </a:lnTo>
                  <a:lnTo>
                    <a:pt x="8051" y="3811"/>
                  </a:lnTo>
                  <a:lnTo>
                    <a:pt x="8044" y="3810"/>
                  </a:lnTo>
                  <a:lnTo>
                    <a:pt x="8037" y="3806"/>
                  </a:lnTo>
                  <a:lnTo>
                    <a:pt x="8032" y="3801"/>
                  </a:lnTo>
                  <a:lnTo>
                    <a:pt x="8031" y="3792"/>
                  </a:lnTo>
                  <a:lnTo>
                    <a:pt x="8031" y="3680"/>
                  </a:lnTo>
                  <a:lnTo>
                    <a:pt x="8032" y="3671"/>
                  </a:lnTo>
                  <a:lnTo>
                    <a:pt x="8037" y="3664"/>
                  </a:lnTo>
                  <a:lnTo>
                    <a:pt x="8044" y="3661"/>
                  </a:lnTo>
                  <a:lnTo>
                    <a:pt x="8051" y="3659"/>
                  </a:lnTo>
                  <a:lnTo>
                    <a:pt x="8058" y="3661"/>
                  </a:lnTo>
                  <a:lnTo>
                    <a:pt x="8064" y="3664"/>
                  </a:lnTo>
                  <a:lnTo>
                    <a:pt x="8069" y="3671"/>
                  </a:lnTo>
                  <a:lnTo>
                    <a:pt x="8071" y="3680"/>
                  </a:lnTo>
                  <a:close/>
                  <a:moveTo>
                    <a:pt x="8334" y="3680"/>
                  </a:moveTo>
                  <a:lnTo>
                    <a:pt x="8334" y="3792"/>
                  </a:lnTo>
                  <a:lnTo>
                    <a:pt x="8332" y="3801"/>
                  </a:lnTo>
                  <a:lnTo>
                    <a:pt x="8327" y="3806"/>
                  </a:lnTo>
                  <a:lnTo>
                    <a:pt x="8322" y="3810"/>
                  </a:lnTo>
                  <a:lnTo>
                    <a:pt x="8314" y="3811"/>
                  </a:lnTo>
                  <a:lnTo>
                    <a:pt x="8307" y="3810"/>
                  </a:lnTo>
                  <a:lnTo>
                    <a:pt x="8300" y="3806"/>
                  </a:lnTo>
                  <a:lnTo>
                    <a:pt x="8296" y="3801"/>
                  </a:lnTo>
                  <a:lnTo>
                    <a:pt x="8294" y="3792"/>
                  </a:lnTo>
                  <a:lnTo>
                    <a:pt x="8294" y="3680"/>
                  </a:lnTo>
                  <a:lnTo>
                    <a:pt x="8296" y="3671"/>
                  </a:lnTo>
                  <a:lnTo>
                    <a:pt x="8300" y="3664"/>
                  </a:lnTo>
                  <a:lnTo>
                    <a:pt x="8307" y="3661"/>
                  </a:lnTo>
                  <a:lnTo>
                    <a:pt x="8314" y="3659"/>
                  </a:lnTo>
                  <a:lnTo>
                    <a:pt x="8322" y="3661"/>
                  </a:lnTo>
                  <a:lnTo>
                    <a:pt x="8327" y="3664"/>
                  </a:lnTo>
                  <a:lnTo>
                    <a:pt x="8332" y="3671"/>
                  </a:lnTo>
                  <a:lnTo>
                    <a:pt x="8334" y="3680"/>
                  </a:lnTo>
                  <a:close/>
                  <a:moveTo>
                    <a:pt x="8598" y="3680"/>
                  </a:moveTo>
                  <a:lnTo>
                    <a:pt x="8598" y="3792"/>
                  </a:lnTo>
                  <a:lnTo>
                    <a:pt x="8595" y="3801"/>
                  </a:lnTo>
                  <a:lnTo>
                    <a:pt x="8591" y="3806"/>
                  </a:lnTo>
                  <a:lnTo>
                    <a:pt x="8585" y="3810"/>
                  </a:lnTo>
                  <a:lnTo>
                    <a:pt x="8577" y="3811"/>
                  </a:lnTo>
                  <a:lnTo>
                    <a:pt x="8569" y="3810"/>
                  </a:lnTo>
                  <a:lnTo>
                    <a:pt x="8563" y="3806"/>
                  </a:lnTo>
                  <a:lnTo>
                    <a:pt x="8559" y="3801"/>
                  </a:lnTo>
                  <a:lnTo>
                    <a:pt x="8557" y="3792"/>
                  </a:lnTo>
                  <a:lnTo>
                    <a:pt x="8557" y="3680"/>
                  </a:lnTo>
                  <a:lnTo>
                    <a:pt x="8559" y="3671"/>
                  </a:lnTo>
                  <a:lnTo>
                    <a:pt x="8563" y="3664"/>
                  </a:lnTo>
                  <a:lnTo>
                    <a:pt x="8569" y="3661"/>
                  </a:lnTo>
                  <a:lnTo>
                    <a:pt x="8577" y="3659"/>
                  </a:lnTo>
                  <a:lnTo>
                    <a:pt x="8585" y="3661"/>
                  </a:lnTo>
                  <a:lnTo>
                    <a:pt x="8591" y="3664"/>
                  </a:lnTo>
                  <a:lnTo>
                    <a:pt x="8595" y="3671"/>
                  </a:lnTo>
                  <a:lnTo>
                    <a:pt x="8598" y="3680"/>
                  </a:lnTo>
                  <a:close/>
                  <a:moveTo>
                    <a:pt x="8861" y="3680"/>
                  </a:moveTo>
                  <a:lnTo>
                    <a:pt x="8861" y="3792"/>
                  </a:lnTo>
                  <a:lnTo>
                    <a:pt x="8858" y="3801"/>
                  </a:lnTo>
                  <a:lnTo>
                    <a:pt x="8854" y="3806"/>
                  </a:lnTo>
                  <a:lnTo>
                    <a:pt x="8848" y="3810"/>
                  </a:lnTo>
                  <a:lnTo>
                    <a:pt x="8840" y="3811"/>
                  </a:lnTo>
                  <a:lnTo>
                    <a:pt x="8832" y="3810"/>
                  </a:lnTo>
                  <a:lnTo>
                    <a:pt x="8826" y="3806"/>
                  </a:lnTo>
                  <a:lnTo>
                    <a:pt x="8822" y="3801"/>
                  </a:lnTo>
                  <a:lnTo>
                    <a:pt x="8821" y="3792"/>
                  </a:lnTo>
                  <a:lnTo>
                    <a:pt x="8821" y="3680"/>
                  </a:lnTo>
                  <a:lnTo>
                    <a:pt x="8822" y="3671"/>
                  </a:lnTo>
                  <a:lnTo>
                    <a:pt x="8826" y="3664"/>
                  </a:lnTo>
                  <a:lnTo>
                    <a:pt x="8832" y="3661"/>
                  </a:lnTo>
                  <a:lnTo>
                    <a:pt x="8840" y="3659"/>
                  </a:lnTo>
                  <a:lnTo>
                    <a:pt x="8848" y="3661"/>
                  </a:lnTo>
                  <a:lnTo>
                    <a:pt x="8854" y="3664"/>
                  </a:lnTo>
                  <a:lnTo>
                    <a:pt x="8858" y="3671"/>
                  </a:lnTo>
                  <a:lnTo>
                    <a:pt x="8861" y="3680"/>
                  </a:lnTo>
                  <a:close/>
                  <a:moveTo>
                    <a:pt x="9081" y="2604"/>
                  </a:moveTo>
                  <a:lnTo>
                    <a:pt x="9075" y="2604"/>
                  </a:lnTo>
                  <a:lnTo>
                    <a:pt x="9081" y="2604"/>
                  </a:lnTo>
                  <a:close/>
                  <a:moveTo>
                    <a:pt x="5536" y="1840"/>
                  </a:moveTo>
                  <a:lnTo>
                    <a:pt x="5109" y="1840"/>
                  </a:lnTo>
                  <a:lnTo>
                    <a:pt x="5109" y="1950"/>
                  </a:lnTo>
                  <a:lnTo>
                    <a:pt x="5536" y="1950"/>
                  </a:lnTo>
                  <a:lnTo>
                    <a:pt x="5536" y="1840"/>
                  </a:lnTo>
                  <a:close/>
                  <a:moveTo>
                    <a:pt x="4446" y="3790"/>
                  </a:moveTo>
                  <a:lnTo>
                    <a:pt x="5309" y="3790"/>
                  </a:lnTo>
                  <a:lnTo>
                    <a:pt x="5318" y="3791"/>
                  </a:lnTo>
                  <a:lnTo>
                    <a:pt x="5324" y="3796"/>
                  </a:lnTo>
                  <a:lnTo>
                    <a:pt x="5328" y="3803"/>
                  </a:lnTo>
                  <a:lnTo>
                    <a:pt x="5329" y="3809"/>
                  </a:lnTo>
                  <a:lnTo>
                    <a:pt x="5328" y="3817"/>
                  </a:lnTo>
                  <a:lnTo>
                    <a:pt x="5324" y="3823"/>
                  </a:lnTo>
                  <a:lnTo>
                    <a:pt x="5318" y="3828"/>
                  </a:lnTo>
                  <a:lnTo>
                    <a:pt x="5309" y="3829"/>
                  </a:lnTo>
                  <a:lnTo>
                    <a:pt x="5215" y="3829"/>
                  </a:lnTo>
                  <a:lnTo>
                    <a:pt x="5215" y="4317"/>
                  </a:lnTo>
                  <a:lnTo>
                    <a:pt x="5754" y="4317"/>
                  </a:lnTo>
                  <a:lnTo>
                    <a:pt x="5754" y="3782"/>
                  </a:lnTo>
                  <a:lnTo>
                    <a:pt x="5754" y="3249"/>
                  </a:lnTo>
                  <a:lnTo>
                    <a:pt x="5754" y="2716"/>
                  </a:lnTo>
                  <a:lnTo>
                    <a:pt x="5754" y="2182"/>
                  </a:lnTo>
                  <a:lnTo>
                    <a:pt x="5195" y="2182"/>
                  </a:lnTo>
                  <a:lnTo>
                    <a:pt x="4637" y="2182"/>
                  </a:lnTo>
                  <a:lnTo>
                    <a:pt x="4629" y="2181"/>
                  </a:lnTo>
                  <a:lnTo>
                    <a:pt x="4623" y="2176"/>
                  </a:lnTo>
                  <a:lnTo>
                    <a:pt x="4619" y="2170"/>
                  </a:lnTo>
                  <a:lnTo>
                    <a:pt x="4617" y="2163"/>
                  </a:lnTo>
                  <a:lnTo>
                    <a:pt x="4619" y="2156"/>
                  </a:lnTo>
                  <a:lnTo>
                    <a:pt x="4623" y="2149"/>
                  </a:lnTo>
                  <a:lnTo>
                    <a:pt x="4629" y="2144"/>
                  </a:lnTo>
                  <a:lnTo>
                    <a:pt x="4637" y="2143"/>
                  </a:lnTo>
                  <a:lnTo>
                    <a:pt x="5615" y="2143"/>
                  </a:lnTo>
                  <a:lnTo>
                    <a:pt x="5615" y="1989"/>
                  </a:lnTo>
                  <a:lnTo>
                    <a:pt x="5555" y="1989"/>
                  </a:lnTo>
                  <a:lnTo>
                    <a:pt x="5089" y="1989"/>
                  </a:lnTo>
                  <a:lnTo>
                    <a:pt x="4119" y="1989"/>
                  </a:lnTo>
                  <a:lnTo>
                    <a:pt x="4119" y="2143"/>
                  </a:lnTo>
                  <a:lnTo>
                    <a:pt x="4373" y="2143"/>
                  </a:lnTo>
                  <a:lnTo>
                    <a:pt x="4382" y="2144"/>
                  </a:lnTo>
                  <a:lnTo>
                    <a:pt x="4387" y="2149"/>
                  </a:lnTo>
                  <a:lnTo>
                    <a:pt x="4391" y="2156"/>
                  </a:lnTo>
                  <a:lnTo>
                    <a:pt x="4392" y="2163"/>
                  </a:lnTo>
                  <a:lnTo>
                    <a:pt x="4391" y="2170"/>
                  </a:lnTo>
                  <a:lnTo>
                    <a:pt x="4387" y="2176"/>
                  </a:lnTo>
                  <a:lnTo>
                    <a:pt x="4382" y="2181"/>
                  </a:lnTo>
                  <a:lnTo>
                    <a:pt x="4373" y="2182"/>
                  </a:lnTo>
                  <a:lnTo>
                    <a:pt x="4001" y="2182"/>
                  </a:lnTo>
                  <a:lnTo>
                    <a:pt x="4001" y="3195"/>
                  </a:lnTo>
                  <a:lnTo>
                    <a:pt x="3999" y="3204"/>
                  </a:lnTo>
                  <a:lnTo>
                    <a:pt x="3994" y="3211"/>
                  </a:lnTo>
                  <a:lnTo>
                    <a:pt x="3988" y="3214"/>
                  </a:lnTo>
                  <a:lnTo>
                    <a:pt x="3980" y="3216"/>
                  </a:lnTo>
                  <a:lnTo>
                    <a:pt x="3974" y="3214"/>
                  </a:lnTo>
                  <a:lnTo>
                    <a:pt x="3967" y="3211"/>
                  </a:lnTo>
                  <a:lnTo>
                    <a:pt x="3962" y="3204"/>
                  </a:lnTo>
                  <a:lnTo>
                    <a:pt x="3961" y="3195"/>
                  </a:lnTo>
                  <a:lnTo>
                    <a:pt x="3961" y="2679"/>
                  </a:lnTo>
                  <a:lnTo>
                    <a:pt x="3961" y="2163"/>
                  </a:lnTo>
                  <a:lnTo>
                    <a:pt x="3962" y="2156"/>
                  </a:lnTo>
                  <a:lnTo>
                    <a:pt x="3966" y="2149"/>
                  </a:lnTo>
                  <a:lnTo>
                    <a:pt x="3973" y="2144"/>
                  </a:lnTo>
                  <a:lnTo>
                    <a:pt x="3980" y="2143"/>
                  </a:lnTo>
                  <a:lnTo>
                    <a:pt x="4079" y="2143"/>
                  </a:lnTo>
                  <a:lnTo>
                    <a:pt x="4079" y="1970"/>
                  </a:lnTo>
                  <a:lnTo>
                    <a:pt x="4080" y="1963"/>
                  </a:lnTo>
                  <a:lnTo>
                    <a:pt x="4085" y="1956"/>
                  </a:lnTo>
                  <a:lnTo>
                    <a:pt x="4092" y="1951"/>
                  </a:lnTo>
                  <a:lnTo>
                    <a:pt x="4099" y="1950"/>
                  </a:lnTo>
                  <a:lnTo>
                    <a:pt x="5069" y="1950"/>
                  </a:lnTo>
                  <a:lnTo>
                    <a:pt x="5069" y="1819"/>
                  </a:lnTo>
                  <a:lnTo>
                    <a:pt x="5070" y="1812"/>
                  </a:lnTo>
                  <a:lnTo>
                    <a:pt x="5075" y="1805"/>
                  </a:lnTo>
                  <a:lnTo>
                    <a:pt x="5082" y="1801"/>
                  </a:lnTo>
                  <a:lnTo>
                    <a:pt x="5089" y="1799"/>
                  </a:lnTo>
                  <a:lnTo>
                    <a:pt x="5555" y="1799"/>
                  </a:lnTo>
                  <a:lnTo>
                    <a:pt x="5563" y="1801"/>
                  </a:lnTo>
                  <a:lnTo>
                    <a:pt x="5569" y="1805"/>
                  </a:lnTo>
                  <a:lnTo>
                    <a:pt x="5573" y="1812"/>
                  </a:lnTo>
                  <a:lnTo>
                    <a:pt x="5575" y="1819"/>
                  </a:lnTo>
                  <a:lnTo>
                    <a:pt x="5575" y="1950"/>
                  </a:lnTo>
                  <a:lnTo>
                    <a:pt x="5636" y="1950"/>
                  </a:lnTo>
                  <a:lnTo>
                    <a:pt x="5643" y="1951"/>
                  </a:lnTo>
                  <a:lnTo>
                    <a:pt x="5650" y="1956"/>
                  </a:lnTo>
                  <a:lnTo>
                    <a:pt x="5654" y="1963"/>
                  </a:lnTo>
                  <a:lnTo>
                    <a:pt x="5656" y="1970"/>
                  </a:lnTo>
                  <a:lnTo>
                    <a:pt x="5656" y="2143"/>
                  </a:lnTo>
                  <a:lnTo>
                    <a:pt x="5773" y="2143"/>
                  </a:lnTo>
                  <a:lnTo>
                    <a:pt x="5781" y="2144"/>
                  </a:lnTo>
                  <a:lnTo>
                    <a:pt x="5787" y="2149"/>
                  </a:lnTo>
                  <a:lnTo>
                    <a:pt x="5792" y="2156"/>
                  </a:lnTo>
                  <a:lnTo>
                    <a:pt x="5793" y="2163"/>
                  </a:lnTo>
                  <a:lnTo>
                    <a:pt x="5793" y="2705"/>
                  </a:lnTo>
                  <a:lnTo>
                    <a:pt x="5793" y="3249"/>
                  </a:lnTo>
                  <a:lnTo>
                    <a:pt x="5793" y="3792"/>
                  </a:lnTo>
                  <a:lnTo>
                    <a:pt x="5793" y="4336"/>
                  </a:lnTo>
                  <a:lnTo>
                    <a:pt x="5792" y="4343"/>
                  </a:lnTo>
                  <a:lnTo>
                    <a:pt x="5787" y="4350"/>
                  </a:lnTo>
                  <a:lnTo>
                    <a:pt x="5781" y="4355"/>
                  </a:lnTo>
                  <a:lnTo>
                    <a:pt x="5773" y="4356"/>
                  </a:lnTo>
                  <a:lnTo>
                    <a:pt x="5195" y="4356"/>
                  </a:lnTo>
                  <a:lnTo>
                    <a:pt x="4560" y="4356"/>
                  </a:lnTo>
                  <a:lnTo>
                    <a:pt x="3980" y="4356"/>
                  </a:lnTo>
                  <a:lnTo>
                    <a:pt x="3973" y="4355"/>
                  </a:lnTo>
                  <a:lnTo>
                    <a:pt x="3966" y="4350"/>
                  </a:lnTo>
                  <a:lnTo>
                    <a:pt x="3962" y="4343"/>
                  </a:lnTo>
                  <a:lnTo>
                    <a:pt x="3961" y="4336"/>
                  </a:lnTo>
                  <a:lnTo>
                    <a:pt x="3961" y="4037"/>
                  </a:lnTo>
                  <a:lnTo>
                    <a:pt x="3962" y="4028"/>
                  </a:lnTo>
                  <a:lnTo>
                    <a:pt x="3967" y="4021"/>
                  </a:lnTo>
                  <a:lnTo>
                    <a:pt x="3974" y="4017"/>
                  </a:lnTo>
                  <a:lnTo>
                    <a:pt x="3980" y="4016"/>
                  </a:lnTo>
                  <a:lnTo>
                    <a:pt x="3988" y="4017"/>
                  </a:lnTo>
                  <a:lnTo>
                    <a:pt x="3994" y="4021"/>
                  </a:lnTo>
                  <a:lnTo>
                    <a:pt x="3999" y="4028"/>
                  </a:lnTo>
                  <a:lnTo>
                    <a:pt x="4001" y="4037"/>
                  </a:lnTo>
                  <a:lnTo>
                    <a:pt x="4001" y="4317"/>
                  </a:lnTo>
                  <a:lnTo>
                    <a:pt x="4539" y="4317"/>
                  </a:lnTo>
                  <a:lnTo>
                    <a:pt x="4539" y="3829"/>
                  </a:lnTo>
                  <a:lnTo>
                    <a:pt x="4446" y="3829"/>
                  </a:lnTo>
                  <a:lnTo>
                    <a:pt x="4437" y="3828"/>
                  </a:lnTo>
                  <a:lnTo>
                    <a:pt x="4430" y="3823"/>
                  </a:lnTo>
                  <a:lnTo>
                    <a:pt x="4426" y="3817"/>
                  </a:lnTo>
                  <a:lnTo>
                    <a:pt x="4425" y="3809"/>
                  </a:lnTo>
                  <a:lnTo>
                    <a:pt x="4426" y="3803"/>
                  </a:lnTo>
                  <a:lnTo>
                    <a:pt x="4430" y="3796"/>
                  </a:lnTo>
                  <a:lnTo>
                    <a:pt x="4437" y="3791"/>
                  </a:lnTo>
                  <a:lnTo>
                    <a:pt x="4446" y="3790"/>
                  </a:lnTo>
                  <a:close/>
                  <a:moveTo>
                    <a:pt x="4897" y="3950"/>
                  </a:moveTo>
                  <a:lnTo>
                    <a:pt x="4897" y="4317"/>
                  </a:lnTo>
                  <a:lnTo>
                    <a:pt x="5175" y="4317"/>
                  </a:lnTo>
                  <a:lnTo>
                    <a:pt x="5175" y="3829"/>
                  </a:lnTo>
                  <a:lnTo>
                    <a:pt x="4579" y="3829"/>
                  </a:lnTo>
                  <a:lnTo>
                    <a:pt x="4579" y="4317"/>
                  </a:lnTo>
                  <a:lnTo>
                    <a:pt x="4857" y="4317"/>
                  </a:lnTo>
                  <a:lnTo>
                    <a:pt x="4857" y="3950"/>
                  </a:lnTo>
                  <a:lnTo>
                    <a:pt x="4859" y="3941"/>
                  </a:lnTo>
                  <a:lnTo>
                    <a:pt x="4864" y="3934"/>
                  </a:lnTo>
                  <a:lnTo>
                    <a:pt x="4870" y="3930"/>
                  </a:lnTo>
                  <a:lnTo>
                    <a:pt x="4877" y="3929"/>
                  </a:lnTo>
                  <a:lnTo>
                    <a:pt x="4884" y="3930"/>
                  </a:lnTo>
                  <a:lnTo>
                    <a:pt x="4891" y="3934"/>
                  </a:lnTo>
                  <a:lnTo>
                    <a:pt x="4896" y="3941"/>
                  </a:lnTo>
                  <a:lnTo>
                    <a:pt x="4897" y="3950"/>
                  </a:lnTo>
                  <a:close/>
                  <a:moveTo>
                    <a:pt x="8349" y="481"/>
                  </a:moveTo>
                  <a:lnTo>
                    <a:pt x="8337" y="483"/>
                  </a:lnTo>
                  <a:lnTo>
                    <a:pt x="8328" y="482"/>
                  </a:lnTo>
                  <a:lnTo>
                    <a:pt x="8321" y="475"/>
                  </a:lnTo>
                  <a:lnTo>
                    <a:pt x="8318" y="464"/>
                  </a:lnTo>
                  <a:lnTo>
                    <a:pt x="8316" y="446"/>
                  </a:lnTo>
                  <a:lnTo>
                    <a:pt x="8312" y="428"/>
                  </a:lnTo>
                  <a:lnTo>
                    <a:pt x="8299" y="394"/>
                  </a:lnTo>
                  <a:lnTo>
                    <a:pt x="8280" y="364"/>
                  </a:lnTo>
                  <a:lnTo>
                    <a:pt x="8255" y="337"/>
                  </a:lnTo>
                  <a:lnTo>
                    <a:pt x="8226" y="316"/>
                  </a:lnTo>
                  <a:lnTo>
                    <a:pt x="8192" y="299"/>
                  </a:lnTo>
                  <a:lnTo>
                    <a:pt x="8175" y="293"/>
                  </a:lnTo>
                  <a:lnTo>
                    <a:pt x="8157" y="289"/>
                  </a:lnTo>
                  <a:lnTo>
                    <a:pt x="8137" y="286"/>
                  </a:lnTo>
                  <a:lnTo>
                    <a:pt x="8119" y="285"/>
                  </a:lnTo>
                  <a:lnTo>
                    <a:pt x="8080" y="289"/>
                  </a:lnTo>
                  <a:lnTo>
                    <a:pt x="8060" y="294"/>
                  </a:lnTo>
                  <a:lnTo>
                    <a:pt x="8042" y="300"/>
                  </a:lnTo>
                  <a:lnTo>
                    <a:pt x="8008" y="318"/>
                  </a:lnTo>
                  <a:lnTo>
                    <a:pt x="7978" y="341"/>
                  </a:lnTo>
                  <a:lnTo>
                    <a:pt x="7966" y="355"/>
                  </a:lnTo>
                  <a:lnTo>
                    <a:pt x="7954" y="369"/>
                  </a:lnTo>
                  <a:lnTo>
                    <a:pt x="7935" y="403"/>
                  </a:lnTo>
                  <a:lnTo>
                    <a:pt x="7928" y="420"/>
                  </a:lnTo>
                  <a:lnTo>
                    <a:pt x="7923" y="438"/>
                  </a:lnTo>
                  <a:lnTo>
                    <a:pt x="7919" y="477"/>
                  </a:lnTo>
                  <a:lnTo>
                    <a:pt x="7867" y="477"/>
                  </a:lnTo>
                  <a:lnTo>
                    <a:pt x="7836" y="474"/>
                  </a:lnTo>
                  <a:lnTo>
                    <a:pt x="7815" y="477"/>
                  </a:lnTo>
                  <a:lnTo>
                    <a:pt x="7798" y="482"/>
                  </a:lnTo>
                  <a:lnTo>
                    <a:pt x="7780" y="492"/>
                  </a:lnTo>
                  <a:lnTo>
                    <a:pt x="7765" y="504"/>
                  </a:lnTo>
                  <a:lnTo>
                    <a:pt x="7754" y="519"/>
                  </a:lnTo>
                  <a:lnTo>
                    <a:pt x="7745" y="537"/>
                  </a:lnTo>
                  <a:lnTo>
                    <a:pt x="7740" y="556"/>
                  </a:lnTo>
                  <a:lnTo>
                    <a:pt x="7737" y="576"/>
                  </a:lnTo>
                  <a:lnTo>
                    <a:pt x="7740" y="598"/>
                  </a:lnTo>
                  <a:lnTo>
                    <a:pt x="8505" y="599"/>
                  </a:lnTo>
                  <a:lnTo>
                    <a:pt x="8508" y="574"/>
                  </a:lnTo>
                  <a:lnTo>
                    <a:pt x="8505" y="552"/>
                  </a:lnTo>
                  <a:lnTo>
                    <a:pt x="8499" y="532"/>
                  </a:lnTo>
                  <a:lnTo>
                    <a:pt x="8490" y="514"/>
                  </a:lnTo>
                  <a:lnTo>
                    <a:pt x="8477" y="497"/>
                  </a:lnTo>
                  <a:lnTo>
                    <a:pt x="8460" y="484"/>
                  </a:lnTo>
                  <a:lnTo>
                    <a:pt x="8443" y="474"/>
                  </a:lnTo>
                  <a:lnTo>
                    <a:pt x="8423" y="468"/>
                  </a:lnTo>
                  <a:lnTo>
                    <a:pt x="8401" y="465"/>
                  </a:lnTo>
                  <a:lnTo>
                    <a:pt x="8373" y="469"/>
                  </a:lnTo>
                  <a:lnTo>
                    <a:pt x="8349" y="481"/>
                  </a:lnTo>
                  <a:close/>
                  <a:moveTo>
                    <a:pt x="7880" y="455"/>
                  </a:moveTo>
                  <a:lnTo>
                    <a:pt x="7883" y="433"/>
                  </a:lnTo>
                  <a:lnTo>
                    <a:pt x="7889" y="411"/>
                  </a:lnTo>
                  <a:lnTo>
                    <a:pt x="7896" y="391"/>
                  </a:lnTo>
                  <a:lnTo>
                    <a:pt x="7905" y="372"/>
                  </a:lnTo>
                  <a:lnTo>
                    <a:pt x="7917" y="354"/>
                  </a:lnTo>
                  <a:lnTo>
                    <a:pt x="7930" y="336"/>
                  </a:lnTo>
                  <a:lnTo>
                    <a:pt x="7944" y="321"/>
                  </a:lnTo>
                  <a:lnTo>
                    <a:pt x="7959" y="305"/>
                  </a:lnTo>
                  <a:lnTo>
                    <a:pt x="7994" y="280"/>
                  </a:lnTo>
                  <a:lnTo>
                    <a:pt x="8032" y="261"/>
                  </a:lnTo>
                  <a:lnTo>
                    <a:pt x="8075" y="249"/>
                  </a:lnTo>
                  <a:lnTo>
                    <a:pt x="8119" y="245"/>
                  </a:lnTo>
                  <a:lnTo>
                    <a:pt x="8160" y="249"/>
                  </a:lnTo>
                  <a:lnTo>
                    <a:pt x="8200" y="259"/>
                  </a:lnTo>
                  <a:lnTo>
                    <a:pt x="8237" y="276"/>
                  </a:lnTo>
                  <a:lnTo>
                    <a:pt x="8254" y="286"/>
                  </a:lnTo>
                  <a:lnTo>
                    <a:pt x="8271" y="299"/>
                  </a:lnTo>
                  <a:lnTo>
                    <a:pt x="8300" y="326"/>
                  </a:lnTo>
                  <a:lnTo>
                    <a:pt x="8325" y="358"/>
                  </a:lnTo>
                  <a:lnTo>
                    <a:pt x="8335" y="376"/>
                  </a:lnTo>
                  <a:lnTo>
                    <a:pt x="8343" y="395"/>
                  </a:lnTo>
                  <a:lnTo>
                    <a:pt x="8350" y="414"/>
                  </a:lnTo>
                  <a:lnTo>
                    <a:pt x="8354" y="433"/>
                  </a:lnTo>
                  <a:lnTo>
                    <a:pt x="8377" y="428"/>
                  </a:lnTo>
                  <a:lnTo>
                    <a:pt x="8401" y="426"/>
                  </a:lnTo>
                  <a:lnTo>
                    <a:pt x="8431" y="428"/>
                  </a:lnTo>
                  <a:lnTo>
                    <a:pt x="8459" y="437"/>
                  </a:lnTo>
                  <a:lnTo>
                    <a:pt x="8484" y="451"/>
                  </a:lnTo>
                  <a:lnTo>
                    <a:pt x="8505" y="470"/>
                  </a:lnTo>
                  <a:lnTo>
                    <a:pt x="8523" y="492"/>
                  </a:lnTo>
                  <a:lnTo>
                    <a:pt x="8531" y="505"/>
                  </a:lnTo>
                  <a:lnTo>
                    <a:pt x="8536" y="518"/>
                  </a:lnTo>
                  <a:lnTo>
                    <a:pt x="8545" y="544"/>
                  </a:lnTo>
                  <a:lnTo>
                    <a:pt x="8548" y="560"/>
                  </a:lnTo>
                  <a:lnTo>
                    <a:pt x="8548" y="574"/>
                  </a:lnTo>
                  <a:lnTo>
                    <a:pt x="8548" y="592"/>
                  </a:lnTo>
                  <a:lnTo>
                    <a:pt x="8544" y="613"/>
                  </a:lnTo>
                  <a:lnTo>
                    <a:pt x="8540" y="624"/>
                  </a:lnTo>
                  <a:lnTo>
                    <a:pt x="8535" y="631"/>
                  </a:lnTo>
                  <a:lnTo>
                    <a:pt x="8528" y="638"/>
                  </a:lnTo>
                  <a:lnTo>
                    <a:pt x="8521" y="640"/>
                  </a:lnTo>
                  <a:lnTo>
                    <a:pt x="7724" y="638"/>
                  </a:lnTo>
                  <a:lnTo>
                    <a:pt x="7717" y="637"/>
                  </a:lnTo>
                  <a:lnTo>
                    <a:pt x="7710" y="631"/>
                  </a:lnTo>
                  <a:lnTo>
                    <a:pt x="7705" y="622"/>
                  </a:lnTo>
                  <a:lnTo>
                    <a:pt x="7701" y="613"/>
                  </a:lnTo>
                  <a:lnTo>
                    <a:pt x="7699" y="593"/>
                  </a:lnTo>
                  <a:lnTo>
                    <a:pt x="7698" y="576"/>
                  </a:lnTo>
                  <a:lnTo>
                    <a:pt x="7700" y="548"/>
                  </a:lnTo>
                  <a:lnTo>
                    <a:pt x="7708" y="521"/>
                  </a:lnTo>
                  <a:lnTo>
                    <a:pt x="7721" y="497"/>
                  </a:lnTo>
                  <a:lnTo>
                    <a:pt x="7737" y="477"/>
                  </a:lnTo>
                  <a:lnTo>
                    <a:pt x="7757" y="459"/>
                  </a:lnTo>
                  <a:lnTo>
                    <a:pt x="7781" y="446"/>
                  </a:lnTo>
                  <a:lnTo>
                    <a:pt x="7807" y="437"/>
                  </a:lnTo>
                  <a:lnTo>
                    <a:pt x="7836" y="434"/>
                  </a:lnTo>
                  <a:lnTo>
                    <a:pt x="7851" y="436"/>
                  </a:lnTo>
                  <a:lnTo>
                    <a:pt x="7864" y="440"/>
                  </a:lnTo>
                  <a:lnTo>
                    <a:pt x="7874" y="445"/>
                  </a:lnTo>
                  <a:lnTo>
                    <a:pt x="7880" y="455"/>
                  </a:lnTo>
                  <a:close/>
                  <a:moveTo>
                    <a:pt x="4157" y="902"/>
                  </a:moveTo>
                  <a:lnTo>
                    <a:pt x="4683" y="902"/>
                  </a:lnTo>
                  <a:lnTo>
                    <a:pt x="5210" y="902"/>
                  </a:lnTo>
                  <a:lnTo>
                    <a:pt x="5210" y="892"/>
                  </a:lnTo>
                  <a:lnTo>
                    <a:pt x="5207" y="865"/>
                  </a:lnTo>
                  <a:lnTo>
                    <a:pt x="5203" y="854"/>
                  </a:lnTo>
                  <a:lnTo>
                    <a:pt x="5200" y="841"/>
                  </a:lnTo>
                  <a:lnTo>
                    <a:pt x="5187" y="819"/>
                  </a:lnTo>
                  <a:lnTo>
                    <a:pt x="5179" y="809"/>
                  </a:lnTo>
                  <a:lnTo>
                    <a:pt x="5171" y="799"/>
                  </a:lnTo>
                  <a:lnTo>
                    <a:pt x="5151" y="784"/>
                  </a:lnTo>
                  <a:lnTo>
                    <a:pt x="5141" y="777"/>
                  </a:lnTo>
                  <a:lnTo>
                    <a:pt x="5129" y="771"/>
                  </a:lnTo>
                  <a:lnTo>
                    <a:pt x="5103" y="763"/>
                  </a:lnTo>
                  <a:lnTo>
                    <a:pt x="5077" y="761"/>
                  </a:lnTo>
                  <a:lnTo>
                    <a:pt x="5052" y="763"/>
                  </a:lnTo>
                  <a:lnTo>
                    <a:pt x="5042" y="767"/>
                  </a:lnTo>
                  <a:lnTo>
                    <a:pt x="5030" y="771"/>
                  </a:lnTo>
                  <a:lnTo>
                    <a:pt x="4996" y="791"/>
                  </a:lnTo>
                  <a:lnTo>
                    <a:pt x="4982" y="799"/>
                  </a:lnTo>
                  <a:lnTo>
                    <a:pt x="4970" y="801"/>
                  </a:lnTo>
                  <a:lnTo>
                    <a:pt x="4961" y="799"/>
                  </a:lnTo>
                  <a:lnTo>
                    <a:pt x="4955" y="786"/>
                  </a:lnTo>
                  <a:lnTo>
                    <a:pt x="4944" y="758"/>
                  </a:lnTo>
                  <a:lnTo>
                    <a:pt x="4938" y="745"/>
                  </a:lnTo>
                  <a:lnTo>
                    <a:pt x="4929" y="732"/>
                  </a:lnTo>
                  <a:lnTo>
                    <a:pt x="4911" y="711"/>
                  </a:lnTo>
                  <a:lnTo>
                    <a:pt x="4900" y="700"/>
                  </a:lnTo>
                  <a:lnTo>
                    <a:pt x="4888" y="690"/>
                  </a:lnTo>
                  <a:lnTo>
                    <a:pt x="4864" y="675"/>
                  </a:lnTo>
                  <a:lnTo>
                    <a:pt x="4837" y="662"/>
                  </a:lnTo>
                  <a:lnTo>
                    <a:pt x="4821" y="658"/>
                  </a:lnTo>
                  <a:lnTo>
                    <a:pt x="4807" y="656"/>
                  </a:lnTo>
                  <a:lnTo>
                    <a:pt x="4775" y="653"/>
                  </a:lnTo>
                  <a:lnTo>
                    <a:pt x="4751" y="656"/>
                  </a:lnTo>
                  <a:lnTo>
                    <a:pt x="4725" y="661"/>
                  </a:lnTo>
                  <a:lnTo>
                    <a:pt x="4702" y="665"/>
                  </a:lnTo>
                  <a:lnTo>
                    <a:pt x="4694" y="663"/>
                  </a:lnTo>
                  <a:lnTo>
                    <a:pt x="4688" y="660"/>
                  </a:lnTo>
                  <a:lnTo>
                    <a:pt x="4671" y="643"/>
                  </a:lnTo>
                  <a:lnTo>
                    <a:pt x="4653" y="628"/>
                  </a:lnTo>
                  <a:lnTo>
                    <a:pt x="4634" y="615"/>
                  </a:lnTo>
                  <a:lnTo>
                    <a:pt x="4614" y="605"/>
                  </a:lnTo>
                  <a:lnTo>
                    <a:pt x="4592" y="596"/>
                  </a:lnTo>
                  <a:lnTo>
                    <a:pt x="4570" y="589"/>
                  </a:lnTo>
                  <a:lnTo>
                    <a:pt x="4546" y="585"/>
                  </a:lnTo>
                  <a:lnTo>
                    <a:pt x="4521" y="584"/>
                  </a:lnTo>
                  <a:lnTo>
                    <a:pt x="4480" y="587"/>
                  </a:lnTo>
                  <a:lnTo>
                    <a:pt x="4462" y="590"/>
                  </a:lnTo>
                  <a:lnTo>
                    <a:pt x="4446" y="594"/>
                  </a:lnTo>
                  <a:lnTo>
                    <a:pt x="4416" y="607"/>
                  </a:lnTo>
                  <a:lnTo>
                    <a:pt x="4393" y="622"/>
                  </a:lnTo>
                  <a:lnTo>
                    <a:pt x="4373" y="640"/>
                  </a:lnTo>
                  <a:lnTo>
                    <a:pt x="4356" y="661"/>
                  </a:lnTo>
                  <a:lnTo>
                    <a:pt x="4343" y="683"/>
                  </a:lnTo>
                  <a:lnTo>
                    <a:pt x="4333" y="704"/>
                  </a:lnTo>
                  <a:lnTo>
                    <a:pt x="4317" y="749"/>
                  </a:lnTo>
                  <a:lnTo>
                    <a:pt x="4306" y="786"/>
                  </a:lnTo>
                  <a:lnTo>
                    <a:pt x="4293" y="812"/>
                  </a:lnTo>
                  <a:lnTo>
                    <a:pt x="4287" y="818"/>
                  </a:lnTo>
                  <a:lnTo>
                    <a:pt x="4276" y="819"/>
                  </a:lnTo>
                  <a:lnTo>
                    <a:pt x="4261" y="818"/>
                  </a:lnTo>
                  <a:lnTo>
                    <a:pt x="4242" y="819"/>
                  </a:lnTo>
                  <a:lnTo>
                    <a:pt x="4224" y="824"/>
                  </a:lnTo>
                  <a:lnTo>
                    <a:pt x="4207" y="832"/>
                  </a:lnTo>
                  <a:lnTo>
                    <a:pt x="4193" y="842"/>
                  </a:lnTo>
                  <a:lnTo>
                    <a:pt x="4180" y="854"/>
                  </a:lnTo>
                  <a:lnTo>
                    <a:pt x="4170" y="868"/>
                  </a:lnTo>
                  <a:lnTo>
                    <a:pt x="4162" y="885"/>
                  </a:lnTo>
                  <a:lnTo>
                    <a:pt x="4157" y="902"/>
                  </a:lnTo>
                  <a:close/>
                  <a:moveTo>
                    <a:pt x="5248" y="923"/>
                  </a:moveTo>
                  <a:lnTo>
                    <a:pt x="5243" y="933"/>
                  </a:lnTo>
                  <a:lnTo>
                    <a:pt x="5238" y="938"/>
                  </a:lnTo>
                  <a:lnTo>
                    <a:pt x="5227" y="942"/>
                  </a:lnTo>
                  <a:lnTo>
                    <a:pt x="4680" y="942"/>
                  </a:lnTo>
                  <a:lnTo>
                    <a:pt x="4135" y="942"/>
                  </a:lnTo>
                  <a:lnTo>
                    <a:pt x="4129" y="940"/>
                  </a:lnTo>
                  <a:lnTo>
                    <a:pt x="4123" y="936"/>
                  </a:lnTo>
                  <a:lnTo>
                    <a:pt x="4117" y="928"/>
                  </a:lnTo>
                  <a:lnTo>
                    <a:pt x="4116" y="920"/>
                  </a:lnTo>
                  <a:lnTo>
                    <a:pt x="4119" y="891"/>
                  </a:lnTo>
                  <a:lnTo>
                    <a:pt x="4128" y="864"/>
                  </a:lnTo>
                  <a:lnTo>
                    <a:pt x="4140" y="840"/>
                  </a:lnTo>
                  <a:lnTo>
                    <a:pt x="4158" y="819"/>
                  </a:lnTo>
                  <a:lnTo>
                    <a:pt x="4180" y="801"/>
                  </a:lnTo>
                  <a:lnTo>
                    <a:pt x="4205" y="789"/>
                  </a:lnTo>
                  <a:lnTo>
                    <a:pt x="4232" y="781"/>
                  </a:lnTo>
                  <a:lnTo>
                    <a:pt x="4261" y="777"/>
                  </a:lnTo>
                  <a:lnTo>
                    <a:pt x="4265" y="753"/>
                  </a:lnTo>
                  <a:lnTo>
                    <a:pt x="4270" y="730"/>
                  </a:lnTo>
                  <a:lnTo>
                    <a:pt x="4279" y="707"/>
                  </a:lnTo>
                  <a:lnTo>
                    <a:pt x="4288" y="686"/>
                  </a:lnTo>
                  <a:lnTo>
                    <a:pt x="4301" y="666"/>
                  </a:lnTo>
                  <a:lnTo>
                    <a:pt x="4314" y="647"/>
                  </a:lnTo>
                  <a:lnTo>
                    <a:pt x="4329" y="629"/>
                  </a:lnTo>
                  <a:lnTo>
                    <a:pt x="4346" y="612"/>
                  </a:lnTo>
                  <a:lnTo>
                    <a:pt x="4364" y="597"/>
                  </a:lnTo>
                  <a:lnTo>
                    <a:pt x="4383" y="584"/>
                  </a:lnTo>
                  <a:lnTo>
                    <a:pt x="4425" y="562"/>
                  </a:lnTo>
                  <a:lnTo>
                    <a:pt x="4448" y="555"/>
                  </a:lnTo>
                  <a:lnTo>
                    <a:pt x="4471" y="550"/>
                  </a:lnTo>
                  <a:lnTo>
                    <a:pt x="4496" y="546"/>
                  </a:lnTo>
                  <a:lnTo>
                    <a:pt x="4521" y="544"/>
                  </a:lnTo>
                  <a:lnTo>
                    <a:pt x="4548" y="546"/>
                  </a:lnTo>
                  <a:lnTo>
                    <a:pt x="4575" y="550"/>
                  </a:lnTo>
                  <a:lnTo>
                    <a:pt x="4625" y="565"/>
                  </a:lnTo>
                  <a:lnTo>
                    <a:pt x="4648" y="576"/>
                  </a:lnTo>
                  <a:lnTo>
                    <a:pt x="4670" y="590"/>
                  </a:lnTo>
                  <a:lnTo>
                    <a:pt x="4689" y="606"/>
                  </a:lnTo>
                  <a:lnTo>
                    <a:pt x="4709" y="622"/>
                  </a:lnTo>
                  <a:lnTo>
                    <a:pt x="4741" y="615"/>
                  </a:lnTo>
                  <a:lnTo>
                    <a:pt x="4775" y="612"/>
                  </a:lnTo>
                  <a:lnTo>
                    <a:pt x="4810" y="615"/>
                  </a:lnTo>
                  <a:lnTo>
                    <a:pt x="4827" y="619"/>
                  </a:lnTo>
                  <a:lnTo>
                    <a:pt x="4842" y="622"/>
                  </a:lnTo>
                  <a:lnTo>
                    <a:pt x="4873" y="635"/>
                  </a:lnTo>
                  <a:lnTo>
                    <a:pt x="4901" y="651"/>
                  </a:lnTo>
                  <a:lnTo>
                    <a:pt x="4927" y="671"/>
                  </a:lnTo>
                  <a:lnTo>
                    <a:pt x="4950" y="694"/>
                  </a:lnTo>
                  <a:lnTo>
                    <a:pt x="4969" y="720"/>
                  </a:lnTo>
                  <a:lnTo>
                    <a:pt x="4984" y="749"/>
                  </a:lnTo>
                  <a:lnTo>
                    <a:pt x="5005" y="738"/>
                  </a:lnTo>
                  <a:lnTo>
                    <a:pt x="5028" y="729"/>
                  </a:lnTo>
                  <a:lnTo>
                    <a:pt x="5052" y="722"/>
                  </a:lnTo>
                  <a:lnTo>
                    <a:pt x="5077" y="721"/>
                  </a:lnTo>
                  <a:lnTo>
                    <a:pt x="5112" y="725"/>
                  </a:lnTo>
                  <a:lnTo>
                    <a:pt x="5128" y="729"/>
                  </a:lnTo>
                  <a:lnTo>
                    <a:pt x="5145" y="734"/>
                  </a:lnTo>
                  <a:lnTo>
                    <a:pt x="5174" y="750"/>
                  </a:lnTo>
                  <a:lnTo>
                    <a:pt x="5200" y="771"/>
                  </a:lnTo>
                  <a:lnTo>
                    <a:pt x="5210" y="784"/>
                  </a:lnTo>
                  <a:lnTo>
                    <a:pt x="5220" y="796"/>
                  </a:lnTo>
                  <a:lnTo>
                    <a:pt x="5229" y="810"/>
                  </a:lnTo>
                  <a:lnTo>
                    <a:pt x="5237" y="826"/>
                  </a:lnTo>
                  <a:lnTo>
                    <a:pt x="5247" y="858"/>
                  </a:lnTo>
                  <a:lnTo>
                    <a:pt x="5250" y="892"/>
                  </a:lnTo>
                  <a:lnTo>
                    <a:pt x="5250" y="908"/>
                  </a:lnTo>
                  <a:lnTo>
                    <a:pt x="5248" y="923"/>
                  </a:lnTo>
                  <a:close/>
                  <a:moveTo>
                    <a:pt x="4239" y="2494"/>
                  </a:moveTo>
                  <a:lnTo>
                    <a:pt x="4239" y="2607"/>
                  </a:lnTo>
                  <a:lnTo>
                    <a:pt x="4238" y="2616"/>
                  </a:lnTo>
                  <a:lnTo>
                    <a:pt x="4233" y="2622"/>
                  </a:lnTo>
                  <a:lnTo>
                    <a:pt x="4226" y="2626"/>
                  </a:lnTo>
                  <a:lnTo>
                    <a:pt x="4219" y="2627"/>
                  </a:lnTo>
                  <a:lnTo>
                    <a:pt x="4212" y="2626"/>
                  </a:lnTo>
                  <a:lnTo>
                    <a:pt x="4206" y="2622"/>
                  </a:lnTo>
                  <a:lnTo>
                    <a:pt x="4201" y="2616"/>
                  </a:lnTo>
                  <a:lnTo>
                    <a:pt x="4199" y="2607"/>
                  </a:lnTo>
                  <a:lnTo>
                    <a:pt x="4199" y="2494"/>
                  </a:lnTo>
                  <a:lnTo>
                    <a:pt x="4201" y="2487"/>
                  </a:lnTo>
                  <a:lnTo>
                    <a:pt x="4206" y="2480"/>
                  </a:lnTo>
                  <a:lnTo>
                    <a:pt x="4212" y="2477"/>
                  </a:lnTo>
                  <a:lnTo>
                    <a:pt x="4219" y="2475"/>
                  </a:lnTo>
                  <a:lnTo>
                    <a:pt x="4226" y="2477"/>
                  </a:lnTo>
                  <a:lnTo>
                    <a:pt x="4233" y="2480"/>
                  </a:lnTo>
                  <a:lnTo>
                    <a:pt x="4238" y="2487"/>
                  </a:lnTo>
                  <a:lnTo>
                    <a:pt x="4239" y="2494"/>
                  </a:lnTo>
                  <a:close/>
                  <a:moveTo>
                    <a:pt x="4502" y="2494"/>
                  </a:moveTo>
                  <a:lnTo>
                    <a:pt x="4502" y="2607"/>
                  </a:lnTo>
                  <a:lnTo>
                    <a:pt x="4501" y="2616"/>
                  </a:lnTo>
                  <a:lnTo>
                    <a:pt x="4496" y="2622"/>
                  </a:lnTo>
                  <a:lnTo>
                    <a:pt x="4489" y="2626"/>
                  </a:lnTo>
                  <a:lnTo>
                    <a:pt x="4483" y="2627"/>
                  </a:lnTo>
                  <a:lnTo>
                    <a:pt x="4475" y="2626"/>
                  </a:lnTo>
                  <a:lnTo>
                    <a:pt x="4469" y="2622"/>
                  </a:lnTo>
                  <a:lnTo>
                    <a:pt x="4464" y="2616"/>
                  </a:lnTo>
                  <a:lnTo>
                    <a:pt x="4462" y="2607"/>
                  </a:lnTo>
                  <a:lnTo>
                    <a:pt x="4462" y="2494"/>
                  </a:lnTo>
                  <a:lnTo>
                    <a:pt x="4464" y="2487"/>
                  </a:lnTo>
                  <a:lnTo>
                    <a:pt x="4469" y="2480"/>
                  </a:lnTo>
                  <a:lnTo>
                    <a:pt x="4475" y="2477"/>
                  </a:lnTo>
                  <a:lnTo>
                    <a:pt x="4483" y="2475"/>
                  </a:lnTo>
                  <a:lnTo>
                    <a:pt x="4489" y="2477"/>
                  </a:lnTo>
                  <a:lnTo>
                    <a:pt x="4496" y="2480"/>
                  </a:lnTo>
                  <a:lnTo>
                    <a:pt x="4501" y="2487"/>
                  </a:lnTo>
                  <a:lnTo>
                    <a:pt x="4502" y="2494"/>
                  </a:lnTo>
                  <a:close/>
                  <a:moveTo>
                    <a:pt x="4765" y="2494"/>
                  </a:moveTo>
                  <a:lnTo>
                    <a:pt x="4765" y="2607"/>
                  </a:lnTo>
                  <a:lnTo>
                    <a:pt x="4764" y="2616"/>
                  </a:lnTo>
                  <a:lnTo>
                    <a:pt x="4759" y="2622"/>
                  </a:lnTo>
                  <a:lnTo>
                    <a:pt x="4752" y="2626"/>
                  </a:lnTo>
                  <a:lnTo>
                    <a:pt x="4746" y="2627"/>
                  </a:lnTo>
                  <a:lnTo>
                    <a:pt x="4738" y="2626"/>
                  </a:lnTo>
                  <a:lnTo>
                    <a:pt x="4732" y="2622"/>
                  </a:lnTo>
                  <a:lnTo>
                    <a:pt x="4728" y="2616"/>
                  </a:lnTo>
                  <a:lnTo>
                    <a:pt x="4725" y="2607"/>
                  </a:lnTo>
                  <a:lnTo>
                    <a:pt x="4725" y="2494"/>
                  </a:lnTo>
                  <a:lnTo>
                    <a:pt x="4728" y="2487"/>
                  </a:lnTo>
                  <a:lnTo>
                    <a:pt x="4732" y="2480"/>
                  </a:lnTo>
                  <a:lnTo>
                    <a:pt x="4738" y="2477"/>
                  </a:lnTo>
                  <a:lnTo>
                    <a:pt x="4746" y="2475"/>
                  </a:lnTo>
                  <a:lnTo>
                    <a:pt x="4752" y="2477"/>
                  </a:lnTo>
                  <a:lnTo>
                    <a:pt x="4759" y="2480"/>
                  </a:lnTo>
                  <a:lnTo>
                    <a:pt x="4764" y="2487"/>
                  </a:lnTo>
                  <a:lnTo>
                    <a:pt x="4765" y="2494"/>
                  </a:lnTo>
                  <a:close/>
                  <a:moveTo>
                    <a:pt x="5029" y="2494"/>
                  </a:moveTo>
                  <a:lnTo>
                    <a:pt x="5029" y="2607"/>
                  </a:lnTo>
                  <a:lnTo>
                    <a:pt x="5027" y="2616"/>
                  </a:lnTo>
                  <a:lnTo>
                    <a:pt x="5023" y="2622"/>
                  </a:lnTo>
                  <a:lnTo>
                    <a:pt x="5016" y="2626"/>
                  </a:lnTo>
                  <a:lnTo>
                    <a:pt x="5009" y="2627"/>
                  </a:lnTo>
                  <a:lnTo>
                    <a:pt x="5001" y="2626"/>
                  </a:lnTo>
                  <a:lnTo>
                    <a:pt x="4994" y="2622"/>
                  </a:lnTo>
                  <a:lnTo>
                    <a:pt x="4991" y="2616"/>
                  </a:lnTo>
                  <a:lnTo>
                    <a:pt x="4988" y="2607"/>
                  </a:lnTo>
                  <a:lnTo>
                    <a:pt x="4988" y="2494"/>
                  </a:lnTo>
                  <a:lnTo>
                    <a:pt x="4991" y="2487"/>
                  </a:lnTo>
                  <a:lnTo>
                    <a:pt x="4994" y="2480"/>
                  </a:lnTo>
                  <a:lnTo>
                    <a:pt x="5001" y="2477"/>
                  </a:lnTo>
                  <a:lnTo>
                    <a:pt x="5009" y="2475"/>
                  </a:lnTo>
                  <a:lnTo>
                    <a:pt x="5016" y="2477"/>
                  </a:lnTo>
                  <a:lnTo>
                    <a:pt x="5023" y="2480"/>
                  </a:lnTo>
                  <a:lnTo>
                    <a:pt x="5027" y="2487"/>
                  </a:lnTo>
                  <a:lnTo>
                    <a:pt x="5029" y="2494"/>
                  </a:lnTo>
                  <a:close/>
                  <a:moveTo>
                    <a:pt x="5292" y="2494"/>
                  </a:moveTo>
                  <a:lnTo>
                    <a:pt x="5292" y="2607"/>
                  </a:lnTo>
                  <a:lnTo>
                    <a:pt x="5289" y="2616"/>
                  </a:lnTo>
                  <a:lnTo>
                    <a:pt x="5286" y="2622"/>
                  </a:lnTo>
                  <a:lnTo>
                    <a:pt x="5279" y="2626"/>
                  </a:lnTo>
                  <a:lnTo>
                    <a:pt x="5271" y="2627"/>
                  </a:lnTo>
                  <a:lnTo>
                    <a:pt x="5264" y="2626"/>
                  </a:lnTo>
                  <a:lnTo>
                    <a:pt x="5257" y="2622"/>
                  </a:lnTo>
                  <a:lnTo>
                    <a:pt x="5253" y="2616"/>
                  </a:lnTo>
                  <a:lnTo>
                    <a:pt x="5252" y="2607"/>
                  </a:lnTo>
                  <a:lnTo>
                    <a:pt x="5252" y="2494"/>
                  </a:lnTo>
                  <a:lnTo>
                    <a:pt x="5253" y="2487"/>
                  </a:lnTo>
                  <a:lnTo>
                    <a:pt x="5257" y="2480"/>
                  </a:lnTo>
                  <a:lnTo>
                    <a:pt x="5264" y="2477"/>
                  </a:lnTo>
                  <a:lnTo>
                    <a:pt x="5271" y="2475"/>
                  </a:lnTo>
                  <a:lnTo>
                    <a:pt x="5279" y="2477"/>
                  </a:lnTo>
                  <a:lnTo>
                    <a:pt x="5286" y="2480"/>
                  </a:lnTo>
                  <a:lnTo>
                    <a:pt x="5289" y="2487"/>
                  </a:lnTo>
                  <a:lnTo>
                    <a:pt x="5292" y="2494"/>
                  </a:lnTo>
                  <a:close/>
                  <a:moveTo>
                    <a:pt x="5555" y="2494"/>
                  </a:moveTo>
                  <a:lnTo>
                    <a:pt x="5555" y="2607"/>
                  </a:lnTo>
                  <a:lnTo>
                    <a:pt x="5554" y="2616"/>
                  </a:lnTo>
                  <a:lnTo>
                    <a:pt x="5548" y="2622"/>
                  </a:lnTo>
                  <a:lnTo>
                    <a:pt x="5542" y="2626"/>
                  </a:lnTo>
                  <a:lnTo>
                    <a:pt x="5534" y="2627"/>
                  </a:lnTo>
                  <a:lnTo>
                    <a:pt x="5528" y="2626"/>
                  </a:lnTo>
                  <a:lnTo>
                    <a:pt x="5521" y="2622"/>
                  </a:lnTo>
                  <a:lnTo>
                    <a:pt x="5516" y="2616"/>
                  </a:lnTo>
                  <a:lnTo>
                    <a:pt x="5515" y="2607"/>
                  </a:lnTo>
                  <a:lnTo>
                    <a:pt x="5515" y="2494"/>
                  </a:lnTo>
                  <a:lnTo>
                    <a:pt x="5516" y="2487"/>
                  </a:lnTo>
                  <a:lnTo>
                    <a:pt x="5521" y="2480"/>
                  </a:lnTo>
                  <a:lnTo>
                    <a:pt x="5528" y="2477"/>
                  </a:lnTo>
                  <a:lnTo>
                    <a:pt x="5534" y="2475"/>
                  </a:lnTo>
                  <a:lnTo>
                    <a:pt x="5542" y="2477"/>
                  </a:lnTo>
                  <a:lnTo>
                    <a:pt x="5548" y="2480"/>
                  </a:lnTo>
                  <a:lnTo>
                    <a:pt x="5554" y="2487"/>
                  </a:lnTo>
                  <a:lnTo>
                    <a:pt x="5555" y="2494"/>
                  </a:lnTo>
                  <a:close/>
                  <a:moveTo>
                    <a:pt x="4239" y="2741"/>
                  </a:moveTo>
                  <a:lnTo>
                    <a:pt x="4239" y="2854"/>
                  </a:lnTo>
                  <a:lnTo>
                    <a:pt x="4238" y="2863"/>
                  </a:lnTo>
                  <a:lnTo>
                    <a:pt x="4233" y="2869"/>
                  </a:lnTo>
                  <a:lnTo>
                    <a:pt x="4226" y="2873"/>
                  </a:lnTo>
                  <a:lnTo>
                    <a:pt x="4219" y="2874"/>
                  </a:lnTo>
                  <a:lnTo>
                    <a:pt x="4212" y="2873"/>
                  </a:lnTo>
                  <a:lnTo>
                    <a:pt x="4206" y="2869"/>
                  </a:lnTo>
                  <a:lnTo>
                    <a:pt x="4201" y="2863"/>
                  </a:lnTo>
                  <a:lnTo>
                    <a:pt x="4199" y="2854"/>
                  </a:lnTo>
                  <a:lnTo>
                    <a:pt x="4199" y="2741"/>
                  </a:lnTo>
                  <a:lnTo>
                    <a:pt x="4201" y="2732"/>
                  </a:lnTo>
                  <a:lnTo>
                    <a:pt x="4206" y="2727"/>
                  </a:lnTo>
                  <a:lnTo>
                    <a:pt x="4212" y="2723"/>
                  </a:lnTo>
                  <a:lnTo>
                    <a:pt x="4219" y="2722"/>
                  </a:lnTo>
                  <a:lnTo>
                    <a:pt x="4226" y="2723"/>
                  </a:lnTo>
                  <a:lnTo>
                    <a:pt x="4233" y="2727"/>
                  </a:lnTo>
                  <a:lnTo>
                    <a:pt x="4238" y="2732"/>
                  </a:lnTo>
                  <a:lnTo>
                    <a:pt x="4239" y="2741"/>
                  </a:lnTo>
                  <a:close/>
                  <a:moveTo>
                    <a:pt x="4502" y="2741"/>
                  </a:moveTo>
                  <a:lnTo>
                    <a:pt x="4502" y="2854"/>
                  </a:lnTo>
                  <a:lnTo>
                    <a:pt x="4501" y="2863"/>
                  </a:lnTo>
                  <a:lnTo>
                    <a:pt x="4496" y="2869"/>
                  </a:lnTo>
                  <a:lnTo>
                    <a:pt x="4489" y="2873"/>
                  </a:lnTo>
                  <a:lnTo>
                    <a:pt x="4483" y="2874"/>
                  </a:lnTo>
                  <a:lnTo>
                    <a:pt x="4475" y="2873"/>
                  </a:lnTo>
                  <a:lnTo>
                    <a:pt x="4469" y="2869"/>
                  </a:lnTo>
                  <a:lnTo>
                    <a:pt x="4464" y="2863"/>
                  </a:lnTo>
                  <a:lnTo>
                    <a:pt x="4462" y="2854"/>
                  </a:lnTo>
                  <a:lnTo>
                    <a:pt x="4462" y="2741"/>
                  </a:lnTo>
                  <a:lnTo>
                    <a:pt x="4464" y="2732"/>
                  </a:lnTo>
                  <a:lnTo>
                    <a:pt x="4469" y="2727"/>
                  </a:lnTo>
                  <a:lnTo>
                    <a:pt x="4475" y="2723"/>
                  </a:lnTo>
                  <a:lnTo>
                    <a:pt x="4483" y="2722"/>
                  </a:lnTo>
                  <a:lnTo>
                    <a:pt x="4489" y="2723"/>
                  </a:lnTo>
                  <a:lnTo>
                    <a:pt x="4496" y="2727"/>
                  </a:lnTo>
                  <a:lnTo>
                    <a:pt x="4501" y="2732"/>
                  </a:lnTo>
                  <a:lnTo>
                    <a:pt x="4502" y="2741"/>
                  </a:lnTo>
                  <a:close/>
                  <a:moveTo>
                    <a:pt x="4765" y="2741"/>
                  </a:moveTo>
                  <a:lnTo>
                    <a:pt x="4765" y="2854"/>
                  </a:lnTo>
                  <a:lnTo>
                    <a:pt x="4764" y="2863"/>
                  </a:lnTo>
                  <a:lnTo>
                    <a:pt x="4759" y="2869"/>
                  </a:lnTo>
                  <a:lnTo>
                    <a:pt x="4752" y="2873"/>
                  </a:lnTo>
                  <a:lnTo>
                    <a:pt x="4746" y="2874"/>
                  </a:lnTo>
                  <a:lnTo>
                    <a:pt x="4738" y="2873"/>
                  </a:lnTo>
                  <a:lnTo>
                    <a:pt x="4732" y="2869"/>
                  </a:lnTo>
                  <a:lnTo>
                    <a:pt x="4728" y="2863"/>
                  </a:lnTo>
                  <a:lnTo>
                    <a:pt x="4725" y="2854"/>
                  </a:lnTo>
                  <a:lnTo>
                    <a:pt x="4725" y="2741"/>
                  </a:lnTo>
                  <a:lnTo>
                    <a:pt x="4728" y="2732"/>
                  </a:lnTo>
                  <a:lnTo>
                    <a:pt x="4732" y="2727"/>
                  </a:lnTo>
                  <a:lnTo>
                    <a:pt x="4738" y="2723"/>
                  </a:lnTo>
                  <a:lnTo>
                    <a:pt x="4746" y="2722"/>
                  </a:lnTo>
                  <a:lnTo>
                    <a:pt x="4752" y="2723"/>
                  </a:lnTo>
                  <a:lnTo>
                    <a:pt x="4759" y="2727"/>
                  </a:lnTo>
                  <a:lnTo>
                    <a:pt x="4764" y="2732"/>
                  </a:lnTo>
                  <a:lnTo>
                    <a:pt x="4765" y="2741"/>
                  </a:lnTo>
                  <a:close/>
                  <a:moveTo>
                    <a:pt x="5029" y="2741"/>
                  </a:moveTo>
                  <a:lnTo>
                    <a:pt x="5029" y="2854"/>
                  </a:lnTo>
                  <a:lnTo>
                    <a:pt x="5027" y="2863"/>
                  </a:lnTo>
                  <a:lnTo>
                    <a:pt x="5023" y="2869"/>
                  </a:lnTo>
                  <a:lnTo>
                    <a:pt x="5016" y="2873"/>
                  </a:lnTo>
                  <a:lnTo>
                    <a:pt x="5009" y="2874"/>
                  </a:lnTo>
                  <a:lnTo>
                    <a:pt x="5001" y="2873"/>
                  </a:lnTo>
                  <a:lnTo>
                    <a:pt x="4994" y="2869"/>
                  </a:lnTo>
                  <a:lnTo>
                    <a:pt x="4991" y="2863"/>
                  </a:lnTo>
                  <a:lnTo>
                    <a:pt x="4988" y="2854"/>
                  </a:lnTo>
                  <a:lnTo>
                    <a:pt x="4988" y="2741"/>
                  </a:lnTo>
                  <a:lnTo>
                    <a:pt x="4991" y="2732"/>
                  </a:lnTo>
                  <a:lnTo>
                    <a:pt x="4994" y="2727"/>
                  </a:lnTo>
                  <a:lnTo>
                    <a:pt x="5001" y="2723"/>
                  </a:lnTo>
                  <a:lnTo>
                    <a:pt x="5009" y="2722"/>
                  </a:lnTo>
                  <a:lnTo>
                    <a:pt x="5016" y="2723"/>
                  </a:lnTo>
                  <a:lnTo>
                    <a:pt x="5023" y="2727"/>
                  </a:lnTo>
                  <a:lnTo>
                    <a:pt x="5027" y="2732"/>
                  </a:lnTo>
                  <a:lnTo>
                    <a:pt x="5029" y="2741"/>
                  </a:lnTo>
                  <a:close/>
                  <a:moveTo>
                    <a:pt x="5292" y="2741"/>
                  </a:moveTo>
                  <a:lnTo>
                    <a:pt x="5292" y="2854"/>
                  </a:lnTo>
                  <a:lnTo>
                    <a:pt x="5289" y="2863"/>
                  </a:lnTo>
                  <a:lnTo>
                    <a:pt x="5286" y="2869"/>
                  </a:lnTo>
                  <a:lnTo>
                    <a:pt x="5279" y="2873"/>
                  </a:lnTo>
                  <a:lnTo>
                    <a:pt x="5271" y="2874"/>
                  </a:lnTo>
                  <a:lnTo>
                    <a:pt x="5264" y="2873"/>
                  </a:lnTo>
                  <a:lnTo>
                    <a:pt x="5257" y="2869"/>
                  </a:lnTo>
                  <a:lnTo>
                    <a:pt x="5253" y="2863"/>
                  </a:lnTo>
                  <a:lnTo>
                    <a:pt x="5252" y="2854"/>
                  </a:lnTo>
                  <a:lnTo>
                    <a:pt x="5252" y="2741"/>
                  </a:lnTo>
                  <a:lnTo>
                    <a:pt x="5253" y="2732"/>
                  </a:lnTo>
                  <a:lnTo>
                    <a:pt x="5257" y="2727"/>
                  </a:lnTo>
                  <a:lnTo>
                    <a:pt x="5264" y="2723"/>
                  </a:lnTo>
                  <a:lnTo>
                    <a:pt x="5271" y="2722"/>
                  </a:lnTo>
                  <a:lnTo>
                    <a:pt x="5279" y="2723"/>
                  </a:lnTo>
                  <a:lnTo>
                    <a:pt x="5286" y="2727"/>
                  </a:lnTo>
                  <a:lnTo>
                    <a:pt x="5289" y="2732"/>
                  </a:lnTo>
                  <a:lnTo>
                    <a:pt x="5292" y="2741"/>
                  </a:lnTo>
                  <a:close/>
                  <a:moveTo>
                    <a:pt x="5555" y="2741"/>
                  </a:moveTo>
                  <a:lnTo>
                    <a:pt x="5555" y="2854"/>
                  </a:lnTo>
                  <a:lnTo>
                    <a:pt x="5554" y="2863"/>
                  </a:lnTo>
                  <a:lnTo>
                    <a:pt x="5548" y="2869"/>
                  </a:lnTo>
                  <a:lnTo>
                    <a:pt x="5542" y="2873"/>
                  </a:lnTo>
                  <a:lnTo>
                    <a:pt x="5534" y="2874"/>
                  </a:lnTo>
                  <a:lnTo>
                    <a:pt x="5528" y="2873"/>
                  </a:lnTo>
                  <a:lnTo>
                    <a:pt x="5521" y="2869"/>
                  </a:lnTo>
                  <a:lnTo>
                    <a:pt x="5516" y="2863"/>
                  </a:lnTo>
                  <a:lnTo>
                    <a:pt x="5515" y="2854"/>
                  </a:lnTo>
                  <a:lnTo>
                    <a:pt x="5515" y="2741"/>
                  </a:lnTo>
                  <a:lnTo>
                    <a:pt x="5516" y="2732"/>
                  </a:lnTo>
                  <a:lnTo>
                    <a:pt x="5521" y="2727"/>
                  </a:lnTo>
                  <a:lnTo>
                    <a:pt x="5528" y="2723"/>
                  </a:lnTo>
                  <a:lnTo>
                    <a:pt x="5534" y="2722"/>
                  </a:lnTo>
                  <a:lnTo>
                    <a:pt x="5542" y="2723"/>
                  </a:lnTo>
                  <a:lnTo>
                    <a:pt x="5548" y="2727"/>
                  </a:lnTo>
                  <a:lnTo>
                    <a:pt x="5554" y="2732"/>
                  </a:lnTo>
                  <a:lnTo>
                    <a:pt x="5555" y="2741"/>
                  </a:lnTo>
                  <a:close/>
                  <a:moveTo>
                    <a:pt x="4239" y="2988"/>
                  </a:moveTo>
                  <a:lnTo>
                    <a:pt x="4239" y="3101"/>
                  </a:lnTo>
                  <a:lnTo>
                    <a:pt x="4238" y="3109"/>
                  </a:lnTo>
                  <a:lnTo>
                    <a:pt x="4233" y="3115"/>
                  </a:lnTo>
                  <a:lnTo>
                    <a:pt x="4226" y="3118"/>
                  </a:lnTo>
                  <a:lnTo>
                    <a:pt x="4219" y="3120"/>
                  </a:lnTo>
                  <a:lnTo>
                    <a:pt x="4212" y="3118"/>
                  </a:lnTo>
                  <a:lnTo>
                    <a:pt x="4206" y="3115"/>
                  </a:lnTo>
                  <a:lnTo>
                    <a:pt x="4201" y="3109"/>
                  </a:lnTo>
                  <a:lnTo>
                    <a:pt x="4199" y="3101"/>
                  </a:lnTo>
                  <a:lnTo>
                    <a:pt x="4199" y="2988"/>
                  </a:lnTo>
                  <a:lnTo>
                    <a:pt x="4201" y="2979"/>
                  </a:lnTo>
                  <a:lnTo>
                    <a:pt x="4206" y="2973"/>
                  </a:lnTo>
                  <a:lnTo>
                    <a:pt x="4212" y="2970"/>
                  </a:lnTo>
                  <a:lnTo>
                    <a:pt x="4219" y="2969"/>
                  </a:lnTo>
                  <a:lnTo>
                    <a:pt x="4226" y="2970"/>
                  </a:lnTo>
                  <a:lnTo>
                    <a:pt x="4233" y="2973"/>
                  </a:lnTo>
                  <a:lnTo>
                    <a:pt x="4238" y="2979"/>
                  </a:lnTo>
                  <a:lnTo>
                    <a:pt x="4239" y="2988"/>
                  </a:lnTo>
                  <a:close/>
                  <a:moveTo>
                    <a:pt x="4502" y="2988"/>
                  </a:moveTo>
                  <a:lnTo>
                    <a:pt x="4502" y="3101"/>
                  </a:lnTo>
                  <a:lnTo>
                    <a:pt x="4501" y="3109"/>
                  </a:lnTo>
                  <a:lnTo>
                    <a:pt x="4496" y="3115"/>
                  </a:lnTo>
                  <a:lnTo>
                    <a:pt x="4489" y="3118"/>
                  </a:lnTo>
                  <a:lnTo>
                    <a:pt x="4483" y="3120"/>
                  </a:lnTo>
                  <a:lnTo>
                    <a:pt x="4475" y="3118"/>
                  </a:lnTo>
                  <a:lnTo>
                    <a:pt x="4469" y="3115"/>
                  </a:lnTo>
                  <a:lnTo>
                    <a:pt x="4464" y="3109"/>
                  </a:lnTo>
                  <a:lnTo>
                    <a:pt x="4462" y="3101"/>
                  </a:lnTo>
                  <a:lnTo>
                    <a:pt x="4462" y="2988"/>
                  </a:lnTo>
                  <a:lnTo>
                    <a:pt x="4464" y="2979"/>
                  </a:lnTo>
                  <a:lnTo>
                    <a:pt x="4469" y="2973"/>
                  </a:lnTo>
                  <a:lnTo>
                    <a:pt x="4475" y="2970"/>
                  </a:lnTo>
                  <a:lnTo>
                    <a:pt x="4483" y="2969"/>
                  </a:lnTo>
                  <a:lnTo>
                    <a:pt x="4489" y="2970"/>
                  </a:lnTo>
                  <a:lnTo>
                    <a:pt x="4496" y="2973"/>
                  </a:lnTo>
                  <a:lnTo>
                    <a:pt x="4501" y="2979"/>
                  </a:lnTo>
                  <a:lnTo>
                    <a:pt x="4502" y="2988"/>
                  </a:lnTo>
                  <a:close/>
                  <a:moveTo>
                    <a:pt x="4765" y="2988"/>
                  </a:moveTo>
                  <a:lnTo>
                    <a:pt x="4765" y="3101"/>
                  </a:lnTo>
                  <a:lnTo>
                    <a:pt x="4764" y="3109"/>
                  </a:lnTo>
                  <a:lnTo>
                    <a:pt x="4759" y="3115"/>
                  </a:lnTo>
                  <a:lnTo>
                    <a:pt x="4752" y="3118"/>
                  </a:lnTo>
                  <a:lnTo>
                    <a:pt x="4746" y="3120"/>
                  </a:lnTo>
                  <a:lnTo>
                    <a:pt x="4738" y="3118"/>
                  </a:lnTo>
                  <a:lnTo>
                    <a:pt x="4732" y="3115"/>
                  </a:lnTo>
                  <a:lnTo>
                    <a:pt x="4728" y="3109"/>
                  </a:lnTo>
                  <a:lnTo>
                    <a:pt x="4725" y="3101"/>
                  </a:lnTo>
                  <a:lnTo>
                    <a:pt x="4725" y="2988"/>
                  </a:lnTo>
                  <a:lnTo>
                    <a:pt x="4728" y="2979"/>
                  </a:lnTo>
                  <a:lnTo>
                    <a:pt x="4732" y="2973"/>
                  </a:lnTo>
                  <a:lnTo>
                    <a:pt x="4738" y="2970"/>
                  </a:lnTo>
                  <a:lnTo>
                    <a:pt x="4746" y="2969"/>
                  </a:lnTo>
                  <a:lnTo>
                    <a:pt x="4752" y="2970"/>
                  </a:lnTo>
                  <a:lnTo>
                    <a:pt x="4759" y="2973"/>
                  </a:lnTo>
                  <a:lnTo>
                    <a:pt x="4764" y="2979"/>
                  </a:lnTo>
                  <a:lnTo>
                    <a:pt x="4765" y="2988"/>
                  </a:lnTo>
                  <a:close/>
                  <a:moveTo>
                    <a:pt x="5029" y="2988"/>
                  </a:moveTo>
                  <a:lnTo>
                    <a:pt x="5029" y="3101"/>
                  </a:lnTo>
                  <a:lnTo>
                    <a:pt x="5027" y="3109"/>
                  </a:lnTo>
                  <a:lnTo>
                    <a:pt x="5023" y="3115"/>
                  </a:lnTo>
                  <a:lnTo>
                    <a:pt x="5016" y="3118"/>
                  </a:lnTo>
                  <a:lnTo>
                    <a:pt x="5009" y="3120"/>
                  </a:lnTo>
                  <a:lnTo>
                    <a:pt x="5001" y="3118"/>
                  </a:lnTo>
                  <a:lnTo>
                    <a:pt x="4994" y="3115"/>
                  </a:lnTo>
                  <a:lnTo>
                    <a:pt x="4991" y="3109"/>
                  </a:lnTo>
                  <a:lnTo>
                    <a:pt x="4988" y="3101"/>
                  </a:lnTo>
                  <a:lnTo>
                    <a:pt x="4988" y="2988"/>
                  </a:lnTo>
                  <a:lnTo>
                    <a:pt x="4991" y="2979"/>
                  </a:lnTo>
                  <a:lnTo>
                    <a:pt x="4994" y="2973"/>
                  </a:lnTo>
                  <a:lnTo>
                    <a:pt x="5001" y="2970"/>
                  </a:lnTo>
                  <a:lnTo>
                    <a:pt x="5009" y="2969"/>
                  </a:lnTo>
                  <a:lnTo>
                    <a:pt x="5016" y="2970"/>
                  </a:lnTo>
                  <a:lnTo>
                    <a:pt x="5023" y="2973"/>
                  </a:lnTo>
                  <a:lnTo>
                    <a:pt x="5027" y="2979"/>
                  </a:lnTo>
                  <a:lnTo>
                    <a:pt x="5029" y="2988"/>
                  </a:lnTo>
                  <a:close/>
                  <a:moveTo>
                    <a:pt x="5292" y="2988"/>
                  </a:moveTo>
                  <a:lnTo>
                    <a:pt x="5292" y="3101"/>
                  </a:lnTo>
                  <a:lnTo>
                    <a:pt x="5289" y="3109"/>
                  </a:lnTo>
                  <a:lnTo>
                    <a:pt x="5286" y="3115"/>
                  </a:lnTo>
                  <a:lnTo>
                    <a:pt x="5279" y="3118"/>
                  </a:lnTo>
                  <a:lnTo>
                    <a:pt x="5271" y="3120"/>
                  </a:lnTo>
                  <a:lnTo>
                    <a:pt x="5264" y="3118"/>
                  </a:lnTo>
                  <a:lnTo>
                    <a:pt x="5257" y="3115"/>
                  </a:lnTo>
                  <a:lnTo>
                    <a:pt x="5253" y="3109"/>
                  </a:lnTo>
                  <a:lnTo>
                    <a:pt x="5252" y="3101"/>
                  </a:lnTo>
                  <a:lnTo>
                    <a:pt x="5252" y="2988"/>
                  </a:lnTo>
                  <a:lnTo>
                    <a:pt x="5253" y="2979"/>
                  </a:lnTo>
                  <a:lnTo>
                    <a:pt x="5257" y="2973"/>
                  </a:lnTo>
                  <a:lnTo>
                    <a:pt x="5264" y="2970"/>
                  </a:lnTo>
                  <a:lnTo>
                    <a:pt x="5271" y="2969"/>
                  </a:lnTo>
                  <a:lnTo>
                    <a:pt x="5279" y="2970"/>
                  </a:lnTo>
                  <a:lnTo>
                    <a:pt x="5286" y="2973"/>
                  </a:lnTo>
                  <a:lnTo>
                    <a:pt x="5289" y="2979"/>
                  </a:lnTo>
                  <a:lnTo>
                    <a:pt x="5292" y="2988"/>
                  </a:lnTo>
                  <a:close/>
                  <a:moveTo>
                    <a:pt x="5555" y="2988"/>
                  </a:moveTo>
                  <a:lnTo>
                    <a:pt x="5555" y="3101"/>
                  </a:lnTo>
                  <a:lnTo>
                    <a:pt x="5554" y="3109"/>
                  </a:lnTo>
                  <a:lnTo>
                    <a:pt x="5548" y="3115"/>
                  </a:lnTo>
                  <a:lnTo>
                    <a:pt x="5542" y="3118"/>
                  </a:lnTo>
                  <a:lnTo>
                    <a:pt x="5534" y="3120"/>
                  </a:lnTo>
                  <a:lnTo>
                    <a:pt x="5528" y="3118"/>
                  </a:lnTo>
                  <a:lnTo>
                    <a:pt x="5521" y="3115"/>
                  </a:lnTo>
                  <a:lnTo>
                    <a:pt x="5516" y="3109"/>
                  </a:lnTo>
                  <a:lnTo>
                    <a:pt x="5515" y="3101"/>
                  </a:lnTo>
                  <a:lnTo>
                    <a:pt x="5515" y="2988"/>
                  </a:lnTo>
                  <a:lnTo>
                    <a:pt x="5516" y="2979"/>
                  </a:lnTo>
                  <a:lnTo>
                    <a:pt x="5521" y="2973"/>
                  </a:lnTo>
                  <a:lnTo>
                    <a:pt x="5528" y="2970"/>
                  </a:lnTo>
                  <a:lnTo>
                    <a:pt x="5534" y="2969"/>
                  </a:lnTo>
                  <a:lnTo>
                    <a:pt x="5542" y="2970"/>
                  </a:lnTo>
                  <a:lnTo>
                    <a:pt x="5548" y="2973"/>
                  </a:lnTo>
                  <a:lnTo>
                    <a:pt x="5554" y="2979"/>
                  </a:lnTo>
                  <a:lnTo>
                    <a:pt x="5555" y="2988"/>
                  </a:lnTo>
                  <a:close/>
                  <a:moveTo>
                    <a:pt x="4239" y="3235"/>
                  </a:moveTo>
                  <a:lnTo>
                    <a:pt x="4239" y="3347"/>
                  </a:lnTo>
                  <a:lnTo>
                    <a:pt x="4238" y="3355"/>
                  </a:lnTo>
                  <a:lnTo>
                    <a:pt x="4233" y="3361"/>
                  </a:lnTo>
                  <a:lnTo>
                    <a:pt x="4226" y="3365"/>
                  </a:lnTo>
                  <a:lnTo>
                    <a:pt x="4219" y="3367"/>
                  </a:lnTo>
                  <a:lnTo>
                    <a:pt x="4212" y="3365"/>
                  </a:lnTo>
                  <a:lnTo>
                    <a:pt x="4206" y="3361"/>
                  </a:lnTo>
                  <a:lnTo>
                    <a:pt x="4201" y="3355"/>
                  </a:lnTo>
                  <a:lnTo>
                    <a:pt x="4199" y="3347"/>
                  </a:lnTo>
                  <a:lnTo>
                    <a:pt x="4199" y="3235"/>
                  </a:lnTo>
                  <a:lnTo>
                    <a:pt x="4201" y="3226"/>
                  </a:lnTo>
                  <a:lnTo>
                    <a:pt x="4206" y="3219"/>
                  </a:lnTo>
                  <a:lnTo>
                    <a:pt x="4212" y="3216"/>
                  </a:lnTo>
                  <a:lnTo>
                    <a:pt x="4219" y="3214"/>
                  </a:lnTo>
                  <a:lnTo>
                    <a:pt x="4226" y="3216"/>
                  </a:lnTo>
                  <a:lnTo>
                    <a:pt x="4233" y="3219"/>
                  </a:lnTo>
                  <a:lnTo>
                    <a:pt x="4238" y="3226"/>
                  </a:lnTo>
                  <a:lnTo>
                    <a:pt x="4239" y="3235"/>
                  </a:lnTo>
                  <a:close/>
                  <a:moveTo>
                    <a:pt x="4502" y="3235"/>
                  </a:moveTo>
                  <a:lnTo>
                    <a:pt x="4502" y="3347"/>
                  </a:lnTo>
                  <a:lnTo>
                    <a:pt x="4501" y="3355"/>
                  </a:lnTo>
                  <a:lnTo>
                    <a:pt x="4496" y="3361"/>
                  </a:lnTo>
                  <a:lnTo>
                    <a:pt x="4489" y="3365"/>
                  </a:lnTo>
                  <a:lnTo>
                    <a:pt x="4483" y="3367"/>
                  </a:lnTo>
                  <a:lnTo>
                    <a:pt x="4475" y="3365"/>
                  </a:lnTo>
                  <a:lnTo>
                    <a:pt x="4469" y="3361"/>
                  </a:lnTo>
                  <a:lnTo>
                    <a:pt x="4464" y="3355"/>
                  </a:lnTo>
                  <a:lnTo>
                    <a:pt x="4462" y="3347"/>
                  </a:lnTo>
                  <a:lnTo>
                    <a:pt x="4462" y="3235"/>
                  </a:lnTo>
                  <a:lnTo>
                    <a:pt x="4464" y="3226"/>
                  </a:lnTo>
                  <a:lnTo>
                    <a:pt x="4469" y="3219"/>
                  </a:lnTo>
                  <a:lnTo>
                    <a:pt x="4475" y="3216"/>
                  </a:lnTo>
                  <a:lnTo>
                    <a:pt x="4483" y="3214"/>
                  </a:lnTo>
                  <a:lnTo>
                    <a:pt x="4489" y="3216"/>
                  </a:lnTo>
                  <a:lnTo>
                    <a:pt x="4496" y="3219"/>
                  </a:lnTo>
                  <a:lnTo>
                    <a:pt x="4501" y="3226"/>
                  </a:lnTo>
                  <a:lnTo>
                    <a:pt x="4502" y="3235"/>
                  </a:lnTo>
                  <a:close/>
                  <a:moveTo>
                    <a:pt x="4765" y="3235"/>
                  </a:moveTo>
                  <a:lnTo>
                    <a:pt x="4765" y="3347"/>
                  </a:lnTo>
                  <a:lnTo>
                    <a:pt x="4764" y="3355"/>
                  </a:lnTo>
                  <a:lnTo>
                    <a:pt x="4759" y="3361"/>
                  </a:lnTo>
                  <a:lnTo>
                    <a:pt x="4752" y="3365"/>
                  </a:lnTo>
                  <a:lnTo>
                    <a:pt x="4746" y="3367"/>
                  </a:lnTo>
                  <a:lnTo>
                    <a:pt x="4738" y="3365"/>
                  </a:lnTo>
                  <a:lnTo>
                    <a:pt x="4732" y="3361"/>
                  </a:lnTo>
                  <a:lnTo>
                    <a:pt x="4728" y="3355"/>
                  </a:lnTo>
                  <a:lnTo>
                    <a:pt x="4725" y="3347"/>
                  </a:lnTo>
                  <a:lnTo>
                    <a:pt x="4725" y="3235"/>
                  </a:lnTo>
                  <a:lnTo>
                    <a:pt x="4728" y="3226"/>
                  </a:lnTo>
                  <a:lnTo>
                    <a:pt x="4732" y="3219"/>
                  </a:lnTo>
                  <a:lnTo>
                    <a:pt x="4738" y="3216"/>
                  </a:lnTo>
                  <a:lnTo>
                    <a:pt x="4746" y="3214"/>
                  </a:lnTo>
                  <a:lnTo>
                    <a:pt x="4752" y="3216"/>
                  </a:lnTo>
                  <a:lnTo>
                    <a:pt x="4759" y="3219"/>
                  </a:lnTo>
                  <a:lnTo>
                    <a:pt x="4764" y="3226"/>
                  </a:lnTo>
                  <a:lnTo>
                    <a:pt x="4765" y="3235"/>
                  </a:lnTo>
                  <a:close/>
                  <a:moveTo>
                    <a:pt x="5029" y="3235"/>
                  </a:moveTo>
                  <a:lnTo>
                    <a:pt x="5029" y="3347"/>
                  </a:lnTo>
                  <a:lnTo>
                    <a:pt x="5027" y="3355"/>
                  </a:lnTo>
                  <a:lnTo>
                    <a:pt x="5023" y="3361"/>
                  </a:lnTo>
                  <a:lnTo>
                    <a:pt x="5016" y="3365"/>
                  </a:lnTo>
                  <a:lnTo>
                    <a:pt x="5009" y="3367"/>
                  </a:lnTo>
                  <a:lnTo>
                    <a:pt x="5001" y="3365"/>
                  </a:lnTo>
                  <a:lnTo>
                    <a:pt x="4994" y="3361"/>
                  </a:lnTo>
                  <a:lnTo>
                    <a:pt x="4991" y="3355"/>
                  </a:lnTo>
                  <a:lnTo>
                    <a:pt x="4988" y="3347"/>
                  </a:lnTo>
                  <a:lnTo>
                    <a:pt x="4988" y="3235"/>
                  </a:lnTo>
                  <a:lnTo>
                    <a:pt x="4991" y="3226"/>
                  </a:lnTo>
                  <a:lnTo>
                    <a:pt x="4994" y="3219"/>
                  </a:lnTo>
                  <a:lnTo>
                    <a:pt x="5001" y="3216"/>
                  </a:lnTo>
                  <a:lnTo>
                    <a:pt x="5009" y="3214"/>
                  </a:lnTo>
                  <a:lnTo>
                    <a:pt x="5016" y="3216"/>
                  </a:lnTo>
                  <a:lnTo>
                    <a:pt x="5023" y="3219"/>
                  </a:lnTo>
                  <a:lnTo>
                    <a:pt x="5027" y="3226"/>
                  </a:lnTo>
                  <a:lnTo>
                    <a:pt x="5029" y="3235"/>
                  </a:lnTo>
                  <a:close/>
                  <a:moveTo>
                    <a:pt x="5292" y="3235"/>
                  </a:moveTo>
                  <a:lnTo>
                    <a:pt x="5292" y="3347"/>
                  </a:lnTo>
                  <a:lnTo>
                    <a:pt x="5289" y="3355"/>
                  </a:lnTo>
                  <a:lnTo>
                    <a:pt x="5286" y="3361"/>
                  </a:lnTo>
                  <a:lnTo>
                    <a:pt x="5279" y="3365"/>
                  </a:lnTo>
                  <a:lnTo>
                    <a:pt x="5271" y="3367"/>
                  </a:lnTo>
                  <a:lnTo>
                    <a:pt x="5264" y="3365"/>
                  </a:lnTo>
                  <a:lnTo>
                    <a:pt x="5257" y="3361"/>
                  </a:lnTo>
                  <a:lnTo>
                    <a:pt x="5253" y="3355"/>
                  </a:lnTo>
                  <a:lnTo>
                    <a:pt x="5252" y="3347"/>
                  </a:lnTo>
                  <a:lnTo>
                    <a:pt x="5252" y="3235"/>
                  </a:lnTo>
                  <a:lnTo>
                    <a:pt x="5253" y="3226"/>
                  </a:lnTo>
                  <a:lnTo>
                    <a:pt x="5257" y="3219"/>
                  </a:lnTo>
                  <a:lnTo>
                    <a:pt x="5264" y="3216"/>
                  </a:lnTo>
                  <a:lnTo>
                    <a:pt x="5271" y="3214"/>
                  </a:lnTo>
                  <a:lnTo>
                    <a:pt x="5279" y="3216"/>
                  </a:lnTo>
                  <a:lnTo>
                    <a:pt x="5286" y="3219"/>
                  </a:lnTo>
                  <a:lnTo>
                    <a:pt x="5289" y="3226"/>
                  </a:lnTo>
                  <a:lnTo>
                    <a:pt x="5292" y="3235"/>
                  </a:lnTo>
                  <a:close/>
                  <a:moveTo>
                    <a:pt x="5555" y="3235"/>
                  </a:moveTo>
                  <a:lnTo>
                    <a:pt x="5555" y="3347"/>
                  </a:lnTo>
                  <a:lnTo>
                    <a:pt x="5554" y="3355"/>
                  </a:lnTo>
                  <a:lnTo>
                    <a:pt x="5548" y="3361"/>
                  </a:lnTo>
                  <a:lnTo>
                    <a:pt x="5542" y="3365"/>
                  </a:lnTo>
                  <a:lnTo>
                    <a:pt x="5534" y="3367"/>
                  </a:lnTo>
                  <a:lnTo>
                    <a:pt x="5528" y="3365"/>
                  </a:lnTo>
                  <a:lnTo>
                    <a:pt x="5521" y="3361"/>
                  </a:lnTo>
                  <a:lnTo>
                    <a:pt x="5516" y="3355"/>
                  </a:lnTo>
                  <a:lnTo>
                    <a:pt x="5515" y="3347"/>
                  </a:lnTo>
                  <a:lnTo>
                    <a:pt x="5515" y="3235"/>
                  </a:lnTo>
                  <a:lnTo>
                    <a:pt x="5516" y="3226"/>
                  </a:lnTo>
                  <a:lnTo>
                    <a:pt x="5521" y="3219"/>
                  </a:lnTo>
                  <a:lnTo>
                    <a:pt x="5528" y="3216"/>
                  </a:lnTo>
                  <a:lnTo>
                    <a:pt x="5534" y="3214"/>
                  </a:lnTo>
                  <a:lnTo>
                    <a:pt x="5542" y="3216"/>
                  </a:lnTo>
                  <a:lnTo>
                    <a:pt x="5548" y="3219"/>
                  </a:lnTo>
                  <a:lnTo>
                    <a:pt x="5554" y="3226"/>
                  </a:lnTo>
                  <a:lnTo>
                    <a:pt x="5555" y="3235"/>
                  </a:lnTo>
                  <a:close/>
                  <a:moveTo>
                    <a:pt x="3624" y="4034"/>
                  </a:moveTo>
                  <a:lnTo>
                    <a:pt x="3624" y="3864"/>
                  </a:lnTo>
                  <a:lnTo>
                    <a:pt x="3625" y="3856"/>
                  </a:lnTo>
                  <a:lnTo>
                    <a:pt x="3629" y="3851"/>
                  </a:lnTo>
                  <a:lnTo>
                    <a:pt x="3634" y="3847"/>
                  </a:lnTo>
                  <a:lnTo>
                    <a:pt x="3639" y="3845"/>
                  </a:lnTo>
                  <a:lnTo>
                    <a:pt x="3646" y="3845"/>
                  </a:lnTo>
                  <a:lnTo>
                    <a:pt x="3652" y="3846"/>
                  </a:lnTo>
                  <a:lnTo>
                    <a:pt x="3657" y="3849"/>
                  </a:lnTo>
                  <a:lnTo>
                    <a:pt x="3662" y="3854"/>
                  </a:lnTo>
                  <a:lnTo>
                    <a:pt x="3666" y="3860"/>
                  </a:lnTo>
                  <a:lnTo>
                    <a:pt x="3667" y="3869"/>
                  </a:lnTo>
                  <a:lnTo>
                    <a:pt x="3667" y="4034"/>
                  </a:lnTo>
                  <a:lnTo>
                    <a:pt x="3710" y="4029"/>
                  </a:lnTo>
                  <a:lnTo>
                    <a:pt x="3751" y="4021"/>
                  </a:lnTo>
                  <a:lnTo>
                    <a:pt x="3789" y="4010"/>
                  </a:lnTo>
                  <a:lnTo>
                    <a:pt x="3828" y="3994"/>
                  </a:lnTo>
                  <a:lnTo>
                    <a:pt x="3846" y="3985"/>
                  </a:lnTo>
                  <a:lnTo>
                    <a:pt x="3864" y="3975"/>
                  </a:lnTo>
                  <a:lnTo>
                    <a:pt x="3897" y="3953"/>
                  </a:lnTo>
                  <a:lnTo>
                    <a:pt x="3928" y="3928"/>
                  </a:lnTo>
                  <a:lnTo>
                    <a:pt x="3957" y="3901"/>
                  </a:lnTo>
                  <a:lnTo>
                    <a:pt x="3970" y="3886"/>
                  </a:lnTo>
                  <a:lnTo>
                    <a:pt x="3983" y="3870"/>
                  </a:lnTo>
                  <a:lnTo>
                    <a:pt x="4006" y="3838"/>
                  </a:lnTo>
                  <a:lnTo>
                    <a:pt x="4026" y="3804"/>
                  </a:lnTo>
                  <a:lnTo>
                    <a:pt x="4043" y="3767"/>
                  </a:lnTo>
                  <a:lnTo>
                    <a:pt x="4057" y="3728"/>
                  </a:lnTo>
                  <a:lnTo>
                    <a:pt x="4067" y="3689"/>
                  </a:lnTo>
                  <a:lnTo>
                    <a:pt x="4074" y="3648"/>
                  </a:lnTo>
                  <a:lnTo>
                    <a:pt x="4075" y="3604"/>
                  </a:lnTo>
                  <a:lnTo>
                    <a:pt x="4074" y="3569"/>
                  </a:lnTo>
                  <a:lnTo>
                    <a:pt x="4069" y="3533"/>
                  </a:lnTo>
                  <a:lnTo>
                    <a:pt x="4062" y="3498"/>
                  </a:lnTo>
                  <a:lnTo>
                    <a:pt x="4052" y="3464"/>
                  </a:lnTo>
                  <a:lnTo>
                    <a:pt x="4039" y="3432"/>
                  </a:lnTo>
                  <a:lnTo>
                    <a:pt x="4024" y="3401"/>
                  </a:lnTo>
                  <a:lnTo>
                    <a:pt x="4006" y="3372"/>
                  </a:lnTo>
                  <a:lnTo>
                    <a:pt x="3987" y="3343"/>
                  </a:lnTo>
                  <a:lnTo>
                    <a:pt x="3955" y="3308"/>
                  </a:lnTo>
                  <a:lnTo>
                    <a:pt x="3919" y="3276"/>
                  </a:lnTo>
                  <a:lnTo>
                    <a:pt x="3880" y="3248"/>
                  </a:lnTo>
                  <a:lnTo>
                    <a:pt x="3860" y="3236"/>
                  </a:lnTo>
                  <a:lnTo>
                    <a:pt x="3839" y="3225"/>
                  </a:lnTo>
                  <a:lnTo>
                    <a:pt x="3817" y="3214"/>
                  </a:lnTo>
                  <a:lnTo>
                    <a:pt x="3794" y="3205"/>
                  </a:lnTo>
                  <a:lnTo>
                    <a:pt x="3748" y="3191"/>
                  </a:lnTo>
                  <a:lnTo>
                    <a:pt x="3699" y="3184"/>
                  </a:lnTo>
                  <a:lnTo>
                    <a:pt x="3674" y="3181"/>
                  </a:lnTo>
                  <a:lnTo>
                    <a:pt x="3648" y="3180"/>
                  </a:lnTo>
                  <a:lnTo>
                    <a:pt x="3604" y="3182"/>
                  </a:lnTo>
                  <a:lnTo>
                    <a:pt x="3562" y="3189"/>
                  </a:lnTo>
                  <a:lnTo>
                    <a:pt x="3521" y="3200"/>
                  </a:lnTo>
                  <a:lnTo>
                    <a:pt x="3481" y="3214"/>
                  </a:lnTo>
                  <a:lnTo>
                    <a:pt x="3443" y="3232"/>
                  </a:lnTo>
                  <a:lnTo>
                    <a:pt x="3408" y="3254"/>
                  </a:lnTo>
                  <a:lnTo>
                    <a:pt x="3375" y="3278"/>
                  </a:lnTo>
                  <a:lnTo>
                    <a:pt x="3344" y="3306"/>
                  </a:lnTo>
                  <a:lnTo>
                    <a:pt x="3316" y="3337"/>
                  </a:lnTo>
                  <a:lnTo>
                    <a:pt x="3292" y="3369"/>
                  </a:lnTo>
                  <a:lnTo>
                    <a:pt x="3270" y="3405"/>
                  </a:lnTo>
                  <a:lnTo>
                    <a:pt x="3252" y="3443"/>
                  </a:lnTo>
                  <a:lnTo>
                    <a:pt x="3238" y="3482"/>
                  </a:lnTo>
                  <a:lnTo>
                    <a:pt x="3226" y="3524"/>
                  </a:lnTo>
                  <a:lnTo>
                    <a:pt x="3220" y="3566"/>
                  </a:lnTo>
                  <a:lnTo>
                    <a:pt x="3219" y="3609"/>
                  </a:lnTo>
                  <a:lnTo>
                    <a:pt x="3220" y="3647"/>
                  </a:lnTo>
                  <a:lnTo>
                    <a:pt x="3224" y="3682"/>
                  </a:lnTo>
                  <a:lnTo>
                    <a:pt x="3231" y="3717"/>
                  </a:lnTo>
                  <a:lnTo>
                    <a:pt x="3242" y="3750"/>
                  </a:lnTo>
                  <a:lnTo>
                    <a:pt x="3254" y="3783"/>
                  </a:lnTo>
                  <a:lnTo>
                    <a:pt x="3270" y="3814"/>
                  </a:lnTo>
                  <a:lnTo>
                    <a:pt x="3288" y="3843"/>
                  </a:lnTo>
                  <a:lnTo>
                    <a:pt x="3307" y="3872"/>
                  </a:lnTo>
                  <a:lnTo>
                    <a:pt x="3336" y="3905"/>
                  </a:lnTo>
                  <a:lnTo>
                    <a:pt x="3370" y="3936"/>
                  </a:lnTo>
                  <a:lnTo>
                    <a:pt x="3388" y="3950"/>
                  </a:lnTo>
                  <a:lnTo>
                    <a:pt x="3407" y="3962"/>
                  </a:lnTo>
                  <a:lnTo>
                    <a:pt x="3445" y="3985"/>
                  </a:lnTo>
                  <a:lnTo>
                    <a:pt x="3487" y="4005"/>
                  </a:lnTo>
                  <a:lnTo>
                    <a:pt x="3531" y="4019"/>
                  </a:lnTo>
                  <a:lnTo>
                    <a:pt x="3576" y="4029"/>
                  </a:lnTo>
                  <a:lnTo>
                    <a:pt x="3624" y="4034"/>
                  </a:lnTo>
                  <a:close/>
                  <a:moveTo>
                    <a:pt x="3628" y="4333"/>
                  </a:moveTo>
                  <a:lnTo>
                    <a:pt x="3625" y="4328"/>
                  </a:lnTo>
                  <a:lnTo>
                    <a:pt x="3624" y="4320"/>
                  </a:lnTo>
                  <a:lnTo>
                    <a:pt x="3624" y="4079"/>
                  </a:lnTo>
                  <a:lnTo>
                    <a:pt x="3571" y="4072"/>
                  </a:lnTo>
                  <a:lnTo>
                    <a:pt x="3521" y="4062"/>
                  </a:lnTo>
                  <a:lnTo>
                    <a:pt x="3472" y="4045"/>
                  </a:lnTo>
                  <a:lnTo>
                    <a:pt x="3449" y="4035"/>
                  </a:lnTo>
                  <a:lnTo>
                    <a:pt x="3428" y="4024"/>
                  </a:lnTo>
                  <a:lnTo>
                    <a:pt x="3384" y="3998"/>
                  </a:lnTo>
                  <a:lnTo>
                    <a:pt x="3363" y="3984"/>
                  </a:lnTo>
                  <a:lnTo>
                    <a:pt x="3344" y="3967"/>
                  </a:lnTo>
                  <a:lnTo>
                    <a:pt x="3326" y="3951"/>
                  </a:lnTo>
                  <a:lnTo>
                    <a:pt x="3308" y="3934"/>
                  </a:lnTo>
                  <a:lnTo>
                    <a:pt x="3292" y="3915"/>
                  </a:lnTo>
                  <a:lnTo>
                    <a:pt x="3276" y="3896"/>
                  </a:lnTo>
                  <a:lnTo>
                    <a:pt x="3253" y="3865"/>
                  </a:lnTo>
                  <a:lnTo>
                    <a:pt x="3233" y="3832"/>
                  </a:lnTo>
                  <a:lnTo>
                    <a:pt x="3216" y="3797"/>
                  </a:lnTo>
                  <a:lnTo>
                    <a:pt x="3201" y="3762"/>
                  </a:lnTo>
                  <a:lnTo>
                    <a:pt x="3189" y="3725"/>
                  </a:lnTo>
                  <a:lnTo>
                    <a:pt x="3181" y="3686"/>
                  </a:lnTo>
                  <a:lnTo>
                    <a:pt x="3176" y="3645"/>
                  </a:lnTo>
                  <a:lnTo>
                    <a:pt x="3174" y="3604"/>
                  </a:lnTo>
                  <a:lnTo>
                    <a:pt x="3176" y="3557"/>
                  </a:lnTo>
                  <a:lnTo>
                    <a:pt x="3184" y="3510"/>
                  </a:lnTo>
                  <a:lnTo>
                    <a:pt x="3189" y="3488"/>
                  </a:lnTo>
                  <a:lnTo>
                    <a:pt x="3195" y="3465"/>
                  </a:lnTo>
                  <a:lnTo>
                    <a:pt x="3211" y="3423"/>
                  </a:lnTo>
                  <a:lnTo>
                    <a:pt x="3231" y="3382"/>
                  </a:lnTo>
                  <a:lnTo>
                    <a:pt x="3254" y="3342"/>
                  </a:lnTo>
                  <a:lnTo>
                    <a:pt x="3281" y="3306"/>
                  </a:lnTo>
                  <a:lnTo>
                    <a:pt x="3297" y="3290"/>
                  </a:lnTo>
                  <a:lnTo>
                    <a:pt x="3312" y="3273"/>
                  </a:lnTo>
                  <a:lnTo>
                    <a:pt x="3345" y="3242"/>
                  </a:lnTo>
                  <a:lnTo>
                    <a:pt x="3363" y="3228"/>
                  </a:lnTo>
                  <a:lnTo>
                    <a:pt x="3381" y="3216"/>
                  </a:lnTo>
                  <a:lnTo>
                    <a:pt x="3420" y="3193"/>
                  </a:lnTo>
                  <a:lnTo>
                    <a:pt x="3440" y="3182"/>
                  </a:lnTo>
                  <a:lnTo>
                    <a:pt x="3462" y="3172"/>
                  </a:lnTo>
                  <a:lnTo>
                    <a:pt x="3483" y="3164"/>
                  </a:lnTo>
                  <a:lnTo>
                    <a:pt x="3504" y="3157"/>
                  </a:lnTo>
                  <a:lnTo>
                    <a:pt x="3528" y="3150"/>
                  </a:lnTo>
                  <a:lnTo>
                    <a:pt x="3549" y="3145"/>
                  </a:lnTo>
                  <a:lnTo>
                    <a:pt x="3597" y="3138"/>
                  </a:lnTo>
                  <a:lnTo>
                    <a:pt x="3644" y="3135"/>
                  </a:lnTo>
                  <a:lnTo>
                    <a:pt x="3701" y="3139"/>
                  </a:lnTo>
                  <a:lnTo>
                    <a:pt x="3728" y="3143"/>
                  </a:lnTo>
                  <a:lnTo>
                    <a:pt x="3755" y="3149"/>
                  </a:lnTo>
                  <a:lnTo>
                    <a:pt x="3781" y="3156"/>
                  </a:lnTo>
                  <a:lnTo>
                    <a:pt x="3807" y="3164"/>
                  </a:lnTo>
                  <a:lnTo>
                    <a:pt x="3831" y="3175"/>
                  </a:lnTo>
                  <a:lnTo>
                    <a:pt x="3856" y="3185"/>
                  </a:lnTo>
                  <a:lnTo>
                    <a:pt x="3902" y="3212"/>
                  </a:lnTo>
                  <a:lnTo>
                    <a:pt x="3944" y="3242"/>
                  </a:lnTo>
                  <a:lnTo>
                    <a:pt x="3965" y="3260"/>
                  </a:lnTo>
                  <a:lnTo>
                    <a:pt x="3983" y="3278"/>
                  </a:lnTo>
                  <a:lnTo>
                    <a:pt x="4001" y="3299"/>
                  </a:lnTo>
                  <a:lnTo>
                    <a:pt x="4017" y="3318"/>
                  </a:lnTo>
                  <a:lnTo>
                    <a:pt x="4040" y="3350"/>
                  </a:lnTo>
                  <a:lnTo>
                    <a:pt x="4060" y="3382"/>
                  </a:lnTo>
                  <a:lnTo>
                    <a:pt x="4078" y="3416"/>
                  </a:lnTo>
                  <a:lnTo>
                    <a:pt x="4092" y="3453"/>
                  </a:lnTo>
                  <a:lnTo>
                    <a:pt x="4103" y="3491"/>
                  </a:lnTo>
                  <a:lnTo>
                    <a:pt x="4112" y="3529"/>
                  </a:lnTo>
                  <a:lnTo>
                    <a:pt x="4117" y="3569"/>
                  </a:lnTo>
                  <a:lnTo>
                    <a:pt x="4119" y="3609"/>
                  </a:lnTo>
                  <a:lnTo>
                    <a:pt x="4117" y="3657"/>
                  </a:lnTo>
                  <a:lnTo>
                    <a:pt x="4110" y="3702"/>
                  </a:lnTo>
                  <a:lnTo>
                    <a:pt x="4105" y="3725"/>
                  </a:lnTo>
                  <a:lnTo>
                    <a:pt x="4099" y="3746"/>
                  </a:lnTo>
                  <a:lnTo>
                    <a:pt x="4084" y="3788"/>
                  </a:lnTo>
                  <a:lnTo>
                    <a:pt x="4075" y="3809"/>
                  </a:lnTo>
                  <a:lnTo>
                    <a:pt x="4065" y="3828"/>
                  </a:lnTo>
                  <a:lnTo>
                    <a:pt x="4043" y="3866"/>
                  </a:lnTo>
                  <a:lnTo>
                    <a:pt x="4016" y="3902"/>
                  </a:lnTo>
                  <a:lnTo>
                    <a:pt x="3988" y="3936"/>
                  </a:lnTo>
                  <a:lnTo>
                    <a:pt x="3956" y="3965"/>
                  </a:lnTo>
                  <a:lnTo>
                    <a:pt x="3921" y="3993"/>
                  </a:lnTo>
                  <a:lnTo>
                    <a:pt x="3884" y="4016"/>
                  </a:lnTo>
                  <a:lnTo>
                    <a:pt x="3844" y="4037"/>
                  </a:lnTo>
                  <a:lnTo>
                    <a:pt x="3802" y="4053"/>
                  </a:lnTo>
                  <a:lnTo>
                    <a:pt x="3760" y="4066"/>
                  </a:lnTo>
                  <a:lnTo>
                    <a:pt x="3715" y="4075"/>
                  </a:lnTo>
                  <a:lnTo>
                    <a:pt x="3667" y="4079"/>
                  </a:lnTo>
                  <a:lnTo>
                    <a:pt x="3667" y="4336"/>
                  </a:lnTo>
                  <a:lnTo>
                    <a:pt x="3666" y="4345"/>
                  </a:lnTo>
                  <a:lnTo>
                    <a:pt x="3661" y="4351"/>
                  </a:lnTo>
                  <a:lnTo>
                    <a:pt x="3654" y="4355"/>
                  </a:lnTo>
                  <a:lnTo>
                    <a:pt x="3648" y="4356"/>
                  </a:lnTo>
                  <a:lnTo>
                    <a:pt x="3640" y="4355"/>
                  </a:lnTo>
                  <a:lnTo>
                    <a:pt x="3634" y="4351"/>
                  </a:lnTo>
                  <a:lnTo>
                    <a:pt x="3629" y="4345"/>
                  </a:lnTo>
                  <a:lnTo>
                    <a:pt x="3628" y="4336"/>
                  </a:lnTo>
                  <a:lnTo>
                    <a:pt x="3628" y="43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12">
              <a:extLst>
                <a:ext uri="{FF2B5EF4-FFF2-40B4-BE49-F238E27FC236}">
                  <a16:creationId xmlns:a16="http://schemas.microsoft.com/office/drawing/2014/main" id="{F84D736B-F51E-4416-B884-83179D548D47}"/>
                </a:ext>
              </a:extLst>
            </p:cNvPr>
            <p:cNvSpPr>
              <a:spLocks noChangeAspect="1" noEditPoints="1"/>
            </p:cNvSpPr>
            <p:nvPr userDrawn="1"/>
          </p:nvSpPr>
          <p:spPr bwMode="black">
            <a:xfrm>
              <a:off x="5610994" y="5177099"/>
              <a:ext cx="193514" cy="216000"/>
            </a:xfrm>
            <a:custGeom>
              <a:avLst/>
              <a:gdLst>
                <a:gd name="T0" fmla="*/ 2964 w 3578"/>
                <a:gd name="T1" fmla="*/ 3151 h 3996"/>
                <a:gd name="T2" fmla="*/ 2988 w 3578"/>
                <a:gd name="T3" fmla="*/ 3131 h 3996"/>
                <a:gd name="T4" fmla="*/ 3002 w 3578"/>
                <a:gd name="T5" fmla="*/ 3095 h 3996"/>
                <a:gd name="T6" fmla="*/ 2998 w 3578"/>
                <a:gd name="T7" fmla="*/ 3052 h 3996"/>
                <a:gd name="T8" fmla="*/ 2570 w 3578"/>
                <a:gd name="T9" fmla="*/ 2480 h 3996"/>
                <a:gd name="T10" fmla="*/ 2976 w 3578"/>
                <a:gd name="T11" fmla="*/ 956 h 3996"/>
                <a:gd name="T12" fmla="*/ 2988 w 3578"/>
                <a:gd name="T13" fmla="*/ 917 h 3996"/>
                <a:gd name="T14" fmla="*/ 2981 w 3578"/>
                <a:gd name="T15" fmla="*/ 878 h 3996"/>
                <a:gd name="T16" fmla="*/ 2961 w 3578"/>
                <a:gd name="T17" fmla="*/ 853 h 3996"/>
                <a:gd name="T18" fmla="*/ 2936 w 3578"/>
                <a:gd name="T19" fmla="*/ 840 h 3996"/>
                <a:gd name="T20" fmla="*/ 2275 w 3578"/>
                <a:gd name="T21" fmla="*/ 835 h 3996"/>
                <a:gd name="T22" fmla="*/ 2209 w 3578"/>
                <a:gd name="T23" fmla="*/ 845 h 3996"/>
                <a:gd name="T24" fmla="*/ 2160 w 3578"/>
                <a:gd name="T25" fmla="*/ 872 h 3996"/>
                <a:gd name="T26" fmla="*/ 2119 w 3578"/>
                <a:gd name="T27" fmla="*/ 915 h 3996"/>
                <a:gd name="T28" fmla="*/ 1365 w 3578"/>
                <a:gd name="T29" fmla="*/ 931 h 3996"/>
                <a:gd name="T30" fmla="*/ 1356 w 3578"/>
                <a:gd name="T31" fmla="*/ 884 h 3996"/>
                <a:gd name="T32" fmla="*/ 1325 w 3578"/>
                <a:gd name="T33" fmla="*/ 851 h 3996"/>
                <a:gd name="T34" fmla="*/ 1280 w 3578"/>
                <a:gd name="T35" fmla="*/ 835 h 3996"/>
                <a:gd name="T36" fmla="*/ 664 w 3578"/>
                <a:gd name="T37" fmla="*/ 840 h 3996"/>
                <a:gd name="T38" fmla="*/ 625 w 3578"/>
                <a:gd name="T39" fmla="*/ 862 h 3996"/>
                <a:gd name="T40" fmla="*/ 602 w 3578"/>
                <a:gd name="T41" fmla="*/ 902 h 3996"/>
                <a:gd name="T42" fmla="*/ 598 w 3578"/>
                <a:gd name="T43" fmla="*/ 1998 h 3996"/>
                <a:gd name="T44" fmla="*/ 602 w 3578"/>
                <a:gd name="T45" fmla="*/ 3094 h 3996"/>
                <a:gd name="T46" fmla="*/ 625 w 3578"/>
                <a:gd name="T47" fmla="*/ 3133 h 3996"/>
                <a:gd name="T48" fmla="*/ 664 w 3578"/>
                <a:gd name="T49" fmla="*/ 3156 h 3996"/>
                <a:gd name="T50" fmla="*/ 1280 w 3578"/>
                <a:gd name="T51" fmla="*/ 3160 h 3996"/>
                <a:gd name="T52" fmla="*/ 1325 w 3578"/>
                <a:gd name="T53" fmla="*/ 3144 h 3996"/>
                <a:gd name="T54" fmla="*/ 1356 w 3578"/>
                <a:gd name="T55" fmla="*/ 3111 h 3996"/>
                <a:gd name="T56" fmla="*/ 1365 w 3578"/>
                <a:gd name="T57" fmla="*/ 3064 h 3996"/>
                <a:gd name="T58" fmla="*/ 2119 w 3578"/>
                <a:gd name="T59" fmla="*/ 3080 h 3996"/>
                <a:gd name="T60" fmla="*/ 2160 w 3578"/>
                <a:gd name="T61" fmla="*/ 3123 h 3996"/>
                <a:gd name="T62" fmla="*/ 2209 w 3578"/>
                <a:gd name="T63" fmla="*/ 3151 h 3996"/>
                <a:gd name="T64" fmla="*/ 2275 w 3578"/>
                <a:gd name="T65" fmla="*/ 3160 h 3996"/>
                <a:gd name="T66" fmla="*/ 4 w 3578"/>
                <a:gd name="T67" fmla="*/ 3929 h 3996"/>
                <a:gd name="T68" fmla="*/ 27 w 3578"/>
                <a:gd name="T69" fmla="*/ 3968 h 3996"/>
                <a:gd name="T70" fmla="*/ 66 w 3578"/>
                <a:gd name="T71" fmla="*/ 3991 h 3996"/>
                <a:gd name="T72" fmla="*/ 1789 w 3578"/>
                <a:gd name="T73" fmla="*/ 3996 h 3996"/>
                <a:gd name="T74" fmla="*/ 3512 w 3578"/>
                <a:gd name="T75" fmla="*/ 3991 h 3996"/>
                <a:gd name="T76" fmla="*/ 3552 w 3578"/>
                <a:gd name="T77" fmla="*/ 3968 h 3996"/>
                <a:gd name="T78" fmla="*/ 3574 w 3578"/>
                <a:gd name="T79" fmla="*/ 3929 h 3996"/>
                <a:gd name="T80" fmla="*/ 3577 w 3578"/>
                <a:gd name="T81" fmla="*/ 3624 h 3996"/>
                <a:gd name="T82" fmla="*/ 3563 w 3578"/>
                <a:gd name="T83" fmla="*/ 3579 h 3996"/>
                <a:gd name="T84" fmla="*/ 3529 w 3578"/>
                <a:gd name="T85" fmla="*/ 3549 h 3996"/>
                <a:gd name="T86" fmla="*/ 3482 w 3578"/>
                <a:gd name="T87" fmla="*/ 3538 h 3996"/>
                <a:gd name="T88" fmla="*/ 85 w 3578"/>
                <a:gd name="T89" fmla="*/ 3538 h 3996"/>
                <a:gd name="T90" fmla="*/ 41 w 3578"/>
                <a:gd name="T91" fmla="*/ 3554 h 3996"/>
                <a:gd name="T92" fmla="*/ 11 w 3578"/>
                <a:gd name="T93" fmla="*/ 3587 h 3996"/>
                <a:gd name="T94" fmla="*/ 0 w 3578"/>
                <a:gd name="T95" fmla="*/ 3634 h 3996"/>
                <a:gd name="T96" fmla="*/ 4 w 3578"/>
                <a:gd name="T97" fmla="*/ 391 h 3996"/>
                <a:gd name="T98" fmla="*/ 27 w 3578"/>
                <a:gd name="T99" fmla="*/ 430 h 3996"/>
                <a:gd name="T100" fmla="*/ 66 w 3578"/>
                <a:gd name="T101" fmla="*/ 453 h 3996"/>
                <a:gd name="T102" fmla="*/ 1789 w 3578"/>
                <a:gd name="T103" fmla="*/ 456 h 3996"/>
                <a:gd name="T104" fmla="*/ 3512 w 3578"/>
                <a:gd name="T105" fmla="*/ 453 h 3996"/>
                <a:gd name="T106" fmla="*/ 3552 w 3578"/>
                <a:gd name="T107" fmla="*/ 430 h 3996"/>
                <a:gd name="T108" fmla="*/ 3574 w 3578"/>
                <a:gd name="T109" fmla="*/ 391 h 3996"/>
                <a:gd name="T110" fmla="*/ 3577 w 3578"/>
                <a:gd name="T111" fmla="*/ 85 h 3996"/>
                <a:gd name="T112" fmla="*/ 3563 w 3578"/>
                <a:gd name="T113" fmla="*/ 41 h 3996"/>
                <a:gd name="T114" fmla="*/ 3529 w 3578"/>
                <a:gd name="T115" fmla="*/ 11 h 3996"/>
                <a:gd name="T116" fmla="*/ 3482 w 3578"/>
                <a:gd name="T117" fmla="*/ 0 h 3996"/>
                <a:gd name="T118" fmla="*/ 85 w 3578"/>
                <a:gd name="T119" fmla="*/ 0 h 3996"/>
                <a:gd name="T120" fmla="*/ 41 w 3578"/>
                <a:gd name="T121" fmla="*/ 16 h 3996"/>
                <a:gd name="T122" fmla="*/ 11 w 3578"/>
                <a:gd name="T123" fmla="*/ 49 h 3996"/>
                <a:gd name="T124" fmla="*/ 0 w 3578"/>
                <a:gd name="T125" fmla="*/ 95 h 3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78" h="3996">
                  <a:moveTo>
                    <a:pt x="2924" y="3160"/>
                  </a:moveTo>
                  <a:lnTo>
                    <a:pt x="2936" y="3160"/>
                  </a:lnTo>
                  <a:lnTo>
                    <a:pt x="2947" y="3157"/>
                  </a:lnTo>
                  <a:lnTo>
                    <a:pt x="2958" y="3153"/>
                  </a:lnTo>
                  <a:lnTo>
                    <a:pt x="2964" y="3151"/>
                  </a:lnTo>
                  <a:lnTo>
                    <a:pt x="2968" y="3148"/>
                  </a:lnTo>
                  <a:lnTo>
                    <a:pt x="2977" y="3142"/>
                  </a:lnTo>
                  <a:lnTo>
                    <a:pt x="2981" y="3139"/>
                  </a:lnTo>
                  <a:lnTo>
                    <a:pt x="2985" y="3135"/>
                  </a:lnTo>
                  <a:lnTo>
                    <a:pt x="2988" y="3131"/>
                  </a:lnTo>
                  <a:lnTo>
                    <a:pt x="2991" y="3126"/>
                  </a:lnTo>
                  <a:lnTo>
                    <a:pt x="2996" y="3117"/>
                  </a:lnTo>
                  <a:lnTo>
                    <a:pt x="3000" y="3106"/>
                  </a:lnTo>
                  <a:lnTo>
                    <a:pt x="3001" y="3101"/>
                  </a:lnTo>
                  <a:lnTo>
                    <a:pt x="3002" y="3095"/>
                  </a:lnTo>
                  <a:lnTo>
                    <a:pt x="3003" y="3084"/>
                  </a:lnTo>
                  <a:lnTo>
                    <a:pt x="3002" y="3072"/>
                  </a:lnTo>
                  <a:lnTo>
                    <a:pt x="3001" y="3065"/>
                  </a:lnTo>
                  <a:lnTo>
                    <a:pt x="2999" y="3059"/>
                  </a:lnTo>
                  <a:lnTo>
                    <a:pt x="2998" y="3052"/>
                  </a:lnTo>
                  <a:lnTo>
                    <a:pt x="2995" y="3045"/>
                  </a:lnTo>
                  <a:lnTo>
                    <a:pt x="2988" y="3032"/>
                  </a:lnTo>
                  <a:lnTo>
                    <a:pt x="2985" y="3026"/>
                  </a:lnTo>
                  <a:lnTo>
                    <a:pt x="2980" y="3019"/>
                  </a:lnTo>
                  <a:lnTo>
                    <a:pt x="2570" y="2480"/>
                  </a:lnTo>
                  <a:lnTo>
                    <a:pt x="2162" y="1941"/>
                  </a:lnTo>
                  <a:lnTo>
                    <a:pt x="2562" y="1459"/>
                  </a:lnTo>
                  <a:lnTo>
                    <a:pt x="2962" y="976"/>
                  </a:lnTo>
                  <a:lnTo>
                    <a:pt x="2972" y="962"/>
                  </a:lnTo>
                  <a:lnTo>
                    <a:pt x="2976" y="956"/>
                  </a:lnTo>
                  <a:lnTo>
                    <a:pt x="2979" y="949"/>
                  </a:lnTo>
                  <a:lnTo>
                    <a:pt x="2985" y="936"/>
                  </a:lnTo>
                  <a:lnTo>
                    <a:pt x="2986" y="929"/>
                  </a:lnTo>
                  <a:lnTo>
                    <a:pt x="2988" y="923"/>
                  </a:lnTo>
                  <a:lnTo>
                    <a:pt x="2988" y="917"/>
                  </a:lnTo>
                  <a:lnTo>
                    <a:pt x="2989" y="910"/>
                  </a:lnTo>
                  <a:lnTo>
                    <a:pt x="2988" y="899"/>
                  </a:lnTo>
                  <a:lnTo>
                    <a:pt x="2987" y="894"/>
                  </a:lnTo>
                  <a:lnTo>
                    <a:pt x="2986" y="888"/>
                  </a:lnTo>
                  <a:lnTo>
                    <a:pt x="2981" y="878"/>
                  </a:lnTo>
                  <a:lnTo>
                    <a:pt x="2979" y="873"/>
                  </a:lnTo>
                  <a:lnTo>
                    <a:pt x="2976" y="868"/>
                  </a:lnTo>
                  <a:lnTo>
                    <a:pt x="2972" y="864"/>
                  </a:lnTo>
                  <a:lnTo>
                    <a:pt x="2969" y="861"/>
                  </a:lnTo>
                  <a:lnTo>
                    <a:pt x="2961" y="853"/>
                  </a:lnTo>
                  <a:lnTo>
                    <a:pt x="2957" y="849"/>
                  </a:lnTo>
                  <a:lnTo>
                    <a:pt x="2951" y="846"/>
                  </a:lnTo>
                  <a:lnTo>
                    <a:pt x="2947" y="844"/>
                  </a:lnTo>
                  <a:lnTo>
                    <a:pt x="2941" y="842"/>
                  </a:lnTo>
                  <a:lnTo>
                    <a:pt x="2936" y="840"/>
                  </a:lnTo>
                  <a:lnTo>
                    <a:pt x="2930" y="838"/>
                  </a:lnTo>
                  <a:lnTo>
                    <a:pt x="2925" y="836"/>
                  </a:lnTo>
                  <a:lnTo>
                    <a:pt x="2919" y="836"/>
                  </a:lnTo>
                  <a:lnTo>
                    <a:pt x="2907" y="835"/>
                  </a:lnTo>
                  <a:lnTo>
                    <a:pt x="2275" y="835"/>
                  </a:lnTo>
                  <a:lnTo>
                    <a:pt x="2260" y="835"/>
                  </a:lnTo>
                  <a:lnTo>
                    <a:pt x="2246" y="836"/>
                  </a:lnTo>
                  <a:lnTo>
                    <a:pt x="2234" y="838"/>
                  </a:lnTo>
                  <a:lnTo>
                    <a:pt x="2222" y="841"/>
                  </a:lnTo>
                  <a:lnTo>
                    <a:pt x="2209" y="845"/>
                  </a:lnTo>
                  <a:lnTo>
                    <a:pt x="2198" y="848"/>
                  </a:lnTo>
                  <a:lnTo>
                    <a:pt x="2188" y="854"/>
                  </a:lnTo>
                  <a:lnTo>
                    <a:pt x="2178" y="859"/>
                  </a:lnTo>
                  <a:lnTo>
                    <a:pt x="2168" y="865"/>
                  </a:lnTo>
                  <a:lnTo>
                    <a:pt x="2160" y="872"/>
                  </a:lnTo>
                  <a:lnTo>
                    <a:pt x="2151" y="879"/>
                  </a:lnTo>
                  <a:lnTo>
                    <a:pt x="2142" y="887"/>
                  </a:lnTo>
                  <a:lnTo>
                    <a:pt x="2134" y="896"/>
                  </a:lnTo>
                  <a:lnTo>
                    <a:pt x="2126" y="905"/>
                  </a:lnTo>
                  <a:lnTo>
                    <a:pt x="2119" y="915"/>
                  </a:lnTo>
                  <a:lnTo>
                    <a:pt x="2111" y="925"/>
                  </a:lnTo>
                  <a:lnTo>
                    <a:pt x="1738" y="1404"/>
                  </a:lnTo>
                  <a:lnTo>
                    <a:pt x="1365" y="1885"/>
                  </a:lnTo>
                  <a:lnTo>
                    <a:pt x="1365" y="1408"/>
                  </a:lnTo>
                  <a:lnTo>
                    <a:pt x="1365" y="931"/>
                  </a:lnTo>
                  <a:lnTo>
                    <a:pt x="1365" y="920"/>
                  </a:lnTo>
                  <a:lnTo>
                    <a:pt x="1364" y="910"/>
                  </a:lnTo>
                  <a:lnTo>
                    <a:pt x="1362" y="902"/>
                  </a:lnTo>
                  <a:lnTo>
                    <a:pt x="1359" y="892"/>
                  </a:lnTo>
                  <a:lnTo>
                    <a:pt x="1356" y="884"/>
                  </a:lnTo>
                  <a:lnTo>
                    <a:pt x="1350" y="876"/>
                  </a:lnTo>
                  <a:lnTo>
                    <a:pt x="1346" y="868"/>
                  </a:lnTo>
                  <a:lnTo>
                    <a:pt x="1339" y="862"/>
                  </a:lnTo>
                  <a:lnTo>
                    <a:pt x="1332" y="856"/>
                  </a:lnTo>
                  <a:lnTo>
                    <a:pt x="1325" y="851"/>
                  </a:lnTo>
                  <a:lnTo>
                    <a:pt x="1317" y="846"/>
                  </a:lnTo>
                  <a:lnTo>
                    <a:pt x="1309" y="842"/>
                  </a:lnTo>
                  <a:lnTo>
                    <a:pt x="1300" y="840"/>
                  </a:lnTo>
                  <a:lnTo>
                    <a:pt x="1290" y="837"/>
                  </a:lnTo>
                  <a:lnTo>
                    <a:pt x="1280" y="835"/>
                  </a:lnTo>
                  <a:lnTo>
                    <a:pt x="1270" y="835"/>
                  </a:lnTo>
                  <a:lnTo>
                    <a:pt x="694" y="835"/>
                  </a:lnTo>
                  <a:lnTo>
                    <a:pt x="684" y="835"/>
                  </a:lnTo>
                  <a:lnTo>
                    <a:pt x="674" y="837"/>
                  </a:lnTo>
                  <a:lnTo>
                    <a:pt x="664" y="840"/>
                  </a:lnTo>
                  <a:lnTo>
                    <a:pt x="656" y="842"/>
                  </a:lnTo>
                  <a:lnTo>
                    <a:pt x="647" y="846"/>
                  </a:lnTo>
                  <a:lnTo>
                    <a:pt x="639" y="851"/>
                  </a:lnTo>
                  <a:lnTo>
                    <a:pt x="632" y="856"/>
                  </a:lnTo>
                  <a:lnTo>
                    <a:pt x="625" y="862"/>
                  </a:lnTo>
                  <a:lnTo>
                    <a:pt x="619" y="868"/>
                  </a:lnTo>
                  <a:lnTo>
                    <a:pt x="614" y="876"/>
                  </a:lnTo>
                  <a:lnTo>
                    <a:pt x="609" y="884"/>
                  </a:lnTo>
                  <a:lnTo>
                    <a:pt x="606" y="892"/>
                  </a:lnTo>
                  <a:lnTo>
                    <a:pt x="602" y="902"/>
                  </a:lnTo>
                  <a:lnTo>
                    <a:pt x="600" y="910"/>
                  </a:lnTo>
                  <a:lnTo>
                    <a:pt x="599" y="920"/>
                  </a:lnTo>
                  <a:lnTo>
                    <a:pt x="598" y="931"/>
                  </a:lnTo>
                  <a:lnTo>
                    <a:pt x="598" y="1464"/>
                  </a:lnTo>
                  <a:lnTo>
                    <a:pt x="598" y="1998"/>
                  </a:lnTo>
                  <a:lnTo>
                    <a:pt x="598" y="2531"/>
                  </a:lnTo>
                  <a:lnTo>
                    <a:pt x="598" y="3064"/>
                  </a:lnTo>
                  <a:lnTo>
                    <a:pt x="599" y="3074"/>
                  </a:lnTo>
                  <a:lnTo>
                    <a:pt x="600" y="3084"/>
                  </a:lnTo>
                  <a:lnTo>
                    <a:pt x="602" y="3094"/>
                  </a:lnTo>
                  <a:lnTo>
                    <a:pt x="606" y="3103"/>
                  </a:lnTo>
                  <a:lnTo>
                    <a:pt x="609" y="3111"/>
                  </a:lnTo>
                  <a:lnTo>
                    <a:pt x="614" y="3120"/>
                  </a:lnTo>
                  <a:lnTo>
                    <a:pt x="619" y="3126"/>
                  </a:lnTo>
                  <a:lnTo>
                    <a:pt x="625" y="3133"/>
                  </a:lnTo>
                  <a:lnTo>
                    <a:pt x="632" y="3140"/>
                  </a:lnTo>
                  <a:lnTo>
                    <a:pt x="639" y="3144"/>
                  </a:lnTo>
                  <a:lnTo>
                    <a:pt x="647" y="3150"/>
                  </a:lnTo>
                  <a:lnTo>
                    <a:pt x="656" y="3153"/>
                  </a:lnTo>
                  <a:lnTo>
                    <a:pt x="664" y="3156"/>
                  </a:lnTo>
                  <a:lnTo>
                    <a:pt x="674" y="3158"/>
                  </a:lnTo>
                  <a:lnTo>
                    <a:pt x="684" y="3160"/>
                  </a:lnTo>
                  <a:lnTo>
                    <a:pt x="694" y="3160"/>
                  </a:lnTo>
                  <a:lnTo>
                    <a:pt x="1270" y="3160"/>
                  </a:lnTo>
                  <a:lnTo>
                    <a:pt x="1280" y="3160"/>
                  </a:lnTo>
                  <a:lnTo>
                    <a:pt x="1290" y="3158"/>
                  </a:lnTo>
                  <a:lnTo>
                    <a:pt x="1300" y="3156"/>
                  </a:lnTo>
                  <a:lnTo>
                    <a:pt x="1309" y="3153"/>
                  </a:lnTo>
                  <a:lnTo>
                    <a:pt x="1317" y="3150"/>
                  </a:lnTo>
                  <a:lnTo>
                    <a:pt x="1325" y="3144"/>
                  </a:lnTo>
                  <a:lnTo>
                    <a:pt x="1332" y="3140"/>
                  </a:lnTo>
                  <a:lnTo>
                    <a:pt x="1339" y="3133"/>
                  </a:lnTo>
                  <a:lnTo>
                    <a:pt x="1346" y="3126"/>
                  </a:lnTo>
                  <a:lnTo>
                    <a:pt x="1350" y="3120"/>
                  </a:lnTo>
                  <a:lnTo>
                    <a:pt x="1356" y="3111"/>
                  </a:lnTo>
                  <a:lnTo>
                    <a:pt x="1359" y="3103"/>
                  </a:lnTo>
                  <a:lnTo>
                    <a:pt x="1362" y="3094"/>
                  </a:lnTo>
                  <a:lnTo>
                    <a:pt x="1364" y="3084"/>
                  </a:lnTo>
                  <a:lnTo>
                    <a:pt x="1365" y="3074"/>
                  </a:lnTo>
                  <a:lnTo>
                    <a:pt x="1365" y="3064"/>
                  </a:lnTo>
                  <a:lnTo>
                    <a:pt x="1365" y="2539"/>
                  </a:lnTo>
                  <a:lnTo>
                    <a:pt x="1365" y="2014"/>
                  </a:lnTo>
                  <a:lnTo>
                    <a:pt x="1738" y="2542"/>
                  </a:lnTo>
                  <a:lnTo>
                    <a:pt x="2111" y="3070"/>
                  </a:lnTo>
                  <a:lnTo>
                    <a:pt x="2119" y="3080"/>
                  </a:lnTo>
                  <a:lnTo>
                    <a:pt x="2126" y="3090"/>
                  </a:lnTo>
                  <a:lnTo>
                    <a:pt x="2134" y="3099"/>
                  </a:lnTo>
                  <a:lnTo>
                    <a:pt x="2142" y="3108"/>
                  </a:lnTo>
                  <a:lnTo>
                    <a:pt x="2151" y="3115"/>
                  </a:lnTo>
                  <a:lnTo>
                    <a:pt x="2160" y="3123"/>
                  </a:lnTo>
                  <a:lnTo>
                    <a:pt x="2168" y="3130"/>
                  </a:lnTo>
                  <a:lnTo>
                    <a:pt x="2178" y="3136"/>
                  </a:lnTo>
                  <a:lnTo>
                    <a:pt x="2188" y="3142"/>
                  </a:lnTo>
                  <a:lnTo>
                    <a:pt x="2198" y="3146"/>
                  </a:lnTo>
                  <a:lnTo>
                    <a:pt x="2209" y="3151"/>
                  </a:lnTo>
                  <a:lnTo>
                    <a:pt x="2222" y="3154"/>
                  </a:lnTo>
                  <a:lnTo>
                    <a:pt x="2234" y="3156"/>
                  </a:lnTo>
                  <a:lnTo>
                    <a:pt x="2246" y="3158"/>
                  </a:lnTo>
                  <a:lnTo>
                    <a:pt x="2260" y="3160"/>
                  </a:lnTo>
                  <a:lnTo>
                    <a:pt x="2275" y="3160"/>
                  </a:lnTo>
                  <a:lnTo>
                    <a:pt x="2924" y="3160"/>
                  </a:lnTo>
                  <a:close/>
                  <a:moveTo>
                    <a:pt x="0" y="3899"/>
                  </a:moveTo>
                  <a:lnTo>
                    <a:pt x="1" y="3909"/>
                  </a:lnTo>
                  <a:lnTo>
                    <a:pt x="2" y="3919"/>
                  </a:lnTo>
                  <a:lnTo>
                    <a:pt x="4" y="3929"/>
                  </a:lnTo>
                  <a:lnTo>
                    <a:pt x="8" y="3938"/>
                  </a:lnTo>
                  <a:lnTo>
                    <a:pt x="11" y="3947"/>
                  </a:lnTo>
                  <a:lnTo>
                    <a:pt x="16" y="3955"/>
                  </a:lnTo>
                  <a:lnTo>
                    <a:pt x="21" y="3961"/>
                  </a:lnTo>
                  <a:lnTo>
                    <a:pt x="27" y="3968"/>
                  </a:lnTo>
                  <a:lnTo>
                    <a:pt x="33" y="3975"/>
                  </a:lnTo>
                  <a:lnTo>
                    <a:pt x="41" y="3980"/>
                  </a:lnTo>
                  <a:lnTo>
                    <a:pt x="49" y="3985"/>
                  </a:lnTo>
                  <a:lnTo>
                    <a:pt x="58" y="3988"/>
                  </a:lnTo>
                  <a:lnTo>
                    <a:pt x="66" y="3991"/>
                  </a:lnTo>
                  <a:lnTo>
                    <a:pt x="75" y="3993"/>
                  </a:lnTo>
                  <a:lnTo>
                    <a:pt x="85" y="3995"/>
                  </a:lnTo>
                  <a:lnTo>
                    <a:pt x="96" y="3996"/>
                  </a:lnTo>
                  <a:lnTo>
                    <a:pt x="942" y="3996"/>
                  </a:lnTo>
                  <a:lnTo>
                    <a:pt x="1789" y="3996"/>
                  </a:lnTo>
                  <a:lnTo>
                    <a:pt x="2635" y="3996"/>
                  </a:lnTo>
                  <a:lnTo>
                    <a:pt x="3482" y="3996"/>
                  </a:lnTo>
                  <a:lnTo>
                    <a:pt x="3493" y="3995"/>
                  </a:lnTo>
                  <a:lnTo>
                    <a:pt x="3503" y="3993"/>
                  </a:lnTo>
                  <a:lnTo>
                    <a:pt x="3512" y="3991"/>
                  </a:lnTo>
                  <a:lnTo>
                    <a:pt x="3521" y="3988"/>
                  </a:lnTo>
                  <a:lnTo>
                    <a:pt x="3529" y="3985"/>
                  </a:lnTo>
                  <a:lnTo>
                    <a:pt x="3537" y="3980"/>
                  </a:lnTo>
                  <a:lnTo>
                    <a:pt x="3545" y="3975"/>
                  </a:lnTo>
                  <a:lnTo>
                    <a:pt x="3552" y="3968"/>
                  </a:lnTo>
                  <a:lnTo>
                    <a:pt x="3557" y="3961"/>
                  </a:lnTo>
                  <a:lnTo>
                    <a:pt x="3563" y="3955"/>
                  </a:lnTo>
                  <a:lnTo>
                    <a:pt x="3567" y="3947"/>
                  </a:lnTo>
                  <a:lnTo>
                    <a:pt x="3572" y="3938"/>
                  </a:lnTo>
                  <a:lnTo>
                    <a:pt x="3574" y="3929"/>
                  </a:lnTo>
                  <a:lnTo>
                    <a:pt x="3576" y="3919"/>
                  </a:lnTo>
                  <a:lnTo>
                    <a:pt x="3577" y="3909"/>
                  </a:lnTo>
                  <a:lnTo>
                    <a:pt x="3578" y="3899"/>
                  </a:lnTo>
                  <a:lnTo>
                    <a:pt x="3578" y="3634"/>
                  </a:lnTo>
                  <a:lnTo>
                    <a:pt x="3577" y="3624"/>
                  </a:lnTo>
                  <a:lnTo>
                    <a:pt x="3576" y="3614"/>
                  </a:lnTo>
                  <a:lnTo>
                    <a:pt x="3574" y="3605"/>
                  </a:lnTo>
                  <a:lnTo>
                    <a:pt x="3572" y="3595"/>
                  </a:lnTo>
                  <a:lnTo>
                    <a:pt x="3567" y="3587"/>
                  </a:lnTo>
                  <a:lnTo>
                    <a:pt x="3563" y="3579"/>
                  </a:lnTo>
                  <a:lnTo>
                    <a:pt x="3557" y="3572"/>
                  </a:lnTo>
                  <a:lnTo>
                    <a:pt x="3552" y="3565"/>
                  </a:lnTo>
                  <a:lnTo>
                    <a:pt x="3545" y="3559"/>
                  </a:lnTo>
                  <a:lnTo>
                    <a:pt x="3537" y="3554"/>
                  </a:lnTo>
                  <a:lnTo>
                    <a:pt x="3529" y="3549"/>
                  </a:lnTo>
                  <a:lnTo>
                    <a:pt x="3521" y="3545"/>
                  </a:lnTo>
                  <a:lnTo>
                    <a:pt x="3512" y="3542"/>
                  </a:lnTo>
                  <a:lnTo>
                    <a:pt x="3503" y="3539"/>
                  </a:lnTo>
                  <a:lnTo>
                    <a:pt x="3493" y="3538"/>
                  </a:lnTo>
                  <a:lnTo>
                    <a:pt x="3482" y="3538"/>
                  </a:lnTo>
                  <a:lnTo>
                    <a:pt x="2635" y="3538"/>
                  </a:lnTo>
                  <a:lnTo>
                    <a:pt x="1789" y="3538"/>
                  </a:lnTo>
                  <a:lnTo>
                    <a:pt x="942" y="3538"/>
                  </a:lnTo>
                  <a:lnTo>
                    <a:pt x="96" y="3538"/>
                  </a:lnTo>
                  <a:lnTo>
                    <a:pt x="85" y="3538"/>
                  </a:lnTo>
                  <a:lnTo>
                    <a:pt x="75" y="3539"/>
                  </a:lnTo>
                  <a:lnTo>
                    <a:pt x="66" y="3542"/>
                  </a:lnTo>
                  <a:lnTo>
                    <a:pt x="58" y="3545"/>
                  </a:lnTo>
                  <a:lnTo>
                    <a:pt x="49" y="3549"/>
                  </a:lnTo>
                  <a:lnTo>
                    <a:pt x="41" y="3554"/>
                  </a:lnTo>
                  <a:lnTo>
                    <a:pt x="33" y="3559"/>
                  </a:lnTo>
                  <a:lnTo>
                    <a:pt x="27" y="3565"/>
                  </a:lnTo>
                  <a:lnTo>
                    <a:pt x="21" y="3572"/>
                  </a:lnTo>
                  <a:lnTo>
                    <a:pt x="16" y="3579"/>
                  </a:lnTo>
                  <a:lnTo>
                    <a:pt x="11" y="3587"/>
                  </a:lnTo>
                  <a:lnTo>
                    <a:pt x="8" y="3595"/>
                  </a:lnTo>
                  <a:lnTo>
                    <a:pt x="4" y="3605"/>
                  </a:lnTo>
                  <a:lnTo>
                    <a:pt x="2" y="3614"/>
                  </a:lnTo>
                  <a:lnTo>
                    <a:pt x="1" y="3624"/>
                  </a:lnTo>
                  <a:lnTo>
                    <a:pt x="0" y="3634"/>
                  </a:lnTo>
                  <a:lnTo>
                    <a:pt x="0" y="3899"/>
                  </a:lnTo>
                  <a:close/>
                  <a:moveTo>
                    <a:pt x="0" y="361"/>
                  </a:moveTo>
                  <a:lnTo>
                    <a:pt x="1" y="371"/>
                  </a:lnTo>
                  <a:lnTo>
                    <a:pt x="2" y="381"/>
                  </a:lnTo>
                  <a:lnTo>
                    <a:pt x="4" y="391"/>
                  </a:lnTo>
                  <a:lnTo>
                    <a:pt x="8" y="400"/>
                  </a:lnTo>
                  <a:lnTo>
                    <a:pt x="11" y="409"/>
                  </a:lnTo>
                  <a:lnTo>
                    <a:pt x="16" y="416"/>
                  </a:lnTo>
                  <a:lnTo>
                    <a:pt x="21" y="423"/>
                  </a:lnTo>
                  <a:lnTo>
                    <a:pt x="27" y="430"/>
                  </a:lnTo>
                  <a:lnTo>
                    <a:pt x="33" y="436"/>
                  </a:lnTo>
                  <a:lnTo>
                    <a:pt x="41" y="441"/>
                  </a:lnTo>
                  <a:lnTo>
                    <a:pt x="49" y="446"/>
                  </a:lnTo>
                  <a:lnTo>
                    <a:pt x="58" y="450"/>
                  </a:lnTo>
                  <a:lnTo>
                    <a:pt x="66" y="453"/>
                  </a:lnTo>
                  <a:lnTo>
                    <a:pt x="75" y="455"/>
                  </a:lnTo>
                  <a:lnTo>
                    <a:pt x="85" y="456"/>
                  </a:lnTo>
                  <a:lnTo>
                    <a:pt x="96" y="456"/>
                  </a:lnTo>
                  <a:lnTo>
                    <a:pt x="942" y="456"/>
                  </a:lnTo>
                  <a:lnTo>
                    <a:pt x="1789" y="456"/>
                  </a:lnTo>
                  <a:lnTo>
                    <a:pt x="2635" y="456"/>
                  </a:lnTo>
                  <a:lnTo>
                    <a:pt x="3482" y="456"/>
                  </a:lnTo>
                  <a:lnTo>
                    <a:pt x="3493" y="456"/>
                  </a:lnTo>
                  <a:lnTo>
                    <a:pt x="3503" y="455"/>
                  </a:lnTo>
                  <a:lnTo>
                    <a:pt x="3512" y="453"/>
                  </a:lnTo>
                  <a:lnTo>
                    <a:pt x="3521" y="450"/>
                  </a:lnTo>
                  <a:lnTo>
                    <a:pt x="3529" y="446"/>
                  </a:lnTo>
                  <a:lnTo>
                    <a:pt x="3537" y="441"/>
                  </a:lnTo>
                  <a:lnTo>
                    <a:pt x="3545" y="436"/>
                  </a:lnTo>
                  <a:lnTo>
                    <a:pt x="3552" y="430"/>
                  </a:lnTo>
                  <a:lnTo>
                    <a:pt x="3557" y="423"/>
                  </a:lnTo>
                  <a:lnTo>
                    <a:pt x="3563" y="416"/>
                  </a:lnTo>
                  <a:lnTo>
                    <a:pt x="3567" y="409"/>
                  </a:lnTo>
                  <a:lnTo>
                    <a:pt x="3572" y="400"/>
                  </a:lnTo>
                  <a:lnTo>
                    <a:pt x="3574" y="391"/>
                  </a:lnTo>
                  <a:lnTo>
                    <a:pt x="3576" y="381"/>
                  </a:lnTo>
                  <a:lnTo>
                    <a:pt x="3577" y="371"/>
                  </a:lnTo>
                  <a:lnTo>
                    <a:pt x="3578" y="361"/>
                  </a:lnTo>
                  <a:lnTo>
                    <a:pt x="3578" y="95"/>
                  </a:lnTo>
                  <a:lnTo>
                    <a:pt x="3577" y="85"/>
                  </a:lnTo>
                  <a:lnTo>
                    <a:pt x="3576" y="75"/>
                  </a:lnTo>
                  <a:lnTo>
                    <a:pt x="3574" y="65"/>
                  </a:lnTo>
                  <a:lnTo>
                    <a:pt x="3572" y="57"/>
                  </a:lnTo>
                  <a:lnTo>
                    <a:pt x="3567" y="49"/>
                  </a:lnTo>
                  <a:lnTo>
                    <a:pt x="3563" y="41"/>
                  </a:lnTo>
                  <a:lnTo>
                    <a:pt x="3557" y="33"/>
                  </a:lnTo>
                  <a:lnTo>
                    <a:pt x="3552" y="27"/>
                  </a:lnTo>
                  <a:lnTo>
                    <a:pt x="3545" y="20"/>
                  </a:lnTo>
                  <a:lnTo>
                    <a:pt x="3537" y="16"/>
                  </a:lnTo>
                  <a:lnTo>
                    <a:pt x="3529" y="11"/>
                  </a:lnTo>
                  <a:lnTo>
                    <a:pt x="3521" y="7"/>
                  </a:lnTo>
                  <a:lnTo>
                    <a:pt x="3512" y="3"/>
                  </a:lnTo>
                  <a:lnTo>
                    <a:pt x="3503" y="1"/>
                  </a:lnTo>
                  <a:lnTo>
                    <a:pt x="3493" y="0"/>
                  </a:lnTo>
                  <a:lnTo>
                    <a:pt x="3482" y="0"/>
                  </a:lnTo>
                  <a:lnTo>
                    <a:pt x="2635" y="0"/>
                  </a:lnTo>
                  <a:lnTo>
                    <a:pt x="1789" y="0"/>
                  </a:lnTo>
                  <a:lnTo>
                    <a:pt x="942" y="0"/>
                  </a:lnTo>
                  <a:lnTo>
                    <a:pt x="96" y="0"/>
                  </a:lnTo>
                  <a:lnTo>
                    <a:pt x="85" y="0"/>
                  </a:lnTo>
                  <a:lnTo>
                    <a:pt x="75" y="1"/>
                  </a:lnTo>
                  <a:lnTo>
                    <a:pt x="66" y="3"/>
                  </a:lnTo>
                  <a:lnTo>
                    <a:pt x="58" y="7"/>
                  </a:lnTo>
                  <a:lnTo>
                    <a:pt x="49" y="11"/>
                  </a:lnTo>
                  <a:lnTo>
                    <a:pt x="41" y="16"/>
                  </a:lnTo>
                  <a:lnTo>
                    <a:pt x="33" y="20"/>
                  </a:lnTo>
                  <a:lnTo>
                    <a:pt x="27" y="27"/>
                  </a:lnTo>
                  <a:lnTo>
                    <a:pt x="21" y="33"/>
                  </a:lnTo>
                  <a:lnTo>
                    <a:pt x="16" y="41"/>
                  </a:lnTo>
                  <a:lnTo>
                    <a:pt x="11" y="49"/>
                  </a:lnTo>
                  <a:lnTo>
                    <a:pt x="8" y="57"/>
                  </a:lnTo>
                  <a:lnTo>
                    <a:pt x="4" y="65"/>
                  </a:lnTo>
                  <a:lnTo>
                    <a:pt x="2" y="75"/>
                  </a:lnTo>
                  <a:lnTo>
                    <a:pt x="1" y="85"/>
                  </a:lnTo>
                  <a:lnTo>
                    <a:pt x="0" y="95"/>
                  </a:lnTo>
                  <a:lnTo>
                    <a:pt x="0" y="36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Skatta Sans Regular" pitchFamily="50" charset="0"/>
              </a:endParaRPr>
            </a:p>
          </p:txBody>
        </p:sp>
      </p:grpSp>
      <p:sp>
        <p:nvSpPr>
          <p:cNvPr id="9" name="Freeform 12">
            <a:extLst>
              <a:ext uri="{FF2B5EF4-FFF2-40B4-BE49-F238E27FC236}">
                <a16:creationId xmlns:a16="http://schemas.microsoft.com/office/drawing/2014/main" id="{5AC55F09-B4E4-441C-BC12-96351DA671CC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10488488" y="692696"/>
            <a:ext cx="1007493" cy="1124563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0475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lhuet Bei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8E37746A-5C5D-43CD-A324-BFB88C5F2A32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RIA - RKL yrittäjäpäivä 1.11.202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reeform 12">
            <a:extLst>
              <a:ext uri="{FF2B5EF4-FFF2-40B4-BE49-F238E27FC236}">
                <a16:creationId xmlns:a16="http://schemas.microsoft.com/office/drawing/2014/main" id="{72548FE2-778E-4DFB-A71A-58296812B773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10488488" y="692696"/>
            <a:ext cx="1007493" cy="1124563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7946855-F0F5-4EE8-AF71-94DDEE0D089F}"/>
              </a:ext>
            </a:extLst>
          </p:cNvPr>
          <p:cNvGrpSpPr/>
          <p:nvPr userDrawn="1"/>
        </p:nvGrpSpPr>
        <p:grpSpPr>
          <a:xfrm>
            <a:off x="0" y="4077072"/>
            <a:ext cx="9874285" cy="1872000"/>
            <a:chOff x="0" y="4077072"/>
            <a:chExt cx="9874285" cy="1872000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1DC6FC56-D6F1-41FA-81BE-FAB57953F580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0" y="4077072"/>
              <a:ext cx="9874285" cy="1872000"/>
            </a:xfrm>
            <a:custGeom>
              <a:avLst/>
              <a:gdLst>
                <a:gd name="T0" fmla="*/ 10894 w 23040"/>
                <a:gd name="T1" fmla="*/ 3037 h 4369"/>
                <a:gd name="T2" fmla="*/ 10931 w 23040"/>
                <a:gd name="T3" fmla="*/ 2661 h 4369"/>
                <a:gd name="T4" fmla="*/ 13479 w 23040"/>
                <a:gd name="T5" fmla="*/ 2241 h 4369"/>
                <a:gd name="T6" fmla="*/ 12981 w 23040"/>
                <a:gd name="T7" fmla="*/ 1865 h 4369"/>
                <a:gd name="T8" fmla="*/ 13222 w 23040"/>
                <a:gd name="T9" fmla="*/ 1543 h 4369"/>
                <a:gd name="T10" fmla="*/ 13525 w 23040"/>
                <a:gd name="T11" fmla="*/ 3907 h 4369"/>
                <a:gd name="T12" fmla="*/ 12729 w 23040"/>
                <a:gd name="T13" fmla="*/ 3813 h 4369"/>
                <a:gd name="T14" fmla="*/ 10912 w 23040"/>
                <a:gd name="T15" fmla="*/ 2402 h 4369"/>
                <a:gd name="T16" fmla="*/ 16652 w 23040"/>
                <a:gd name="T17" fmla="*/ 970 h 4369"/>
                <a:gd name="T18" fmla="*/ 16232 w 23040"/>
                <a:gd name="T19" fmla="*/ 332 h 4369"/>
                <a:gd name="T20" fmla="*/ 15103 w 23040"/>
                <a:gd name="T21" fmla="*/ 2262 h 4369"/>
                <a:gd name="T22" fmla="*/ 12814 w 23040"/>
                <a:gd name="T23" fmla="*/ 2991 h 4369"/>
                <a:gd name="T24" fmla="*/ 11678 w 23040"/>
                <a:gd name="T25" fmla="*/ 3172 h 4369"/>
                <a:gd name="T26" fmla="*/ 12355 w 23040"/>
                <a:gd name="T27" fmla="*/ 2838 h 4369"/>
                <a:gd name="T28" fmla="*/ 12184 w 23040"/>
                <a:gd name="T29" fmla="*/ 4304 h 4369"/>
                <a:gd name="T30" fmla="*/ 11739 w 23040"/>
                <a:gd name="T31" fmla="*/ 2627 h 4369"/>
                <a:gd name="T32" fmla="*/ 11666 w 23040"/>
                <a:gd name="T33" fmla="*/ 2291 h 4369"/>
                <a:gd name="T34" fmla="*/ 11184 w 23040"/>
                <a:gd name="T35" fmla="*/ 3107 h 4369"/>
                <a:gd name="T36" fmla="*/ 11469 w 23040"/>
                <a:gd name="T37" fmla="*/ 1044 h 4369"/>
                <a:gd name="T38" fmla="*/ 13150 w 23040"/>
                <a:gd name="T39" fmla="*/ 754 h 4369"/>
                <a:gd name="T40" fmla="*/ 16863 w 23040"/>
                <a:gd name="T41" fmla="*/ 4331 h 4369"/>
                <a:gd name="T42" fmla="*/ 14362 w 23040"/>
                <a:gd name="T43" fmla="*/ 3771 h 4369"/>
                <a:gd name="T44" fmla="*/ 14362 w 23040"/>
                <a:gd name="T45" fmla="*/ 3373 h 4369"/>
                <a:gd name="T46" fmla="*/ 14105 w 23040"/>
                <a:gd name="T47" fmla="*/ 3277 h 4369"/>
                <a:gd name="T48" fmla="*/ 14091 w 23040"/>
                <a:gd name="T49" fmla="*/ 2881 h 4369"/>
                <a:gd name="T50" fmla="*/ 20731 w 23040"/>
                <a:gd name="T51" fmla="*/ 4008 h 4369"/>
                <a:gd name="T52" fmla="*/ 19002 w 23040"/>
                <a:gd name="T53" fmla="*/ 3795 h 4369"/>
                <a:gd name="T54" fmla="*/ 19052 w 23040"/>
                <a:gd name="T55" fmla="*/ 3549 h 4369"/>
                <a:gd name="T56" fmla="*/ 19727 w 23040"/>
                <a:gd name="T57" fmla="*/ 3547 h 4369"/>
                <a:gd name="T58" fmla="*/ 21772 w 23040"/>
                <a:gd name="T59" fmla="*/ 1759 h 4369"/>
                <a:gd name="T60" fmla="*/ 20169 w 23040"/>
                <a:gd name="T61" fmla="*/ 1874 h 4369"/>
                <a:gd name="T62" fmla="*/ 18388 w 23040"/>
                <a:gd name="T63" fmla="*/ 2546 h 4369"/>
                <a:gd name="T64" fmla="*/ 19509 w 23040"/>
                <a:gd name="T65" fmla="*/ 3625 h 4369"/>
                <a:gd name="T66" fmla="*/ 18969 w 23040"/>
                <a:gd name="T67" fmla="*/ 3381 h 4369"/>
                <a:gd name="T68" fmla="*/ 2798 w 23040"/>
                <a:gd name="T69" fmla="*/ 3193 h 4369"/>
                <a:gd name="T70" fmla="*/ 440 w 23040"/>
                <a:gd name="T71" fmla="*/ 2751 h 4369"/>
                <a:gd name="T72" fmla="*/ 2868 w 23040"/>
                <a:gd name="T73" fmla="*/ 4141 h 4369"/>
                <a:gd name="T74" fmla="*/ 837 w 23040"/>
                <a:gd name="T75" fmla="*/ 3250 h 4369"/>
                <a:gd name="T76" fmla="*/ 823 w 23040"/>
                <a:gd name="T77" fmla="*/ 3336 h 4369"/>
                <a:gd name="T78" fmla="*/ 1107 w 23040"/>
                <a:gd name="T79" fmla="*/ 3717 h 4369"/>
                <a:gd name="T80" fmla="*/ 1080 w 23040"/>
                <a:gd name="T81" fmla="*/ 3810 h 4369"/>
                <a:gd name="T82" fmla="*/ 188 w 23040"/>
                <a:gd name="T83" fmla="*/ 1799 h 4369"/>
                <a:gd name="T84" fmla="*/ 2556 w 23040"/>
                <a:gd name="T85" fmla="*/ 2016 h 4369"/>
                <a:gd name="T86" fmla="*/ 2583 w 23040"/>
                <a:gd name="T87" fmla="*/ 2578 h 4369"/>
                <a:gd name="T88" fmla="*/ 8182 w 23040"/>
                <a:gd name="T89" fmla="*/ 2792 h 4369"/>
                <a:gd name="T90" fmla="*/ 9070 w 23040"/>
                <a:gd name="T91" fmla="*/ 2753 h 4369"/>
                <a:gd name="T92" fmla="*/ 6863 w 23040"/>
                <a:gd name="T93" fmla="*/ 2176 h 4369"/>
                <a:gd name="T94" fmla="*/ 6215 w 23040"/>
                <a:gd name="T95" fmla="*/ 2702 h 4369"/>
                <a:gd name="T96" fmla="*/ 7097 w 23040"/>
                <a:gd name="T97" fmla="*/ 2957 h 4369"/>
                <a:gd name="T98" fmla="*/ 6454 w 23040"/>
                <a:gd name="T99" fmla="*/ 3498 h 4369"/>
                <a:gd name="T100" fmla="*/ 6384 w 23040"/>
                <a:gd name="T101" fmla="*/ 4003 h 4369"/>
                <a:gd name="T102" fmla="*/ 8037 w 23040"/>
                <a:gd name="T103" fmla="*/ 2925 h 4369"/>
                <a:gd name="T104" fmla="*/ 8332 w 23040"/>
                <a:gd name="T105" fmla="*/ 3308 h 4369"/>
                <a:gd name="T106" fmla="*/ 8296 w 23040"/>
                <a:gd name="T107" fmla="*/ 3424 h 4369"/>
                <a:gd name="T108" fmla="*/ 8598 w 23040"/>
                <a:gd name="T109" fmla="*/ 3792 h 4369"/>
                <a:gd name="T110" fmla="*/ 5650 w 23040"/>
                <a:gd name="T111" fmla="*/ 1956 h 4369"/>
                <a:gd name="T112" fmla="*/ 8119 w 23040"/>
                <a:gd name="T113" fmla="*/ 245 h 4369"/>
                <a:gd name="T114" fmla="*/ 4680 w 23040"/>
                <a:gd name="T115" fmla="*/ 942 h 4369"/>
                <a:gd name="T116" fmla="*/ 5027 w 23040"/>
                <a:gd name="T117" fmla="*/ 2616 h 4369"/>
                <a:gd name="T118" fmla="*/ 4991 w 23040"/>
                <a:gd name="T119" fmla="*/ 2732 h 4369"/>
                <a:gd name="T120" fmla="*/ 5292 w 23040"/>
                <a:gd name="T121" fmla="*/ 3101 h 4369"/>
                <a:gd name="T122" fmla="*/ 5252 w 23040"/>
                <a:gd name="T123" fmla="*/ 3235 h 4369"/>
                <a:gd name="T124" fmla="*/ 3326 w 23040"/>
                <a:gd name="T125" fmla="*/ 3951 h 4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040" h="4369">
                  <a:moveTo>
                    <a:pt x="10933" y="3163"/>
                  </a:moveTo>
                  <a:lnTo>
                    <a:pt x="10933" y="3274"/>
                  </a:lnTo>
                  <a:lnTo>
                    <a:pt x="10931" y="3283"/>
                  </a:lnTo>
                  <a:lnTo>
                    <a:pt x="10926" y="3290"/>
                  </a:lnTo>
                  <a:lnTo>
                    <a:pt x="10920" y="3294"/>
                  </a:lnTo>
                  <a:lnTo>
                    <a:pt x="10912" y="3295"/>
                  </a:lnTo>
                  <a:lnTo>
                    <a:pt x="10906" y="3294"/>
                  </a:lnTo>
                  <a:lnTo>
                    <a:pt x="10899" y="3290"/>
                  </a:lnTo>
                  <a:lnTo>
                    <a:pt x="10894" y="3283"/>
                  </a:lnTo>
                  <a:lnTo>
                    <a:pt x="10893" y="3274"/>
                  </a:lnTo>
                  <a:lnTo>
                    <a:pt x="10893" y="3163"/>
                  </a:lnTo>
                  <a:lnTo>
                    <a:pt x="10894" y="3154"/>
                  </a:lnTo>
                  <a:lnTo>
                    <a:pt x="10899" y="3148"/>
                  </a:lnTo>
                  <a:lnTo>
                    <a:pt x="10906" y="3144"/>
                  </a:lnTo>
                  <a:lnTo>
                    <a:pt x="10912" y="3143"/>
                  </a:lnTo>
                  <a:lnTo>
                    <a:pt x="10920" y="3144"/>
                  </a:lnTo>
                  <a:lnTo>
                    <a:pt x="10926" y="3148"/>
                  </a:lnTo>
                  <a:lnTo>
                    <a:pt x="10931" y="3154"/>
                  </a:lnTo>
                  <a:lnTo>
                    <a:pt x="10933" y="3163"/>
                  </a:lnTo>
                  <a:close/>
                  <a:moveTo>
                    <a:pt x="10670" y="3163"/>
                  </a:moveTo>
                  <a:lnTo>
                    <a:pt x="10670" y="3274"/>
                  </a:lnTo>
                  <a:lnTo>
                    <a:pt x="10669" y="3283"/>
                  </a:lnTo>
                  <a:lnTo>
                    <a:pt x="10663" y="3290"/>
                  </a:lnTo>
                  <a:lnTo>
                    <a:pt x="10657" y="3294"/>
                  </a:lnTo>
                  <a:lnTo>
                    <a:pt x="10649" y="3295"/>
                  </a:lnTo>
                  <a:lnTo>
                    <a:pt x="10643" y="3294"/>
                  </a:lnTo>
                  <a:lnTo>
                    <a:pt x="10637" y="3290"/>
                  </a:lnTo>
                  <a:lnTo>
                    <a:pt x="10631" y="3283"/>
                  </a:lnTo>
                  <a:lnTo>
                    <a:pt x="10630" y="3274"/>
                  </a:lnTo>
                  <a:lnTo>
                    <a:pt x="10630" y="3163"/>
                  </a:lnTo>
                  <a:lnTo>
                    <a:pt x="10631" y="3154"/>
                  </a:lnTo>
                  <a:lnTo>
                    <a:pt x="10637" y="3148"/>
                  </a:lnTo>
                  <a:lnTo>
                    <a:pt x="10643" y="3144"/>
                  </a:lnTo>
                  <a:lnTo>
                    <a:pt x="10649" y="3143"/>
                  </a:lnTo>
                  <a:lnTo>
                    <a:pt x="10657" y="3144"/>
                  </a:lnTo>
                  <a:lnTo>
                    <a:pt x="10663" y="3148"/>
                  </a:lnTo>
                  <a:lnTo>
                    <a:pt x="10669" y="3154"/>
                  </a:lnTo>
                  <a:lnTo>
                    <a:pt x="10670" y="3163"/>
                  </a:lnTo>
                  <a:close/>
                  <a:moveTo>
                    <a:pt x="10407" y="3163"/>
                  </a:moveTo>
                  <a:lnTo>
                    <a:pt x="10407" y="3274"/>
                  </a:lnTo>
                  <a:lnTo>
                    <a:pt x="10404" y="3283"/>
                  </a:lnTo>
                  <a:lnTo>
                    <a:pt x="10401" y="3290"/>
                  </a:lnTo>
                  <a:lnTo>
                    <a:pt x="10394" y="3294"/>
                  </a:lnTo>
                  <a:lnTo>
                    <a:pt x="10386" y="3295"/>
                  </a:lnTo>
                  <a:lnTo>
                    <a:pt x="10379" y="3294"/>
                  </a:lnTo>
                  <a:lnTo>
                    <a:pt x="10372" y="3290"/>
                  </a:lnTo>
                  <a:lnTo>
                    <a:pt x="10369" y="3283"/>
                  </a:lnTo>
                  <a:lnTo>
                    <a:pt x="10366" y="3274"/>
                  </a:lnTo>
                  <a:lnTo>
                    <a:pt x="10366" y="3163"/>
                  </a:lnTo>
                  <a:lnTo>
                    <a:pt x="10369" y="3154"/>
                  </a:lnTo>
                  <a:lnTo>
                    <a:pt x="10372" y="3148"/>
                  </a:lnTo>
                  <a:lnTo>
                    <a:pt x="10379" y="3144"/>
                  </a:lnTo>
                  <a:lnTo>
                    <a:pt x="10386" y="3143"/>
                  </a:lnTo>
                  <a:lnTo>
                    <a:pt x="10394" y="3144"/>
                  </a:lnTo>
                  <a:lnTo>
                    <a:pt x="10401" y="3148"/>
                  </a:lnTo>
                  <a:lnTo>
                    <a:pt x="10404" y="3154"/>
                  </a:lnTo>
                  <a:lnTo>
                    <a:pt x="10407" y="3163"/>
                  </a:lnTo>
                  <a:close/>
                  <a:moveTo>
                    <a:pt x="10143" y="3163"/>
                  </a:moveTo>
                  <a:lnTo>
                    <a:pt x="10143" y="3274"/>
                  </a:lnTo>
                  <a:lnTo>
                    <a:pt x="10142" y="3283"/>
                  </a:lnTo>
                  <a:lnTo>
                    <a:pt x="10138" y="3290"/>
                  </a:lnTo>
                  <a:lnTo>
                    <a:pt x="10131" y="3294"/>
                  </a:lnTo>
                  <a:lnTo>
                    <a:pt x="10124" y="3295"/>
                  </a:lnTo>
                  <a:lnTo>
                    <a:pt x="10116" y="3294"/>
                  </a:lnTo>
                  <a:lnTo>
                    <a:pt x="10109" y="3290"/>
                  </a:lnTo>
                  <a:lnTo>
                    <a:pt x="10106" y="3283"/>
                  </a:lnTo>
                  <a:lnTo>
                    <a:pt x="10103" y="3274"/>
                  </a:lnTo>
                  <a:lnTo>
                    <a:pt x="10103" y="3163"/>
                  </a:lnTo>
                  <a:lnTo>
                    <a:pt x="10106" y="3154"/>
                  </a:lnTo>
                  <a:lnTo>
                    <a:pt x="10109" y="3148"/>
                  </a:lnTo>
                  <a:lnTo>
                    <a:pt x="10116" y="3144"/>
                  </a:lnTo>
                  <a:lnTo>
                    <a:pt x="10124" y="3143"/>
                  </a:lnTo>
                  <a:lnTo>
                    <a:pt x="10131" y="3144"/>
                  </a:lnTo>
                  <a:lnTo>
                    <a:pt x="10138" y="3148"/>
                  </a:lnTo>
                  <a:lnTo>
                    <a:pt x="10142" y="3154"/>
                  </a:lnTo>
                  <a:lnTo>
                    <a:pt x="10143" y="3163"/>
                  </a:lnTo>
                  <a:close/>
                  <a:moveTo>
                    <a:pt x="9880" y="3163"/>
                  </a:moveTo>
                  <a:lnTo>
                    <a:pt x="9880" y="3274"/>
                  </a:lnTo>
                  <a:lnTo>
                    <a:pt x="9879" y="3283"/>
                  </a:lnTo>
                  <a:lnTo>
                    <a:pt x="9874" y="3290"/>
                  </a:lnTo>
                  <a:lnTo>
                    <a:pt x="9867" y="3294"/>
                  </a:lnTo>
                  <a:lnTo>
                    <a:pt x="9861" y="3295"/>
                  </a:lnTo>
                  <a:lnTo>
                    <a:pt x="9853" y="3294"/>
                  </a:lnTo>
                  <a:lnTo>
                    <a:pt x="9847" y="3290"/>
                  </a:lnTo>
                  <a:lnTo>
                    <a:pt x="9841" y="3283"/>
                  </a:lnTo>
                  <a:lnTo>
                    <a:pt x="9840" y="3274"/>
                  </a:lnTo>
                  <a:lnTo>
                    <a:pt x="9840" y="3163"/>
                  </a:lnTo>
                  <a:lnTo>
                    <a:pt x="9841" y="3154"/>
                  </a:lnTo>
                  <a:lnTo>
                    <a:pt x="9847" y="3148"/>
                  </a:lnTo>
                  <a:lnTo>
                    <a:pt x="9853" y="3144"/>
                  </a:lnTo>
                  <a:lnTo>
                    <a:pt x="9861" y="3143"/>
                  </a:lnTo>
                  <a:lnTo>
                    <a:pt x="9867" y="3144"/>
                  </a:lnTo>
                  <a:lnTo>
                    <a:pt x="9874" y="3148"/>
                  </a:lnTo>
                  <a:lnTo>
                    <a:pt x="9879" y="3154"/>
                  </a:lnTo>
                  <a:lnTo>
                    <a:pt x="9880" y="3163"/>
                  </a:lnTo>
                  <a:close/>
                  <a:moveTo>
                    <a:pt x="9617" y="3163"/>
                  </a:moveTo>
                  <a:lnTo>
                    <a:pt x="9617" y="3274"/>
                  </a:lnTo>
                  <a:lnTo>
                    <a:pt x="9616" y="3283"/>
                  </a:lnTo>
                  <a:lnTo>
                    <a:pt x="9611" y="3290"/>
                  </a:lnTo>
                  <a:lnTo>
                    <a:pt x="9604" y="3294"/>
                  </a:lnTo>
                  <a:lnTo>
                    <a:pt x="9598" y="3295"/>
                  </a:lnTo>
                  <a:lnTo>
                    <a:pt x="9590" y="3294"/>
                  </a:lnTo>
                  <a:lnTo>
                    <a:pt x="9584" y="3290"/>
                  </a:lnTo>
                  <a:lnTo>
                    <a:pt x="9579" y="3283"/>
                  </a:lnTo>
                  <a:lnTo>
                    <a:pt x="9577" y="3274"/>
                  </a:lnTo>
                  <a:lnTo>
                    <a:pt x="9577" y="3163"/>
                  </a:lnTo>
                  <a:lnTo>
                    <a:pt x="9579" y="3154"/>
                  </a:lnTo>
                  <a:lnTo>
                    <a:pt x="9584" y="3148"/>
                  </a:lnTo>
                  <a:lnTo>
                    <a:pt x="9590" y="3144"/>
                  </a:lnTo>
                  <a:lnTo>
                    <a:pt x="9598" y="3143"/>
                  </a:lnTo>
                  <a:lnTo>
                    <a:pt x="9604" y="3144"/>
                  </a:lnTo>
                  <a:lnTo>
                    <a:pt x="9611" y="3148"/>
                  </a:lnTo>
                  <a:lnTo>
                    <a:pt x="9616" y="3154"/>
                  </a:lnTo>
                  <a:lnTo>
                    <a:pt x="9617" y="3163"/>
                  </a:lnTo>
                  <a:close/>
                  <a:moveTo>
                    <a:pt x="10933" y="2916"/>
                  </a:moveTo>
                  <a:lnTo>
                    <a:pt x="10933" y="3028"/>
                  </a:lnTo>
                  <a:lnTo>
                    <a:pt x="10931" y="3037"/>
                  </a:lnTo>
                  <a:lnTo>
                    <a:pt x="10926" y="3043"/>
                  </a:lnTo>
                  <a:lnTo>
                    <a:pt x="10920" y="3047"/>
                  </a:lnTo>
                  <a:lnTo>
                    <a:pt x="10912" y="3048"/>
                  </a:lnTo>
                  <a:lnTo>
                    <a:pt x="10906" y="3047"/>
                  </a:lnTo>
                  <a:lnTo>
                    <a:pt x="10899" y="3043"/>
                  </a:lnTo>
                  <a:lnTo>
                    <a:pt x="10894" y="3037"/>
                  </a:lnTo>
                  <a:lnTo>
                    <a:pt x="10893" y="3028"/>
                  </a:lnTo>
                  <a:lnTo>
                    <a:pt x="10893" y="2916"/>
                  </a:lnTo>
                  <a:lnTo>
                    <a:pt x="10894" y="2907"/>
                  </a:lnTo>
                  <a:lnTo>
                    <a:pt x="10899" y="2901"/>
                  </a:lnTo>
                  <a:lnTo>
                    <a:pt x="10906" y="2897"/>
                  </a:lnTo>
                  <a:lnTo>
                    <a:pt x="10912" y="2896"/>
                  </a:lnTo>
                  <a:lnTo>
                    <a:pt x="10920" y="2897"/>
                  </a:lnTo>
                  <a:lnTo>
                    <a:pt x="10926" y="2901"/>
                  </a:lnTo>
                  <a:lnTo>
                    <a:pt x="10931" y="2907"/>
                  </a:lnTo>
                  <a:lnTo>
                    <a:pt x="10933" y="2916"/>
                  </a:lnTo>
                  <a:close/>
                  <a:moveTo>
                    <a:pt x="10670" y="2916"/>
                  </a:moveTo>
                  <a:lnTo>
                    <a:pt x="10670" y="3028"/>
                  </a:lnTo>
                  <a:lnTo>
                    <a:pt x="10669" y="3037"/>
                  </a:lnTo>
                  <a:lnTo>
                    <a:pt x="10663" y="3043"/>
                  </a:lnTo>
                  <a:lnTo>
                    <a:pt x="10657" y="3047"/>
                  </a:lnTo>
                  <a:lnTo>
                    <a:pt x="10649" y="3048"/>
                  </a:lnTo>
                  <a:lnTo>
                    <a:pt x="10643" y="3047"/>
                  </a:lnTo>
                  <a:lnTo>
                    <a:pt x="10637" y="3043"/>
                  </a:lnTo>
                  <a:lnTo>
                    <a:pt x="10631" y="3037"/>
                  </a:lnTo>
                  <a:lnTo>
                    <a:pt x="10630" y="3028"/>
                  </a:lnTo>
                  <a:lnTo>
                    <a:pt x="10630" y="2916"/>
                  </a:lnTo>
                  <a:lnTo>
                    <a:pt x="10631" y="2907"/>
                  </a:lnTo>
                  <a:lnTo>
                    <a:pt x="10637" y="2901"/>
                  </a:lnTo>
                  <a:lnTo>
                    <a:pt x="10643" y="2897"/>
                  </a:lnTo>
                  <a:lnTo>
                    <a:pt x="10649" y="2896"/>
                  </a:lnTo>
                  <a:lnTo>
                    <a:pt x="10657" y="2897"/>
                  </a:lnTo>
                  <a:lnTo>
                    <a:pt x="10663" y="2901"/>
                  </a:lnTo>
                  <a:lnTo>
                    <a:pt x="10669" y="2907"/>
                  </a:lnTo>
                  <a:lnTo>
                    <a:pt x="10670" y="2916"/>
                  </a:lnTo>
                  <a:close/>
                  <a:moveTo>
                    <a:pt x="10407" y="2916"/>
                  </a:moveTo>
                  <a:lnTo>
                    <a:pt x="10407" y="3028"/>
                  </a:lnTo>
                  <a:lnTo>
                    <a:pt x="10404" y="3037"/>
                  </a:lnTo>
                  <a:lnTo>
                    <a:pt x="10401" y="3043"/>
                  </a:lnTo>
                  <a:lnTo>
                    <a:pt x="10394" y="3047"/>
                  </a:lnTo>
                  <a:lnTo>
                    <a:pt x="10386" y="3048"/>
                  </a:lnTo>
                  <a:lnTo>
                    <a:pt x="10379" y="3047"/>
                  </a:lnTo>
                  <a:lnTo>
                    <a:pt x="10372" y="3043"/>
                  </a:lnTo>
                  <a:lnTo>
                    <a:pt x="10369" y="3037"/>
                  </a:lnTo>
                  <a:lnTo>
                    <a:pt x="10366" y="3028"/>
                  </a:lnTo>
                  <a:lnTo>
                    <a:pt x="10366" y="2916"/>
                  </a:lnTo>
                  <a:lnTo>
                    <a:pt x="10369" y="2907"/>
                  </a:lnTo>
                  <a:lnTo>
                    <a:pt x="10372" y="2901"/>
                  </a:lnTo>
                  <a:lnTo>
                    <a:pt x="10379" y="2897"/>
                  </a:lnTo>
                  <a:lnTo>
                    <a:pt x="10386" y="2896"/>
                  </a:lnTo>
                  <a:lnTo>
                    <a:pt x="10394" y="2897"/>
                  </a:lnTo>
                  <a:lnTo>
                    <a:pt x="10401" y="2901"/>
                  </a:lnTo>
                  <a:lnTo>
                    <a:pt x="10404" y="2907"/>
                  </a:lnTo>
                  <a:lnTo>
                    <a:pt x="10407" y="2916"/>
                  </a:lnTo>
                  <a:close/>
                  <a:moveTo>
                    <a:pt x="10143" y="2916"/>
                  </a:moveTo>
                  <a:lnTo>
                    <a:pt x="10143" y="3028"/>
                  </a:lnTo>
                  <a:lnTo>
                    <a:pt x="10142" y="3037"/>
                  </a:lnTo>
                  <a:lnTo>
                    <a:pt x="10138" y="3043"/>
                  </a:lnTo>
                  <a:lnTo>
                    <a:pt x="10131" y="3047"/>
                  </a:lnTo>
                  <a:lnTo>
                    <a:pt x="10124" y="3048"/>
                  </a:lnTo>
                  <a:lnTo>
                    <a:pt x="10116" y="3047"/>
                  </a:lnTo>
                  <a:lnTo>
                    <a:pt x="10109" y="3043"/>
                  </a:lnTo>
                  <a:lnTo>
                    <a:pt x="10106" y="3037"/>
                  </a:lnTo>
                  <a:lnTo>
                    <a:pt x="10103" y="3028"/>
                  </a:lnTo>
                  <a:lnTo>
                    <a:pt x="10103" y="2916"/>
                  </a:lnTo>
                  <a:lnTo>
                    <a:pt x="10106" y="2907"/>
                  </a:lnTo>
                  <a:lnTo>
                    <a:pt x="10109" y="2901"/>
                  </a:lnTo>
                  <a:lnTo>
                    <a:pt x="10116" y="2897"/>
                  </a:lnTo>
                  <a:lnTo>
                    <a:pt x="10124" y="2896"/>
                  </a:lnTo>
                  <a:lnTo>
                    <a:pt x="10131" y="2897"/>
                  </a:lnTo>
                  <a:lnTo>
                    <a:pt x="10138" y="2901"/>
                  </a:lnTo>
                  <a:lnTo>
                    <a:pt x="10142" y="2907"/>
                  </a:lnTo>
                  <a:lnTo>
                    <a:pt x="10143" y="2916"/>
                  </a:lnTo>
                  <a:close/>
                  <a:moveTo>
                    <a:pt x="9880" y="2916"/>
                  </a:moveTo>
                  <a:lnTo>
                    <a:pt x="9880" y="3028"/>
                  </a:lnTo>
                  <a:lnTo>
                    <a:pt x="9879" y="3037"/>
                  </a:lnTo>
                  <a:lnTo>
                    <a:pt x="9874" y="3043"/>
                  </a:lnTo>
                  <a:lnTo>
                    <a:pt x="9867" y="3047"/>
                  </a:lnTo>
                  <a:lnTo>
                    <a:pt x="9861" y="3048"/>
                  </a:lnTo>
                  <a:lnTo>
                    <a:pt x="9853" y="3047"/>
                  </a:lnTo>
                  <a:lnTo>
                    <a:pt x="9847" y="3043"/>
                  </a:lnTo>
                  <a:lnTo>
                    <a:pt x="9841" y="3037"/>
                  </a:lnTo>
                  <a:lnTo>
                    <a:pt x="9840" y="3028"/>
                  </a:lnTo>
                  <a:lnTo>
                    <a:pt x="9840" y="2916"/>
                  </a:lnTo>
                  <a:lnTo>
                    <a:pt x="9841" y="2907"/>
                  </a:lnTo>
                  <a:lnTo>
                    <a:pt x="9847" y="2901"/>
                  </a:lnTo>
                  <a:lnTo>
                    <a:pt x="9853" y="2897"/>
                  </a:lnTo>
                  <a:lnTo>
                    <a:pt x="9861" y="2896"/>
                  </a:lnTo>
                  <a:lnTo>
                    <a:pt x="9867" y="2897"/>
                  </a:lnTo>
                  <a:lnTo>
                    <a:pt x="9874" y="2901"/>
                  </a:lnTo>
                  <a:lnTo>
                    <a:pt x="9879" y="2907"/>
                  </a:lnTo>
                  <a:lnTo>
                    <a:pt x="9880" y="2916"/>
                  </a:lnTo>
                  <a:close/>
                  <a:moveTo>
                    <a:pt x="9617" y="2916"/>
                  </a:moveTo>
                  <a:lnTo>
                    <a:pt x="9617" y="3028"/>
                  </a:lnTo>
                  <a:lnTo>
                    <a:pt x="9616" y="3037"/>
                  </a:lnTo>
                  <a:lnTo>
                    <a:pt x="9611" y="3043"/>
                  </a:lnTo>
                  <a:lnTo>
                    <a:pt x="9604" y="3047"/>
                  </a:lnTo>
                  <a:lnTo>
                    <a:pt x="9598" y="3048"/>
                  </a:lnTo>
                  <a:lnTo>
                    <a:pt x="9590" y="3047"/>
                  </a:lnTo>
                  <a:lnTo>
                    <a:pt x="9584" y="3043"/>
                  </a:lnTo>
                  <a:lnTo>
                    <a:pt x="9579" y="3037"/>
                  </a:lnTo>
                  <a:lnTo>
                    <a:pt x="9577" y="3028"/>
                  </a:lnTo>
                  <a:lnTo>
                    <a:pt x="9577" y="2916"/>
                  </a:lnTo>
                  <a:lnTo>
                    <a:pt x="9579" y="2907"/>
                  </a:lnTo>
                  <a:lnTo>
                    <a:pt x="9584" y="2901"/>
                  </a:lnTo>
                  <a:lnTo>
                    <a:pt x="9590" y="2897"/>
                  </a:lnTo>
                  <a:lnTo>
                    <a:pt x="9598" y="2896"/>
                  </a:lnTo>
                  <a:lnTo>
                    <a:pt x="9604" y="2897"/>
                  </a:lnTo>
                  <a:lnTo>
                    <a:pt x="9611" y="2901"/>
                  </a:lnTo>
                  <a:lnTo>
                    <a:pt x="9616" y="2907"/>
                  </a:lnTo>
                  <a:lnTo>
                    <a:pt x="9617" y="2916"/>
                  </a:lnTo>
                  <a:close/>
                  <a:moveTo>
                    <a:pt x="10933" y="2670"/>
                  </a:moveTo>
                  <a:lnTo>
                    <a:pt x="10933" y="2782"/>
                  </a:lnTo>
                  <a:lnTo>
                    <a:pt x="10931" y="2790"/>
                  </a:lnTo>
                  <a:lnTo>
                    <a:pt x="10926" y="2796"/>
                  </a:lnTo>
                  <a:lnTo>
                    <a:pt x="10920" y="2800"/>
                  </a:lnTo>
                  <a:lnTo>
                    <a:pt x="10912" y="2801"/>
                  </a:lnTo>
                  <a:lnTo>
                    <a:pt x="10906" y="2800"/>
                  </a:lnTo>
                  <a:lnTo>
                    <a:pt x="10899" y="2796"/>
                  </a:lnTo>
                  <a:lnTo>
                    <a:pt x="10894" y="2790"/>
                  </a:lnTo>
                  <a:lnTo>
                    <a:pt x="10893" y="2782"/>
                  </a:lnTo>
                  <a:lnTo>
                    <a:pt x="10893" y="2670"/>
                  </a:lnTo>
                  <a:lnTo>
                    <a:pt x="10894" y="2661"/>
                  </a:lnTo>
                  <a:lnTo>
                    <a:pt x="10899" y="2654"/>
                  </a:lnTo>
                  <a:lnTo>
                    <a:pt x="10906" y="2650"/>
                  </a:lnTo>
                  <a:lnTo>
                    <a:pt x="10912" y="2649"/>
                  </a:lnTo>
                  <a:lnTo>
                    <a:pt x="10920" y="2650"/>
                  </a:lnTo>
                  <a:lnTo>
                    <a:pt x="10926" y="2654"/>
                  </a:lnTo>
                  <a:lnTo>
                    <a:pt x="10931" y="2661"/>
                  </a:lnTo>
                  <a:lnTo>
                    <a:pt x="10933" y="2670"/>
                  </a:lnTo>
                  <a:close/>
                  <a:moveTo>
                    <a:pt x="10670" y="2670"/>
                  </a:moveTo>
                  <a:lnTo>
                    <a:pt x="10670" y="2782"/>
                  </a:lnTo>
                  <a:lnTo>
                    <a:pt x="10669" y="2790"/>
                  </a:lnTo>
                  <a:lnTo>
                    <a:pt x="10663" y="2796"/>
                  </a:lnTo>
                  <a:lnTo>
                    <a:pt x="10657" y="2800"/>
                  </a:lnTo>
                  <a:lnTo>
                    <a:pt x="10649" y="2801"/>
                  </a:lnTo>
                  <a:lnTo>
                    <a:pt x="10643" y="2800"/>
                  </a:lnTo>
                  <a:lnTo>
                    <a:pt x="10637" y="2796"/>
                  </a:lnTo>
                  <a:lnTo>
                    <a:pt x="10631" y="2790"/>
                  </a:lnTo>
                  <a:lnTo>
                    <a:pt x="10630" y="2782"/>
                  </a:lnTo>
                  <a:lnTo>
                    <a:pt x="10630" y="2670"/>
                  </a:lnTo>
                  <a:lnTo>
                    <a:pt x="10631" y="2661"/>
                  </a:lnTo>
                  <a:lnTo>
                    <a:pt x="10637" y="2654"/>
                  </a:lnTo>
                  <a:lnTo>
                    <a:pt x="10643" y="2650"/>
                  </a:lnTo>
                  <a:lnTo>
                    <a:pt x="10649" y="2649"/>
                  </a:lnTo>
                  <a:lnTo>
                    <a:pt x="10657" y="2650"/>
                  </a:lnTo>
                  <a:lnTo>
                    <a:pt x="10663" y="2654"/>
                  </a:lnTo>
                  <a:lnTo>
                    <a:pt x="10669" y="2661"/>
                  </a:lnTo>
                  <a:lnTo>
                    <a:pt x="10670" y="2670"/>
                  </a:lnTo>
                  <a:close/>
                  <a:moveTo>
                    <a:pt x="10407" y="2670"/>
                  </a:moveTo>
                  <a:lnTo>
                    <a:pt x="10407" y="2782"/>
                  </a:lnTo>
                  <a:lnTo>
                    <a:pt x="10404" y="2790"/>
                  </a:lnTo>
                  <a:lnTo>
                    <a:pt x="10401" y="2796"/>
                  </a:lnTo>
                  <a:lnTo>
                    <a:pt x="10394" y="2800"/>
                  </a:lnTo>
                  <a:lnTo>
                    <a:pt x="10386" y="2801"/>
                  </a:lnTo>
                  <a:lnTo>
                    <a:pt x="10379" y="2800"/>
                  </a:lnTo>
                  <a:lnTo>
                    <a:pt x="10372" y="2796"/>
                  </a:lnTo>
                  <a:lnTo>
                    <a:pt x="10369" y="2790"/>
                  </a:lnTo>
                  <a:lnTo>
                    <a:pt x="10366" y="2782"/>
                  </a:lnTo>
                  <a:lnTo>
                    <a:pt x="10366" y="2670"/>
                  </a:lnTo>
                  <a:lnTo>
                    <a:pt x="10369" y="2661"/>
                  </a:lnTo>
                  <a:lnTo>
                    <a:pt x="10372" y="2654"/>
                  </a:lnTo>
                  <a:lnTo>
                    <a:pt x="10379" y="2650"/>
                  </a:lnTo>
                  <a:lnTo>
                    <a:pt x="10386" y="2649"/>
                  </a:lnTo>
                  <a:lnTo>
                    <a:pt x="10394" y="2650"/>
                  </a:lnTo>
                  <a:lnTo>
                    <a:pt x="10401" y="2654"/>
                  </a:lnTo>
                  <a:lnTo>
                    <a:pt x="10404" y="2661"/>
                  </a:lnTo>
                  <a:lnTo>
                    <a:pt x="10407" y="2670"/>
                  </a:lnTo>
                  <a:close/>
                  <a:moveTo>
                    <a:pt x="10143" y="2670"/>
                  </a:moveTo>
                  <a:lnTo>
                    <a:pt x="10143" y="2782"/>
                  </a:lnTo>
                  <a:lnTo>
                    <a:pt x="10142" y="2790"/>
                  </a:lnTo>
                  <a:lnTo>
                    <a:pt x="10138" y="2796"/>
                  </a:lnTo>
                  <a:lnTo>
                    <a:pt x="10131" y="2800"/>
                  </a:lnTo>
                  <a:lnTo>
                    <a:pt x="10124" y="2801"/>
                  </a:lnTo>
                  <a:lnTo>
                    <a:pt x="10116" y="2800"/>
                  </a:lnTo>
                  <a:lnTo>
                    <a:pt x="10109" y="2796"/>
                  </a:lnTo>
                  <a:lnTo>
                    <a:pt x="10106" y="2790"/>
                  </a:lnTo>
                  <a:lnTo>
                    <a:pt x="10103" y="2782"/>
                  </a:lnTo>
                  <a:lnTo>
                    <a:pt x="10103" y="2670"/>
                  </a:lnTo>
                  <a:lnTo>
                    <a:pt x="10106" y="2661"/>
                  </a:lnTo>
                  <a:lnTo>
                    <a:pt x="10109" y="2654"/>
                  </a:lnTo>
                  <a:lnTo>
                    <a:pt x="10116" y="2650"/>
                  </a:lnTo>
                  <a:lnTo>
                    <a:pt x="10124" y="2649"/>
                  </a:lnTo>
                  <a:lnTo>
                    <a:pt x="10131" y="2650"/>
                  </a:lnTo>
                  <a:lnTo>
                    <a:pt x="10138" y="2654"/>
                  </a:lnTo>
                  <a:lnTo>
                    <a:pt x="10142" y="2661"/>
                  </a:lnTo>
                  <a:lnTo>
                    <a:pt x="10143" y="2670"/>
                  </a:lnTo>
                  <a:close/>
                  <a:moveTo>
                    <a:pt x="9880" y="2670"/>
                  </a:moveTo>
                  <a:lnTo>
                    <a:pt x="9880" y="2782"/>
                  </a:lnTo>
                  <a:lnTo>
                    <a:pt x="9879" y="2790"/>
                  </a:lnTo>
                  <a:lnTo>
                    <a:pt x="9874" y="2796"/>
                  </a:lnTo>
                  <a:lnTo>
                    <a:pt x="9867" y="2800"/>
                  </a:lnTo>
                  <a:lnTo>
                    <a:pt x="9861" y="2801"/>
                  </a:lnTo>
                  <a:lnTo>
                    <a:pt x="9853" y="2800"/>
                  </a:lnTo>
                  <a:lnTo>
                    <a:pt x="9847" y="2796"/>
                  </a:lnTo>
                  <a:lnTo>
                    <a:pt x="9841" y="2790"/>
                  </a:lnTo>
                  <a:lnTo>
                    <a:pt x="9840" y="2782"/>
                  </a:lnTo>
                  <a:lnTo>
                    <a:pt x="9840" y="2670"/>
                  </a:lnTo>
                  <a:lnTo>
                    <a:pt x="9841" y="2661"/>
                  </a:lnTo>
                  <a:lnTo>
                    <a:pt x="9847" y="2654"/>
                  </a:lnTo>
                  <a:lnTo>
                    <a:pt x="9853" y="2650"/>
                  </a:lnTo>
                  <a:lnTo>
                    <a:pt x="9861" y="2649"/>
                  </a:lnTo>
                  <a:lnTo>
                    <a:pt x="9867" y="2650"/>
                  </a:lnTo>
                  <a:lnTo>
                    <a:pt x="9874" y="2654"/>
                  </a:lnTo>
                  <a:lnTo>
                    <a:pt x="9879" y="2661"/>
                  </a:lnTo>
                  <a:lnTo>
                    <a:pt x="9880" y="2670"/>
                  </a:lnTo>
                  <a:close/>
                  <a:moveTo>
                    <a:pt x="9617" y="2670"/>
                  </a:moveTo>
                  <a:lnTo>
                    <a:pt x="9617" y="2782"/>
                  </a:lnTo>
                  <a:lnTo>
                    <a:pt x="9616" y="2790"/>
                  </a:lnTo>
                  <a:lnTo>
                    <a:pt x="9611" y="2796"/>
                  </a:lnTo>
                  <a:lnTo>
                    <a:pt x="9604" y="2800"/>
                  </a:lnTo>
                  <a:lnTo>
                    <a:pt x="9598" y="2801"/>
                  </a:lnTo>
                  <a:lnTo>
                    <a:pt x="9590" y="2800"/>
                  </a:lnTo>
                  <a:lnTo>
                    <a:pt x="9584" y="2796"/>
                  </a:lnTo>
                  <a:lnTo>
                    <a:pt x="9579" y="2790"/>
                  </a:lnTo>
                  <a:lnTo>
                    <a:pt x="9577" y="2782"/>
                  </a:lnTo>
                  <a:lnTo>
                    <a:pt x="9577" y="2670"/>
                  </a:lnTo>
                  <a:lnTo>
                    <a:pt x="9579" y="2661"/>
                  </a:lnTo>
                  <a:lnTo>
                    <a:pt x="9584" y="2654"/>
                  </a:lnTo>
                  <a:lnTo>
                    <a:pt x="9590" y="2650"/>
                  </a:lnTo>
                  <a:lnTo>
                    <a:pt x="9598" y="2649"/>
                  </a:lnTo>
                  <a:lnTo>
                    <a:pt x="9604" y="2650"/>
                  </a:lnTo>
                  <a:lnTo>
                    <a:pt x="9611" y="2654"/>
                  </a:lnTo>
                  <a:lnTo>
                    <a:pt x="9616" y="2661"/>
                  </a:lnTo>
                  <a:lnTo>
                    <a:pt x="9617" y="2670"/>
                  </a:lnTo>
                  <a:close/>
                  <a:moveTo>
                    <a:pt x="13776" y="2113"/>
                  </a:moveTo>
                  <a:lnTo>
                    <a:pt x="13776" y="2226"/>
                  </a:lnTo>
                  <a:lnTo>
                    <a:pt x="13774" y="2235"/>
                  </a:lnTo>
                  <a:lnTo>
                    <a:pt x="13769" y="2241"/>
                  </a:lnTo>
                  <a:lnTo>
                    <a:pt x="13763" y="2245"/>
                  </a:lnTo>
                  <a:lnTo>
                    <a:pt x="13756" y="2246"/>
                  </a:lnTo>
                  <a:lnTo>
                    <a:pt x="13749" y="2245"/>
                  </a:lnTo>
                  <a:lnTo>
                    <a:pt x="13742" y="2241"/>
                  </a:lnTo>
                  <a:lnTo>
                    <a:pt x="13737" y="2235"/>
                  </a:lnTo>
                  <a:lnTo>
                    <a:pt x="13736" y="2226"/>
                  </a:lnTo>
                  <a:lnTo>
                    <a:pt x="13736" y="2113"/>
                  </a:lnTo>
                  <a:lnTo>
                    <a:pt x="13737" y="2106"/>
                  </a:lnTo>
                  <a:lnTo>
                    <a:pt x="13742" y="2099"/>
                  </a:lnTo>
                  <a:lnTo>
                    <a:pt x="13749" y="2095"/>
                  </a:lnTo>
                  <a:lnTo>
                    <a:pt x="13756" y="2094"/>
                  </a:lnTo>
                  <a:lnTo>
                    <a:pt x="13763" y="2095"/>
                  </a:lnTo>
                  <a:lnTo>
                    <a:pt x="13769" y="2099"/>
                  </a:lnTo>
                  <a:lnTo>
                    <a:pt x="13774" y="2106"/>
                  </a:lnTo>
                  <a:lnTo>
                    <a:pt x="13776" y="2113"/>
                  </a:lnTo>
                  <a:close/>
                  <a:moveTo>
                    <a:pt x="13513" y="2113"/>
                  </a:moveTo>
                  <a:lnTo>
                    <a:pt x="13513" y="2226"/>
                  </a:lnTo>
                  <a:lnTo>
                    <a:pt x="13511" y="2235"/>
                  </a:lnTo>
                  <a:lnTo>
                    <a:pt x="13506" y="2241"/>
                  </a:lnTo>
                  <a:lnTo>
                    <a:pt x="13500" y="2245"/>
                  </a:lnTo>
                  <a:lnTo>
                    <a:pt x="13492" y="2246"/>
                  </a:lnTo>
                  <a:lnTo>
                    <a:pt x="13486" y="2245"/>
                  </a:lnTo>
                  <a:lnTo>
                    <a:pt x="13479" y="2241"/>
                  </a:lnTo>
                  <a:lnTo>
                    <a:pt x="13474" y="2235"/>
                  </a:lnTo>
                  <a:lnTo>
                    <a:pt x="13473" y="2226"/>
                  </a:lnTo>
                  <a:lnTo>
                    <a:pt x="13473" y="2113"/>
                  </a:lnTo>
                  <a:lnTo>
                    <a:pt x="13474" y="2106"/>
                  </a:lnTo>
                  <a:lnTo>
                    <a:pt x="13479" y="2099"/>
                  </a:lnTo>
                  <a:lnTo>
                    <a:pt x="13486" y="2095"/>
                  </a:lnTo>
                  <a:lnTo>
                    <a:pt x="13492" y="2094"/>
                  </a:lnTo>
                  <a:lnTo>
                    <a:pt x="13500" y="2095"/>
                  </a:lnTo>
                  <a:lnTo>
                    <a:pt x="13506" y="2099"/>
                  </a:lnTo>
                  <a:lnTo>
                    <a:pt x="13511" y="2106"/>
                  </a:lnTo>
                  <a:lnTo>
                    <a:pt x="13513" y="2113"/>
                  </a:lnTo>
                  <a:close/>
                  <a:moveTo>
                    <a:pt x="13250" y="2113"/>
                  </a:moveTo>
                  <a:lnTo>
                    <a:pt x="13250" y="2226"/>
                  </a:lnTo>
                  <a:lnTo>
                    <a:pt x="13247" y="2235"/>
                  </a:lnTo>
                  <a:lnTo>
                    <a:pt x="13243" y="2241"/>
                  </a:lnTo>
                  <a:lnTo>
                    <a:pt x="13237" y="2245"/>
                  </a:lnTo>
                  <a:lnTo>
                    <a:pt x="13229" y="2246"/>
                  </a:lnTo>
                  <a:lnTo>
                    <a:pt x="13222" y="2245"/>
                  </a:lnTo>
                  <a:lnTo>
                    <a:pt x="13215" y="2241"/>
                  </a:lnTo>
                  <a:lnTo>
                    <a:pt x="13211" y="2235"/>
                  </a:lnTo>
                  <a:lnTo>
                    <a:pt x="13210" y="2226"/>
                  </a:lnTo>
                  <a:lnTo>
                    <a:pt x="13210" y="2113"/>
                  </a:lnTo>
                  <a:lnTo>
                    <a:pt x="13211" y="2106"/>
                  </a:lnTo>
                  <a:lnTo>
                    <a:pt x="13215" y="2099"/>
                  </a:lnTo>
                  <a:lnTo>
                    <a:pt x="13222" y="2095"/>
                  </a:lnTo>
                  <a:lnTo>
                    <a:pt x="13229" y="2094"/>
                  </a:lnTo>
                  <a:lnTo>
                    <a:pt x="13237" y="2095"/>
                  </a:lnTo>
                  <a:lnTo>
                    <a:pt x="13243" y="2099"/>
                  </a:lnTo>
                  <a:lnTo>
                    <a:pt x="13247" y="2106"/>
                  </a:lnTo>
                  <a:lnTo>
                    <a:pt x="13250" y="2113"/>
                  </a:lnTo>
                  <a:close/>
                  <a:moveTo>
                    <a:pt x="12987" y="2113"/>
                  </a:moveTo>
                  <a:lnTo>
                    <a:pt x="12987" y="2226"/>
                  </a:lnTo>
                  <a:lnTo>
                    <a:pt x="12984" y="2235"/>
                  </a:lnTo>
                  <a:lnTo>
                    <a:pt x="12981" y="2241"/>
                  </a:lnTo>
                  <a:lnTo>
                    <a:pt x="12974" y="2245"/>
                  </a:lnTo>
                  <a:lnTo>
                    <a:pt x="12966" y="2246"/>
                  </a:lnTo>
                  <a:lnTo>
                    <a:pt x="12959" y="2245"/>
                  </a:lnTo>
                  <a:lnTo>
                    <a:pt x="12952" y="2241"/>
                  </a:lnTo>
                  <a:lnTo>
                    <a:pt x="12948" y="2235"/>
                  </a:lnTo>
                  <a:lnTo>
                    <a:pt x="12946" y="2226"/>
                  </a:lnTo>
                  <a:lnTo>
                    <a:pt x="12946" y="2113"/>
                  </a:lnTo>
                  <a:lnTo>
                    <a:pt x="12948" y="2106"/>
                  </a:lnTo>
                  <a:lnTo>
                    <a:pt x="12952" y="2099"/>
                  </a:lnTo>
                  <a:lnTo>
                    <a:pt x="12959" y="2095"/>
                  </a:lnTo>
                  <a:lnTo>
                    <a:pt x="12966" y="2094"/>
                  </a:lnTo>
                  <a:lnTo>
                    <a:pt x="12974" y="2095"/>
                  </a:lnTo>
                  <a:lnTo>
                    <a:pt x="12981" y="2099"/>
                  </a:lnTo>
                  <a:lnTo>
                    <a:pt x="12984" y="2106"/>
                  </a:lnTo>
                  <a:lnTo>
                    <a:pt x="12987" y="2113"/>
                  </a:lnTo>
                  <a:close/>
                  <a:moveTo>
                    <a:pt x="13776" y="1879"/>
                  </a:moveTo>
                  <a:lnTo>
                    <a:pt x="13776" y="1992"/>
                  </a:lnTo>
                  <a:lnTo>
                    <a:pt x="13774" y="2001"/>
                  </a:lnTo>
                  <a:lnTo>
                    <a:pt x="13769" y="2007"/>
                  </a:lnTo>
                  <a:lnTo>
                    <a:pt x="13763" y="2011"/>
                  </a:lnTo>
                  <a:lnTo>
                    <a:pt x="13756" y="2012"/>
                  </a:lnTo>
                  <a:lnTo>
                    <a:pt x="13749" y="2011"/>
                  </a:lnTo>
                  <a:lnTo>
                    <a:pt x="13742" y="2007"/>
                  </a:lnTo>
                  <a:lnTo>
                    <a:pt x="13737" y="2001"/>
                  </a:lnTo>
                  <a:lnTo>
                    <a:pt x="13736" y="1992"/>
                  </a:lnTo>
                  <a:lnTo>
                    <a:pt x="13736" y="1879"/>
                  </a:lnTo>
                  <a:lnTo>
                    <a:pt x="13737" y="1872"/>
                  </a:lnTo>
                  <a:lnTo>
                    <a:pt x="13742" y="1865"/>
                  </a:lnTo>
                  <a:lnTo>
                    <a:pt x="13749" y="1861"/>
                  </a:lnTo>
                  <a:lnTo>
                    <a:pt x="13756" y="1860"/>
                  </a:lnTo>
                  <a:lnTo>
                    <a:pt x="13763" y="1861"/>
                  </a:lnTo>
                  <a:lnTo>
                    <a:pt x="13769" y="1865"/>
                  </a:lnTo>
                  <a:lnTo>
                    <a:pt x="13774" y="1872"/>
                  </a:lnTo>
                  <a:lnTo>
                    <a:pt x="13776" y="1879"/>
                  </a:lnTo>
                  <a:close/>
                  <a:moveTo>
                    <a:pt x="13513" y="1879"/>
                  </a:moveTo>
                  <a:lnTo>
                    <a:pt x="13513" y="1992"/>
                  </a:lnTo>
                  <a:lnTo>
                    <a:pt x="13511" y="2001"/>
                  </a:lnTo>
                  <a:lnTo>
                    <a:pt x="13506" y="2007"/>
                  </a:lnTo>
                  <a:lnTo>
                    <a:pt x="13500" y="2011"/>
                  </a:lnTo>
                  <a:lnTo>
                    <a:pt x="13492" y="2012"/>
                  </a:lnTo>
                  <a:lnTo>
                    <a:pt x="13486" y="2011"/>
                  </a:lnTo>
                  <a:lnTo>
                    <a:pt x="13479" y="2007"/>
                  </a:lnTo>
                  <a:lnTo>
                    <a:pt x="13474" y="2001"/>
                  </a:lnTo>
                  <a:lnTo>
                    <a:pt x="13473" y="1992"/>
                  </a:lnTo>
                  <a:lnTo>
                    <a:pt x="13473" y="1879"/>
                  </a:lnTo>
                  <a:lnTo>
                    <a:pt x="13474" y="1872"/>
                  </a:lnTo>
                  <a:lnTo>
                    <a:pt x="13479" y="1865"/>
                  </a:lnTo>
                  <a:lnTo>
                    <a:pt x="13486" y="1861"/>
                  </a:lnTo>
                  <a:lnTo>
                    <a:pt x="13492" y="1860"/>
                  </a:lnTo>
                  <a:lnTo>
                    <a:pt x="13500" y="1861"/>
                  </a:lnTo>
                  <a:lnTo>
                    <a:pt x="13506" y="1865"/>
                  </a:lnTo>
                  <a:lnTo>
                    <a:pt x="13511" y="1872"/>
                  </a:lnTo>
                  <a:lnTo>
                    <a:pt x="13513" y="1879"/>
                  </a:lnTo>
                  <a:close/>
                  <a:moveTo>
                    <a:pt x="13250" y="1879"/>
                  </a:moveTo>
                  <a:lnTo>
                    <a:pt x="13250" y="1992"/>
                  </a:lnTo>
                  <a:lnTo>
                    <a:pt x="13247" y="2001"/>
                  </a:lnTo>
                  <a:lnTo>
                    <a:pt x="13243" y="2007"/>
                  </a:lnTo>
                  <a:lnTo>
                    <a:pt x="13237" y="2011"/>
                  </a:lnTo>
                  <a:lnTo>
                    <a:pt x="13229" y="2012"/>
                  </a:lnTo>
                  <a:lnTo>
                    <a:pt x="13222" y="2011"/>
                  </a:lnTo>
                  <a:lnTo>
                    <a:pt x="13215" y="2007"/>
                  </a:lnTo>
                  <a:lnTo>
                    <a:pt x="13211" y="2001"/>
                  </a:lnTo>
                  <a:lnTo>
                    <a:pt x="13210" y="1992"/>
                  </a:lnTo>
                  <a:lnTo>
                    <a:pt x="13210" y="1879"/>
                  </a:lnTo>
                  <a:lnTo>
                    <a:pt x="13211" y="1872"/>
                  </a:lnTo>
                  <a:lnTo>
                    <a:pt x="13215" y="1865"/>
                  </a:lnTo>
                  <a:lnTo>
                    <a:pt x="13222" y="1861"/>
                  </a:lnTo>
                  <a:lnTo>
                    <a:pt x="13229" y="1860"/>
                  </a:lnTo>
                  <a:lnTo>
                    <a:pt x="13237" y="1861"/>
                  </a:lnTo>
                  <a:lnTo>
                    <a:pt x="13243" y="1865"/>
                  </a:lnTo>
                  <a:lnTo>
                    <a:pt x="13247" y="1872"/>
                  </a:lnTo>
                  <a:lnTo>
                    <a:pt x="13250" y="1879"/>
                  </a:lnTo>
                  <a:close/>
                  <a:moveTo>
                    <a:pt x="12987" y="1879"/>
                  </a:moveTo>
                  <a:lnTo>
                    <a:pt x="12987" y="1992"/>
                  </a:lnTo>
                  <a:lnTo>
                    <a:pt x="12984" y="2001"/>
                  </a:lnTo>
                  <a:lnTo>
                    <a:pt x="12981" y="2007"/>
                  </a:lnTo>
                  <a:lnTo>
                    <a:pt x="12974" y="2011"/>
                  </a:lnTo>
                  <a:lnTo>
                    <a:pt x="12966" y="2012"/>
                  </a:lnTo>
                  <a:lnTo>
                    <a:pt x="12959" y="2011"/>
                  </a:lnTo>
                  <a:lnTo>
                    <a:pt x="12952" y="2007"/>
                  </a:lnTo>
                  <a:lnTo>
                    <a:pt x="12948" y="2001"/>
                  </a:lnTo>
                  <a:lnTo>
                    <a:pt x="12946" y="1992"/>
                  </a:lnTo>
                  <a:lnTo>
                    <a:pt x="12946" y="1879"/>
                  </a:lnTo>
                  <a:lnTo>
                    <a:pt x="12948" y="1872"/>
                  </a:lnTo>
                  <a:lnTo>
                    <a:pt x="12952" y="1865"/>
                  </a:lnTo>
                  <a:lnTo>
                    <a:pt x="12959" y="1861"/>
                  </a:lnTo>
                  <a:lnTo>
                    <a:pt x="12966" y="1860"/>
                  </a:lnTo>
                  <a:lnTo>
                    <a:pt x="12974" y="1861"/>
                  </a:lnTo>
                  <a:lnTo>
                    <a:pt x="12981" y="1865"/>
                  </a:lnTo>
                  <a:lnTo>
                    <a:pt x="12984" y="1872"/>
                  </a:lnTo>
                  <a:lnTo>
                    <a:pt x="12987" y="1879"/>
                  </a:lnTo>
                  <a:close/>
                  <a:moveTo>
                    <a:pt x="13776" y="1645"/>
                  </a:moveTo>
                  <a:lnTo>
                    <a:pt x="13776" y="1758"/>
                  </a:lnTo>
                  <a:lnTo>
                    <a:pt x="13774" y="1767"/>
                  </a:lnTo>
                  <a:lnTo>
                    <a:pt x="13769" y="1773"/>
                  </a:lnTo>
                  <a:lnTo>
                    <a:pt x="13763" y="1777"/>
                  </a:lnTo>
                  <a:lnTo>
                    <a:pt x="13756" y="1778"/>
                  </a:lnTo>
                  <a:lnTo>
                    <a:pt x="13749" y="1777"/>
                  </a:lnTo>
                  <a:lnTo>
                    <a:pt x="13742" y="1773"/>
                  </a:lnTo>
                  <a:lnTo>
                    <a:pt x="13737" y="1767"/>
                  </a:lnTo>
                  <a:lnTo>
                    <a:pt x="13736" y="1758"/>
                  </a:lnTo>
                  <a:lnTo>
                    <a:pt x="13736" y="1645"/>
                  </a:lnTo>
                  <a:lnTo>
                    <a:pt x="13737" y="1636"/>
                  </a:lnTo>
                  <a:lnTo>
                    <a:pt x="13742" y="1631"/>
                  </a:lnTo>
                  <a:lnTo>
                    <a:pt x="13749" y="1627"/>
                  </a:lnTo>
                  <a:lnTo>
                    <a:pt x="13756" y="1626"/>
                  </a:lnTo>
                  <a:lnTo>
                    <a:pt x="13763" y="1627"/>
                  </a:lnTo>
                  <a:lnTo>
                    <a:pt x="13769" y="1631"/>
                  </a:lnTo>
                  <a:lnTo>
                    <a:pt x="13774" y="1636"/>
                  </a:lnTo>
                  <a:lnTo>
                    <a:pt x="13776" y="1645"/>
                  </a:lnTo>
                  <a:close/>
                  <a:moveTo>
                    <a:pt x="13513" y="1645"/>
                  </a:moveTo>
                  <a:lnTo>
                    <a:pt x="13513" y="1758"/>
                  </a:lnTo>
                  <a:lnTo>
                    <a:pt x="13511" y="1767"/>
                  </a:lnTo>
                  <a:lnTo>
                    <a:pt x="13506" y="1773"/>
                  </a:lnTo>
                  <a:lnTo>
                    <a:pt x="13500" y="1777"/>
                  </a:lnTo>
                  <a:lnTo>
                    <a:pt x="13492" y="1778"/>
                  </a:lnTo>
                  <a:lnTo>
                    <a:pt x="13486" y="1777"/>
                  </a:lnTo>
                  <a:lnTo>
                    <a:pt x="13479" y="1773"/>
                  </a:lnTo>
                  <a:lnTo>
                    <a:pt x="13474" y="1767"/>
                  </a:lnTo>
                  <a:lnTo>
                    <a:pt x="13473" y="1758"/>
                  </a:lnTo>
                  <a:lnTo>
                    <a:pt x="13473" y="1645"/>
                  </a:lnTo>
                  <a:lnTo>
                    <a:pt x="13474" y="1636"/>
                  </a:lnTo>
                  <a:lnTo>
                    <a:pt x="13479" y="1631"/>
                  </a:lnTo>
                  <a:lnTo>
                    <a:pt x="13486" y="1627"/>
                  </a:lnTo>
                  <a:lnTo>
                    <a:pt x="13492" y="1626"/>
                  </a:lnTo>
                  <a:lnTo>
                    <a:pt x="13500" y="1627"/>
                  </a:lnTo>
                  <a:lnTo>
                    <a:pt x="13506" y="1631"/>
                  </a:lnTo>
                  <a:lnTo>
                    <a:pt x="13511" y="1636"/>
                  </a:lnTo>
                  <a:lnTo>
                    <a:pt x="13513" y="1645"/>
                  </a:lnTo>
                  <a:close/>
                  <a:moveTo>
                    <a:pt x="13250" y="1645"/>
                  </a:moveTo>
                  <a:lnTo>
                    <a:pt x="13250" y="1758"/>
                  </a:lnTo>
                  <a:lnTo>
                    <a:pt x="13247" y="1767"/>
                  </a:lnTo>
                  <a:lnTo>
                    <a:pt x="13243" y="1773"/>
                  </a:lnTo>
                  <a:lnTo>
                    <a:pt x="13237" y="1777"/>
                  </a:lnTo>
                  <a:lnTo>
                    <a:pt x="13229" y="1778"/>
                  </a:lnTo>
                  <a:lnTo>
                    <a:pt x="13222" y="1777"/>
                  </a:lnTo>
                  <a:lnTo>
                    <a:pt x="13215" y="1773"/>
                  </a:lnTo>
                  <a:lnTo>
                    <a:pt x="13211" y="1767"/>
                  </a:lnTo>
                  <a:lnTo>
                    <a:pt x="13210" y="1758"/>
                  </a:lnTo>
                  <a:lnTo>
                    <a:pt x="13210" y="1645"/>
                  </a:lnTo>
                  <a:lnTo>
                    <a:pt x="13211" y="1636"/>
                  </a:lnTo>
                  <a:lnTo>
                    <a:pt x="13215" y="1631"/>
                  </a:lnTo>
                  <a:lnTo>
                    <a:pt x="13222" y="1627"/>
                  </a:lnTo>
                  <a:lnTo>
                    <a:pt x="13229" y="1626"/>
                  </a:lnTo>
                  <a:lnTo>
                    <a:pt x="13237" y="1627"/>
                  </a:lnTo>
                  <a:lnTo>
                    <a:pt x="13243" y="1631"/>
                  </a:lnTo>
                  <a:lnTo>
                    <a:pt x="13247" y="1636"/>
                  </a:lnTo>
                  <a:lnTo>
                    <a:pt x="13250" y="1645"/>
                  </a:lnTo>
                  <a:close/>
                  <a:moveTo>
                    <a:pt x="12987" y="1645"/>
                  </a:moveTo>
                  <a:lnTo>
                    <a:pt x="12987" y="1758"/>
                  </a:lnTo>
                  <a:lnTo>
                    <a:pt x="12984" y="1767"/>
                  </a:lnTo>
                  <a:lnTo>
                    <a:pt x="12981" y="1773"/>
                  </a:lnTo>
                  <a:lnTo>
                    <a:pt x="12974" y="1777"/>
                  </a:lnTo>
                  <a:lnTo>
                    <a:pt x="12966" y="1778"/>
                  </a:lnTo>
                  <a:lnTo>
                    <a:pt x="12959" y="1777"/>
                  </a:lnTo>
                  <a:lnTo>
                    <a:pt x="12952" y="1773"/>
                  </a:lnTo>
                  <a:lnTo>
                    <a:pt x="12948" y="1767"/>
                  </a:lnTo>
                  <a:lnTo>
                    <a:pt x="12946" y="1758"/>
                  </a:lnTo>
                  <a:lnTo>
                    <a:pt x="12946" y="1645"/>
                  </a:lnTo>
                  <a:lnTo>
                    <a:pt x="12948" y="1636"/>
                  </a:lnTo>
                  <a:lnTo>
                    <a:pt x="12952" y="1631"/>
                  </a:lnTo>
                  <a:lnTo>
                    <a:pt x="12959" y="1627"/>
                  </a:lnTo>
                  <a:lnTo>
                    <a:pt x="12966" y="1626"/>
                  </a:lnTo>
                  <a:lnTo>
                    <a:pt x="12974" y="1627"/>
                  </a:lnTo>
                  <a:lnTo>
                    <a:pt x="12981" y="1631"/>
                  </a:lnTo>
                  <a:lnTo>
                    <a:pt x="12984" y="1636"/>
                  </a:lnTo>
                  <a:lnTo>
                    <a:pt x="12987" y="1645"/>
                  </a:lnTo>
                  <a:close/>
                  <a:moveTo>
                    <a:pt x="13776" y="1411"/>
                  </a:moveTo>
                  <a:lnTo>
                    <a:pt x="13776" y="1524"/>
                  </a:lnTo>
                  <a:lnTo>
                    <a:pt x="13774" y="1533"/>
                  </a:lnTo>
                  <a:lnTo>
                    <a:pt x="13769" y="1539"/>
                  </a:lnTo>
                  <a:lnTo>
                    <a:pt x="13763" y="1543"/>
                  </a:lnTo>
                  <a:lnTo>
                    <a:pt x="13756" y="1544"/>
                  </a:lnTo>
                  <a:lnTo>
                    <a:pt x="13749" y="1543"/>
                  </a:lnTo>
                  <a:lnTo>
                    <a:pt x="13742" y="1539"/>
                  </a:lnTo>
                  <a:lnTo>
                    <a:pt x="13737" y="1533"/>
                  </a:lnTo>
                  <a:lnTo>
                    <a:pt x="13736" y="1524"/>
                  </a:lnTo>
                  <a:lnTo>
                    <a:pt x="13736" y="1411"/>
                  </a:lnTo>
                  <a:lnTo>
                    <a:pt x="13737" y="1402"/>
                  </a:lnTo>
                  <a:lnTo>
                    <a:pt x="13742" y="1397"/>
                  </a:lnTo>
                  <a:lnTo>
                    <a:pt x="13749" y="1393"/>
                  </a:lnTo>
                  <a:lnTo>
                    <a:pt x="13756" y="1392"/>
                  </a:lnTo>
                  <a:lnTo>
                    <a:pt x="13763" y="1393"/>
                  </a:lnTo>
                  <a:lnTo>
                    <a:pt x="13769" y="1397"/>
                  </a:lnTo>
                  <a:lnTo>
                    <a:pt x="13774" y="1402"/>
                  </a:lnTo>
                  <a:lnTo>
                    <a:pt x="13776" y="1411"/>
                  </a:lnTo>
                  <a:close/>
                  <a:moveTo>
                    <a:pt x="13513" y="1411"/>
                  </a:moveTo>
                  <a:lnTo>
                    <a:pt x="13513" y="1524"/>
                  </a:lnTo>
                  <a:lnTo>
                    <a:pt x="13511" y="1533"/>
                  </a:lnTo>
                  <a:lnTo>
                    <a:pt x="13506" y="1539"/>
                  </a:lnTo>
                  <a:lnTo>
                    <a:pt x="13500" y="1543"/>
                  </a:lnTo>
                  <a:lnTo>
                    <a:pt x="13492" y="1544"/>
                  </a:lnTo>
                  <a:lnTo>
                    <a:pt x="13486" y="1543"/>
                  </a:lnTo>
                  <a:lnTo>
                    <a:pt x="13479" y="1539"/>
                  </a:lnTo>
                  <a:lnTo>
                    <a:pt x="13474" y="1533"/>
                  </a:lnTo>
                  <a:lnTo>
                    <a:pt x="13473" y="1524"/>
                  </a:lnTo>
                  <a:lnTo>
                    <a:pt x="13473" y="1411"/>
                  </a:lnTo>
                  <a:lnTo>
                    <a:pt x="13474" y="1402"/>
                  </a:lnTo>
                  <a:lnTo>
                    <a:pt x="13479" y="1397"/>
                  </a:lnTo>
                  <a:lnTo>
                    <a:pt x="13486" y="1393"/>
                  </a:lnTo>
                  <a:lnTo>
                    <a:pt x="13492" y="1392"/>
                  </a:lnTo>
                  <a:lnTo>
                    <a:pt x="13500" y="1393"/>
                  </a:lnTo>
                  <a:lnTo>
                    <a:pt x="13506" y="1397"/>
                  </a:lnTo>
                  <a:lnTo>
                    <a:pt x="13511" y="1402"/>
                  </a:lnTo>
                  <a:lnTo>
                    <a:pt x="13513" y="1411"/>
                  </a:lnTo>
                  <a:close/>
                  <a:moveTo>
                    <a:pt x="13250" y="1411"/>
                  </a:moveTo>
                  <a:lnTo>
                    <a:pt x="13250" y="1524"/>
                  </a:lnTo>
                  <a:lnTo>
                    <a:pt x="13247" y="1533"/>
                  </a:lnTo>
                  <a:lnTo>
                    <a:pt x="13243" y="1539"/>
                  </a:lnTo>
                  <a:lnTo>
                    <a:pt x="13237" y="1543"/>
                  </a:lnTo>
                  <a:lnTo>
                    <a:pt x="13229" y="1544"/>
                  </a:lnTo>
                  <a:lnTo>
                    <a:pt x="13222" y="1543"/>
                  </a:lnTo>
                  <a:lnTo>
                    <a:pt x="13215" y="1539"/>
                  </a:lnTo>
                  <a:lnTo>
                    <a:pt x="13211" y="1533"/>
                  </a:lnTo>
                  <a:lnTo>
                    <a:pt x="13210" y="1524"/>
                  </a:lnTo>
                  <a:lnTo>
                    <a:pt x="13210" y="1411"/>
                  </a:lnTo>
                  <a:lnTo>
                    <a:pt x="13211" y="1402"/>
                  </a:lnTo>
                  <a:lnTo>
                    <a:pt x="13215" y="1397"/>
                  </a:lnTo>
                  <a:lnTo>
                    <a:pt x="13222" y="1393"/>
                  </a:lnTo>
                  <a:lnTo>
                    <a:pt x="13229" y="1392"/>
                  </a:lnTo>
                  <a:lnTo>
                    <a:pt x="13237" y="1393"/>
                  </a:lnTo>
                  <a:lnTo>
                    <a:pt x="13243" y="1397"/>
                  </a:lnTo>
                  <a:lnTo>
                    <a:pt x="13247" y="1402"/>
                  </a:lnTo>
                  <a:lnTo>
                    <a:pt x="13250" y="1411"/>
                  </a:lnTo>
                  <a:close/>
                  <a:moveTo>
                    <a:pt x="12987" y="1411"/>
                  </a:moveTo>
                  <a:lnTo>
                    <a:pt x="12987" y="1524"/>
                  </a:lnTo>
                  <a:lnTo>
                    <a:pt x="12984" y="1533"/>
                  </a:lnTo>
                  <a:lnTo>
                    <a:pt x="12981" y="1539"/>
                  </a:lnTo>
                  <a:lnTo>
                    <a:pt x="12974" y="1543"/>
                  </a:lnTo>
                  <a:lnTo>
                    <a:pt x="12966" y="1544"/>
                  </a:lnTo>
                  <a:lnTo>
                    <a:pt x="12959" y="1543"/>
                  </a:lnTo>
                  <a:lnTo>
                    <a:pt x="12952" y="1539"/>
                  </a:lnTo>
                  <a:lnTo>
                    <a:pt x="12948" y="1533"/>
                  </a:lnTo>
                  <a:lnTo>
                    <a:pt x="12946" y="1524"/>
                  </a:lnTo>
                  <a:lnTo>
                    <a:pt x="12946" y="1411"/>
                  </a:lnTo>
                  <a:lnTo>
                    <a:pt x="12948" y="1402"/>
                  </a:lnTo>
                  <a:lnTo>
                    <a:pt x="12952" y="1397"/>
                  </a:lnTo>
                  <a:lnTo>
                    <a:pt x="12959" y="1393"/>
                  </a:lnTo>
                  <a:lnTo>
                    <a:pt x="12966" y="1392"/>
                  </a:lnTo>
                  <a:lnTo>
                    <a:pt x="12974" y="1393"/>
                  </a:lnTo>
                  <a:lnTo>
                    <a:pt x="12981" y="1397"/>
                  </a:lnTo>
                  <a:lnTo>
                    <a:pt x="12984" y="1402"/>
                  </a:lnTo>
                  <a:lnTo>
                    <a:pt x="12987" y="1411"/>
                  </a:lnTo>
                  <a:close/>
                  <a:moveTo>
                    <a:pt x="13776" y="1177"/>
                  </a:moveTo>
                  <a:lnTo>
                    <a:pt x="13776" y="1290"/>
                  </a:lnTo>
                  <a:lnTo>
                    <a:pt x="13774" y="1299"/>
                  </a:lnTo>
                  <a:lnTo>
                    <a:pt x="13769" y="1305"/>
                  </a:lnTo>
                  <a:lnTo>
                    <a:pt x="13763" y="1309"/>
                  </a:lnTo>
                  <a:lnTo>
                    <a:pt x="13756" y="1309"/>
                  </a:lnTo>
                  <a:lnTo>
                    <a:pt x="13749" y="1309"/>
                  </a:lnTo>
                  <a:lnTo>
                    <a:pt x="13742" y="1305"/>
                  </a:lnTo>
                  <a:lnTo>
                    <a:pt x="13737" y="1299"/>
                  </a:lnTo>
                  <a:lnTo>
                    <a:pt x="13736" y="1290"/>
                  </a:lnTo>
                  <a:lnTo>
                    <a:pt x="13736" y="1177"/>
                  </a:lnTo>
                  <a:lnTo>
                    <a:pt x="13737" y="1168"/>
                  </a:lnTo>
                  <a:lnTo>
                    <a:pt x="13742" y="1163"/>
                  </a:lnTo>
                  <a:lnTo>
                    <a:pt x="13749" y="1159"/>
                  </a:lnTo>
                  <a:lnTo>
                    <a:pt x="13756" y="1158"/>
                  </a:lnTo>
                  <a:lnTo>
                    <a:pt x="13763" y="1159"/>
                  </a:lnTo>
                  <a:lnTo>
                    <a:pt x="13769" y="1163"/>
                  </a:lnTo>
                  <a:lnTo>
                    <a:pt x="13774" y="1168"/>
                  </a:lnTo>
                  <a:lnTo>
                    <a:pt x="13776" y="1177"/>
                  </a:lnTo>
                  <a:close/>
                  <a:moveTo>
                    <a:pt x="13513" y="1177"/>
                  </a:moveTo>
                  <a:lnTo>
                    <a:pt x="13513" y="1290"/>
                  </a:lnTo>
                  <a:lnTo>
                    <a:pt x="13511" y="1299"/>
                  </a:lnTo>
                  <a:lnTo>
                    <a:pt x="13506" y="1305"/>
                  </a:lnTo>
                  <a:lnTo>
                    <a:pt x="13500" y="1309"/>
                  </a:lnTo>
                  <a:lnTo>
                    <a:pt x="13492" y="1309"/>
                  </a:lnTo>
                  <a:lnTo>
                    <a:pt x="13486" y="1309"/>
                  </a:lnTo>
                  <a:lnTo>
                    <a:pt x="13479" y="1305"/>
                  </a:lnTo>
                  <a:lnTo>
                    <a:pt x="13474" y="1299"/>
                  </a:lnTo>
                  <a:lnTo>
                    <a:pt x="13473" y="1290"/>
                  </a:lnTo>
                  <a:lnTo>
                    <a:pt x="13473" y="1177"/>
                  </a:lnTo>
                  <a:lnTo>
                    <a:pt x="13474" y="1168"/>
                  </a:lnTo>
                  <a:lnTo>
                    <a:pt x="13479" y="1163"/>
                  </a:lnTo>
                  <a:lnTo>
                    <a:pt x="13486" y="1159"/>
                  </a:lnTo>
                  <a:lnTo>
                    <a:pt x="13492" y="1158"/>
                  </a:lnTo>
                  <a:lnTo>
                    <a:pt x="13500" y="1159"/>
                  </a:lnTo>
                  <a:lnTo>
                    <a:pt x="13506" y="1163"/>
                  </a:lnTo>
                  <a:lnTo>
                    <a:pt x="13511" y="1168"/>
                  </a:lnTo>
                  <a:lnTo>
                    <a:pt x="13513" y="1177"/>
                  </a:lnTo>
                  <a:close/>
                  <a:moveTo>
                    <a:pt x="13250" y="1177"/>
                  </a:moveTo>
                  <a:lnTo>
                    <a:pt x="13250" y="1290"/>
                  </a:lnTo>
                  <a:lnTo>
                    <a:pt x="13247" y="1299"/>
                  </a:lnTo>
                  <a:lnTo>
                    <a:pt x="13243" y="1305"/>
                  </a:lnTo>
                  <a:lnTo>
                    <a:pt x="13237" y="1309"/>
                  </a:lnTo>
                  <a:lnTo>
                    <a:pt x="13229" y="1309"/>
                  </a:lnTo>
                  <a:lnTo>
                    <a:pt x="13222" y="1309"/>
                  </a:lnTo>
                  <a:lnTo>
                    <a:pt x="13215" y="1305"/>
                  </a:lnTo>
                  <a:lnTo>
                    <a:pt x="13211" y="1299"/>
                  </a:lnTo>
                  <a:lnTo>
                    <a:pt x="13210" y="1290"/>
                  </a:lnTo>
                  <a:lnTo>
                    <a:pt x="13210" y="1177"/>
                  </a:lnTo>
                  <a:lnTo>
                    <a:pt x="13211" y="1168"/>
                  </a:lnTo>
                  <a:lnTo>
                    <a:pt x="13215" y="1163"/>
                  </a:lnTo>
                  <a:lnTo>
                    <a:pt x="13222" y="1159"/>
                  </a:lnTo>
                  <a:lnTo>
                    <a:pt x="13229" y="1158"/>
                  </a:lnTo>
                  <a:lnTo>
                    <a:pt x="13237" y="1159"/>
                  </a:lnTo>
                  <a:lnTo>
                    <a:pt x="13243" y="1163"/>
                  </a:lnTo>
                  <a:lnTo>
                    <a:pt x="13247" y="1168"/>
                  </a:lnTo>
                  <a:lnTo>
                    <a:pt x="13250" y="1177"/>
                  </a:lnTo>
                  <a:close/>
                  <a:moveTo>
                    <a:pt x="12987" y="1177"/>
                  </a:moveTo>
                  <a:lnTo>
                    <a:pt x="12987" y="1290"/>
                  </a:lnTo>
                  <a:lnTo>
                    <a:pt x="12984" y="1299"/>
                  </a:lnTo>
                  <a:lnTo>
                    <a:pt x="12981" y="1305"/>
                  </a:lnTo>
                  <a:lnTo>
                    <a:pt x="12974" y="1309"/>
                  </a:lnTo>
                  <a:lnTo>
                    <a:pt x="12966" y="1309"/>
                  </a:lnTo>
                  <a:lnTo>
                    <a:pt x="12959" y="1309"/>
                  </a:lnTo>
                  <a:lnTo>
                    <a:pt x="12952" y="1305"/>
                  </a:lnTo>
                  <a:lnTo>
                    <a:pt x="12948" y="1299"/>
                  </a:lnTo>
                  <a:lnTo>
                    <a:pt x="12946" y="1290"/>
                  </a:lnTo>
                  <a:lnTo>
                    <a:pt x="12946" y="1177"/>
                  </a:lnTo>
                  <a:lnTo>
                    <a:pt x="12948" y="1168"/>
                  </a:lnTo>
                  <a:lnTo>
                    <a:pt x="12952" y="1163"/>
                  </a:lnTo>
                  <a:lnTo>
                    <a:pt x="12959" y="1159"/>
                  </a:lnTo>
                  <a:lnTo>
                    <a:pt x="12966" y="1158"/>
                  </a:lnTo>
                  <a:lnTo>
                    <a:pt x="12974" y="1159"/>
                  </a:lnTo>
                  <a:lnTo>
                    <a:pt x="12981" y="1163"/>
                  </a:lnTo>
                  <a:lnTo>
                    <a:pt x="12984" y="1168"/>
                  </a:lnTo>
                  <a:lnTo>
                    <a:pt x="12987" y="1177"/>
                  </a:lnTo>
                  <a:close/>
                  <a:moveTo>
                    <a:pt x="13538" y="3927"/>
                  </a:moveTo>
                  <a:lnTo>
                    <a:pt x="13538" y="4038"/>
                  </a:lnTo>
                  <a:lnTo>
                    <a:pt x="13536" y="4047"/>
                  </a:lnTo>
                  <a:lnTo>
                    <a:pt x="13532" y="4053"/>
                  </a:lnTo>
                  <a:lnTo>
                    <a:pt x="13525" y="4057"/>
                  </a:lnTo>
                  <a:lnTo>
                    <a:pt x="13518" y="4058"/>
                  </a:lnTo>
                  <a:lnTo>
                    <a:pt x="13510" y="4057"/>
                  </a:lnTo>
                  <a:lnTo>
                    <a:pt x="13504" y="4053"/>
                  </a:lnTo>
                  <a:lnTo>
                    <a:pt x="13500" y="4047"/>
                  </a:lnTo>
                  <a:lnTo>
                    <a:pt x="13497" y="4038"/>
                  </a:lnTo>
                  <a:lnTo>
                    <a:pt x="13497" y="3927"/>
                  </a:lnTo>
                  <a:lnTo>
                    <a:pt x="13500" y="3918"/>
                  </a:lnTo>
                  <a:lnTo>
                    <a:pt x="13504" y="3911"/>
                  </a:lnTo>
                  <a:lnTo>
                    <a:pt x="13510" y="3907"/>
                  </a:lnTo>
                  <a:lnTo>
                    <a:pt x="13518" y="3906"/>
                  </a:lnTo>
                  <a:lnTo>
                    <a:pt x="13525" y="3907"/>
                  </a:lnTo>
                  <a:lnTo>
                    <a:pt x="13532" y="3911"/>
                  </a:lnTo>
                  <a:lnTo>
                    <a:pt x="13536" y="3918"/>
                  </a:lnTo>
                  <a:lnTo>
                    <a:pt x="13538" y="3927"/>
                  </a:lnTo>
                  <a:close/>
                  <a:moveTo>
                    <a:pt x="13274" y="3927"/>
                  </a:moveTo>
                  <a:lnTo>
                    <a:pt x="13274" y="4038"/>
                  </a:lnTo>
                  <a:lnTo>
                    <a:pt x="13273" y="4047"/>
                  </a:lnTo>
                  <a:lnTo>
                    <a:pt x="13269" y="4053"/>
                  </a:lnTo>
                  <a:lnTo>
                    <a:pt x="13263" y="4057"/>
                  </a:lnTo>
                  <a:lnTo>
                    <a:pt x="13255" y="4058"/>
                  </a:lnTo>
                  <a:lnTo>
                    <a:pt x="13247" y="4057"/>
                  </a:lnTo>
                  <a:lnTo>
                    <a:pt x="13241" y="4053"/>
                  </a:lnTo>
                  <a:lnTo>
                    <a:pt x="13237" y="4047"/>
                  </a:lnTo>
                  <a:lnTo>
                    <a:pt x="13234" y="4038"/>
                  </a:lnTo>
                  <a:lnTo>
                    <a:pt x="13234" y="3927"/>
                  </a:lnTo>
                  <a:lnTo>
                    <a:pt x="13237" y="3918"/>
                  </a:lnTo>
                  <a:lnTo>
                    <a:pt x="13241" y="3911"/>
                  </a:lnTo>
                  <a:lnTo>
                    <a:pt x="13247" y="3907"/>
                  </a:lnTo>
                  <a:lnTo>
                    <a:pt x="13255" y="3906"/>
                  </a:lnTo>
                  <a:lnTo>
                    <a:pt x="13263" y="3907"/>
                  </a:lnTo>
                  <a:lnTo>
                    <a:pt x="13269" y="3911"/>
                  </a:lnTo>
                  <a:lnTo>
                    <a:pt x="13273" y="3918"/>
                  </a:lnTo>
                  <a:lnTo>
                    <a:pt x="13274" y="3927"/>
                  </a:lnTo>
                  <a:close/>
                  <a:moveTo>
                    <a:pt x="13011" y="3927"/>
                  </a:moveTo>
                  <a:lnTo>
                    <a:pt x="13011" y="4038"/>
                  </a:lnTo>
                  <a:lnTo>
                    <a:pt x="13010" y="4047"/>
                  </a:lnTo>
                  <a:lnTo>
                    <a:pt x="13005" y="4053"/>
                  </a:lnTo>
                  <a:lnTo>
                    <a:pt x="12998" y="4057"/>
                  </a:lnTo>
                  <a:lnTo>
                    <a:pt x="12992" y="4058"/>
                  </a:lnTo>
                  <a:lnTo>
                    <a:pt x="12984" y="4057"/>
                  </a:lnTo>
                  <a:lnTo>
                    <a:pt x="12978" y="4053"/>
                  </a:lnTo>
                  <a:lnTo>
                    <a:pt x="12973" y="4047"/>
                  </a:lnTo>
                  <a:lnTo>
                    <a:pt x="12972" y="4038"/>
                  </a:lnTo>
                  <a:lnTo>
                    <a:pt x="12972" y="3927"/>
                  </a:lnTo>
                  <a:lnTo>
                    <a:pt x="12973" y="3918"/>
                  </a:lnTo>
                  <a:lnTo>
                    <a:pt x="12978" y="3911"/>
                  </a:lnTo>
                  <a:lnTo>
                    <a:pt x="12984" y="3907"/>
                  </a:lnTo>
                  <a:lnTo>
                    <a:pt x="12992" y="3906"/>
                  </a:lnTo>
                  <a:lnTo>
                    <a:pt x="12998" y="3907"/>
                  </a:lnTo>
                  <a:lnTo>
                    <a:pt x="13005" y="3911"/>
                  </a:lnTo>
                  <a:lnTo>
                    <a:pt x="13010" y="3918"/>
                  </a:lnTo>
                  <a:lnTo>
                    <a:pt x="13011" y="3927"/>
                  </a:lnTo>
                  <a:close/>
                  <a:moveTo>
                    <a:pt x="12748" y="3927"/>
                  </a:moveTo>
                  <a:lnTo>
                    <a:pt x="12748" y="4038"/>
                  </a:lnTo>
                  <a:lnTo>
                    <a:pt x="12747" y="4047"/>
                  </a:lnTo>
                  <a:lnTo>
                    <a:pt x="12742" y="4053"/>
                  </a:lnTo>
                  <a:lnTo>
                    <a:pt x="12736" y="4057"/>
                  </a:lnTo>
                  <a:lnTo>
                    <a:pt x="12729" y="4058"/>
                  </a:lnTo>
                  <a:lnTo>
                    <a:pt x="12721" y="4057"/>
                  </a:lnTo>
                  <a:lnTo>
                    <a:pt x="12715" y="4053"/>
                  </a:lnTo>
                  <a:lnTo>
                    <a:pt x="12710" y="4047"/>
                  </a:lnTo>
                  <a:lnTo>
                    <a:pt x="12709" y="4038"/>
                  </a:lnTo>
                  <a:lnTo>
                    <a:pt x="12709" y="3927"/>
                  </a:lnTo>
                  <a:lnTo>
                    <a:pt x="12710" y="3918"/>
                  </a:lnTo>
                  <a:lnTo>
                    <a:pt x="12715" y="3911"/>
                  </a:lnTo>
                  <a:lnTo>
                    <a:pt x="12721" y="3907"/>
                  </a:lnTo>
                  <a:lnTo>
                    <a:pt x="12729" y="3906"/>
                  </a:lnTo>
                  <a:lnTo>
                    <a:pt x="12736" y="3907"/>
                  </a:lnTo>
                  <a:lnTo>
                    <a:pt x="12742" y="3911"/>
                  </a:lnTo>
                  <a:lnTo>
                    <a:pt x="12747" y="3918"/>
                  </a:lnTo>
                  <a:lnTo>
                    <a:pt x="12748" y="3927"/>
                  </a:lnTo>
                  <a:close/>
                  <a:moveTo>
                    <a:pt x="13538" y="3681"/>
                  </a:moveTo>
                  <a:lnTo>
                    <a:pt x="13538" y="3792"/>
                  </a:lnTo>
                  <a:lnTo>
                    <a:pt x="13536" y="3801"/>
                  </a:lnTo>
                  <a:lnTo>
                    <a:pt x="13532" y="3808"/>
                  </a:lnTo>
                  <a:lnTo>
                    <a:pt x="13525" y="3811"/>
                  </a:lnTo>
                  <a:lnTo>
                    <a:pt x="13518" y="3813"/>
                  </a:lnTo>
                  <a:lnTo>
                    <a:pt x="13510" y="3811"/>
                  </a:lnTo>
                  <a:lnTo>
                    <a:pt x="13504" y="3808"/>
                  </a:lnTo>
                  <a:lnTo>
                    <a:pt x="13500" y="3801"/>
                  </a:lnTo>
                  <a:lnTo>
                    <a:pt x="13497" y="3792"/>
                  </a:lnTo>
                  <a:lnTo>
                    <a:pt x="13497" y="3681"/>
                  </a:lnTo>
                  <a:lnTo>
                    <a:pt x="13500" y="3672"/>
                  </a:lnTo>
                  <a:lnTo>
                    <a:pt x="13504" y="3666"/>
                  </a:lnTo>
                  <a:lnTo>
                    <a:pt x="13510" y="3662"/>
                  </a:lnTo>
                  <a:lnTo>
                    <a:pt x="13518" y="3661"/>
                  </a:lnTo>
                  <a:lnTo>
                    <a:pt x="13525" y="3662"/>
                  </a:lnTo>
                  <a:lnTo>
                    <a:pt x="13532" y="3666"/>
                  </a:lnTo>
                  <a:lnTo>
                    <a:pt x="13536" y="3672"/>
                  </a:lnTo>
                  <a:lnTo>
                    <a:pt x="13538" y="3681"/>
                  </a:lnTo>
                  <a:close/>
                  <a:moveTo>
                    <a:pt x="13274" y="3681"/>
                  </a:moveTo>
                  <a:lnTo>
                    <a:pt x="13274" y="3792"/>
                  </a:lnTo>
                  <a:lnTo>
                    <a:pt x="13273" y="3801"/>
                  </a:lnTo>
                  <a:lnTo>
                    <a:pt x="13269" y="3808"/>
                  </a:lnTo>
                  <a:lnTo>
                    <a:pt x="13263" y="3811"/>
                  </a:lnTo>
                  <a:lnTo>
                    <a:pt x="13255" y="3813"/>
                  </a:lnTo>
                  <a:lnTo>
                    <a:pt x="13247" y="3811"/>
                  </a:lnTo>
                  <a:lnTo>
                    <a:pt x="13241" y="3808"/>
                  </a:lnTo>
                  <a:lnTo>
                    <a:pt x="13237" y="3801"/>
                  </a:lnTo>
                  <a:lnTo>
                    <a:pt x="13234" y="3792"/>
                  </a:lnTo>
                  <a:lnTo>
                    <a:pt x="13234" y="3681"/>
                  </a:lnTo>
                  <a:lnTo>
                    <a:pt x="13237" y="3672"/>
                  </a:lnTo>
                  <a:lnTo>
                    <a:pt x="13241" y="3666"/>
                  </a:lnTo>
                  <a:lnTo>
                    <a:pt x="13247" y="3662"/>
                  </a:lnTo>
                  <a:lnTo>
                    <a:pt x="13255" y="3661"/>
                  </a:lnTo>
                  <a:lnTo>
                    <a:pt x="13263" y="3662"/>
                  </a:lnTo>
                  <a:lnTo>
                    <a:pt x="13269" y="3666"/>
                  </a:lnTo>
                  <a:lnTo>
                    <a:pt x="13273" y="3672"/>
                  </a:lnTo>
                  <a:lnTo>
                    <a:pt x="13274" y="3681"/>
                  </a:lnTo>
                  <a:close/>
                  <a:moveTo>
                    <a:pt x="13011" y="3681"/>
                  </a:moveTo>
                  <a:lnTo>
                    <a:pt x="13011" y="3792"/>
                  </a:lnTo>
                  <a:lnTo>
                    <a:pt x="13010" y="3801"/>
                  </a:lnTo>
                  <a:lnTo>
                    <a:pt x="13005" y="3808"/>
                  </a:lnTo>
                  <a:lnTo>
                    <a:pt x="12998" y="3811"/>
                  </a:lnTo>
                  <a:lnTo>
                    <a:pt x="12992" y="3813"/>
                  </a:lnTo>
                  <a:lnTo>
                    <a:pt x="12984" y="3811"/>
                  </a:lnTo>
                  <a:lnTo>
                    <a:pt x="12978" y="3808"/>
                  </a:lnTo>
                  <a:lnTo>
                    <a:pt x="12973" y="3801"/>
                  </a:lnTo>
                  <a:lnTo>
                    <a:pt x="12972" y="3792"/>
                  </a:lnTo>
                  <a:lnTo>
                    <a:pt x="12972" y="3681"/>
                  </a:lnTo>
                  <a:lnTo>
                    <a:pt x="12973" y="3672"/>
                  </a:lnTo>
                  <a:lnTo>
                    <a:pt x="12978" y="3666"/>
                  </a:lnTo>
                  <a:lnTo>
                    <a:pt x="12984" y="3662"/>
                  </a:lnTo>
                  <a:lnTo>
                    <a:pt x="12992" y="3661"/>
                  </a:lnTo>
                  <a:lnTo>
                    <a:pt x="12998" y="3662"/>
                  </a:lnTo>
                  <a:lnTo>
                    <a:pt x="13005" y="3666"/>
                  </a:lnTo>
                  <a:lnTo>
                    <a:pt x="13010" y="3672"/>
                  </a:lnTo>
                  <a:lnTo>
                    <a:pt x="13011" y="3681"/>
                  </a:lnTo>
                  <a:close/>
                  <a:moveTo>
                    <a:pt x="12748" y="3681"/>
                  </a:moveTo>
                  <a:lnTo>
                    <a:pt x="12748" y="3792"/>
                  </a:lnTo>
                  <a:lnTo>
                    <a:pt x="12747" y="3801"/>
                  </a:lnTo>
                  <a:lnTo>
                    <a:pt x="12742" y="3808"/>
                  </a:lnTo>
                  <a:lnTo>
                    <a:pt x="12736" y="3811"/>
                  </a:lnTo>
                  <a:lnTo>
                    <a:pt x="12729" y="3813"/>
                  </a:lnTo>
                  <a:lnTo>
                    <a:pt x="12721" y="3811"/>
                  </a:lnTo>
                  <a:lnTo>
                    <a:pt x="12715" y="3808"/>
                  </a:lnTo>
                  <a:lnTo>
                    <a:pt x="12710" y="3801"/>
                  </a:lnTo>
                  <a:lnTo>
                    <a:pt x="12709" y="3792"/>
                  </a:lnTo>
                  <a:lnTo>
                    <a:pt x="12709" y="3681"/>
                  </a:lnTo>
                  <a:lnTo>
                    <a:pt x="12710" y="3672"/>
                  </a:lnTo>
                  <a:lnTo>
                    <a:pt x="12715" y="3666"/>
                  </a:lnTo>
                  <a:lnTo>
                    <a:pt x="12721" y="3662"/>
                  </a:lnTo>
                  <a:lnTo>
                    <a:pt x="12729" y="3661"/>
                  </a:lnTo>
                  <a:lnTo>
                    <a:pt x="12736" y="3662"/>
                  </a:lnTo>
                  <a:lnTo>
                    <a:pt x="12742" y="3666"/>
                  </a:lnTo>
                  <a:lnTo>
                    <a:pt x="12747" y="3672"/>
                  </a:lnTo>
                  <a:lnTo>
                    <a:pt x="12748" y="3681"/>
                  </a:lnTo>
                  <a:close/>
                  <a:moveTo>
                    <a:pt x="13538" y="3436"/>
                  </a:moveTo>
                  <a:lnTo>
                    <a:pt x="13538" y="3547"/>
                  </a:lnTo>
                  <a:lnTo>
                    <a:pt x="13536" y="3556"/>
                  </a:lnTo>
                  <a:lnTo>
                    <a:pt x="13532" y="3562"/>
                  </a:lnTo>
                  <a:lnTo>
                    <a:pt x="13525" y="3566"/>
                  </a:lnTo>
                  <a:lnTo>
                    <a:pt x="13518" y="3567"/>
                  </a:lnTo>
                  <a:lnTo>
                    <a:pt x="13510" y="3566"/>
                  </a:lnTo>
                  <a:lnTo>
                    <a:pt x="13504" y="3562"/>
                  </a:lnTo>
                  <a:lnTo>
                    <a:pt x="13500" y="3556"/>
                  </a:lnTo>
                  <a:lnTo>
                    <a:pt x="13497" y="3547"/>
                  </a:lnTo>
                  <a:lnTo>
                    <a:pt x="13497" y="3436"/>
                  </a:lnTo>
                  <a:lnTo>
                    <a:pt x="13500" y="3427"/>
                  </a:lnTo>
                  <a:lnTo>
                    <a:pt x="13504" y="3420"/>
                  </a:lnTo>
                  <a:lnTo>
                    <a:pt x="13510" y="3416"/>
                  </a:lnTo>
                  <a:lnTo>
                    <a:pt x="13518" y="3415"/>
                  </a:lnTo>
                  <a:lnTo>
                    <a:pt x="13525" y="3416"/>
                  </a:lnTo>
                  <a:lnTo>
                    <a:pt x="13532" y="3420"/>
                  </a:lnTo>
                  <a:lnTo>
                    <a:pt x="13536" y="3427"/>
                  </a:lnTo>
                  <a:lnTo>
                    <a:pt x="13538" y="3436"/>
                  </a:lnTo>
                  <a:close/>
                  <a:moveTo>
                    <a:pt x="13274" y="3436"/>
                  </a:moveTo>
                  <a:lnTo>
                    <a:pt x="13274" y="3547"/>
                  </a:lnTo>
                  <a:lnTo>
                    <a:pt x="13273" y="3556"/>
                  </a:lnTo>
                  <a:lnTo>
                    <a:pt x="13269" y="3562"/>
                  </a:lnTo>
                  <a:lnTo>
                    <a:pt x="13263" y="3566"/>
                  </a:lnTo>
                  <a:lnTo>
                    <a:pt x="13255" y="3567"/>
                  </a:lnTo>
                  <a:lnTo>
                    <a:pt x="13247" y="3566"/>
                  </a:lnTo>
                  <a:lnTo>
                    <a:pt x="13241" y="3562"/>
                  </a:lnTo>
                  <a:lnTo>
                    <a:pt x="13237" y="3556"/>
                  </a:lnTo>
                  <a:lnTo>
                    <a:pt x="13234" y="3547"/>
                  </a:lnTo>
                  <a:lnTo>
                    <a:pt x="13234" y="3436"/>
                  </a:lnTo>
                  <a:lnTo>
                    <a:pt x="13237" y="3427"/>
                  </a:lnTo>
                  <a:lnTo>
                    <a:pt x="13241" y="3420"/>
                  </a:lnTo>
                  <a:lnTo>
                    <a:pt x="13247" y="3416"/>
                  </a:lnTo>
                  <a:lnTo>
                    <a:pt x="13255" y="3415"/>
                  </a:lnTo>
                  <a:lnTo>
                    <a:pt x="13263" y="3416"/>
                  </a:lnTo>
                  <a:lnTo>
                    <a:pt x="13269" y="3420"/>
                  </a:lnTo>
                  <a:lnTo>
                    <a:pt x="13273" y="3427"/>
                  </a:lnTo>
                  <a:lnTo>
                    <a:pt x="13274" y="3436"/>
                  </a:lnTo>
                  <a:close/>
                  <a:moveTo>
                    <a:pt x="13011" y="3436"/>
                  </a:moveTo>
                  <a:lnTo>
                    <a:pt x="13011" y="3547"/>
                  </a:lnTo>
                  <a:lnTo>
                    <a:pt x="13010" y="3556"/>
                  </a:lnTo>
                  <a:lnTo>
                    <a:pt x="13005" y="3562"/>
                  </a:lnTo>
                  <a:lnTo>
                    <a:pt x="12998" y="3566"/>
                  </a:lnTo>
                  <a:lnTo>
                    <a:pt x="12992" y="3567"/>
                  </a:lnTo>
                  <a:lnTo>
                    <a:pt x="12984" y="3566"/>
                  </a:lnTo>
                  <a:lnTo>
                    <a:pt x="12978" y="3562"/>
                  </a:lnTo>
                  <a:lnTo>
                    <a:pt x="12973" y="3556"/>
                  </a:lnTo>
                  <a:lnTo>
                    <a:pt x="12972" y="3547"/>
                  </a:lnTo>
                  <a:lnTo>
                    <a:pt x="12972" y="3436"/>
                  </a:lnTo>
                  <a:lnTo>
                    <a:pt x="12973" y="3427"/>
                  </a:lnTo>
                  <a:lnTo>
                    <a:pt x="12978" y="3420"/>
                  </a:lnTo>
                  <a:lnTo>
                    <a:pt x="12984" y="3416"/>
                  </a:lnTo>
                  <a:lnTo>
                    <a:pt x="12992" y="3415"/>
                  </a:lnTo>
                  <a:lnTo>
                    <a:pt x="12998" y="3416"/>
                  </a:lnTo>
                  <a:lnTo>
                    <a:pt x="13005" y="3420"/>
                  </a:lnTo>
                  <a:lnTo>
                    <a:pt x="13010" y="3427"/>
                  </a:lnTo>
                  <a:lnTo>
                    <a:pt x="13011" y="3436"/>
                  </a:lnTo>
                  <a:close/>
                  <a:moveTo>
                    <a:pt x="12748" y="3436"/>
                  </a:moveTo>
                  <a:lnTo>
                    <a:pt x="12748" y="3547"/>
                  </a:lnTo>
                  <a:lnTo>
                    <a:pt x="12747" y="3556"/>
                  </a:lnTo>
                  <a:lnTo>
                    <a:pt x="12742" y="3562"/>
                  </a:lnTo>
                  <a:lnTo>
                    <a:pt x="12736" y="3566"/>
                  </a:lnTo>
                  <a:lnTo>
                    <a:pt x="12729" y="3567"/>
                  </a:lnTo>
                  <a:lnTo>
                    <a:pt x="12721" y="3566"/>
                  </a:lnTo>
                  <a:lnTo>
                    <a:pt x="12715" y="3562"/>
                  </a:lnTo>
                  <a:lnTo>
                    <a:pt x="12710" y="3556"/>
                  </a:lnTo>
                  <a:lnTo>
                    <a:pt x="12709" y="3547"/>
                  </a:lnTo>
                  <a:lnTo>
                    <a:pt x="12709" y="3436"/>
                  </a:lnTo>
                  <a:lnTo>
                    <a:pt x="12710" y="3427"/>
                  </a:lnTo>
                  <a:lnTo>
                    <a:pt x="12715" y="3420"/>
                  </a:lnTo>
                  <a:lnTo>
                    <a:pt x="12721" y="3416"/>
                  </a:lnTo>
                  <a:lnTo>
                    <a:pt x="12729" y="3415"/>
                  </a:lnTo>
                  <a:lnTo>
                    <a:pt x="12736" y="3416"/>
                  </a:lnTo>
                  <a:lnTo>
                    <a:pt x="12742" y="3420"/>
                  </a:lnTo>
                  <a:lnTo>
                    <a:pt x="12747" y="3427"/>
                  </a:lnTo>
                  <a:lnTo>
                    <a:pt x="12748" y="3436"/>
                  </a:lnTo>
                  <a:close/>
                  <a:moveTo>
                    <a:pt x="12486" y="3436"/>
                  </a:moveTo>
                  <a:lnTo>
                    <a:pt x="12486" y="3547"/>
                  </a:lnTo>
                  <a:lnTo>
                    <a:pt x="12484" y="3556"/>
                  </a:lnTo>
                  <a:lnTo>
                    <a:pt x="12479" y="3562"/>
                  </a:lnTo>
                  <a:lnTo>
                    <a:pt x="12473" y="3566"/>
                  </a:lnTo>
                  <a:lnTo>
                    <a:pt x="12465" y="3567"/>
                  </a:lnTo>
                  <a:lnTo>
                    <a:pt x="12459" y="3566"/>
                  </a:lnTo>
                  <a:lnTo>
                    <a:pt x="12452" y="3562"/>
                  </a:lnTo>
                  <a:lnTo>
                    <a:pt x="12447" y="3556"/>
                  </a:lnTo>
                  <a:lnTo>
                    <a:pt x="12446" y="3547"/>
                  </a:lnTo>
                  <a:lnTo>
                    <a:pt x="12446" y="3436"/>
                  </a:lnTo>
                  <a:lnTo>
                    <a:pt x="12447" y="3427"/>
                  </a:lnTo>
                  <a:lnTo>
                    <a:pt x="12452" y="3420"/>
                  </a:lnTo>
                  <a:lnTo>
                    <a:pt x="12459" y="3416"/>
                  </a:lnTo>
                  <a:lnTo>
                    <a:pt x="12465" y="3415"/>
                  </a:lnTo>
                  <a:lnTo>
                    <a:pt x="12473" y="3416"/>
                  </a:lnTo>
                  <a:lnTo>
                    <a:pt x="12479" y="3420"/>
                  </a:lnTo>
                  <a:lnTo>
                    <a:pt x="12484" y="3427"/>
                  </a:lnTo>
                  <a:lnTo>
                    <a:pt x="12486" y="3436"/>
                  </a:lnTo>
                  <a:close/>
                  <a:moveTo>
                    <a:pt x="10933" y="2423"/>
                  </a:moveTo>
                  <a:lnTo>
                    <a:pt x="10933" y="2535"/>
                  </a:lnTo>
                  <a:lnTo>
                    <a:pt x="10931" y="2543"/>
                  </a:lnTo>
                  <a:lnTo>
                    <a:pt x="10926" y="2549"/>
                  </a:lnTo>
                  <a:lnTo>
                    <a:pt x="10920" y="2553"/>
                  </a:lnTo>
                  <a:lnTo>
                    <a:pt x="10912" y="2555"/>
                  </a:lnTo>
                  <a:lnTo>
                    <a:pt x="10906" y="2553"/>
                  </a:lnTo>
                  <a:lnTo>
                    <a:pt x="10899" y="2549"/>
                  </a:lnTo>
                  <a:lnTo>
                    <a:pt x="10894" y="2543"/>
                  </a:lnTo>
                  <a:lnTo>
                    <a:pt x="10893" y="2535"/>
                  </a:lnTo>
                  <a:lnTo>
                    <a:pt x="10893" y="2423"/>
                  </a:lnTo>
                  <a:lnTo>
                    <a:pt x="10894" y="2414"/>
                  </a:lnTo>
                  <a:lnTo>
                    <a:pt x="10899" y="2407"/>
                  </a:lnTo>
                  <a:lnTo>
                    <a:pt x="10906" y="2404"/>
                  </a:lnTo>
                  <a:lnTo>
                    <a:pt x="10912" y="2402"/>
                  </a:lnTo>
                  <a:lnTo>
                    <a:pt x="10920" y="2404"/>
                  </a:lnTo>
                  <a:lnTo>
                    <a:pt x="10926" y="2407"/>
                  </a:lnTo>
                  <a:lnTo>
                    <a:pt x="10931" y="2414"/>
                  </a:lnTo>
                  <a:lnTo>
                    <a:pt x="10933" y="2423"/>
                  </a:lnTo>
                  <a:close/>
                  <a:moveTo>
                    <a:pt x="10670" y="2423"/>
                  </a:moveTo>
                  <a:lnTo>
                    <a:pt x="10670" y="2535"/>
                  </a:lnTo>
                  <a:lnTo>
                    <a:pt x="10669" y="2543"/>
                  </a:lnTo>
                  <a:lnTo>
                    <a:pt x="10663" y="2549"/>
                  </a:lnTo>
                  <a:lnTo>
                    <a:pt x="10657" y="2553"/>
                  </a:lnTo>
                  <a:lnTo>
                    <a:pt x="10649" y="2555"/>
                  </a:lnTo>
                  <a:lnTo>
                    <a:pt x="10643" y="2553"/>
                  </a:lnTo>
                  <a:lnTo>
                    <a:pt x="10637" y="2549"/>
                  </a:lnTo>
                  <a:lnTo>
                    <a:pt x="10631" y="2543"/>
                  </a:lnTo>
                  <a:lnTo>
                    <a:pt x="10630" y="2535"/>
                  </a:lnTo>
                  <a:lnTo>
                    <a:pt x="10630" y="2423"/>
                  </a:lnTo>
                  <a:lnTo>
                    <a:pt x="10631" y="2414"/>
                  </a:lnTo>
                  <a:lnTo>
                    <a:pt x="10637" y="2407"/>
                  </a:lnTo>
                  <a:lnTo>
                    <a:pt x="10643" y="2404"/>
                  </a:lnTo>
                  <a:lnTo>
                    <a:pt x="10649" y="2402"/>
                  </a:lnTo>
                  <a:lnTo>
                    <a:pt x="10657" y="2404"/>
                  </a:lnTo>
                  <a:lnTo>
                    <a:pt x="10663" y="2407"/>
                  </a:lnTo>
                  <a:lnTo>
                    <a:pt x="10669" y="2414"/>
                  </a:lnTo>
                  <a:lnTo>
                    <a:pt x="10670" y="2423"/>
                  </a:lnTo>
                  <a:close/>
                  <a:moveTo>
                    <a:pt x="10407" y="2423"/>
                  </a:moveTo>
                  <a:lnTo>
                    <a:pt x="10407" y="2535"/>
                  </a:lnTo>
                  <a:lnTo>
                    <a:pt x="10404" y="2543"/>
                  </a:lnTo>
                  <a:lnTo>
                    <a:pt x="10401" y="2549"/>
                  </a:lnTo>
                  <a:lnTo>
                    <a:pt x="10394" y="2553"/>
                  </a:lnTo>
                  <a:lnTo>
                    <a:pt x="10386" y="2555"/>
                  </a:lnTo>
                  <a:lnTo>
                    <a:pt x="10379" y="2553"/>
                  </a:lnTo>
                  <a:lnTo>
                    <a:pt x="10372" y="2549"/>
                  </a:lnTo>
                  <a:lnTo>
                    <a:pt x="10369" y="2543"/>
                  </a:lnTo>
                  <a:lnTo>
                    <a:pt x="10366" y="2535"/>
                  </a:lnTo>
                  <a:lnTo>
                    <a:pt x="10366" y="2423"/>
                  </a:lnTo>
                  <a:lnTo>
                    <a:pt x="10369" y="2414"/>
                  </a:lnTo>
                  <a:lnTo>
                    <a:pt x="10372" y="2407"/>
                  </a:lnTo>
                  <a:lnTo>
                    <a:pt x="10379" y="2404"/>
                  </a:lnTo>
                  <a:lnTo>
                    <a:pt x="10386" y="2402"/>
                  </a:lnTo>
                  <a:lnTo>
                    <a:pt x="10394" y="2404"/>
                  </a:lnTo>
                  <a:lnTo>
                    <a:pt x="10401" y="2407"/>
                  </a:lnTo>
                  <a:lnTo>
                    <a:pt x="10404" y="2414"/>
                  </a:lnTo>
                  <a:lnTo>
                    <a:pt x="10407" y="2423"/>
                  </a:lnTo>
                  <a:close/>
                  <a:moveTo>
                    <a:pt x="10143" y="2423"/>
                  </a:moveTo>
                  <a:lnTo>
                    <a:pt x="10143" y="2535"/>
                  </a:lnTo>
                  <a:lnTo>
                    <a:pt x="10142" y="2543"/>
                  </a:lnTo>
                  <a:lnTo>
                    <a:pt x="10138" y="2549"/>
                  </a:lnTo>
                  <a:lnTo>
                    <a:pt x="10131" y="2553"/>
                  </a:lnTo>
                  <a:lnTo>
                    <a:pt x="10124" y="2555"/>
                  </a:lnTo>
                  <a:lnTo>
                    <a:pt x="10116" y="2553"/>
                  </a:lnTo>
                  <a:lnTo>
                    <a:pt x="10109" y="2549"/>
                  </a:lnTo>
                  <a:lnTo>
                    <a:pt x="10106" y="2543"/>
                  </a:lnTo>
                  <a:lnTo>
                    <a:pt x="10103" y="2535"/>
                  </a:lnTo>
                  <a:lnTo>
                    <a:pt x="10103" y="2423"/>
                  </a:lnTo>
                  <a:lnTo>
                    <a:pt x="10106" y="2414"/>
                  </a:lnTo>
                  <a:lnTo>
                    <a:pt x="10109" y="2407"/>
                  </a:lnTo>
                  <a:lnTo>
                    <a:pt x="10116" y="2404"/>
                  </a:lnTo>
                  <a:lnTo>
                    <a:pt x="10124" y="2402"/>
                  </a:lnTo>
                  <a:lnTo>
                    <a:pt x="10131" y="2404"/>
                  </a:lnTo>
                  <a:lnTo>
                    <a:pt x="10138" y="2407"/>
                  </a:lnTo>
                  <a:lnTo>
                    <a:pt x="10142" y="2414"/>
                  </a:lnTo>
                  <a:lnTo>
                    <a:pt x="10143" y="2423"/>
                  </a:lnTo>
                  <a:close/>
                  <a:moveTo>
                    <a:pt x="9880" y="2423"/>
                  </a:moveTo>
                  <a:lnTo>
                    <a:pt x="9880" y="2535"/>
                  </a:lnTo>
                  <a:lnTo>
                    <a:pt x="9879" y="2543"/>
                  </a:lnTo>
                  <a:lnTo>
                    <a:pt x="9874" y="2549"/>
                  </a:lnTo>
                  <a:lnTo>
                    <a:pt x="9867" y="2553"/>
                  </a:lnTo>
                  <a:lnTo>
                    <a:pt x="9861" y="2555"/>
                  </a:lnTo>
                  <a:lnTo>
                    <a:pt x="9853" y="2553"/>
                  </a:lnTo>
                  <a:lnTo>
                    <a:pt x="9847" y="2549"/>
                  </a:lnTo>
                  <a:lnTo>
                    <a:pt x="9841" y="2543"/>
                  </a:lnTo>
                  <a:lnTo>
                    <a:pt x="9840" y="2535"/>
                  </a:lnTo>
                  <a:lnTo>
                    <a:pt x="9840" y="2423"/>
                  </a:lnTo>
                  <a:lnTo>
                    <a:pt x="9841" y="2414"/>
                  </a:lnTo>
                  <a:lnTo>
                    <a:pt x="9847" y="2407"/>
                  </a:lnTo>
                  <a:lnTo>
                    <a:pt x="9853" y="2404"/>
                  </a:lnTo>
                  <a:lnTo>
                    <a:pt x="9861" y="2402"/>
                  </a:lnTo>
                  <a:lnTo>
                    <a:pt x="9867" y="2404"/>
                  </a:lnTo>
                  <a:lnTo>
                    <a:pt x="9874" y="2407"/>
                  </a:lnTo>
                  <a:lnTo>
                    <a:pt x="9879" y="2414"/>
                  </a:lnTo>
                  <a:lnTo>
                    <a:pt x="9880" y="2423"/>
                  </a:lnTo>
                  <a:close/>
                  <a:moveTo>
                    <a:pt x="9617" y="2423"/>
                  </a:moveTo>
                  <a:lnTo>
                    <a:pt x="9617" y="2535"/>
                  </a:lnTo>
                  <a:lnTo>
                    <a:pt x="9616" y="2543"/>
                  </a:lnTo>
                  <a:lnTo>
                    <a:pt x="9611" y="2549"/>
                  </a:lnTo>
                  <a:lnTo>
                    <a:pt x="9604" y="2553"/>
                  </a:lnTo>
                  <a:lnTo>
                    <a:pt x="9598" y="2555"/>
                  </a:lnTo>
                  <a:lnTo>
                    <a:pt x="9590" y="2553"/>
                  </a:lnTo>
                  <a:lnTo>
                    <a:pt x="9584" y="2549"/>
                  </a:lnTo>
                  <a:lnTo>
                    <a:pt x="9579" y="2543"/>
                  </a:lnTo>
                  <a:lnTo>
                    <a:pt x="9577" y="2535"/>
                  </a:lnTo>
                  <a:lnTo>
                    <a:pt x="9577" y="2423"/>
                  </a:lnTo>
                  <a:lnTo>
                    <a:pt x="9579" y="2414"/>
                  </a:lnTo>
                  <a:lnTo>
                    <a:pt x="9584" y="2407"/>
                  </a:lnTo>
                  <a:lnTo>
                    <a:pt x="9590" y="2404"/>
                  </a:lnTo>
                  <a:lnTo>
                    <a:pt x="9598" y="2402"/>
                  </a:lnTo>
                  <a:lnTo>
                    <a:pt x="9604" y="2404"/>
                  </a:lnTo>
                  <a:lnTo>
                    <a:pt x="9611" y="2407"/>
                  </a:lnTo>
                  <a:lnTo>
                    <a:pt x="9616" y="2414"/>
                  </a:lnTo>
                  <a:lnTo>
                    <a:pt x="9617" y="2423"/>
                  </a:lnTo>
                  <a:close/>
                  <a:moveTo>
                    <a:pt x="16589" y="796"/>
                  </a:moveTo>
                  <a:lnTo>
                    <a:pt x="16589" y="847"/>
                  </a:lnTo>
                  <a:lnTo>
                    <a:pt x="16588" y="859"/>
                  </a:lnTo>
                  <a:lnTo>
                    <a:pt x="16584" y="869"/>
                  </a:lnTo>
                  <a:lnTo>
                    <a:pt x="16576" y="878"/>
                  </a:lnTo>
                  <a:lnTo>
                    <a:pt x="16566" y="883"/>
                  </a:lnTo>
                  <a:lnTo>
                    <a:pt x="16556" y="890"/>
                  </a:lnTo>
                  <a:lnTo>
                    <a:pt x="16547" y="896"/>
                  </a:lnTo>
                  <a:lnTo>
                    <a:pt x="16534" y="913"/>
                  </a:lnTo>
                  <a:lnTo>
                    <a:pt x="16529" y="923"/>
                  </a:lnTo>
                  <a:lnTo>
                    <a:pt x="16526" y="934"/>
                  </a:lnTo>
                  <a:lnTo>
                    <a:pt x="16526" y="956"/>
                  </a:lnTo>
                  <a:lnTo>
                    <a:pt x="16530" y="968"/>
                  </a:lnTo>
                  <a:lnTo>
                    <a:pt x="16535" y="978"/>
                  </a:lnTo>
                  <a:lnTo>
                    <a:pt x="16541" y="987"/>
                  </a:lnTo>
                  <a:lnTo>
                    <a:pt x="16549" y="996"/>
                  </a:lnTo>
                  <a:lnTo>
                    <a:pt x="16568" y="1006"/>
                  </a:lnTo>
                  <a:lnTo>
                    <a:pt x="16591" y="1011"/>
                  </a:lnTo>
                  <a:lnTo>
                    <a:pt x="16604" y="1009"/>
                  </a:lnTo>
                  <a:lnTo>
                    <a:pt x="16617" y="1005"/>
                  </a:lnTo>
                  <a:lnTo>
                    <a:pt x="16629" y="1000"/>
                  </a:lnTo>
                  <a:lnTo>
                    <a:pt x="16638" y="991"/>
                  </a:lnTo>
                  <a:lnTo>
                    <a:pt x="16647" y="982"/>
                  </a:lnTo>
                  <a:lnTo>
                    <a:pt x="16652" y="970"/>
                  </a:lnTo>
                  <a:lnTo>
                    <a:pt x="16656" y="957"/>
                  </a:lnTo>
                  <a:lnTo>
                    <a:pt x="16657" y="945"/>
                  </a:lnTo>
                  <a:lnTo>
                    <a:pt x="16659" y="936"/>
                  </a:lnTo>
                  <a:lnTo>
                    <a:pt x="16663" y="929"/>
                  </a:lnTo>
                  <a:lnTo>
                    <a:pt x="16670" y="925"/>
                  </a:lnTo>
                  <a:lnTo>
                    <a:pt x="16677" y="924"/>
                  </a:lnTo>
                  <a:lnTo>
                    <a:pt x="16685" y="925"/>
                  </a:lnTo>
                  <a:lnTo>
                    <a:pt x="16691" y="929"/>
                  </a:lnTo>
                  <a:lnTo>
                    <a:pt x="16695" y="936"/>
                  </a:lnTo>
                  <a:lnTo>
                    <a:pt x="16698" y="945"/>
                  </a:lnTo>
                  <a:lnTo>
                    <a:pt x="16695" y="966"/>
                  </a:lnTo>
                  <a:lnTo>
                    <a:pt x="16689" y="986"/>
                  </a:lnTo>
                  <a:lnTo>
                    <a:pt x="16679" y="1003"/>
                  </a:lnTo>
                  <a:lnTo>
                    <a:pt x="16666" y="1020"/>
                  </a:lnTo>
                  <a:lnTo>
                    <a:pt x="16650" y="1033"/>
                  </a:lnTo>
                  <a:lnTo>
                    <a:pt x="16632" y="1042"/>
                  </a:lnTo>
                  <a:lnTo>
                    <a:pt x="16612" y="1048"/>
                  </a:lnTo>
                  <a:lnTo>
                    <a:pt x="16591" y="1051"/>
                  </a:lnTo>
                  <a:lnTo>
                    <a:pt x="16572" y="1048"/>
                  </a:lnTo>
                  <a:lnTo>
                    <a:pt x="16556" y="1044"/>
                  </a:lnTo>
                  <a:lnTo>
                    <a:pt x="16539" y="1037"/>
                  </a:lnTo>
                  <a:lnTo>
                    <a:pt x="16523" y="1025"/>
                  </a:lnTo>
                  <a:lnTo>
                    <a:pt x="16511" y="1014"/>
                  </a:lnTo>
                  <a:lnTo>
                    <a:pt x="16500" y="998"/>
                  </a:lnTo>
                  <a:lnTo>
                    <a:pt x="16495" y="991"/>
                  </a:lnTo>
                  <a:lnTo>
                    <a:pt x="16491" y="982"/>
                  </a:lnTo>
                  <a:lnTo>
                    <a:pt x="16488" y="964"/>
                  </a:lnTo>
                  <a:lnTo>
                    <a:pt x="16485" y="945"/>
                  </a:lnTo>
                  <a:lnTo>
                    <a:pt x="16486" y="928"/>
                  </a:lnTo>
                  <a:lnTo>
                    <a:pt x="16490" y="910"/>
                  </a:lnTo>
                  <a:lnTo>
                    <a:pt x="16498" y="895"/>
                  </a:lnTo>
                  <a:lnTo>
                    <a:pt x="16507" y="879"/>
                  </a:lnTo>
                  <a:lnTo>
                    <a:pt x="16518" y="867"/>
                  </a:lnTo>
                  <a:lnTo>
                    <a:pt x="16532" y="856"/>
                  </a:lnTo>
                  <a:lnTo>
                    <a:pt x="16549" y="847"/>
                  </a:lnTo>
                  <a:lnTo>
                    <a:pt x="16549" y="796"/>
                  </a:lnTo>
                  <a:lnTo>
                    <a:pt x="16550" y="787"/>
                  </a:lnTo>
                  <a:lnTo>
                    <a:pt x="16556" y="782"/>
                  </a:lnTo>
                  <a:lnTo>
                    <a:pt x="16562" y="778"/>
                  </a:lnTo>
                  <a:lnTo>
                    <a:pt x="16568" y="777"/>
                  </a:lnTo>
                  <a:lnTo>
                    <a:pt x="16576" y="778"/>
                  </a:lnTo>
                  <a:lnTo>
                    <a:pt x="16582" y="782"/>
                  </a:lnTo>
                  <a:lnTo>
                    <a:pt x="16588" y="787"/>
                  </a:lnTo>
                  <a:lnTo>
                    <a:pt x="16589" y="796"/>
                  </a:lnTo>
                  <a:close/>
                  <a:moveTo>
                    <a:pt x="17183" y="112"/>
                  </a:moveTo>
                  <a:lnTo>
                    <a:pt x="17100" y="225"/>
                  </a:lnTo>
                  <a:lnTo>
                    <a:pt x="17100" y="309"/>
                  </a:lnTo>
                  <a:lnTo>
                    <a:pt x="17183" y="309"/>
                  </a:lnTo>
                  <a:lnTo>
                    <a:pt x="17183" y="112"/>
                  </a:lnTo>
                  <a:close/>
                  <a:moveTo>
                    <a:pt x="17059" y="309"/>
                  </a:moveTo>
                  <a:lnTo>
                    <a:pt x="17059" y="218"/>
                  </a:lnTo>
                  <a:lnTo>
                    <a:pt x="17063" y="207"/>
                  </a:lnTo>
                  <a:lnTo>
                    <a:pt x="17175" y="55"/>
                  </a:lnTo>
                  <a:lnTo>
                    <a:pt x="16382" y="309"/>
                  </a:lnTo>
                  <a:lnTo>
                    <a:pt x="16906" y="309"/>
                  </a:lnTo>
                  <a:lnTo>
                    <a:pt x="17015" y="309"/>
                  </a:lnTo>
                  <a:lnTo>
                    <a:pt x="17059" y="309"/>
                  </a:lnTo>
                  <a:close/>
                  <a:moveTo>
                    <a:pt x="17222" y="309"/>
                  </a:moveTo>
                  <a:lnTo>
                    <a:pt x="17388" y="309"/>
                  </a:lnTo>
                  <a:lnTo>
                    <a:pt x="17222" y="80"/>
                  </a:lnTo>
                  <a:lnTo>
                    <a:pt x="17222" y="309"/>
                  </a:lnTo>
                  <a:close/>
                  <a:moveTo>
                    <a:pt x="17183" y="481"/>
                  </a:moveTo>
                  <a:lnTo>
                    <a:pt x="17015" y="481"/>
                  </a:lnTo>
                  <a:lnTo>
                    <a:pt x="17007" y="478"/>
                  </a:lnTo>
                  <a:lnTo>
                    <a:pt x="17000" y="474"/>
                  </a:lnTo>
                  <a:lnTo>
                    <a:pt x="16995" y="468"/>
                  </a:lnTo>
                  <a:lnTo>
                    <a:pt x="16994" y="460"/>
                  </a:lnTo>
                  <a:lnTo>
                    <a:pt x="16994" y="349"/>
                  </a:lnTo>
                  <a:lnTo>
                    <a:pt x="16926" y="349"/>
                  </a:lnTo>
                  <a:lnTo>
                    <a:pt x="16926" y="552"/>
                  </a:lnTo>
                  <a:lnTo>
                    <a:pt x="17067" y="552"/>
                  </a:lnTo>
                  <a:lnTo>
                    <a:pt x="17183" y="552"/>
                  </a:lnTo>
                  <a:lnTo>
                    <a:pt x="17183" y="481"/>
                  </a:lnTo>
                  <a:close/>
                  <a:moveTo>
                    <a:pt x="17222" y="349"/>
                  </a:moveTo>
                  <a:lnTo>
                    <a:pt x="17222" y="460"/>
                  </a:lnTo>
                  <a:lnTo>
                    <a:pt x="17222" y="573"/>
                  </a:lnTo>
                  <a:lnTo>
                    <a:pt x="17222" y="1413"/>
                  </a:lnTo>
                  <a:lnTo>
                    <a:pt x="17222" y="2253"/>
                  </a:lnTo>
                  <a:lnTo>
                    <a:pt x="17220" y="2262"/>
                  </a:lnTo>
                  <a:lnTo>
                    <a:pt x="17216" y="2268"/>
                  </a:lnTo>
                  <a:lnTo>
                    <a:pt x="17209" y="2272"/>
                  </a:lnTo>
                  <a:lnTo>
                    <a:pt x="17202" y="2273"/>
                  </a:lnTo>
                  <a:lnTo>
                    <a:pt x="17194" y="2272"/>
                  </a:lnTo>
                  <a:lnTo>
                    <a:pt x="17188" y="2268"/>
                  </a:lnTo>
                  <a:lnTo>
                    <a:pt x="17184" y="2262"/>
                  </a:lnTo>
                  <a:lnTo>
                    <a:pt x="17183" y="2253"/>
                  </a:lnTo>
                  <a:lnTo>
                    <a:pt x="17183" y="1422"/>
                  </a:lnTo>
                  <a:lnTo>
                    <a:pt x="17183" y="592"/>
                  </a:lnTo>
                  <a:lnTo>
                    <a:pt x="17088" y="592"/>
                  </a:lnTo>
                  <a:lnTo>
                    <a:pt x="17088" y="1422"/>
                  </a:lnTo>
                  <a:lnTo>
                    <a:pt x="17088" y="2253"/>
                  </a:lnTo>
                  <a:lnTo>
                    <a:pt x="17085" y="2262"/>
                  </a:lnTo>
                  <a:lnTo>
                    <a:pt x="17081" y="2268"/>
                  </a:lnTo>
                  <a:lnTo>
                    <a:pt x="17075" y="2272"/>
                  </a:lnTo>
                  <a:lnTo>
                    <a:pt x="17067" y="2273"/>
                  </a:lnTo>
                  <a:lnTo>
                    <a:pt x="17059" y="2272"/>
                  </a:lnTo>
                  <a:lnTo>
                    <a:pt x="17053" y="2268"/>
                  </a:lnTo>
                  <a:lnTo>
                    <a:pt x="17049" y="2262"/>
                  </a:lnTo>
                  <a:lnTo>
                    <a:pt x="17047" y="2253"/>
                  </a:lnTo>
                  <a:lnTo>
                    <a:pt x="17047" y="1422"/>
                  </a:lnTo>
                  <a:lnTo>
                    <a:pt x="17047" y="592"/>
                  </a:lnTo>
                  <a:lnTo>
                    <a:pt x="16906" y="592"/>
                  </a:lnTo>
                  <a:lnTo>
                    <a:pt x="16898" y="590"/>
                  </a:lnTo>
                  <a:lnTo>
                    <a:pt x="16891" y="587"/>
                  </a:lnTo>
                  <a:lnTo>
                    <a:pt x="16888" y="580"/>
                  </a:lnTo>
                  <a:lnTo>
                    <a:pt x="16886" y="573"/>
                  </a:lnTo>
                  <a:lnTo>
                    <a:pt x="16886" y="349"/>
                  </a:lnTo>
                  <a:lnTo>
                    <a:pt x="16584" y="349"/>
                  </a:lnTo>
                  <a:lnTo>
                    <a:pt x="16584" y="740"/>
                  </a:lnTo>
                  <a:lnTo>
                    <a:pt x="16581" y="749"/>
                  </a:lnTo>
                  <a:lnTo>
                    <a:pt x="16577" y="755"/>
                  </a:lnTo>
                  <a:lnTo>
                    <a:pt x="16571" y="759"/>
                  </a:lnTo>
                  <a:lnTo>
                    <a:pt x="16563" y="761"/>
                  </a:lnTo>
                  <a:lnTo>
                    <a:pt x="16556" y="759"/>
                  </a:lnTo>
                  <a:lnTo>
                    <a:pt x="16549" y="755"/>
                  </a:lnTo>
                  <a:lnTo>
                    <a:pt x="16545" y="749"/>
                  </a:lnTo>
                  <a:lnTo>
                    <a:pt x="16544" y="740"/>
                  </a:lnTo>
                  <a:lnTo>
                    <a:pt x="16544" y="349"/>
                  </a:lnTo>
                  <a:lnTo>
                    <a:pt x="16255" y="349"/>
                  </a:lnTo>
                  <a:lnTo>
                    <a:pt x="16246" y="348"/>
                  </a:lnTo>
                  <a:lnTo>
                    <a:pt x="16239" y="344"/>
                  </a:lnTo>
                  <a:lnTo>
                    <a:pt x="16235" y="339"/>
                  </a:lnTo>
                  <a:lnTo>
                    <a:pt x="16232" y="332"/>
                  </a:lnTo>
                  <a:lnTo>
                    <a:pt x="16232" y="326"/>
                  </a:lnTo>
                  <a:lnTo>
                    <a:pt x="16235" y="319"/>
                  </a:lnTo>
                  <a:lnTo>
                    <a:pt x="16241" y="314"/>
                  </a:lnTo>
                  <a:lnTo>
                    <a:pt x="16249" y="310"/>
                  </a:lnTo>
                  <a:lnTo>
                    <a:pt x="17184" y="9"/>
                  </a:lnTo>
                  <a:lnTo>
                    <a:pt x="17188" y="5"/>
                  </a:lnTo>
                  <a:lnTo>
                    <a:pt x="17192" y="2"/>
                  </a:lnTo>
                  <a:lnTo>
                    <a:pt x="17203" y="0"/>
                  </a:lnTo>
                  <a:lnTo>
                    <a:pt x="17213" y="2"/>
                  </a:lnTo>
                  <a:lnTo>
                    <a:pt x="17220" y="10"/>
                  </a:lnTo>
                  <a:lnTo>
                    <a:pt x="17443" y="317"/>
                  </a:lnTo>
                  <a:lnTo>
                    <a:pt x="17447" y="323"/>
                  </a:lnTo>
                  <a:lnTo>
                    <a:pt x="17449" y="328"/>
                  </a:lnTo>
                  <a:lnTo>
                    <a:pt x="17447" y="339"/>
                  </a:lnTo>
                  <a:lnTo>
                    <a:pt x="17440" y="346"/>
                  </a:lnTo>
                  <a:lnTo>
                    <a:pt x="17427" y="349"/>
                  </a:lnTo>
                  <a:lnTo>
                    <a:pt x="17222" y="349"/>
                  </a:lnTo>
                  <a:close/>
                  <a:moveTo>
                    <a:pt x="17183" y="349"/>
                  </a:moveTo>
                  <a:lnTo>
                    <a:pt x="17034" y="349"/>
                  </a:lnTo>
                  <a:lnTo>
                    <a:pt x="17034" y="440"/>
                  </a:lnTo>
                  <a:lnTo>
                    <a:pt x="17183" y="440"/>
                  </a:lnTo>
                  <a:lnTo>
                    <a:pt x="17183" y="349"/>
                  </a:lnTo>
                  <a:close/>
                  <a:moveTo>
                    <a:pt x="15662" y="1363"/>
                  </a:moveTo>
                  <a:lnTo>
                    <a:pt x="15676" y="1370"/>
                  </a:lnTo>
                  <a:lnTo>
                    <a:pt x="15687" y="1379"/>
                  </a:lnTo>
                  <a:lnTo>
                    <a:pt x="15696" y="1391"/>
                  </a:lnTo>
                  <a:lnTo>
                    <a:pt x="15704" y="1404"/>
                  </a:lnTo>
                  <a:lnTo>
                    <a:pt x="15709" y="1417"/>
                  </a:lnTo>
                  <a:lnTo>
                    <a:pt x="15713" y="1431"/>
                  </a:lnTo>
                  <a:lnTo>
                    <a:pt x="15713" y="1461"/>
                  </a:lnTo>
                  <a:lnTo>
                    <a:pt x="15709" y="1477"/>
                  </a:lnTo>
                  <a:lnTo>
                    <a:pt x="15702" y="1491"/>
                  </a:lnTo>
                  <a:lnTo>
                    <a:pt x="15693" y="1503"/>
                  </a:lnTo>
                  <a:lnTo>
                    <a:pt x="15681" y="1515"/>
                  </a:lnTo>
                  <a:lnTo>
                    <a:pt x="15668" y="1524"/>
                  </a:lnTo>
                  <a:lnTo>
                    <a:pt x="15654" y="1530"/>
                  </a:lnTo>
                  <a:lnTo>
                    <a:pt x="15640" y="1534"/>
                  </a:lnTo>
                  <a:lnTo>
                    <a:pt x="15623" y="1535"/>
                  </a:lnTo>
                  <a:lnTo>
                    <a:pt x="15605" y="1534"/>
                  </a:lnTo>
                  <a:lnTo>
                    <a:pt x="15589" y="1529"/>
                  </a:lnTo>
                  <a:lnTo>
                    <a:pt x="15573" y="1520"/>
                  </a:lnTo>
                  <a:lnTo>
                    <a:pt x="15559" y="1509"/>
                  </a:lnTo>
                  <a:lnTo>
                    <a:pt x="15549" y="1496"/>
                  </a:lnTo>
                  <a:lnTo>
                    <a:pt x="15540" y="1480"/>
                  </a:lnTo>
                  <a:lnTo>
                    <a:pt x="15535" y="1464"/>
                  </a:lnTo>
                  <a:lnTo>
                    <a:pt x="15532" y="1445"/>
                  </a:lnTo>
                  <a:lnTo>
                    <a:pt x="15535" y="1437"/>
                  </a:lnTo>
                  <a:lnTo>
                    <a:pt x="15539" y="1431"/>
                  </a:lnTo>
                  <a:lnTo>
                    <a:pt x="15545" y="1427"/>
                  </a:lnTo>
                  <a:lnTo>
                    <a:pt x="15553" y="1425"/>
                  </a:lnTo>
                  <a:lnTo>
                    <a:pt x="15560" y="1427"/>
                  </a:lnTo>
                  <a:lnTo>
                    <a:pt x="15567" y="1431"/>
                  </a:lnTo>
                  <a:lnTo>
                    <a:pt x="15571" y="1437"/>
                  </a:lnTo>
                  <a:lnTo>
                    <a:pt x="15573" y="1445"/>
                  </a:lnTo>
                  <a:lnTo>
                    <a:pt x="15573" y="1455"/>
                  </a:lnTo>
                  <a:lnTo>
                    <a:pt x="15577" y="1465"/>
                  </a:lnTo>
                  <a:lnTo>
                    <a:pt x="15581" y="1474"/>
                  </a:lnTo>
                  <a:lnTo>
                    <a:pt x="15587" y="1480"/>
                  </a:lnTo>
                  <a:lnTo>
                    <a:pt x="15595" y="1487"/>
                  </a:lnTo>
                  <a:lnTo>
                    <a:pt x="15604" y="1492"/>
                  </a:lnTo>
                  <a:lnTo>
                    <a:pt x="15623" y="1496"/>
                  </a:lnTo>
                  <a:lnTo>
                    <a:pt x="15641" y="1492"/>
                  </a:lnTo>
                  <a:lnTo>
                    <a:pt x="15655" y="1484"/>
                  </a:lnTo>
                  <a:lnTo>
                    <a:pt x="15662" y="1478"/>
                  </a:lnTo>
                  <a:lnTo>
                    <a:pt x="15667" y="1470"/>
                  </a:lnTo>
                  <a:lnTo>
                    <a:pt x="15673" y="1455"/>
                  </a:lnTo>
                  <a:lnTo>
                    <a:pt x="15675" y="1436"/>
                  </a:lnTo>
                  <a:lnTo>
                    <a:pt x="15669" y="1423"/>
                  </a:lnTo>
                  <a:lnTo>
                    <a:pt x="15662" y="1413"/>
                  </a:lnTo>
                  <a:lnTo>
                    <a:pt x="15652" y="1405"/>
                  </a:lnTo>
                  <a:lnTo>
                    <a:pt x="15631" y="1390"/>
                  </a:lnTo>
                  <a:lnTo>
                    <a:pt x="15625" y="1379"/>
                  </a:lnTo>
                  <a:lnTo>
                    <a:pt x="15622" y="1365"/>
                  </a:lnTo>
                  <a:lnTo>
                    <a:pt x="15622" y="1323"/>
                  </a:lnTo>
                  <a:lnTo>
                    <a:pt x="15623" y="1314"/>
                  </a:lnTo>
                  <a:lnTo>
                    <a:pt x="15628" y="1308"/>
                  </a:lnTo>
                  <a:lnTo>
                    <a:pt x="15635" y="1305"/>
                  </a:lnTo>
                  <a:lnTo>
                    <a:pt x="15643" y="1304"/>
                  </a:lnTo>
                  <a:lnTo>
                    <a:pt x="15649" y="1305"/>
                  </a:lnTo>
                  <a:lnTo>
                    <a:pt x="15655" y="1308"/>
                  </a:lnTo>
                  <a:lnTo>
                    <a:pt x="15660" y="1314"/>
                  </a:lnTo>
                  <a:lnTo>
                    <a:pt x="15662" y="1323"/>
                  </a:lnTo>
                  <a:lnTo>
                    <a:pt x="15662" y="1363"/>
                  </a:lnTo>
                  <a:close/>
                  <a:moveTo>
                    <a:pt x="15667" y="963"/>
                  </a:moveTo>
                  <a:lnTo>
                    <a:pt x="15667" y="1277"/>
                  </a:lnTo>
                  <a:lnTo>
                    <a:pt x="15664" y="1286"/>
                  </a:lnTo>
                  <a:lnTo>
                    <a:pt x="15660" y="1292"/>
                  </a:lnTo>
                  <a:lnTo>
                    <a:pt x="15654" y="1296"/>
                  </a:lnTo>
                  <a:lnTo>
                    <a:pt x="15646" y="1298"/>
                  </a:lnTo>
                  <a:lnTo>
                    <a:pt x="15639" y="1296"/>
                  </a:lnTo>
                  <a:lnTo>
                    <a:pt x="15632" y="1292"/>
                  </a:lnTo>
                  <a:lnTo>
                    <a:pt x="15628" y="1286"/>
                  </a:lnTo>
                  <a:lnTo>
                    <a:pt x="15627" y="1277"/>
                  </a:lnTo>
                  <a:lnTo>
                    <a:pt x="15627" y="963"/>
                  </a:lnTo>
                  <a:lnTo>
                    <a:pt x="15385" y="963"/>
                  </a:lnTo>
                  <a:lnTo>
                    <a:pt x="15385" y="1139"/>
                  </a:lnTo>
                  <a:lnTo>
                    <a:pt x="15384" y="1147"/>
                  </a:lnTo>
                  <a:lnTo>
                    <a:pt x="15378" y="1153"/>
                  </a:lnTo>
                  <a:lnTo>
                    <a:pt x="15372" y="1157"/>
                  </a:lnTo>
                  <a:lnTo>
                    <a:pt x="15366" y="1158"/>
                  </a:lnTo>
                  <a:lnTo>
                    <a:pt x="15253" y="1158"/>
                  </a:lnTo>
                  <a:lnTo>
                    <a:pt x="15253" y="1705"/>
                  </a:lnTo>
                  <a:lnTo>
                    <a:pt x="15253" y="2253"/>
                  </a:lnTo>
                  <a:lnTo>
                    <a:pt x="15250" y="2262"/>
                  </a:lnTo>
                  <a:lnTo>
                    <a:pt x="15246" y="2268"/>
                  </a:lnTo>
                  <a:lnTo>
                    <a:pt x="15240" y="2272"/>
                  </a:lnTo>
                  <a:lnTo>
                    <a:pt x="15232" y="2273"/>
                  </a:lnTo>
                  <a:lnTo>
                    <a:pt x="15225" y="2272"/>
                  </a:lnTo>
                  <a:lnTo>
                    <a:pt x="15218" y="2268"/>
                  </a:lnTo>
                  <a:lnTo>
                    <a:pt x="15214" y="2262"/>
                  </a:lnTo>
                  <a:lnTo>
                    <a:pt x="15213" y="2253"/>
                  </a:lnTo>
                  <a:lnTo>
                    <a:pt x="15213" y="1705"/>
                  </a:lnTo>
                  <a:lnTo>
                    <a:pt x="15213" y="1158"/>
                  </a:lnTo>
                  <a:lnTo>
                    <a:pt x="15141" y="1158"/>
                  </a:lnTo>
                  <a:lnTo>
                    <a:pt x="15141" y="1705"/>
                  </a:lnTo>
                  <a:lnTo>
                    <a:pt x="15141" y="2253"/>
                  </a:lnTo>
                  <a:lnTo>
                    <a:pt x="15140" y="2262"/>
                  </a:lnTo>
                  <a:lnTo>
                    <a:pt x="15135" y="2268"/>
                  </a:lnTo>
                  <a:lnTo>
                    <a:pt x="15128" y="2272"/>
                  </a:lnTo>
                  <a:lnTo>
                    <a:pt x="15122" y="2273"/>
                  </a:lnTo>
                  <a:lnTo>
                    <a:pt x="15114" y="2272"/>
                  </a:lnTo>
                  <a:lnTo>
                    <a:pt x="15108" y="2268"/>
                  </a:lnTo>
                  <a:lnTo>
                    <a:pt x="15103" y="2262"/>
                  </a:lnTo>
                  <a:lnTo>
                    <a:pt x="15101" y="2253"/>
                  </a:lnTo>
                  <a:lnTo>
                    <a:pt x="15101" y="1695"/>
                  </a:lnTo>
                  <a:lnTo>
                    <a:pt x="15101" y="1139"/>
                  </a:lnTo>
                  <a:lnTo>
                    <a:pt x="15101" y="1047"/>
                  </a:lnTo>
                  <a:lnTo>
                    <a:pt x="15101" y="963"/>
                  </a:lnTo>
                  <a:lnTo>
                    <a:pt x="14931" y="963"/>
                  </a:lnTo>
                  <a:lnTo>
                    <a:pt x="14918" y="960"/>
                  </a:lnTo>
                  <a:lnTo>
                    <a:pt x="14913" y="956"/>
                  </a:lnTo>
                  <a:lnTo>
                    <a:pt x="14910" y="952"/>
                  </a:lnTo>
                  <a:lnTo>
                    <a:pt x="14909" y="947"/>
                  </a:lnTo>
                  <a:lnTo>
                    <a:pt x="14909" y="942"/>
                  </a:lnTo>
                  <a:lnTo>
                    <a:pt x="14914" y="931"/>
                  </a:lnTo>
                  <a:lnTo>
                    <a:pt x="15105" y="680"/>
                  </a:lnTo>
                  <a:lnTo>
                    <a:pt x="15116" y="675"/>
                  </a:lnTo>
                  <a:lnTo>
                    <a:pt x="15127" y="674"/>
                  </a:lnTo>
                  <a:lnTo>
                    <a:pt x="15907" y="924"/>
                  </a:lnTo>
                  <a:lnTo>
                    <a:pt x="15920" y="933"/>
                  </a:lnTo>
                  <a:lnTo>
                    <a:pt x="15922" y="940"/>
                  </a:lnTo>
                  <a:lnTo>
                    <a:pt x="15923" y="946"/>
                  </a:lnTo>
                  <a:lnTo>
                    <a:pt x="15921" y="952"/>
                  </a:lnTo>
                  <a:lnTo>
                    <a:pt x="15916" y="957"/>
                  </a:lnTo>
                  <a:lnTo>
                    <a:pt x="15909" y="961"/>
                  </a:lnTo>
                  <a:lnTo>
                    <a:pt x="15900" y="963"/>
                  </a:lnTo>
                  <a:lnTo>
                    <a:pt x="15667" y="963"/>
                  </a:lnTo>
                  <a:close/>
                  <a:moveTo>
                    <a:pt x="15167" y="727"/>
                  </a:moveTo>
                  <a:lnTo>
                    <a:pt x="15240" y="828"/>
                  </a:lnTo>
                  <a:lnTo>
                    <a:pt x="15244" y="840"/>
                  </a:lnTo>
                  <a:lnTo>
                    <a:pt x="15244" y="923"/>
                  </a:lnTo>
                  <a:lnTo>
                    <a:pt x="15276" y="923"/>
                  </a:lnTo>
                  <a:lnTo>
                    <a:pt x="15366" y="923"/>
                  </a:lnTo>
                  <a:lnTo>
                    <a:pt x="15773" y="923"/>
                  </a:lnTo>
                  <a:lnTo>
                    <a:pt x="15167" y="727"/>
                  </a:lnTo>
                  <a:close/>
                  <a:moveTo>
                    <a:pt x="15203" y="923"/>
                  </a:moveTo>
                  <a:lnTo>
                    <a:pt x="15203" y="846"/>
                  </a:lnTo>
                  <a:lnTo>
                    <a:pt x="15141" y="762"/>
                  </a:lnTo>
                  <a:lnTo>
                    <a:pt x="15141" y="923"/>
                  </a:lnTo>
                  <a:lnTo>
                    <a:pt x="15203" y="923"/>
                  </a:lnTo>
                  <a:close/>
                  <a:moveTo>
                    <a:pt x="15101" y="752"/>
                  </a:moveTo>
                  <a:lnTo>
                    <a:pt x="14971" y="923"/>
                  </a:lnTo>
                  <a:lnTo>
                    <a:pt x="15101" y="923"/>
                  </a:lnTo>
                  <a:lnTo>
                    <a:pt x="15101" y="752"/>
                  </a:lnTo>
                  <a:close/>
                  <a:moveTo>
                    <a:pt x="15296" y="963"/>
                  </a:moveTo>
                  <a:lnTo>
                    <a:pt x="15296" y="1047"/>
                  </a:lnTo>
                  <a:lnTo>
                    <a:pt x="15295" y="1055"/>
                  </a:lnTo>
                  <a:lnTo>
                    <a:pt x="15290" y="1061"/>
                  </a:lnTo>
                  <a:lnTo>
                    <a:pt x="15283" y="1065"/>
                  </a:lnTo>
                  <a:lnTo>
                    <a:pt x="15276" y="1066"/>
                  </a:lnTo>
                  <a:lnTo>
                    <a:pt x="15141" y="1066"/>
                  </a:lnTo>
                  <a:lnTo>
                    <a:pt x="15141" y="1119"/>
                  </a:lnTo>
                  <a:lnTo>
                    <a:pt x="15232" y="1119"/>
                  </a:lnTo>
                  <a:lnTo>
                    <a:pt x="15345" y="1119"/>
                  </a:lnTo>
                  <a:lnTo>
                    <a:pt x="15345" y="963"/>
                  </a:lnTo>
                  <a:lnTo>
                    <a:pt x="15296" y="963"/>
                  </a:lnTo>
                  <a:close/>
                  <a:moveTo>
                    <a:pt x="15257" y="963"/>
                  </a:moveTo>
                  <a:lnTo>
                    <a:pt x="15141" y="963"/>
                  </a:lnTo>
                  <a:lnTo>
                    <a:pt x="15141" y="1027"/>
                  </a:lnTo>
                  <a:lnTo>
                    <a:pt x="15257" y="1027"/>
                  </a:lnTo>
                  <a:lnTo>
                    <a:pt x="15257" y="963"/>
                  </a:lnTo>
                  <a:close/>
                  <a:moveTo>
                    <a:pt x="12486" y="3681"/>
                  </a:moveTo>
                  <a:lnTo>
                    <a:pt x="12486" y="3792"/>
                  </a:lnTo>
                  <a:lnTo>
                    <a:pt x="12484" y="3800"/>
                  </a:lnTo>
                  <a:lnTo>
                    <a:pt x="12482" y="3805"/>
                  </a:lnTo>
                  <a:lnTo>
                    <a:pt x="12523" y="3838"/>
                  </a:lnTo>
                  <a:lnTo>
                    <a:pt x="12559" y="3875"/>
                  </a:lnTo>
                  <a:lnTo>
                    <a:pt x="12592" y="3918"/>
                  </a:lnTo>
                  <a:lnTo>
                    <a:pt x="12606" y="3939"/>
                  </a:lnTo>
                  <a:lnTo>
                    <a:pt x="12619" y="3962"/>
                  </a:lnTo>
                  <a:lnTo>
                    <a:pt x="12641" y="4011"/>
                  </a:lnTo>
                  <a:lnTo>
                    <a:pt x="12657" y="4062"/>
                  </a:lnTo>
                  <a:lnTo>
                    <a:pt x="12666" y="4116"/>
                  </a:lnTo>
                  <a:lnTo>
                    <a:pt x="12670" y="4171"/>
                  </a:lnTo>
                  <a:lnTo>
                    <a:pt x="12666" y="4226"/>
                  </a:lnTo>
                  <a:lnTo>
                    <a:pt x="12661" y="4265"/>
                  </a:lnTo>
                  <a:lnTo>
                    <a:pt x="12654" y="4304"/>
                  </a:lnTo>
                  <a:lnTo>
                    <a:pt x="13197" y="4304"/>
                  </a:lnTo>
                  <a:lnTo>
                    <a:pt x="13741" y="4304"/>
                  </a:lnTo>
                  <a:lnTo>
                    <a:pt x="13741" y="3764"/>
                  </a:lnTo>
                  <a:lnTo>
                    <a:pt x="13741" y="3225"/>
                  </a:lnTo>
                  <a:lnTo>
                    <a:pt x="13183" y="3225"/>
                  </a:lnTo>
                  <a:lnTo>
                    <a:pt x="12625" y="3225"/>
                  </a:lnTo>
                  <a:lnTo>
                    <a:pt x="12616" y="3222"/>
                  </a:lnTo>
                  <a:lnTo>
                    <a:pt x="12610" y="3218"/>
                  </a:lnTo>
                  <a:lnTo>
                    <a:pt x="12606" y="3212"/>
                  </a:lnTo>
                  <a:lnTo>
                    <a:pt x="12606" y="3204"/>
                  </a:lnTo>
                  <a:lnTo>
                    <a:pt x="12606" y="3196"/>
                  </a:lnTo>
                  <a:lnTo>
                    <a:pt x="12610" y="3190"/>
                  </a:lnTo>
                  <a:lnTo>
                    <a:pt x="12616" y="3186"/>
                  </a:lnTo>
                  <a:lnTo>
                    <a:pt x="12625" y="3184"/>
                  </a:lnTo>
                  <a:lnTo>
                    <a:pt x="12793" y="3184"/>
                  </a:lnTo>
                  <a:lnTo>
                    <a:pt x="12793" y="3031"/>
                  </a:lnTo>
                  <a:lnTo>
                    <a:pt x="12353" y="3031"/>
                  </a:lnTo>
                  <a:lnTo>
                    <a:pt x="12353" y="3184"/>
                  </a:lnTo>
                  <a:lnTo>
                    <a:pt x="12493" y="3184"/>
                  </a:lnTo>
                  <a:lnTo>
                    <a:pt x="12502" y="3186"/>
                  </a:lnTo>
                  <a:lnTo>
                    <a:pt x="12509" y="3190"/>
                  </a:lnTo>
                  <a:lnTo>
                    <a:pt x="12512" y="3196"/>
                  </a:lnTo>
                  <a:lnTo>
                    <a:pt x="12514" y="3204"/>
                  </a:lnTo>
                  <a:lnTo>
                    <a:pt x="12512" y="3212"/>
                  </a:lnTo>
                  <a:lnTo>
                    <a:pt x="12509" y="3218"/>
                  </a:lnTo>
                  <a:lnTo>
                    <a:pt x="12502" y="3222"/>
                  </a:lnTo>
                  <a:lnTo>
                    <a:pt x="12493" y="3225"/>
                  </a:lnTo>
                  <a:lnTo>
                    <a:pt x="12236" y="3225"/>
                  </a:lnTo>
                  <a:lnTo>
                    <a:pt x="12236" y="3670"/>
                  </a:lnTo>
                  <a:lnTo>
                    <a:pt x="12233" y="3679"/>
                  </a:lnTo>
                  <a:lnTo>
                    <a:pt x="12229" y="3685"/>
                  </a:lnTo>
                  <a:lnTo>
                    <a:pt x="12223" y="3689"/>
                  </a:lnTo>
                  <a:lnTo>
                    <a:pt x="12215" y="3690"/>
                  </a:lnTo>
                  <a:lnTo>
                    <a:pt x="12207" y="3689"/>
                  </a:lnTo>
                  <a:lnTo>
                    <a:pt x="12201" y="3685"/>
                  </a:lnTo>
                  <a:lnTo>
                    <a:pt x="12197" y="3679"/>
                  </a:lnTo>
                  <a:lnTo>
                    <a:pt x="12194" y="3670"/>
                  </a:lnTo>
                  <a:lnTo>
                    <a:pt x="12194" y="3204"/>
                  </a:lnTo>
                  <a:lnTo>
                    <a:pt x="12197" y="3196"/>
                  </a:lnTo>
                  <a:lnTo>
                    <a:pt x="12201" y="3190"/>
                  </a:lnTo>
                  <a:lnTo>
                    <a:pt x="12207" y="3186"/>
                  </a:lnTo>
                  <a:lnTo>
                    <a:pt x="12215" y="3184"/>
                  </a:lnTo>
                  <a:lnTo>
                    <a:pt x="12314" y="3184"/>
                  </a:lnTo>
                  <a:lnTo>
                    <a:pt x="12314" y="3011"/>
                  </a:lnTo>
                  <a:lnTo>
                    <a:pt x="12315" y="3003"/>
                  </a:lnTo>
                  <a:lnTo>
                    <a:pt x="12319" y="2997"/>
                  </a:lnTo>
                  <a:lnTo>
                    <a:pt x="12325" y="2993"/>
                  </a:lnTo>
                  <a:lnTo>
                    <a:pt x="12333" y="2991"/>
                  </a:lnTo>
                  <a:lnTo>
                    <a:pt x="12814" y="2991"/>
                  </a:lnTo>
                  <a:lnTo>
                    <a:pt x="12822" y="2993"/>
                  </a:lnTo>
                  <a:lnTo>
                    <a:pt x="12828" y="2997"/>
                  </a:lnTo>
                  <a:lnTo>
                    <a:pt x="12832" y="3003"/>
                  </a:lnTo>
                  <a:lnTo>
                    <a:pt x="12833" y="3011"/>
                  </a:lnTo>
                  <a:lnTo>
                    <a:pt x="12833" y="3184"/>
                  </a:lnTo>
                  <a:lnTo>
                    <a:pt x="13761" y="3184"/>
                  </a:lnTo>
                  <a:lnTo>
                    <a:pt x="13769" y="3186"/>
                  </a:lnTo>
                  <a:lnTo>
                    <a:pt x="13776" y="3190"/>
                  </a:lnTo>
                  <a:lnTo>
                    <a:pt x="13779" y="3196"/>
                  </a:lnTo>
                  <a:lnTo>
                    <a:pt x="13782" y="3204"/>
                  </a:lnTo>
                  <a:lnTo>
                    <a:pt x="13782" y="3764"/>
                  </a:lnTo>
                  <a:lnTo>
                    <a:pt x="13782" y="4324"/>
                  </a:lnTo>
                  <a:lnTo>
                    <a:pt x="13779" y="4332"/>
                  </a:lnTo>
                  <a:lnTo>
                    <a:pt x="13776" y="4338"/>
                  </a:lnTo>
                  <a:lnTo>
                    <a:pt x="13769" y="4342"/>
                  </a:lnTo>
                  <a:lnTo>
                    <a:pt x="13761" y="4343"/>
                  </a:lnTo>
                  <a:lnTo>
                    <a:pt x="13197" y="4343"/>
                  </a:lnTo>
                  <a:lnTo>
                    <a:pt x="12633" y="4343"/>
                  </a:lnTo>
                  <a:lnTo>
                    <a:pt x="12628" y="4347"/>
                  </a:lnTo>
                  <a:lnTo>
                    <a:pt x="12621" y="4349"/>
                  </a:lnTo>
                  <a:lnTo>
                    <a:pt x="12016" y="4349"/>
                  </a:lnTo>
                  <a:lnTo>
                    <a:pt x="11412" y="4349"/>
                  </a:lnTo>
                  <a:lnTo>
                    <a:pt x="11403" y="4346"/>
                  </a:lnTo>
                  <a:lnTo>
                    <a:pt x="11397" y="4341"/>
                  </a:lnTo>
                  <a:lnTo>
                    <a:pt x="11388" y="4334"/>
                  </a:lnTo>
                  <a:lnTo>
                    <a:pt x="11385" y="4329"/>
                  </a:lnTo>
                  <a:lnTo>
                    <a:pt x="11385" y="4323"/>
                  </a:lnTo>
                  <a:lnTo>
                    <a:pt x="11385" y="3936"/>
                  </a:lnTo>
                  <a:lnTo>
                    <a:pt x="11346" y="3930"/>
                  </a:lnTo>
                  <a:lnTo>
                    <a:pt x="11307" y="3924"/>
                  </a:lnTo>
                  <a:lnTo>
                    <a:pt x="11271" y="3913"/>
                  </a:lnTo>
                  <a:lnTo>
                    <a:pt x="11235" y="3898"/>
                  </a:lnTo>
                  <a:lnTo>
                    <a:pt x="11202" y="3881"/>
                  </a:lnTo>
                  <a:lnTo>
                    <a:pt x="11171" y="3860"/>
                  </a:lnTo>
                  <a:lnTo>
                    <a:pt x="11142" y="3837"/>
                  </a:lnTo>
                  <a:lnTo>
                    <a:pt x="11115" y="3811"/>
                  </a:lnTo>
                  <a:lnTo>
                    <a:pt x="11090" y="3783"/>
                  </a:lnTo>
                  <a:lnTo>
                    <a:pt x="11069" y="3753"/>
                  </a:lnTo>
                  <a:lnTo>
                    <a:pt x="11049" y="3721"/>
                  </a:lnTo>
                  <a:lnTo>
                    <a:pt x="11034" y="3686"/>
                  </a:lnTo>
                  <a:lnTo>
                    <a:pt x="11021" y="3650"/>
                  </a:lnTo>
                  <a:lnTo>
                    <a:pt x="11011" y="3613"/>
                  </a:lnTo>
                  <a:lnTo>
                    <a:pt x="11006" y="3575"/>
                  </a:lnTo>
                  <a:lnTo>
                    <a:pt x="11005" y="3535"/>
                  </a:lnTo>
                  <a:lnTo>
                    <a:pt x="11006" y="3494"/>
                  </a:lnTo>
                  <a:lnTo>
                    <a:pt x="11012" y="3453"/>
                  </a:lnTo>
                  <a:lnTo>
                    <a:pt x="11022" y="3415"/>
                  </a:lnTo>
                  <a:lnTo>
                    <a:pt x="11035" y="3379"/>
                  </a:lnTo>
                  <a:lnTo>
                    <a:pt x="11052" y="3343"/>
                  </a:lnTo>
                  <a:lnTo>
                    <a:pt x="11072" y="3310"/>
                  </a:lnTo>
                  <a:lnTo>
                    <a:pt x="11096" y="3280"/>
                  </a:lnTo>
                  <a:lnTo>
                    <a:pt x="11121" y="3251"/>
                  </a:lnTo>
                  <a:lnTo>
                    <a:pt x="11151" y="3226"/>
                  </a:lnTo>
                  <a:lnTo>
                    <a:pt x="11181" y="3203"/>
                  </a:lnTo>
                  <a:lnTo>
                    <a:pt x="11214" y="3182"/>
                  </a:lnTo>
                  <a:lnTo>
                    <a:pt x="11249" y="3166"/>
                  </a:lnTo>
                  <a:lnTo>
                    <a:pt x="11287" y="3152"/>
                  </a:lnTo>
                  <a:lnTo>
                    <a:pt x="11325" y="3143"/>
                  </a:lnTo>
                  <a:lnTo>
                    <a:pt x="11365" y="3136"/>
                  </a:lnTo>
                  <a:lnTo>
                    <a:pt x="11406" y="3134"/>
                  </a:lnTo>
                  <a:lnTo>
                    <a:pt x="11447" y="3136"/>
                  </a:lnTo>
                  <a:lnTo>
                    <a:pt x="11487" y="3143"/>
                  </a:lnTo>
                  <a:lnTo>
                    <a:pt x="11525" y="3152"/>
                  </a:lnTo>
                  <a:lnTo>
                    <a:pt x="11562" y="3166"/>
                  </a:lnTo>
                  <a:lnTo>
                    <a:pt x="11597" y="3182"/>
                  </a:lnTo>
                  <a:lnTo>
                    <a:pt x="11630" y="3203"/>
                  </a:lnTo>
                  <a:lnTo>
                    <a:pt x="11661" y="3226"/>
                  </a:lnTo>
                  <a:lnTo>
                    <a:pt x="11689" y="3251"/>
                  </a:lnTo>
                  <a:lnTo>
                    <a:pt x="11716" y="3280"/>
                  </a:lnTo>
                  <a:lnTo>
                    <a:pt x="11739" y="3310"/>
                  </a:lnTo>
                  <a:lnTo>
                    <a:pt x="11759" y="3343"/>
                  </a:lnTo>
                  <a:lnTo>
                    <a:pt x="11775" y="3379"/>
                  </a:lnTo>
                  <a:lnTo>
                    <a:pt x="11789" y="3415"/>
                  </a:lnTo>
                  <a:lnTo>
                    <a:pt x="11800" y="3453"/>
                  </a:lnTo>
                  <a:lnTo>
                    <a:pt x="11805" y="3494"/>
                  </a:lnTo>
                  <a:lnTo>
                    <a:pt x="11807" y="3535"/>
                  </a:lnTo>
                  <a:lnTo>
                    <a:pt x="11806" y="3575"/>
                  </a:lnTo>
                  <a:lnTo>
                    <a:pt x="11800" y="3613"/>
                  </a:lnTo>
                  <a:lnTo>
                    <a:pt x="11791" y="3650"/>
                  </a:lnTo>
                  <a:lnTo>
                    <a:pt x="11778" y="3686"/>
                  </a:lnTo>
                  <a:lnTo>
                    <a:pt x="11761" y="3721"/>
                  </a:lnTo>
                  <a:lnTo>
                    <a:pt x="11743" y="3753"/>
                  </a:lnTo>
                  <a:lnTo>
                    <a:pt x="11720" y="3783"/>
                  </a:lnTo>
                  <a:lnTo>
                    <a:pt x="11696" y="3811"/>
                  </a:lnTo>
                  <a:lnTo>
                    <a:pt x="11669" y="3837"/>
                  </a:lnTo>
                  <a:lnTo>
                    <a:pt x="11639" y="3860"/>
                  </a:lnTo>
                  <a:lnTo>
                    <a:pt x="11608" y="3881"/>
                  </a:lnTo>
                  <a:lnTo>
                    <a:pt x="11575" y="3898"/>
                  </a:lnTo>
                  <a:lnTo>
                    <a:pt x="11539" y="3913"/>
                  </a:lnTo>
                  <a:lnTo>
                    <a:pt x="11502" y="3924"/>
                  </a:lnTo>
                  <a:lnTo>
                    <a:pt x="11465" y="3932"/>
                  </a:lnTo>
                  <a:lnTo>
                    <a:pt x="11425" y="3936"/>
                  </a:lnTo>
                  <a:lnTo>
                    <a:pt x="11425" y="4205"/>
                  </a:lnTo>
                  <a:lnTo>
                    <a:pt x="11443" y="4178"/>
                  </a:lnTo>
                  <a:lnTo>
                    <a:pt x="11464" y="4153"/>
                  </a:lnTo>
                  <a:lnTo>
                    <a:pt x="11488" y="4130"/>
                  </a:lnTo>
                  <a:lnTo>
                    <a:pt x="11516" y="4108"/>
                  </a:lnTo>
                  <a:lnTo>
                    <a:pt x="11549" y="4090"/>
                  </a:lnTo>
                  <a:lnTo>
                    <a:pt x="11585" y="4076"/>
                  </a:lnTo>
                  <a:lnTo>
                    <a:pt x="11625" y="4067"/>
                  </a:lnTo>
                  <a:lnTo>
                    <a:pt x="11646" y="4065"/>
                  </a:lnTo>
                  <a:lnTo>
                    <a:pt x="11669" y="4065"/>
                  </a:lnTo>
                  <a:lnTo>
                    <a:pt x="11685" y="4066"/>
                  </a:lnTo>
                  <a:lnTo>
                    <a:pt x="11702" y="4069"/>
                  </a:lnTo>
                  <a:lnTo>
                    <a:pt x="11719" y="4074"/>
                  </a:lnTo>
                  <a:lnTo>
                    <a:pt x="11734" y="4080"/>
                  </a:lnTo>
                  <a:lnTo>
                    <a:pt x="11766" y="4092"/>
                  </a:lnTo>
                  <a:lnTo>
                    <a:pt x="11783" y="4095"/>
                  </a:lnTo>
                  <a:lnTo>
                    <a:pt x="11800" y="4097"/>
                  </a:lnTo>
                  <a:lnTo>
                    <a:pt x="11814" y="4095"/>
                  </a:lnTo>
                  <a:lnTo>
                    <a:pt x="11825" y="4090"/>
                  </a:lnTo>
                  <a:lnTo>
                    <a:pt x="11837" y="4084"/>
                  </a:lnTo>
                  <a:lnTo>
                    <a:pt x="11847" y="4076"/>
                  </a:lnTo>
                  <a:lnTo>
                    <a:pt x="11847" y="3213"/>
                  </a:lnTo>
                  <a:lnTo>
                    <a:pt x="11833" y="3208"/>
                  </a:lnTo>
                  <a:lnTo>
                    <a:pt x="11820" y="3199"/>
                  </a:lnTo>
                  <a:lnTo>
                    <a:pt x="11796" y="3182"/>
                  </a:lnTo>
                  <a:lnTo>
                    <a:pt x="11784" y="3173"/>
                  </a:lnTo>
                  <a:lnTo>
                    <a:pt x="11771" y="3167"/>
                  </a:lnTo>
                  <a:lnTo>
                    <a:pt x="11757" y="3163"/>
                  </a:lnTo>
                  <a:lnTo>
                    <a:pt x="11742" y="3163"/>
                  </a:lnTo>
                  <a:lnTo>
                    <a:pt x="11696" y="3170"/>
                  </a:lnTo>
                  <a:lnTo>
                    <a:pt x="11678" y="3172"/>
                  </a:lnTo>
                  <a:lnTo>
                    <a:pt x="11661" y="3171"/>
                  </a:lnTo>
                  <a:lnTo>
                    <a:pt x="11646" y="3166"/>
                  </a:lnTo>
                  <a:lnTo>
                    <a:pt x="11632" y="3156"/>
                  </a:lnTo>
                  <a:lnTo>
                    <a:pt x="11624" y="3148"/>
                  </a:lnTo>
                  <a:lnTo>
                    <a:pt x="11617" y="3139"/>
                  </a:lnTo>
                  <a:lnTo>
                    <a:pt x="11602" y="3115"/>
                  </a:lnTo>
                  <a:lnTo>
                    <a:pt x="11591" y="3093"/>
                  </a:lnTo>
                  <a:lnTo>
                    <a:pt x="11580" y="3079"/>
                  </a:lnTo>
                  <a:lnTo>
                    <a:pt x="11570" y="3070"/>
                  </a:lnTo>
                  <a:lnTo>
                    <a:pt x="11561" y="3065"/>
                  </a:lnTo>
                  <a:lnTo>
                    <a:pt x="11537" y="3060"/>
                  </a:lnTo>
                  <a:lnTo>
                    <a:pt x="11520" y="3055"/>
                  </a:lnTo>
                  <a:lnTo>
                    <a:pt x="11498" y="3047"/>
                  </a:lnTo>
                  <a:lnTo>
                    <a:pt x="11475" y="3033"/>
                  </a:lnTo>
                  <a:lnTo>
                    <a:pt x="11467" y="3024"/>
                  </a:lnTo>
                  <a:lnTo>
                    <a:pt x="11462" y="3015"/>
                  </a:lnTo>
                  <a:lnTo>
                    <a:pt x="11456" y="2996"/>
                  </a:lnTo>
                  <a:lnTo>
                    <a:pt x="11453" y="2974"/>
                  </a:lnTo>
                  <a:lnTo>
                    <a:pt x="11453" y="2953"/>
                  </a:lnTo>
                  <a:lnTo>
                    <a:pt x="11451" y="2933"/>
                  </a:lnTo>
                  <a:lnTo>
                    <a:pt x="11446" y="2913"/>
                  </a:lnTo>
                  <a:lnTo>
                    <a:pt x="11440" y="2904"/>
                  </a:lnTo>
                  <a:lnTo>
                    <a:pt x="11434" y="2896"/>
                  </a:lnTo>
                  <a:lnTo>
                    <a:pt x="11399" y="2864"/>
                  </a:lnTo>
                  <a:lnTo>
                    <a:pt x="11387" y="2851"/>
                  </a:lnTo>
                  <a:lnTo>
                    <a:pt x="11376" y="2837"/>
                  </a:lnTo>
                  <a:lnTo>
                    <a:pt x="11371" y="2823"/>
                  </a:lnTo>
                  <a:lnTo>
                    <a:pt x="11370" y="2805"/>
                  </a:lnTo>
                  <a:lnTo>
                    <a:pt x="11375" y="2783"/>
                  </a:lnTo>
                  <a:lnTo>
                    <a:pt x="11384" y="2757"/>
                  </a:lnTo>
                  <a:lnTo>
                    <a:pt x="11394" y="2734"/>
                  </a:lnTo>
                  <a:lnTo>
                    <a:pt x="11398" y="2722"/>
                  </a:lnTo>
                  <a:lnTo>
                    <a:pt x="11401" y="2711"/>
                  </a:lnTo>
                  <a:lnTo>
                    <a:pt x="11397" y="2689"/>
                  </a:lnTo>
                  <a:lnTo>
                    <a:pt x="11389" y="2670"/>
                  </a:lnTo>
                  <a:lnTo>
                    <a:pt x="11380" y="2650"/>
                  </a:lnTo>
                  <a:lnTo>
                    <a:pt x="11373" y="2633"/>
                  </a:lnTo>
                  <a:lnTo>
                    <a:pt x="11369" y="2613"/>
                  </a:lnTo>
                  <a:lnTo>
                    <a:pt x="11373" y="2593"/>
                  </a:lnTo>
                  <a:lnTo>
                    <a:pt x="11378" y="2581"/>
                  </a:lnTo>
                  <a:lnTo>
                    <a:pt x="11387" y="2570"/>
                  </a:lnTo>
                  <a:lnTo>
                    <a:pt x="11412" y="2543"/>
                  </a:lnTo>
                  <a:lnTo>
                    <a:pt x="11430" y="2526"/>
                  </a:lnTo>
                  <a:lnTo>
                    <a:pt x="11442" y="2512"/>
                  </a:lnTo>
                  <a:lnTo>
                    <a:pt x="11448" y="2502"/>
                  </a:lnTo>
                  <a:lnTo>
                    <a:pt x="11451" y="2492"/>
                  </a:lnTo>
                  <a:lnTo>
                    <a:pt x="11452" y="2466"/>
                  </a:lnTo>
                  <a:lnTo>
                    <a:pt x="11456" y="2427"/>
                  </a:lnTo>
                  <a:lnTo>
                    <a:pt x="11460" y="2413"/>
                  </a:lnTo>
                  <a:lnTo>
                    <a:pt x="11465" y="2401"/>
                  </a:lnTo>
                  <a:lnTo>
                    <a:pt x="11471" y="2392"/>
                  </a:lnTo>
                  <a:lnTo>
                    <a:pt x="11479" y="2384"/>
                  </a:lnTo>
                  <a:lnTo>
                    <a:pt x="11497" y="2374"/>
                  </a:lnTo>
                  <a:lnTo>
                    <a:pt x="11516" y="2368"/>
                  </a:lnTo>
                  <a:lnTo>
                    <a:pt x="11537" y="2363"/>
                  </a:lnTo>
                  <a:lnTo>
                    <a:pt x="11557" y="2356"/>
                  </a:lnTo>
                  <a:lnTo>
                    <a:pt x="11566" y="2351"/>
                  </a:lnTo>
                  <a:lnTo>
                    <a:pt x="11575" y="2346"/>
                  </a:lnTo>
                  <a:lnTo>
                    <a:pt x="11582" y="2340"/>
                  </a:lnTo>
                  <a:lnTo>
                    <a:pt x="11589" y="2331"/>
                  </a:lnTo>
                  <a:lnTo>
                    <a:pt x="11612" y="2291"/>
                  </a:lnTo>
                  <a:lnTo>
                    <a:pt x="11623" y="2275"/>
                  </a:lnTo>
                  <a:lnTo>
                    <a:pt x="11633" y="2263"/>
                  </a:lnTo>
                  <a:lnTo>
                    <a:pt x="11647" y="2254"/>
                  </a:lnTo>
                  <a:lnTo>
                    <a:pt x="11664" y="2249"/>
                  </a:lnTo>
                  <a:lnTo>
                    <a:pt x="11685" y="2248"/>
                  </a:lnTo>
                  <a:lnTo>
                    <a:pt x="11714" y="2251"/>
                  </a:lnTo>
                  <a:lnTo>
                    <a:pt x="11743" y="2257"/>
                  </a:lnTo>
                  <a:lnTo>
                    <a:pt x="11762" y="2257"/>
                  </a:lnTo>
                  <a:lnTo>
                    <a:pt x="11780" y="2249"/>
                  </a:lnTo>
                  <a:lnTo>
                    <a:pt x="11805" y="2231"/>
                  </a:lnTo>
                  <a:lnTo>
                    <a:pt x="11832" y="2213"/>
                  </a:lnTo>
                  <a:lnTo>
                    <a:pt x="11848" y="2207"/>
                  </a:lnTo>
                  <a:lnTo>
                    <a:pt x="11866" y="2204"/>
                  </a:lnTo>
                  <a:lnTo>
                    <a:pt x="11885" y="2207"/>
                  </a:lnTo>
                  <a:lnTo>
                    <a:pt x="11901" y="2213"/>
                  </a:lnTo>
                  <a:lnTo>
                    <a:pt x="11916" y="2222"/>
                  </a:lnTo>
                  <a:lnTo>
                    <a:pt x="11930" y="2232"/>
                  </a:lnTo>
                  <a:lnTo>
                    <a:pt x="11943" y="2243"/>
                  </a:lnTo>
                  <a:lnTo>
                    <a:pt x="11959" y="2251"/>
                  </a:lnTo>
                  <a:lnTo>
                    <a:pt x="11974" y="2257"/>
                  </a:lnTo>
                  <a:lnTo>
                    <a:pt x="11992" y="2257"/>
                  </a:lnTo>
                  <a:lnTo>
                    <a:pt x="12037" y="2250"/>
                  </a:lnTo>
                  <a:lnTo>
                    <a:pt x="12056" y="2248"/>
                  </a:lnTo>
                  <a:lnTo>
                    <a:pt x="12073" y="2249"/>
                  </a:lnTo>
                  <a:lnTo>
                    <a:pt x="12088" y="2254"/>
                  </a:lnTo>
                  <a:lnTo>
                    <a:pt x="12102" y="2264"/>
                  </a:lnTo>
                  <a:lnTo>
                    <a:pt x="12109" y="2272"/>
                  </a:lnTo>
                  <a:lnTo>
                    <a:pt x="12116" y="2281"/>
                  </a:lnTo>
                  <a:lnTo>
                    <a:pt x="12130" y="2305"/>
                  </a:lnTo>
                  <a:lnTo>
                    <a:pt x="12143" y="2327"/>
                  </a:lnTo>
                  <a:lnTo>
                    <a:pt x="12153" y="2341"/>
                  </a:lnTo>
                  <a:lnTo>
                    <a:pt x="12162" y="2350"/>
                  </a:lnTo>
                  <a:lnTo>
                    <a:pt x="12173" y="2355"/>
                  </a:lnTo>
                  <a:lnTo>
                    <a:pt x="12197" y="2360"/>
                  </a:lnTo>
                  <a:lnTo>
                    <a:pt x="12214" y="2365"/>
                  </a:lnTo>
                  <a:lnTo>
                    <a:pt x="12234" y="2373"/>
                  </a:lnTo>
                  <a:lnTo>
                    <a:pt x="12257" y="2388"/>
                  </a:lnTo>
                  <a:lnTo>
                    <a:pt x="12265" y="2396"/>
                  </a:lnTo>
                  <a:lnTo>
                    <a:pt x="12271" y="2405"/>
                  </a:lnTo>
                  <a:lnTo>
                    <a:pt x="12278" y="2425"/>
                  </a:lnTo>
                  <a:lnTo>
                    <a:pt x="12279" y="2446"/>
                  </a:lnTo>
                  <a:lnTo>
                    <a:pt x="12280" y="2466"/>
                  </a:lnTo>
                  <a:lnTo>
                    <a:pt x="12282" y="2488"/>
                  </a:lnTo>
                  <a:lnTo>
                    <a:pt x="12287" y="2507"/>
                  </a:lnTo>
                  <a:lnTo>
                    <a:pt x="12292" y="2516"/>
                  </a:lnTo>
                  <a:lnTo>
                    <a:pt x="12300" y="2524"/>
                  </a:lnTo>
                  <a:lnTo>
                    <a:pt x="12333" y="2556"/>
                  </a:lnTo>
                  <a:lnTo>
                    <a:pt x="12347" y="2569"/>
                  </a:lnTo>
                  <a:lnTo>
                    <a:pt x="12356" y="2583"/>
                  </a:lnTo>
                  <a:lnTo>
                    <a:pt x="12361" y="2598"/>
                  </a:lnTo>
                  <a:lnTo>
                    <a:pt x="12362" y="2615"/>
                  </a:lnTo>
                  <a:lnTo>
                    <a:pt x="12359" y="2636"/>
                  </a:lnTo>
                  <a:lnTo>
                    <a:pt x="12348" y="2663"/>
                  </a:lnTo>
                  <a:lnTo>
                    <a:pt x="12337" y="2690"/>
                  </a:lnTo>
                  <a:lnTo>
                    <a:pt x="12333" y="2711"/>
                  </a:lnTo>
                  <a:lnTo>
                    <a:pt x="12336" y="2731"/>
                  </a:lnTo>
                  <a:lnTo>
                    <a:pt x="12343" y="2750"/>
                  </a:lnTo>
                  <a:lnTo>
                    <a:pt x="12352" y="2769"/>
                  </a:lnTo>
                  <a:lnTo>
                    <a:pt x="12360" y="2787"/>
                  </a:lnTo>
                  <a:lnTo>
                    <a:pt x="12364" y="2806"/>
                  </a:lnTo>
                  <a:lnTo>
                    <a:pt x="12360" y="2828"/>
                  </a:lnTo>
                  <a:lnTo>
                    <a:pt x="12355" y="2838"/>
                  </a:lnTo>
                  <a:lnTo>
                    <a:pt x="12347" y="2851"/>
                  </a:lnTo>
                  <a:lnTo>
                    <a:pt x="12321" y="2877"/>
                  </a:lnTo>
                  <a:lnTo>
                    <a:pt x="12302" y="2893"/>
                  </a:lnTo>
                  <a:lnTo>
                    <a:pt x="12291" y="2907"/>
                  </a:lnTo>
                  <a:lnTo>
                    <a:pt x="12284" y="2918"/>
                  </a:lnTo>
                  <a:lnTo>
                    <a:pt x="12282" y="2929"/>
                  </a:lnTo>
                  <a:lnTo>
                    <a:pt x="12282" y="2953"/>
                  </a:lnTo>
                  <a:lnTo>
                    <a:pt x="12278" y="2993"/>
                  </a:lnTo>
                  <a:lnTo>
                    <a:pt x="12274" y="3007"/>
                  </a:lnTo>
                  <a:lnTo>
                    <a:pt x="12269" y="3019"/>
                  </a:lnTo>
                  <a:lnTo>
                    <a:pt x="12262" y="3028"/>
                  </a:lnTo>
                  <a:lnTo>
                    <a:pt x="12255" y="3035"/>
                  </a:lnTo>
                  <a:lnTo>
                    <a:pt x="12237" y="3046"/>
                  </a:lnTo>
                  <a:lnTo>
                    <a:pt x="12216" y="3053"/>
                  </a:lnTo>
                  <a:lnTo>
                    <a:pt x="12196" y="3058"/>
                  </a:lnTo>
                  <a:lnTo>
                    <a:pt x="12177" y="3065"/>
                  </a:lnTo>
                  <a:lnTo>
                    <a:pt x="12168" y="3069"/>
                  </a:lnTo>
                  <a:lnTo>
                    <a:pt x="12159" y="3074"/>
                  </a:lnTo>
                  <a:lnTo>
                    <a:pt x="12151" y="3081"/>
                  </a:lnTo>
                  <a:lnTo>
                    <a:pt x="12144" y="3089"/>
                  </a:lnTo>
                  <a:lnTo>
                    <a:pt x="12121" y="3130"/>
                  </a:lnTo>
                  <a:lnTo>
                    <a:pt x="12111" y="3145"/>
                  </a:lnTo>
                  <a:lnTo>
                    <a:pt x="12100" y="3158"/>
                  </a:lnTo>
                  <a:lnTo>
                    <a:pt x="12087" y="3167"/>
                  </a:lnTo>
                  <a:lnTo>
                    <a:pt x="12070" y="3171"/>
                  </a:lnTo>
                  <a:lnTo>
                    <a:pt x="12048" y="3172"/>
                  </a:lnTo>
                  <a:lnTo>
                    <a:pt x="12020" y="3168"/>
                  </a:lnTo>
                  <a:lnTo>
                    <a:pt x="11989" y="3163"/>
                  </a:lnTo>
                  <a:lnTo>
                    <a:pt x="11971" y="3163"/>
                  </a:lnTo>
                  <a:lnTo>
                    <a:pt x="11953" y="3172"/>
                  </a:lnTo>
                  <a:lnTo>
                    <a:pt x="11929" y="3189"/>
                  </a:lnTo>
                  <a:lnTo>
                    <a:pt x="11910" y="3202"/>
                  </a:lnTo>
                  <a:lnTo>
                    <a:pt x="11887" y="3213"/>
                  </a:lnTo>
                  <a:lnTo>
                    <a:pt x="11887" y="4017"/>
                  </a:lnTo>
                  <a:lnTo>
                    <a:pt x="11933" y="3925"/>
                  </a:lnTo>
                  <a:lnTo>
                    <a:pt x="11961" y="3877"/>
                  </a:lnTo>
                  <a:lnTo>
                    <a:pt x="11994" y="3829"/>
                  </a:lnTo>
                  <a:lnTo>
                    <a:pt x="12014" y="3808"/>
                  </a:lnTo>
                  <a:lnTo>
                    <a:pt x="12035" y="3787"/>
                  </a:lnTo>
                  <a:lnTo>
                    <a:pt x="12060" y="3769"/>
                  </a:lnTo>
                  <a:lnTo>
                    <a:pt x="12073" y="3762"/>
                  </a:lnTo>
                  <a:lnTo>
                    <a:pt x="12085" y="3754"/>
                  </a:lnTo>
                  <a:lnTo>
                    <a:pt x="12115" y="3741"/>
                  </a:lnTo>
                  <a:lnTo>
                    <a:pt x="12148" y="3731"/>
                  </a:lnTo>
                  <a:lnTo>
                    <a:pt x="12184" y="3725"/>
                  </a:lnTo>
                  <a:lnTo>
                    <a:pt x="12224" y="3723"/>
                  </a:lnTo>
                  <a:lnTo>
                    <a:pt x="12283" y="3727"/>
                  </a:lnTo>
                  <a:lnTo>
                    <a:pt x="12341" y="3739"/>
                  </a:lnTo>
                  <a:lnTo>
                    <a:pt x="12368" y="3748"/>
                  </a:lnTo>
                  <a:lnTo>
                    <a:pt x="12395" y="3758"/>
                  </a:lnTo>
                  <a:lnTo>
                    <a:pt x="12420" y="3769"/>
                  </a:lnTo>
                  <a:lnTo>
                    <a:pt x="12446" y="3782"/>
                  </a:lnTo>
                  <a:lnTo>
                    <a:pt x="12446" y="3681"/>
                  </a:lnTo>
                  <a:lnTo>
                    <a:pt x="12447" y="3672"/>
                  </a:lnTo>
                  <a:lnTo>
                    <a:pt x="12452" y="3666"/>
                  </a:lnTo>
                  <a:lnTo>
                    <a:pt x="12459" y="3662"/>
                  </a:lnTo>
                  <a:lnTo>
                    <a:pt x="12465" y="3661"/>
                  </a:lnTo>
                  <a:lnTo>
                    <a:pt x="12473" y="3662"/>
                  </a:lnTo>
                  <a:lnTo>
                    <a:pt x="12479" y="3666"/>
                  </a:lnTo>
                  <a:lnTo>
                    <a:pt x="12484" y="3672"/>
                  </a:lnTo>
                  <a:lnTo>
                    <a:pt x="12486" y="3681"/>
                  </a:lnTo>
                  <a:close/>
                  <a:moveTo>
                    <a:pt x="12630" y="4171"/>
                  </a:moveTo>
                  <a:lnTo>
                    <a:pt x="12628" y="4130"/>
                  </a:lnTo>
                  <a:lnTo>
                    <a:pt x="12621" y="4089"/>
                  </a:lnTo>
                  <a:lnTo>
                    <a:pt x="12613" y="4051"/>
                  </a:lnTo>
                  <a:lnTo>
                    <a:pt x="12598" y="4012"/>
                  </a:lnTo>
                  <a:lnTo>
                    <a:pt x="12582" y="3976"/>
                  </a:lnTo>
                  <a:lnTo>
                    <a:pt x="12561" y="3943"/>
                  </a:lnTo>
                  <a:lnTo>
                    <a:pt x="12537" y="3911"/>
                  </a:lnTo>
                  <a:lnTo>
                    <a:pt x="12511" y="3883"/>
                  </a:lnTo>
                  <a:lnTo>
                    <a:pt x="12482" y="3856"/>
                  </a:lnTo>
                  <a:lnTo>
                    <a:pt x="12451" y="3833"/>
                  </a:lnTo>
                  <a:lnTo>
                    <a:pt x="12418" y="3813"/>
                  </a:lnTo>
                  <a:lnTo>
                    <a:pt x="12382" y="3795"/>
                  </a:lnTo>
                  <a:lnTo>
                    <a:pt x="12345" y="3781"/>
                  </a:lnTo>
                  <a:lnTo>
                    <a:pt x="12306" y="3772"/>
                  </a:lnTo>
                  <a:lnTo>
                    <a:pt x="12265" y="3765"/>
                  </a:lnTo>
                  <a:lnTo>
                    <a:pt x="12224" y="3763"/>
                  </a:lnTo>
                  <a:lnTo>
                    <a:pt x="12197" y="3764"/>
                  </a:lnTo>
                  <a:lnTo>
                    <a:pt x="12173" y="3767"/>
                  </a:lnTo>
                  <a:lnTo>
                    <a:pt x="12150" y="3772"/>
                  </a:lnTo>
                  <a:lnTo>
                    <a:pt x="12128" y="3780"/>
                  </a:lnTo>
                  <a:lnTo>
                    <a:pt x="12089" y="3797"/>
                  </a:lnTo>
                  <a:lnTo>
                    <a:pt x="12073" y="3809"/>
                  </a:lnTo>
                  <a:lnTo>
                    <a:pt x="12057" y="3822"/>
                  </a:lnTo>
                  <a:lnTo>
                    <a:pt x="12029" y="3850"/>
                  </a:lnTo>
                  <a:lnTo>
                    <a:pt x="12005" y="3881"/>
                  </a:lnTo>
                  <a:lnTo>
                    <a:pt x="11984" y="3915"/>
                  </a:lnTo>
                  <a:lnTo>
                    <a:pt x="11965" y="3950"/>
                  </a:lnTo>
                  <a:lnTo>
                    <a:pt x="11932" y="4017"/>
                  </a:lnTo>
                  <a:lnTo>
                    <a:pt x="11915" y="4049"/>
                  </a:lnTo>
                  <a:lnTo>
                    <a:pt x="11897" y="4077"/>
                  </a:lnTo>
                  <a:lnTo>
                    <a:pt x="11878" y="4102"/>
                  </a:lnTo>
                  <a:lnTo>
                    <a:pt x="11866" y="4112"/>
                  </a:lnTo>
                  <a:lnTo>
                    <a:pt x="11855" y="4120"/>
                  </a:lnTo>
                  <a:lnTo>
                    <a:pt x="11843" y="4127"/>
                  </a:lnTo>
                  <a:lnTo>
                    <a:pt x="11830" y="4132"/>
                  </a:lnTo>
                  <a:lnTo>
                    <a:pt x="11800" y="4136"/>
                  </a:lnTo>
                  <a:lnTo>
                    <a:pt x="11783" y="4135"/>
                  </a:lnTo>
                  <a:lnTo>
                    <a:pt x="11766" y="4131"/>
                  </a:lnTo>
                  <a:lnTo>
                    <a:pt x="11750" y="4126"/>
                  </a:lnTo>
                  <a:lnTo>
                    <a:pt x="11734" y="4120"/>
                  </a:lnTo>
                  <a:lnTo>
                    <a:pt x="11702" y="4109"/>
                  </a:lnTo>
                  <a:lnTo>
                    <a:pt x="11685" y="4106"/>
                  </a:lnTo>
                  <a:lnTo>
                    <a:pt x="11669" y="4104"/>
                  </a:lnTo>
                  <a:lnTo>
                    <a:pt x="11625" y="4108"/>
                  </a:lnTo>
                  <a:lnTo>
                    <a:pt x="11603" y="4112"/>
                  </a:lnTo>
                  <a:lnTo>
                    <a:pt x="11584" y="4118"/>
                  </a:lnTo>
                  <a:lnTo>
                    <a:pt x="11565" y="4127"/>
                  </a:lnTo>
                  <a:lnTo>
                    <a:pt x="11546" y="4136"/>
                  </a:lnTo>
                  <a:lnTo>
                    <a:pt x="11529" y="4148"/>
                  </a:lnTo>
                  <a:lnTo>
                    <a:pt x="11512" y="4161"/>
                  </a:lnTo>
                  <a:lnTo>
                    <a:pt x="11498" y="4175"/>
                  </a:lnTo>
                  <a:lnTo>
                    <a:pt x="11484" y="4190"/>
                  </a:lnTo>
                  <a:lnTo>
                    <a:pt x="11471" y="4208"/>
                  </a:lnTo>
                  <a:lnTo>
                    <a:pt x="11461" y="4226"/>
                  </a:lnTo>
                  <a:lnTo>
                    <a:pt x="11452" y="4245"/>
                  </a:lnTo>
                  <a:lnTo>
                    <a:pt x="11444" y="4265"/>
                  </a:lnTo>
                  <a:lnTo>
                    <a:pt x="11438" y="4286"/>
                  </a:lnTo>
                  <a:lnTo>
                    <a:pt x="11434" y="4309"/>
                  </a:lnTo>
                  <a:lnTo>
                    <a:pt x="12171" y="4309"/>
                  </a:lnTo>
                  <a:lnTo>
                    <a:pt x="12177" y="4305"/>
                  </a:lnTo>
                  <a:lnTo>
                    <a:pt x="12184" y="4304"/>
                  </a:lnTo>
                  <a:lnTo>
                    <a:pt x="12609" y="4304"/>
                  </a:lnTo>
                  <a:lnTo>
                    <a:pt x="12618" y="4271"/>
                  </a:lnTo>
                  <a:lnTo>
                    <a:pt x="12625" y="4239"/>
                  </a:lnTo>
                  <a:lnTo>
                    <a:pt x="12629" y="4204"/>
                  </a:lnTo>
                  <a:lnTo>
                    <a:pt x="12630" y="4171"/>
                  </a:lnTo>
                  <a:close/>
                  <a:moveTo>
                    <a:pt x="11425" y="3810"/>
                  </a:moveTo>
                  <a:lnTo>
                    <a:pt x="11524" y="3712"/>
                  </a:lnTo>
                  <a:lnTo>
                    <a:pt x="11532" y="3707"/>
                  </a:lnTo>
                  <a:lnTo>
                    <a:pt x="11539" y="3705"/>
                  </a:lnTo>
                  <a:lnTo>
                    <a:pt x="11547" y="3707"/>
                  </a:lnTo>
                  <a:lnTo>
                    <a:pt x="11553" y="3712"/>
                  </a:lnTo>
                  <a:lnTo>
                    <a:pt x="11557" y="3717"/>
                  </a:lnTo>
                  <a:lnTo>
                    <a:pt x="11558" y="3725"/>
                  </a:lnTo>
                  <a:lnTo>
                    <a:pt x="11557" y="3732"/>
                  </a:lnTo>
                  <a:lnTo>
                    <a:pt x="11553" y="3740"/>
                  </a:lnTo>
                  <a:lnTo>
                    <a:pt x="11426" y="3866"/>
                  </a:lnTo>
                  <a:lnTo>
                    <a:pt x="11425" y="3895"/>
                  </a:lnTo>
                  <a:lnTo>
                    <a:pt x="11460" y="3892"/>
                  </a:lnTo>
                  <a:lnTo>
                    <a:pt x="11494" y="3884"/>
                  </a:lnTo>
                  <a:lnTo>
                    <a:pt x="11528" y="3874"/>
                  </a:lnTo>
                  <a:lnTo>
                    <a:pt x="11558" y="3861"/>
                  </a:lnTo>
                  <a:lnTo>
                    <a:pt x="11589" y="3846"/>
                  </a:lnTo>
                  <a:lnTo>
                    <a:pt x="11617" y="3828"/>
                  </a:lnTo>
                  <a:lnTo>
                    <a:pt x="11643" y="3806"/>
                  </a:lnTo>
                  <a:lnTo>
                    <a:pt x="11667" y="3783"/>
                  </a:lnTo>
                  <a:lnTo>
                    <a:pt x="11689" y="3758"/>
                  </a:lnTo>
                  <a:lnTo>
                    <a:pt x="11710" y="3731"/>
                  </a:lnTo>
                  <a:lnTo>
                    <a:pt x="11726" y="3702"/>
                  </a:lnTo>
                  <a:lnTo>
                    <a:pt x="11741" y="3671"/>
                  </a:lnTo>
                  <a:lnTo>
                    <a:pt x="11752" y="3639"/>
                  </a:lnTo>
                  <a:lnTo>
                    <a:pt x="11761" y="3606"/>
                  </a:lnTo>
                  <a:lnTo>
                    <a:pt x="11766" y="3571"/>
                  </a:lnTo>
                  <a:lnTo>
                    <a:pt x="11767" y="3535"/>
                  </a:lnTo>
                  <a:lnTo>
                    <a:pt x="11765" y="3498"/>
                  </a:lnTo>
                  <a:lnTo>
                    <a:pt x="11760" y="3462"/>
                  </a:lnTo>
                  <a:lnTo>
                    <a:pt x="11751" y="3428"/>
                  </a:lnTo>
                  <a:lnTo>
                    <a:pt x="11739" y="3395"/>
                  </a:lnTo>
                  <a:lnTo>
                    <a:pt x="11724" y="3363"/>
                  </a:lnTo>
                  <a:lnTo>
                    <a:pt x="11706" y="3333"/>
                  </a:lnTo>
                  <a:lnTo>
                    <a:pt x="11684" y="3305"/>
                  </a:lnTo>
                  <a:lnTo>
                    <a:pt x="11661" y="3280"/>
                  </a:lnTo>
                  <a:lnTo>
                    <a:pt x="11635" y="3257"/>
                  </a:lnTo>
                  <a:lnTo>
                    <a:pt x="11608" y="3236"/>
                  </a:lnTo>
                  <a:lnTo>
                    <a:pt x="11578" y="3218"/>
                  </a:lnTo>
                  <a:lnTo>
                    <a:pt x="11547" y="3203"/>
                  </a:lnTo>
                  <a:lnTo>
                    <a:pt x="11530" y="3196"/>
                  </a:lnTo>
                  <a:lnTo>
                    <a:pt x="11514" y="3190"/>
                  </a:lnTo>
                  <a:lnTo>
                    <a:pt x="11479" y="3181"/>
                  </a:lnTo>
                  <a:lnTo>
                    <a:pt x="11443" y="3176"/>
                  </a:lnTo>
                  <a:lnTo>
                    <a:pt x="11406" y="3175"/>
                  </a:lnTo>
                  <a:lnTo>
                    <a:pt x="11369" y="3176"/>
                  </a:lnTo>
                  <a:lnTo>
                    <a:pt x="11333" y="3181"/>
                  </a:lnTo>
                  <a:lnTo>
                    <a:pt x="11298" y="3190"/>
                  </a:lnTo>
                  <a:lnTo>
                    <a:pt x="11265" y="3203"/>
                  </a:lnTo>
                  <a:lnTo>
                    <a:pt x="11233" y="3218"/>
                  </a:lnTo>
                  <a:lnTo>
                    <a:pt x="11203" y="3236"/>
                  </a:lnTo>
                  <a:lnTo>
                    <a:pt x="11175" y="3257"/>
                  </a:lnTo>
                  <a:lnTo>
                    <a:pt x="11149" y="3280"/>
                  </a:lnTo>
                  <a:lnTo>
                    <a:pt x="11126" y="3305"/>
                  </a:lnTo>
                  <a:lnTo>
                    <a:pt x="11106" y="3333"/>
                  </a:lnTo>
                  <a:lnTo>
                    <a:pt x="11088" y="3363"/>
                  </a:lnTo>
                  <a:lnTo>
                    <a:pt x="11072" y="3395"/>
                  </a:lnTo>
                  <a:lnTo>
                    <a:pt x="11066" y="3411"/>
                  </a:lnTo>
                  <a:lnTo>
                    <a:pt x="11060" y="3428"/>
                  </a:lnTo>
                  <a:lnTo>
                    <a:pt x="11051" y="3462"/>
                  </a:lnTo>
                  <a:lnTo>
                    <a:pt x="11046" y="3498"/>
                  </a:lnTo>
                  <a:lnTo>
                    <a:pt x="11044" y="3535"/>
                  </a:lnTo>
                  <a:lnTo>
                    <a:pt x="11046" y="3570"/>
                  </a:lnTo>
                  <a:lnTo>
                    <a:pt x="11051" y="3606"/>
                  </a:lnTo>
                  <a:lnTo>
                    <a:pt x="11060" y="3639"/>
                  </a:lnTo>
                  <a:lnTo>
                    <a:pt x="11070" y="3671"/>
                  </a:lnTo>
                  <a:lnTo>
                    <a:pt x="11085" y="3702"/>
                  </a:lnTo>
                  <a:lnTo>
                    <a:pt x="11102" y="3731"/>
                  </a:lnTo>
                  <a:lnTo>
                    <a:pt x="11121" y="3758"/>
                  </a:lnTo>
                  <a:lnTo>
                    <a:pt x="11143" y="3783"/>
                  </a:lnTo>
                  <a:lnTo>
                    <a:pt x="11167" y="3806"/>
                  </a:lnTo>
                  <a:lnTo>
                    <a:pt x="11193" y="3827"/>
                  </a:lnTo>
                  <a:lnTo>
                    <a:pt x="11221" y="3846"/>
                  </a:lnTo>
                  <a:lnTo>
                    <a:pt x="11252" y="3861"/>
                  </a:lnTo>
                  <a:lnTo>
                    <a:pt x="11283" y="3874"/>
                  </a:lnTo>
                  <a:lnTo>
                    <a:pt x="11316" y="3884"/>
                  </a:lnTo>
                  <a:lnTo>
                    <a:pt x="11349" y="3891"/>
                  </a:lnTo>
                  <a:lnTo>
                    <a:pt x="11385" y="3895"/>
                  </a:lnTo>
                  <a:lnTo>
                    <a:pt x="11385" y="3757"/>
                  </a:lnTo>
                  <a:lnTo>
                    <a:pt x="11258" y="3631"/>
                  </a:lnTo>
                  <a:lnTo>
                    <a:pt x="11253" y="3624"/>
                  </a:lnTo>
                  <a:lnTo>
                    <a:pt x="11252" y="3616"/>
                  </a:lnTo>
                  <a:lnTo>
                    <a:pt x="11255" y="3608"/>
                  </a:lnTo>
                  <a:lnTo>
                    <a:pt x="11258" y="3602"/>
                  </a:lnTo>
                  <a:lnTo>
                    <a:pt x="11265" y="3598"/>
                  </a:lnTo>
                  <a:lnTo>
                    <a:pt x="11271" y="3597"/>
                  </a:lnTo>
                  <a:lnTo>
                    <a:pt x="11279" y="3598"/>
                  </a:lnTo>
                  <a:lnTo>
                    <a:pt x="11287" y="3602"/>
                  </a:lnTo>
                  <a:lnTo>
                    <a:pt x="11385" y="3700"/>
                  </a:lnTo>
                  <a:lnTo>
                    <a:pt x="11385" y="3589"/>
                  </a:lnTo>
                  <a:lnTo>
                    <a:pt x="11385" y="3581"/>
                  </a:lnTo>
                  <a:lnTo>
                    <a:pt x="11385" y="3447"/>
                  </a:lnTo>
                  <a:lnTo>
                    <a:pt x="11387" y="3439"/>
                  </a:lnTo>
                  <a:lnTo>
                    <a:pt x="11392" y="3433"/>
                  </a:lnTo>
                  <a:lnTo>
                    <a:pt x="11398" y="3429"/>
                  </a:lnTo>
                  <a:lnTo>
                    <a:pt x="11405" y="3428"/>
                  </a:lnTo>
                  <a:lnTo>
                    <a:pt x="11412" y="3429"/>
                  </a:lnTo>
                  <a:lnTo>
                    <a:pt x="11419" y="3433"/>
                  </a:lnTo>
                  <a:lnTo>
                    <a:pt x="11424" y="3439"/>
                  </a:lnTo>
                  <a:lnTo>
                    <a:pt x="11425" y="3447"/>
                  </a:lnTo>
                  <a:lnTo>
                    <a:pt x="11425" y="3537"/>
                  </a:lnTo>
                  <a:lnTo>
                    <a:pt x="11517" y="3445"/>
                  </a:lnTo>
                  <a:lnTo>
                    <a:pt x="11525" y="3439"/>
                  </a:lnTo>
                  <a:lnTo>
                    <a:pt x="11533" y="3438"/>
                  </a:lnTo>
                  <a:lnTo>
                    <a:pt x="11541" y="3441"/>
                  </a:lnTo>
                  <a:lnTo>
                    <a:pt x="11546" y="3445"/>
                  </a:lnTo>
                  <a:lnTo>
                    <a:pt x="11551" y="3451"/>
                  </a:lnTo>
                  <a:lnTo>
                    <a:pt x="11552" y="3457"/>
                  </a:lnTo>
                  <a:lnTo>
                    <a:pt x="11551" y="3465"/>
                  </a:lnTo>
                  <a:lnTo>
                    <a:pt x="11546" y="3473"/>
                  </a:lnTo>
                  <a:lnTo>
                    <a:pt x="11425" y="3593"/>
                  </a:lnTo>
                  <a:lnTo>
                    <a:pt x="11425" y="3810"/>
                  </a:lnTo>
                  <a:close/>
                  <a:moveTo>
                    <a:pt x="11847" y="2875"/>
                  </a:moveTo>
                  <a:lnTo>
                    <a:pt x="11847" y="2753"/>
                  </a:lnTo>
                  <a:lnTo>
                    <a:pt x="11743" y="2650"/>
                  </a:lnTo>
                  <a:lnTo>
                    <a:pt x="11738" y="2643"/>
                  </a:lnTo>
                  <a:lnTo>
                    <a:pt x="11737" y="2635"/>
                  </a:lnTo>
                  <a:lnTo>
                    <a:pt x="11739" y="2627"/>
                  </a:lnTo>
                  <a:lnTo>
                    <a:pt x="11743" y="2622"/>
                  </a:lnTo>
                  <a:lnTo>
                    <a:pt x="11750" y="2617"/>
                  </a:lnTo>
                  <a:lnTo>
                    <a:pt x="11757" y="2616"/>
                  </a:lnTo>
                  <a:lnTo>
                    <a:pt x="11764" y="2617"/>
                  </a:lnTo>
                  <a:lnTo>
                    <a:pt x="11771" y="2622"/>
                  </a:lnTo>
                  <a:lnTo>
                    <a:pt x="11847" y="2696"/>
                  </a:lnTo>
                  <a:lnTo>
                    <a:pt x="11847" y="2643"/>
                  </a:lnTo>
                  <a:lnTo>
                    <a:pt x="11848" y="2634"/>
                  </a:lnTo>
                  <a:lnTo>
                    <a:pt x="11853" y="2627"/>
                  </a:lnTo>
                  <a:lnTo>
                    <a:pt x="11860" y="2624"/>
                  </a:lnTo>
                  <a:lnTo>
                    <a:pt x="11866" y="2622"/>
                  </a:lnTo>
                  <a:lnTo>
                    <a:pt x="11874" y="2624"/>
                  </a:lnTo>
                  <a:lnTo>
                    <a:pt x="11880" y="2627"/>
                  </a:lnTo>
                  <a:lnTo>
                    <a:pt x="11885" y="2634"/>
                  </a:lnTo>
                  <a:lnTo>
                    <a:pt x="11887" y="2643"/>
                  </a:lnTo>
                  <a:lnTo>
                    <a:pt x="11887" y="2741"/>
                  </a:lnTo>
                  <a:lnTo>
                    <a:pt x="11887" y="2748"/>
                  </a:lnTo>
                  <a:lnTo>
                    <a:pt x="11887" y="2831"/>
                  </a:lnTo>
                  <a:lnTo>
                    <a:pt x="12024" y="2693"/>
                  </a:lnTo>
                  <a:lnTo>
                    <a:pt x="12032" y="2688"/>
                  </a:lnTo>
                  <a:lnTo>
                    <a:pt x="12039" y="2686"/>
                  </a:lnTo>
                  <a:lnTo>
                    <a:pt x="12047" y="2689"/>
                  </a:lnTo>
                  <a:lnTo>
                    <a:pt x="12052" y="2693"/>
                  </a:lnTo>
                  <a:lnTo>
                    <a:pt x="12057" y="2699"/>
                  </a:lnTo>
                  <a:lnTo>
                    <a:pt x="12059" y="2707"/>
                  </a:lnTo>
                  <a:lnTo>
                    <a:pt x="12057" y="2714"/>
                  </a:lnTo>
                  <a:lnTo>
                    <a:pt x="12052" y="2721"/>
                  </a:lnTo>
                  <a:lnTo>
                    <a:pt x="11887" y="2887"/>
                  </a:lnTo>
                  <a:lnTo>
                    <a:pt x="11887" y="2960"/>
                  </a:lnTo>
                  <a:lnTo>
                    <a:pt x="11887" y="2968"/>
                  </a:lnTo>
                  <a:lnTo>
                    <a:pt x="11887" y="3172"/>
                  </a:lnTo>
                  <a:lnTo>
                    <a:pt x="11897" y="3164"/>
                  </a:lnTo>
                  <a:lnTo>
                    <a:pt x="11907" y="3156"/>
                  </a:lnTo>
                  <a:lnTo>
                    <a:pt x="11919" y="3147"/>
                  </a:lnTo>
                  <a:lnTo>
                    <a:pt x="11932" y="3138"/>
                  </a:lnTo>
                  <a:lnTo>
                    <a:pt x="11947" y="3130"/>
                  </a:lnTo>
                  <a:lnTo>
                    <a:pt x="11968" y="3126"/>
                  </a:lnTo>
                  <a:lnTo>
                    <a:pt x="11993" y="3125"/>
                  </a:lnTo>
                  <a:lnTo>
                    <a:pt x="12027" y="3129"/>
                  </a:lnTo>
                  <a:lnTo>
                    <a:pt x="12043" y="3131"/>
                  </a:lnTo>
                  <a:lnTo>
                    <a:pt x="12056" y="3131"/>
                  </a:lnTo>
                  <a:lnTo>
                    <a:pt x="12066" y="3129"/>
                  </a:lnTo>
                  <a:lnTo>
                    <a:pt x="12075" y="3125"/>
                  </a:lnTo>
                  <a:lnTo>
                    <a:pt x="12088" y="3112"/>
                  </a:lnTo>
                  <a:lnTo>
                    <a:pt x="12097" y="3097"/>
                  </a:lnTo>
                  <a:lnTo>
                    <a:pt x="12106" y="3078"/>
                  </a:lnTo>
                  <a:lnTo>
                    <a:pt x="12118" y="3058"/>
                  </a:lnTo>
                  <a:lnTo>
                    <a:pt x="12135" y="3040"/>
                  </a:lnTo>
                  <a:lnTo>
                    <a:pt x="12148" y="3033"/>
                  </a:lnTo>
                  <a:lnTo>
                    <a:pt x="12162" y="3026"/>
                  </a:lnTo>
                  <a:lnTo>
                    <a:pt x="12211" y="3012"/>
                  </a:lnTo>
                  <a:lnTo>
                    <a:pt x="12224" y="3007"/>
                  </a:lnTo>
                  <a:lnTo>
                    <a:pt x="12232" y="3001"/>
                  </a:lnTo>
                  <a:lnTo>
                    <a:pt x="12237" y="2992"/>
                  </a:lnTo>
                  <a:lnTo>
                    <a:pt x="12238" y="2978"/>
                  </a:lnTo>
                  <a:lnTo>
                    <a:pt x="12242" y="2928"/>
                  </a:lnTo>
                  <a:lnTo>
                    <a:pt x="12244" y="2911"/>
                  </a:lnTo>
                  <a:lnTo>
                    <a:pt x="12250" y="2897"/>
                  </a:lnTo>
                  <a:lnTo>
                    <a:pt x="12262" y="2875"/>
                  </a:lnTo>
                  <a:lnTo>
                    <a:pt x="12270" y="2868"/>
                  </a:lnTo>
                  <a:lnTo>
                    <a:pt x="12279" y="2860"/>
                  </a:lnTo>
                  <a:lnTo>
                    <a:pt x="12296" y="2847"/>
                  </a:lnTo>
                  <a:lnTo>
                    <a:pt x="12310" y="2836"/>
                  </a:lnTo>
                  <a:lnTo>
                    <a:pt x="12315" y="2828"/>
                  </a:lnTo>
                  <a:lnTo>
                    <a:pt x="12319" y="2821"/>
                  </a:lnTo>
                  <a:lnTo>
                    <a:pt x="12320" y="2812"/>
                  </a:lnTo>
                  <a:lnTo>
                    <a:pt x="12320" y="2801"/>
                  </a:lnTo>
                  <a:lnTo>
                    <a:pt x="12312" y="2773"/>
                  </a:lnTo>
                  <a:lnTo>
                    <a:pt x="12300" y="2743"/>
                  </a:lnTo>
                  <a:lnTo>
                    <a:pt x="12294" y="2727"/>
                  </a:lnTo>
                  <a:lnTo>
                    <a:pt x="12293" y="2711"/>
                  </a:lnTo>
                  <a:lnTo>
                    <a:pt x="12294" y="2693"/>
                  </a:lnTo>
                  <a:lnTo>
                    <a:pt x="12300" y="2676"/>
                  </a:lnTo>
                  <a:lnTo>
                    <a:pt x="12318" y="2629"/>
                  </a:lnTo>
                  <a:lnTo>
                    <a:pt x="12323" y="2616"/>
                  </a:lnTo>
                  <a:lnTo>
                    <a:pt x="12323" y="2606"/>
                  </a:lnTo>
                  <a:lnTo>
                    <a:pt x="12319" y="2598"/>
                  </a:lnTo>
                  <a:lnTo>
                    <a:pt x="12309" y="2588"/>
                  </a:lnTo>
                  <a:lnTo>
                    <a:pt x="12271" y="2553"/>
                  </a:lnTo>
                  <a:lnTo>
                    <a:pt x="12261" y="2540"/>
                  </a:lnTo>
                  <a:lnTo>
                    <a:pt x="12252" y="2529"/>
                  </a:lnTo>
                  <a:lnTo>
                    <a:pt x="12247" y="2516"/>
                  </a:lnTo>
                  <a:lnTo>
                    <a:pt x="12243" y="2505"/>
                  </a:lnTo>
                  <a:lnTo>
                    <a:pt x="12242" y="2483"/>
                  </a:lnTo>
                  <a:lnTo>
                    <a:pt x="12242" y="2461"/>
                  </a:lnTo>
                  <a:lnTo>
                    <a:pt x="12241" y="2443"/>
                  </a:lnTo>
                  <a:lnTo>
                    <a:pt x="12238" y="2434"/>
                  </a:lnTo>
                  <a:lnTo>
                    <a:pt x="12236" y="2427"/>
                  </a:lnTo>
                  <a:lnTo>
                    <a:pt x="12229" y="2419"/>
                  </a:lnTo>
                  <a:lnTo>
                    <a:pt x="12220" y="2413"/>
                  </a:lnTo>
                  <a:lnTo>
                    <a:pt x="12209" y="2406"/>
                  </a:lnTo>
                  <a:lnTo>
                    <a:pt x="12193" y="2401"/>
                  </a:lnTo>
                  <a:lnTo>
                    <a:pt x="12164" y="2393"/>
                  </a:lnTo>
                  <a:lnTo>
                    <a:pt x="12143" y="2384"/>
                  </a:lnTo>
                  <a:lnTo>
                    <a:pt x="12129" y="2376"/>
                  </a:lnTo>
                  <a:lnTo>
                    <a:pt x="12120" y="2365"/>
                  </a:lnTo>
                  <a:lnTo>
                    <a:pt x="12106" y="2340"/>
                  </a:lnTo>
                  <a:lnTo>
                    <a:pt x="12096" y="2322"/>
                  </a:lnTo>
                  <a:lnTo>
                    <a:pt x="12082" y="2301"/>
                  </a:lnTo>
                  <a:lnTo>
                    <a:pt x="12077" y="2295"/>
                  </a:lnTo>
                  <a:lnTo>
                    <a:pt x="12070" y="2291"/>
                  </a:lnTo>
                  <a:lnTo>
                    <a:pt x="12055" y="2287"/>
                  </a:lnTo>
                  <a:lnTo>
                    <a:pt x="12038" y="2289"/>
                  </a:lnTo>
                  <a:lnTo>
                    <a:pt x="12020" y="2292"/>
                  </a:lnTo>
                  <a:lnTo>
                    <a:pt x="12000" y="2296"/>
                  </a:lnTo>
                  <a:lnTo>
                    <a:pt x="11978" y="2296"/>
                  </a:lnTo>
                  <a:lnTo>
                    <a:pt x="11955" y="2292"/>
                  </a:lnTo>
                  <a:lnTo>
                    <a:pt x="11930" y="2281"/>
                  </a:lnTo>
                  <a:lnTo>
                    <a:pt x="11900" y="2259"/>
                  </a:lnTo>
                  <a:lnTo>
                    <a:pt x="11882" y="2248"/>
                  </a:lnTo>
                  <a:lnTo>
                    <a:pt x="11866" y="2244"/>
                  </a:lnTo>
                  <a:lnTo>
                    <a:pt x="11851" y="2246"/>
                  </a:lnTo>
                  <a:lnTo>
                    <a:pt x="11843" y="2250"/>
                  </a:lnTo>
                  <a:lnTo>
                    <a:pt x="11837" y="2254"/>
                  </a:lnTo>
                  <a:lnTo>
                    <a:pt x="11812" y="2276"/>
                  </a:lnTo>
                  <a:lnTo>
                    <a:pt x="11796" y="2286"/>
                  </a:lnTo>
                  <a:lnTo>
                    <a:pt x="11774" y="2294"/>
                  </a:lnTo>
                  <a:lnTo>
                    <a:pt x="11744" y="2295"/>
                  </a:lnTo>
                  <a:lnTo>
                    <a:pt x="11726" y="2294"/>
                  </a:lnTo>
                  <a:lnTo>
                    <a:pt x="11706" y="2291"/>
                  </a:lnTo>
                  <a:lnTo>
                    <a:pt x="11691" y="2289"/>
                  </a:lnTo>
                  <a:lnTo>
                    <a:pt x="11676" y="2289"/>
                  </a:lnTo>
                  <a:lnTo>
                    <a:pt x="11666" y="2291"/>
                  </a:lnTo>
                  <a:lnTo>
                    <a:pt x="11658" y="2295"/>
                  </a:lnTo>
                  <a:lnTo>
                    <a:pt x="11646" y="2308"/>
                  </a:lnTo>
                  <a:lnTo>
                    <a:pt x="11637" y="2324"/>
                  </a:lnTo>
                  <a:lnTo>
                    <a:pt x="11628" y="2342"/>
                  </a:lnTo>
                  <a:lnTo>
                    <a:pt x="11616" y="2361"/>
                  </a:lnTo>
                  <a:lnTo>
                    <a:pt x="11598" y="2379"/>
                  </a:lnTo>
                  <a:lnTo>
                    <a:pt x="11585" y="2387"/>
                  </a:lnTo>
                  <a:lnTo>
                    <a:pt x="11570" y="2393"/>
                  </a:lnTo>
                  <a:lnTo>
                    <a:pt x="11521" y="2409"/>
                  </a:lnTo>
                  <a:lnTo>
                    <a:pt x="11508" y="2414"/>
                  </a:lnTo>
                  <a:lnTo>
                    <a:pt x="11501" y="2419"/>
                  </a:lnTo>
                  <a:lnTo>
                    <a:pt x="11497" y="2428"/>
                  </a:lnTo>
                  <a:lnTo>
                    <a:pt x="11494" y="2442"/>
                  </a:lnTo>
                  <a:lnTo>
                    <a:pt x="11491" y="2492"/>
                  </a:lnTo>
                  <a:lnTo>
                    <a:pt x="11488" y="2509"/>
                  </a:lnTo>
                  <a:lnTo>
                    <a:pt x="11484" y="2523"/>
                  </a:lnTo>
                  <a:lnTo>
                    <a:pt x="11470" y="2544"/>
                  </a:lnTo>
                  <a:lnTo>
                    <a:pt x="11462" y="2552"/>
                  </a:lnTo>
                  <a:lnTo>
                    <a:pt x="11455" y="2560"/>
                  </a:lnTo>
                  <a:lnTo>
                    <a:pt x="11438" y="2572"/>
                  </a:lnTo>
                  <a:lnTo>
                    <a:pt x="11424" y="2585"/>
                  </a:lnTo>
                  <a:lnTo>
                    <a:pt x="11419" y="2592"/>
                  </a:lnTo>
                  <a:lnTo>
                    <a:pt x="11415" y="2599"/>
                  </a:lnTo>
                  <a:lnTo>
                    <a:pt x="11412" y="2608"/>
                  </a:lnTo>
                  <a:lnTo>
                    <a:pt x="11412" y="2620"/>
                  </a:lnTo>
                  <a:lnTo>
                    <a:pt x="11421" y="2647"/>
                  </a:lnTo>
                  <a:lnTo>
                    <a:pt x="11434" y="2677"/>
                  </a:lnTo>
                  <a:lnTo>
                    <a:pt x="11438" y="2694"/>
                  </a:lnTo>
                  <a:lnTo>
                    <a:pt x="11440" y="2711"/>
                  </a:lnTo>
                  <a:lnTo>
                    <a:pt x="11438" y="2732"/>
                  </a:lnTo>
                  <a:lnTo>
                    <a:pt x="11432" y="2751"/>
                  </a:lnTo>
                  <a:lnTo>
                    <a:pt x="11416" y="2782"/>
                  </a:lnTo>
                  <a:lnTo>
                    <a:pt x="11411" y="2797"/>
                  </a:lnTo>
                  <a:lnTo>
                    <a:pt x="11411" y="2805"/>
                  </a:lnTo>
                  <a:lnTo>
                    <a:pt x="11412" y="2812"/>
                  </a:lnTo>
                  <a:lnTo>
                    <a:pt x="11420" y="2828"/>
                  </a:lnTo>
                  <a:lnTo>
                    <a:pt x="11438" y="2847"/>
                  </a:lnTo>
                  <a:lnTo>
                    <a:pt x="11461" y="2868"/>
                  </a:lnTo>
                  <a:lnTo>
                    <a:pt x="11476" y="2884"/>
                  </a:lnTo>
                  <a:lnTo>
                    <a:pt x="11484" y="2899"/>
                  </a:lnTo>
                  <a:lnTo>
                    <a:pt x="11488" y="2911"/>
                  </a:lnTo>
                  <a:lnTo>
                    <a:pt x="11491" y="2941"/>
                  </a:lnTo>
                  <a:lnTo>
                    <a:pt x="11491" y="2960"/>
                  </a:lnTo>
                  <a:lnTo>
                    <a:pt x="11494" y="2985"/>
                  </a:lnTo>
                  <a:lnTo>
                    <a:pt x="11502" y="3000"/>
                  </a:lnTo>
                  <a:lnTo>
                    <a:pt x="11514" y="3010"/>
                  </a:lnTo>
                  <a:lnTo>
                    <a:pt x="11529" y="3015"/>
                  </a:lnTo>
                  <a:lnTo>
                    <a:pt x="11547" y="3020"/>
                  </a:lnTo>
                  <a:lnTo>
                    <a:pt x="11567" y="3026"/>
                  </a:lnTo>
                  <a:lnTo>
                    <a:pt x="11587" y="3034"/>
                  </a:lnTo>
                  <a:lnTo>
                    <a:pt x="11606" y="3048"/>
                  </a:lnTo>
                  <a:lnTo>
                    <a:pt x="11615" y="3057"/>
                  </a:lnTo>
                  <a:lnTo>
                    <a:pt x="11623" y="3069"/>
                  </a:lnTo>
                  <a:lnTo>
                    <a:pt x="11648" y="3112"/>
                  </a:lnTo>
                  <a:lnTo>
                    <a:pt x="11656" y="3124"/>
                  </a:lnTo>
                  <a:lnTo>
                    <a:pt x="11664" y="3130"/>
                  </a:lnTo>
                  <a:lnTo>
                    <a:pt x="11673" y="3133"/>
                  </a:lnTo>
                  <a:lnTo>
                    <a:pt x="11687" y="3131"/>
                  </a:lnTo>
                  <a:lnTo>
                    <a:pt x="11737" y="3124"/>
                  </a:lnTo>
                  <a:lnTo>
                    <a:pt x="11757" y="3124"/>
                  </a:lnTo>
                  <a:lnTo>
                    <a:pt x="11774" y="3126"/>
                  </a:lnTo>
                  <a:lnTo>
                    <a:pt x="11789" y="3131"/>
                  </a:lnTo>
                  <a:lnTo>
                    <a:pt x="11803" y="3139"/>
                  </a:lnTo>
                  <a:lnTo>
                    <a:pt x="11826" y="3156"/>
                  </a:lnTo>
                  <a:lnTo>
                    <a:pt x="11847" y="3171"/>
                  </a:lnTo>
                  <a:lnTo>
                    <a:pt x="11847" y="2973"/>
                  </a:lnTo>
                  <a:lnTo>
                    <a:pt x="11769" y="2895"/>
                  </a:lnTo>
                  <a:lnTo>
                    <a:pt x="11764" y="2887"/>
                  </a:lnTo>
                  <a:lnTo>
                    <a:pt x="11762" y="2879"/>
                  </a:lnTo>
                  <a:lnTo>
                    <a:pt x="11765" y="2873"/>
                  </a:lnTo>
                  <a:lnTo>
                    <a:pt x="11769" y="2867"/>
                  </a:lnTo>
                  <a:lnTo>
                    <a:pt x="11775" y="2863"/>
                  </a:lnTo>
                  <a:lnTo>
                    <a:pt x="11782" y="2860"/>
                  </a:lnTo>
                  <a:lnTo>
                    <a:pt x="11789" y="2861"/>
                  </a:lnTo>
                  <a:lnTo>
                    <a:pt x="11797" y="2867"/>
                  </a:lnTo>
                  <a:lnTo>
                    <a:pt x="11847" y="2916"/>
                  </a:lnTo>
                  <a:lnTo>
                    <a:pt x="11847" y="2882"/>
                  </a:lnTo>
                  <a:lnTo>
                    <a:pt x="11847" y="2875"/>
                  </a:lnTo>
                  <a:close/>
                  <a:moveTo>
                    <a:pt x="11887" y="2960"/>
                  </a:moveTo>
                  <a:lnTo>
                    <a:pt x="11887" y="2968"/>
                  </a:lnTo>
                  <a:lnTo>
                    <a:pt x="11887" y="2960"/>
                  </a:lnTo>
                  <a:close/>
                  <a:moveTo>
                    <a:pt x="11887" y="2741"/>
                  </a:moveTo>
                  <a:lnTo>
                    <a:pt x="11887" y="2748"/>
                  </a:lnTo>
                  <a:lnTo>
                    <a:pt x="11887" y="2741"/>
                  </a:lnTo>
                  <a:close/>
                  <a:moveTo>
                    <a:pt x="11847" y="2882"/>
                  </a:moveTo>
                  <a:lnTo>
                    <a:pt x="11847" y="2875"/>
                  </a:lnTo>
                  <a:lnTo>
                    <a:pt x="11847" y="2882"/>
                  </a:lnTo>
                  <a:close/>
                  <a:moveTo>
                    <a:pt x="9740" y="1741"/>
                  </a:moveTo>
                  <a:lnTo>
                    <a:pt x="9740" y="1619"/>
                  </a:lnTo>
                  <a:lnTo>
                    <a:pt x="9741" y="1611"/>
                  </a:lnTo>
                  <a:lnTo>
                    <a:pt x="9747" y="1604"/>
                  </a:lnTo>
                  <a:lnTo>
                    <a:pt x="9753" y="1601"/>
                  </a:lnTo>
                  <a:lnTo>
                    <a:pt x="9761" y="1599"/>
                  </a:lnTo>
                  <a:lnTo>
                    <a:pt x="10006" y="1599"/>
                  </a:lnTo>
                  <a:lnTo>
                    <a:pt x="10013" y="1601"/>
                  </a:lnTo>
                  <a:lnTo>
                    <a:pt x="10020" y="1604"/>
                  </a:lnTo>
                  <a:lnTo>
                    <a:pt x="10024" y="1611"/>
                  </a:lnTo>
                  <a:lnTo>
                    <a:pt x="10026" y="1619"/>
                  </a:lnTo>
                  <a:lnTo>
                    <a:pt x="10026" y="1741"/>
                  </a:lnTo>
                  <a:lnTo>
                    <a:pt x="10978" y="1741"/>
                  </a:lnTo>
                  <a:lnTo>
                    <a:pt x="10987" y="1744"/>
                  </a:lnTo>
                  <a:lnTo>
                    <a:pt x="10994" y="1749"/>
                  </a:lnTo>
                  <a:lnTo>
                    <a:pt x="11211" y="2048"/>
                  </a:lnTo>
                  <a:lnTo>
                    <a:pt x="11235" y="2048"/>
                  </a:lnTo>
                  <a:lnTo>
                    <a:pt x="11242" y="2051"/>
                  </a:lnTo>
                  <a:lnTo>
                    <a:pt x="11248" y="2055"/>
                  </a:lnTo>
                  <a:lnTo>
                    <a:pt x="11253" y="2061"/>
                  </a:lnTo>
                  <a:lnTo>
                    <a:pt x="11255" y="2069"/>
                  </a:lnTo>
                  <a:lnTo>
                    <a:pt x="11255" y="2241"/>
                  </a:lnTo>
                  <a:lnTo>
                    <a:pt x="11253" y="2249"/>
                  </a:lnTo>
                  <a:lnTo>
                    <a:pt x="11248" y="2255"/>
                  </a:lnTo>
                  <a:lnTo>
                    <a:pt x="11242" y="2260"/>
                  </a:lnTo>
                  <a:lnTo>
                    <a:pt x="11235" y="2262"/>
                  </a:lnTo>
                  <a:lnTo>
                    <a:pt x="11224" y="2262"/>
                  </a:lnTo>
                  <a:lnTo>
                    <a:pt x="11224" y="3107"/>
                  </a:lnTo>
                  <a:lnTo>
                    <a:pt x="11223" y="3116"/>
                  </a:lnTo>
                  <a:lnTo>
                    <a:pt x="11217" y="3122"/>
                  </a:lnTo>
                  <a:lnTo>
                    <a:pt x="11211" y="3126"/>
                  </a:lnTo>
                  <a:lnTo>
                    <a:pt x="11205" y="3127"/>
                  </a:lnTo>
                  <a:lnTo>
                    <a:pt x="11197" y="3126"/>
                  </a:lnTo>
                  <a:lnTo>
                    <a:pt x="11190" y="3122"/>
                  </a:lnTo>
                  <a:lnTo>
                    <a:pt x="11185" y="3116"/>
                  </a:lnTo>
                  <a:lnTo>
                    <a:pt x="11184" y="3107"/>
                  </a:lnTo>
                  <a:lnTo>
                    <a:pt x="11184" y="2262"/>
                  </a:lnTo>
                  <a:lnTo>
                    <a:pt x="10285" y="2262"/>
                  </a:lnTo>
                  <a:lnTo>
                    <a:pt x="9388" y="2262"/>
                  </a:lnTo>
                  <a:lnTo>
                    <a:pt x="9388" y="3282"/>
                  </a:lnTo>
                  <a:lnTo>
                    <a:pt x="9388" y="4304"/>
                  </a:lnTo>
                  <a:lnTo>
                    <a:pt x="10285" y="4304"/>
                  </a:lnTo>
                  <a:lnTo>
                    <a:pt x="11184" y="4304"/>
                  </a:lnTo>
                  <a:lnTo>
                    <a:pt x="11184" y="3976"/>
                  </a:lnTo>
                  <a:lnTo>
                    <a:pt x="11185" y="3969"/>
                  </a:lnTo>
                  <a:lnTo>
                    <a:pt x="11190" y="3962"/>
                  </a:lnTo>
                  <a:lnTo>
                    <a:pt x="11197" y="3959"/>
                  </a:lnTo>
                  <a:lnTo>
                    <a:pt x="11205" y="3957"/>
                  </a:lnTo>
                  <a:lnTo>
                    <a:pt x="11211" y="3959"/>
                  </a:lnTo>
                  <a:lnTo>
                    <a:pt x="11217" y="3962"/>
                  </a:lnTo>
                  <a:lnTo>
                    <a:pt x="11223" y="3969"/>
                  </a:lnTo>
                  <a:lnTo>
                    <a:pt x="11224" y="3976"/>
                  </a:lnTo>
                  <a:lnTo>
                    <a:pt x="11224" y="4324"/>
                  </a:lnTo>
                  <a:lnTo>
                    <a:pt x="11223" y="4332"/>
                  </a:lnTo>
                  <a:lnTo>
                    <a:pt x="11217" y="4338"/>
                  </a:lnTo>
                  <a:lnTo>
                    <a:pt x="11211" y="4342"/>
                  </a:lnTo>
                  <a:lnTo>
                    <a:pt x="11205" y="4343"/>
                  </a:lnTo>
                  <a:lnTo>
                    <a:pt x="10285" y="4343"/>
                  </a:lnTo>
                  <a:lnTo>
                    <a:pt x="9367" y="4343"/>
                  </a:lnTo>
                  <a:lnTo>
                    <a:pt x="9361" y="4342"/>
                  </a:lnTo>
                  <a:lnTo>
                    <a:pt x="9354" y="4338"/>
                  </a:lnTo>
                  <a:lnTo>
                    <a:pt x="9349" y="4332"/>
                  </a:lnTo>
                  <a:lnTo>
                    <a:pt x="9348" y="4324"/>
                  </a:lnTo>
                  <a:lnTo>
                    <a:pt x="9348" y="3808"/>
                  </a:lnTo>
                  <a:lnTo>
                    <a:pt x="9348" y="3292"/>
                  </a:lnTo>
                  <a:lnTo>
                    <a:pt x="9348" y="2777"/>
                  </a:lnTo>
                  <a:lnTo>
                    <a:pt x="9348" y="2262"/>
                  </a:lnTo>
                  <a:lnTo>
                    <a:pt x="9336" y="2262"/>
                  </a:lnTo>
                  <a:lnTo>
                    <a:pt x="9329" y="2260"/>
                  </a:lnTo>
                  <a:lnTo>
                    <a:pt x="9322" y="2255"/>
                  </a:lnTo>
                  <a:lnTo>
                    <a:pt x="9318" y="2249"/>
                  </a:lnTo>
                  <a:lnTo>
                    <a:pt x="9317" y="2241"/>
                  </a:lnTo>
                  <a:lnTo>
                    <a:pt x="9317" y="2069"/>
                  </a:lnTo>
                  <a:lnTo>
                    <a:pt x="9318" y="2061"/>
                  </a:lnTo>
                  <a:lnTo>
                    <a:pt x="9322" y="2055"/>
                  </a:lnTo>
                  <a:lnTo>
                    <a:pt x="9329" y="2051"/>
                  </a:lnTo>
                  <a:lnTo>
                    <a:pt x="9336" y="2048"/>
                  </a:lnTo>
                  <a:lnTo>
                    <a:pt x="9364" y="2048"/>
                  </a:lnTo>
                  <a:lnTo>
                    <a:pt x="9581" y="1749"/>
                  </a:lnTo>
                  <a:lnTo>
                    <a:pt x="9589" y="1744"/>
                  </a:lnTo>
                  <a:lnTo>
                    <a:pt x="9598" y="1741"/>
                  </a:lnTo>
                  <a:lnTo>
                    <a:pt x="9740" y="1741"/>
                  </a:lnTo>
                  <a:close/>
                  <a:moveTo>
                    <a:pt x="9985" y="1741"/>
                  </a:moveTo>
                  <a:lnTo>
                    <a:pt x="9985" y="1639"/>
                  </a:lnTo>
                  <a:lnTo>
                    <a:pt x="9780" y="1639"/>
                  </a:lnTo>
                  <a:lnTo>
                    <a:pt x="9780" y="1741"/>
                  </a:lnTo>
                  <a:lnTo>
                    <a:pt x="9799" y="1741"/>
                  </a:lnTo>
                  <a:lnTo>
                    <a:pt x="9808" y="1743"/>
                  </a:lnTo>
                  <a:lnTo>
                    <a:pt x="9815" y="1748"/>
                  </a:lnTo>
                  <a:lnTo>
                    <a:pt x="9818" y="1754"/>
                  </a:lnTo>
                  <a:lnTo>
                    <a:pt x="9820" y="1762"/>
                  </a:lnTo>
                  <a:lnTo>
                    <a:pt x="9818" y="1768"/>
                  </a:lnTo>
                  <a:lnTo>
                    <a:pt x="9815" y="1775"/>
                  </a:lnTo>
                  <a:lnTo>
                    <a:pt x="9808" y="1780"/>
                  </a:lnTo>
                  <a:lnTo>
                    <a:pt x="9799" y="1781"/>
                  </a:lnTo>
                  <a:lnTo>
                    <a:pt x="9607" y="1781"/>
                  </a:lnTo>
                  <a:lnTo>
                    <a:pt x="9413" y="2048"/>
                  </a:lnTo>
                  <a:lnTo>
                    <a:pt x="10288" y="2048"/>
                  </a:lnTo>
                  <a:lnTo>
                    <a:pt x="11162" y="2048"/>
                  </a:lnTo>
                  <a:lnTo>
                    <a:pt x="10967" y="1781"/>
                  </a:lnTo>
                  <a:lnTo>
                    <a:pt x="9953" y="1781"/>
                  </a:lnTo>
                  <a:lnTo>
                    <a:pt x="9944" y="1780"/>
                  </a:lnTo>
                  <a:lnTo>
                    <a:pt x="9938" y="1775"/>
                  </a:lnTo>
                  <a:lnTo>
                    <a:pt x="9934" y="1768"/>
                  </a:lnTo>
                  <a:lnTo>
                    <a:pt x="9933" y="1762"/>
                  </a:lnTo>
                  <a:lnTo>
                    <a:pt x="9934" y="1754"/>
                  </a:lnTo>
                  <a:lnTo>
                    <a:pt x="9938" y="1748"/>
                  </a:lnTo>
                  <a:lnTo>
                    <a:pt x="9944" y="1743"/>
                  </a:lnTo>
                  <a:lnTo>
                    <a:pt x="9953" y="1741"/>
                  </a:lnTo>
                  <a:lnTo>
                    <a:pt x="9985" y="1741"/>
                  </a:lnTo>
                  <a:close/>
                  <a:moveTo>
                    <a:pt x="9372" y="2089"/>
                  </a:moveTo>
                  <a:lnTo>
                    <a:pt x="9357" y="2089"/>
                  </a:lnTo>
                  <a:lnTo>
                    <a:pt x="9357" y="2222"/>
                  </a:lnTo>
                  <a:lnTo>
                    <a:pt x="10285" y="2222"/>
                  </a:lnTo>
                  <a:lnTo>
                    <a:pt x="11215" y="2222"/>
                  </a:lnTo>
                  <a:lnTo>
                    <a:pt x="11215" y="2089"/>
                  </a:lnTo>
                  <a:lnTo>
                    <a:pt x="11205" y="2089"/>
                  </a:lnTo>
                  <a:lnTo>
                    <a:pt x="11198" y="2089"/>
                  </a:lnTo>
                  <a:lnTo>
                    <a:pt x="10288" y="2089"/>
                  </a:lnTo>
                  <a:lnTo>
                    <a:pt x="9379" y="2089"/>
                  </a:lnTo>
                  <a:lnTo>
                    <a:pt x="9372" y="2089"/>
                  </a:lnTo>
                  <a:close/>
                  <a:moveTo>
                    <a:pt x="11205" y="2089"/>
                  </a:moveTo>
                  <a:lnTo>
                    <a:pt x="11198" y="2089"/>
                  </a:lnTo>
                  <a:lnTo>
                    <a:pt x="11205" y="2089"/>
                  </a:lnTo>
                  <a:close/>
                  <a:moveTo>
                    <a:pt x="9379" y="2089"/>
                  </a:moveTo>
                  <a:lnTo>
                    <a:pt x="9372" y="2089"/>
                  </a:lnTo>
                  <a:lnTo>
                    <a:pt x="9379" y="2089"/>
                  </a:lnTo>
                  <a:close/>
                  <a:moveTo>
                    <a:pt x="11106" y="1136"/>
                  </a:moveTo>
                  <a:lnTo>
                    <a:pt x="11083" y="1126"/>
                  </a:lnTo>
                  <a:lnTo>
                    <a:pt x="11056" y="1122"/>
                  </a:lnTo>
                  <a:lnTo>
                    <a:pt x="11035" y="1125"/>
                  </a:lnTo>
                  <a:lnTo>
                    <a:pt x="11017" y="1130"/>
                  </a:lnTo>
                  <a:lnTo>
                    <a:pt x="10999" y="1140"/>
                  </a:lnTo>
                  <a:lnTo>
                    <a:pt x="10985" y="1152"/>
                  </a:lnTo>
                  <a:lnTo>
                    <a:pt x="10972" y="1167"/>
                  </a:lnTo>
                  <a:lnTo>
                    <a:pt x="10963" y="1185"/>
                  </a:lnTo>
                  <a:lnTo>
                    <a:pt x="10957" y="1204"/>
                  </a:lnTo>
                  <a:lnTo>
                    <a:pt x="10956" y="1225"/>
                  </a:lnTo>
                  <a:lnTo>
                    <a:pt x="10958" y="1246"/>
                  </a:lnTo>
                  <a:lnTo>
                    <a:pt x="11683" y="1245"/>
                  </a:lnTo>
                  <a:lnTo>
                    <a:pt x="11683" y="1227"/>
                  </a:lnTo>
                  <a:lnTo>
                    <a:pt x="11682" y="1208"/>
                  </a:lnTo>
                  <a:lnTo>
                    <a:pt x="11675" y="1190"/>
                  </a:lnTo>
                  <a:lnTo>
                    <a:pt x="11666" y="1174"/>
                  </a:lnTo>
                  <a:lnTo>
                    <a:pt x="11653" y="1159"/>
                  </a:lnTo>
                  <a:lnTo>
                    <a:pt x="11647" y="1153"/>
                  </a:lnTo>
                  <a:lnTo>
                    <a:pt x="11639" y="1148"/>
                  </a:lnTo>
                  <a:lnTo>
                    <a:pt x="11621" y="1139"/>
                  </a:lnTo>
                  <a:lnTo>
                    <a:pt x="11603" y="1133"/>
                  </a:lnTo>
                  <a:lnTo>
                    <a:pt x="11583" y="1131"/>
                  </a:lnTo>
                  <a:lnTo>
                    <a:pt x="11558" y="1134"/>
                  </a:lnTo>
                  <a:lnTo>
                    <a:pt x="11542" y="1138"/>
                  </a:lnTo>
                  <a:lnTo>
                    <a:pt x="11523" y="1139"/>
                  </a:lnTo>
                  <a:lnTo>
                    <a:pt x="11489" y="1133"/>
                  </a:lnTo>
                  <a:lnTo>
                    <a:pt x="11489" y="1113"/>
                  </a:lnTo>
                  <a:lnTo>
                    <a:pt x="11487" y="1096"/>
                  </a:lnTo>
                  <a:lnTo>
                    <a:pt x="11482" y="1078"/>
                  </a:lnTo>
                  <a:lnTo>
                    <a:pt x="11476" y="1061"/>
                  </a:lnTo>
                  <a:lnTo>
                    <a:pt x="11469" y="1044"/>
                  </a:lnTo>
                  <a:lnTo>
                    <a:pt x="11460" y="1030"/>
                  </a:lnTo>
                  <a:lnTo>
                    <a:pt x="11451" y="1016"/>
                  </a:lnTo>
                  <a:lnTo>
                    <a:pt x="11439" y="1002"/>
                  </a:lnTo>
                  <a:lnTo>
                    <a:pt x="11412" y="980"/>
                  </a:lnTo>
                  <a:lnTo>
                    <a:pt x="11383" y="964"/>
                  </a:lnTo>
                  <a:lnTo>
                    <a:pt x="11366" y="957"/>
                  </a:lnTo>
                  <a:lnTo>
                    <a:pt x="11349" y="954"/>
                  </a:lnTo>
                  <a:lnTo>
                    <a:pt x="11312" y="950"/>
                  </a:lnTo>
                  <a:lnTo>
                    <a:pt x="11278" y="954"/>
                  </a:lnTo>
                  <a:lnTo>
                    <a:pt x="11261" y="957"/>
                  </a:lnTo>
                  <a:lnTo>
                    <a:pt x="11246" y="963"/>
                  </a:lnTo>
                  <a:lnTo>
                    <a:pt x="11230" y="970"/>
                  </a:lnTo>
                  <a:lnTo>
                    <a:pt x="11216" y="978"/>
                  </a:lnTo>
                  <a:lnTo>
                    <a:pt x="11190" y="998"/>
                  </a:lnTo>
                  <a:lnTo>
                    <a:pt x="11170" y="1024"/>
                  </a:lnTo>
                  <a:lnTo>
                    <a:pt x="11153" y="1053"/>
                  </a:lnTo>
                  <a:lnTo>
                    <a:pt x="11147" y="1069"/>
                  </a:lnTo>
                  <a:lnTo>
                    <a:pt x="11142" y="1085"/>
                  </a:lnTo>
                  <a:lnTo>
                    <a:pt x="11138" y="1102"/>
                  </a:lnTo>
                  <a:lnTo>
                    <a:pt x="11137" y="1120"/>
                  </a:lnTo>
                  <a:lnTo>
                    <a:pt x="11134" y="1131"/>
                  </a:lnTo>
                  <a:lnTo>
                    <a:pt x="11126" y="1138"/>
                  </a:lnTo>
                  <a:lnTo>
                    <a:pt x="11122" y="1139"/>
                  </a:lnTo>
                  <a:lnTo>
                    <a:pt x="11117" y="1140"/>
                  </a:lnTo>
                  <a:lnTo>
                    <a:pt x="11106" y="1136"/>
                  </a:lnTo>
                  <a:close/>
                  <a:moveTo>
                    <a:pt x="11528" y="1106"/>
                  </a:moveTo>
                  <a:lnTo>
                    <a:pt x="11539" y="1098"/>
                  </a:lnTo>
                  <a:lnTo>
                    <a:pt x="11555" y="1094"/>
                  </a:lnTo>
                  <a:lnTo>
                    <a:pt x="11583" y="1090"/>
                  </a:lnTo>
                  <a:lnTo>
                    <a:pt x="11611" y="1094"/>
                  </a:lnTo>
                  <a:lnTo>
                    <a:pt x="11624" y="1097"/>
                  </a:lnTo>
                  <a:lnTo>
                    <a:pt x="11637" y="1102"/>
                  </a:lnTo>
                  <a:lnTo>
                    <a:pt x="11660" y="1115"/>
                  </a:lnTo>
                  <a:lnTo>
                    <a:pt x="11682" y="1131"/>
                  </a:lnTo>
                  <a:lnTo>
                    <a:pt x="11698" y="1151"/>
                  </a:lnTo>
                  <a:lnTo>
                    <a:pt x="11712" y="1174"/>
                  </a:lnTo>
                  <a:lnTo>
                    <a:pt x="11720" y="1199"/>
                  </a:lnTo>
                  <a:lnTo>
                    <a:pt x="11723" y="1213"/>
                  </a:lnTo>
                  <a:lnTo>
                    <a:pt x="11723" y="1227"/>
                  </a:lnTo>
                  <a:lnTo>
                    <a:pt x="11723" y="1243"/>
                  </a:lnTo>
                  <a:lnTo>
                    <a:pt x="11721" y="1262"/>
                  </a:lnTo>
                  <a:lnTo>
                    <a:pt x="11714" y="1278"/>
                  </a:lnTo>
                  <a:lnTo>
                    <a:pt x="11707" y="1284"/>
                  </a:lnTo>
                  <a:lnTo>
                    <a:pt x="11700" y="1285"/>
                  </a:lnTo>
                  <a:lnTo>
                    <a:pt x="10943" y="1286"/>
                  </a:lnTo>
                  <a:lnTo>
                    <a:pt x="10934" y="1285"/>
                  </a:lnTo>
                  <a:lnTo>
                    <a:pt x="10928" y="1280"/>
                  </a:lnTo>
                  <a:lnTo>
                    <a:pt x="10924" y="1271"/>
                  </a:lnTo>
                  <a:lnTo>
                    <a:pt x="10920" y="1262"/>
                  </a:lnTo>
                  <a:lnTo>
                    <a:pt x="10916" y="1240"/>
                  </a:lnTo>
                  <a:lnTo>
                    <a:pt x="10915" y="1225"/>
                  </a:lnTo>
                  <a:lnTo>
                    <a:pt x="10919" y="1197"/>
                  </a:lnTo>
                  <a:lnTo>
                    <a:pt x="10926" y="1170"/>
                  </a:lnTo>
                  <a:lnTo>
                    <a:pt x="10939" y="1145"/>
                  </a:lnTo>
                  <a:lnTo>
                    <a:pt x="10956" y="1125"/>
                  </a:lnTo>
                  <a:lnTo>
                    <a:pt x="10978" y="1107"/>
                  </a:lnTo>
                  <a:lnTo>
                    <a:pt x="10989" y="1099"/>
                  </a:lnTo>
                  <a:lnTo>
                    <a:pt x="11001" y="1094"/>
                  </a:lnTo>
                  <a:lnTo>
                    <a:pt x="11028" y="1085"/>
                  </a:lnTo>
                  <a:lnTo>
                    <a:pt x="11042" y="1083"/>
                  </a:lnTo>
                  <a:lnTo>
                    <a:pt x="11056" y="1083"/>
                  </a:lnTo>
                  <a:lnTo>
                    <a:pt x="11079" y="1084"/>
                  </a:lnTo>
                  <a:lnTo>
                    <a:pt x="11101" y="1089"/>
                  </a:lnTo>
                  <a:lnTo>
                    <a:pt x="11110" y="1052"/>
                  </a:lnTo>
                  <a:lnTo>
                    <a:pt x="11126" y="1019"/>
                  </a:lnTo>
                  <a:lnTo>
                    <a:pt x="11147" y="988"/>
                  </a:lnTo>
                  <a:lnTo>
                    <a:pt x="11173" y="961"/>
                  </a:lnTo>
                  <a:lnTo>
                    <a:pt x="11202" y="940"/>
                  </a:lnTo>
                  <a:lnTo>
                    <a:pt x="11237" y="923"/>
                  </a:lnTo>
                  <a:lnTo>
                    <a:pt x="11274" y="913"/>
                  </a:lnTo>
                  <a:lnTo>
                    <a:pt x="11312" y="910"/>
                  </a:lnTo>
                  <a:lnTo>
                    <a:pt x="11355" y="914"/>
                  </a:lnTo>
                  <a:lnTo>
                    <a:pt x="11374" y="918"/>
                  </a:lnTo>
                  <a:lnTo>
                    <a:pt x="11393" y="925"/>
                  </a:lnTo>
                  <a:lnTo>
                    <a:pt x="11428" y="942"/>
                  </a:lnTo>
                  <a:lnTo>
                    <a:pt x="11444" y="954"/>
                  </a:lnTo>
                  <a:lnTo>
                    <a:pt x="11458" y="966"/>
                  </a:lnTo>
                  <a:lnTo>
                    <a:pt x="11473" y="980"/>
                  </a:lnTo>
                  <a:lnTo>
                    <a:pt x="11485" y="996"/>
                  </a:lnTo>
                  <a:lnTo>
                    <a:pt x="11506" y="1029"/>
                  </a:lnTo>
                  <a:lnTo>
                    <a:pt x="11514" y="1047"/>
                  </a:lnTo>
                  <a:lnTo>
                    <a:pt x="11520" y="1066"/>
                  </a:lnTo>
                  <a:lnTo>
                    <a:pt x="11525" y="1085"/>
                  </a:lnTo>
                  <a:lnTo>
                    <a:pt x="11528" y="1106"/>
                  </a:lnTo>
                  <a:close/>
                  <a:moveTo>
                    <a:pt x="13515" y="644"/>
                  </a:moveTo>
                  <a:lnTo>
                    <a:pt x="13404" y="644"/>
                  </a:lnTo>
                  <a:lnTo>
                    <a:pt x="13404" y="754"/>
                  </a:lnTo>
                  <a:lnTo>
                    <a:pt x="13515" y="754"/>
                  </a:lnTo>
                  <a:lnTo>
                    <a:pt x="13515" y="644"/>
                  </a:lnTo>
                  <a:close/>
                  <a:moveTo>
                    <a:pt x="13534" y="605"/>
                  </a:moveTo>
                  <a:lnTo>
                    <a:pt x="13542" y="606"/>
                  </a:lnTo>
                  <a:lnTo>
                    <a:pt x="13549" y="611"/>
                  </a:lnTo>
                  <a:lnTo>
                    <a:pt x="13552" y="617"/>
                  </a:lnTo>
                  <a:lnTo>
                    <a:pt x="13555" y="624"/>
                  </a:lnTo>
                  <a:lnTo>
                    <a:pt x="13555" y="754"/>
                  </a:lnTo>
                  <a:lnTo>
                    <a:pt x="14078" y="754"/>
                  </a:lnTo>
                  <a:lnTo>
                    <a:pt x="14086" y="757"/>
                  </a:lnTo>
                  <a:lnTo>
                    <a:pt x="14092" y="761"/>
                  </a:lnTo>
                  <a:lnTo>
                    <a:pt x="14097" y="767"/>
                  </a:lnTo>
                  <a:lnTo>
                    <a:pt x="14099" y="775"/>
                  </a:lnTo>
                  <a:lnTo>
                    <a:pt x="14099" y="1471"/>
                  </a:lnTo>
                  <a:lnTo>
                    <a:pt x="14099" y="2170"/>
                  </a:lnTo>
                  <a:lnTo>
                    <a:pt x="14097" y="2177"/>
                  </a:lnTo>
                  <a:lnTo>
                    <a:pt x="14092" y="2184"/>
                  </a:lnTo>
                  <a:lnTo>
                    <a:pt x="14086" y="2188"/>
                  </a:lnTo>
                  <a:lnTo>
                    <a:pt x="14078" y="2189"/>
                  </a:lnTo>
                  <a:lnTo>
                    <a:pt x="14072" y="2188"/>
                  </a:lnTo>
                  <a:lnTo>
                    <a:pt x="14065" y="2184"/>
                  </a:lnTo>
                  <a:lnTo>
                    <a:pt x="14060" y="2177"/>
                  </a:lnTo>
                  <a:lnTo>
                    <a:pt x="14059" y="2170"/>
                  </a:lnTo>
                  <a:lnTo>
                    <a:pt x="14059" y="1482"/>
                  </a:lnTo>
                  <a:lnTo>
                    <a:pt x="14059" y="795"/>
                  </a:lnTo>
                  <a:lnTo>
                    <a:pt x="13534" y="795"/>
                  </a:lnTo>
                  <a:lnTo>
                    <a:pt x="13384" y="795"/>
                  </a:lnTo>
                  <a:lnTo>
                    <a:pt x="13150" y="795"/>
                  </a:lnTo>
                  <a:lnTo>
                    <a:pt x="13141" y="793"/>
                  </a:lnTo>
                  <a:lnTo>
                    <a:pt x="13134" y="789"/>
                  </a:lnTo>
                  <a:lnTo>
                    <a:pt x="13131" y="782"/>
                  </a:lnTo>
                  <a:lnTo>
                    <a:pt x="13129" y="775"/>
                  </a:lnTo>
                  <a:lnTo>
                    <a:pt x="13131" y="767"/>
                  </a:lnTo>
                  <a:lnTo>
                    <a:pt x="13134" y="761"/>
                  </a:lnTo>
                  <a:lnTo>
                    <a:pt x="13141" y="757"/>
                  </a:lnTo>
                  <a:lnTo>
                    <a:pt x="13150" y="754"/>
                  </a:lnTo>
                  <a:lnTo>
                    <a:pt x="13201" y="754"/>
                  </a:lnTo>
                  <a:lnTo>
                    <a:pt x="13201" y="612"/>
                  </a:lnTo>
                  <a:lnTo>
                    <a:pt x="12798" y="612"/>
                  </a:lnTo>
                  <a:lnTo>
                    <a:pt x="12798" y="754"/>
                  </a:lnTo>
                  <a:lnTo>
                    <a:pt x="12852" y="754"/>
                  </a:lnTo>
                  <a:lnTo>
                    <a:pt x="12861" y="757"/>
                  </a:lnTo>
                  <a:lnTo>
                    <a:pt x="12868" y="761"/>
                  </a:lnTo>
                  <a:lnTo>
                    <a:pt x="12872" y="767"/>
                  </a:lnTo>
                  <a:lnTo>
                    <a:pt x="12873" y="775"/>
                  </a:lnTo>
                  <a:lnTo>
                    <a:pt x="12872" y="782"/>
                  </a:lnTo>
                  <a:lnTo>
                    <a:pt x="12868" y="789"/>
                  </a:lnTo>
                  <a:lnTo>
                    <a:pt x="12861" y="793"/>
                  </a:lnTo>
                  <a:lnTo>
                    <a:pt x="12852" y="795"/>
                  </a:lnTo>
                  <a:lnTo>
                    <a:pt x="12664" y="795"/>
                  </a:lnTo>
                  <a:lnTo>
                    <a:pt x="12664" y="1810"/>
                  </a:lnTo>
                  <a:lnTo>
                    <a:pt x="12664" y="2826"/>
                  </a:lnTo>
                  <a:lnTo>
                    <a:pt x="12661" y="2835"/>
                  </a:lnTo>
                  <a:lnTo>
                    <a:pt x="12657" y="2840"/>
                  </a:lnTo>
                  <a:lnTo>
                    <a:pt x="12651" y="2844"/>
                  </a:lnTo>
                  <a:lnTo>
                    <a:pt x="12643" y="2845"/>
                  </a:lnTo>
                  <a:lnTo>
                    <a:pt x="12636" y="2844"/>
                  </a:lnTo>
                  <a:lnTo>
                    <a:pt x="12629" y="2840"/>
                  </a:lnTo>
                  <a:lnTo>
                    <a:pt x="12625" y="2835"/>
                  </a:lnTo>
                  <a:lnTo>
                    <a:pt x="12624" y="2826"/>
                  </a:lnTo>
                  <a:lnTo>
                    <a:pt x="12624" y="2313"/>
                  </a:lnTo>
                  <a:lnTo>
                    <a:pt x="12624" y="1800"/>
                  </a:lnTo>
                  <a:lnTo>
                    <a:pt x="12624" y="1287"/>
                  </a:lnTo>
                  <a:lnTo>
                    <a:pt x="12624" y="775"/>
                  </a:lnTo>
                  <a:lnTo>
                    <a:pt x="12625" y="767"/>
                  </a:lnTo>
                  <a:lnTo>
                    <a:pt x="12629" y="761"/>
                  </a:lnTo>
                  <a:lnTo>
                    <a:pt x="12636" y="757"/>
                  </a:lnTo>
                  <a:lnTo>
                    <a:pt x="12643" y="754"/>
                  </a:lnTo>
                  <a:lnTo>
                    <a:pt x="12759" y="754"/>
                  </a:lnTo>
                  <a:lnTo>
                    <a:pt x="12759" y="592"/>
                  </a:lnTo>
                  <a:lnTo>
                    <a:pt x="12760" y="584"/>
                  </a:lnTo>
                  <a:lnTo>
                    <a:pt x="12764" y="578"/>
                  </a:lnTo>
                  <a:lnTo>
                    <a:pt x="12770" y="574"/>
                  </a:lnTo>
                  <a:lnTo>
                    <a:pt x="12778" y="573"/>
                  </a:lnTo>
                  <a:lnTo>
                    <a:pt x="13220" y="573"/>
                  </a:lnTo>
                  <a:lnTo>
                    <a:pt x="13228" y="574"/>
                  </a:lnTo>
                  <a:lnTo>
                    <a:pt x="13234" y="578"/>
                  </a:lnTo>
                  <a:lnTo>
                    <a:pt x="13240" y="584"/>
                  </a:lnTo>
                  <a:lnTo>
                    <a:pt x="13241" y="592"/>
                  </a:lnTo>
                  <a:lnTo>
                    <a:pt x="13241" y="754"/>
                  </a:lnTo>
                  <a:lnTo>
                    <a:pt x="13364" y="754"/>
                  </a:lnTo>
                  <a:lnTo>
                    <a:pt x="13364" y="624"/>
                  </a:lnTo>
                  <a:lnTo>
                    <a:pt x="13365" y="617"/>
                  </a:lnTo>
                  <a:lnTo>
                    <a:pt x="13370" y="611"/>
                  </a:lnTo>
                  <a:lnTo>
                    <a:pt x="13377" y="606"/>
                  </a:lnTo>
                  <a:lnTo>
                    <a:pt x="13384" y="605"/>
                  </a:lnTo>
                  <a:lnTo>
                    <a:pt x="13534" y="605"/>
                  </a:lnTo>
                  <a:close/>
                  <a:moveTo>
                    <a:pt x="15835" y="2587"/>
                  </a:moveTo>
                  <a:lnTo>
                    <a:pt x="15677" y="2587"/>
                  </a:lnTo>
                  <a:lnTo>
                    <a:pt x="15677" y="3445"/>
                  </a:lnTo>
                  <a:lnTo>
                    <a:pt x="15677" y="4304"/>
                  </a:lnTo>
                  <a:lnTo>
                    <a:pt x="16008" y="4304"/>
                  </a:lnTo>
                  <a:lnTo>
                    <a:pt x="16008" y="3419"/>
                  </a:lnTo>
                  <a:lnTo>
                    <a:pt x="16008" y="2534"/>
                  </a:lnTo>
                  <a:lnTo>
                    <a:pt x="16009" y="2525"/>
                  </a:lnTo>
                  <a:lnTo>
                    <a:pt x="16012" y="2519"/>
                  </a:lnTo>
                  <a:lnTo>
                    <a:pt x="16016" y="2515"/>
                  </a:lnTo>
                  <a:lnTo>
                    <a:pt x="16021" y="2511"/>
                  </a:lnTo>
                  <a:lnTo>
                    <a:pt x="16027" y="2511"/>
                  </a:lnTo>
                  <a:lnTo>
                    <a:pt x="16032" y="2512"/>
                  </a:lnTo>
                  <a:lnTo>
                    <a:pt x="16039" y="2516"/>
                  </a:lnTo>
                  <a:lnTo>
                    <a:pt x="16045" y="2523"/>
                  </a:lnTo>
                  <a:lnTo>
                    <a:pt x="16536" y="3199"/>
                  </a:lnTo>
                  <a:lnTo>
                    <a:pt x="16536" y="2534"/>
                  </a:lnTo>
                  <a:lnTo>
                    <a:pt x="16538" y="2525"/>
                  </a:lnTo>
                  <a:lnTo>
                    <a:pt x="16540" y="2519"/>
                  </a:lnTo>
                  <a:lnTo>
                    <a:pt x="16544" y="2515"/>
                  </a:lnTo>
                  <a:lnTo>
                    <a:pt x="16549" y="2511"/>
                  </a:lnTo>
                  <a:lnTo>
                    <a:pt x="16556" y="2511"/>
                  </a:lnTo>
                  <a:lnTo>
                    <a:pt x="16562" y="2512"/>
                  </a:lnTo>
                  <a:lnTo>
                    <a:pt x="16567" y="2516"/>
                  </a:lnTo>
                  <a:lnTo>
                    <a:pt x="16573" y="2523"/>
                  </a:lnTo>
                  <a:lnTo>
                    <a:pt x="17076" y="3214"/>
                  </a:lnTo>
                  <a:lnTo>
                    <a:pt x="17076" y="2534"/>
                  </a:lnTo>
                  <a:lnTo>
                    <a:pt x="17077" y="2525"/>
                  </a:lnTo>
                  <a:lnTo>
                    <a:pt x="17080" y="2519"/>
                  </a:lnTo>
                  <a:lnTo>
                    <a:pt x="17084" y="2515"/>
                  </a:lnTo>
                  <a:lnTo>
                    <a:pt x="17089" y="2511"/>
                  </a:lnTo>
                  <a:lnTo>
                    <a:pt x="17094" y="2511"/>
                  </a:lnTo>
                  <a:lnTo>
                    <a:pt x="17100" y="2512"/>
                  </a:lnTo>
                  <a:lnTo>
                    <a:pt x="17107" y="2516"/>
                  </a:lnTo>
                  <a:lnTo>
                    <a:pt x="17112" y="2523"/>
                  </a:lnTo>
                  <a:lnTo>
                    <a:pt x="17640" y="3249"/>
                  </a:lnTo>
                  <a:lnTo>
                    <a:pt x="17644" y="3258"/>
                  </a:lnTo>
                  <a:lnTo>
                    <a:pt x="17644" y="3265"/>
                  </a:lnTo>
                  <a:lnTo>
                    <a:pt x="17642" y="3272"/>
                  </a:lnTo>
                  <a:lnTo>
                    <a:pt x="17636" y="3277"/>
                  </a:lnTo>
                  <a:lnTo>
                    <a:pt x="17630" y="3281"/>
                  </a:lnTo>
                  <a:lnTo>
                    <a:pt x="17622" y="3281"/>
                  </a:lnTo>
                  <a:lnTo>
                    <a:pt x="17615" y="3280"/>
                  </a:lnTo>
                  <a:lnTo>
                    <a:pt x="17608" y="3273"/>
                  </a:lnTo>
                  <a:lnTo>
                    <a:pt x="17116" y="2595"/>
                  </a:lnTo>
                  <a:lnTo>
                    <a:pt x="17116" y="3262"/>
                  </a:lnTo>
                  <a:lnTo>
                    <a:pt x="17113" y="3271"/>
                  </a:lnTo>
                  <a:lnTo>
                    <a:pt x="17108" y="3278"/>
                  </a:lnTo>
                  <a:lnTo>
                    <a:pt x="17099" y="3281"/>
                  </a:lnTo>
                  <a:lnTo>
                    <a:pt x="17090" y="3281"/>
                  </a:lnTo>
                  <a:lnTo>
                    <a:pt x="17080" y="3281"/>
                  </a:lnTo>
                  <a:lnTo>
                    <a:pt x="17074" y="3278"/>
                  </a:lnTo>
                  <a:lnTo>
                    <a:pt x="17070" y="3273"/>
                  </a:lnTo>
                  <a:lnTo>
                    <a:pt x="16577" y="2595"/>
                  </a:lnTo>
                  <a:lnTo>
                    <a:pt x="16577" y="3258"/>
                  </a:lnTo>
                  <a:lnTo>
                    <a:pt x="16577" y="3264"/>
                  </a:lnTo>
                  <a:lnTo>
                    <a:pt x="16575" y="3269"/>
                  </a:lnTo>
                  <a:lnTo>
                    <a:pt x="16571" y="3276"/>
                  </a:lnTo>
                  <a:lnTo>
                    <a:pt x="16563" y="3281"/>
                  </a:lnTo>
                  <a:lnTo>
                    <a:pt x="16554" y="3281"/>
                  </a:lnTo>
                  <a:lnTo>
                    <a:pt x="16547" y="3278"/>
                  </a:lnTo>
                  <a:lnTo>
                    <a:pt x="16541" y="3276"/>
                  </a:lnTo>
                  <a:lnTo>
                    <a:pt x="16539" y="3271"/>
                  </a:lnTo>
                  <a:lnTo>
                    <a:pt x="16049" y="2595"/>
                  </a:lnTo>
                  <a:lnTo>
                    <a:pt x="16049" y="3450"/>
                  </a:lnTo>
                  <a:lnTo>
                    <a:pt x="16049" y="4304"/>
                  </a:lnTo>
                  <a:lnTo>
                    <a:pt x="16844" y="4304"/>
                  </a:lnTo>
                  <a:lnTo>
                    <a:pt x="16853" y="4305"/>
                  </a:lnTo>
                  <a:lnTo>
                    <a:pt x="16859" y="4310"/>
                  </a:lnTo>
                  <a:lnTo>
                    <a:pt x="16863" y="4317"/>
                  </a:lnTo>
                  <a:lnTo>
                    <a:pt x="16865" y="4324"/>
                  </a:lnTo>
                  <a:lnTo>
                    <a:pt x="16863" y="4331"/>
                  </a:lnTo>
                  <a:lnTo>
                    <a:pt x="16859" y="4337"/>
                  </a:lnTo>
                  <a:lnTo>
                    <a:pt x="16853" y="4342"/>
                  </a:lnTo>
                  <a:lnTo>
                    <a:pt x="16844" y="4343"/>
                  </a:lnTo>
                  <a:lnTo>
                    <a:pt x="16250" y="4343"/>
                  </a:lnTo>
                  <a:lnTo>
                    <a:pt x="15657" y="4343"/>
                  </a:lnTo>
                  <a:lnTo>
                    <a:pt x="14760" y="4343"/>
                  </a:lnTo>
                  <a:lnTo>
                    <a:pt x="13864" y="4343"/>
                  </a:lnTo>
                  <a:lnTo>
                    <a:pt x="13856" y="4342"/>
                  </a:lnTo>
                  <a:lnTo>
                    <a:pt x="13850" y="4338"/>
                  </a:lnTo>
                  <a:lnTo>
                    <a:pt x="13846" y="4332"/>
                  </a:lnTo>
                  <a:lnTo>
                    <a:pt x="13843" y="4324"/>
                  </a:lnTo>
                  <a:lnTo>
                    <a:pt x="13843" y="3455"/>
                  </a:lnTo>
                  <a:lnTo>
                    <a:pt x="13843" y="2587"/>
                  </a:lnTo>
                  <a:lnTo>
                    <a:pt x="13686" y="2587"/>
                  </a:lnTo>
                  <a:lnTo>
                    <a:pt x="13677" y="2585"/>
                  </a:lnTo>
                  <a:lnTo>
                    <a:pt x="13670" y="2581"/>
                  </a:lnTo>
                  <a:lnTo>
                    <a:pt x="13667" y="2575"/>
                  </a:lnTo>
                  <a:lnTo>
                    <a:pt x="13665" y="2567"/>
                  </a:lnTo>
                  <a:lnTo>
                    <a:pt x="13667" y="2560"/>
                  </a:lnTo>
                  <a:lnTo>
                    <a:pt x="13670" y="2553"/>
                  </a:lnTo>
                  <a:lnTo>
                    <a:pt x="13677" y="2549"/>
                  </a:lnTo>
                  <a:lnTo>
                    <a:pt x="13686" y="2547"/>
                  </a:lnTo>
                  <a:lnTo>
                    <a:pt x="13963" y="2547"/>
                  </a:lnTo>
                  <a:lnTo>
                    <a:pt x="13963" y="2374"/>
                  </a:lnTo>
                  <a:lnTo>
                    <a:pt x="13964" y="2367"/>
                  </a:lnTo>
                  <a:lnTo>
                    <a:pt x="13968" y="2360"/>
                  </a:lnTo>
                  <a:lnTo>
                    <a:pt x="13974" y="2355"/>
                  </a:lnTo>
                  <a:lnTo>
                    <a:pt x="13982" y="2354"/>
                  </a:lnTo>
                  <a:lnTo>
                    <a:pt x="14750" y="2354"/>
                  </a:lnTo>
                  <a:lnTo>
                    <a:pt x="15519" y="2354"/>
                  </a:lnTo>
                  <a:lnTo>
                    <a:pt x="15527" y="2355"/>
                  </a:lnTo>
                  <a:lnTo>
                    <a:pt x="15534" y="2360"/>
                  </a:lnTo>
                  <a:lnTo>
                    <a:pt x="15537" y="2367"/>
                  </a:lnTo>
                  <a:lnTo>
                    <a:pt x="15539" y="2374"/>
                  </a:lnTo>
                  <a:lnTo>
                    <a:pt x="15539" y="2547"/>
                  </a:lnTo>
                  <a:lnTo>
                    <a:pt x="15835" y="2547"/>
                  </a:lnTo>
                  <a:lnTo>
                    <a:pt x="15844" y="2549"/>
                  </a:lnTo>
                  <a:lnTo>
                    <a:pt x="15850" y="2553"/>
                  </a:lnTo>
                  <a:lnTo>
                    <a:pt x="15854" y="2560"/>
                  </a:lnTo>
                  <a:lnTo>
                    <a:pt x="15855" y="2567"/>
                  </a:lnTo>
                  <a:lnTo>
                    <a:pt x="15854" y="2575"/>
                  </a:lnTo>
                  <a:lnTo>
                    <a:pt x="15850" y="2581"/>
                  </a:lnTo>
                  <a:lnTo>
                    <a:pt x="15844" y="2585"/>
                  </a:lnTo>
                  <a:lnTo>
                    <a:pt x="15835" y="2587"/>
                  </a:lnTo>
                  <a:close/>
                  <a:moveTo>
                    <a:pt x="15636" y="2587"/>
                  </a:moveTo>
                  <a:lnTo>
                    <a:pt x="14760" y="2587"/>
                  </a:lnTo>
                  <a:lnTo>
                    <a:pt x="13885" y="2587"/>
                  </a:lnTo>
                  <a:lnTo>
                    <a:pt x="13885" y="3445"/>
                  </a:lnTo>
                  <a:lnTo>
                    <a:pt x="13885" y="4304"/>
                  </a:lnTo>
                  <a:lnTo>
                    <a:pt x="14760" y="4304"/>
                  </a:lnTo>
                  <a:lnTo>
                    <a:pt x="15636" y="4304"/>
                  </a:lnTo>
                  <a:lnTo>
                    <a:pt x="15636" y="3445"/>
                  </a:lnTo>
                  <a:lnTo>
                    <a:pt x="15636" y="2587"/>
                  </a:lnTo>
                  <a:close/>
                  <a:moveTo>
                    <a:pt x="14002" y="2547"/>
                  </a:moveTo>
                  <a:lnTo>
                    <a:pt x="14750" y="2547"/>
                  </a:lnTo>
                  <a:lnTo>
                    <a:pt x="15499" y="2547"/>
                  </a:lnTo>
                  <a:lnTo>
                    <a:pt x="15499" y="2393"/>
                  </a:lnTo>
                  <a:lnTo>
                    <a:pt x="14750" y="2393"/>
                  </a:lnTo>
                  <a:lnTo>
                    <a:pt x="14002" y="2393"/>
                  </a:lnTo>
                  <a:lnTo>
                    <a:pt x="14002" y="2547"/>
                  </a:lnTo>
                  <a:close/>
                  <a:moveTo>
                    <a:pt x="15171" y="3639"/>
                  </a:moveTo>
                  <a:lnTo>
                    <a:pt x="15171" y="3751"/>
                  </a:lnTo>
                  <a:lnTo>
                    <a:pt x="15168" y="3760"/>
                  </a:lnTo>
                  <a:lnTo>
                    <a:pt x="15164" y="3765"/>
                  </a:lnTo>
                  <a:lnTo>
                    <a:pt x="15158" y="3769"/>
                  </a:lnTo>
                  <a:lnTo>
                    <a:pt x="15150" y="3771"/>
                  </a:lnTo>
                  <a:lnTo>
                    <a:pt x="15142" y="3769"/>
                  </a:lnTo>
                  <a:lnTo>
                    <a:pt x="15136" y="3765"/>
                  </a:lnTo>
                  <a:lnTo>
                    <a:pt x="15132" y="3760"/>
                  </a:lnTo>
                  <a:lnTo>
                    <a:pt x="15131" y="3751"/>
                  </a:lnTo>
                  <a:lnTo>
                    <a:pt x="15131" y="3639"/>
                  </a:lnTo>
                  <a:lnTo>
                    <a:pt x="15132" y="3630"/>
                  </a:lnTo>
                  <a:lnTo>
                    <a:pt x="15136" y="3624"/>
                  </a:lnTo>
                  <a:lnTo>
                    <a:pt x="15142" y="3620"/>
                  </a:lnTo>
                  <a:lnTo>
                    <a:pt x="15150" y="3618"/>
                  </a:lnTo>
                  <a:lnTo>
                    <a:pt x="15158" y="3620"/>
                  </a:lnTo>
                  <a:lnTo>
                    <a:pt x="15164" y="3624"/>
                  </a:lnTo>
                  <a:lnTo>
                    <a:pt x="15168" y="3630"/>
                  </a:lnTo>
                  <a:lnTo>
                    <a:pt x="15171" y="3639"/>
                  </a:lnTo>
                  <a:close/>
                  <a:moveTo>
                    <a:pt x="14908" y="3639"/>
                  </a:moveTo>
                  <a:lnTo>
                    <a:pt x="14908" y="3751"/>
                  </a:lnTo>
                  <a:lnTo>
                    <a:pt x="14905" y="3760"/>
                  </a:lnTo>
                  <a:lnTo>
                    <a:pt x="14901" y="3765"/>
                  </a:lnTo>
                  <a:lnTo>
                    <a:pt x="14895" y="3769"/>
                  </a:lnTo>
                  <a:lnTo>
                    <a:pt x="14887" y="3771"/>
                  </a:lnTo>
                  <a:lnTo>
                    <a:pt x="14880" y="3769"/>
                  </a:lnTo>
                  <a:lnTo>
                    <a:pt x="14873" y="3765"/>
                  </a:lnTo>
                  <a:lnTo>
                    <a:pt x="14869" y="3760"/>
                  </a:lnTo>
                  <a:lnTo>
                    <a:pt x="14867" y="3751"/>
                  </a:lnTo>
                  <a:lnTo>
                    <a:pt x="14867" y="3639"/>
                  </a:lnTo>
                  <a:lnTo>
                    <a:pt x="14869" y="3630"/>
                  </a:lnTo>
                  <a:lnTo>
                    <a:pt x="14873" y="3624"/>
                  </a:lnTo>
                  <a:lnTo>
                    <a:pt x="14880" y="3620"/>
                  </a:lnTo>
                  <a:lnTo>
                    <a:pt x="14887" y="3618"/>
                  </a:lnTo>
                  <a:lnTo>
                    <a:pt x="14895" y="3620"/>
                  </a:lnTo>
                  <a:lnTo>
                    <a:pt x="14901" y="3624"/>
                  </a:lnTo>
                  <a:lnTo>
                    <a:pt x="14905" y="3630"/>
                  </a:lnTo>
                  <a:lnTo>
                    <a:pt x="14908" y="3639"/>
                  </a:lnTo>
                  <a:close/>
                  <a:moveTo>
                    <a:pt x="14644" y="3639"/>
                  </a:moveTo>
                  <a:lnTo>
                    <a:pt x="14644" y="3751"/>
                  </a:lnTo>
                  <a:lnTo>
                    <a:pt x="14642" y="3760"/>
                  </a:lnTo>
                  <a:lnTo>
                    <a:pt x="14637" y="3765"/>
                  </a:lnTo>
                  <a:lnTo>
                    <a:pt x="14631" y="3769"/>
                  </a:lnTo>
                  <a:lnTo>
                    <a:pt x="14624" y="3771"/>
                  </a:lnTo>
                  <a:lnTo>
                    <a:pt x="14617" y="3769"/>
                  </a:lnTo>
                  <a:lnTo>
                    <a:pt x="14610" y="3765"/>
                  </a:lnTo>
                  <a:lnTo>
                    <a:pt x="14606" y="3760"/>
                  </a:lnTo>
                  <a:lnTo>
                    <a:pt x="14604" y="3751"/>
                  </a:lnTo>
                  <a:lnTo>
                    <a:pt x="14604" y="3639"/>
                  </a:lnTo>
                  <a:lnTo>
                    <a:pt x="14606" y="3630"/>
                  </a:lnTo>
                  <a:lnTo>
                    <a:pt x="14610" y="3624"/>
                  </a:lnTo>
                  <a:lnTo>
                    <a:pt x="14617" y="3620"/>
                  </a:lnTo>
                  <a:lnTo>
                    <a:pt x="14624" y="3618"/>
                  </a:lnTo>
                  <a:lnTo>
                    <a:pt x="14631" y="3620"/>
                  </a:lnTo>
                  <a:lnTo>
                    <a:pt x="14637" y="3624"/>
                  </a:lnTo>
                  <a:lnTo>
                    <a:pt x="14642" y="3630"/>
                  </a:lnTo>
                  <a:lnTo>
                    <a:pt x="14644" y="3639"/>
                  </a:lnTo>
                  <a:close/>
                  <a:moveTo>
                    <a:pt x="14381" y="3639"/>
                  </a:moveTo>
                  <a:lnTo>
                    <a:pt x="14381" y="3751"/>
                  </a:lnTo>
                  <a:lnTo>
                    <a:pt x="14379" y="3760"/>
                  </a:lnTo>
                  <a:lnTo>
                    <a:pt x="14374" y="3765"/>
                  </a:lnTo>
                  <a:lnTo>
                    <a:pt x="14368" y="3769"/>
                  </a:lnTo>
                  <a:lnTo>
                    <a:pt x="14362" y="3771"/>
                  </a:lnTo>
                  <a:lnTo>
                    <a:pt x="14354" y="3769"/>
                  </a:lnTo>
                  <a:lnTo>
                    <a:pt x="14347" y="3765"/>
                  </a:lnTo>
                  <a:lnTo>
                    <a:pt x="14342" y="3760"/>
                  </a:lnTo>
                  <a:lnTo>
                    <a:pt x="14341" y="3751"/>
                  </a:lnTo>
                  <a:lnTo>
                    <a:pt x="14341" y="3639"/>
                  </a:lnTo>
                  <a:lnTo>
                    <a:pt x="14342" y="3630"/>
                  </a:lnTo>
                  <a:lnTo>
                    <a:pt x="14347" y="3624"/>
                  </a:lnTo>
                  <a:lnTo>
                    <a:pt x="14354" y="3620"/>
                  </a:lnTo>
                  <a:lnTo>
                    <a:pt x="14362" y="3618"/>
                  </a:lnTo>
                  <a:lnTo>
                    <a:pt x="14368" y="3620"/>
                  </a:lnTo>
                  <a:lnTo>
                    <a:pt x="14374" y="3624"/>
                  </a:lnTo>
                  <a:lnTo>
                    <a:pt x="14379" y="3630"/>
                  </a:lnTo>
                  <a:lnTo>
                    <a:pt x="14381" y="3639"/>
                  </a:lnTo>
                  <a:close/>
                  <a:moveTo>
                    <a:pt x="14118" y="3639"/>
                  </a:moveTo>
                  <a:lnTo>
                    <a:pt x="14118" y="3751"/>
                  </a:lnTo>
                  <a:lnTo>
                    <a:pt x="14117" y="3760"/>
                  </a:lnTo>
                  <a:lnTo>
                    <a:pt x="14111" y="3765"/>
                  </a:lnTo>
                  <a:lnTo>
                    <a:pt x="14105" y="3769"/>
                  </a:lnTo>
                  <a:lnTo>
                    <a:pt x="14097" y="3771"/>
                  </a:lnTo>
                  <a:lnTo>
                    <a:pt x="14091" y="3769"/>
                  </a:lnTo>
                  <a:lnTo>
                    <a:pt x="14085" y="3765"/>
                  </a:lnTo>
                  <a:lnTo>
                    <a:pt x="14079" y="3760"/>
                  </a:lnTo>
                  <a:lnTo>
                    <a:pt x="14078" y="3751"/>
                  </a:lnTo>
                  <a:lnTo>
                    <a:pt x="14078" y="3639"/>
                  </a:lnTo>
                  <a:lnTo>
                    <a:pt x="14079" y="3630"/>
                  </a:lnTo>
                  <a:lnTo>
                    <a:pt x="14085" y="3624"/>
                  </a:lnTo>
                  <a:lnTo>
                    <a:pt x="14091" y="3620"/>
                  </a:lnTo>
                  <a:lnTo>
                    <a:pt x="14097" y="3618"/>
                  </a:lnTo>
                  <a:lnTo>
                    <a:pt x="14105" y="3620"/>
                  </a:lnTo>
                  <a:lnTo>
                    <a:pt x="14111" y="3624"/>
                  </a:lnTo>
                  <a:lnTo>
                    <a:pt x="14117" y="3630"/>
                  </a:lnTo>
                  <a:lnTo>
                    <a:pt x="14118" y="3639"/>
                  </a:lnTo>
                  <a:close/>
                  <a:moveTo>
                    <a:pt x="15434" y="3392"/>
                  </a:moveTo>
                  <a:lnTo>
                    <a:pt x="15434" y="3505"/>
                  </a:lnTo>
                  <a:lnTo>
                    <a:pt x="15432" y="3514"/>
                  </a:lnTo>
                  <a:lnTo>
                    <a:pt x="15427" y="3520"/>
                  </a:lnTo>
                  <a:lnTo>
                    <a:pt x="15421" y="3524"/>
                  </a:lnTo>
                  <a:lnTo>
                    <a:pt x="15413" y="3524"/>
                  </a:lnTo>
                  <a:lnTo>
                    <a:pt x="15407" y="3524"/>
                  </a:lnTo>
                  <a:lnTo>
                    <a:pt x="15400" y="3520"/>
                  </a:lnTo>
                  <a:lnTo>
                    <a:pt x="15395" y="3514"/>
                  </a:lnTo>
                  <a:lnTo>
                    <a:pt x="15394" y="3505"/>
                  </a:lnTo>
                  <a:lnTo>
                    <a:pt x="15394" y="3392"/>
                  </a:lnTo>
                  <a:lnTo>
                    <a:pt x="15395" y="3383"/>
                  </a:lnTo>
                  <a:lnTo>
                    <a:pt x="15400" y="3378"/>
                  </a:lnTo>
                  <a:lnTo>
                    <a:pt x="15407" y="3374"/>
                  </a:lnTo>
                  <a:lnTo>
                    <a:pt x="15413" y="3373"/>
                  </a:lnTo>
                  <a:lnTo>
                    <a:pt x="15421" y="3374"/>
                  </a:lnTo>
                  <a:lnTo>
                    <a:pt x="15427" y="3378"/>
                  </a:lnTo>
                  <a:lnTo>
                    <a:pt x="15432" y="3383"/>
                  </a:lnTo>
                  <a:lnTo>
                    <a:pt x="15434" y="3392"/>
                  </a:lnTo>
                  <a:close/>
                  <a:moveTo>
                    <a:pt x="15171" y="3392"/>
                  </a:moveTo>
                  <a:lnTo>
                    <a:pt x="15171" y="3505"/>
                  </a:lnTo>
                  <a:lnTo>
                    <a:pt x="15168" y="3514"/>
                  </a:lnTo>
                  <a:lnTo>
                    <a:pt x="15164" y="3520"/>
                  </a:lnTo>
                  <a:lnTo>
                    <a:pt x="15158" y="3524"/>
                  </a:lnTo>
                  <a:lnTo>
                    <a:pt x="15150" y="3524"/>
                  </a:lnTo>
                  <a:lnTo>
                    <a:pt x="15142" y="3524"/>
                  </a:lnTo>
                  <a:lnTo>
                    <a:pt x="15136" y="3520"/>
                  </a:lnTo>
                  <a:lnTo>
                    <a:pt x="15132" y="3514"/>
                  </a:lnTo>
                  <a:lnTo>
                    <a:pt x="15131" y="3505"/>
                  </a:lnTo>
                  <a:lnTo>
                    <a:pt x="15131" y="3392"/>
                  </a:lnTo>
                  <a:lnTo>
                    <a:pt x="15132" y="3383"/>
                  </a:lnTo>
                  <a:lnTo>
                    <a:pt x="15136" y="3378"/>
                  </a:lnTo>
                  <a:lnTo>
                    <a:pt x="15142" y="3374"/>
                  </a:lnTo>
                  <a:lnTo>
                    <a:pt x="15150" y="3373"/>
                  </a:lnTo>
                  <a:lnTo>
                    <a:pt x="15158" y="3374"/>
                  </a:lnTo>
                  <a:lnTo>
                    <a:pt x="15164" y="3378"/>
                  </a:lnTo>
                  <a:lnTo>
                    <a:pt x="15168" y="3383"/>
                  </a:lnTo>
                  <a:lnTo>
                    <a:pt x="15171" y="3392"/>
                  </a:lnTo>
                  <a:close/>
                  <a:moveTo>
                    <a:pt x="14908" y="3392"/>
                  </a:moveTo>
                  <a:lnTo>
                    <a:pt x="14908" y="3505"/>
                  </a:lnTo>
                  <a:lnTo>
                    <a:pt x="14905" y="3514"/>
                  </a:lnTo>
                  <a:lnTo>
                    <a:pt x="14901" y="3520"/>
                  </a:lnTo>
                  <a:lnTo>
                    <a:pt x="14895" y="3524"/>
                  </a:lnTo>
                  <a:lnTo>
                    <a:pt x="14887" y="3524"/>
                  </a:lnTo>
                  <a:lnTo>
                    <a:pt x="14880" y="3524"/>
                  </a:lnTo>
                  <a:lnTo>
                    <a:pt x="14873" y="3520"/>
                  </a:lnTo>
                  <a:lnTo>
                    <a:pt x="14869" y="3514"/>
                  </a:lnTo>
                  <a:lnTo>
                    <a:pt x="14867" y="3505"/>
                  </a:lnTo>
                  <a:lnTo>
                    <a:pt x="14867" y="3392"/>
                  </a:lnTo>
                  <a:lnTo>
                    <a:pt x="14869" y="3383"/>
                  </a:lnTo>
                  <a:lnTo>
                    <a:pt x="14873" y="3378"/>
                  </a:lnTo>
                  <a:lnTo>
                    <a:pt x="14880" y="3374"/>
                  </a:lnTo>
                  <a:lnTo>
                    <a:pt x="14887" y="3373"/>
                  </a:lnTo>
                  <a:lnTo>
                    <a:pt x="14895" y="3374"/>
                  </a:lnTo>
                  <a:lnTo>
                    <a:pt x="14901" y="3378"/>
                  </a:lnTo>
                  <a:lnTo>
                    <a:pt x="14905" y="3383"/>
                  </a:lnTo>
                  <a:lnTo>
                    <a:pt x="14908" y="3392"/>
                  </a:lnTo>
                  <a:close/>
                  <a:moveTo>
                    <a:pt x="14644" y="3392"/>
                  </a:moveTo>
                  <a:lnTo>
                    <a:pt x="14644" y="3505"/>
                  </a:lnTo>
                  <a:lnTo>
                    <a:pt x="14642" y="3514"/>
                  </a:lnTo>
                  <a:lnTo>
                    <a:pt x="14637" y="3520"/>
                  </a:lnTo>
                  <a:lnTo>
                    <a:pt x="14631" y="3524"/>
                  </a:lnTo>
                  <a:lnTo>
                    <a:pt x="14624" y="3524"/>
                  </a:lnTo>
                  <a:lnTo>
                    <a:pt x="14617" y="3524"/>
                  </a:lnTo>
                  <a:lnTo>
                    <a:pt x="14610" y="3520"/>
                  </a:lnTo>
                  <a:lnTo>
                    <a:pt x="14606" y="3514"/>
                  </a:lnTo>
                  <a:lnTo>
                    <a:pt x="14604" y="3505"/>
                  </a:lnTo>
                  <a:lnTo>
                    <a:pt x="14604" y="3392"/>
                  </a:lnTo>
                  <a:lnTo>
                    <a:pt x="14606" y="3383"/>
                  </a:lnTo>
                  <a:lnTo>
                    <a:pt x="14610" y="3378"/>
                  </a:lnTo>
                  <a:lnTo>
                    <a:pt x="14617" y="3374"/>
                  </a:lnTo>
                  <a:lnTo>
                    <a:pt x="14624" y="3373"/>
                  </a:lnTo>
                  <a:lnTo>
                    <a:pt x="14631" y="3374"/>
                  </a:lnTo>
                  <a:lnTo>
                    <a:pt x="14637" y="3378"/>
                  </a:lnTo>
                  <a:lnTo>
                    <a:pt x="14642" y="3383"/>
                  </a:lnTo>
                  <a:lnTo>
                    <a:pt x="14644" y="3392"/>
                  </a:lnTo>
                  <a:close/>
                  <a:moveTo>
                    <a:pt x="14381" y="3392"/>
                  </a:moveTo>
                  <a:lnTo>
                    <a:pt x="14381" y="3505"/>
                  </a:lnTo>
                  <a:lnTo>
                    <a:pt x="14379" y="3514"/>
                  </a:lnTo>
                  <a:lnTo>
                    <a:pt x="14374" y="3520"/>
                  </a:lnTo>
                  <a:lnTo>
                    <a:pt x="14368" y="3524"/>
                  </a:lnTo>
                  <a:lnTo>
                    <a:pt x="14362" y="3524"/>
                  </a:lnTo>
                  <a:lnTo>
                    <a:pt x="14354" y="3524"/>
                  </a:lnTo>
                  <a:lnTo>
                    <a:pt x="14347" y="3520"/>
                  </a:lnTo>
                  <a:lnTo>
                    <a:pt x="14342" y="3514"/>
                  </a:lnTo>
                  <a:lnTo>
                    <a:pt x="14341" y="3505"/>
                  </a:lnTo>
                  <a:lnTo>
                    <a:pt x="14341" y="3392"/>
                  </a:lnTo>
                  <a:lnTo>
                    <a:pt x="14342" y="3383"/>
                  </a:lnTo>
                  <a:lnTo>
                    <a:pt x="14347" y="3378"/>
                  </a:lnTo>
                  <a:lnTo>
                    <a:pt x="14354" y="3374"/>
                  </a:lnTo>
                  <a:lnTo>
                    <a:pt x="14362" y="3373"/>
                  </a:lnTo>
                  <a:lnTo>
                    <a:pt x="14368" y="3374"/>
                  </a:lnTo>
                  <a:lnTo>
                    <a:pt x="14374" y="3378"/>
                  </a:lnTo>
                  <a:lnTo>
                    <a:pt x="14379" y="3383"/>
                  </a:lnTo>
                  <a:lnTo>
                    <a:pt x="14381" y="3392"/>
                  </a:lnTo>
                  <a:close/>
                  <a:moveTo>
                    <a:pt x="14118" y="3392"/>
                  </a:moveTo>
                  <a:lnTo>
                    <a:pt x="14118" y="3505"/>
                  </a:lnTo>
                  <a:lnTo>
                    <a:pt x="14117" y="3514"/>
                  </a:lnTo>
                  <a:lnTo>
                    <a:pt x="14111" y="3520"/>
                  </a:lnTo>
                  <a:lnTo>
                    <a:pt x="14105" y="3524"/>
                  </a:lnTo>
                  <a:lnTo>
                    <a:pt x="14097" y="3524"/>
                  </a:lnTo>
                  <a:lnTo>
                    <a:pt x="14091" y="3524"/>
                  </a:lnTo>
                  <a:lnTo>
                    <a:pt x="14085" y="3520"/>
                  </a:lnTo>
                  <a:lnTo>
                    <a:pt x="14079" y="3514"/>
                  </a:lnTo>
                  <a:lnTo>
                    <a:pt x="14078" y="3505"/>
                  </a:lnTo>
                  <a:lnTo>
                    <a:pt x="14078" y="3392"/>
                  </a:lnTo>
                  <a:lnTo>
                    <a:pt x="14079" y="3383"/>
                  </a:lnTo>
                  <a:lnTo>
                    <a:pt x="14085" y="3378"/>
                  </a:lnTo>
                  <a:lnTo>
                    <a:pt x="14091" y="3374"/>
                  </a:lnTo>
                  <a:lnTo>
                    <a:pt x="14097" y="3373"/>
                  </a:lnTo>
                  <a:lnTo>
                    <a:pt x="14105" y="3374"/>
                  </a:lnTo>
                  <a:lnTo>
                    <a:pt x="14111" y="3378"/>
                  </a:lnTo>
                  <a:lnTo>
                    <a:pt x="14117" y="3383"/>
                  </a:lnTo>
                  <a:lnTo>
                    <a:pt x="14118" y="3392"/>
                  </a:lnTo>
                  <a:close/>
                  <a:moveTo>
                    <a:pt x="15434" y="3145"/>
                  </a:moveTo>
                  <a:lnTo>
                    <a:pt x="15434" y="3258"/>
                  </a:lnTo>
                  <a:lnTo>
                    <a:pt x="15432" y="3267"/>
                  </a:lnTo>
                  <a:lnTo>
                    <a:pt x="15427" y="3273"/>
                  </a:lnTo>
                  <a:lnTo>
                    <a:pt x="15421" y="3277"/>
                  </a:lnTo>
                  <a:lnTo>
                    <a:pt x="15413" y="3278"/>
                  </a:lnTo>
                  <a:lnTo>
                    <a:pt x="15407" y="3277"/>
                  </a:lnTo>
                  <a:lnTo>
                    <a:pt x="15400" y="3273"/>
                  </a:lnTo>
                  <a:lnTo>
                    <a:pt x="15395" y="3267"/>
                  </a:lnTo>
                  <a:lnTo>
                    <a:pt x="15394" y="3258"/>
                  </a:lnTo>
                  <a:lnTo>
                    <a:pt x="15394" y="3145"/>
                  </a:lnTo>
                  <a:lnTo>
                    <a:pt x="15395" y="3138"/>
                  </a:lnTo>
                  <a:lnTo>
                    <a:pt x="15400" y="3131"/>
                  </a:lnTo>
                  <a:lnTo>
                    <a:pt x="15407" y="3127"/>
                  </a:lnTo>
                  <a:lnTo>
                    <a:pt x="15413" y="3126"/>
                  </a:lnTo>
                  <a:lnTo>
                    <a:pt x="15421" y="3127"/>
                  </a:lnTo>
                  <a:lnTo>
                    <a:pt x="15427" y="3131"/>
                  </a:lnTo>
                  <a:lnTo>
                    <a:pt x="15432" y="3138"/>
                  </a:lnTo>
                  <a:lnTo>
                    <a:pt x="15434" y="3145"/>
                  </a:lnTo>
                  <a:close/>
                  <a:moveTo>
                    <a:pt x="15171" y="3145"/>
                  </a:moveTo>
                  <a:lnTo>
                    <a:pt x="15171" y="3258"/>
                  </a:lnTo>
                  <a:lnTo>
                    <a:pt x="15168" y="3267"/>
                  </a:lnTo>
                  <a:lnTo>
                    <a:pt x="15164" y="3273"/>
                  </a:lnTo>
                  <a:lnTo>
                    <a:pt x="15158" y="3277"/>
                  </a:lnTo>
                  <a:lnTo>
                    <a:pt x="15150" y="3278"/>
                  </a:lnTo>
                  <a:lnTo>
                    <a:pt x="15142" y="3277"/>
                  </a:lnTo>
                  <a:lnTo>
                    <a:pt x="15136" y="3273"/>
                  </a:lnTo>
                  <a:lnTo>
                    <a:pt x="15132" y="3267"/>
                  </a:lnTo>
                  <a:lnTo>
                    <a:pt x="15131" y="3258"/>
                  </a:lnTo>
                  <a:lnTo>
                    <a:pt x="15131" y="3145"/>
                  </a:lnTo>
                  <a:lnTo>
                    <a:pt x="15132" y="3138"/>
                  </a:lnTo>
                  <a:lnTo>
                    <a:pt x="15136" y="3131"/>
                  </a:lnTo>
                  <a:lnTo>
                    <a:pt x="15142" y="3127"/>
                  </a:lnTo>
                  <a:lnTo>
                    <a:pt x="15150" y="3126"/>
                  </a:lnTo>
                  <a:lnTo>
                    <a:pt x="15158" y="3127"/>
                  </a:lnTo>
                  <a:lnTo>
                    <a:pt x="15164" y="3131"/>
                  </a:lnTo>
                  <a:lnTo>
                    <a:pt x="15168" y="3138"/>
                  </a:lnTo>
                  <a:lnTo>
                    <a:pt x="15171" y="3145"/>
                  </a:lnTo>
                  <a:close/>
                  <a:moveTo>
                    <a:pt x="14908" y="3145"/>
                  </a:moveTo>
                  <a:lnTo>
                    <a:pt x="14908" y="3258"/>
                  </a:lnTo>
                  <a:lnTo>
                    <a:pt x="14905" y="3267"/>
                  </a:lnTo>
                  <a:lnTo>
                    <a:pt x="14901" y="3273"/>
                  </a:lnTo>
                  <a:lnTo>
                    <a:pt x="14895" y="3277"/>
                  </a:lnTo>
                  <a:lnTo>
                    <a:pt x="14887" y="3278"/>
                  </a:lnTo>
                  <a:lnTo>
                    <a:pt x="14880" y="3277"/>
                  </a:lnTo>
                  <a:lnTo>
                    <a:pt x="14873" y="3273"/>
                  </a:lnTo>
                  <a:lnTo>
                    <a:pt x="14869" y="3267"/>
                  </a:lnTo>
                  <a:lnTo>
                    <a:pt x="14867" y="3258"/>
                  </a:lnTo>
                  <a:lnTo>
                    <a:pt x="14867" y="3145"/>
                  </a:lnTo>
                  <a:lnTo>
                    <a:pt x="14869" y="3138"/>
                  </a:lnTo>
                  <a:lnTo>
                    <a:pt x="14873" y="3131"/>
                  </a:lnTo>
                  <a:lnTo>
                    <a:pt x="14880" y="3127"/>
                  </a:lnTo>
                  <a:lnTo>
                    <a:pt x="14887" y="3126"/>
                  </a:lnTo>
                  <a:lnTo>
                    <a:pt x="14895" y="3127"/>
                  </a:lnTo>
                  <a:lnTo>
                    <a:pt x="14901" y="3131"/>
                  </a:lnTo>
                  <a:lnTo>
                    <a:pt x="14905" y="3138"/>
                  </a:lnTo>
                  <a:lnTo>
                    <a:pt x="14908" y="3145"/>
                  </a:lnTo>
                  <a:close/>
                  <a:moveTo>
                    <a:pt x="14644" y="3145"/>
                  </a:moveTo>
                  <a:lnTo>
                    <a:pt x="14644" y="3258"/>
                  </a:lnTo>
                  <a:lnTo>
                    <a:pt x="14642" y="3267"/>
                  </a:lnTo>
                  <a:lnTo>
                    <a:pt x="14637" y="3273"/>
                  </a:lnTo>
                  <a:lnTo>
                    <a:pt x="14631" y="3277"/>
                  </a:lnTo>
                  <a:lnTo>
                    <a:pt x="14624" y="3278"/>
                  </a:lnTo>
                  <a:lnTo>
                    <a:pt x="14617" y="3277"/>
                  </a:lnTo>
                  <a:lnTo>
                    <a:pt x="14610" y="3273"/>
                  </a:lnTo>
                  <a:lnTo>
                    <a:pt x="14606" y="3267"/>
                  </a:lnTo>
                  <a:lnTo>
                    <a:pt x="14604" y="3258"/>
                  </a:lnTo>
                  <a:lnTo>
                    <a:pt x="14604" y="3145"/>
                  </a:lnTo>
                  <a:lnTo>
                    <a:pt x="14606" y="3138"/>
                  </a:lnTo>
                  <a:lnTo>
                    <a:pt x="14610" y="3131"/>
                  </a:lnTo>
                  <a:lnTo>
                    <a:pt x="14617" y="3127"/>
                  </a:lnTo>
                  <a:lnTo>
                    <a:pt x="14624" y="3126"/>
                  </a:lnTo>
                  <a:lnTo>
                    <a:pt x="14631" y="3127"/>
                  </a:lnTo>
                  <a:lnTo>
                    <a:pt x="14637" y="3131"/>
                  </a:lnTo>
                  <a:lnTo>
                    <a:pt x="14642" y="3138"/>
                  </a:lnTo>
                  <a:lnTo>
                    <a:pt x="14644" y="3145"/>
                  </a:lnTo>
                  <a:close/>
                  <a:moveTo>
                    <a:pt x="14381" y="3145"/>
                  </a:moveTo>
                  <a:lnTo>
                    <a:pt x="14381" y="3258"/>
                  </a:lnTo>
                  <a:lnTo>
                    <a:pt x="14379" y="3267"/>
                  </a:lnTo>
                  <a:lnTo>
                    <a:pt x="14374" y="3273"/>
                  </a:lnTo>
                  <a:lnTo>
                    <a:pt x="14368" y="3277"/>
                  </a:lnTo>
                  <a:lnTo>
                    <a:pt x="14362" y="3278"/>
                  </a:lnTo>
                  <a:lnTo>
                    <a:pt x="14354" y="3277"/>
                  </a:lnTo>
                  <a:lnTo>
                    <a:pt x="14347" y="3273"/>
                  </a:lnTo>
                  <a:lnTo>
                    <a:pt x="14342" y="3267"/>
                  </a:lnTo>
                  <a:lnTo>
                    <a:pt x="14341" y="3258"/>
                  </a:lnTo>
                  <a:lnTo>
                    <a:pt x="14341" y="3145"/>
                  </a:lnTo>
                  <a:lnTo>
                    <a:pt x="14342" y="3138"/>
                  </a:lnTo>
                  <a:lnTo>
                    <a:pt x="14347" y="3131"/>
                  </a:lnTo>
                  <a:lnTo>
                    <a:pt x="14354" y="3127"/>
                  </a:lnTo>
                  <a:lnTo>
                    <a:pt x="14362" y="3126"/>
                  </a:lnTo>
                  <a:lnTo>
                    <a:pt x="14368" y="3127"/>
                  </a:lnTo>
                  <a:lnTo>
                    <a:pt x="14374" y="3131"/>
                  </a:lnTo>
                  <a:lnTo>
                    <a:pt x="14379" y="3138"/>
                  </a:lnTo>
                  <a:lnTo>
                    <a:pt x="14381" y="3145"/>
                  </a:lnTo>
                  <a:close/>
                  <a:moveTo>
                    <a:pt x="14118" y="3145"/>
                  </a:moveTo>
                  <a:lnTo>
                    <a:pt x="14118" y="3258"/>
                  </a:lnTo>
                  <a:lnTo>
                    <a:pt x="14117" y="3267"/>
                  </a:lnTo>
                  <a:lnTo>
                    <a:pt x="14111" y="3273"/>
                  </a:lnTo>
                  <a:lnTo>
                    <a:pt x="14105" y="3277"/>
                  </a:lnTo>
                  <a:lnTo>
                    <a:pt x="14097" y="3278"/>
                  </a:lnTo>
                  <a:lnTo>
                    <a:pt x="14091" y="3277"/>
                  </a:lnTo>
                  <a:lnTo>
                    <a:pt x="14085" y="3273"/>
                  </a:lnTo>
                  <a:lnTo>
                    <a:pt x="14079" y="3267"/>
                  </a:lnTo>
                  <a:lnTo>
                    <a:pt x="14078" y="3258"/>
                  </a:lnTo>
                  <a:lnTo>
                    <a:pt x="14078" y="3145"/>
                  </a:lnTo>
                  <a:lnTo>
                    <a:pt x="14079" y="3138"/>
                  </a:lnTo>
                  <a:lnTo>
                    <a:pt x="14085" y="3131"/>
                  </a:lnTo>
                  <a:lnTo>
                    <a:pt x="14091" y="3127"/>
                  </a:lnTo>
                  <a:lnTo>
                    <a:pt x="14097" y="3126"/>
                  </a:lnTo>
                  <a:lnTo>
                    <a:pt x="14105" y="3127"/>
                  </a:lnTo>
                  <a:lnTo>
                    <a:pt x="14111" y="3131"/>
                  </a:lnTo>
                  <a:lnTo>
                    <a:pt x="14117" y="3138"/>
                  </a:lnTo>
                  <a:lnTo>
                    <a:pt x="14118" y="3145"/>
                  </a:lnTo>
                  <a:close/>
                  <a:moveTo>
                    <a:pt x="15434" y="2900"/>
                  </a:moveTo>
                  <a:lnTo>
                    <a:pt x="15434" y="3011"/>
                  </a:lnTo>
                  <a:lnTo>
                    <a:pt x="15432" y="3020"/>
                  </a:lnTo>
                  <a:lnTo>
                    <a:pt x="15427" y="3026"/>
                  </a:lnTo>
                  <a:lnTo>
                    <a:pt x="15421" y="3030"/>
                  </a:lnTo>
                  <a:lnTo>
                    <a:pt x="15413" y="3031"/>
                  </a:lnTo>
                  <a:lnTo>
                    <a:pt x="15407" y="3030"/>
                  </a:lnTo>
                  <a:lnTo>
                    <a:pt x="15400" y="3026"/>
                  </a:lnTo>
                  <a:lnTo>
                    <a:pt x="15395" y="3020"/>
                  </a:lnTo>
                  <a:lnTo>
                    <a:pt x="15394" y="3011"/>
                  </a:lnTo>
                  <a:lnTo>
                    <a:pt x="15394" y="2900"/>
                  </a:lnTo>
                  <a:lnTo>
                    <a:pt x="15395" y="2891"/>
                  </a:lnTo>
                  <a:lnTo>
                    <a:pt x="15400" y="2884"/>
                  </a:lnTo>
                  <a:lnTo>
                    <a:pt x="15407" y="2881"/>
                  </a:lnTo>
                  <a:lnTo>
                    <a:pt x="15413" y="2879"/>
                  </a:lnTo>
                  <a:lnTo>
                    <a:pt x="15421" y="2881"/>
                  </a:lnTo>
                  <a:lnTo>
                    <a:pt x="15427" y="2884"/>
                  </a:lnTo>
                  <a:lnTo>
                    <a:pt x="15432" y="2891"/>
                  </a:lnTo>
                  <a:lnTo>
                    <a:pt x="15434" y="2900"/>
                  </a:lnTo>
                  <a:close/>
                  <a:moveTo>
                    <a:pt x="15171" y="2900"/>
                  </a:moveTo>
                  <a:lnTo>
                    <a:pt x="15171" y="3011"/>
                  </a:lnTo>
                  <a:lnTo>
                    <a:pt x="15168" y="3020"/>
                  </a:lnTo>
                  <a:lnTo>
                    <a:pt x="15164" y="3026"/>
                  </a:lnTo>
                  <a:lnTo>
                    <a:pt x="15158" y="3030"/>
                  </a:lnTo>
                  <a:lnTo>
                    <a:pt x="15150" y="3031"/>
                  </a:lnTo>
                  <a:lnTo>
                    <a:pt x="15142" y="3030"/>
                  </a:lnTo>
                  <a:lnTo>
                    <a:pt x="15136" y="3026"/>
                  </a:lnTo>
                  <a:lnTo>
                    <a:pt x="15132" y="3020"/>
                  </a:lnTo>
                  <a:lnTo>
                    <a:pt x="15131" y="3011"/>
                  </a:lnTo>
                  <a:lnTo>
                    <a:pt x="15131" y="2900"/>
                  </a:lnTo>
                  <a:lnTo>
                    <a:pt x="15132" y="2891"/>
                  </a:lnTo>
                  <a:lnTo>
                    <a:pt x="15136" y="2884"/>
                  </a:lnTo>
                  <a:lnTo>
                    <a:pt x="15142" y="2881"/>
                  </a:lnTo>
                  <a:lnTo>
                    <a:pt x="15150" y="2879"/>
                  </a:lnTo>
                  <a:lnTo>
                    <a:pt x="15158" y="2881"/>
                  </a:lnTo>
                  <a:lnTo>
                    <a:pt x="15164" y="2884"/>
                  </a:lnTo>
                  <a:lnTo>
                    <a:pt x="15168" y="2891"/>
                  </a:lnTo>
                  <a:lnTo>
                    <a:pt x="15171" y="2900"/>
                  </a:lnTo>
                  <a:close/>
                  <a:moveTo>
                    <a:pt x="14908" y="2900"/>
                  </a:moveTo>
                  <a:lnTo>
                    <a:pt x="14908" y="3011"/>
                  </a:lnTo>
                  <a:lnTo>
                    <a:pt x="14905" y="3020"/>
                  </a:lnTo>
                  <a:lnTo>
                    <a:pt x="14901" y="3026"/>
                  </a:lnTo>
                  <a:lnTo>
                    <a:pt x="14895" y="3030"/>
                  </a:lnTo>
                  <a:lnTo>
                    <a:pt x="14887" y="3031"/>
                  </a:lnTo>
                  <a:lnTo>
                    <a:pt x="14880" y="3030"/>
                  </a:lnTo>
                  <a:lnTo>
                    <a:pt x="14873" y="3026"/>
                  </a:lnTo>
                  <a:lnTo>
                    <a:pt x="14869" y="3020"/>
                  </a:lnTo>
                  <a:lnTo>
                    <a:pt x="14867" y="3011"/>
                  </a:lnTo>
                  <a:lnTo>
                    <a:pt x="14867" y="2900"/>
                  </a:lnTo>
                  <a:lnTo>
                    <a:pt x="14869" y="2891"/>
                  </a:lnTo>
                  <a:lnTo>
                    <a:pt x="14873" y="2884"/>
                  </a:lnTo>
                  <a:lnTo>
                    <a:pt x="14880" y="2881"/>
                  </a:lnTo>
                  <a:lnTo>
                    <a:pt x="14887" y="2879"/>
                  </a:lnTo>
                  <a:lnTo>
                    <a:pt x="14895" y="2881"/>
                  </a:lnTo>
                  <a:lnTo>
                    <a:pt x="14901" y="2884"/>
                  </a:lnTo>
                  <a:lnTo>
                    <a:pt x="14905" y="2891"/>
                  </a:lnTo>
                  <a:lnTo>
                    <a:pt x="14908" y="2900"/>
                  </a:lnTo>
                  <a:close/>
                  <a:moveTo>
                    <a:pt x="14644" y="2900"/>
                  </a:moveTo>
                  <a:lnTo>
                    <a:pt x="14644" y="3011"/>
                  </a:lnTo>
                  <a:lnTo>
                    <a:pt x="14642" y="3020"/>
                  </a:lnTo>
                  <a:lnTo>
                    <a:pt x="14637" y="3026"/>
                  </a:lnTo>
                  <a:lnTo>
                    <a:pt x="14631" y="3030"/>
                  </a:lnTo>
                  <a:lnTo>
                    <a:pt x="14624" y="3031"/>
                  </a:lnTo>
                  <a:lnTo>
                    <a:pt x="14617" y="3030"/>
                  </a:lnTo>
                  <a:lnTo>
                    <a:pt x="14610" y="3026"/>
                  </a:lnTo>
                  <a:lnTo>
                    <a:pt x="14606" y="3020"/>
                  </a:lnTo>
                  <a:lnTo>
                    <a:pt x="14604" y="3011"/>
                  </a:lnTo>
                  <a:lnTo>
                    <a:pt x="14604" y="2900"/>
                  </a:lnTo>
                  <a:lnTo>
                    <a:pt x="14606" y="2891"/>
                  </a:lnTo>
                  <a:lnTo>
                    <a:pt x="14610" y="2884"/>
                  </a:lnTo>
                  <a:lnTo>
                    <a:pt x="14617" y="2881"/>
                  </a:lnTo>
                  <a:lnTo>
                    <a:pt x="14624" y="2879"/>
                  </a:lnTo>
                  <a:lnTo>
                    <a:pt x="14631" y="2881"/>
                  </a:lnTo>
                  <a:lnTo>
                    <a:pt x="14637" y="2884"/>
                  </a:lnTo>
                  <a:lnTo>
                    <a:pt x="14642" y="2891"/>
                  </a:lnTo>
                  <a:lnTo>
                    <a:pt x="14644" y="2900"/>
                  </a:lnTo>
                  <a:close/>
                  <a:moveTo>
                    <a:pt x="14381" y="2900"/>
                  </a:moveTo>
                  <a:lnTo>
                    <a:pt x="14381" y="3011"/>
                  </a:lnTo>
                  <a:lnTo>
                    <a:pt x="14379" y="3020"/>
                  </a:lnTo>
                  <a:lnTo>
                    <a:pt x="14374" y="3026"/>
                  </a:lnTo>
                  <a:lnTo>
                    <a:pt x="14368" y="3030"/>
                  </a:lnTo>
                  <a:lnTo>
                    <a:pt x="14362" y="3031"/>
                  </a:lnTo>
                  <a:lnTo>
                    <a:pt x="14354" y="3030"/>
                  </a:lnTo>
                  <a:lnTo>
                    <a:pt x="14347" y="3026"/>
                  </a:lnTo>
                  <a:lnTo>
                    <a:pt x="14342" y="3020"/>
                  </a:lnTo>
                  <a:lnTo>
                    <a:pt x="14341" y="3011"/>
                  </a:lnTo>
                  <a:lnTo>
                    <a:pt x="14341" y="2900"/>
                  </a:lnTo>
                  <a:lnTo>
                    <a:pt x="14342" y="2891"/>
                  </a:lnTo>
                  <a:lnTo>
                    <a:pt x="14347" y="2884"/>
                  </a:lnTo>
                  <a:lnTo>
                    <a:pt x="14354" y="2881"/>
                  </a:lnTo>
                  <a:lnTo>
                    <a:pt x="14362" y="2879"/>
                  </a:lnTo>
                  <a:lnTo>
                    <a:pt x="14368" y="2881"/>
                  </a:lnTo>
                  <a:lnTo>
                    <a:pt x="14374" y="2884"/>
                  </a:lnTo>
                  <a:lnTo>
                    <a:pt x="14379" y="2891"/>
                  </a:lnTo>
                  <a:lnTo>
                    <a:pt x="14381" y="2900"/>
                  </a:lnTo>
                  <a:close/>
                  <a:moveTo>
                    <a:pt x="14118" y="2900"/>
                  </a:moveTo>
                  <a:lnTo>
                    <a:pt x="14118" y="3011"/>
                  </a:lnTo>
                  <a:lnTo>
                    <a:pt x="14117" y="3020"/>
                  </a:lnTo>
                  <a:lnTo>
                    <a:pt x="14111" y="3026"/>
                  </a:lnTo>
                  <a:lnTo>
                    <a:pt x="14105" y="3030"/>
                  </a:lnTo>
                  <a:lnTo>
                    <a:pt x="14097" y="3031"/>
                  </a:lnTo>
                  <a:lnTo>
                    <a:pt x="14091" y="3030"/>
                  </a:lnTo>
                  <a:lnTo>
                    <a:pt x="14085" y="3026"/>
                  </a:lnTo>
                  <a:lnTo>
                    <a:pt x="14079" y="3020"/>
                  </a:lnTo>
                  <a:lnTo>
                    <a:pt x="14078" y="3011"/>
                  </a:lnTo>
                  <a:lnTo>
                    <a:pt x="14078" y="2900"/>
                  </a:lnTo>
                  <a:lnTo>
                    <a:pt x="14079" y="2891"/>
                  </a:lnTo>
                  <a:lnTo>
                    <a:pt x="14085" y="2884"/>
                  </a:lnTo>
                  <a:lnTo>
                    <a:pt x="14091" y="2881"/>
                  </a:lnTo>
                  <a:lnTo>
                    <a:pt x="14097" y="2879"/>
                  </a:lnTo>
                  <a:lnTo>
                    <a:pt x="14105" y="2881"/>
                  </a:lnTo>
                  <a:lnTo>
                    <a:pt x="14111" y="2884"/>
                  </a:lnTo>
                  <a:lnTo>
                    <a:pt x="14117" y="2891"/>
                  </a:lnTo>
                  <a:lnTo>
                    <a:pt x="14118" y="2900"/>
                  </a:lnTo>
                  <a:close/>
                  <a:moveTo>
                    <a:pt x="15434" y="3639"/>
                  </a:moveTo>
                  <a:lnTo>
                    <a:pt x="15434" y="3751"/>
                  </a:lnTo>
                  <a:lnTo>
                    <a:pt x="15432" y="3760"/>
                  </a:lnTo>
                  <a:lnTo>
                    <a:pt x="15427" y="3765"/>
                  </a:lnTo>
                  <a:lnTo>
                    <a:pt x="15421" y="3769"/>
                  </a:lnTo>
                  <a:lnTo>
                    <a:pt x="15413" y="3771"/>
                  </a:lnTo>
                  <a:lnTo>
                    <a:pt x="15407" y="3769"/>
                  </a:lnTo>
                  <a:lnTo>
                    <a:pt x="15400" y="3765"/>
                  </a:lnTo>
                  <a:lnTo>
                    <a:pt x="15395" y="3760"/>
                  </a:lnTo>
                  <a:lnTo>
                    <a:pt x="15394" y="3751"/>
                  </a:lnTo>
                  <a:lnTo>
                    <a:pt x="15394" y="3639"/>
                  </a:lnTo>
                  <a:lnTo>
                    <a:pt x="15395" y="3630"/>
                  </a:lnTo>
                  <a:lnTo>
                    <a:pt x="15400" y="3624"/>
                  </a:lnTo>
                  <a:lnTo>
                    <a:pt x="15407" y="3620"/>
                  </a:lnTo>
                  <a:lnTo>
                    <a:pt x="15413" y="3618"/>
                  </a:lnTo>
                  <a:lnTo>
                    <a:pt x="15421" y="3620"/>
                  </a:lnTo>
                  <a:lnTo>
                    <a:pt x="15427" y="3624"/>
                  </a:lnTo>
                  <a:lnTo>
                    <a:pt x="15432" y="3630"/>
                  </a:lnTo>
                  <a:lnTo>
                    <a:pt x="15434" y="3639"/>
                  </a:lnTo>
                  <a:close/>
                  <a:moveTo>
                    <a:pt x="18172" y="964"/>
                  </a:moveTo>
                  <a:lnTo>
                    <a:pt x="17643" y="964"/>
                  </a:lnTo>
                  <a:lnTo>
                    <a:pt x="17643" y="1019"/>
                  </a:lnTo>
                  <a:lnTo>
                    <a:pt x="18172" y="1019"/>
                  </a:lnTo>
                  <a:lnTo>
                    <a:pt x="18172" y="964"/>
                  </a:lnTo>
                  <a:close/>
                  <a:moveTo>
                    <a:pt x="17665" y="1323"/>
                  </a:moveTo>
                  <a:lnTo>
                    <a:pt x="18163" y="2010"/>
                  </a:lnTo>
                  <a:lnTo>
                    <a:pt x="18134" y="1058"/>
                  </a:lnTo>
                  <a:lnTo>
                    <a:pt x="17680" y="1058"/>
                  </a:lnTo>
                  <a:lnTo>
                    <a:pt x="17665" y="1322"/>
                  </a:lnTo>
                  <a:lnTo>
                    <a:pt x="17665" y="1323"/>
                  </a:lnTo>
                  <a:close/>
                  <a:moveTo>
                    <a:pt x="17638" y="1754"/>
                  </a:moveTo>
                  <a:lnTo>
                    <a:pt x="18179" y="2500"/>
                  </a:lnTo>
                  <a:lnTo>
                    <a:pt x="18166" y="2079"/>
                  </a:lnTo>
                  <a:lnTo>
                    <a:pt x="18161" y="2074"/>
                  </a:lnTo>
                  <a:lnTo>
                    <a:pt x="17661" y="1385"/>
                  </a:lnTo>
                  <a:lnTo>
                    <a:pt x="17638" y="1754"/>
                  </a:lnTo>
                  <a:close/>
                  <a:moveTo>
                    <a:pt x="17611" y="2186"/>
                  </a:moveTo>
                  <a:lnTo>
                    <a:pt x="18194" y="2989"/>
                  </a:lnTo>
                  <a:lnTo>
                    <a:pt x="18181" y="2571"/>
                  </a:lnTo>
                  <a:lnTo>
                    <a:pt x="17634" y="1817"/>
                  </a:lnTo>
                  <a:lnTo>
                    <a:pt x="17611" y="2186"/>
                  </a:lnTo>
                  <a:close/>
                  <a:moveTo>
                    <a:pt x="22919" y="2556"/>
                  </a:moveTo>
                  <a:lnTo>
                    <a:pt x="22895" y="2525"/>
                  </a:lnTo>
                  <a:lnTo>
                    <a:pt x="22869" y="2494"/>
                  </a:lnTo>
                  <a:lnTo>
                    <a:pt x="22841" y="2464"/>
                  </a:lnTo>
                  <a:lnTo>
                    <a:pt x="22812" y="2434"/>
                  </a:lnTo>
                  <a:lnTo>
                    <a:pt x="22748" y="2377"/>
                  </a:lnTo>
                  <a:lnTo>
                    <a:pt x="22714" y="2350"/>
                  </a:lnTo>
                  <a:lnTo>
                    <a:pt x="22678" y="2323"/>
                  </a:lnTo>
                  <a:lnTo>
                    <a:pt x="22603" y="2272"/>
                  </a:lnTo>
                  <a:lnTo>
                    <a:pt x="22522" y="2225"/>
                  </a:lnTo>
                  <a:lnTo>
                    <a:pt x="22436" y="2181"/>
                  </a:lnTo>
                  <a:lnTo>
                    <a:pt x="22346" y="2142"/>
                  </a:lnTo>
                  <a:lnTo>
                    <a:pt x="22250" y="2104"/>
                  </a:lnTo>
                  <a:lnTo>
                    <a:pt x="22151" y="2072"/>
                  </a:lnTo>
                  <a:lnTo>
                    <a:pt x="22048" y="2046"/>
                  </a:lnTo>
                  <a:lnTo>
                    <a:pt x="21995" y="2033"/>
                  </a:lnTo>
                  <a:lnTo>
                    <a:pt x="21941" y="2023"/>
                  </a:lnTo>
                  <a:lnTo>
                    <a:pt x="21831" y="2003"/>
                  </a:lnTo>
                  <a:lnTo>
                    <a:pt x="21774" y="1997"/>
                  </a:lnTo>
                  <a:lnTo>
                    <a:pt x="21718" y="1991"/>
                  </a:lnTo>
                  <a:lnTo>
                    <a:pt x="21601" y="1983"/>
                  </a:lnTo>
                  <a:lnTo>
                    <a:pt x="21483" y="1980"/>
                  </a:lnTo>
                  <a:lnTo>
                    <a:pt x="21365" y="1983"/>
                  </a:lnTo>
                  <a:lnTo>
                    <a:pt x="21249" y="1991"/>
                  </a:lnTo>
                  <a:lnTo>
                    <a:pt x="21136" y="2003"/>
                  </a:lnTo>
                  <a:lnTo>
                    <a:pt x="21026" y="2023"/>
                  </a:lnTo>
                  <a:lnTo>
                    <a:pt x="20972" y="2033"/>
                  </a:lnTo>
                  <a:lnTo>
                    <a:pt x="20919" y="2046"/>
                  </a:lnTo>
                  <a:lnTo>
                    <a:pt x="20815" y="2072"/>
                  </a:lnTo>
                  <a:lnTo>
                    <a:pt x="20717" y="2104"/>
                  </a:lnTo>
                  <a:lnTo>
                    <a:pt x="20622" y="2142"/>
                  </a:lnTo>
                  <a:lnTo>
                    <a:pt x="20531" y="2181"/>
                  </a:lnTo>
                  <a:lnTo>
                    <a:pt x="20445" y="2225"/>
                  </a:lnTo>
                  <a:lnTo>
                    <a:pt x="20364" y="2272"/>
                  </a:lnTo>
                  <a:lnTo>
                    <a:pt x="20288" y="2323"/>
                  </a:lnTo>
                  <a:lnTo>
                    <a:pt x="20219" y="2377"/>
                  </a:lnTo>
                  <a:lnTo>
                    <a:pt x="20187" y="2405"/>
                  </a:lnTo>
                  <a:lnTo>
                    <a:pt x="20155" y="2434"/>
                  </a:lnTo>
                  <a:lnTo>
                    <a:pt x="20125" y="2464"/>
                  </a:lnTo>
                  <a:lnTo>
                    <a:pt x="20098" y="2494"/>
                  </a:lnTo>
                  <a:lnTo>
                    <a:pt x="20047" y="2556"/>
                  </a:lnTo>
                  <a:lnTo>
                    <a:pt x="20765" y="2556"/>
                  </a:lnTo>
                  <a:lnTo>
                    <a:pt x="21483" y="2556"/>
                  </a:lnTo>
                  <a:lnTo>
                    <a:pt x="22201" y="2556"/>
                  </a:lnTo>
                  <a:lnTo>
                    <a:pt x="22919" y="2556"/>
                  </a:lnTo>
                  <a:close/>
                  <a:moveTo>
                    <a:pt x="21733" y="1952"/>
                  </a:moveTo>
                  <a:lnTo>
                    <a:pt x="21733" y="1794"/>
                  </a:lnTo>
                  <a:lnTo>
                    <a:pt x="21235" y="1794"/>
                  </a:lnTo>
                  <a:lnTo>
                    <a:pt x="21235" y="1952"/>
                  </a:lnTo>
                  <a:lnTo>
                    <a:pt x="21295" y="1947"/>
                  </a:lnTo>
                  <a:lnTo>
                    <a:pt x="21358" y="1943"/>
                  </a:lnTo>
                  <a:lnTo>
                    <a:pt x="21420" y="1941"/>
                  </a:lnTo>
                  <a:lnTo>
                    <a:pt x="21483" y="1939"/>
                  </a:lnTo>
                  <a:lnTo>
                    <a:pt x="21609" y="1943"/>
                  </a:lnTo>
                  <a:lnTo>
                    <a:pt x="21733" y="1952"/>
                  </a:lnTo>
                  <a:close/>
                  <a:moveTo>
                    <a:pt x="20024" y="2977"/>
                  </a:moveTo>
                  <a:lnTo>
                    <a:pt x="20754" y="2977"/>
                  </a:lnTo>
                  <a:lnTo>
                    <a:pt x="21483" y="2977"/>
                  </a:lnTo>
                  <a:lnTo>
                    <a:pt x="22213" y="2977"/>
                  </a:lnTo>
                  <a:lnTo>
                    <a:pt x="22943" y="2977"/>
                  </a:lnTo>
                  <a:lnTo>
                    <a:pt x="22943" y="2750"/>
                  </a:lnTo>
                  <a:lnTo>
                    <a:pt x="22213" y="2750"/>
                  </a:lnTo>
                  <a:lnTo>
                    <a:pt x="21483" y="2750"/>
                  </a:lnTo>
                  <a:lnTo>
                    <a:pt x="20754" y="2750"/>
                  </a:lnTo>
                  <a:lnTo>
                    <a:pt x="20024" y="2750"/>
                  </a:lnTo>
                  <a:lnTo>
                    <a:pt x="20024" y="2977"/>
                  </a:lnTo>
                  <a:close/>
                  <a:moveTo>
                    <a:pt x="20768" y="4017"/>
                  </a:moveTo>
                  <a:lnTo>
                    <a:pt x="20768" y="4324"/>
                  </a:lnTo>
                  <a:lnTo>
                    <a:pt x="20974" y="4324"/>
                  </a:lnTo>
                  <a:lnTo>
                    <a:pt x="20974" y="3670"/>
                  </a:lnTo>
                  <a:lnTo>
                    <a:pt x="20974" y="3016"/>
                  </a:lnTo>
                  <a:lnTo>
                    <a:pt x="20523" y="3016"/>
                  </a:lnTo>
                  <a:lnTo>
                    <a:pt x="20523" y="3670"/>
                  </a:lnTo>
                  <a:lnTo>
                    <a:pt x="20523" y="4324"/>
                  </a:lnTo>
                  <a:lnTo>
                    <a:pt x="20728" y="4324"/>
                  </a:lnTo>
                  <a:lnTo>
                    <a:pt x="20728" y="4017"/>
                  </a:lnTo>
                  <a:lnTo>
                    <a:pt x="20731" y="4008"/>
                  </a:lnTo>
                  <a:lnTo>
                    <a:pt x="20734" y="4002"/>
                  </a:lnTo>
                  <a:lnTo>
                    <a:pt x="20741" y="3998"/>
                  </a:lnTo>
                  <a:lnTo>
                    <a:pt x="20749" y="3997"/>
                  </a:lnTo>
                  <a:lnTo>
                    <a:pt x="20756" y="3998"/>
                  </a:lnTo>
                  <a:lnTo>
                    <a:pt x="20763" y="4002"/>
                  </a:lnTo>
                  <a:lnTo>
                    <a:pt x="20767" y="4008"/>
                  </a:lnTo>
                  <a:lnTo>
                    <a:pt x="20768" y="4017"/>
                  </a:lnTo>
                  <a:close/>
                  <a:moveTo>
                    <a:pt x="21260" y="4017"/>
                  </a:moveTo>
                  <a:lnTo>
                    <a:pt x="21260" y="4324"/>
                  </a:lnTo>
                  <a:lnTo>
                    <a:pt x="21467" y="4324"/>
                  </a:lnTo>
                  <a:lnTo>
                    <a:pt x="21467" y="3670"/>
                  </a:lnTo>
                  <a:lnTo>
                    <a:pt x="21467" y="3016"/>
                  </a:lnTo>
                  <a:lnTo>
                    <a:pt x="21014" y="3016"/>
                  </a:lnTo>
                  <a:lnTo>
                    <a:pt x="21014" y="3670"/>
                  </a:lnTo>
                  <a:lnTo>
                    <a:pt x="21014" y="4324"/>
                  </a:lnTo>
                  <a:lnTo>
                    <a:pt x="21220" y="4324"/>
                  </a:lnTo>
                  <a:lnTo>
                    <a:pt x="21220" y="4017"/>
                  </a:lnTo>
                  <a:lnTo>
                    <a:pt x="21222" y="4008"/>
                  </a:lnTo>
                  <a:lnTo>
                    <a:pt x="21227" y="4002"/>
                  </a:lnTo>
                  <a:lnTo>
                    <a:pt x="21233" y="3998"/>
                  </a:lnTo>
                  <a:lnTo>
                    <a:pt x="21241" y="3997"/>
                  </a:lnTo>
                  <a:lnTo>
                    <a:pt x="21247" y="3998"/>
                  </a:lnTo>
                  <a:lnTo>
                    <a:pt x="21254" y="4002"/>
                  </a:lnTo>
                  <a:lnTo>
                    <a:pt x="21259" y="4008"/>
                  </a:lnTo>
                  <a:lnTo>
                    <a:pt x="21260" y="4017"/>
                  </a:lnTo>
                  <a:close/>
                  <a:moveTo>
                    <a:pt x="21753" y="4017"/>
                  </a:moveTo>
                  <a:lnTo>
                    <a:pt x="21753" y="4324"/>
                  </a:lnTo>
                  <a:lnTo>
                    <a:pt x="21959" y="4324"/>
                  </a:lnTo>
                  <a:lnTo>
                    <a:pt x="21959" y="3670"/>
                  </a:lnTo>
                  <a:lnTo>
                    <a:pt x="21959" y="3016"/>
                  </a:lnTo>
                  <a:lnTo>
                    <a:pt x="21506" y="3016"/>
                  </a:lnTo>
                  <a:lnTo>
                    <a:pt x="21506" y="3670"/>
                  </a:lnTo>
                  <a:lnTo>
                    <a:pt x="21506" y="4324"/>
                  </a:lnTo>
                  <a:lnTo>
                    <a:pt x="21713" y="4324"/>
                  </a:lnTo>
                  <a:lnTo>
                    <a:pt x="21713" y="4017"/>
                  </a:lnTo>
                  <a:lnTo>
                    <a:pt x="21714" y="4008"/>
                  </a:lnTo>
                  <a:lnTo>
                    <a:pt x="21719" y="4002"/>
                  </a:lnTo>
                  <a:lnTo>
                    <a:pt x="21726" y="3998"/>
                  </a:lnTo>
                  <a:lnTo>
                    <a:pt x="21732" y="3997"/>
                  </a:lnTo>
                  <a:lnTo>
                    <a:pt x="21740" y="3998"/>
                  </a:lnTo>
                  <a:lnTo>
                    <a:pt x="21746" y="4002"/>
                  </a:lnTo>
                  <a:lnTo>
                    <a:pt x="21751" y="4008"/>
                  </a:lnTo>
                  <a:lnTo>
                    <a:pt x="21753" y="4017"/>
                  </a:lnTo>
                  <a:close/>
                  <a:moveTo>
                    <a:pt x="22245" y="4017"/>
                  </a:moveTo>
                  <a:lnTo>
                    <a:pt x="22245" y="4324"/>
                  </a:lnTo>
                  <a:lnTo>
                    <a:pt x="22450" y="4324"/>
                  </a:lnTo>
                  <a:lnTo>
                    <a:pt x="22450" y="3670"/>
                  </a:lnTo>
                  <a:lnTo>
                    <a:pt x="22450" y="3016"/>
                  </a:lnTo>
                  <a:lnTo>
                    <a:pt x="21999" y="3016"/>
                  </a:lnTo>
                  <a:lnTo>
                    <a:pt x="21999" y="3670"/>
                  </a:lnTo>
                  <a:lnTo>
                    <a:pt x="21999" y="4324"/>
                  </a:lnTo>
                  <a:lnTo>
                    <a:pt x="22205" y="4324"/>
                  </a:lnTo>
                  <a:lnTo>
                    <a:pt x="22205" y="4017"/>
                  </a:lnTo>
                  <a:lnTo>
                    <a:pt x="22207" y="4008"/>
                  </a:lnTo>
                  <a:lnTo>
                    <a:pt x="22210" y="4002"/>
                  </a:lnTo>
                  <a:lnTo>
                    <a:pt x="22217" y="3998"/>
                  </a:lnTo>
                  <a:lnTo>
                    <a:pt x="22224" y="3997"/>
                  </a:lnTo>
                  <a:lnTo>
                    <a:pt x="22232" y="3998"/>
                  </a:lnTo>
                  <a:lnTo>
                    <a:pt x="22239" y="4002"/>
                  </a:lnTo>
                  <a:lnTo>
                    <a:pt x="22242" y="4008"/>
                  </a:lnTo>
                  <a:lnTo>
                    <a:pt x="22245" y="4017"/>
                  </a:lnTo>
                  <a:close/>
                  <a:moveTo>
                    <a:pt x="22737" y="4017"/>
                  </a:moveTo>
                  <a:lnTo>
                    <a:pt x="22737" y="4324"/>
                  </a:lnTo>
                  <a:lnTo>
                    <a:pt x="22943" y="4324"/>
                  </a:lnTo>
                  <a:lnTo>
                    <a:pt x="22943" y="3670"/>
                  </a:lnTo>
                  <a:lnTo>
                    <a:pt x="22943" y="3016"/>
                  </a:lnTo>
                  <a:lnTo>
                    <a:pt x="22491" y="3016"/>
                  </a:lnTo>
                  <a:lnTo>
                    <a:pt x="22491" y="3670"/>
                  </a:lnTo>
                  <a:lnTo>
                    <a:pt x="22491" y="4324"/>
                  </a:lnTo>
                  <a:lnTo>
                    <a:pt x="22696" y="4324"/>
                  </a:lnTo>
                  <a:lnTo>
                    <a:pt x="22696" y="4017"/>
                  </a:lnTo>
                  <a:lnTo>
                    <a:pt x="22699" y="4008"/>
                  </a:lnTo>
                  <a:lnTo>
                    <a:pt x="22703" y="4002"/>
                  </a:lnTo>
                  <a:lnTo>
                    <a:pt x="22709" y="3998"/>
                  </a:lnTo>
                  <a:lnTo>
                    <a:pt x="22717" y="3997"/>
                  </a:lnTo>
                  <a:lnTo>
                    <a:pt x="22725" y="3998"/>
                  </a:lnTo>
                  <a:lnTo>
                    <a:pt x="22731" y="4002"/>
                  </a:lnTo>
                  <a:lnTo>
                    <a:pt x="22735" y="4008"/>
                  </a:lnTo>
                  <a:lnTo>
                    <a:pt x="22737" y="4017"/>
                  </a:lnTo>
                  <a:close/>
                  <a:moveTo>
                    <a:pt x="21727" y="1754"/>
                  </a:moveTo>
                  <a:lnTo>
                    <a:pt x="21714" y="1740"/>
                  </a:lnTo>
                  <a:lnTo>
                    <a:pt x="21696" y="1727"/>
                  </a:lnTo>
                  <a:lnTo>
                    <a:pt x="21673" y="1714"/>
                  </a:lnTo>
                  <a:lnTo>
                    <a:pt x="21645" y="1703"/>
                  </a:lnTo>
                  <a:lnTo>
                    <a:pt x="21612" y="1693"/>
                  </a:lnTo>
                  <a:lnTo>
                    <a:pt x="21573" y="1686"/>
                  </a:lnTo>
                  <a:lnTo>
                    <a:pt x="21531" y="1681"/>
                  </a:lnTo>
                  <a:lnTo>
                    <a:pt x="21483" y="1679"/>
                  </a:lnTo>
                  <a:lnTo>
                    <a:pt x="21437" y="1681"/>
                  </a:lnTo>
                  <a:lnTo>
                    <a:pt x="21394" y="1686"/>
                  </a:lnTo>
                  <a:lnTo>
                    <a:pt x="21356" y="1693"/>
                  </a:lnTo>
                  <a:lnTo>
                    <a:pt x="21322" y="1703"/>
                  </a:lnTo>
                  <a:lnTo>
                    <a:pt x="21294" y="1714"/>
                  </a:lnTo>
                  <a:lnTo>
                    <a:pt x="21270" y="1727"/>
                  </a:lnTo>
                  <a:lnTo>
                    <a:pt x="21253" y="1740"/>
                  </a:lnTo>
                  <a:lnTo>
                    <a:pt x="21241" y="1754"/>
                  </a:lnTo>
                  <a:lnTo>
                    <a:pt x="21727" y="1754"/>
                  </a:lnTo>
                  <a:close/>
                  <a:moveTo>
                    <a:pt x="19597" y="4131"/>
                  </a:moveTo>
                  <a:lnTo>
                    <a:pt x="19564" y="4135"/>
                  </a:lnTo>
                  <a:lnTo>
                    <a:pt x="19532" y="4145"/>
                  </a:lnTo>
                  <a:lnTo>
                    <a:pt x="19500" y="4154"/>
                  </a:lnTo>
                  <a:lnTo>
                    <a:pt x="19465" y="4159"/>
                  </a:lnTo>
                  <a:lnTo>
                    <a:pt x="19436" y="4154"/>
                  </a:lnTo>
                  <a:lnTo>
                    <a:pt x="19423" y="4149"/>
                  </a:lnTo>
                  <a:lnTo>
                    <a:pt x="19410" y="4143"/>
                  </a:lnTo>
                  <a:lnTo>
                    <a:pt x="19388" y="4125"/>
                  </a:lnTo>
                  <a:lnTo>
                    <a:pt x="19369" y="4100"/>
                  </a:lnTo>
                  <a:lnTo>
                    <a:pt x="19351" y="4072"/>
                  </a:lnTo>
                  <a:lnTo>
                    <a:pt x="19334" y="4040"/>
                  </a:lnTo>
                  <a:lnTo>
                    <a:pt x="19300" y="3973"/>
                  </a:lnTo>
                  <a:lnTo>
                    <a:pt x="19282" y="3937"/>
                  </a:lnTo>
                  <a:lnTo>
                    <a:pt x="19260" y="3904"/>
                  </a:lnTo>
                  <a:lnTo>
                    <a:pt x="19235" y="3872"/>
                  </a:lnTo>
                  <a:lnTo>
                    <a:pt x="19209" y="3843"/>
                  </a:lnTo>
                  <a:lnTo>
                    <a:pt x="19175" y="3820"/>
                  </a:lnTo>
                  <a:lnTo>
                    <a:pt x="19157" y="3810"/>
                  </a:lnTo>
                  <a:lnTo>
                    <a:pt x="19138" y="3801"/>
                  </a:lnTo>
                  <a:lnTo>
                    <a:pt x="19116" y="3795"/>
                  </a:lnTo>
                  <a:lnTo>
                    <a:pt x="19093" y="3790"/>
                  </a:lnTo>
                  <a:lnTo>
                    <a:pt x="19069" y="3787"/>
                  </a:lnTo>
                  <a:lnTo>
                    <a:pt x="19042" y="3786"/>
                  </a:lnTo>
                  <a:lnTo>
                    <a:pt x="19014" y="3790"/>
                  </a:lnTo>
                  <a:lnTo>
                    <a:pt x="19002" y="3795"/>
                  </a:lnTo>
                  <a:lnTo>
                    <a:pt x="18993" y="3801"/>
                  </a:lnTo>
                  <a:lnTo>
                    <a:pt x="18974" y="3817"/>
                  </a:lnTo>
                  <a:lnTo>
                    <a:pt x="18952" y="3836"/>
                  </a:lnTo>
                  <a:lnTo>
                    <a:pt x="18925" y="3854"/>
                  </a:lnTo>
                  <a:lnTo>
                    <a:pt x="18908" y="3863"/>
                  </a:lnTo>
                  <a:lnTo>
                    <a:pt x="18889" y="3869"/>
                  </a:lnTo>
                  <a:lnTo>
                    <a:pt x="18865" y="3875"/>
                  </a:lnTo>
                  <a:lnTo>
                    <a:pt x="18838" y="3881"/>
                  </a:lnTo>
                  <a:lnTo>
                    <a:pt x="18806" y="3884"/>
                  </a:lnTo>
                  <a:lnTo>
                    <a:pt x="18769" y="3886"/>
                  </a:lnTo>
                  <a:lnTo>
                    <a:pt x="18742" y="3883"/>
                  </a:lnTo>
                  <a:lnTo>
                    <a:pt x="18720" y="3879"/>
                  </a:lnTo>
                  <a:lnTo>
                    <a:pt x="18688" y="3868"/>
                  </a:lnTo>
                  <a:lnTo>
                    <a:pt x="18662" y="3855"/>
                  </a:lnTo>
                  <a:lnTo>
                    <a:pt x="18649" y="3851"/>
                  </a:lnTo>
                  <a:lnTo>
                    <a:pt x="18637" y="3850"/>
                  </a:lnTo>
                  <a:lnTo>
                    <a:pt x="18615" y="3851"/>
                  </a:lnTo>
                  <a:lnTo>
                    <a:pt x="18594" y="3856"/>
                  </a:lnTo>
                  <a:lnTo>
                    <a:pt x="18575" y="3864"/>
                  </a:lnTo>
                  <a:lnTo>
                    <a:pt x="18557" y="3875"/>
                  </a:lnTo>
                  <a:lnTo>
                    <a:pt x="18540" y="3888"/>
                  </a:lnTo>
                  <a:lnTo>
                    <a:pt x="18524" y="3902"/>
                  </a:lnTo>
                  <a:lnTo>
                    <a:pt x="18494" y="3936"/>
                  </a:lnTo>
                  <a:lnTo>
                    <a:pt x="18467" y="3973"/>
                  </a:lnTo>
                  <a:lnTo>
                    <a:pt x="18442" y="4011"/>
                  </a:lnTo>
                  <a:lnTo>
                    <a:pt x="18416" y="4047"/>
                  </a:lnTo>
                  <a:lnTo>
                    <a:pt x="18389" y="4077"/>
                  </a:lnTo>
                  <a:lnTo>
                    <a:pt x="18366" y="4097"/>
                  </a:lnTo>
                  <a:lnTo>
                    <a:pt x="18337" y="4116"/>
                  </a:lnTo>
                  <a:lnTo>
                    <a:pt x="18266" y="4155"/>
                  </a:lnTo>
                  <a:lnTo>
                    <a:pt x="18261" y="4161"/>
                  </a:lnTo>
                  <a:lnTo>
                    <a:pt x="18253" y="4163"/>
                  </a:lnTo>
                  <a:lnTo>
                    <a:pt x="18207" y="4191"/>
                  </a:lnTo>
                  <a:lnTo>
                    <a:pt x="18169" y="4221"/>
                  </a:lnTo>
                  <a:lnTo>
                    <a:pt x="18153" y="4236"/>
                  </a:lnTo>
                  <a:lnTo>
                    <a:pt x="18147" y="4245"/>
                  </a:lnTo>
                  <a:lnTo>
                    <a:pt x="18142" y="4253"/>
                  </a:lnTo>
                  <a:lnTo>
                    <a:pt x="18134" y="4269"/>
                  </a:lnTo>
                  <a:lnTo>
                    <a:pt x="18131" y="4287"/>
                  </a:lnTo>
                  <a:lnTo>
                    <a:pt x="18133" y="4308"/>
                  </a:lnTo>
                  <a:lnTo>
                    <a:pt x="18137" y="4329"/>
                  </a:lnTo>
                  <a:lnTo>
                    <a:pt x="18256" y="4329"/>
                  </a:lnTo>
                  <a:lnTo>
                    <a:pt x="18261" y="4329"/>
                  </a:lnTo>
                  <a:lnTo>
                    <a:pt x="19046" y="4329"/>
                  </a:lnTo>
                  <a:lnTo>
                    <a:pt x="19830" y="4329"/>
                  </a:lnTo>
                  <a:lnTo>
                    <a:pt x="19825" y="4308"/>
                  </a:lnTo>
                  <a:lnTo>
                    <a:pt x="19819" y="4286"/>
                  </a:lnTo>
                  <a:lnTo>
                    <a:pt x="19810" y="4265"/>
                  </a:lnTo>
                  <a:lnTo>
                    <a:pt x="19801" y="4248"/>
                  </a:lnTo>
                  <a:lnTo>
                    <a:pt x="19778" y="4213"/>
                  </a:lnTo>
                  <a:lnTo>
                    <a:pt x="19764" y="4198"/>
                  </a:lnTo>
                  <a:lnTo>
                    <a:pt x="19748" y="4185"/>
                  </a:lnTo>
                  <a:lnTo>
                    <a:pt x="19733" y="4172"/>
                  </a:lnTo>
                  <a:lnTo>
                    <a:pt x="19716" y="4162"/>
                  </a:lnTo>
                  <a:lnTo>
                    <a:pt x="19698" y="4153"/>
                  </a:lnTo>
                  <a:lnTo>
                    <a:pt x="19679" y="4145"/>
                  </a:lnTo>
                  <a:lnTo>
                    <a:pt x="19660" y="4139"/>
                  </a:lnTo>
                  <a:lnTo>
                    <a:pt x="19639" y="4134"/>
                  </a:lnTo>
                  <a:lnTo>
                    <a:pt x="19597" y="4131"/>
                  </a:lnTo>
                  <a:close/>
                  <a:moveTo>
                    <a:pt x="18860" y="2743"/>
                  </a:moveTo>
                  <a:lnTo>
                    <a:pt x="18742" y="2904"/>
                  </a:lnTo>
                  <a:lnTo>
                    <a:pt x="18742" y="3047"/>
                  </a:lnTo>
                  <a:lnTo>
                    <a:pt x="18794" y="3040"/>
                  </a:lnTo>
                  <a:lnTo>
                    <a:pt x="18803" y="3039"/>
                  </a:lnTo>
                  <a:lnTo>
                    <a:pt x="18811" y="3043"/>
                  </a:lnTo>
                  <a:lnTo>
                    <a:pt x="18815" y="3048"/>
                  </a:lnTo>
                  <a:lnTo>
                    <a:pt x="18819" y="3056"/>
                  </a:lnTo>
                  <a:lnTo>
                    <a:pt x="18819" y="3062"/>
                  </a:lnTo>
                  <a:lnTo>
                    <a:pt x="18816" y="3070"/>
                  </a:lnTo>
                  <a:lnTo>
                    <a:pt x="18811" y="3075"/>
                  </a:lnTo>
                  <a:lnTo>
                    <a:pt x="18802" y="3079"/>
                  </a:lnTo>
                  <a:lnTo>
                    <a:pt x="18773" y="3084"/>
                  </a:lnTo>
                  <a:lnTo>
                    <a:pt x="18742" y="3086"/>
                  </a:lnTo>
                  <a:lnTo>
                    <a:pt x="18742" y="3827"/>
                  </a:lnTo>
                  <a:lnTo>
                    <a:pt x="18741" y="3836"/>
                  </a:lnTo>
                  <a:lnTo>
                    <a:pt x="18735" y="3842"/>
                  </a:lnTo>
                  <a:lnTo>
                    <a:pt x="18751" y="3845"/>
                  </a:lnTo>
                  <a:lnTo>
                    <a:pt x="18769" y="3845"/>
                  </a:lnTo>
                  <a:lnTo>
                    <a:pt x="18798" y="3845"/>
                  </a:lnTo>
                  <a:lnTo>
                    <a:pt x="18825" y="3843"/>
                  </a:lnTo>
                  <a:lnTo>
                    <a:pt x="18850" y="3840"/>
                  </a:lnTo>
                  <a:lnTo>
                    <a:pt x="18871" y="3835"/>
                  </a:lnTo>
                  <a:lnTo>
                    <a:pt x="18892" y="3826"/>
                  </a:lnTo>
                  <a:lnTo>
                    <a:pt x="18911" y="3815"/>
                  </a:lnTo>
                  <a:lnTo>
                    <a:pt x="18952" y="3782"/>
                  </a:lnTo>
                  <a:lnTo>
                    <a:pt x="18973" y="3767"/>
                  </a:lnTo>
                  <a:lnTo>
                    <a:pt x="18982" y="3760"/>
                  </a:lnTo>
                  <a:lnTo>
                    <a:pt x="18992" y="3755"/>
                  </a:lnTo>
                  <a:lnTo>
                    <a:pt x="19015" y="3748"/>
                  </a:lnTo>
                  <a:lnTo>
                    <a:pt x="19042" y="3745"/>
                  </a:lnTo>
                  <a:lnTo>
                    <a:pt x="19075" y="3748"/>
                  </a:lnTo>
                  <a:lnTo>
                    <a:pt x="19107" y="3751"/>
                  </a:lnTo>
                  <a:lnTo>
                    <a:pt x="19135" y="3758"/>
                  </a:lnTo>
                  <a:lnTo>
                    <a:pt x="19162" y="3768"/>
                  </a:lnTo>
                  <a:lnTo>
                    <a:pt x="19187" y="3780"/>
                  </a:lnTo>
                  <a:lnTo>
                    <a:pt x="19209" y="3794"/>
                  </a:lnTo>
                  <a:lnTo>
                    <a:pt x="19229" y="3809"/>
                  </a:lnTo>
                  <a:lnTo>
                    <a:pt x="19248" y="3827"/>
                  </a:lnTo>
                  <a:lnTo>
                    <a:pt x="19282" y="3866"/>
                  </a:lnTo>
                  <a:lnTo>
                    <a:pt x="19311" y="3911"/>
                  </a:lnTo>
                  <a:lnTo>
                    <a:pt x="19338" y="3960"/>
                  </a:lnTo>
                  <a:lnTo>
                    <a:pt x="19364" y="4012"/>
                  </a:lnTo>
                  <a:lnTo>
                    <a:pt x="19369" y="4021"/>
                  </a:lnTo>
                  <a:lnTo>
                    <a:pt x="19369" y="3649"/>
                  </a:lnTo>
                  <a:lnTo>
                    <a:pt x="19334" y="3663"/>
                  </a:lnTo>
                  <a:lnTo>
                    <a:pt x="19319" y="3670"/>
                  </a:lnTo>
                  <a:lnTo>
                    <a:pt x="19302" y="3676"/>
                  </a:lnTo>
                  <a:lnTo>
                    <a:pt x="19284" y="3676"/>
                  </a:lnTo>
                  <a:lnTo>
                    <a:pt x="19275" y="3675"/>
                  </a:lnTo>
                  <a:lnTo>
                    <a:pt x="19265" y="3671"/>
                  </a:lnTo>
                  <a:lnTo>
                    <a:pt x="19255" y="3666"/>
                  </a:lnTo>
                  <a:lnTo>
                    <a:pt x="19244" y="3658"/>
                  </a:lnTo>
                  <a:lnTo>
                    <a:pt x="19221" y="3634"/>
                  </a:lnTo>
                  <a:lnTo>
                    <a:pt x="19205" y="3616"/>
                  </a:lnTo>
                  <a:lnTo>
                    <a:pt x="19191" y="3604"/>
                  </a:lnTo>
                  <a:lnTo>
                    <a:pt x="19180" y="3598"/>
                  </a:lnTo>
                  <a:lnTo>
                    <a:pt x="19169" y="3595"/>
                  </a:lnTo>
                  <a:lnTo>
                    <a:pt x="19144" y="3594"/>
                  </a:lnTo>
                  <a:lnTo>
                    <a:pt x="19105" y="3590"/>
                  </a:lnTo>
                  <a:lnTo>
                    <a:pt x="19091" y="3586"/>
                  </a:lnTo>
                  <a:lnTo>
                    <a:pt x="19079" y="3581"/>
                  </a:lnTo>
                  <a:lnTo>
                    <a:pt x="19062" y="3567"/>
                  </a:lnTo>
                  <a:lnTo>
                    <a:pt x="19052" y="3549"/>
                  </a:lnTo>
                  <a:lnTo>
                    <a:pt x="19044" y="3530"/>
                  </a:lnTo>
                  <a:lnTo>
                    <a:pt x="19039" y="3510"/>
                  </a:lnTo>
                  <a:lnTo>
                    <a:pt x="19033" y="3489"/>
                  </a:lnTo>
                  <a:lnTo>
                    <a:pt x="19029" y="3480"/>
                  </a:lnTo>
                  <a:lnTo>
                    <a:pt x="19024" y="3471"/>
                  </a:lnTo>
                  <a:lnTo>
                    <a:pt x="19016" y="3464"/>
                  </a:lnTo>
                  <a:lnTo>
                    <a:pt x="19009" y="3457"/>
                  </a:lnTo>
                  <a:lnTo>
                    <a:pt x="18967" y="3434"/>
                  </a:lnTo>
                  <a:lnTo>
                    <a:pt x="18952" y="3424"/>
                  </a:lnTo>
                  <a:lnTo>
                    <a:pt x="18939" y="3414"/>
                  </a:lnTo>
                  <a:lnTo>
                    <a:pt x="18930" y="3400"/>
                  </a:lnTo>
                  <a:lnTo>
                    <a:pt x="18926" y="3383"/>
                  </a:lnTo>
                  <a:lnTo>
                    <a:pt x="18925" y="3361"/>
                  </a:lnTo>
                  <a:lnTo>
                    <a:pt x="18929" y="3333"/>
                  </a:lnTo>
                  <a:lnTo>
                    <a:pt x="18934" y="3304"/>
                  </a:lnTo>
                  <a:lnTo>
                    <a:pt x="18934" y="3285"/>
                  </a:lnTo>
                  <a:lnTo>
                    <a:pt x="18925" y="3267"/>
                  </a:lnTo>
                  <a:lnTo>
                    <a:pt x="18908" y="3242"/>
                  </a:lnTo>
                  <a:lnTo>
                    <a:pt x="18891" y="3216"/>
                  </a:lnTo>
                  <a:lnTo>
                    <a:pt x="18884" y="3199"/>
                  </a:lnTo>
                  <a:lnTo>
                    <a:pt x="18882" y="3181"/>
                  </a:lnTo>
                  <a:lnTo>
                    <a:pt x="18884" y="3162"/>
                  </a:lnTo>
                  <a:lnTo>
                    <a:pt x="18891" y="3145"/>
                  </a:lnTo>
                  <a:lnTo>
                    <a:pt x="18908" y="3118"/>
                  </a:lnTo>
                  <a:lnTo>
                    <a:pt x="18923" y="3098"/>
                  </a:lnTo>
                  <a:lnTo>
                    <a:pt x="18930" y="3083"/>
                  </a:lnTo>
                  <a:lnTo>
                    <a:pt x="18934" y="3070"/>
                  </a:lnTo>
                  <a:lnTo>
                    <a:pt x="18935" y="3060"/>
                  </a:lnTo>
                  <a:lnTo>
                    <a:pt x="18929" y="3035"/>
                  </a:lnTo>
                  <a:lnTo>
                    <a:pt x="18925" y="2996"/>
                  </a:lnTo>
                  <a:lnTo>
                    <a:pt x="18928" y="2969"/>
                  </a:lnTo>
                  <a:lnTo>
                    <a:pt x="18932" y="2959"/>
                  </a:lnTo>
                  <a:lnTo>
                    <a:pt x="18938" y="2950"/>
                  </a:lnTo>
                  <a:lnTo>
                    <a:pt x="18944" y="2942"/>
                  </a:lnTo>
                  <a:lnTo>
                    <a:pt x="18952" y="2936"/>
                  </a:lnTo>
                  <a:lnTo>
                    <a:pt x="18970" y="2924"/>
                  </a:lnTo>
                  <a:lnTo>
                    <a:pt x="19007" y="2904"/>
                  </a:lnTo>
                  <a:lnTo>
                    <a:pt x="19023" y="2891"/>
                  </a:lnTo>
                  <a:lnTo>
                    <a:pt x="19033" y="2872"/>
                  </a:lnTo>
                  <a:lnTo>
                    <a:pt x="19047" y="2828"/>
                  </a:lnTo>
                  <a:lnTo>
                    <a:pt x="19053" y="2810"/>
                  </a:lnTo>
                  <a:lnTo>
                    <a:pt x="19061" y="2796"/>
                  </a:lnTo>
                  <a:lnTo>
                    <a:pt x="19073" y="2785"/>
                  </a:lnTo>
                  <a:lnTo>
                    <a:pt x="19088" y="2776"/>
                  </a:lnTo>
                  <a:lnTo>
                    <a:pt x="19109" y="2771"/>
                  </a:lnTo>
                  <a:lnTo>
                    <a:pt x="19138" y="2768"/>
                  </a:lnTo>
                  <a:lnTo>
                    <a:pt x="19162" y="2766"/>
                  </a:lnTo>
                  <a:lnTo>
                    <a:pt x="19180" y="2763"/>
                  </a:lnTo>
                  <a:lnTo>
                    <a:pt x="19192" y="2758"/>
                  </a:lnTo>
                  <a:lnTo>
                    <a:pt x="19201" y="2751"/>
                  </a:lnTo>
                  <a:lnTo>
                    <a:pt x="19216" y="2732"/>
                  </a:lnTo>
                  <a:lnTo>
                    <a:pt x="19228" y="2719"/>
                  </a:lnTo>
                  <a:lnTo>
                    <a:pt x="19243" y="2704"/>
                  </a:lnTo>
                  <a:lnTo>
                    <a:pt x="19265" y="2690"/>
                  </a:lnTo>
                  <a:lnTo>
                    <a:pt x="19274" y="2686"/>
                  </a:lnTo>
                  <a:lnTo>
                    <a:pt x="19284" y="2685"/>
                  </a:lnTo>
                  <a:lnTo>
                    <a:pt x="19302" y="2686"/>
                  </a:lnTo>
                  <a:lnTo>
                    <a:pt x="19319" y="2691"/>
                  </a:lnTo>
                  <a:lnTo>
                    <a:pt x="19352" y="2707"/>
                  </a:lnTo>
                  <a:lnTo>
                    <a:pt x="19370" y="2713"/>
                  </a:lnTo>
                  <a:lnTo>
                    <a:pt x="19388" y="2716"/>
                  </a:lnTo>
                  <a:lnTo>
                    <a:pt x="19410" y="2712"/>
                  </a:lnTo>
                  <a:lnTo>
                    <a:pt x="19429" y="2705"/>
                  </a:lnTo>
                  <a:lnTo>
                    <a:pt x="19448" y="2696"/>
                  </a:lnTo>
                  <a:lnTo>
                    <a:pt x="19466" y="2689"/>
                  </a:lnTo>
                  <a:lnTo>
                    <a:pt x="19486" y="2685"/>
                  </a:lnTo>
                  <a:lnTo>
                    <a:pt x="19506" y="2688"/>
                  </a:lnTo>
                  <a:lnTo>
                    <a:pt x="19518" y="2694"/>
                  </a:lnTo>
                  <a:lnTo>
                    <a:pt x="19529" y="2702"/>
                  </a:lnTo>
                  <a:lnTo>
                    <a:pt x="19556" y="2727"/>
                  </a:lnTo>
                  <a:lnTo>
                    <a:pt x="19573" y="2746"/>
                  </a:lnTo>
                  <a:lnTo>
                    <a:pt x="19586" y="2758"/>
                  </a:lnTo>
                  <a:lnTo>
                    <a:pt x="19597" y="2764"/>
                  </a:lnTo>
                  <a:lnTo>
                    <a:pt x="19607" y="2767"/>
                  </a:lnTo>
                  <a:lnTo>
                    <a:pt x="19633" y="2767"/>
                  </a:lnTo>
                  <a:lnTo>
                    <a:pt x="19673" y="2771"/>
                  </a:lnTo>
                  <a:lnTo>
                    <a:pt x="19687" y="2774"/>
                  </a:lnTo>
                  <a:lnTo>
                    <a:pt x="19698" y="2780"/>
                  </a:lnTo>
                  <a:lnTo>
                    <a:pt x="19715" y="2794"/>
                  </a:lnTo>
                  <a:lnTo>
                    <a:pt x="19725" y="2812"/>
                  </a:lnTo>
                  <a:lnTo>
                    <a:pt x="19732" y="2832"/>
                  </a:lnTo>
                  <a:lnTo>
                    <a:pt x="19737" y="2852"/>
                  </a:lnTo>
                  <a:lnTo>
                    <a:pt x="19743" y="2872"/>
                  </a:lnTo>
                  <a:lnTo>
                    <a:pt x="19748" y="2881"/>
                  </a:lnTo>
                  <a:lnTo>
                    <a:pt x="19754" y="2890"/>
                  </a:lnTo>
                  <a:lnTo>
                    <a:pt x="19760" y="2897"/>
                  </a:lnTo>
                  <a:lnTo>
                    <a:pt x="19769" y="2904"/>
                  </a:lnTo>
                  <a:lnTo>
                    <a:pt x="19809" y="2927"/>
                  </a:lnTo>
                  <a:lnTo>
                    <a:pt x="19825" y="2937"/>
                  </a:lnTo>
                  <a:lnTo>
                    <a:pt x="19837" y="2948"/>
                  </a:lnTo>
                  <a:lnTo>
                    <a:pt x="19846" y="2961"/>
                  </a:lnTo>
                  <a:lnTo>
                    <a:pt x="19851" y="2978"/>
                  </a:lnTo>
                  <a:lnTo>
                    <a:pt x="19852" y="3000"/>
                  </a:lnTo>
                  <a:lnTo>
                    <a:pt x="19848" y="3028"/>
                  </a:lnTo>
                  <a:lnTo>
                    <a:pt x="19843" y="3057"/>
                  </a:lnTo>
                  <a:lnTo>
                    <a:pt x="19843" y="3076"/>
                  </a:lnTo>
                  <a:lnTo>
                    <a:pt x="19851" y="3094"/>
                  </a:lnTo>
                  <a:lnTo>
                    <a:pt x="19869" y="3118"/>
                  </a:lnTo>
                  <a:lnTo>
                    <a:pt x="19887" y="3145"/>
                  </a:lnTo>
                  <a:lnTo>
                    <a:pt x="19893" y="3162"/>
                  </a:lnTo>
                  <a:lnTo>
                    <a:pt x="19896" y="3181"/>
                  </a:lnTo>
                  <a:lnTo>
                    <a:pt x="19893" y="3199"/>
                  </a:lnTo>
                  <a:lnTo>
                    <a:pt x="19887" y="3216"/>
                  </a:lnTo>
                  <a:lnTo>
                    <a:pt x="19878" y="3230"/>
                  </a:lnTo>
                  <a:lnTo>
                    <a:pt x="19868" y="3244"/>
                  </a:lnTo>
                  <a:lnTo>
                    <a:pt x="19857" y="3258"/>
                  </a:lnTo>
                  <a:lnTo>
                    <a:pt x="19848" y="3272"/>
                  </a:lnTo>
                  <a:lnTo>
                    <a:pt x="19843" y="3287"/>
                  </a:lnTo>
                  <a:lnTo>
                    <a:pt x="19843" y="3305"/>
                  </a:lnTo>
                  <a:lnTo>
                    <a:pt x="19850" y="3351"/>
                  </a:lnTo>
                  <a:lnTo>
                    <a:pt x="19852" y="3369"/>
                  </a:lnTo>
                  <a:lnTo>
                    <a:pt x="19851" y="3386"/>
                  </a:lnTo>
                  <a:lnTo>
                    <a:pt x="19846" y="3401"/>
                  </a:lnTo>
                  <a:lnTo>
                    <a:pt x="19836" y="3415"/>
                  </a:lnTo>
                  <a:lnTo>
                    <a:pt x="19819" y="3429"/>
                  </a:lnTo>
                  <a:lnTo>
                    <a:pt x="19795" y="3445"/>
                  </a:lnTo>
                  <a:lnTo>
                    <a:pt x="19773" y="3456"/>
                  </a:lnTo>
                  <a:lnTo>
                    <a:pt x="19759" y="3466"/>
                  </a:lnTo>
                  <a:lnTo>
                    <a:pt x="19750" y="3476"/>
                  </a:lnTo>
                  <a:lnTo>
                    <a:pt x="19745" y="3485"/>
                  </a:lnTo>
                  <a:lnTo>
                    <a:pt x="19739" y="3510"/>
                  </a:lnTo>
                  <a:lnTo>
                    <a:pt x="19734" y="3526"/>
                  </a:lnTo>
                  <a:lnTo>
                    <a:pt x="19727" y="3547"/>
                  </a:lnTo>
                  <a:lnTo>
                    <a:pt x="19711" y="3570"/>
                  </a:lnTo>
                  <a:lnTo>
                    <a:pt x="19704" y="3579"/>
                  </a:lnTo>
                  <a:lnTo>
                    <a:pt x="19695" y="3584"/>
                  </a:lnTo>
                  <a:lnTo>
                    <a:pt x="19674" y="3590"/>
                  </a:lnTo>
                  <a:lnTo>
                    <a:pt x="19653" y="3593"/>
                  </a:lnTo>
                  <a:lnTo>
                    <a:pt x="19632" y="3593"/>
                  </a:lnTo>
                  <a:lnTo>
                    <a:pt x="19611" y="3594"/>
                  </a:lnTo>
                  <a:lnTo>
                    <a:pt x="19592" y="3601"/>
                  </a:lnTo>
                  <a:lnTo>
                    <a:pt x="19583" y="3606"/>
                  </a:lnTo>
                  <a:lnTo>
                    <a:pt x="19575" y="3612"/>
                  </a:lnTo>
                  <a:lnTo>
                    <a:pt x="19543" y="3647"/>
                  </a:lnTo>
                  <a:lnTo>
                    <a:pt x="19530" y="3659"/>
                  </a:lnTo>
                  <a:lnTo>
                    <a:pt x="19516" y="3668"/>
                  </a:lnTo>
                  <a:lnTo>
                    <a:pt x="19501" y="3675"/>
                  </a:lnTo>
                  <a:lnTo>
                    <a:pt x="19484" y="3676"/>
                  </a:lnTo>
                  <a:lnTo>
                    <a:pt x="19462" y="3671"/>
                  </a:lnTo>
                  <a:lnTo>
                    <a:pt x="19436" y="3661"/>
                  </a:lnTo>
                  <a:lnTo>
                    <a:pt x="19409" y="3649"/>
                  </a:lnTo>
                  <a:lnTo>
                    <a:pt x="19409" y="4083"/>
                  </a:lnTo>
                  <a:lnTo>
                    <a:pt x="19409" y="4086"/>
                  </a:lnTo>
                  <a:lnTo>
                    <a:pt x="19420" y="4099"/>
                  </a:lnTo>
                  <a:lnTo>
                    <a:pt x="19434" y="4109"/>
                  </a:lnTo>
                  <a:lnTo>
                    <a:pt x="19448" y="4117"/>
                  </a:lnTo>
                  <a:lnTo>
                    <a:pt x="19465" y="4118"/>
                  </a:lnTo>
                  <a:lnTo>
                    <a:pt x="19498" y="4115"/>
                  </a:lnTo>
                  <a:lnTo>
                    <a:pt x="19530" y="4104"/>
                  </a:lnTo>
                  <a:lnTo>
                    <a:pt x="19564" y="4095"/>
                  </a:lnTo>
                  <a:lnTo>
                    <a:pt x="19597" y="4090"/>
                  </a:lnTo>
                  <a:lnTo>
                    <a:pt x="19629" y="4093"/>
                  </a:lnTo>
                  <a:lnTo>
                    <a:pt x="19660" y="4098"/>
                  </a:lnTo>
                  <a:lnTo>
                    <a:pt x="19688" y="4106"/>
                  </a:lnTo>
                  <a:lnTo>
                    <a:pt x="19715" y="4116"/>
                  </a:lnTo>
                  <a:lnTo>
                    <a:pt x="19739" y="4130"/>
                  </a:lnTo>
                  <a:lnTo>
                    <a:pt x="19761" y="4144"/>
                  </a:lnTo>
                  <a:lnTo>
                    <a:pt x="19782" y="4161"/>
                  </a:lnTo>
                  <a:lnTo>
                    <a:pt x="19800" y="4178"/>
                  </a:lnTo>
                  <a:lnTo>
                    <a:pt x="19830" y="4217"/>
                  </a:lnTo>
                  <a:lnTo>
                    <a:pt x="19842" y="4236"/>
                  </a:lnTo>
                  <a:lnTo>
                    <a:pt x="19852" y="4255"/>
                  </a:lnTo>
                  <a:lnTo>
                    <a:pt x="19861" y="4274"/>
                  </a:lnTo>
                  <a:lnTo>
                    <a:pt x="19866" y="4292"/>
                  </a:lnTo>
                  <a:lnTo>
                    <a:pt x="19871" y="4309"/>
                  </a:lnTo>
                  <a:lnTo>
                    <a:pt x="19874" y="4324"/>
                  </a:lnTo>
                  <a:lnTo>
                    <a:pt x="20236" y="4324"/>
                  </a:lnTo>
                  <a:lnTo>
                    <a:pt x="20236" y="4017"/>
                  </a:lnTo>
                  <a:lnTo>
                    <a:pt x="20238" y="4008"/>
                  </a:lnTo>
                  <a:lnTo>
                    <a:pt x="20242" y="4002"/>
                  </a:lnTo>
                  <a:lnTo>
                    <a:pt x="20248" y="3998"/>
                  </a:lnTo>
                  <a:lnTo>
                    <a:pt x="20256" y="3997"/>
                  </a:lnTo>
                  <a:lnTo>
                    <a:pt x="20264" y="3998"/>
                  </a:lnTo>
                  <a:lnTo>
                    <a:pt x="20270" y="4002"/>
                  </a:lnTo>
                  <a:lnTo>
                    <a:pt x="20274" y="4008"/>
                  </a:lnTo>
                  <a:lnTo>
                    <a:pt x="20277" y="4017"/>
                  </a:lnTo>
                  <a:lnTo>
                    <a:pt x="20277" y="4324"/>
                  </a:lnTo>
                  <a:lnTo>
                    <a:pt x="20482" y="4324"/>
                  </a:lnTo>
                  <a:lnTo>
                    <a:pt x="20482" y="3670"/>
                  </a:lnTo>
                  <a:lnTo>
                    <a:pt x="20482" y="3016"/>
                  </a:lnTo>
                  <a:lnTo>
                    <a:pt x="20024" y="3016"/>
                  </a:lnTo>
                  <a:lnTo>
                    <a:pt x="20024" y="3584"/>
                  </a:lnTo>
                  <a:lnTo>
                    <a:pt x="20024" y="4152"/>
                  </a:lnTo>
                  <a:lnTo>
                    <a:pt x="20023" y="4161"/>
                  </a:lnTo>
                  <a:lnTo>
                    <a:pt x="20018" y="4167"/>
                  </a:lnTo>
                  <a:lnTo>
                    <a:pt x="20011" y="4171"/>
                  </a:lnTo>
                  <a:lnTo>
                    <a:pt x="20005" y="4172"/>
                  </a:lnTo>
                  <a:lnTo>
                    <a:pt x="19997" y="4171"/>
                  </a:lnTo>
                  <a:lnTo>
                    <a:pt x="19991" y="4167"/>
                  </a:lnTo>
                  <a:lnTo>
                    <a:pt x="19986" y="4161"/>
                  </a:lnTo>
                  <a:lnTo>
                    <a:pt x="19984" y="4152"/>
                  </a:lnTo>
                  <a:lnTo>
                    <a:pt x="19984" y="3451"/>
                  </a:lnTo>
                  <a:lnTo>
                    <a:pt x="19984" y="2750"/>
                  </a:lnTo>
                  <a:lnTo>
                    <a:pt x="19946" y="2750"/>
                  </a:lnTo>
                  <a:lnTo>
                    <a:pt x="19939" y="2748"/>
                  </a:lnTo>
                  <a:lnTo>
                    <a:pt x="19933" y="2744"/>
                  </a:lnTo>
                  <a:lnTo>
                    <a:pt x="19928" y="2737"/>
                  </a:lnTo>
                  <a:lnTo>
                    <a:pt x="19927" y="2730"/>
                  </a:lnTo>
                  <a:lnTo>
                    <a:pt x="19927" y="2576"/>
                  </a:lnTo>
                  <a:lnTo>
                    <a:pt x="19928" y="2569"/>
                  </a:lnTo>
                  <a:lnTo>
                    <a:pt x="19933" y="2562"/>
                  </a:lnTo>
                  <a:lnTo>
                    <a:pt x="19939" y="2558"/>
                  </a:lnTo>
                  <a:lnTo>
                    <a:pt x="19946" y="2556"/>
                  </a:lnTo>
                  <a:lnTo>
                    <a:pt x="19998" y="2556"/>
                  </a:lnTo>
                  <a:lnTo>
                    <a:pt x="20041" y="2500"/>
                  </a:lnTo>
                  <a:lnTo>
                    <a:pt x="20089" y="2443"/>
                  </a:lnTo>
                  <a:lnTo>
                    <a:pt x="20116" y="2418"/>
                  </a:lnTo>
                  <a:lnTo>
                    <a:pt x="20143" y="2391"/>
                  </a:lnTo>
                  <a:lnTo>
                    <a:pt x="20201" y="2340"/>
                  </a:lnTo>
                  <a:lnTo>
                    <a:pt x="20264" y="2292"/>
                  </a:lnTo>
                  <a:lnTo>
                    <a:pt x="20331" y="2246"/>
                  </a:lnTo>
                  <a:lnTo>
                    <a:pt x="20402" y="2203"/>
                  </a:lnTo>
                  <a:lnTo>
                    <a:pt x="20477" y="2163"/>
                  </a:lnTo>
                  <a:lnTo>
                    <a:pt x="20556" y="2126"/>
                  </a:lnTo>
                  <a:lnTo>
                    <a:pt x="20638" y="2092"/>
                  </a:lnTo>
                  <a:lnTo>
                    <a:pt x="20681" y="2075"/>
                  </a:lnTo>
                  <a:lnTo>
                    <a:pt x="20724" y="2060"/>
                  </a:lnTo>
                  <a:lnTo>
                    <a:pt x="20813" y="2033"/>
                  </a:lnTo>
                  <a:lnTo>
                    <a:pt x="20904" y="2009"/>
                  </a:lnTo>
                  <a:lnTo>
                    <a:pt x="20999" y="1987"/>
                  </a:lnTo>
                  <a:lnTo>
                    <a:pt x="21095" y="1970"/>
                  </a:lnTo>
                  <a:lnTo>
                    <a:pt x="21194" y="1956"/>
                  </a:lnTo>
                  <a:lnTo>
                    <a:pt x="21194" y="1775"/>
                  </a:lnTo>
                  <a:lnTo>
                    <a:pt x="21196" y="1759"/>
                  </a:lnTo>
                  <a:lnTo>
                    <a:pt x="21200" y="1744"/>
                  </a:lnTo>
                  <a:lnTo>
                    <a:pt x="21209" y="1730"/>
                  </a:lnTo>
                  <a:lnTo>
                    <a:pt x="21219" y="1717"/>
                  </a:lnTo>
                  <a:lnTo>
                    <a:pt x="21232" y="1705"/>
                  </a:lnTo>
                  <a:lnTo>
                    <a:pt x="21247" y="1694"/>
                  </a:lnTo>
                  <a:lnTo>
                    <a:pt x="21265" y="1684"/>
                  </a:lnTo>
                  <a:lnTo>
                    <a:pt x="21285" y="1675"/>
                  </a:lnTo>
                  <a:lnTo>
                    <a:pt x="21329" y="1659"/>
                  </a:lnTo>
                  <a:lnTo>
                    <a:pt x="21378" y="1648"/>
                  </a:lnTo>
                  <a:lnTo>
                    <a:pt x="21429" y="1642"/>
                  </a:lnTo>
                  <a:lnTo>
                    <a:pt x="21483" y="1639"/>
                  </a:lnTo>
                  <a:lnTo>
                    <a:pt x="21537" y="1642"/>
                  </a:lnTo>
                  <a:lnTo>
                    <a:pt x="21590" y="1648"/>
                  </a:lnTo>
                  <a:lnTo>
                    <a:pt x="21614" y="1653"/>
                  </a:lnTo>
                  <a:lnTo>
                    <a:pt x="21638" y="1659"/>
                  </a:lnTo>
                  <a:lnTo>
                    <a:pt x="21660" y="1666"/>
                  </a:lnTo>
                  <a:lnTo>
                    <a:pt x="21682" y="1675"/>
                  </a:lnTo>
                  <a:lnTo>
                    <a:pt x="21719" y="1694"/>
                  </a:lnTo>
                  <a:lnTo>
                    <a:pt x="21747" y="1717"/>
                  </a:lnTo>
                  <a:lnTo>
                    <a:pt x="21759" y="1730"/>
                  </a:lnTo>
                  <a:lnTo>
                    <a:pt x="21767" y="1744"/>
                  </a:lnTo>
                  <a:lnTo>
                    <a:pt x="21772" y="1759"/>
                  </a:lnTo>
                  <a:lnTo>
                    <a:pt x="21773" y="1775"/>
                  </a:lnTo>
                  <a:lnTo>
                    <a:pt x="21773" y="1956"/>
                  </a:lnTo>
                  <a:lnTo>
                    <a:pt x="21872" y="1970"/>
                  </a:lnTo>
                  <a:lnTo>
                    <a:pt x="21969" y="1987"/>
                  </a:lnTo>
                  <a:lnTo>
                    <a:pt x="22063" y="2009"/>
                  </a:lnTo>
                  <a:lnTo>
                    <a:pt x="22155" y="2033"/>
                  </a:lnTo>
                  <a:lnTo>
                    <a:pt x="22244" y="2060"/>
                  </a:lnTo>
                  <a:lnTo>
                    <a:pt x="22328" y="2092"/>
                  </a:lnTo>
                  <a:lnTo>
                    <a:pt x="22412" y="2126"/>
                  </a:lnTo>
                  <a:lnTo>
                    <a:pt x="22490" y="2163"/>
                  </a:lnTo>
                  <a:lnTo>
                    <a:pt x="22566" y="2203"/>
                  </a:lnTo>
                  <a:lnTo>
                    <a:pt x="22601" y="2225"/>
                  </a:lnTo>
                  <a:lnTo>
                    <a:pt x="22636" y="2246"/>
                  </a:lnTo>
                  <a:lnTo>
                    <a:pt x="22703" y="2292"/>
                  </a:lnTo>
                  <a:lnTo>
                    <a:pt x="22766" y="2340"/>
                  </a:lnTo>
                  <a:lnTo>
                    <a:pt x="22795" y="2365"/>
                  </a:lnTo>
                  <a:lnTo>
                    <a:pt x="22825" y="2391"/>
                  </a:lnTo>
                  <a:lnTo>
                    <a:pt x="22877" y="2445"/>
                  </a:lnTo>
                  <a:lnTo>
                    <a:pt x="22926" y="2500"/>
                  </a:lnTo>
                  <a:lnTo>
                    <a:pt x="22969" y="2556"/>
                  </a:lnTo>
                  <a:lnTo>
                    <a:pt x="23021" y="2556"/>
                  </a:lnTo>
                  <a:lnTo>
                    <a:pt x="23028" y="2558"/>
                  </a:lnTo>
                  <a:lnTo>
                    <a:pt x="23035" y="2562"/>
                  </a:lnTo>
                  <a:lnTo>
                    <a:pt x="23039" y="2569"/>
                  </a:lnTo>
                  <a:lnTo>
                    <a:pt x="23040" y="2576"/>
                  </a:lnTo>
                  <a:lnTo>
                    <a:pt x="23040" y="2730"/>
                  </a:lnTo>
                  <a:lnTo>
                    <a:pt x="23039" y="2737"/>
                  </a:lnTo>
                  <a:lnTo>
                    <a:pt x="23035" y="2744"/>
                  </a:lnTo>
                  <a:lnTo>
                    <a:pt x="23028" y="2748"/>
                  </a:lnTo>
                  <a:lnTo>
                    <a:pt x="23021" y="2750"/>
                  </a:lnTo>
                  <a:lnTo>
                    <a:pt x="22982" y="2750"/>
                  </a:lnTo>
                  <a:lnTo>
                    <a:pt x="22982" y="3547"/>
                  </a:lnTo>
                  <a:lnTo>
                    <a:pt x="22982" y="4345"/>
                  </a:lnTo>
                  <a:lnTo>
                    <a:pt x="22981" y="4352"/>
                  </a:lnTo>
                  <a:lnTo>
                    <a:pt x="22977" y="4359"/>
                  </a:lnTo>
                  <a:lnTo>
                    <a:pt x="22971" y="4363"/>
                  </a:lnTo>
                  <a:lnTo>
                    <a:pt x="22963" y="4365"/>
                  </a:lnTo>
                  <a:lnTo>
                    <a:pt x="22717" y="4365"/>
                  </a:lnTo>
                  <a:lnTo>
                    <a:pt x="21733" y="4365"/>
                  </a:lnTo>
                  <a:lnTo>
                    <a:pt x="21241" y="4365"/>
                  </a:lnTo>
                  <a:lnTo>
                    <a:pt x="20749" y="4365"/>
                  </a:lnTo>
                  <a:lnTo>
                    <a:pt x="20257" y="4365"/>
                  </a:lnTo>
                  <a:lnTo>
                    <a:pt x="19865" y="4365"/>
                  </a:lnTo>
                  <a:lnTo>
                    <a:pt x="19859" y="4368"/>
                  </a:lnTo>
                  <a:lnTo>
                    <a:pt x="19852" y="4369"/>
                  </a:lnTo>
                  <a:lnTo>
                    <a:pt x="18987" y="4369"/>
                  </a:lnTo>
                  <a:lnTo>
                    <a:pt x="18122" y="4369"/>
                  </a:lnTo>
                  <a:lnTo>
                    <a:pt x="18119" y="4369"/>
                  </a:lnTo>
                  <a:lnTo>
                    <a:pt x="17558" y="4369"/>
                  </a:lnTo>
                  <a:lnTo>
                    <a:pt x="17549" y="4366"/>
                  </a:lnTo>
                  <a:lnTo>
                    <a:pt x="17543" y="4363"/>
                  </a:lnTo>
                  <a:lnTo>
                    <a:pt x="17540" y="4356"/>
                  </a:lnTo>
                  <a:lnTo>
                    <a:pt x="17539" y="4349"/>
                  </a:lnTo>
                  <a:lnTo>
                    <a:pt x="17540" y="4341"/>
                  </a:lnTo>
                  <a:lnTo>
                    <a:pt x="17543" y="4334"/>
                  </a:lnTo>
                  <a:lnTo>
                    <a:pt x="17549" y="4331"/>
                  </a:lnTo>
                  <a:lnTo>
                    <a:pt x="17558" y="4329"/>
                  </a:lnTo>
                  <a:lnTo>
                    <a:pt x="18096" y="4329"/>
                  </a:lnTo>
                  <a:lnTo>
                    <a:pt x="18092" y="4305"/>
                  </a:lnTo>
                  <a:lnTo>
                    <a:pt x="18090" y="4287"/>
                  </a:lnTo>
                  <a:lnTo>
                    <a:pt x="18094" y="4262"/>
                  </a:lnTo>
                  <a:lnTo>
                    <a:pt x="18103" y="4237"/>
                  </a:lnTo>
                  <a:lnTo>
                    <a:pt x="18116" y="4216"/>
                  </a:lnTo>
                  <a:lnTo>
                    <a:pt x="18134" y="4196"/>
                  </a:lnTo>
                  <a:lnTo>
                    <a:pt x="18155" y="4178"/>
                  </a:lnTo>
                  <a:lnTo>
                    <a:pt x="18178" y="4162"/>
                  </a:lnTo>
                  <a:lnTo>
                    <a:pt x="18230" y="4131"/>
                  </a:lnTo>
                  <a:lnTo>
                    <a:pt x="18213" y="3595"/>
                  </a:lnTo>
                  <a:lnTo>
                    <a:pt x="18197" y="3061"/>
                  </a:lnTo>
                  <a:lnTo>
                    <a:pt x="17607" y="2249"/>
                  </a:lnTo>
                  <a:lnTo>
                    <a:pt x="17579" y="2705"/>
                  </a:lnTo>
                  <a:lnTo>
                    <a:pt x="17576" y="2714"/>
                  </a:lnTo>
                  <a:lnTo>
                    <a:pt x="17571" y="2719"/>
                  </a:lnTo>
                  <a:lnTo>
                    <a:pt x="17557" y="2725"/>
                  </a:lnTo>
                  <a:lnTo>
                    <a:pt x="17551" y="2722"/>
                  </a:lnTo>
                  <a:lnTo>
                    <a:pt x="17544" y="2718"/>
                  </a:lnTo>
                  <a:lnTo>
                    <a:pt x="17540" y="2712"/>
                  </a:lnTo>
                  <a:lnTo>
                    <a:pt x="17539" y="2703"/>
                  </a:lnTo>
                  <a:lnTo>
                    <a:pt x="17570" y="2195"/>
                  </a:lnTo>
                  <a:lnTo>
                    <a:pt x="17571" y="2188"/>
                  </a:lnTo>
                  <a:lnTo>
                    <a:pt x="17597" y="1763"/>
                  </a:lnTo>
                  <a:lnTo>
                    <a:pt x="17597" y="1755"/>
                  </a:lnTo>
                  <a:lnTo>
                    <a:pt x="17640" y="1058"/>
                  </a:lnTo>
                  <a:lnTo>
                    <a:pt x="17622" y="1058"/>
                  </a:lnTo>
                  <a:lnTo>
                    <a:pt x="17615" y="1057"/>
                  </a:lnTo>
                  <a:lnTo>
                    <a:pt x="17608" y="1053"/>
                  </a:lnTo>
                  <a:lnTo>
                    <a:pt x="17604" y="1047"/>
                  </a:lnTo>
                  <a:lnTo>
                    <a:pt x="17603" y="1039"/>
                  </a:lnTo>
                  <a:lnTo>
                    <a:pt x="17603" y="943"/>
                  </a:lnTo>
                  <a:lnTo>
                    <a:pt x="17604" y="936"/>
                  </a:lnTo>
                  <a:lnTo>
                    <a:pt x="17608" y="929"/>
                  </a:lnTo>
                  <a:lnTo>
                    <a:pt x="17615" y="925"/>
                  </a:lnTo>
                  <a:lnTo>
                    <a:pt x="17622" y="924"/>
                  </a:lnTo>
                  <a:lnTo>
                    <a:pt x="18192" y="924"/>
                  </a:lnTo>
                  <a:lnTo>
                    <a:pt x="18199" y="925"/>
                  </a:lnTo>
                  <a:lnTo>
                    <a:pt x="18206" y="929"/>
                  </a:lnTo>
                  <a:lnTo>
                    <a:pt x="18211" y="936"/>
                  </a:lnTo>
                  <a:lnTo>
                    <a:pt x="18212" y="943"/>
                  </a:lnTo>
                  <a:lnTo>
                    <a:pt x="18212" y="1039"/>
                  </a:lnTo>
                  <a:lnTo>
                    <a:pt x="18211" y="1047"/>
                  </a:lnTo>
                  <a:lnTo>
                    <a:pt x="18206" y="1053"/>
                  </a:lnTo>
                  <a:lnTo>
                    <a:pt x="18199" y="1057"/>
                  </a:lnTo>
                  <a:lnTo>
                    <a:pt x="18192" y="1058"/>
                  </a:lnTo>
                  <a:lnTo>
                    <a:pt x="18174" y="1058"/>
                  </a:lnTo>
                  <a:lnTo>
                    <a:pt x="18201" y="1919"/>
                  </a:lnTo>
                  <a:lnTo>
                    <a:pt x="18930" y="1919"/>
                  </a:lnTo>
                  <a:lnTo>
                    <a:pt x="19661" y="1919"/>
                  </a:lnTo>
                  <a:lnTo>
                    <a:pt x="19698" y="1158"/>
                  </a:lnTo>
                  <a:lnTo>
                    <a:pt x="19736" y="399"/>
                  </a:lnTo>
                  <a:lnTo>
                    <a:pt x="19738" y="392"/>
                  </a:lnTo>
                  <a:lnTo>
                    <a:pt x="19742" y="386"/>
                  </a:lnTo>
                  <a:lnTo>
                    <a:pt x="19748" y="382"/>
                  </a:lnTo>
                  <a:lnTo>
                    <a:pt x="19756" y="381"/>
                  </a:lnTo>
                  <a:lnTo>
                    <a:pt x="20084" y="381"/>
                  </a:lnTo>
                  <a:lnTo>
                    <a:pt x="20092" y="382"/>
                  </a:lnTo>
                  <a:lnTo>
                    <a:pt x="20098" y="386"/>
                  </a:lnTo>
                  <a:lnTo>
                    <a:pt x="20102" y="392"/>
                  </a:lnTo>
                  <a:lnTo>
                    <a:pt x="20105" y="399"/>
                  </a:lnTo>
                  <a:lnTo>
                    <a:pt x="20142" y="1126"/>
                  </a:lnTo>
                  <a:lnTo>
                    <a:pt x="20181" y="1855"/>
                  </a:lnTo>
                  <a:lnTo>
                    <a:pt x="20179" y="1864"/>
                  </a:lnTo>
                  <a:lnTo>
                    <a:pt x="20175" y="1870"/>
                  </a:lnTo>
                  <a:lnTo>
                    <a:pt x="20169" y="1874"/>
                  </a:lnTo>
                  <a:lnTo>
                    <a:pt x="20161" y="1877"/>
                  </a:lnTo>
                  <a:lnTo>
                    <a:pt x="20147" y="1872"/>
                  </a:lnTo>
                  <a:lnTo>
                    <a:pt x="20143" y="1867"/>
                  </a:lnTo>
                  <a:lnTo>
                    <a:pt x="20141" y="1858"/>
                  </a:lnTo>
                  <a:lnTo>
                    <a:pt x="20102" y="1139"/>
                  </a:lnTo>
                  <a:lnTo>
                    <a:pt x="20065" y="420"/>
                  </a:lnTo>
                  <a:lnTo>
                    <a:pt x="19775" y="420"/>
                  </a:lnTo>
                  <a:lnTo>
                    <a:pt x="19737" y="1180"/>
                  </a:lnTo>
                  <a:lnTo>
                    <a:pt x="19700" y="1939"/>
                  </a:lnTo>
                  <a:lnTo>
                    <a:pt x="19700" y="1942"/>
                  </a:lnTo>
                  <a:lnTo>
                    <a:pt x="19698" y="1947"/>
                  </a:lnTo>
                  <a:lnTo>
                    <a:pt x="19695" y="1952"/>
                  </a:lnTo>
                  <a:lnTo>
                    <a:pt x="19688" y="1956"/>
                  </a:lnTo>
                  <a:lnTo>
                    <a:pt x="19682" y="1959"/>
                  </a:lnTo>
                  <a:lnTo>
                    <a:pt x="18942" y="1959"/>
                  </a:lnTo>
                  <a:lnTo>
                    <a:pt x="18202" y="1959"/>
                  </a:lnTo>
                  <a:lnTo>
                    <a:pt x="18221" y="2560"/>
                  </a:lnTo>
                  <a:lnTo>
                    <a:pt x="18221" y="2567"/>
                  </a:lnTo>
                  <a:lnTo>
                    <a:pt x="18244" y="3338"/>
                  </a:lnTo>
                  <a:lnTo>
                    <a:pt x="18269" y="4111"/>
                  </a:lnTo>
                  <a:lnTo>
                    <a:pt x="18320" y="4081"/>
                  </a:lnTo>
                  <a:lnTo>
                    <a:pt x="18342" y="4066"/>
                  </a:lnTo>
                  <a:lnTo>
                    <a:pt x="18361" y="4049"/>
                  </a:lnTo>
                  <a:lnTo>
                    <a:pt x="18392" y="4015"/>
                  </a:lnTo>
                  <a:lnTo>
                    <a:pt x="18419" y="3976"/>
                  </a:lnTo>
                  <a:lnTo>
                    <a:pt x="18447" y="3936"/>
                  </a:lnTo>
                  <a:lnTo>
                    <a:pt x="18475" y="3897"/>
                  </a:lnTo>
                  <a:lnTo>
                    <a:pt x="18506" y="3863"/>
                  </a:lnTo>
                  <a:lnTo>
                    <a:pt x="18524" y="3849"/>
                  </a:lnTo>
                  <a:lnTo>
                    <a:pt x="18542" y="3835"/>
                  </a:lnTo>
                  <a:lnTo>
                    <a:pt x="18562" y="3824"/>
                  </a:lnTo>
                  <a:lnTo>
                    <a:pt x="18585" y="3817"/>
                  </a:lnTo>
                  <a:lnTo>
                    <a:pt x="18610" y="3811"/>
                  </a:lnTo>
                  <a:lnTo>
                    <a:pt x="18637" y="3810"/>
                  </a:lnTo>
                  <a:lnTo>
                    <a:pt x="18656" y="3811"/>
                  </a:lnTo>
                  <a:lnTo>
                    <a:pt x="18673" y="3817"/>
                  </a:lnTo>
                  <a:lnTo>
                    <a:pt x="18702" y="3831"/>
                  </a:lnTo>
                  <a:lnTo>
                    <a:pt x="18702" y="3827"/>
                  </a:lnTo>
                  <a:lnTo>
                    <a:pt x="18702" y="3086"/>
                  </a:lnTo>
                  <a:lnTo>
                    <a:pt x="18664" y="3083"/>
                  </a:lnTo>
                  <a:lnTo>
                    <a:pt x="18625" y="3075"/>
                  </a:lnTo>
                  <a:lnTo>
                    <a:pt x="18588" y="3065"/>
                  </a:lnTo>
                  <a:lnTo>
                    <a:pt x="18553" y="3051"/>
                  </a:lnTo>
                  <a:lnTo>
                    <a:pt x="18519" y="3033"/>
                  </a:lnTo>
                  <a:lnTo>
                    <a:pt x="18488" y="3012"/>
                  </a:lnTo>
                  <a:lnTo>
                    <a:pt x="18458" y="2989"/>
                  </a:lnTo>
                  <a:lnTo>
                    <a:pt x="18431" y="2964"/>
                  </a:lnTo>
                  <a:lnTo>
                    <a:pt x="18407" y="2936"/>
                  </a:lnTo>
                  <a:lnTo>
                    <a:pt x="18385" y="2905"/>
                  </a:lnTo>
                  <a:lnTo>
                    <a:pt x="18366" y="2873"/>
                  </a:lnTo>
                  <a:lnTo>
                    <a:pt x="18349" y="2838"/>
                  </a:lnTo>
                  <a:lnTo>
                    <a:pt x="18337" y="2803"/>
                  </a:lnTo>
                  <a:lnTo>
                    <a:pt x="18328" y="2766"/>
                  </a:lnTo>
                  <a:lnTo>
                    <a:pt x="18322" y="2726"/>
                  </a:lnTo>
                  <a:lnTo>
                    <a:pt x="18320" y="2686"/>
                  </a:lnTo>
                  <a:lnTo>
                    <a:pt x="18322" y="2645"/>
                  </a:lnTo>
                  <a:lnTo>
                    <a:pt x="18328" y="2606"/>
                  </a:lnTo>
                  <a:lnTo>
                    <a:pt x="18338" y="2567"/>
                  </a:lnTo>
                  <a:lnTo>
                    <a:pt x="18352" y="2530"/>
                  </a:lnTo>
                  <a:lnTo>
                    <a:pt x="18369" y="2496"/>
                  </a:lnTo>
                  <a:lnTo>
                    <a:pt x="18388" y="2462"/>
                  </a:lnTo>
                  <a:lnTo>
                    <a:pt x="18412" y="2432"/>
                  </a:lnTo>
                  <a:lnTo>
                    <a:pt x="18438" y="2404"/>
                  </a:lnTo>
                  <a:lnTo>
                    <a:pt x="18466" y="2377"/>
                  </a:lnTo>
                  <a:lnTo>
                    <a:pt x="18497" y="2354"/>
                  </a:lnTo>
                  <a:lnTo>
                    <a:pt x="18530" y="2335"/>
                  </a:lnTo>
                  <a:lnTo>
                    <a:pt x="18565" y="2317"/>
                  </a:lnTo>
                  <a:lnTo>
                    <a:pt x="18602" y="2304"/>
                  </a:lnTo>
                  <a:lnTo>
                    <a:pt x="18640" y="2294"/>
                  </a:lnTo>
                  <a:lnTo>
                    <a:pt x="18680" y="2287"/>
                  </a:lnTo>
                  <a:lnTo>
                    <a:pt x="18721" y="2286"/>
                  </a:lnTo>
                  <a:lnTo>
                    <a:pt x="18764" y="2287"/>
                  </a:lnTo>
                  <a:lnTo>
                    <a:pt x="18803" y="2294"/>
                  </a:lnTo>
                  <a:lnTo>
                    <a:pt x="18842" y="2304"/>
                  </a:lnTo>
                  <a:lnTo>
                    <a:pt x="18879" y="2318"/>
                  </a:lnTo>
                  <a:lnTo>
                    <a:pt x="18914" y="2335"/>
                  </a:lnTo>
                  <a:lnTo>
                    <a:pt x="18947" y="2355"/>
                  </a:lnTo>
                  <a:lnTo>
                    <a:pt x="18978" y="2378"/>
                  </a:lnTo>
                  <a:lnTo>
                    <a:pt x="19007" y="2404"/>
                  </a:lnTo>
                  <a:lnTo>
                    <a:pt x="19033" y="2433"/>
                  </a:lnTo>
                  <a:lnTo>
                    <a:pt x="19056" y="2464"/>
                  </a:lnTo>
                  <a:lnTo>
                    <a:pt x="19075" y="2497"/>
                  </a:lnTo>
                  <a:lnTo>
                    <a:pt x="19092" y="2532"/>
                  </a:lnTo>
                  <a:lnTo>
                    <a:pt x="19106" y="2569"/>
                  </a:lnTo>
                  <a:lnTo>
                    <a:pt x="19115" y="2607"/>
                  </a:lnTo>
                  <a:lnTo>
                    <a:pt x="19121" y="2645"/>
                  </a:lnTo>
                  <a:lnTo>
                    <a:pt x="19124" y="2686"/>
                  </a:lnTo>
                  <a:lnTo>
                    <a:pt x="19121" y="2695"/>
                  </a:lnTo>
                  <a:lnTo>
                    <a:pt x="19118" y="2702"/>
                  </a:lnTo>
                  <a:lnTo>
                    <a:pt x="19111" y="2705"/>
                  </a:lnTo>
                  <a:lnTo>
                    <a:pt x="19103" y="2707"/>
                  </a:lnTo>
                  <a:lnTo>
                    <a:pt x="19096" y="2705"/>
                  </a:lnTo>
                  <a:lnTo>
                    <a:pt x="19089" y="2702"/>
                  </a:lnTo>
                  <a:lnTo>
                    <a:pt x="19085" y="2695"/>
                  </a:lnTo>
                  <a:lnTo>
                    <a:pt x="19083" y="2686"/>
                  </a:lnTo>
                  <a:lnTo>
                    <a:pt x="19082" y="2650"/>
                  </a:lnTo>
                  <a:lnTo>
                    <a:pt x="19076" y="2615"/>
                  </a:lnTo>
                  <a:lnTo>
                    <a:pt x="19067" y="2580"/>
                  </a:lnTo>
                  <a:lnTo>
                    <a:pt x="19055" y="2547"/>
                  </a:lnTo>
                  <a:lnTo>
                    <a:pt x="19041" y="2515"/>
                  </a:lnTo>
                  <a:lnTo>
                    <a:pt x="19023" y="2485"/>
                  </a:lnTo>
                  <a:lnTo>
                    <a:pt x="19002" y="2457"/>
                  </a:lnTo>
                  <a:lnTo>
                    <a:pt x="18978" y="2432"/>
                  </a:lnTo>
                  <a:lnTo>
                    <a:pt x="18952" y="2409"/>
                  </a:lnTo>
                  <a:lnTo>
                    <a:pt x="18925" y="2388"/>
                  </a:lnTo>
                  <a:lnTo>
                    <a:pt x="18894" y="2369"/>
                  </a:lnTo>
                  <a:lnTo>
                    <a:pt x="18864" y="2354"/>
                  </a:lnTo>
                  <a:lnTo>
                    <a:pt x="18830" y="2342"/>
                  </a:lnTo>
                  <a:lnTo>
                    <a:pt x="18796" y="2333"/>
                  </a:lnTo>
                  <a:lnTo>
                    <a:pt x="18758" y="2328"/>
                  </a:lnTo>
                  <a:lnTo>
                    <a:pt x="18721" y="2326"/>
                  </a:lnTo>
                  <a:lnTo>
                    <a:pt x="18684" y="2328"/>
                  </a:lnTo>
                  <a:lnTo>
                    <a:pt x="18648" y="2333"/>
                  </a:lnTo>
                  <a:lnTo>
                    <a:pt x="18614" y="2342"/>
                  </a:lnTo>
                  <a:lnTo>
                    <a:pt x="18580" y="2354"/>
                  </a:lnTo>
                  <a:lnTo>
                    <a:pt x="18549" y="2369"/>
                  </a:lnTo>
                  <a:lnTo>
                    <a:pt x="18520" y="2387"/>
                  </a:lnTo>
                  <a:lnTo>
                    <a:pt x="18492" y="2407"/>
                  </a:lnTo>
                  <a:lnTo>
                    <a:pt x="18466" y="2432"/>
                  </a:lnTo>
                  <a:lnTo>
                    <a:pt x="18443" y="2457"/>
                  </a:lnTo>
                  <a:lnTo>
                    <a:pt x="18421" y="2484"/>
                  </a:lnTo>
                  <a:lnTo>
                    <a:pt x="18403" y="2515"/>
                  </a:lnTo>
                  <a:lnTo>
                    <a:pt x="18388" y="2546"/>
                  </a:lnTo>
                  <a:lnTo>
                    <a:pt x="18381" y="2562"/>
                  </a:lnTo>
                  <a:lnTo>
                    <a:pt x="18376" y="2579"/>
                  </a:lnTo>
                  <a:lnTo>
                    <a:pt x="18367" y="2613"/>
                  </a:lnTo>
                  <a:lnTo>
                    <a:pt x="18362" y="2649"/>
                  </a:lnTo>
                  <a:lnTo>
                    <a:pt x="18360" y="2686"/>
                  </a:lnTo>
                  <a:lnTo>
                    <a:pt x="18362" y="2722"/>
                  </a:lnTo>
                  <a:lnTo>
                    <a:pt x="18367" y="2757"/>
                  </a:lnTo>
                  <a:lnTo>
                    <a:pt x="18375" y="2790"/>
                  </a:lnTo>
                  <a:lnTo>
                    <a:pt x="18387" y="2823"/>
                  </a:lnTo>
                  <a:lnTo>
                    <a:pt x="18401" y="2854"/>
                  </a:lnTo>
                  <a:lnTo>
                    <a:pt x="18417" y="2882"/>
                  </a:lnTo>
                  <a:lnTo>
                    <a:pt x="18438" y="2910"/>
                  </a:lnTo>
                  <a:lnTo>
                    <a:pt x="18460" y="2936"/>
                  </a:lnTo>
                  <a:lnTo>
                    <a:pt x="18484" y="2959"/>
                  </a:lnTo>
                  <a:lnTo>
                    <a:pt x="18510" y="2979"/>
                  </a:lnTo>
                  <a:lnTo>
                    <a:pt x="18538" y="2997"/>
                  </a:lnTo>
                  <a:lnTo>
                    <a:pt x="18569" y="3014"/>
                  </a:lnTo>
                  <a:lnTo>
                    <a:pt x="18599" y="3026"/>
                  </a:lnTo>
                  <a:lnTo>
                    <a:pt x="18633" y="3037"/>
                  </a:lnTo>
                  <a:lnTo>
                    <a:pt x="18667" y="3043"/>
                  </a:lnTo>
                  <a:lnTo>
                    <a:pt x="18702" y="3047"/>
                  </a:lnTo>
                  <a:lnTo>
                    <a:pt x="18702" y="3011"/>
                  </a:lnTo>
                  <a:lnTo>
                    <a:pt x="18701" y="3008"/>
                  </a:lnTo>
                  <a:lnTo>
                    <a:pt x="18597" y="2865"/>
                  </a:lnTo>
                  <a:lnTo>
                    <a:pt x="18593" y="2858"/>
                  </a:lnTo>
                  <a:lnTo>
                    <a:pt x="18593" y="2850"/>
                  </a:lnTo>
                  <a:lnTo>
                    <a:pt x="18596" y="2842"/>
                  </a:lnTo>
                  <a:lnTo>
                    <a:pt x="18601" y="2837"/>
                  </a:lnTo>
                  <a:lnTo>
                    <a:pt x="18607" y="2835"/>
                  </a:lnTo>
                  <a:lnTo>
                    <a:pt x="18615" y="2833"/>
                  </a:lnTo>
                  <a:lnTo>
                    <a:pt x="18623" y="2836"/>
                  </a:lnTo>
                  <a:lnTo>
                    <a:pt x="18629" y="2842"/>
                  </a:lnTo>
                  <a:lnTo>
                    <a:pt x="18702" y="2943"/>
                  </a:lnTo>
                  <a:lnTo>
                    <a:pt x="18702" y="2901"/>
                  </a:lnTo>
                  <a:lnTo>
                    <a:pt x="18702" y="2895"/>
                  </a:lnTo>
                  <a:lnTo>
                    <a:pt x="18702" y="2744"/>
                  </a:lnTo>
                  <a:lnTo>
                    <a:pt x="18606" y="2611"/>
                  </a:lnTo>
                  <a:lnTo>
                    <a:pt x="18602" y="2603"/>
                  </a:lnTo>
                  <a:lnTo>
                    <a:pt x="18602" y="2595"/>
                  </a:lnTo>
                  <a:lnTo>
                    <a:pt x="18606" y="2588"/>
                  </a:lnTo>
                  <a:lnTo>
                    <a:pt x="18611" y="2583"/>
                  </a:lnTo>
                  <a:lnTo>
                    <a:pt x="18617" y="2580"/>
                  </a:lnTo>
                  <a:lnTo>
                    <a:pt x="18625" y="2579"/>
                  </a:lnTo>
                  <a:lnTo>
                    <a:pt x="18633" y="2581"/>
                  </a:lnTo>
                  <a:lnTo>
                    <a:pt x="18639" y="2588"/>
                  </a:lnTo>
                  <a:lnTo>
                    <a:pt x="18702" y="2675"/>
                  </a:lnTo>
                  <a:lnTo>
                    <a:pt x="18702" y="2599"/>
                  </a:lnTo>
                  <a:lnTo>
                    <a:pt x="18705" y="2590"/>
                  </a:lnTo>
                  <a:lnTo>
                    <a:pt x="18708" y="2584"/>
                  </a:lnTo>
                  <a:lnTo>
                    <a:pt x="18715" y="2580"/>
                  </a:lnTo>
                  <a:lnTo>
                    <a:pt x="18723" y="2579"/>
                  </a:lnTo>
                  <a:lnTo>
                    <a:pt x="18730" y="2580"/>
                  </a:lnTo>
                  <a:lnTo>
                    <a:pt x="18737" y="2584"/>
                  </a:lnTo>
                  <a:lnTo>
                    <a:pt x="18741" y="2590"/>
                  </a:lnTo>
                  <a:lnTo>
                    <a:pt x="18742" y="2599"/>
                  </a:lnTo>
                  <a:lnTo>
                    <a:pt x="18742" y="2734"/>
                  </a:lnTo>
                  <a:lnTo>
                    <a:pt x="18742" y="2740"/>
                  </a:lnTo>
                  <a:lnTo>
                    <a:pt x="18742" y="2836"/>
                  </a:lnTo>
                  <a:lnTo>
                    <a:pt x="18828" y="2718"/>
                  </a:lnTo>
                  <a:lnTo>
                    <a:pt x="18834" y="2712"/>
                  </a:lnTo>
                  <a:lnTo>
                    <a:pt x="18842" y="2711"/>
                  </a:lnTo>
                  <a:lnTo>
                    <a:pt x="18856" y="2714"/>
                  </a:lnTo>
                  <a:lnTo>
                    <a:pt x="18861" y="2719"/>
                  </a:lnTo>
                  <a:lnTo>
                    <a:pt x="18864" y="2726"/>
                  </a:lnTo>
                  <a:lnTo>
                    <a:pt x="18864" y="2734"/>
                  </a:lnTo>
                  <a:lnTo>
                    <a:pt x="18860" y="2743"/>
                  </a:lnTo>
                  <a:close/>
                  <a:moveTo>
                    <a:pt x="20006" y="2597"/>
                  </a:moveTo>
                  <a:lnTo>
                    <a:pt x="19966" y="2597"/>
                  </a:lnTo>
                  <a:lnTo>
                    <a:pt x="19966" y="2709"/>
                  </a:lnTo>
                  <a:lnTo>
                    <a:pt x="20724" y="2709"/>
                  </a:lnTo>
                  <a:lnTo>
                    <a:pt x="21483" y="2709"/>
                  </a:lnTo>
                  <a:lnTo>
                    <a:pt x="22241" y="2709"/>
                  </a:lnTo>
                  <a:lnTo>
                    <a:pt x="23000" y="2709"/>
                  </a:lnTo>
                  <a:lnTo>
                    <a:pt x="23000" y="2597"/>
                  </a:lnTo>
                  <a:lnTo>
                    <a:pt x="22962" y="2597"/>
                  </a:lnTo>
                  <a:lnTo>
                    <a:pt x="22954" y="2597"/>
                  </a:lnTo>
                  <a:lnTo>
                    <a:pt x="22218" y="2597"/>
                  </a:lnTo>
                  <a:lnTo>
                    <a:pt x="21483" y="2597"/>
                  </a:lnTo>
                  <a:lnTo>
                    <a:pt x="20747" y="2597"/>
                  </a:lnTo>
                  <a:lnTo>
                    <a:pt x="20013" y="2597"/>
                  </a:lnTo>
                  <a:lnTo>
                    <a:pt x="20006" y="2597"/>
                  </a:lnTo>
                  <a:close/>
                  <a:moveTo>
                    <a:pt x="19369" y="3221"/>
                  </a:moveTo>
                  <a:lnTo>
                    <a:pt x="19369" y="3011"/>
                  </a:lnTo>
                  <a:lnTo>
                    <a:pt x="19370" y="3002"/>
                  </a:lnTo>
                  <a:lnTo>
                    <a:pt x="19375" y="2996"/>
                  </a:lnTo>
                  <a:lnTo>
                    <a:pt x="19382" y="2992"/>
                  </a:lnTo>
                  <a:lnTo>
                    <a:pt x="19388" y="2991"/>
                  </a:lnTo>
                  <a:lnTo>
                    <a:pt x="19396" y="2992"/>
                  </a:lnTo>
                  <a:lnTo>
                    <a:pt x="19402" y="2996"/>
                  </a:lnTo>
                  <a:lnTo>
                    <a:pt x="19407" y="3002"/>
                  </a:lnTo>
                  <a:lnTo>
                    <a:pt x="19409" y="3011"/>
                  </a:lnTo>
                  <a:lnTo>
                    <a:pt x="19409" y="3162"/>
                  </a:lnTo>
                  <a:lnTo>
                    <a:pt x="19442" y="3116"/>
                  </a:lnTo>
                  <a:lnTo>
                    <a:pt x="19448" y="3111"/>
                  </a:lnTo>
                  <a:lnTo>
                    <a:pt x="19456" y="3108"/>
                  </a:lnTo>
                  <a:lnTo>
                    <a:pt x="19470" y="3112"/>
                  </a:lnTo>
                  <a:lnTo>
                    <a:pt x="19475" y="3117"/>
                  </a:lnTo>
                  <a:lnTo>
                    <a:pt x="19478" y="3124"/>
                  </a:lnTo>
                  <a:lnTo>
                    <a:pt x="19478" y="3131"/>
                  </a:lnTo>
                  <a:lnTo>
                    <a:pt x="19474" y="3140"/>
                  </a:lnTo>
                  <a:lnTo>
                    <a:pt x="19409" y="3231"/>
                  </a:lnTo>
                  <a:lnTo>
                    <a:pt x="19409" y="3413"/>
                  </a:lnTo>
                  <a:lnTo>
                    <a:pt x="19432" y="3381"/>
                  </a:lnTo>
                  <a:lnTo>
                    <a:pt x="19438" y="3374"/>
                  </a:lnTo>
                  <a:lnTo>
                    <a:pt x="19446" y="3372"/>
                  </a:lnTo>
                  <a:lnTo>
                    <a:pt x="19460" y="3375"/>
                  </a:lnTo>
                  <a:lnTo>
                    <a:pt x="19465" y="3382"/>
                  </a:lnTo>
                  <a:lnTo>
                    <a:pt x="19468" y="3388"/>
                  </a:lnTo>
                  <a:lnTo>
                    <a:pt x="19468" y="3396"/>
                  </a:lnTo>
                  <a:lnTo>
                    <a:pt x="19464" y="3404"/>
                  </a:lnTo>
                  <a:lnTo>
                    <a:pt x="19409" y="3480"/>
                  </a:lnTo>
                  <a:lnTo>
                    <a:pt x="19409" y="3491"/>
                  </a:lnTo>
                  <a:lnTo>
                    <a:pt x="19409" y="3498"/>
                  </a:lnTo>
                  <a:lnTo>
                    <a:pt x="19409" y="3608"/>
                  </a:lnTo>
                  <a:lnTo>
                    <a:pt x="19425" y="3613"/>
                  </a:lnTo>
                  <a:lnTo>
                    <a:pt x="19441" y="3620"/>
                  </a:lnTo>
                  <a:lnTo>
                    <a:pt x="19455" y="3627"/>
                  </a:lnTo>
                  <a:lnTo>
                    <a:pt x="19468" y="3632"/>
                  </a:lnTo>
                  <a:lnTo>
                    <a:pt x="19480" y="3635"/>
                  </a:lnTo>
                  <a:lnTo>
                    <a:pt x="19488" y="3635"/>
                  </a:lnTo>
                  <a:lnTo>
                    <a:pt x="19494" y="3632"/>
                  </a:lnTo>
                  <a:lnTo>
                    <a:pt x="19501" y="3630"/>
                  </a:lnTo>
                  <a:lnTo>
                    <a:pt x="19509" y="3625"/>
                  </a:lnTo>
                  <a:lnTo>
                    <a:pt x="19525" y="3608"/>
                  </a:lnTo>
                  <a:lnTo>
                    <a:pt x="19547" y="3585"/>
                  </a:lnTo>
                  <a:lnTo>
                    <a:pt x="19562" y="3570"/>
                  </a:lnTo>
                  <a:lnTo>
                    <a:pt x="19577" y="3562"/>
                  </a:lnTo>
                  <a:lnTo>
                    <a:pt x="19591" y="3558"/>
                  </a:lnTo>
                  <a:lnTo>
                    <a:pt x="19620" y="3556"/>
                  </a:lnTo>
                  <a:lnTo>
                    <a:pt x="19639" y="3554"/>
                  </a:lnTo>
                  <a:lnTo>
                    <a:pt x="19664" y="3552"/>
                  </a:lnTo>
                  <a:lnTo>
                    <a:pt x="19679" y="3544"/>
                  </a:lnTo>
                  <a:lnTo>
                    <a:pt x="19684" y="3539"/>
                  </a:lnTo>
                  <a:lnTo>
                    <a:pt x="19688" y="3533"/>
                  </a:lnTo>
                  <a:lnTo>
                    <a:pt x="19695" y="3517"/>
                  </a:lnTo>
                  <a:lnTo>
                    <a:pt x="19700" y="3499"/>
                  </a:lnTo>
                  <a:lnTo>
                    <a:pt x="19705" y="3479"/>
                  </a:lnTo>
                  <a:lnTo>
                    <a:pt x="19714" y="3460"/>
                  </a:lnTo>
                  <a:lnTo>
                    <a:pt x="19728" y="3441"/>
                  </a:lnTo>
                  <a:lnTo>
                    <a:pt x="19737" y="3432"/>
                  </a:lnTo>
                  <a:lnTo>
                    <a:pt x="19748" y="3424"/>
                  </a:lnTo>
                  <a:lnTo>
                    <a:pt x="19792" y="3398"/>
                  </a:lnTo>
                  <a:lnTo>
                    <a:pt x="19804" y="3391"/>
                  </a:lnTo>
                  <a:lnTo>
                    <a:pt x="19810" y="3383"/>
                  </a:lnTo>
                  <a:lnTo>
                    <a:pt x="19813" y="3373"/>
                  </a:lnTo>
                  <a:lnTo>
                    <a:pt x="19811" y="3360"/>
                  </a:lnTo>
                  <a:lnTo>
                    <a:pt x="19804" y="3310"/>
                  </a:lnTo>
                  <a:lnTo>
                    <a:pt x="19804" y="3286"/>
                  </a:lnTo>
                  <a:lnTo>
                    <a:pt x="19807" y="3265"/>
                  </a:lnTo>
                  <a:lnTo>
                    <a:pt x="19816" y="3248"/>
                  </a:lnTo>
                  <a:lnTo>
                    <a:pt x="19827" y="3232"/>
                  </a:lnTo>
                  <a:lnTo>
                    <a:pt x="19847" y="3207"/>
                  </a:lnTo>
                  <a:lnTo>
                    <a:pt x="19854" y="3194"/>
                  </a:lnTo>
                  <a:lnTo>
                    <a:pt x="19856" y="3181"/>
                  </a:lnTo>
                  <a:lnTo>
                    <a:pt x="19854" y="3164"/>
                  </a:lnTo>
                  <a:lnTo>
                    <a:pt x="19850" y="3158"/>
                  </a:lnTo>
                  <a:lnTo>
                    <a:pt x="19846" y="3152"/>
                  </a:lnTo>
                  <a:lnTo>
                    <a:pt x="19824" y="3126"/>
                  </a:lnTo>
                  <a:lnTo>
                    <a:pt x="19814" y="3109"/>
                  </a:lnTo>
                  <a:lnTo>
                    <a:pt x="19806" y="3088"/>
                  </a:lnTo>
                  <a:lnTo>
                    <a:pt x="19805" y="3060"/>
                  </a:lnTo>
                  <a:lnTo>
                    <a:pt x="19806" y="3042"/>
                  </a:lnTo>
                  <a:lnTo>
                    <a:pt x="19809" y="3020"/>
                  </a:lnTo>
                  <a:lnTo>
                    <a:pt x="19811" y="3005"/>
                  </a:lnTo>
                  <a:lnTo>
                    <a:pt x="19811" y="2992"/>
                  </a:lnTo>
                  <a:lnTo>
                    <a:pt x="19809" y="2982"/>
                  </a:lnTo>
                  <a:lnTo>
                    <a:pt x="19805" y="2973"/>
                  </a:lnTo>
                  <a:lnTo>
                    <a:pt x="19792" y="2960"/>
                  </a:lnTo>
                  <a:lnTo>
                    <a:pt x="19775" y="2951"/>
                  </a:lnTo>
                  <a:lnTo>
                    <a:pt x="19757" y="2942"/>
                  </a:lnTo>
                  <a:lnTo>
                    <a:pt x="19738" y="2930"/>
                  </a:lnTo>
                  <a:lnTo>
                    <a:pt x="19720" y="2913"/>
                  </a:lnTo>
                  <a:lnTo>
                    <a:pt x="19712" y="2900"/>
                  </a:lnTo>
                  <a:lnTo>
                    <a:pt x="19706" y="2884"/>
                  </a:lnTo>
                  <a:lnTo>
                    <a:pt x="19691" y="2837"/>
                  </a:lnTo>
                  <a:lnTo>
                    <a:pt x="19686" y="2824"/>
                  </a:lnTo>
                  <a:lnTo>
                    <a:pt x="19683" y="2819"/>
                  </a:lnTo>
                  <a:lnTo>
                    <a:pt x="19680" y="2815"/>
                  </a:lnTo>
                  <a:lnTo>
                    <a:pt x="19671" y="2812"/>
                  </a:lnTo>
                  <a:lnTo>
                    <a:pt x="19657" y="2810"/>
                  </a:lnTo>
                  <a:lnTo>
                    <a:pt x="19607" y="2806"/>
                  </a:lnTo>
                  <a:lnTo>
                    <a:pt x="19591" y="2803"/>
                  </a:lnTo>
                  <a:lnTo>
                    <a:pt x="19577" y="2799"/>
                  </a:lnTo>
                  <a:lnTo>
                    <a:pt x="19555" y="2786"/>
                  </a:lnTo>
                  <a:lnTo>
                    <a:pt x="19547" y="2778"/>
                  </a:lnTo>
                  <a:lnTo>
                    <a:pt x="19539" y="2769"/>
                  </a:lnTo>
                  <a:lnTo>
                    <a:pt x="19527" y="2753"/>
                  </a:lnTo>
                  <a:lnTo>
                    <a:pt x="19514" y="2739"/>
                  </a:lnTo>
                  <a:lnTo>
                    <a:pt x="19507" y="2734"/>
                  </a:lnTo>
                  <a:lnTo>
                    <a:pt x="19500" y="2730"/>
                  </a:lnTo>
                  <a:lnTo>
                    <a:pt x="19491" y="2727"/>
                  </a:lnTo>
                  <a:lnTo>
                    <a:pt x="19479" y="2728"/>
                  </a:lnTo>
                  <a:lnTo>
                    <a:pt x="19452" y="2736"/>
                  </a:lnTo>
                  <a:lnTo>
                    <a:pt x="19421" y="2749"/>
                  </a:lnTo>
                  <a:lnTo>
                    <a:pt x="19405" y="2754"/>
                  </a:lnTo>
                  <a:lnTo>
                    <a:pt x="19388" y="2755"/>
                  </a:lnTo>
                  <a:lnTo>
                    <a:pt x="19366" y="2753"/>
                  </a:lnTo>
                  <a:lnTo>
                    <a:pt x="19347" y="2746"/>
                  </a:lnTo>
                  <a:lnTo>
                    <a:pt x="19316" y="2731"/>
                  </a:lnTo>
                  <a:lnTo>
                    <a:pt x="19301" y="2727"/>
                  </a:lnTo>
                  <a:lnTo>
                    <a:pt x="19293" y="2726"/>
                  </a:lnTo>
                  <a:lnTo>
                    <a:pt x="19287" y="2727"/>
                  </a:lnTo>
                  <a:lnTo>
                    <a:pt x="19270" y="2736"/>
                  </a:lnTo>
                  <a:lnTo>
                    <a:pt x="19251" y="2753"/>
                  </a:lnTo>
                  <a:lnTo>
                    <a:pt x="19230" y="2776"/>
                  </a:lnTo>
                  <a:lnTo>
                    <a:pt x="19214" y="2791"/>
                  </a:lnTo>
                  <a:lnTo>
                    <a:pt x="19200" y="2799"/>
                  </a:lnTo>
                  <a:lnTo>
                    <a:pt x="19187" y="2804"/>
                  </a:lnTo>
                  <a:lnTo>
                    <a:pt x="19157" y="2805"/>
                  </a:lnTo>
                  <a:lnTo>
                    <a:pt x="19138" y="2806"/>
                  </a:lnTo>
                  <a:lnTo>
                    <a:pt x="19112" y="2810"/>
                  </a:lnTo>
                  <a:lnTo>
                    <a:pt x="19098" y="2817"/>
                  </a:lnTo>
                  <a:lnTo>
                    <a:pt x="19093" y="2822"/>
                  </a:lnTo>
                  <a:lnTo>
                    <a:pt x="19088" y="2828"/>
                  </a:lnTo>
                  <a:lnTo>
                    <a:pt x="19082" y="2844"/>
                  </a:lnTo>
                  <a:lnTo>
                    <a:pt x="19078" y="2863"/>
                  </a:lnTo>
                  <a:lnTo>
                    <a:pt x="19071" y="2882"/>
                  </a:lnTo>
                  <a:lnTo>
                    <a:pt x="19064" y="2902"/>
                  </a:lnTo>
                  <a:lnTo>
                    <a:pt x="19050" y="2920"/>
                  </a:lnTo>
                  <a:lnTo>
                    <a:pt x="19041" y="2929"/>
                  </a:lnTo>
                  <a:lnTo>
                    <a:pt x="19029" y="2937"/>
                  </a:lnTo>
                  <a:lnTo>
                    <a:pt x="18985" y="2962"/>
                  </a:lnTo>
                  <a:lnTo>
                    <a:pt x="18974" y="2970"/>
                  </a:lnTo>
                  <a:lnTo>
                    <a:pt x="18967" y="2978"/>
                  </a:lnTo>
                  <a:lnTo>
                    <a:pt x="18965" y="2988"/>
                  </a:lnTo>
                  <a:lnTo>
                    <a:pt x="18966" y="3002"/>
                  </a:lnTo>
                  <a:lnTo>
                    <a:pt x="18974" y="3052"/>
                  </a:lnTo>
                  <a:lnTo>
                    <a:pt x="18974" y="3079"/>
                  </a:lnTo>
                  <a:lnTo>
                    <a:pt x="18967" y="3101"/>
                  </a:lnTo>
                  <a:lnTo>
                    <a:pt x="18956" y="3121"/>
                  </a:lnTo>
                  <a:lnTo>
                    <a:pt x="18941" y="3143"/>
                  </a:lnTo>
                  <a:lnTo>
                    <a:pt x="18926" y="3164"/>
                  </a:lnTo>
                  <a:lnTo>
                    <a:pt x="18923" y="3172"/>
                  </a:lnTo>
                  <a:lnTo>
                    <a:pt x="18921" y="3181"/>
                  </a:lnTo>
                  <a:lnTo>
                    <a:pt x="18924" y="3196"/>
                  </a:lnTo>
                  <a:lnTo>
                    <a:pt x="18928" y="3204"/>
                  </a:lnTo>
                  <a:lnTo>
                    <a:pt x="18932" y="3211"/>
                  </a:lnTo>
                  <a:lnTo>
                    <a:pt x="18953" y="3235"/>
                  </a:lnTo>
                  <a:lnTo>
                    <a:pt x="18964" y="3251"/>
                  </a:lnTo>
                  <a:lnTo>
                    <a:pt x="18970" y="3273"/>
                  </a:lnTo>
                  <a:lnTo>
                    <a:pt x="18973" y="3303"/>
                  </a:lnTo>
                  <a:lnTo>
                    <a:pt x="18971" y="3320"/>
                  </a:lnTo>
                  <a:lnTo>
                    <a:pt x="18969" y="3341"/>
                  </a:lnTo>
                  <a:lnTo>
                    <a:pt x="18966" y="3356"/>
                  </a:lnTo>
                  <a:lnTo>
                    <a:pt x="18966" y="3369"/>
                  </a:lnTo>
                  <a:lnTo>
                    <a:pt x="18969" y="3381"/>
                  </a:lnTo>
                  <a:lnTo>
                    <a:pt x="18973" y="3388"/>
                  </a:lnTo>
                  <a:lnTo>
                    <a:pt x="18984" y="3401"/>
                  </a:lnTo>
                  <a:lnTo>
                    <a:pt x="19001" y="3410"/>
                  </a:lnTo>
                  <a:lnTo>
                    <a:pt x="19020" y="3419"/>
                  </a:lnTo>
                  <a:lnTo>
                    <a:pt x="19039" y="3430"/>
                  </a:lnTo>
                  <a:lnTo>
                    <a:pt x="19057" y="3448"/>
                  </a:lnTo>
                  <a:lnTo>
                    <a:pt x="19065" y="3461"/>
                  </a:lnTo>
                  <a:lnTo>
                    <a:pt x="19071" y="3476"/>
                  </a:lnTo>
                  <a:lnTo>
                    <a:pt x="19085" y="3524"/>
                  </a:lnTo>
                  <a:lnTo>
                    <a:pt x="19091" y="3538"/>
                  </a:lnTo>
                  <a:lnTo>
                    <a:pt x="19093" y="3542"/>
                  </a:lnTo>
                  <a:lnTo>
                    <a:pt x="19097" y="3546"/>
                  </a:lnTo>
                  <a:lnTo>
                    <a:pt x="19106" y="3549"/>
                  </a:lnTo>
                  <a:lnTo>
                    <a:pt x="19120" y="3551"/>
                  </a:lnTo>
                  <a:lnTo>
                    <a:pt x="19170" y="3556"/>
                  </a:lnTo>
                  <a:lnTo>
                    <a:pt x="19187" y="3558"/>
                  </a:lnTo>
                  <a:lnTo>
                    <a:pt x="19201" y="3562"/>
                  </a:lnTo>
                  <a:lnTo>
                    <a:pt x="19221" y="3576"/>
                  </a:lnTo>
                  <a:lnTo>
                    <a:pt x="19230" y="3584"/>
                  </a:lnTo>
                  <a:lnTo>
                    <a:pt x="19238" y="3592"/>
                  </a:lnTo>
                  <a:lnTo>
                    <a:pt x="19251" y="3608"/>
                  </a:lnTo>
                  <a:lnTo>
                    <a:pt x="19262" y="3622"/>
                  </a:lnTo>
                  <a:lnTo>
                    <a:pt x="19270" y="3627"/>
                  </a:lnTo>
                  <a:lnTo>
                    <a:pt x="19278" y="3631"/>
                  </a:lnTo>
                  <a:lnTo>
                    <a:pt x="19287" y="3634"/>
                  </a:lnTo>
                  <a:lnTo>
                    <a:pt x="19297" y="3634"/>
                  </a:lnTo>
                  <a:lnTo>
                    <a:pt x="19325" y="3625"/>
                  </a:lnTo>
                  <a:lnTo>
                    <a:pt x="19347" y="3616"/>
                  </a:lnTo>
                  <a:lnTo>
                    <a:pt x="19369" y="3608"/>
                  </a:lnTo>
                  <a:lnTo>
                    <a:pt x="19369" y="3506"/>
                  </a:lnTo>
                  <a:lnTo>
                    <a:pt x="19364" y="3502"/>
                  </a:lnTo>
                  <a:lnTo>
                    <a:pt x="19360" y="3498"/>
                  </a:lnTo>
                  <a:lnTo>
                    <a:pt x="19359" y="3487"/>
                  </a:lnTo>
                  <a:lnTo>
                    <a:pt x="19264" y="3358"/>
                  </a:lnTo>
                  <a:lnTo>
                    <a:pt x="19260" y="3349"/>
                  </a:lnTo>
                  <a:lnTo>
                    <a:pt x="19260" y="3341"/>
                  </a:lnTo>
                  <a:lnTo>
                    <a:pt x="19264" y="3335"/>
                  </a:lnTo>
                  <a:lnTo>
                    <a:pt x="19269" y="3329"/>
                  </a:lnTo>
                  <a:lnTo>
                    <a:pt x="19275" y="3326"/>
                  </a:lnTo>
                  <a:lnTo>
                    <a:pt x="19283" y="3326"/>
                  </a:lnTo>
                  <a:lnTo>
                    <a:pt x="19289" y="3328"/>
                  </a:lnTo>
                  <a:lnTo>
                    <a:pt x="19297" y="3333"/>
                  </a:lnTo>
                  <a:lnTo>
                    <a:pt x="19369" y="3433"/>
                  </a:lnTo>
                  <a:lnTo>
                    <a:pt x="19369" y="3320"/>
                  </a:lnTo>
                  <a:lnTo>
                    <a:pt x="19262" y="3176"/>
                  </a:lnTo>
                  <a:lnTo>
                    <a:pt x="19259" y="3167"/>
                  </a:lnTo>
                  <a:lnTo>
                    <a:pt x="19259" y="3159"/>
                  </a:lnTo>
                  <a:lnTo>
                    <a:pt x="19262" y="3153"/>
                  </a:lnTo>
                  <a:lnTo>
                    <a:pt x="19268" y="3148"/>
                  </a:lnTo>
                  <a:lnTo>
                    <a:pt x="19274" y="3144"/>
                  </a:lnTo>
                  <a:lnTo>
                    <a:pt x="19282" y="3144"/>
                  </a:lnTo>
                  <a:lnTo>
                    <a:pt x="19289" y="3147"/>
                  </a:lnTo>
                  <a:lnTo>
                    <a:pt x="19296" y="3152"/>
                  </a:lnTo>
                  <a:lnTo>
                    <a:pt x="19369" y="3253"/>
                  </a:lnTo>
                  <a:lnTo>
                    <a:pt x="19369" y="3227"/>
                  </a:lnTo>
                  <a:lnTo>
                    <a:pt x="19369" y="3221"/>
                  </a:lnTo>
                  <a:close/>
                  <a:moveTo>
                    <a:pt x="22962" y="2597"/>
                  </a:moveTo>
                  <a:lnTo>
                    <a:pt x="22954" y="2597"/>
                  </a:lnTo>
                  <a:lnTo>
                    <a:pt x="22962" y="2597"/>
                  </a:lnTo>
                  <a:close/>
                  <a:moveTo>
                    <a:pt x="20013" y="2597"/>
                  </a:moveTo>
                  <a:lnTo>
                    <a:pt x="20006" y="2597"/>
                  </a:lnTo>
                  <a:lnTo>
                    <a:pt x="20013" y="2597"/>
                  </a:lnTo>
                  <a:close/>
                  <a:moveTo>
                    <a:pt x="19409" y="3491"/>
                  </a:moveTo>
                  <a:lnTo>
                    <a:pt x="19409" y="3498"/>
                  </a:lnTo>
                  <a:lnTo>
                    <a:pt x="19409" y="3491"/>
                  </a:lnTo>
                  <a:close/>
                  <a:moveTo>
                    <a:pt x="19369" y="3227"/>
                  </a:moveTo>
                  <a:lnTo>
                    <a:pt x="19369" y="3221"/>
                  </a:lnTo>
                  <a:lnTo>
                    <a:pt x="19369" y="3227"/>
                  </a:lnTo>
                  <a:close/>
                  <a:moveTo>
                    <a:pt x="20708" y="1885"/>
                  </a:moveTo>
                  <a:lnTo>
                    <a:pt x="20672" y="1152"/>
                  </a:lnTo>
                  <a:lnTo>
                    <a:pt x="20636" y="420"/>
                  </a:lnTo>
                  <a:lnTo>
                    <a:pt x="20345" y="420"/>
                  </a:lnTo>
                  <a:lnTo>
                    <a:pt x="20306" y="1139"/>
                  </a:lnTo>
                  <a:lnTo>
                    <a:pt x="20269" y="1858"/>
                  </a:lnTo>
                  <a:lnTo>
                    <a:pt x="20268" y="1867"/>
                  </a:lnTo>
                  <a:lnTo>
                    <a:pt x="20263" y="1872"/>
                  </a:lnTo>
                  <a:lnTo>
                    <a:pt x="20256" y="1876"/>
                  </a:lnTo>
                  <a:lnTo>
                    <a:pt x="20248" y="1877"/>
                  </a:lnTo>
                  <a:lnTo>
                    <a:pt x="20241" y="1874"/>
                  </a:lnTo>
                  <a:lnTo>
                    <a:pt x="20234" y="1870"/>
                  </a:lnTo>
                  <a:lnTo>
                    <a:pt x="20231" y="1864"/>
                  </a:lnTo>
                  <a:lnTo>
                    <a:pt x="20229" y="1855"/>
                  </a:lnTo>
                  <a:lnTo>
                    <a:pt x="20268" y="1126"/>
                  </a:lnTo>
                  <a:lnTo>
                    <a:pt x="20306" y="399"/>
                  </a:lnTo>
                  <a:lnTo>
                    <a:pt x="20307" y="392"/>
                  </a:lnTo>
                  <a:lnTo>
                    <a:pt x="20313" y="386"/>
                  </a:lnTo>
                  <a:lnTo>
                    <a:pt x="20318" y="382"/>
                  </a:lnTo>
                  <a:lnTo>
                    <a:pt x="20325" y="381"/>
                  </a:lnTo>
                  <a:lnTo>
                    <a:pt x="20655" y="381"/>
                  </a:lnTo>
                  <a:lnTo>
                    <a:pt x="20661" y="382"/>
                  </a:lnTo>
                  <a:lnTo>
                    <a:pt x="20668" y="386"/>
                  </a:lnTo>
                  <a:lnTo>
                    <a:pt x="20673" y="392"/>
                  </a:lnTo>
                  <a:lnTo>
                    <a:pt x="20674" y="399"/>
                  </a:lnTo>
                  <a:lnTo>
                    <a:pt x="20710" y="1140"/>
                  </a:lnTo>
                  <a:lnTo>
                    <a:pt x="20747" y="1882"/>
                  </a:lnTo>
                  <a:lnTo>
                    <a:pt x="20746" y="1891"/>
                  </a:lnTo>
                  <a:lnTo>
                    <a:pt x="20742" y="1897"/>
                  </a:lnTo>
                  <a:lnTo>
                    <a:pt x="20736" y="1901"/>
                  </a:lnTo>
                  <a:lnTo>
                    <a:pt x="20728" y="1902"/>
                  </a:lnTo>
                  <a:lnTo>
                    <a:pt x="20715" y="1899"/>
                  </a:lnTo>
                  <a:lnTo>
                    <a:pt x="20710" y="1892"/>
                  </a:lnTo>
                  <a:lnTo>
                    <a:pt x="20708" y="1885"/>
                  </a:lnTo>
                  <a:close/>
                  <a:moveTo>
                    <a:pt x="2868" y="3476"/>
                  </a:moveTo>
                  <a:lnTo>
                    <a:pt x="2980" y="3323"/>
                  </a:lnTo>
                  <a:lnTo>
                    <a:pt x="2953" y="3268"/>
                  </a:lnTo>
                  <a:lnTo>
                    <a:pt x="2939" y="3245"/>
                  </a:lnTo>
                  <a:lnTo>
                    <a:pt x="2925" y="3225"/>
                  </a:lnTo>
                  <a:lnTo>
                    <a:pt x="2911" y="3207"/>
                  </a:lnTo>
                  <a:lnTo>
                    <a:pt x="2897" y="3193"/>
                  </a:lnTo>
                  <a:lnTo>
                    <a:pt x="2883" y="3181"/>
                  </a:lnTo>
                  <a:lnTo>
                    <a:pt x="2868" y="3175"/>
                  </a:lnTo>
                  <a:lnTo>
                    <a:pt x="2868" y="3476"/>
                  </a:lnTo>
                  <a:close/>
                  <a:moveTo>
                    <a:pt x="2998" y="3365"/>
                  </a:moveTo>
                  <a:lnTo>
                    <a:pt x="2868" y="3544"/>
                  </a:lnTo>
                  <a:lnTo>
                    <a:pt x="2868" y="3753"/>
                  </a:lnTo>
                  <a:lnTo>
                    <a:pt x="3045" y="3507"/>
                  </a:lnTo>
                  <a:lnTo>
                    <a:pt x="3027" y="3445"/>
                  </a:lnTo>
                  <a:lnTo>
                    <a:pt x="2998" y="3365"/>
                  </a:lnTo>
                  <a:close/>
                  <a:moveTo>
                    <a:pt x="2716" y="3324"/>
                  </a:moveTo>
                  <a:lnTo>
                    <a:pt x="2829" y="3479"/>
                  </a:lnTo>
                  <a:lnTo>
                    <a:pt x="2829" y="3173"/>
                  </a:lnTo>
                  <a:lnTo>
                    <a:pt x="2813" y="3181"/>
                  </a:lnTo>
                  <a:lnTo>
                    <a:pt x="2798" y="3193"/>
                  </a:lnTo>
                  <a:lnTo>
                    <a:pt x="2790" y="3199"/>
                  </a:lnTo>
                  <a:lnTo>
                    <a:pt x="2783" y="3207"/>
                  </a:lnTo>
                  <a:lnTo>
                    <a:pt x="2768" y="3225"/>
                  </a:lnTo>
                  <a:lnTo>
                    <a:pt x="2742" y="3269"/>
                  </a:lnTo>
                  <a:lnTo>
                    <a:pt x="2715" y="3323"/>
                  </a:lnTo>
                  <a:lnTo>
                    <a:pt x="2716" y="3324"/>
                  </a:lnTo>
                  <a:close/>
                  <a:moveTo>
                    <a:pt x="3060" y="3557"/>
                  </a:moveTo>
                  <a:lnTo>
                    <a:pt x="2868" y="3820"/>
                  </a:lnTo>
                  <a:lnTo>
                    <a:pt x="2868" y="4028"/>
                  </a:lnTo>
                  <a:lnTo>
                    <a:pt x="3089" y="3725"/>
                  </a:lnTo>
                  <a:lnTo>
                    <a:pt x="3094" y="3718"/>
                  </a:lnTo>
                  <a:lnTo>
                    <a:pt x="3080" y="3640"/>
                  </a:lnTo>
                  <a:lnTo>
                    <a:pt x="3060" y="3557"/>
                  </a:lnTo>
                  <a:close/>
                  <a:moveTo>
                    <a:pt x="2654" y="3515"/>
                  </a:moveTo>
                  <a:lnTo>
                    <a:pt x="2829" y="3754"/>
                  </a:lnTo>
                  <a:lnTo>
                    <a:pt x="2829" y="3547"/>
                  </a:lnTo>
                  <a:lnTo>
                    <a:pt x="2698" y="3367"/>
                  </a:lnTo>
                  <a:lnTo>
                    <a:pt x="2672" y="3437"/>
                  </a:lnTo>
                  <a:lnTo>
                    <a:pt x="2650" y="3511"/>
                  </a:lnTo>
                  <a:lnTo>
                    <a:pt x="2654" y="3515"/>
                  </a:lnTo>
                  <a:close/>
                  <a:moveTo>
                    <a:pt x="3103" y="3773"/>
                  </a:moveTo>
                  <a:lnTo>
                    <a:pt x="2868" y="4095"/>
                  </a:lnTo>
                  <a:lnTo>
                    <a:pt x="2868" y="4102"/>
                  </a:lnTo>
                  <a:lnTo>
                    <a:pt x="2893" y="4098"/>
                  </a:lnTo>
                  <a:lnTo>
                    <a:pt x="2917" y="4093"/>
                  </a:lnTo>
                  <a:lnTo>
                    <a:pt x="2940" y="4085"/>
                  </a:lnTo>
                  <a:lnTo>
                    <a:pt x="2962" y="4076"/>
                  </a:lnTo>
                  <a:lnTo>
                    <a:pt x="2983" y="4065"/>
                  </a:lnTo>
                  <a:lnTo>
                    <a:pt x="3003" y="4051"/>
                  </a:lnTo>
                  <a:lnTo>
                    <a:pt x="3021" y="4037"/>
                  </a:lnTo>
                  <a:lnTo>
                    <a:pt x="3038" y="4020"/>
                  </a:lnTo>
                  <a:lnTo>
                    <a:pt x="3067" y="3982"/>
                  </a:lnTo>
                  <a:lnTo>
                    <a:pt x="3079" y="3961"/>
                  </a:lnTo>
                  <a:lnTo>
                    <a:pt x="3089" y="3939"/>
                  </a:lnTo>
                  <a:lnTo>
                    <a:pt x="3097" y="3916"/>
                  </a:lnTo>
                  <a:lnTo>
                    <a:pt x="3103" y="3893"/>
                  </a:lnTo>
                  <a:lnTo>
                    <a:pt x="3107" y="3868"/>
                  </a:lnTo>
                  <a:lnTo>
                    <a:pt x="3108" y="3843"/>
                  </a:lnTo>
                  <a:lnTo>
                    <a:pt x="3107" y="3811"/>
                  </a:lnTo>
                  <a:lnTo>
                    <a:pt x="3103" y="3773"/>
                  </a:lnTo>
                  <a:close/>
                  <a:moveTo>
                    <a:pt x="2603" y="3719"/>
                  </a:moveTo>
                  <a:lnTo>
                    <a:pt x="2829" y="4012"/>
                  </a:lnTo>
                  <a:lnTo>
                    <a:pt x="2829" y="3822"/>
                  </a:lnTo>
                  <a:lnTo>
                    <a:pt x="2638" y="3560"/>
                  </a:lnTo>
                  <a:lnTo>
                    <a:pt x="2618" y="3644"/>
                  </a:lnTo>
                  <a:lnTo>
                    <a:pt x="2603" y="3719"/>
                  </a:lnTo>
                  <a:close/>
                  <a:moveTo>
                    <a:pt x="2784" y="1296"/>
                  </a:moveTo>
                  <a:lnTo>
                    <a:pt x="2784" y="1465"/>
                  </a:lnTo>
                  <a:lnTo>
                    <a:pt x="2781" y="1474"/>
                  </a:lnTo>
                  <a:lnTo>
                    <a:pt x="2777" y="1480"/>
                  </a:lnTo>
                  <a:lnTo>
                    <a:pt x="2771" y="1484"/>
                  </a:lnTo>
                  <a:lnTo>
                    <a:pt x="2763" y="1486"/>
                  </a:lnTo>
                  <a:lnTo>
                    <a:pt x="2756" y="1484"/>
                  </a:lnTo>
                  <a:lnTo>
                    <a:pt x="2749" y="1480"/>
                  </a:lnTo>
                  <a:lnTo>
                    <a:pt x="2745" y="1474"/>
                  </a:lnTo>
                  <a:lnTo>
                    <a:pt x="2743" y="1465"/>
                  </a:lnTo>
                  <a:lnTo>
                    <a:pt x="2743" y="1296"/>
                  </a:lnTo>
                  <a:lnTo>
                    <a:pt x="2650" y="1296"/>
                  </a:lnTo>
                  <a:lnTo>
                    <a:pt x="2650" y="1465"/>
                  </a:lnTo>
                  <a:lnTo>
                    <a:pt x="2649" y="1474"/>
                  </a:lnTo>
                  <a:lnTo>
                    <a:pt x="2644" y="1480"/>
                  </a:lnTo>
                  <a:lnTo>
                    <a:pt x="2638" y="1484"/>
                  </a:lnTo>
                  <a:lnTo>
                    <a:pt x="2631" y="1486"/>
                  </a:lnTo>
                  <a:lnTo>
                    <a:pt x="2624" y="1484"/>
                  </a:lnTo>
                  <a:lnTo>
                    <a:pt x="2617" y="1480"/>
                  </a:lnTo>
                  <a:lnTo>
                    <a:pt x="2612" y="1474"/>
                  </a:lnTo>
                  <a:lnTo>
                    <a:pt x="2611" y="1465"/>
                  </a:lnTo>
                  <a:lnTo>
                    <a:pt x="2611" y="1296"/>
                  </a:lnTo>
                  <a:lnTo>
                    <a:pt x="2518" y="1296"/>
                  </a:lnTo>
                  <a:lnTo>
                    <a:pt x="2518" y="1465"/>
                  </a:lnTo>
                  <a:lnTo>
                    <a:pt x="2516" y="1474"/>
                  </a:lnTo>
                  <a:lnTo>
                    <a:pt x="2512" y="1480"/>
                  </a:lnTo>
                  <a:lnTo>
                    <a:pt x="2506" y="1484"/>
                  </a:lnTo>
                  <a:lnTo>
                    <a:pt x="2498" y="1486"/>
                  </a:lnTo>
                  <a:lnTo>
                    <a:pt x="2490" y="1484"/>
                  </a:lnTo>
                  <a:lnTo>
                    <a:pt x="2484" y="1480"/>
                  </a:lnTo>
                  <a:lnTo>
                    <a:pt x="2480" y="1474"/>
                  </a:lnTo>
                  <a:lnTo>
                    <a:pt x="2477" y="1465"/>
                  </a:lnTo>
                  <a:lnTo>
                    <a:pt x="2477" y="1296"/>
                  </a:lnTo>
                  <a:lnTo>
                    <a:pt x="2385" y="1296"/>
                  </a:lnTo>
                  <a:lnTo>
                    <a:pt x="2385" y="1465"/>
                  </a:lnTo>
                  <a:lnTo>
                    <a:pt x="2384" y="1474"/>
                  </a:lnTo>
                  <a:lnTo>
                    <a:pt x="2379" y="1480"/>
                  </a:lnTo>
                  <a:lnTo>
                    <a:pt x="2372" y="1484"/>
                  </a:lnTo>
                  <a:lnTo>
                    <a:pt x="2366" y="1486"/>
                  </a:lnTo>
                  <a:lnTo>
                    <a:pt x="2358" y="1484"/>
                  </a:lnTo>
                  <a:lnTo>
                    <a:pt x="2352" y="1480"/>
                  </a:lnTo>
                  <a:lnTo>
                    <a:pt x="2347" y="1474"/>
                  </a:lnTo>
                  <a:lnTo>
                    <a:pt x="2345" y="1465"/>
                  </a:lnTo>
                  <a:lnTo>
                    <a:pt x="2345" y="1296"/>
                  </a:lnTo>
                  <a:lnTo>
                    <a:pt x="2282" y="1296"/>
                  </a:lnTo>
                  <a:lnTo>
                    <a:pt x="2282" y="1634"/>
                  </a:lnTo>
                  <a:lnTo>
                    <a:pt x="2852" y="1634"/>
                  </a:lnTo>
                  <a:lnTo>
                    <a:pt x="2852" y="1296"/>
                  </a:lnTo>
                  <a:lnTo>
                    <a:pt x="2784" y="1296"/>
                  </a:lnTo>
                  <a:close/>
                  <a:moveTo>
                    <a:pt x="332" y="4356"/>
                  </a:moveTo>
                  <a:lnTo>
                    <a:pt x="322" y="4359"/>
                  </a:lnTo>
                  <a:lnTo>
                    <a:pt x="313" y="4356"/>
                  </a:lnTo>
                  <a:lnTo>
                    <a:pt x="0" y="4356"/>
                  </a:lnTo>
                  <a:lnTo>
                    <a:pt x="0" y="4317"/>
                  </a:lnTo>
                  <a:lnTo>
                    <a:pt x="64" y="4317"/>
                  </a:lnTo>
                  <a:lnTo>
                    <a:pt x="64" y="3833"/>
                  </a:lnTo>
                  <a:lnTo>
                    <a:pt x="0" y="3833"/>
                  </a:lnTo>
                  <a:lnTo>
                    <a:pt x="0" y="3792"/>
                  </a:lnTo>
                  <a:lnTo>
                    <a:pt x="197" y="3792"/>
                  </a:lnTo>
                  <a:lnTo>
                    <a:pt x="206" y="3795"/>
                  </a:lnTo>
                  <a:lnTo>
                    <a:pt x="213" y="3799"/>
                  </a:lnTo>
                  <a:lnTo>
                    <a:pt x="217" y="3805"/>
                  </a:lnTo>
                  <a:lnTo>
                    <a:pt x="218" y="3813"/>
                  </a:lnTo>
                  <a:lnTo>
                    <a:pt x="217" y="3820"/>
                  </a:lnTo>
                  <a:lnTo>
                    <a:pt x="213" y="3827"/>
                  </a:lnTo>
                  <a:lnTo>
                    <a:pt x="206" y="3831"/>
                  </a:lnTo>
                  <a:lnTo>
                    <a:pt x="197" y="3833"/>
                  </a:lnTo>
                  <a:lnTo>
                    <a:pt x="104" y="3833"/>
                  </a:lnTo>
                  <a:lnTo>
                    <a:pt x="104" y="4317"/>
                  </a:lnTo>
                  <a:lnTo>
                    <a:pt x="303" y="4317"/>
                  </a:lnTo>
                  <a:lnTo>
                    <a:pt x="303" y="3544"/>
                  </a:lnTo>
                  <a:lnTo>
                    <a:pt x="303" y="2772"/>
                  </a:lnTo>
                  <a:lnTo>
                    <a:pt x="304" y="2764"/>
                  </a:lnTo>
                  <a:lnTo>
                    <a:pt x="308" y="2758"/>
                  </a:lnTo>
                  <a:lnTo>
                    <a:pt x="314" y="2753"/>
                  </a:lnTo>
                  <a:lnTo>
                    <a:pt x="322" y="2751"/>
                  </a:lnTo>
                  <a:lnTo>
                    <a:pt x="440" y="2751"/>
                  </a:lnTo>
                  <a:lnTo>
                    <a:pt x="440" y="2579"/>
                  </a:lnTo>
                  <a:lnTo>
                    <a:pt x="441" y="2571"/>
                  </a:lnTo>
                  <a:lnTo>
                    <a:pt x="446" y="2565"/>
                  </a:lnTo>
                  <a:lnTo>
                    <a:pt x="453" y="2560"/>
                  </a:lnTo>
                  <a:lnTo>
                    <a:pt x="460" y="2558"/>
                  </a:lnTo>
                  <a:lnTo>
                    <a:pt x="541" y="2558"/>
                  </a:lnTo>
                  <a:lnTo>
                    <a:pt x="1007" y="2558"/>
                  </a:lnTo>
                  <a:lnTo>
                    <a:pt x="1997" y="2558"/>
                  </a:lnTo>
                  <a:lnTo>
                    <a:pt x="2004" y="2560"/>
                  </a:lnTo>
                  <a:lnTo>
                    <a:pt x="2011" y="2565"/>
                  </a:lnTo>
                  <a:lnTo>
                    <a:pt x="2014" y="2571"/>
                  </a:lnTo>
                  <a:lnTo>
                    <a:pt x="2017" y="2579"/>
                  </a:lnTo>
                  <a:lnTo>
                    <a:pt x="2017" y="2751"/>
                  </a:lnTo>
                  <a:lnTo>
                    <a:pt x="2098" y="2751"/>
                  </a:lnTo>
                  <a:lnTo>
                    <a:pt x="2098" y="2203"/>
                  </a:lnTo>
                  <a:lnTo>
                    <a:pt x="2098" y="1654"/>
                  </a:lnTo>
                  <a:lnTo>
                    <a:pt x="2099" y="1647"/>
                  </a:lnTo>
                  <a:lnTo>
                    <a:pt x="2103" y="1640"/>
                  </a:lnTo>
                  <a:lnTo>
                    <a:pt x="2109" y="1635"/>
                  </a:lnTo>
                  <a:lnTo>
                    <a:pt x="2117" y="1634"/>
                  </a:lnTo>
                  <a:lnTo>
                    <a:pt x="2243" y="1634"/>
                  </a:lnTo>
                  <a:lnTo>
                    <a:pt x="2243" y="1276"/>
                  </a:lnTo>
                  <a:lnTo>
                    <a:pt x="2244" y="1268"/>
                  </a:lnTo>
                  <a:lnTo>
                    <a:pt x="2249" y="1262"/>
                  </a:lnTo>
                  <a:lnTo>
                    <a:pt x="2254" y="1258"/>
                  </a:lnTo>
                  <a:lnTo>
                    <a:pt x="2262" y="1257"/>
                  </a:lnTo>
                  <a:lnTo>
                    <a:pt x="2872" y="1257"/>
                  </a:lnTo>
                  <a:lnTo>
                    <a:pt x="2880" y="1258"/>
                  </a:lnTo>
                  <a:lnTo>
                    <a:pt x="2886" y="1262"/>
                  </a:lnTo>
                  <a:lnTo>
                    <a:pt x="2890" y="1268"/>
                  </a:lnTo>
                  <a:lnTo>
                    <a:pt x="2893" y="1276"/>
                  </a:lnTo>
                  <a:lnTo>
                    <a:pt x="2893" y="1634"/>
                  </a:lnTo>
                  <a:lnTo>
                    <a:pt x="3017" y="1634"/>
                  </a:lnTo>
                  <a:lnTo>
                    <a:pt x="3025" y="1635"/>
                  </a:lnTo>
                  <a:lnTo>
                    <a:pt x="3031" y="1640"/>
                  </a:lnTo>
                  <a:lnTo>
                    <a:pt x="3035" y="1647"/>
                  </a:lnTo>
                  <a:lnTo>
                    <a:pt x="3038" y="1654"/>
                  </a:lnTo>
                  <a:lnTo>
                    <a:pt x="3038" y="2434"/>
                  </a:lnTo>
                  <a:lnTo>
                    <a:pt x="3038" y="3214"/>
                  </a:lnTo>
                  <a:lnTo>
                    <a:pt x="3035" y="3223"/>
                  </a:lnTo>
                  <a:lnTo>
                    <a:pt x="3031" y="3230"/>
                  </a:lnTo>
                  <a:lnTo>
                    <a:pt x="3025" y="3234"/>
                  </a:lnTo>
                  <a:lnTo>
                    <a:pt x="3017" y="3235"/>
                  </a:lnTo>
                  <a:lnTo>
                    <a:pt x="3010" y="3234"/>
                  </a:lnTo>
                  <a:lnTo>
                    <a:pt x="3003" y="3230"/>
                  </a:lnTo>
                  <a:lnTo>
                    <a:pt x="2999" y="3223"/>
                  </a:lnTo>
                  <a:lnTo>
                    <a:pt x="2998" y="3214"/>
                  </a:lnTo>
                  <a:lnTo>
                    <a:pt x="2998" y="2443"/>
                  </a:lnTo>
                  <a:lnTo>
                    <a:pt x="2998" y="1674"/>
                  </a:lnTo>
                  <a:lnTo>
                    <a:pt x="2138" y="1674"/>
                  </a:lnTo>
                  <a:lnTo>
                    <a:pt x="2138" y="2333"/>
                  </a:lnTo>
                  <a:lnTo>
                    <a:pt x="2138" y="2994"/>
                  </a:lnTo>
                  <a:lnTo>
                    <a:pt x="2138" y="3655"/>
                  </a:lnTo>
                  <a:lnTo>
                    <a:pt x="2138" y="4317"/>
                  </a:lnTo>
                  <a:lnTo>
                    <a:pt x="2829" y="4317"/>
                  </a:lnTo>
                  <a:lnTo>
                    <a:pt x="2829" y="4141"/>
                  </a:lnTo>
                  <a:lnTo>
                    <a:pt x="2799" y="4138"/>
                  </a:lnTo>
                  <a:lnTo>
                    <a:pt x="2771" y="4132"/>
                  </a:lnTo>
                  <a:lnTo>
                    <a:pt x="2744" y="4123"/>
                  </a:lnTo>
                  <a:lnTo>
                    <a:pt x="2731" y="4118"/>
                  </a:lnTo>
                  <a:lnTo>
                    <a:pt x="2718" y="4113"/>
                  </a:lnTo>
                  <a:lnTo>
                    <a:pt x="2694" y="4099"/>
                  </a:lnTo>
                  <a:lnTo>
                    <a:pt x="2671" y="4084"/>
                  </a:lnTo>
                  <a:lnTo>
                    <a:pt x="2649" y="4067"/>
                  </a:lnTo>
                  <a:lnTo>
                    <a:pt x="2630" y="4048"/>
                  </a:lnTo>
                  <a:lnTo>
                    <a:pt x="2612" y="4026"/>
                  </a:lnTo>
                  <a:lnTo>
                    <a:pt x="2595" y="4005"/>
                  </a:lnTo>
                  <a:lnTo>
                    <a:pt x="2581" y="3980"/>
                  </a:lnTo>
                  <a:lnTo>
                    <a:pt x="2570" y="3955"/>
                  </a:lnTo>
                  <a:lnTo>
                    <a:pt x="2561" y="3929"/>
                  </a:lnTo>
                  <a:lnTo>
                    <a:pt x="2554" y="3901"/>
                  </a:lnTo>
                  <a:lnTo>
                    <a:pt x="2549" y="3873"/>
                  </a:lnTo>
                  <a:lnTo>
                    <a:pt x="2548" y="3843"/>
                  </a:lnTo>
                  <a:lnTo>
                    <a:pt x="2549" y="3813"/>
                  </a:lnTo>
                  <a:lnTo>
                    <a:pt x="2554" y="3773"/>
                  </a:lnTo>
                  <a:lnTo>
                    <a:pt x="2570" y="3675"/>
                  </a:lnTo>
                  <a:lnTo>
                    <a:pt x="2581" y="3617"/>
                  </a:lnTo>
                  <a:lnTo>
                    <a:pt x="2595" y="3558"/>
                  </a:lnTo>
                  <a:lnTo>
                    <a:pt x="2630" y="3436"/>
                  </a:lnTo>
                  <a:lnTo>
                    <a:pt x="2650" y="3377"/>
                  </a:lnTo>
                  <a:lnTo>
                    <a:pt x="2674" y="3320"/>
                  </a:lnTo>
                  <a:lnTo>
                    <a:pt x="2698" y="3268"/>
                  </a:lnTo>
                  <a:lnTo>
                    <a:pt x="2725" y="3222"/>
                  </a:lnTo>
                  <a:lnTo>
                    <a:pt x="2753" y="3185"/>
                  </a:lnTo>
                  <a:lnTo>
                    <a:pt x="2783" y="3156"/>
                  </a:lnTo>
                  <a:lnTo>
                    <a:pt x="2799" y="3144"/>
                  </a:lnTo>
                  <a:lnTo>
                    <a:pt x="2815" y="3136"/>
                  </a:lnTo>
                  <a:lnTo>
                    <a:pt x="2831" y="3133"/>
                  </a:lnTo>
                  <a:lnTo>
                    <a:pt x="2848" y="3130"/>
                  </a:lnTo>
                  <a:lnTo>
                    <a:pt x="2866" y="3133"/>
                  </a:lnTo>
                  <a:lnTo>
                    <a:pt x="2883" y="3138"/>
                  </a:lnTo>
                  <a:lnTo>
                    <a:pt x="2899" y="3145"/>
                  </a:lnTo>
                  <a:lnTo>
                    <a:pt x="2915" y="3157"/>
                  </a:lnTo>
                  <a:lnTo>
                    <a:pt x="2945" y="3187"/>
                  </a:lnTo>
                  <a:lnTo>
                    <a:pt x="2953" y="3196"/>
                  </a:lnTo>
                  <a:lnTo>
                    <a:pt x="2960" y="3205"/>
                  </a:lnTo>
                  <a:lnTo>
                    <a:pt x="2974" y="3226"/>
                  </a:lnTo>
                  <a:lnTo>
                    <a:pt x="3001" y="3272"/>
                  </a:lnTo>
                  <a:lnTo>
                    <a:pt x="3024" y="3323"/>
                  </a:lnTo>
                  <a:lnTo>
                    <a:pt x="3045" y="3377"/>
                  </a:lnTo>
                  <a:lnTo>
                    <a:pt x="3065" y="3433"/>
                  </a:lnTo>
                  <a:lnTo>
                    <a:pt x="3083" y="3492"/>
                  </a:lnTo>
                  <a:lnTo>
                    <a:pt x="3099" y="3551"/>
                  </a:lnTo>
                  <a:lnTo>
                    <a:pt x="3113" y="3609"/>
                  </a:lnTo>
                  <a:lnTo>
                    <a:pt x="3125" y="3666"/>
                  </a:lnTo>
                  <a:lnTo>
                    <a:pt x="3135" y="3719"/>
                  </a:lnTo>
                  <a:lnTo>
                    <a:pt x="3142" y="3767"/>
                  </a:lnTo>
                  <a:lnTo>
                    <a:pt x="3147" y="3809"/>
                  </a:lnTo>
                  <a:lnTo>
                    <a:pt x="3148" y="3843"/>
                  </a:lnTo>
                  <a:lnTo>
                    <a:pt x="3147" y="3873"/>
                  </a:lnTo>
                  <a:lnTo>
                    <a:pt x="3143" y="3901"/>
                  </a:lnTo>
                  <a:lnTo>
                    <a:pt x="3135" y="3929"/>
                  </a:lnTo>
                  <a:lnTo>
                    <a:pt x="3126" y="3955"/>
                  </a:lnTo>
                  <a:lnTo>
                    <a:pt x="3115" y="3980"/>
                  </a:lnTo>
                  <a:lnTo>
                    <a:pt x="3101" y="4005"/>
                  </a:lnTo>
                  <a:lnTo>
                    <a:pt x="3067" y="4048"/>
                  </a:lnTo>
                  <a:lnTo>
                    <a:pt x="3025" y="4084"/>
                  </a:lnTo>
                  <a:lnTo>
                    <a:pt x="3002" y="4099"/>
                  </a:lnTo>
                  <a:lnTo>
                    <a:pt x="2977" y="4113"/>
                  </a:lnTo>
                  <a:lnTo>
                    <a:pt x="2952" y="4123"/>
                  </a:lnTo>
                  <a:lnTo>
                    <a:pt x="2925" y="4132"/>
                  </a:lnTo>
                  <a:lnTo>
                    <a:pt x="2897" y="4138"/>
                  </a:lnTo>
                  <a:lnTo>
                    <a:pt x="2868" y="4141"/>
                  </a:lnTo>
                  <a:lnTo>
                    <a:pt x="2868" y="4317"/>
                  </a:lnTo>
                  <a:lnTo>
                    <a:pt x="2998" y="4317"/>
                  </a:lnTo>
                  <a:lnTo>
                    <a:pt x="2998" y="4193"/>
                  </a:lnTo>
                  <a:lnTo>
                    <a:pt x="2999" y="4184"/>
                  </a:lnTo>
                  <a:lnTo>
                    <a:pt x="3003" y="4177"/>
                  </a:lnTo>
                  <a:lnTo>
                    <a:pt x="3010" y="4173"/>
                  </a:lnTo>
                  <a:lnTo>
                    <a:pt x="3017" y="4172"/>
                  </a:lnTo>
                  <a:lnTo>
                    <a:pt x="3025" y="4173"/>
                  </a:lnTo>
                  <a:lnTo>
                    <a:pt x="3031" y="4177"/>
                  </a:lnTo>
                  <a:lnTo>
                    <a:pt x="3035" y="4184"/>
                  </a:lnTo>
                  <a:lnTo>
                    <a:pt x="3038" y="4193"/>
                  </a:lnTo>
                  <a:lnTo>
                    <a:pt x="3038" y="4332"/>
                  </a:lnTo>
                  <a:lnTo>
                    <a:pt x="3036" y="4340"/>
                  </a:lnTo>
                  <a:lnTo>
                    <a:pt x="3031" y="4346"/>
                  </a:lnTo>
                  <a:lnTo>
                    <a:pt x="3025" y="4354"/>
                  </a:lnTo>
                  <a:lnTo>
                    <a:pt x="3013" y="4356"/>
                  </a:lnTo>
                  <a:lnTo>
                    <a:pt x="2343" y="4356"/>
                  </a:lnTo>
                  <a:lnTo>
                    <a:pt x="1672" y="4356"/>
                  </a:lnTo>
                  <a:lnTo>
                    <a:pt x="1001" y="4356"/>
                  </a:lnTo>
                  <a:lnTo>
                    <a:pt x="332" y="4356"/>
                  </a:lnTo>
                  <a:close/>
                  <a:moveTo>
                    <a:pt x="1458" y="2791"/>
                  </a:moveTo>
                  <a:lnTo>
                    <a:pt x="900" y="2791"/>
                  </a:lnTo>
                  <a:lnTo>
                    <a:pt x="342" y="2791"/>
                  </a:lnTo>
                  <a:lnTo>
                    <a:pt x="342" y="3553"/>
                  </a:lnTo>
                  <a:lnTo>
                    <a:pt x="342" y="4317"/>
                  </a:lnTo>
                  <a:lnTo>
                    <a:pt x="1218" y="4317"/>
                  </a:lnTo>
                  <a:lnTo>
                    <a:pt x="2095" y="4317"/>
                  </a:lnTo>
                  <a:lnTo>
                    <a:pt x="2095" y="3553"/>
                  </a:lnTo>
                  <a:lnTo>
                    <a:pt x="2095" y="2791"/>
                  </a:lnTo>
                  <a:lnTo>
                    <a:pt x="1723" y="2791"/>
                  </a:lnTo>
                  <a:lnTo>
                    <a:pt x="1714" y="2790"/>
                  </a:lnTo>
                  <a:lnTo>
                    <a:pt x="1708" y="2786"/>
                  </a:lnTo>
                  <a:lnTo>
                    <a:pt x="1704" y="2780"/>
                  </a:lnTo>
                  <a:lnTo>
                    <a:pt x="1703" y="2772"/>
                  </a:lnTo>
                  <a:lnTo>
                    <a:pt x="1704" y="2764"/>
                  </a:lnTo>
                  <a:lnTo>
                    <a:pt x="1708" y="2758"/>
                  </a:lnTo>
                  <a:lnTo>
                    <a:pt x="1714" y="2754"/>
                  </a:lnTo>
                  <a:lnTo>
                    <a:pt x="1723" y="2751"/>
                  </a:lnTo>
                  <a:lnTo>
                    <a:pt x="1976" y="2751"/>
                  </a:lnTo>
                  <a:lnTo>
                    <a:pt x="1976" y="2598"/>
                  </a:lnTo>
                  <a:lnTo>
                    <a:pt x="1025" y="2598"/>
                  </a:lnTo>
                  <a:lnTo>
                    <a:pt x="1018" y="2602"/>
                  </a:lnTo>
                  <a:lnTo>
                    <a:pt x="1010" y="2603"/>
                  </a:lnTo>
                  <a:lnTo>
                    <a:pt x="544" y="2603"/>
                  </a:lnTo>
                  <a:lnTo>
                    <a:pt x="536" y="2602"/>
                  </a:lnTo>
                  <a:lnTo>
                    <a:pt x="531" y="2598"/>
                  </a:lnTo>
                  <a:lnTo>
                    <a:pt x="480" y="2598"/>
                  </a:lnTo>
                  <a:lnTo>
                    <a:pt x="480" y="2751"/>
                  </a:lnTo>
                  <a:lnTo>
                    <a:pt x="1458" y="2751"/>
                  </a:lnTo>
                  <a:lnTo>
                    <a:pt x="1467" y="2754"/>
                  </a:lnTo>
                  <a:lnTo>
                    <a:pt x="1473" y="2758"/>
                  </a:lnTo>
                  <a:lnTo>
                    <a:pt x="1477" y="2764"/>
                  </a:lnTo>
                  <a:lnTo>
                    <a:pt x="1478" y="2772"/>
                  </a:lnTo>
                  <a:lnTo>
                    <a:pt x="1477" y="2780"/>
                  </a:lnTo>
                  <a:lnTo>
                    <a:pt x="1473" y="2786"/>
                  </a:lnTo>
                  <a:lnTo>
                    <a:pt x="1467" y="2790"/>
                  </a:lnTo>
                  <a:lnTo>
                    <a:pt x="1458" y="2791"/>
                  </a:lnTo>
                  <a:close/>
                  <a:moveTo>
                    <a:pt x="2829" y="4085"/>
                  </a:moveTo>
                  <a:lnTo>
                    <a:pt x="2829" y="4077"/>
                  </a:lnTo>
                  <a:lnTo>
                    <a:pt x="2594" y="3774"/>
                  </a:lnTo>
                  <a:lnTo>
                    <a:pt x="2590" y="3814"/>
                  </a:lnTo>
                  <a:lnTo>
                    <a:pt x="2588" y="3843"/>
                  </a:lnTo>
                  <a:lnTo>
                    <a:pt x="2589" y="3868"/>
                  </a:lnTo>
                  <a:lnTo>
                    <a:pt x="2593" y="3893"/>
                  </a:lnTo>
                  <a:lnTo>
                    <a:pt x="2599" y="3916"/>
                  </a:lnTo>
                  <a:lnTo>
                    <a:pt x="2607" y="3939"/>
                  </a:lnTo>
                  <a:lnTo>
                    <a:pt x="2617" y="3961"/>
                  </a:lnTo>
                  <a:lnTo>
                    <a:pt x="2629" y="3982"/>
                  </a:lnTo>
                  <a:lnTo>
                    <a:pt x="2643" y="4002"/>
                  </a:lnTo>
                  <a:lnTo>
                    <a:pt x="2658" y="4020"/>
                  </a:lnTo>
                  <a:lnTo>
                    <a:pt x="2675" y="4037"/>
                  </a:lnTo>
                  <a:lnTo>
                    <a:pt x="2693" y="4051"/>
                  </a:lnTo>
                  <a:lnTo>
                    <a:pt x="2713" y="4065"/>
                  </a:lnTo>
                  <a:lnTo>
                    <a:pt x="2734" y="4076"/>
                  </a:lnTo>
                  <a:lnTo>
                    <a:pt x="2756" y="4085"/>
                  </a:lnTo>
                  <a:lnTo>
                    <a:pt x="2779" y="4093"/>
                  </a:lnTo>
                  <a:lnTo>
                    <a:pt x="2803" y="4098"/>
                  </a:lnTo>
                  <a:lnTo>
                    <a:pt x="2829" y="4102"/>
                  </a:lnTo>
                  <a:lnTo>
                    <a:pt x="2829" y="4093"/>
                  </a:lnTo>
                  <a:lnTo>
                    <a:pt x="2829" y="4085"/>
                  </a:lnTo>
                  <a:close/>
                  <a:moveTo>
                    <a:pt x="1903" y="3824"/>
                  </a:moveTo>
                  <a:lnTo>
                    <a:pt x="1903" y="3937"/>
                  </a:lnTo>
                  <a:lnTo>
                    <a:pt x="1902" y="3946"/>
                  </a:lnTo>
                  <a:lnTo>
                    <a:pt x="1896" y="3952"/>
                  </a:lnTo>
                  <a:lnTo>
                    <a:pt x="1890" y="3956"/>
                  </a:lnTo>
                  <a:lnTo>
                    <a:pt x="1882" y="3957"/>
                  </a:lnTo>
                  <a:lnTo>
                    <a:pt x="1876" y="3956"/>
                  </a:lnTo>
                  <a:lnTo>
                    <a:pt x="1870" y="3952"/>
                  </a:lnTo>
                  <a:lnTo>
                    <a:pt x="1864" y="3946"/>
                  </a:lnTo>
                  <a:lnTo>
                    <a:pt x="1863" y="3937"/>
                  </a:lnTo>
                  <a:lnTo>
                    <a:pt x="1863" y="3824"/>
                  </a:lnTo>
                  <a:lnTo>
                    <a:pt x="1864" y="3817"/>
                  </a:lnTo>
                  <a:lnTo>
                    <a:pt x="1870" y="3810"/>
                  </a:lnTo>
                  <a:lnTo>
                    <a:pt x="1876" y="3806"/>
                  </a:lnTo>
                  <a:lnTo>
                    <a:pt x="1882" y="3805"/>
                  </a:lnTo>
                  <a:lnTo>
                    <a:pt x="1890" y="3806"/>
                  </a:lnTo>
                  <a:lnTo>
                    <a:pt x="1896" y="3810"/>
                  </a:lnTo>
                  <a:lnTo>
                    <a:pt x="1902" y="3817"/>
                  </a:lnTo>
                  <a:lnTo>
                    <a:pt x="1903" y="3824"/>
                  </a:lnTo>
                  <a:close/>
                  <a:moveTo>
                    <a:pt x="587" y="3118"/>
                  </a:moveTo>
                  <a:lnTo>
                    <a:pt x="587" y="3231"/>
                  </a:lnTo>
                  <a:lnTo>
                    <a:pt x="586" y="3240"/>
                  </a:lnTo>
                  <a:lnTo>
                    <a:pt x="581" y="3246"/>
                  </a:lnTo>
                  <a:lnTo>
                    <a:pt x="574" y="3250"/>
                  </a:lnTo>
                  <a:lnTo>
                    <a:pt x="567" y="3251"/>
                  </a:lnTo>
                  <a:lnTo>
                    <a:pt x="560" y="3250"/>
                  </a:lnTo>
                  <a:lnTo>
                    <a:pt x="554" y="3246"/>
                  </a:lnTo>
                  <a:lnTo>
                    <a:pt x="549" y="3240"/>
                  </a:lnTo>
                  <a:lnTo>
                    <a:pt x="548" y="3231"/>
                  </a:lnTo>
                  <a:lnTo>
                    <a:pt x="548" y="3118"/>
                  </a:lnTo>
                  <a:lnTo>
                    <a:pt x="549" y="3111"/>
                  </a:lnTo>
                  <a:lnTo>
                    <a:pt x="554" y="3104"/>
                  </a:lnTo>
                  <a:lnTo>
                    <a:pt x="560" y="3101"/>
                  </a:lnTo>
                  <a:lnTo>
                    <a:pt x="567" y="3099"/>
                  </a:lnTo>
                  <a:lnTo>
                    <a:pt x="574" y="3101"/>
                  </a:lnTo>
                  <a:lnTo>
                    <a:pt x="581" y="3104"/>
                  </a:lnTo>
                  <a:lnTo>
                    <a:pt x="586" y="3111"/>
                  </a:lnTo>
                  <a:lnTo>
                    <a:pt x="587" y="3118"/>
                  </a:lnTo>
                  <a:close/>
                  <a:moveTo>
                    <a:pt x="850" y="3118"/>
                  </a:moveTo>
                  <a:lnTo>
                    <a:pt x="850" y="3231"/>
                  </a:lnTo>
                  <a:lnTo>
                    <a:pt x="849" y="3240"/>
                  </a:lnTo>
                  <a:lnTo>
                    <a:pt x="844" y="3246"/>
                  </a:lnTo>
                  <a:lnTo>
                    <a:pt x="837" y="3250"/>
                  </a:lnTo>
                  <a:lnTo>
                    <a:pt x="831" y="3251"/>
                  </a:lnTo>
                  <a:lnTo>
                    <a:pt x="823" y="3250"/>
                  </a:lnTo>
                  <a:lnTo>
                    <a:pt x="817" y="3246"/>
                  </a:lnTo>
                  <a:lnTo>
                    <a:pt x="812" y="3240"/>
                  </a:lnTo>
                  <a:lnTo>
                    <a:pt x="810" y="3231"/>
                  </a:lnTo>
                  <a:lnTo>
                    <a:pt x="810" y="3118"/>
                  </a:lnTo>
                  <a:lnTo>
                    <a:pt x="812" y="3111"/>
                  </a:lnTo>
                  <a:lnTo>
                    <a:pt x="817" y="3104"/>
                  </a:lnTo>
                  <a:lnTo>
                    <a:pt x="823" y="3101"/>
                  </a:lnTo>
                  <a:lnTo>
                    <a:pt x="831" y="3099"/>
                  </a:lnTo>
                  <a:lnTo>
                    <a:pt x="837" y="3101"/>
                  </a:lnTo>
                  <a:lnTo>
                    <a:pt x="844" y="3104"/>
                  </a:lnTo>
                  <a:lnTo>
                    <a:pt x="849" y="3111"/>
                  </a:lnTo>
                  <a:lnTo>
                    <a:pt x="850" y="3118"/>
                  </a:lnTo>
                  <a:close/>
                  <a:moveTo>
                    <a:pt x="1113" y="3118"/>
                  </a:moveTo>
                  <a:lnTo>
                    <a:pt x="1113" y="3231"/>
                  </a:lnTo>
                  <a:lnTo>
                    <a:pt x="1112" y="3240"/>
                  </a:lnTo>
                  <a:lnTo>
                    <a:pt x="1107" y="3246"/>
                  </a:lnTo>
                  <a:lnTo>
                    <a:pt x="1100" y="3250"/>
                  </a:lnTo>
                  <a:lnTo>
                    <a:pt x="1094" y="3251"/>
                  </a:lnTo>
                  <a:lnTo>
                    <a:pt x="1086" y="3250"/>
                  </a:lnTo>
                  <a:lnTo>
                    <a:pt x="1080" y="3246"/>
                  </a:lnTo>
                  <a:lnTo>
                    <a:pt x="1076" y="3240"/>
                  </a:lnTo>
                  <a:lnTo>
                    <a:pt x="1073" y="3231"/>
                  </a:lnTo>
                  <a:lnTo>
                    <a:pt x="1073" y="3118"/>
                  </a:lnTo>
                  <a:lnTo>
                    <a:pt x="1076" y="3111"/>
                  </a:lnTo>
                  <a:lnTo>
                    <a:pt x="1080" y="3104"/>
                  </a:lnTo>
                  <a:lnTo>
                    <a:pt x="1086" y="3101"/>
                  </a:lnTo>
                  <a:lnTo>
                    <a:pt x="1094" y="3099"/>
                  </a:lnTo>
                  <a:lnTo>
                    <a:pt x="1100" y="3101"/>
                  </a:lnTo>
                  <a:lnTo>
                    <a:pt x="1107" y="3104"/>
                  </a:lnTo>
                  <a:lnTo>
                    <a:pt x="1112" y="3111"/>
                  </a:lnTo>
                  <a:lnTo>
                    <a:pt x="1113" y="3118"/>
                  </a:lnTo>
                  <a:close/>
                  <a:moveTo>
                    <a:pt x="1377" y="3118"/>
                  </a:moveTo>
                  <a:lnTo>
                    <a:pt x="1377" y="3231"/>
                  </a:lnTo>
                  <a:lnTo>
                    <a:pt x="1375" y="3240"/>
                  </a:lnTo>
                  <a:lnTo>
                    <a:pt x="1371" y="3246"/>
                  </a:lnTo>
                  <a:lnTo>
                    <a:pt x="1364" y="3250"/>
                  </a:lnTo>
                  <a:lnTo>
                    <a:pt x="1357" y="3251"/>
                  </a:lnTo>
                  <a:lnTo>
                    <a:pt x="1349" y="3250"/>
                  </a:lnTo>
                  <a:lnTo>
                    <a:pt x="1343" y="3246"/>
                  </a:lnTo>
                  <a:lnTo>
                    <a:pt x="1339" y="3240"/>
                  </a:lnTo>
                  <a:lnTo>
                    <a:pt x="1336" y="3231"/>
                  </a:lnTo>
                  <a:lnTo>
                    <a:pt x="1336" y="3118"/>
                  </a:lnTo>
                  <a:lnTo>
                    <a:pt x="1339" y="3111"/>
                  </a:lnTo>
                  <a:lnTo>
                    <a:pt x="1343" y="3104"/>
                  </a:lnTo>
                  <a:lnTo>
                    <a:pt x="1349" y="3101"/>
                  </a:lnTo>
                  <a:lnTo>
                    <a:pt x="1357" y="3099"/>
                  </a:lnTo>
                  <a:lnTo>
                    <a:pt x="1364" y="3101"/>
                  </a:lnTo>
                  <a:lnTo>
                    <a:pt x="1371" y="3104"/>
                  </a:lnTo>
                  <a:lnTo>
                    <a:pt x="1375" y="3111"/>
                  </a:lnTo>
                  <a:lnTo>
                    <a:pt x="1377" y="3118"/>
                  </a:lnTo>
                  <a:close/>
                  <a:moveTo>
                    <a:pt x="1640" y="3118"/>
                  </a:moveTo>
                  <a:lnTo>
                    <a:pt x="1640" y="3231"/>
                  </a:lnTo>
                  <a:lnTo>
                    <a:pt x="1637" y="3240"/>
                  </a:lnTo>
                  <a:lnTo>
                    <a:pt x="1634" y="3246"/>
                  </a:lnTo>
                  <a:lnTo>
                    <a:pt x="1627" y="3250"/>
                  </a:lnTo>
                  <a:lnTo>
                    <a:pt x="1620" y="3251"/>
                  </a:lnTo>
                  <a:lnTo>
                    <a:pt x="1612" y="3250"/>
                  </a:lnTo>
                  <a:lnTo>
                    <a:pt x="1605" y="3246"/>
                  </a:lnTo>
                  <a:lnTo>
                    <a:pt x="1602" y="3240"/>
                  </a:lnTo>
                  <a:lnTo>
                    <a:pt x="1600" y="3231"/>
                  </a:lnTo>
                  <a:lnTo>
                    <a:pt x="1600" y="3118"/>
                  </a:lnTo>
                  <a:lnTo>
                    <a:pt x="1602" y="3111"/>
                  </a:lnTo>
                  <a:lnTo>
                    <a:pt x="1605" y="3104"/>
                  </a:lnTo>
                  <a:lnTo>
                    <a:pt x="1612" y="3101"/>
                  </a:lnTo>
                  <a:lnTo>
                    <a:pt x="1620" y="3099"/>
                  </a:lnTo>
                  <a:lnTo>
                    <a:pt x="1627" y="3101"/>
                  </a:lnTo>
                  <a:lnTo>
                    <a:pt x="1634" y="3104"/>
                  </a:lnTo>
                  <a:lnTo>
                    <a:pt x="1637" y="3111"/>
                  </a:lnTo>
                  <a:lnTo>
                    <a:pt x="1640" y="3118"/>
                  </a:lnTo>
                  <a:close/>
                  <a:moveTo>
                    <a:pt x="1903" y="3118"/>
                  </a:moveTo>
                  <a:lnTo>
                    <a:pt x="1903" y="3231"/>
                  </a:lnTo>
                  <a:lnTo>
                    <a:pt x="1902" y="3240"/>
                  </a:lnTo>
                  <a:lnTo>
                    <a:pt x="1896" y="3246"/>
                  </a:lnTo>
                  <a:lnTo>
                    <a:pt x="1890" y="3250"/>
                  </a:lnTo>
                  <a:lnTo>
                    <a:pt x="1882" y="3251"/>
                  </a:lnTo>
                  <a:lnTo>
                    <a:pt x="1876" y="3250"/>
                  </a:lnTo>
                  <a:lnTo>
                    <a:pt x="1870" y="3246"/>
                  </a:lnTo>
                  <a:lnTo>
                    <a:pt x="1864" y="3240"/>
                  </a:lnTo>
                  <a:lnTo>
                    <a:pt x="1863" y="3231"/>
                  </a:lnTo>
                  <a:lnTo>
                    <a:pt x="1863" y="3118"/>
                  </a:lnTo>
                  <a:lnTo>
                    <a:pt x="1864" y="3111"/>
                  </a:lnTo>
                  <a:lnTo>
                    <a:pt x="1870" y="3104"/>
                  </a:lnTo>
                  <a:lnTo>
                    <a:pt x="1876" y="3101"/>
                  </a:lnTo>
                  <a:lnTo>
                    <a:pt x="1882" y="3099"/>
                  </a:lnTo>
                  <a:lnTo>
                    <a:pt x="1890" y="3101"/>
                  </a:lnTo>
                  <a:lnTo>
                    <a:pt x="1896" y="3104"/>
                  </a:lnTo>
                  <a:lnTo>
                    <a:pt x="1902" y="3111"/>
                  </a:lnTo>
                  <a:lnTo>
                    <a:pt x="1903" y="3118"/>
                  </a:lnTo>
                  <a:close/>
                  <a:moveTo>
                    <a:pt x="587" y="3354"/>
                  </a:moveTo>
                  <a:lnTo>
                    <a:pt x="587" y="3466"/>
                  </a:lnTo>
                  <a:lnTo>
                    <a:pt x="586" y="3475"/>
                  </a:lnTo>
                  <a:lnTo>
                    <a:pt x="581" y="3482"/>
                  </a:lnTo>
                  <a:lnTo>
                    <a:pt x="574" y="3485"/>
                  </a:lnTo>
                  <a:lnTo>
                    <a:pt x="567" y="3487"/>
                  </a:lnTo>
                  <a:lnTo>
                    <a:pt x="560" y="3485"/>
                  </a:lnTo>
                  <a:lnTo>
                    <a:pt x="554" y="3482"/>
                  </a:lnTo>
                  <a:lnTo>
                    <a:pt x="549" y="3475"/>
                  </a:lnTo>
                  <a:lnTo>
                    <a:pt x="548" y="3466"/>
                  </a:lnTo>
                  <a:lnTo>
                    <a:pt x="548" y="3354"/>
                  </a:lnTo>
                  <a:lnTo>
                    <a:pt x="549" y="3346"/>
                  </a:lnTo>
                  <a:lnTo>
                    <a:pt x="554" y="3340"/>
                  </a:lnTo>
                  <a:lnTo>
                    <a:pt x="560" y="3336"/>
                  </a:lnTo>
                  <a:lnTo>
                    <a:pt x="567" y="3335"/>
                  </a:lnTo>
                  <a:lnTo>
                    <a:pt x="574" y="3336"/>
                  </a:lnTo>
                  <a:lnTo>
                    <a:pt x="581" y="3340"/>
                  </a:lnTo>
                  <a:lnTo>
                    <a:pt x="586" y="3346"/>
                  </a:lnTo>
                  <a:lnTo>
                    <a:pt x="587" y="3354"/>
                  </a:lnTo>
                  <a:close/>
                  <a:moveTo>
                    <a:pt x="850" y="3354"/>
                  </a:moveTo>
                  <a:lnTo>
                    <a:pt x="850" y="3466"/>
                  </a:lnTo>
                  <a:lnTo>
                    <a:pt x="849" y="3475"/>
                  </a:lnTo>
                  <a:lnTo>
                    <a:pt x="844" y="3482"/>
                  </a:lnTo>
                  <a:lnTo>
                    <a:pt x="837" y="3485"/>
                  </a:lnTo>
                  <a:lnTo>
                    <a:pt x="831" y="3487"/>
                  </a:lnTo>
                  <a:lnTo>
                    <a:pt x="823" y="3485"/>
                  </a:lnTo>
                  <a:lnTo>
                    <a:pt x="817" y="3482"/>
                  </a:lnTo>
                  <a:lnTo>
                    <a:pt x="812" y="3475"/>
                  </a:lnTo>
                  <a:lnTo>
                    <a:pt x="810" y="3466"/>
                  </a:lnTo>
                  <a:lnTo>
                    <a:pt x="810" y="3354"/>
                  </a:lnTo>
                  <a:lnTo>
                    <a:pt x="812" y="3346"/>
                  </a:lnTo>
                  <a:lnTo>
                    <a:pt x="817" y="3340"/>
                  </a:lnTo>
                  <a:lnTo>
                    <a:pt x="823" y="3336"/>
                  </a:lnTo>
                  <a:lnTo>
                    <a:pt x="831" y="3335"/>
                  </a:lnTo>
                  <a:lnTo>
                    <a:pt x="837" y="3336"/>
                  </a:lnTo>
                  <a:lnTo>
                    <a:pt x="844" y="3340"/>
                  </a:lnTo>
                  <a:lnTo>
                    <a:pt x="849" y="3346"/>
                  </a:lnTo>
                  <a:lnTo>
                    <a:pt x="850" y="3354"/>
                  </a:lnTo>
                  <a:close/>
                  <a:moveTo>
                    <a:pt x="1113" y="3354"/>
                  </a:moveTo>
                  <a:lnTo>
                    <a:pt x="1113" y="3466"/>
                  </a:lnTo>
                  <a:lnTo>
                    <a:pt x="1112" y="3475"/>
                  </a:lnTo>
                  <a:lnTo>
                    <a:pt x="1107" y="3482"/>
                  </a:lnTo>
                  <a:lnTo>
                    <a:pt x="1100" y="3485"/>
                  </a:lnTo>
                  <a:lnTo>
                    <a:pt x="1094" y="3487"/>
                  </a:lnTo>
                  <a:lnTo>
                    <a:pt x="1086" y="3485"/>
                  </a:lnTo>
                  <a:lnTo>
                    <a:pt x="1080" y="3482"/>
                  </a:lnTo>
                  <a:lnTo>
                    <a:pt x="1076" y="3475"/>
                  </a:lnTo>
                  <a:lnTo>
                    <a:pt x="1073" y="3466"/>
                  </a:lnTo>
                  <a:lnTo>
                    <a:pt x="1073" y="3354"/>
                  </a:lnTo>
                  <a:lnTo>
                    <a:pt x="1076" y="3346"/>
                  </a:lnTo>
                  <a:lnTo>
                    <a:pt x="1080" y="3340"/>
                  </a:lnTo>
                  <a:lnTo>
                    <a:pt x="1086" y="3336"/>
                  </a:lnTo>
                  <a:lnTo>
                    <a:pt x="1094" y="3335"/>
                  </a:lnTo>
                  <a:lnTo>
                    <a:pt x="1100" y="3336"/>
                  </a:lnTo>
                  <a:lnTo>
                    <a:pt x="1107" y="3340"/>
                  </a:lnTo>
                  <a:lnTo>
                    <a:pt x="1112" y="3346"/>
                  </a:lnTo>
                  <a:lnTo>
                    <a:pt x="1113" y="3354"/>
                  </a:lnTo>
                  <a:close/>
                  <a:moveTo>
                    <a:pt x="1377" y="3354"/>
                  </a:moveTo>
                  <a:lnTo>
                    <a:pt x="1377" y="3466"/>
                  </a:lnTo>
                  <a:lnTo>
                    <a:pt x="1375" y="3475"/>
                  </a:lnTo>
                  <a:lnTo>
                    <a:pt x="1371" y="3482"/>
                  </a:lnTo>
                  <a:lnTo>
                    <a:pt x="1364" y="3485"/>
                  </a:lnTo>
                  <a:lnTo>
                    <a:pt x="1357" y="3487"/>
                  </a:lnTo>
                  <a:lnTo>
                    <a:pt x="1349" y="3485"/>
                  </a:lnTo>
                  <a:lnTo>
                    <a:pt x="1343" y="3482"/>
                  </a:lnTo>
                  <a:lnTo>
                    <a:pt x="1339" y="3475"/>
                  </a:lnTo>
                  <a:lnTo>
                    <a:pt x="1336" y="3466"/>
                  </a:lnTo>
                  <a:lnTo>
                    <a:pt x="1336" y="3354"/>
                  </a:lnTo>
                  <a:lnTo>
                    <a:pt x="1339" y="3346"/>
                  </a:lnTo>
                  <a:lnTo>
                    <a:pt x="1343" y="3340"/>
                  </a:lnTo>
                  <a:lnTo>
                    <a:pt x="1349" y="3336"/>
                  </a:lnTo>
                  <a:lnTo>
                    <a:pt x="1357" y="3335"/>
                  </a:lnTo>
                  <a:lnTo>
                    <a:pt x="1364" y="3336"/>
                  </a:lnTo>
                  <a:lnTo>
                    <a:pt x="1371" y="3340"/>
                  </a:lnTo>
                  <a:lnTo>
                    <a:pt x="1375" y="3346"/>
                  </a:lnTo>
                  <a:lnTo>
                    <a:pt x="1377" y="3354"/>
                  </a:lnTo>
                  <a:close/>
                  <a:moveTo>
                    <a:pt x="1640" y="3354"/>
                  </a:moveTo>
                  <a:lnTo>
                    <a:pt x="1640" y="3466"/>
                  </a:lnTo>
                  <a:lnTo>
                    <a:pt x="1637" y="3475"/>
                  </a:lnTo>
                  <a:lnTo>
                    <a:pt x="1634" y="3482"/>
                  </a:lnTo>
                  <a:lnTo>
                    <a:pt x="1627" y="3485"/>
                  </a:lnTo>
                  <a:lnTo>
                    <a:pt x="1620" y="3487"/>
                  </a:lnTo>
                  <a:lnTo>
                    <a:pt x="1612" y="3485"/>
                  </a:lnTo>
                  <a:lnTo>
                    <a:pt x="1605" y="3482"/>
                  </a:lnTo>
                  <a:lnTo>
                    <a:pt x="1602" y="3475"/>
                  </a:lnTo>
                  <a:lnTo>
                    <a:pt x="1600" y="3466"/>
                  </a:lnTo>
                  <a:lnTo>
                    <a:pt x="1600" y="3354"/>
                  </a:lnTo>
                  <a:lnTo>
                    <a:pt x="1602" y="3346"/>
                  </a:lnTo>
                  <a:lnTo>
                    <a:pt x="1605" y="3340"/>
                  </a:lnTo>
                  <a:lnTo>
                    <a:pt x="1612" y="3336"/>
                  </a:lnTo>
                  <a:lnTo>
                    <a:pt x="1620" y="3335"/>
                  </a:lnTo>
                  <a:lnTo>
                    <a:pt x="1627" y="3336"/>
                  </a:lnTo>
                  <a:lnTo>
                    <a:pt x="1634" y="3340"/>
                  </a:lnTo>
                  <a:lnTo>
                    <a:pt x="1637" y="3346"/>
                  </a:lnTo>
                  <a:lnTo>
                    <a:pt x="1640" y="3354"/>
                  </a:lnTo>
                  <a:close/>
                  <a:moveTo>
                    <a:pt x="1903" y="3354"/>
                  </a:moveTo>
                  <a:lnTo>
                    <a:pt x="1903" y="3466"/>
                  </a:lnTo>
                  <a:lnTo>
                    <a:pt x="1902" y="3475"/>
                  </a:lnTo>
                  <a:lnTo>
                    <a:pt x="1896" y="3482"/>
                  </a:lnTo>
                  <a:lnTo>
                    <a:pt x="1890" y="3485"/>
                  </a:lnTo>
                  <a:lnTo>
                    <a:pt x="1882" y="3487"/>
                  </a:lnTo>
                  <a:lnTo>
                    <a:pt x="1876" y="3485"/>
                  </a:lnTo>
                  <a:lnTo>
                    <a:pt x="1870" y="3482"/>
                  </a:lnTo>
                  <a:lnTo>
                    <a:pt x="1864" y="3475"/>
                  </a:lnTo>
                  <a:lnTo>
                    <a:pt x="1863" y="3466"/>
                  </a:lnTo>
                  <a:lnTo>
                    <a:pt x="1863" y="3354"/>
                  </a:lnTo>
                  <a:lnTo>
                    <a:pt x="1864" y="3346"/>
                  </a:lnTo>
                  <a:lnTo>
                    <a:pt x="1870" y="3340"/>
                  </a:lnTo>
                  <a:lnTo>
                    <a:pt x="1876" y="3336"/>
                  </a:lnTo>
                  <a:lnTo>
                    <a:pt x="1882" y="3335"/>
                  </a:lnTo>
                  <a:lnTo>
                    <a:pt x="1890" y="3336"/>
                  </a:lnTo>
                  <a:lnTo>
                    <a:pt x="1896" y="3340"/>
                  </a:lnTo>
                  <a:lnTo>
                    <a:pt x="1902" y="3346"/>
                  </a:lnTo>
                  <a:lnTo>
                    <a:pt x="1903" y="3354"/>
                  </a:lnTo>
                  <a:close/>
                  <a:moveTo>
                    <a:pt x="587" y="3589"/>
                  </a:moveTo>
                  <a:lnTo>
                    <a:pt x="587" y="3702"/>
                  </a:lnTo>
                  <a:lnTo>
                    <a:pt x="586" y="3710"/>
                  </a:lnTo>
                  <a:lnTo>
                    <a:pt x="581" y="3717"/>
                  </a:lnTo>
                  <a:lnTo>
                    <a:pt x="574" y="3721"/>
                  </a:lnTo>
                  <a:lnTo>
                    <a:pt x="567" y="3722"/>
                  </a:lnTo>
                  <a:lnTo>
                    <a:pt x="560" y="3721"/>
                  </a:lnTo>
                  <a:lnTo>
                    <a:pt x="554" y="3717"/>
                  </a:lnTo>
                  <a:lnTo>
                    <a:pt x="549" y="3710"/>
                  </a:lnTo>
                  <a:lnTo>
                    <a:pt x="548" y="3702"/>
                  </a:lnTo>
                  <a:lnTo>
                    <a:pt x="548" y="3589"/>
                  </a:lnTo>
                  <a:lnTo>
                    <a:pt x="549" y="3581"/>
                  </a:lnTo>
                  <a:lnTo>
                    <a:pt x="554" y="3575"/>
                  </a:lnTo>
                  <a:lnTo>
                    <a:pt x="560" y="3571"/>
                  </a:lnTo>
                  <a:lnTo>
                    <a:pt x="567" y="3570"/>
                  </a:lnTo>
                  <a:lnTo>
                    <a:pt x="574" y="3571"/>
                  </a:lnTo>
                  <a:lnTo>
                    <a:pt x="581" y="3575"/>
                  </a:lnTo>
                  <a:lnTo>
                    <a:pt x="586" y="3581"/>
                  </a:lnTo>
                  <a:lnTo>
                    <a:pt x="587" y="3589"/>
                  </a:lnTo>
                  <a:close/>
                  <a:moveTo>
                    <a:pt x="850" y="3589"/>
                  </a:moveTo>
                  <a:lnTo>
                    <a:pt x="850" y="3702"/>
                  </a:lnTo>
                  <a:lnTo>
                    <a:pt x="849" y="3710"/>
                  </a:lnTo>
                  <a:lnTo>
                    <a:pt x="844" y="3717"/>
                  </a:lnTo>
                  <a:lnTo>
                    <a:pt x="837" y="3721"/>
                  </a:lnTo>
                  <a:lnTo>
                    <a:pt x="831" y="3722"/>
                  </a:lnTo>
                  <a:lnTo>
                    <a:pt x="823" y="3721"/>
                  </a:lnTo>
                  <a:lnTo>
                    <a:pt x="817" y="3717"/>
                  </a:lnTo>
                  <a:lnTo>
                    <a:pt x="812" y="3710"/>
                  </a:lnTo>
                  <a:lnTo>
                    <a:pt x="810" y="3702"/>
                  </a:lnTo>
                  <a:lnTo>
                    <a:pt x="810" y="3589"/>
                  </a:lnTo>
                  <a:lnTo>
                    <a:pt x="812" y="3581"/>
                  </a:lnTo>
                  <a:lnTo>
                    <a:pt x="817" y="3575"/>
                  </a:lnTo>
                  <a:lnTo>
                    <a:pt x="823" y="3571"/>
                  </a:lnTo>
                  <a:lnTo>
                    <a:pt x="831" y="3570"/>
                  </a:lnTo>
                  <a:lnTo>
                    <a:pt x="837" y="3571"/>
                  </a:lnTo>
                  <a:lnTo>
                    <a:pt x="844" y="3575"/>
                  </a:lnTo>
                  <a:lnTo>
                    <a:pt x="849" y="3581"/>
                  </a:lnTo>
                  <a:lnTo>
                    <a:pt x="850" y="3589"/>
                  </a:lnTo>
                  <a:close/>
                  <a:moveTo>
                    <a:pt x="1113" y="3589"/>
                  </a:moveTo>
                  <a:lnTo>
                    <a:pt x="1113" y="3702"/>
                  </a:lnTo>
                  <a:lnTo>
                    <a:pt x="1112" y="3710"/>
                  </a:lnTo>
                  <a:lnTo>
                    <a:pt x="1107" y="3717"/>
                  </a:lnTo>
                  <a:lnTo>
                    <a:pt x="1100" y="3721"/>
                  </a:lnTo>
                  <a:lnTo>
                    <a:pt x="1094" y="3722"/>
                  </a:lnTo>
                  <a:lnTo>
                    <a:pt x="1086" y="3721"/>
                  </a:lnTo>
                  <a:lnTo>
                    <a:pt x="1080" y="3717"/>
                  </a:lnTo>
                  <a:lnTo>
                    <a:pt x="1076" y="3710"/>
                  </a:lnTo>
                  <a:lnTo>
                    <a:pt x="1073" y="3702"/>
                  </a:lnTo>
                  <a:lnTo>
                    <a:pt x="1073" y="3589"/>
                  </a:lnTo>
                  <a:lnTo>
                    <a:pt x="1076" y="3581"/>
                  </a:lnTo>
                  <a:lnTo>
                    <a:pt x="1080" y="3575"/>
                  </a:lnTo>
                  <a:lnTo>
                    <a:pt x="1086" y="3571"/>
                  </a:lnTo>
                  <a:lnTo>
                    <a:pt x="1094" y="3570"/>
                  </a:lnTo>
                  <a:lnTo>
                    <a:pt x="1100" y="3571"/>
                  </a:lnTo>
                  <a:lnTo>
                    <a:pt x="1107" y="3575"/>
                  </a:lnTo>
                  <a:lnTo>
                    <a:pt x="1112" y="3581"/>
                  </a:lnTo>
                  <a:lnTo>
                    <a:pt x="1113" y="3589"/>
                  </a:lnTo>
                  <a:close/>
                  <a:moveTo>
                    <a:pt x="1377" y="3589"/>
                  </a:moveTo>
                  <a:lnTo>
                    <a:pt x="1377" y="3702"/>
                  </a:lnTo>
                  <a:lnTo>
                    <a:pt x="1375" y="3710"/>
                  </a:lnTo>
                  <a:lnTo>
                    <a:pt x="1371" y="3717"/>
                  </a:lnTo>
                  <a:lnTo>
                    <a:pt x="1364" y="3721"/>
                  </a:lnTo>
                  <a:lnTo>
                    <a:pt x="1357" y="3722"/>
                  </a:lnTo>
                  <a:lnTo>
                    <a:pt x="1349" y="3721"/>
                  </a:lnTo>
                  <a:lnTo>
                    <a:pt x="1343" y="3717"/>
                  </a:lnTo>
                  <a:lnTo>
                    <a:pt x="1339" y="3710"/>
                  </a:lnTo>
                  <a:lnTo>
                    <a:pt x="1336" y="3702"/>
                  </a:lnTo>
                  <a:lnTo>
                    <a:pt x="1336" y="3589"/>
                  </a:lnTo>
                  <a:lnTo>
                    <a:pt x="1339" y="3581"/>
                  </a:lnTo>
                  <a:lnTo>
                    <a:pt x="1343" y="3575"/>
                  </a:lnTo>
                  <a:lnTo>
                    <a:pt x="1349" y="3571"/>
                  </a:lnTo>
                  <a:lnTo>
                    <a:pt x="1357" y="3570"/>
                  </a:lnTo>
                  <a:lnTo>
                    <a:pt x="1364" y="3571"/>
                  </a:lnTo>
                  <a:lnTo>
                    <a:pt x="1371" y="3575"/>
                  </a:lnTo>
                  <a:lnTo>
                    <a:pt x="1375" y="3581"/>
                  </a:lnTo>
                  <a:lnTo>
                    <a:pt x="1377" y="3589"/>
                  </a:lnTo>
                  <a:close/>
                  <a:moveTo>
                    <a:pt x="1640" y="3589"/>
                  </a:moveTo>
                  <a:lnTo>
                    <a:pt x="1640" y="3702"/>
                  </a:lnTo>
                  <a:lnTo>
                    <a:pt x="1637" y="3710"/>
                  </a:lnTo>
                  <a:lnTo>
                    <a:pt x="1634" y="3717"/>
                  </a:lnTo>
                  <a:lnTo>
                    <a:pt x="1627" y="3721"/>
                  </a:lnTo>
                  <a:lnTo>
                    <a:pt x="1620" y="3722"/>
                  </a:lnTo>
                  <a:lnTo>
                    <a:pt x="1612" y="3721"/>
                  </a:lnTo>
                  <a:lnTo>
                    <a:pt x="1605" y="3717"/>
                  </a:lnTo>
                  <a:lnTo>
                    <a:pt x="1602" y="3710"/>
                  </a:lnTo>
                  <a:lnTo>
                    <a:pt x="1600" y="3702"/>
                  </a:lnTo>
                  <a:lnTo>
                    <a:pt x="1600" y="3589"/>
                  </a:lnTo>
                  <a:lnTo>
                    <a:pt x="1602" y="3581"/>
                  </a:lnTo>
                  <a:lnTo>
                    <a:pt x="1605" y="3575"/>
                  </a:lnTo>
                  <a:lnTo>
                    <a:pt x="1612" y="3571"/>
                  </a:lnTo>
                  <a:lnTo>
                    <a:pt x="1620" y="3570"/>
                  </a:lnTo>
                  <a:lnTo>
                    <a:pt x="1627" y="3571"/>
                  </a:lnTo>
                  <a:lnTo>
                    <a:pt x="1634" y="3575"/>
                  </a:lnTo>
                  <a:lnTo>
                    <a:pt x="1637" y="3581"/>
                  </a:lnTo>
                  <a:lnTo>
                    <a:pt x="1640" y="3589"/>
                  </a:lnTo>
                  <a:close/>
                  <a:moveTo>
                    <a:pt x="1903" y="3589"/>
                  </a:moveTo>
                  <a:lnTo>
                    <a:pt x="1903" y="3702"/>
                  </a:lnTo>
                  <a:lnTo>
                    <a:pt x="1902" y="3710"/>
                  </a:lnTo>
                  <a:lnTo>
                    <a:pt x="1896" y="3717"/>
                  </a:lnTo>
                  <a:lnTo>
                    <a:pt x="1890" y="3721"/>
                  </a:lnTo>
                  <a:lnTo>
                    <a:pt x="1882" y="3722"/>
                  </a:lnTo>
                  <a:lnTo>
                    <a:pt x="1876" y="3721"/>
                  </a:lnTo>
                  <a:lnTo>
                    <a:pt x="1870" y="3717"/>
                  </a:lnTo>
                  <a:lnTo>
                    <a:pt x="1864" y="3710"/>
                  </a:lnTo>
                  <a:lnTo>
                    <a:pt x="1863" y="3702"/>
                  </a:lnTo>
                  <a:lnTo>
                    <a:pt x="1863" y="3589"/>
                  </a:lnTo>
                  <a:lnTo>
                    <a:pt x="1864" y="3581"/>
                  </a:lnTo>
                  <a:lnTo>
                    <a:pt x="1870" y="3575"/>
                  </a:lnTo>
                  <a:lnTo>
                    <a:pt x="1876" y="3571"/>
                  </a:lnTo>
                  <a:lnTo>
                    <a:pt x="1882" y="3570"/>
                  </a:lnTo>
                  <a:lnTo>
                    <a:pt x="1890" y="3571"/>
                  </a:lnTo>
                  <a:lnTo>
                    <a:pt x="1896" y="3575"/>
                  </a:lnTo>
                  <a:lnTo>
                    <a:pt x="1902" y="3581"/>
                  </a:lnTo>
                  <a:lnTo>
                    <a:pt x="1903" y="3589"/>
                  </a:lnTo>
                  <a:close/>
                  <a:moveTo>
                    <a:pt x="587" y="3824"/>
                  </a:moveTo>
                  <a:lnTo>
                    <a:pt x="587" y="3937"/>
                  </a:lnTo>
                  <a:lnTo>
                    <a:pt x="586" y="3946"/>
                  </a:lnTo>
                  <a:lnTo>
                    <a:pt x="581" y="3952"/>
                  </a:lnTo>
                  <a:lnTo>
                    <a:pt x="574" y="3956"/>
                  </a:lnTo>
                  <a:lnTo>
                    <a:pt x="567" y="3957"/>
                  </a:lnTo>
                  <a:lnTo>
                    <a:pt x="560" y="3956"/>
                  </a:lnTo>
                  <a:lnTo>
                    <a:pt x="554" y="3952"/>
                  </a:lnTo>
                  <a:lnTo>
                    <a:pt x="549" y="3946"/>
                  </a:lnTo>
                  <a:lnTo>
                    <a:pt x="548" y="3937"/>
                  </a:lnTo>
                  <a:lnTo>
                    <a:pt x="548" y="3824"/>
                  </a:lnTo>
                  <a:lnTo>
                    <a:pt x="549" y="3817"/>
                  </a:lnTo>
                  <a:lnTo>
                    <a:pt x="554" y="3810"/>
                  </a:lnTo>
                  <a:lnTo>
                    <a:pt x="560" y="3806"/>
                  </a:lnTo>
                  <a:lnTo>
                    <a:pt x="567" y="3805"/>
                  </a:lnTo>
                  <a:lnTo>
                    <a:pt x="574" y="3806"/>
                  </a:lnTo>
                  <a:lnTo>
                    <a:pt x="581" y="3810"/>
                  </a:lnTo>
                  <a:lnTo>
                    <a:pt x="586" y="3817"/>
                  </a:lnTo>
                  <a:lnTo>
                    <a:pt x="587" y="3824"/>
                  </a:lnTo>
                  <a:close/>
                  <a:moveTo>
                    <a:pt x="850" y="3824"/>
                  </a:moveTo>
                  <a:lnTo>
                    <a:pt x="850" y="3937"/>
                  </a:lnTo>
                  <a:lnTo>
                    <a:pt x="849" y="3946"/>
                  </a:lnTo>
                  <a:lnTo>
                    <a:pt x="844" y="3952"/>
                  </a:lnTo>
                  <a:lnTo>
                    <a:pt x="837" y="3956"/>
                  </a:lnTo>
                  <a:lnTo>
                    <a:pt x="831" y="3957"/>
                  </a:lnTo>
                  <a:lnTo>
                    <a:pt x="823" y="3956"/>
                  </a:lnTo>
                  <a:lnTo>
                    <a:pt x="817" y="3952"/>
                  </a:lnTo>
                  <a:lnTo>
                    <a:pt x="812" y="3946"/>
                  </a:lnTo>
                  <a:lnTo>
                    <a:pt x="810" y="3937"/>
                  </a:lnTo>
                  <a:lnTo>
                    <a:pt x="810" y="3824"/>
                  </a:lnTo>
                  <a:lnTo>
                    <a:pt x="812" y="3817"/>
                  </a:lnTo>
                  <a:lnTo>
                    <a:pt x="817" y="3810"/>
                  </a:lnTo>
                  <a:lnTo>
                    <a:pt x="823" y="3806"/>
                  </a:lnTo>
                  <a:lnTo>
                    <a:pt x="831" y="3805"/>
                  </a:lnTo>
                  <a:lnTo>
                    <a:pt x="837" y="3806"/>
                  </a:lnTo>
                  <a:lnTo>
                    <a:pt x="844" y="3810"/>
                  </a:lnTo>
                  <a:lnTo>
                    <a:pt x="849" y="3817"/>
                  </a:lnTo>
                  <a:lnTo>
                    <a:pt x="850" y="3824"/>
                  </a:lnTo>
                  <a:close/>
                  <a:moveTo>
                    <a:pt x="1113" y="3824"/>
                  </a:moveTo>
                  <a:lnTo>
                    <a:pt x="1113" y="3937"/>
                  </a:lnTo>
                  <a:lnTo>
                    <a:pt x="1112" y="3946"/>
                  </a:lnTo>
                  <a:lnTo>
                    <a:pt x="1107" y="3952"/>
                  </a:lnTo>
                  <a:lnTo>
                    <a:pt x="1100" y="3956"/>
                  </a:lnTo>
                  <a:lnTo>
                    <a:pt x="1094" y="3957"/>
                  </a:lnTo>
                  <a:lnTo>
                    <a:pt x="1086" y="3956"/>
                  </a:lnTo>
                  <a:lnTo>
                    <a:pt x="1080" y="3952"/>
                  </a:lnTo>
                  <a:lnTo>
                    <a:pt x="1076" y="3946"/>
                  </a:lnTo>
                  <a:lnTo>
                    <a:pt x="1073" y="3937"/>
                  </a:lnTo>
                  <a:lnTo>
                    <a:pt x="1073" y="3824"/>
                  </a:lnTo>
                  <a:lnTo>
                    <a:pt x="1076" y="3817"/>
                  </a:lnTo>
                  <a:lnTo>
                    <a:pt x="1080" y="3810"/>
                  </a:lnTo>
                  <a:lnTo>
                    <a:pt x="1086" y="3806"/>
                  </a:lnTo>
                  <a:lnTo>
                    <a:pt x="1094" y="3805"/>
                  </a:lnTo>
                  <a:lnTo>
                    <a:pt x="1100" y="3806"/>
                  </a:lnTo>
                  <a:lnTo>
                    <a:pt x="1107" y="3810"/>
                  </a:lnTo>
                  <a:lnTo>
                    <a:pt x="1112" y="3817"/>
                  </a:lnTo>
                  <a:lnTo>
                    <a:pt x="1113" y="3824"/>
                  </a:lnTo>
                  <a:close/>
                  <a:moveTo>
                    <a:pt x="1377" y="3824"/>
                  </a:moveTo>
                  <a:lnTo>
                    <a:pt x="1377" y="3937"/>
                  </a:lnTo>
                  <a:lnTo>
                    <a:pt x="1375" y="3946"/>
                  </a:lnTo>
                  <a:lnTo>
                    <a:pt x="1371" y="3952"/>
                  </a:lnTo>
                  <a:lnTo>
                    <a:pt x="1364" y="3956"/>
                  </a:lnTo>
                  <a:lnTo>
                    <a:pt x="1357" y="3957"/>
                  </a:lnTo>
                  <a:lnTo>
                    <a:pt x="1349" y="3956"/>
                  </a:lnTo>
                  <a:lnTo>
                    <a:pt x="1343" y="3952"/>
                  </a:lnTo>
                  <a:lnTo>
                    <a:pt x="1339" y="3946"/>
                  </a:lnTo>
                  <a:lnTo>
                    <a:pt x="1336" y="3937"/>
                  </a:lnTo>
                  <a:lnTo>
                    <a:pt x="1336" y="3824"/>
                  </a:lnTo>
                  <a:lnTo>
                    <a:pt x="1339" y="3817"/>
                  </a:lnTo>
                  <a:lnTo>
                    <a:pt x="1343" y="3810"/>
                  </a:lnTo>
                  <a:lnTo>
                    <a:pt x="1349" y="3806"/>
                  </a:lnTo>
                  <a:lnTo>
                    <a:pt x="1357" y="3805"/>
                  </a:lnTo>
                  <a:lnTo>
                    <a:pt x="1364" y="3806"/>
                  </a:lnTo>
                  <a:lnTo>
                    <a:pt x="1371" y="3810"/>
                  </a:lnTo>
                  <a:lnTo>
                    <a:pt x="1375" y="3817"/>
                  </a:lnTo>
                  <a:lnTo>
                    <a:pt x="1377" y="3824"/>
                  </a:lnTo>
                  <a:close/>
                  <a:moveTo>
                    <a:pt x="1640" y="3824"/>
                  </a:moveTo>
                  <a:lnTo>
                    <a:pt x="1640" y="3937"/>
                  </a:lnTo>
                  <a:lnTo>
                    <a:pt x="1637" y="3946"/>
                  </a:lnTo>
                  <a:lnTo>
                    <a:pt x="1634" y="3952"/>
                  </a:lnTo>
                  <a:lnTo>
                    <a:pt x="1627" y="3956"/>
                  </a:lnTo>
                  <a:lnTo>
                    <a:pt x="1620" y="3957"/>
                  </a:lnTo>
                  <a:lnTo>
                    <a:pt x="1612" y="3956"/>
                  </a:lnTo>
                  <a:lnTo>
                    <a:pt x="1605" y="3952"/>
                  </a:lnTo>
                  <a:lnTo>
                    <a:pt x="1602" y="3946"/>
                  </a:lnTo>
                  <a:lnTo>
                    <a:pt x="1600" y="3937"/>
                  </a:lnTo>
                  <a:lnTo>
                    <a:pt x="1600" y="3824"/>
                  </a:lnTo>
                  <a:lnTo>
                    <a:pt x="1602" y="3817"/>
                  </a:lnTo>
                  <a:lnTo>
                    <a:pt x="1605" y="3810"/>
                  </a:lnTo>
                  <a:lnTo>
                    <a:pt x="1612" y="3806"/>
                  </a:lnTo>
                  <a:lnTo>
                    <a:pt x="1620" y="3805"/>
                  </a:lnTo>
                  <a:lnTo>
                    <a:pt x="1627" y="3806"/>
                  </a:lnTo>
                  <a:lnTo>
                    <a:pt x="1634" y="3810"/>
                  </a:lnTo>
                  <a:lnTo>
                    <a:pt x="1637" y="3817"/>
                  </a:lnTo>
                  <a:lnTo>
                    <a:pt x="1640" y="3824"/>
                  </a:lnTo>
                  <a:close/>
                  <a:moveTo>
                    <a:pt x="2829" y="4093"/>
                  </a:moveTo>
                  <a:lnTo>
                    <a:pt x="2829" y="4085"/>
                  </a:lnTo>
                  <a:lnTo>
                    <a:pt x="2829" y="4093"/>
                  </a:lnTo>
                  <a:close/>
                  <a:moveTo>
                    <a:pt x="0" y="915"/>
                  </a:moveTo>
                  <a:lnTo>
                    <a:pt x="492" y="915"/>
                  </a:lnTo>
                  <a:lnTo>
                    <a:pt x="500" y="917"/>
                  </a:lnTo>
                  <a:lnTo>
                    <a:pt x="507" y="922"/>
                  </a:lnTo>
                  <a:lnTo>
                    <a:pt x="512" y="928"/>
                  </a:lnTo>
                  <a:lnTo>
                    <a:pt x="513" y="936"/>
                  </a:lnTo>
                  <a:lnTo>
                    <a:pt x="513" y="1633"/>
                  </a:lnTo>
                  <a:lnTo>
                    <a:pt x="513" y="2329"/>
                  </a:lnTo>
                  <a:lnTo>
                    <a:pt x="512" y="2338"/>
                  </a:lnTo>
                  <a:lnTo>
                    <a:pt x="507" y="2345"/>
                  </a:lnTo>
                  <a:lnTo>
                    <a:pt x="500" y="2349"/>
                  </a:lnTo>
                  <a:lnTo>
                    <a:pt x="492" y="2350"/>
                  </a:lnTo>
                  <a:lnTo>
                    <a:pt x="486" y="2349"/>
                  </a:lnTo>
                  <a:lnTo>
                    <a:pt x="480" y="2345"/>
                  </a:lnTo>
                  <a:lnTo>
                    <a:pt x="474" y="2338"/>
                  </a:lnTo>
                  <a:lnTo>
                    <a:pt x="473" y="2329"/>
                  </a:lnTo>
                  <a:lnTo>
                    <a:pt x="473" y="1642"/>
                  </a:lnTo>
                  <a:lnTo>
                    <a:pt x="473" y="955"/>
                  </a:lnTo>
                  <a:lnTo>
                    <a:pt x="0" y="955"/>
                  </a:lnTo>
                  <a:lnTo>
                    <a:pt x="0" y="915"/>
                  </a:lnTo>
                  <a:close/>
                  <a:moveTo>
                    <a:pt x="190" y="1345"/>
                  </a:moveTo>
                  <a:lnTo>
                    <a:pt x="190" y="1450"/>
                  </a:lnTo>
                  <a:lnTo>
                    <a:pt x="188" y="1457"/>
                  </a:lnTo>
                  <a:lnTo>
                    <a:pt x="183" y="1464"/>
                  </a:lnTo>
                  <a:lnTo>
                    <a:pt x="177" y="1468"/>
                  </a:lnTo>
                  <a:lnTo>
                    <a:pt x="171" y="1469"/>
                  </a:lnTo>
                  <a:lnTo>
                    <a:pt x="163" y="1468"/>
                  </a:lnTo>
                  <a:lnTo>
                    <a:pt x="156" y="1464"/>
                  </a:lnTo>
                  <a:lnTo>
                    <a:pt x="151" y="1457"/>
                  </a:lnTo>
                  <a:lnTo>
                    <a:pt x="150" y="1450"/>
                  </a:lnTo>
                  <a:lnTo>
                    <a:pt x="150" y="1345"/>
                  </a:lnTo>
                  <a:lnTo>
                    <a:pt x="151" y="1337"/>
                  </a:lnTo>
                  <a:lnTo>
                    <a:pt x="156" y="1331"/>
                  </a:lnTo>
                  <a:lnTo>
                    <a:pt x="163" y="1327"/>
                  </a:lnTo>
                  <a:lnTo>
                    <a:pt x="171" y="1326"/>
                  </a:lnTo>
                  <a:lnTo>
                    <a:pt x="177" y="1327"/>
                  </a:lnTo>
                  <a:lnTo>
                    <a:pt x="183" y="1331"/>
                  </a:lnTo>
                  <a:lnTo>
                    <a:pt x="188" y="1337"/>
                  </a:lnTo>
                  <a:lnTo>
                    <a:pt x="190" y="1345"/>
                  </a:lnTo>
                  <a:close/>
                  <a:moveTo>
                    <a:pt x="190" y="1576"/>
                  </a:moveTo>
                  <a:lnTo>
                    <a:pt x="190" y="1680"/>
                  </a:lnTo>
                  <a:lnTo>
                    <a:pt x="188" y="1689"/>
                  </a:lnTo>
                  <a:lnTo>
                    <a:pt x="183" y="1695"/>
                  </a:lnTo>
                  <a:lnTo>
                    <a:pt x="177" y="1699"/>
                  </a:lnTo>
                  <a:lnTo>
                    <a:pt x="171" y="1700"/>
                  </a:lnTo>
                  <a:lnTo>
                    <a:pt x="163" y="1699"/>
                  </a:lnTo>
                  <a:lnTo>
                    <a:pt x="156" y="1695"/>
                  </a:lnTo>
                  <a:lnTo>
                    <a:pt x="151" y="1689"/>
                  </a:lnTo>
                  <a:lnTo>
                    <a:pt x="150" y="1680"/>
                  </a:lnTo>
                  <a:lnTo>
                    <a:pt x="150" y="1576"/>
                  </a:lnTo>
                  <a:lnTo>
                    <a:pt x="151" y="1567"/>
                  </a:lnTo>
                  <a:lnTo>
                    <a:pt x="156" y="1561"/>
                  </a:lnTo>
                  <a:lnTo>
                    <a:pt x="163" y="1558"/>
                  </a:lnTo>
                  <a:lnTo>
                    <a:pt x="171" y="1557"/>
                  </a:lnTo>
                  <a:lnTo>
                    <a:pt x="177" y="1558"/>
                  </a:lnTo>
                  <a:lnTo>
                    <a:pt x="183" y="1561"/>
                  </a:lnTo>
                  <a:lnTo>
                    <a:pt x="188" y="1567"/>
                  </a:lnTo>
                  <a:lnTo>
                    <a:pt x="190" y="1576"/>
                  </a:lnTo>
                  <a:close/>
                  <a:moveTo>
                    <a:pt x="190" y="1808"/>
                  </a:moveTo>
                  <a:lnTo>
                    <a:pt x="190" y="1911"/>
                  </a:lnTo>
                  <a:lnTo>
                    <a:pt x="188" y="1920"/>
                  </a:lnTo>
                  <a:lnTo>
                    <a:pt x="183" y="1927"/>
                  </a:lnTo>
                  <a:lnTo>
                    <a:pt x="177" y="1931"/>
                  </a:lnTo>
                  <a:lnTo>
                    <a:pt x="171" y="1932"/>
                  </a:lnTo>
                  <a:lnTo>
                    <a:pt x="163" y="1931"/>
                  </a:lnTo>
                  <a:lnTo>
                    <a:pt x="156" y="1927"/>
                  </a:lnTo>
                  <a:lnTo>
                    <a:pt x="151" y="1920"/>
                  </a:lnTo>
                  <a:lnTo>
                    <a:pt x="150" y="1911"/>
                  </a:lnTo>
                  <a:lnTo>
                    <a:pt x="150" y="1808"/>
                  </a:lnTo>
                  <a:lnTo>
                    <a:pt x="151" y="1799"/>
                  </a:lnTo>
                  <a:lnTo>
                    <a:pt x="156" y="1792"/>
                  </a:lnTo>
                  <a:lnTo>
                    <a:pt x="163" y="1789"/>
                  </a:lnTo>
                  <a:lnTo>
                    <a:pt x="171" y="1787"/>
                  </a:lnTo>
                  <a:lnTo>
                    <a:pt x="177" y="1789"/>
                  </a:lnTo>
                  <a:lnTo>
                    <a:pt x="183" y="1792"/>
                  </a:lnTo>
                  <a:lnTo>
                    <a:pt x="188" y="1799"/>
                  </a:lnTo>
                  <a:lnTo>
                    <a:pt x="190" y="1808"/>
                  </a:lnTo>
                  <a:close/>
                  <a:moveTo>
                    <a:pt x="190" y="2039"/>
                  </a:moveTo>
                  <a:lnTo>
                    <a:pt x="190" y="2143"/>
                  </a:lnTo>
                  <a:lnTo>
                    <a:pt x="188" y="2150"/>
                  </a:lnTo>
                  <a:lnTo>
                    <a:pt x="183" y="2157"/>
                  </a:lnTo>
                  <a:lnTo>
                    <a:pt x="177" y="2161"/>
                  </a:lnTo>
                  <a:lnTo>
                    <a:pt x="171" y="2162"/>
                  </a:lnTo>
                  <a:lnTo>
                    <a:pt x="163" y="2161"/>
                  </a:lnTo>
                  <a:lnTo>
                    <a:pt x="156" y="2157"/>
                  </a:lnTo>
                  <a:lnTo>
                    <a:pt x="151" y="2150"/>
                  </a:lnTo>
                  <a:lnTo>
                    <a:pt x="150" y="2143"/>
                  </a:lnTo>
                  <a:lnTo>
                    <a:pt x="150" y="2039"/>
                  </a:lnTo>
                  <a:lnTo>
                    <a:pt x="151" y="2030"/>
                  </a:lnTo>
                  <a:lnTo>
                    <a:pt x="156" y="2024"/>
                  </a:lnTo>
                  <a:lnTo>
                    <a:pt x="163" y="2020"/>
                  </a:lnTo>
                  <a:lnTo>
                    <a:pt x="171" y="2019"/>
                  </a:lnTo>
                  <a:lnTo>
                    <a:pt x="177" y="2020"/>
                  </a:lnTo>
                  <a:lnTo>
                    <a:pt x="183" y="2024"/>
                  </a:lnTo>
                  <a:lnTo>
                    <a:pt x="188" y="2030"/>
                  </a:lnTo>
                  <a:lnTo>
                    <a:pt x="190" y="2039"/>
                  </a:lnTo>
                  <a:close/>
                  <a:moveTo>
                    <a:pt x="190" y="2269"/>
                  </a:moveTo>
                  <a:lnTo>
                    <a:pt x="190" y="2373"/>
                  </a:lnTo>
                  <a:lnTo>
                    <a:pt x="188" y="2382"/>
                  </a:lnTo>
                  <a:lnTo>
                    <a:pt x="183" y="2388"/>
                  </a:lnTo>
                  <a:lnTo>
                    <a:pt x="177" y="2392"/>
                  </a:lnTo>
                  <a:lnTo>
                    <a:pt x="171" y="2393"/>
                  </a:lnTo>
                  <a:lnTo>
                    <a:pt x="163" y="2392"/>
                  </a:lnTo>
                  <a:lnTo>
                    <a:pt x="156" y="2388"/>
                  </a:lnTo>
                  <a:lnTo>
                    <a:pt x="151" y="2382"/>
                  </a:lnTo>
                  <a:lnTo>
                    <a:pt x="150" y="2373"/>
                  </a:lnTo>
                  <a:lnTo>
                    <a:pt x="150" y="2269"/>
                  </a:lnTo>
                  <a:lnTo>
                    <a:pt x="151" y="2260"/>
                  </a:lnTo>
                  <a:lnTo>
                    <a:pt x="156" y="2255"/>
                  </a:lnTo>
                  <a:lnTo>
                    <a:pt x="163" y="2251"/>
                  </a:lnTo>
                  <a:lnTo>
                    <a:pt x="171" y="2250"/>
                  </a:lnTo>
                  <a:lnTo>
                    <a:pt x="177" y="2251"/>
                  </a:lnTo>
                  <a:lnTo>
                    <a:pt x="183" y="2255"/>
                  </a:lnTo>
                  <a:lnTo>
                    <a:pt x="188" y="2260"/>
                  </a:lnTo>
                  <a:lnTo>
                    <a:pt x="190" y="2269"/>
                  </a:lnTo>
                  <a:close/>
                  <a:moveTo>
                    <a:pt x="190" y="2501"/>
                  </a:moveTo>
                  <a:lnTo>
                    <a:pt x="190" y="2604"/>
                  </a:lnTo>
                  <a:lnTo>
                    <a:pt x="188" y="2613"/>
                  </a:lnTo>
                  <a:lnTo>
                    <a:pt x="183" y="2620"/>
                  </a:lnTo>
                  <a:lnTo>
                    <a:pt x="177" y="2624"/>
                  </a:lnTo>
                  <a:lnTo>
                    <a:pt x="171" y="2625"/>
                  </a:lnTo>
                  <a:lnTo>
                    <a:pt x="163" y="2624"/>
                  </a:lnTo>
                  <a:lnTo>
                    <a:pt x="156" y="2620"/>
                  </a:lnTo>
                  <a:lnTo>
                    <a:pt x="151" y="2613"/>
                  </a:lnTo>
                  <a:lnTo>
                    <a:pt x="150" y="2604"/>
                  </a:lnTo>
                  <a:lnTo>
                    <a:pt x="150" y="2501"/>
                  </a:lnTo>
                  <a:lnTo>
                    <a:pt x="151" y="2492"/>
                  </a:lnTo>
                  <a:lnTo>
                    <a:pt x="156" y="2485"/>
                  </a:lnTo>
                  <a:lnTo>
                    <a:pt x="163" y="2482"/>
                  </a:lnTo>
                  <a:lnTo>
                    <a:pt x="171" y="2480"/>
                  </a:lnTo>
                  <a:lnTo>
                    <a:pt x="177" y="2482"/>
                  </a:lnTo>
                  <a:lnTo>
                    <a:pt x="183" y="2485"/>
                  </a:lnTo>
                  <a:lnTo>
                    <a:pt x="188" y="2492"/>
                  </a:lnTo>
                  <a:lnTo>
                    <a:pt x="190" y="2501"/>
                  </a:lnTo>
                  <a:close/>
                  <a:moveTo>
                    <a:pt x="190" y="2732"/>
                  </a:moveTo>
                  <a:lnTo>
                    <a:pt x="190" y="2836"/>
                  </a:lnTo>
                  <a:lnTo>
                    <a:pt x="188" y="2845"/>
                  </a:lnTo>
                  <a:lnTo>
                    <a:pt x="183" y="2850"/>
                  </a:lnTo>
                  <a:lnTo>
                    <a:pt x="177" y="2854"/>
                  </a:lnTo>
                  <a:lnTo>
                    <a:pt x="171" y="2855"/>
                  </a:lnTo>
                  <a:lnTo>
                    <a:pt x="163" y="2854"/>
                  </a:lnTo>
                  <a:lnTo>
                    <a:pt x="156" y="2850"/>
                  </a:lnTo>
                  <a:lnTo>
                    <a:pt x="151" y="2845"/>
                  </a:lnTo>
                  <a:lnTo>
                    <a:pt x="150" y="2836"/>
                  </a:lnTo>
                  <a:lnTo>
                    <a:pt x="150" y="2732"/>
                  </a:lnTo>
                  <a:lnTo>
                    <a:pt x="151" y="2723"/>
                  </a:lnTo>
                  <a:lnTo>
                    <a:pt x="156" y="2717"/>
                  </a:lnTo>
                  <a:lnTo>
                    <a:pt x="163" y="2713"/>
                  </a:lnTo>
                  <a:lnTo>
                    <a:pt x="171" y="2712"/>
                  </a:lnTo>
                  <a:lnTo>
                    <a:pt x="177" y="2713"/>
                  </a:lnTo>
                  <a:lnTo>
                    <a:pt x="183" y="2717"/>
                  </a:lnTo>
                  <a:lnTo>
                    <a:pt x="188" y="2723"/>
                  </a:lnTo>
                  <a:lnTo>
                    <a:pt x="190" y="2732"/>
                  </a:lnTo>
                  <a:close/>
                  <a:moveTo>
                    <a:pt x="190" y="2962"/>
                  </a:moveTo>
                  <a:lnTo>
                    <a:pt x="190" y="3066"/>
                  </a:lnTo>
                  <a:lnTo>
                    <a:pt x="188" y="3075"/>
                  </a:lnTo>
                  <a:lnTo>
                    <a:pt x="183" y="3081"/>
                  </a:lnTo>
                  <a:lnTo>
                    <a:pt x="177" y="3085"/>
                  </a:lnTo>
                  <a:lnTo>
                    <a:pt x="171" y="3086"/>
                  </a:lnTo>
                  <a:lnTo>
                    <a:pt x="163" y="3085"/>
                  </a:lnTo>
                  <a:lnTo>
                    <a:pt x="156" y="3081"/>
                  </a:lnTo>
                  <a:lnTo>
                    <a:pt x="151" y="3075"/>
                  </a:lnTo>
                  <a:lnTo>
                    <a:pt x="150" y="3066"/>
                  </a:lnTo>
                  <a:lnTo>
                    <a:pt x="150" y="2962"/>
                  </a:lnTo>
                  <a:lnTo>
                    <a:pt x="151" y="2953"/>
                  </a:lnTo>
                  <a:lnTo>
                    <a:pt x="156" y="2948"/>
                  </a:lnTo>
                  <a:lnTo>
                    <a:pt x="163" y="2945"/>
                  </a:lnTo>
                  <a:lnTo>
                    <a:pt x="171" y="2943"/>
                  </a:lnTo>
                  <a:lnTo>
                    <a:pt x="177" y="2945"/>
                  </a:lnTo>
                  <a:lnTo>
                    <a:pt x="183" y="2948"/>
                  </a:lnTo>
                  <a:lnTo>
                    <a:pt x="188" y="2953"/>
                  </a:lnTo>
                  <a:lnTo>
                    <a:pt x="190" y="2962"/>
                  </a:lnTo>
                  <a:close/>
                  <a:moveTo>
                    <a:pt x="2375" y="1897"/>
                  </a:moveTo>
                  <a:lnTo>
                    <a:pt x="2375" y="2001"/>
                  </a:lnTo>
                  <a:lnTo>
                    <a:pt x="2372" y="2010"/>
                  </a:lnTo>
                  <a:lnTo>
                    <a:pt x="2368" y="2016"/>
                  </a:lnTo>
                  <a:lnTo>
                    <a:pt x="2362" y="2020"/>
                  </a:lnTo>
                  <a:lnTo>
                    <a:pt x="2354" y="2021"/>
                  </a:lnTo>
                  <a:lnTo>
                    <a:pt x="2347" y="2020"/>
                  </a:lnTo>
                  <a:lnTo>
                    <a:pt x="2340" y="2016"/>
                  </a:lnTo>
                  <a:lnTo>
                    <a:pt x="2336" y="2010"/>
                  </a:lnTo>
                  <a:lnTo>
                    <a:pt x="2334" y="2001"/>
                  </a:lnTo>
                  <a:lnTo>
                    <a:pt x="2334" y="1897"/>
                  </a:lnTo>
                  <a:lnTo>
                    <a:pt x="2336" y="1888"/>
                  </a:lnTo>
                  <a:lnTo>
                    <a:pt x="2340" y="1882"/>
                  </a:lnTo>
                  <a:lnTo>
                    <a:pt x="2347" y="1878"/>
                  </a:lnTo>
                  <a:lnTo>
                    <a:pt x="2354" y="1877"/>
                  </a:lnTo>
                  <a:lnTo>
                    <a:pt x="2362" y="1878"/>
                  </a:lnTo>
                  <a:lnTo>
                    <a:pt x="2368" y="1882"/>
                  </a:lnTo>
                  <a:lnTo>
                    <a:pt x="2372" y="1888"/>
                  </a:lnTo>
                  <a:lnTo>
                    <a:pt x="2375" y="1897"/>
                  </a:lnTo>
                  <a:close/>
                  <a:moveTo>
                    <a:pt x="2589" y="1897"/>
                  </a:moveTo>
                  <a:lnTo>
                    <a:pt x="2589" y="2001"/>
                  </a:lnTo>
                  <a:lnTo>
                    <a:pt x="2588" y="2010"/>
                  </a:lnTo>
                  <a:lnTo>
                    <a:pt x="2583" y="2016"/>
                  </a:lnTo>
                  <a:lnTo>
                    <a:pt x="2576" y="2020"/>
                  </a:lnTo>
                  <a:lnTo>
                    <a:pt x="2570" y="2021"/>
                  </a:lnTo>
                  <a:lnTo>
                    <a:pt x="2562" y="2020"/>
                  </a:lnTo>
                  <a:lnTo>
                    <a:pt x="2556" y="2016"/>
                  </a:lnTo>
                  <a:lnTo>
                    <a:pt x="2550" y="2010"/>
                  </a:lnTo>
                  <a:lnTo>
                    <a:pt x="2549" y="2001"/>
                  </a:lnTo>
                  <a:lnTo>
                    <a:pt x="2549" y="1897"/>
                  </a:lnTo>
                  <a:lnTo>
                    <a:pt x="2550" y="1888"/>
                  </a:lnTo>
                  <a:lnTo>
                    <a:pt x="2556" y="1882"/>
                  </a:lnTo>
                  <a:lnTo>
                    <a:pt x="2562" y="1878"/>
                  </a:lnTo>
                  <a:lnTo>
                    <a:pt x="2570" y="1877"/>
                  </a:lnTo>
                  <a:lnTo>
                    <a:pt x="2576" y="1878"/>
                  </a:lnTo>
                  <a:lnTo>
                    <a:pt x="2583" y="1882"/>
                  </a:lnTo>
                  <a:lnTo>
                    <a:pt x="2588" y="1888"/>
                  </a:lnTo>
                  <a:lnTo>
                    <a:pt x="2589" y="1897"/>
                  </a:lnTo>
                  <a:close/>
                  <a:moveTo>
                    <a:pt x="2804" y="1897"/>
                  </a:moveTo>
                  <a:lnTo>
                    <a:pt x="2804" y="2001"/>
                  </a:lnTo>
                  <a:lnTo>
                    <a:pt x="2803" y="2010"/>
                  </a:lnTo>
                  <a:lnTo>
                    <a:pt x="2798" y="2016"/>
                  </a:lnTo>
                  <a:lnTo>
                    <a:pt x="2792" y="2020"/>
                  </a:lnTo>
                  <a:lnTo>
                    <a:pt x="2784" y="2021"/>
                  </a:lnTo>
                  <a:lnTo>
                    <a:pt x="2777" y="2020"/>
                  </a:lnTo>
                  <a:lnTo>
                    <a:pt x="2771" y="2016"/>
                  </a:lnTo>
                  <a:lnTo>
                    <a:pt x="2766" y="2010"/>
                  </a:lnTo>
                  <a:lnTo>
                    <a:pt x="2765" y="2001"/>
                  </a:lnTo>
                  <a:lnTo>
                    <a:pt x="2765" y="1897"/>
                  </a:lnTo>
                  <a:lnTo>
                    <a:pt x="2766" y="1888"/>
                  </a:lnTo>
                  <a:lnTo>
                    <a:pt x="2771" y="1882"/>
                  </a:lnTo>
                  <a:lnTo>
                    <a:pt x="2777" y="1878"/>
                  </a:lnTo>
                  <a:lnTo>
                    <a:pt x="2784" y="1877"/>
                  </a:lnTo>
                  <a:lnTo>
                    <a:pt x="2792" y="1878"/>
                  </a:lnTo>
                  <a:lnTo>
                    <a:pt x="2798" y="1882"/>
                  </a:lnTo>
                  <a:lnTo>
                    <a:pt x="2803" y="1888"/>
                  </a:lnTo>
                  <a:lnTo>
                    <a:pt x="2804" y="1897"/>
                  </a:lnTo>
                  <a:close/>
                  <a:moveTo>
                    <a:pt x="2375" y="2245"/>
                  </a:moveTo>
                  <a:lnTo>
                    <a:pt x="2375" y="2349"/>
                  </a:lnTo>
                  <a:lnTo>
                    <a:pt x="2372" y="2358"/>
                  </a:lnTo>
                  <a:lnTo>
                    <a:pt x="2368" y="2364"/>
                  </a:lnTo>
                  <a:lnTo>
                    <a:pt x="2362" y="2368"/>
                  </a:lnTo>
                  <a:lnTo>
                    <a:pt x="2354" y="2369"/>
                  </a:lnTo>
                  <a:lnTo>
                    <a:pt x="2347" y="2368"/>
                  </a:lnTo>
                  <a:lnTo>
                    <a:pt x="2340" y="2364"/>
                  </a:lnTo>
                  <a:lnTo>
                    <a:pt x="2336" y="2358"/>
                  </a:lnTo>
                  <a:lnTo>
                    <a:pt x="2334" y="2349"/>
                  </a:lnTo>
                  <a:lnTo>
                    <a:pt x="2334" y="2245"/>
                  </a:lnTo>
                  <a:lnTo>
                    <a:pt x="2336" y="2236"/>
                  </a:lnTo>
                  <a:lnTo>
                    <a:pt x="2340" y="2230"/>
                  </a:lnTo>
                  <a:lnTo>
                    <a:pt x="2347" y="2226"/>
                  </a:lnTo>
                  <a:lnTo>
                    <a:pt x="2354" y="2225"/>
                  </a:lnTo>
                  <a:lnTo>
                    <a:pt x="2362" y="2226"/>
                  </a:lnTo>
                  <a:lnTo>
                    <a:pt x="2368" y="2230"/>
                  </a:lnTo>
                  <a:lnTo>
                    <a:pt x="2372" y="2236"/>
                  </a:lnTo>
                  <a:lnTo>
                    <a:pt x="2375" y="2245"/>
                  </a:lnTo>
                  <a:close/>
                  <a:moveTo>
                    <a:pt x="2589" y="2245"/>
                  </a:moveTo>
                  <a:lnTo>
                    <a:pt x="2589" y="2349"/>
                  </a:lnTo>
                  <a:lnTo>
                    <a:pt x="2588" y="2358"/>
                  </a:lnTo>
                  <a:lnTo>
                    <a:pt x="2583" y="2364"/>
                  </a:lnTo>
                  <a:lnTo>
                    <a:pt x="2576" y="2368"/>
                  </a:lnTo>
                  <a:lnTo>
                    <a:pt x="2570" y="2369"/>
                  </a:lnTo>
                  <a:lnTo>
                    <a:pt x="2562" y="2368"/>
                  </a:lnTo>
                  <a:lnTo>
                    <a:pt x="2556" y="2364"/>
                  </a:lnTo>
                  <a:lnTo>
                    <a:pt x="2550" y="2358"/>
                  </a:lnTo>
                  <a:lnTo>
                    <a:pt x="2549" y="2349"/>
                  </a:lnTo>
                  <a:lnTo>
                    <a:pt x="2549" y="2245"/>
                  </a:lnTo>
                  <a:lnTo>
                    <a:pt x="2550" y="2236"/>
                  </a:lnTo>
                  <a:lnTo>
                    <a:pt x="2556" y="2230"/>
                  </a:lnTo>
                  <a:lnTo>
                    <a:pt x="2562" y="2226"/>
                  </a:lnTo>
                  <a:lnTo>
                    <a:pt x="2570" y="2225"/>
                  </a:lnTo>
                  <a:lnTo>
                    <a:pt x="2576" y="2226"/>
                  </a:lnTo>
                  <a:lnTo>
                    <a:pt x="2583" y="2230"/>
                  </a:lnTo>
                  <a:lnTo>
                    <a:pt x="2588" y="2236"/>
                  </a:lnTo>
                  <a:lnTo>
                    <a:pt x="2589" y="2245"/>
                  </a:lnTo>
                  <a:close/>
                  <a:moveTo>
                    <a:pt x="2804" y="2245"/>
                  </a:moveTo>
                  <a:lnTo>
                    <a:pt x="2804" y="2349"/>
                  </a:lnTo>
                  <a:lnTo>
                    <a:pt x="2803" y="2358"/>
                  </a:lnTo>
                  <a:lnTo>
                    <a:pt x="2798" y="2364"/>
                  </a:lnTo>
                  <a:lnTo>
                    <a:pt x="2792" y="2368"/>
                  </a:lnTo>
                  <a:lnTo>
                    <a:pt x="2784" y="2369"/>
                  </a:lnTo>
                  <a:lnTo>
                    <a:pt x="2777" y="2368"/>
                  </a:lnTo>
                  <a:lnTo>
                    <a:pt x="2771" y="2364"/>
                  </a:lnTo>
                  <a:lnTo>
                    <a:pt x="2766" y="2358"/>
                  </a:lnTo>
                  <a:lnTo>
                    <a:pt x="2765" y="2349"/>
                  </a:lnTo>
                  <a:lnTo>
                    <a:pt x="2765" y="2245"/>
                  </a:lnTo>
                  <a:lnTo>
                    <a:pt x="2766" y="2236"/>
                  </a:lnTo>
                  <a:lnTo>
                    <a:pt x="2771" y="2230"/>
                  </a:lnTo>
                  <a:lnTo>
                    <a:pt x="2777" y="2226"/>
                  </a:lnTo>
                  <a:lnTo>
                    <a:pt x="2784" y="2225"/>
                  </a:lnTo>
                  <a:lnTo>
                    <a:pt x="2792" y="2226"/>
                  </a:lnTo>
                  <a:lnTo>
                    <a:pt x="2798" y="2230"/>
                  </a:lnTo>
                  <a:lnTo>
                    <a:pt x="2803" y="2236"/>
                  </a:lnTo>
                  <a:lnTo>
                    <a:pt x="2804" y="2245"/>
                  </a:lnTo>
                  <a:close/>
                  <a:moveTo>
                    <a:pt x="2375" y="2593"/>
                  </a:moveTo>
                  <a:lnTo>
                    <a:pt x="2375" y="2696"/>
                  </a:lnTo>
                  <a:lnTo>
                    <a:pt x="2372" y="2705"/>
                  </a:lnTo>
                  <a:lnTo>
                    <a:pt x="2368" y="2712"/>
                  </a:lnTo>
                  <a:lnTo>
                    <a:pt x="2362" y="2716"/>
                  </a:lnTo>
                  <a:lnTo>
                    <a:pt x="2354" y="2717"/>
                  </a:lnTo>
                  <a:lnTo>
                    <a:pt x="2347" y="2716"/>
                  </a:lnTo>
                  <a:lnTo>
                    <a:pt x="2340" y="2712"/>
                  </a:lnTo>
                  <a:lnTo>
                    <a:pt x="2336" y="2705"/>
                  </a:lnTo>
                  <a:lnTo>
                    <a:pt x="2334" y="2696"/>
                  </a:lnTo>
                  <a:lnTo>
                    <a:pt x="2334" y="2593"/>
                  </a:lnTo>
                  <a:lnTo>
                    <a:pt x="2336" y="2584"/>
                  </a:lnTo>
                  <a:lnTo>
                    <a:pt x="2340" y="2578"/>
                  </a:lnTo>
                  <a:lnTo>
                    <a:pt x="2347" y="2574"/>
                  </a:lnTo>
                  <a:lnTo>
                    <a:pt x="2354" y="2572"/>
                  </a:lnTo>
                  <a:lnTo>
                    <a:pt x="2362" y="2574"/>
                  </a:lnTo>
                  <a:lnTo>
                    <a:pt x="2368" y="2578"/>
                  </a:lnTo>
                  <a:lnTo>
                    <a:pt x="2372" y="2584"/>
                  </a:lnTo>
                  <a:lnTo>
                    <a:pt x="2375" y="2593"/>
                  </a:lnTo>
                  <a:close/>
                  <a:moveTo>
                    <a:pt x="2589" y="2593"/>
                  </a:moveTo>
                  <a:lnTo>
                    <a:pt x="2589" y="2696"/>
                  </a:lnTo>
                  <a:lnTo>
                    <a:pt x="2588" y="2705"/>
                  </a:lnTo>
                  <a:lnTo>
                    <a:pt x="2583" y="2712"/>
                  </a:lnTo>
                  <a:lnTo>
                    <a:pt x="2576" y="2716"/>
                  </a:lnTo>
                  <a:lnTo>
                    <a:pt x="2570" y="2717"/>
                  </a:lnTo>
                  <a:lnTo>
                    <a:pt x="2562" y="2716"/>
                  </a:lnTo>
                  <a:lnTo>
                    <a:pt x="2556" y="2712"/>
                  </a:lnTo>
                  <a:lnTo>
                    <a:pt x="2550" y="2705"/>
                  </a:lnTo>
                  <a:lnTo>
                    <a:pt x="2549" y="2696"/>
                  </a:lnTo>
                  <a:lnTo>
                    <a:pt x="2549" y="2593"/>
                  </a:lnTo>
                  <a:lnTo>
                    <a:pt x="2550" y="2584"/>
                  </a:lnTo>
                  <a:lnTo>
                    <a:pt x="2556" y="2578"/>
                  </a:lnTo>
                  <a:lnTo>
                    <a:pt x="2562" y="2574"/>
                  </a:lnTo>
                  <a:lnTo>
                    <a:pt x="2570" y="2572"/>
                  </a:lnTo>
                  <a:lnTo>
                    <a:pt x="2576" y="2574"/>
                  </a:lnTo>
                  <a:lnTo>
                    <a:pt x="2583" y="2578"/>
                  </a:lnTo>
                  <a:lnTo>
                    <a:pt x="2588" y="2584"/>
                  </a:lnTo>
                  <a:lnTo>
                    <a:pt x="2589" y="2593"/>
                  </a:lnTo>
                  <a:close/>
                  <a:moveTo>
                    <a:pt x="2804" y="2593"/>
                  </a:moveTo>
                  <a:lnTo>
                    <a:pt x="2804" y="2696"/>
                  </a:lnTo>
                  <a:lnTo>
                    <a:pt x="2803" y="2705"/>
                  </a:lnTo>
                  <a:lnTo>
                    <a:pt x="2798" y="2712"/>
                  </a:lnTo>
                  <a:lnTo>
                    <a:pt x="2792" y="2716"/>
                  </a:lnTo>
                  <a:lnTo>
                    <a:pt x="2784" y="2717"/>
                  </a:lnTo>
                  <a:lnTo>
                    <a:pt x="2777" y="2716"/>
                  </a:lnTo>
                  <a:lnTo>
                    <a:pt x="2771" y="2712"/>
                  </a:lnTo>
                  <a:lnTo>
                    <a:pt x="2766" y="2705"/>
                  </a:lnTo>
                  <a:lnTo>
                    <a:pt x="2765" y="2696"/>
                  </a:lnTo>
                  <a:lnTo>
                    <a:pt x="2765" y="2593"/>
                  </a:lnTo>
                  <a:lnTo>
                    <a:pt x="2766" y="2584"/>
                  </a:lnTo>
                  <a:lnTo>
                    <a:pt x="2771" y="2578"/>
                  </a:lnTo>
                  <a:lnTo>
                    <a:pt x="2777" y="2574"/>
                  </a:lnTo>
                  <a:lnTo>
                    <a:pt x="2784" y="2572"/>
                  </a:lnTo>
                  <a:lnTo>
                    <a:pt x="2792" y="2574"/>
                  </a:lnTo>
                  <a:lnTo>
                    <a:pt x="2798" y="2578"/>
                  </a:lnTo>
                  <a:lnTo>
                    <a:pt x="2803" y="2584"/>
                  </a:lnTo>
                  <a:lnTo>
                    <a:pt x="2804" y="2593"/>
                  </a:lnTo>
                  <a:close/>
                  <a:moveTo>
                    <a:pt x="2375" y="2941"/>
                  </a:moveTo>
                  <a:lnTo>
                    <a:pt x="2375" y="3044"/>
                  </a:lnTo>
                  <a:lnTo>
                    <a:pt x="2372" y="3053"/>
                  </a:lnTo>
                  <a:lnTo>
                    <a:pt x="2368" y="3060"/>
                  </a:lnTo>
                  <a:lnTo>
                    <a:pt x="2362" y="3063"/>
                  </a:lnTo>
                  <a:lnTo>
                    <a:pt x="2354" y="3065"/>
                  </a:lnTo>
                  <a:lnTo>
                    <a:pt x="2347" y="3063"/>
                  </a:lnTo>
                  <a:lnTo>
                    <a:pt x="2340" y="3060"/>
                  </a:lnTo>
                  <a:lnTo>
                    <a:pt x="2336" y="3053"/>
                  </a:lnTo>
                  <a:lnTo>
                    <a:pt x="2334" y="3044"/>
                  </a:lnTo>
                  <a:lnTo>
                    <a:pt x="2334" y="2941"/>
                  </a:lnTo>
                  <a:lnTo>
                    <a:pt x="2336" y="2932"/>
                  </a:lnTo>
                  <a:lnTo>
                    <a:pt x="2340" y="2925"/>
                  </a:lnTo>
                  <a:lnTo>
                    <a:pt x="2347" y="2922"/>
                  </a:lnTo>
                  <a:lnTo>
                    <a:pt x="2354" y="2920"/>
                  </a:lnTo>
                  <a:lnTo>
                    <a:pt x="2362" y="2922"/>
                  </a:lnTo>
                  <a:lnTo>
                    <a:pt x="2368" y="2925"/>
                  </a:lnTo>
                  <a:lnTo>
                    <a:pt x="2372" y="2932"/>
                  </a:lnTo>
                  <a:lnTo>
                    <a:pt x="2375" y="2941"/>
                  </a:lnTo>
                  <a:close/>
                  <a:moveTo>
                    <a:pt x="2589" y="2941"/>
                  </a:moveTo>
                  <a:lnTo>
                    <a:pt x="2589" y="3044"/>
                  </a:lnTo>
                  <a:lnTo>
                    <a:pt x="2588" y="3053"/>
                  </a:lnTo>
                  <a:lnTo>
                    <a:pt x="2583" y="3060"/>
                  </a:lnTo>
                  <a:lnTo>
                    <a:pt x="2576" y="3063"/>
                  </a:lnTo>
                  <a:lnTo>
                    <a:pt x="2570" y="3065"/>
                  </a:lnTo>
                  <a:lnTo>
                    <a:pt x="2562" y="3063"/>
                  </a:lnTo>
                  <a:lnTo>
                    <a:pt x="2556" y="3060"/>
                  </a:lnTo>
                  <a:lnTo>
                    <a:pt x="2550" y="3053"/>
                  </a:lnTo>
                  <a:lnTo>
                    <a:pt x="2549" y="3044"/>
                  </a:lnTo>
                  <a:lnTo>
                    <a:pt x="2549" y="2941"/>
                  </a:lnTo>
                  <a:lnTo>
                    <a:pt x="2550" y="2932"/>
                  </a:lnTo>
                  <a:lnTo>
                    <a:pt x="2556" y="2925"/>
                  </a:lnTo>
                  <a:lnTo>
                    <a:pt x="2562" y="2922"/>
                  </a:lnTo>
                  <a:lnTo>
                    <a:pt x="2570" y="2920"/>
                  </a:lnTo>
                  <a:lnTo>
                    <a:pt x="2576" y="2922"/>
                  </a:lnTo>
                  <a:lnTo>
                    <a:pt x="2583" y="2925"/>
                  </a:lnTo>
                  <a:lnTo>
                    <a:pt x="2588" y="2932"/>
                  </a:lnTo>
                  <a:lnTo>
                    <a:pt x="2589" y="2941"/>
                  </a:lnTo>
                  <a:close/>
                  <a:moveTo>
                    <a:pt x="2804" y="2941"/>
                  </a:moveTo>
                  <a:lnTo>
                    <a:pt x="2804" y="3044"/>
                  </a:lnTo>
                  <a:lnTo>
                    <a:pt x="2803" y="3053"/>
                  </a:lnTo>
                  <a:lnTo>
                    <a:pt x="2798" y="3060"/>
                  </a:lnTo>
                  <a:lnTo>
                    <a:pt x="2792" y="3063"/>
                  </a:lnTo>
                  <a:lnTo>
                    <a:pt x="2784" y="3065"/>
                  </a:lnTo>
                  <a:lnTo>
                    <a:pt x="2777" y="3063"/>
                  </a:lnTo>
                  <a:lnTo>
                    <a:pt x="2771" y="3060"/>
                  </a:lnTo>
                  <a:lnTo>
                    <a:pt x="2766" y="3053"/>
                  </a:lnTo>
                  <a:lnTo>
                    <a:pt x="2765" y="3044"/>
                  </a:lnTo>
                  <a:lnTo>
                    <a:pt x="2765" y="2941"/>
                  </a:lnTo>
                  <a:lnTo>
                    <a:pt x="2766" y="2932"/>
                  </a:lnTo>
                  <a:lnTo>
                    <a:pt x="2771" y="2925"/>
                  </a:lnTo>
                  <a:lnTo>
                    <a:pt x="2777" y="2922"/>
                  </a:lnTo>
                  <a:lnTo>
                    <a:pt x="2784" y="2920"/>
                  </a:lnTo>
                  <a:lnTo>
                    <a:pt x="2792" y="2922"/>
                  </a:lnTo>
                  <a:lnTo>
                    <a:pt x="2798" y="2925"/>
                  </a:lnTo>
                  <a:lnTo>
                    <a:pt x="2803" y="2932"/>
                  </a:lnTo>
                  <a:lnTo>
                    <a:pt x="2804" y="2941"/>
                  </a:lnTo>
                  <a:close/>
                  <a:moveTo>
                    <a:pt x="6888" y="1521"/>
                  </a:moveTo>
                  <a:lnTo>
                    <a:pt x="6778" y="1521"/>
                  </a:lnTo>
                  <a:lnTo>
                    <a:pt x="6778" y="1631"/>
                  </a:lnTo>
                  <a:lnTo>
                    <a:pt x="6888" y="1631"/>
                  </a:lnTo>
                  <a:lnTo>
                    <a:pt x="6888" y="1521"/>
                  </a:lnTo>
                  <a:close/>
                  <a:moveTo>
                    <a:pt x="7276" y="2772"/>
                  </a:moveTo>
                  <a:lnTo>
                    <a:pt x="7276" y="2585"/>
                  </a:lnTo>
                  <a:lnTo>
                    <a:pt x="7276" y="2277"/>
                  </a:lnTo>
                  <a:lnTo>
                    <a:pt x="7277" y="2271"/>
                  </a:lnTo>
                  <a:lnTo>
                    <a:pt x="7277" y="1671"/>
                  </a:lnTo>
                  <a:lnTo>
                    <a:pt x="6909" y="1671"/>
                  </a:lnTo>
                  <a:lnTo>
                    <a:pt x="6758" y="1671"/>
                  </a:lnTo>
                  <a:lnTo>
                    <a:pt x="6469" y="1671"/>
                  </a:lnTo>
                  <a:lnTo>
                    <a:pt x="6460" y="1670"/>
                  </a:lnTo>
                  <a:lnTo>
                    <a:pt x="6454" y="1665"/>
                  </a:lnTo>
                  <a:lnTo>
                    <a:pt x="6450" y="1658"/>
                  </a:lnTo>
                  <a:lnTo>
                    <a:pt x="6449" y="1652"/>
                  </a:lnTo>
                  <a:lnTo>
                    <a:pt x="6450" y="1644"/>
                  </a:lnTo>
                  <a:lnTo>
                    <a:pt x="6454" y="1638"/>
                  </a:lnTo>
                  <a:lnTo>
                    <a:pt x="6460" y="1633"/>
                  </a:lnTo>
                  <a:lnTo>
                    <a:pt x="6469" y="1631"/>
                  </a:lnTo>
                  <a:lnTo>
                    <a:pt x="6574" y="1631"/>
                  </a:lnTo>
                  <a:lnTo>
                    <a:pt x="6574" y="1488"/>
                  </a:lnTo>
                  <a:lnTo>
                    <a:pt x="6172" y="1488"/>
                  </a:lnTo>
                  <a:lnTo>
                    <a:pt x="6172" y="1631"/>
                  </a:lnTo>
                  <a:lnTo>
                    <a:pt x="6204" y="1631"/>
                  </a:lnTo>
                  <a:lnTo>
                    <a:pt x="6213" y="1633"/>
                  </a:lnTo>
                  <a:lnTo>
                    <a:pt x="6219" y="1638"/>
                  </a:lnTo>
                  <a:lnTo>
                    <a:pt x="6223" y="1644"/>
                  </a:lnTo>
                  <a:lnTo>
                    <a:pt x="6224" y="1652"/>
                  </a:lnTo>
                  <a:lnTo>
                    <a:pt x="6223" y="1658"/>
                  </a:lnTo>
                  <a:lnTo>
                    <a:pt x="6219" y="1665"/>
                  </a:lnTo>
                  <a:lnTo>
                    <a:pt x="6213" y="1670"/>
                  </a:lnTo>
                  <a:lnTo>
                    <a:pt x="6204" y="1671"/>
                  </a:lnTo>
                  <a:lnTo>
                    <a:pt x="6037" y="1671"/>
                  </a:lnTo>
                  <a:lnTo>
                    <a:pt x="6037" y="2332"/>
                  </a:lnTo>
                  <a:lnTo>
                    <a:pt x="6037" y="2993"/>
                  </a:lnTo>
                  <a:lnTo>
                    <a:pt x="6037" y="3654"/>
                  </a:lnTo>
                  <a:lnTo>
                    <a:pt x="6037" y="4317"/>
                  </a:lnTo>
                  <a:lnTo>
                    <a:pt x="6656" y="4317"/>
                  </a:lnTo>
                  <a:lnTo>
                    <a:pt x="7276" y="4317"/>
                  </a:lnTo>
                  <a:lnTo>
                    <a:pt x="7276" y="3544"/>
                  </a:lnTo>
                  <a:lnTo>
                    <a:pt x="7276" y="2772"/>
                  </a:lnTo>
                  <a:close/>
                  <a:moveTo>
                    <a:pt x="9050" y="2792"/>
                  </a:moveTo>
                  <a:lnTo>
                    <a:pt x="8182" y="2792"/>
                  </a:lnTo>
                  <a:lnTo>
                    <a:pt x="7315" y="2792"/>
                  </a:lnTo>
                  <a:lnTo>
                    <a:pt x="7315" y="3554"/>
                  </a:lnTo>
                  <a:lnTo>
                    <a:pt x="7315" y="4317"/>
                  </a:lnTo>
                  <a:lnTo>
                    <a:pt x="8182" y="4317"/>
                  </a:lnTo>
                  <a:lnTo>
                    <a:pt x="9050" y="4317"/>
                  </a:lnTo>
                  <a:lnTo>
                    <a:pt x="9050" y="3554"/>
                  </a:lnTo>
                  <a:lnTo>
                    <a:pt x="9050" y="2792"/>
                  </a:lnTo>
                  <a:close/>
                  <a:moveTo>
                    <a:pt x="8412" y="2258"/>
                  </a:moveTo>
                  <a:lnTo>
                    <a:pt x="8412" y="2135"/>
                  </a:lnTo>
                  <a:lnTo>
                    <a:pt x="8413" y="2127"/>
                  </a:lnTo>
                  <a:lnTo>
                    <a:pt x="8418" y="2121"/>
                  </a:lnTo>
                  <a:lnTo>
                    <a:pt x="8425" y="2117"/>
                  </a:lnTo>
                  <a:lnTo>
                    <a:pt x="8432" y="2116"/>
                  </a:lnTo>
                  <a:lnTo>
                    <a:pt x="8677" y="2116"/>
                  </a:lnTo>
                  <a:lnTo>
                    <a:pt x="8685" y="2117"/>
                  </a:lnTo>
                  <a:lnTo>
                    <a:pt x="8691" y="2121"/>
                  </a:lnTo>
                  <a:lnTo>
                    <a:pt x="8695" y="2127"/>
                  </a:lnTo>
                  <a:lnTo>
                    <a:pt x="8698" y="2135"/>
                  </a:lnTo>
                  <a:lnTo>
                    <a:pt x="8698" y="2258"/>
                  </a:lnTo>
                  <a:lnTo>
                    <a:pt x="8853" y="2258"/>
                  </a:lnTo>
                  <a:lnTo>
                    <a:pt x="8868" y="2266"/>
                  </a:lnTo>
                  <a:lnTo>
                    <a:pt x="9089" y="2565"/>
                  </a:lnTo>
                  <a:lnTo>
                    <a:pt x="9100" y="2565"/>
                  </a:lnTo>
                  <a:lnTo>
                    <a:pt x="9108" y="2566"/>
                  </a:lnTo>
                  <a:lnTo>
                    <a:pt x="9114" y="2571"/>
                  </a:lnTo>
                  <a:lnTo>
                    <a:pt x="9120" y="2578"/>
                  </a:lnTo>
                  <a:lnTo>
                    <a:pt x="9121" y="2585"/>
                  </a:lnTo>
                  <a:lnTo>
                    <a:pt x="9121" y="2772"/>
                  </a:lnTo>
                  <a:lnTo>
                    <a:pt x="9120" y="2780"/>
                  </a:lnTo>
                  <a:lnTo>
                    <a:pt x="9114" y="2786"/>
                  </a:lnTo>
                  <a:lnTo>
                    <a:pt x="9108" y="2791"/>
                  </a:lnTo>
                  <a:lnTo>
                    <a:pt x="9100" y="2792"/>
                  </a:lnTo>
                  <a:lnTo>
                    <a:pt x="9090" y="2792"/>
                  </a:lnTo>
                  <a:lnTo>
                    <a:pt x="9090" y="3563"/>
                  </a:lnTo>
                  <a:lnTo>
                    <a:pt x="9090" y="4336"/>
                  </a:lnTo>
                  <a:lnTo>
                    <a:pt x="9089" y="4343"/>
                  </a:lnTo>
                  <a:lnTo>
                    <a:pt x="9084" y="4350"/>
                  </a:lnTo>
                  <a:lnTo>
                    <a:pt x="9077" y="4355"/>
                  </a:lnTo>
                  <a:lnTo>
                    <a:pt x="9070" y="4356"/>
                  </a:lnTo>
                  <a:lnTo>
                    <a:pt x="8184" y="4356"/>
                  </a:lnTo>
                  <a:lnTo>
                    <a:pt x="7297" y="4356"/>
                  </a:lnTo>
                  <a:lnTo>
                    <a:pt x="7295" y="4356"/>
                  </a:lnTo>
                  <a:lnTo>
                    <a:pt x="6656" y="4356"/>
                  </a:lnTo>
                  <a:lnTo>
                    <a:pt x="6018" y="4356"/>
                  </a:lnTo>
                  <a:lnTo>
                    <a:pt x="6010" y="4355"/>
                  </a:lnTo>
                  <a:lnTo>
                    <a:pt x="6004" y="4350"/>
                  </a:lnTo>
                  <a:lnTo>
                    <a:pt x="5999" y="4343"/>
                  </a:lnTo>
                  <a:lnTo>
                    <a:pt x="5997" y="4336"/>
                  </a:lnTo>
                  <a:lnTo>
                    <a:pt x="5997" y="3664"/>
                  </a:lnTo>
                  <a:lnTo>
                    <a:pt x="5997" y="2993"/>
                  </a:lnTo>
                  <a:lnTo>
                    <a:pt x="5997" y="2322"/>
                  </a:lnTo>
                  <a:lnTo>
                    <a:pt x="5997" y="1652"/>
                  </a:lnTo>
                  <a:lnTo>
                    <a:pt x="5999" y="1644"/>
                  </a:lnTo>
                  <a:lnTo>
                    <a:pt x="6004" y="1638"/>
                  </a:lnTo>
                  <a:lnTo>
                    <a:pt x="6010" y="1633"/>
                  </a:lnTo>
                  <a:lnTo>
                    <a:pt x="6018" y="1631"/>
                  </a:lnTo>
                  <a:lnTo>
                    <a:pt x="6132" y="1631"/>
                  </a:lnTo>
                  <a:lnTo>
                    <a:pt x="6132" y="1469"/>
                  </a:lnTo>
                  <a:lnTo>
                    <a:pt x="6133" y="1461"/>
                  </a:lnTo>
                  <a:lnTo>
                    <a:pt x="6138" y="1455"/>
                  </a:lnTo>
                  <a:lnTo>
                    <a:pt x="6145" y="1451"/>
                  </a:lnTo>
                  <a:lnTo>
                    <a:pt x="6152" y="1448"/>
                  </a:lnTo>
                  <a:lnTo>
                    <a:pt x="6595" y="1448"/>
                  </a:lnTo>
                  <a:lnTo>
                    <a:pt x="6602" y="1451"/>
                  </a:lnTo>
                  <a:lnTo>
                    <a:pt x="6609" y="1455"/>
                  </a:lnTo>
                  <a:lnTo>
                    <a:pt x="6613" y="1461"/>
                  </a:lnTo>
                  <a:lnTo>
                    <a:pt x="6614" y="1469"/>
                  </a:lnTo>
                  <a:lnTo>
                    <a:pt x="6614" y="1631"/>
                  </a:lnTo>
                  <a:lnTo>
                    <a:pt x="6738" y="1631"/>
                  </a:lnTo>
                  <a:lnTo>
                    <a:pt x="6738" y="1501"/>
                  </a:lnTo>
                  <a:lnTo>
                    <a:pt x="6740" y="1493"/>
                  </a:lnTo>
                  <a:lnTo>
                    <a:pt x="6744" y="1487"/>
                  </a:lnTo>
                  <a:lnTo>
                    <a:pt x="6750" y="1483"/>
                  </a:lnTo>
                  <a:lnTo>
                    <a:pt x="6758" y="1480"/>
                  </a:lnTo>
                  <a:lnTo>
                    <a:pt x="6909" y="1480"/>
                  </a:lnTo>
                  <a:lnTo>
                    <a:pt x="6917" y="1483"/>
                  </a:lnTo>
                  <a:lnTo>
                    <a:pt x="6923" y="1487"/>
                  </a:lnTo>
                  <a:lnTo>
                    <a:pt x="6927" y="1493"/>
                  </a:lnTo>
                  <a:lnTo>
                    <a:pt x="6928" y="1501"/>
                  </a:lnTo>
                  <a:lnTo>
                    <a:pt x="6928" y="1631"/>
                  </a:lnTo>
                  <a:lnTo>
                    <a:pt x="7297" y="1631"/>
                  </a:lnTo>
                  <a:lnTo>
                    <a:pt x="7305" y="1633"/>
                  </a:lnTo>
                  <a:lnTo>
                    <a:pt x="7312" y="1638"/>
                  </a:lnTo>
                  <a:lnTo>
                    <a:pt x="7315" y="1644"/>
                  </a:lnTo>
                  <a:lnTo>
                    <a:pt x="7317" y="1652"/>
                  </a:lnTo>
                  <a:lnTo>
                    <a:pt x="7317" y="2258"/>
                  </a:lnTo>
                  <a:lnTo>
                    <a:pt x="7864" y="2258"/>
                  </a:lnTo>
                  <a:lnTo>
                    <a:pt x="8412" y="2258"/>
                  </a:lnTo>
                  <a:close/>
                  <a:moveTo>
                    <a:pt x="8657" y="2258"/>
                  </a:moveTo>
                  <a:lnTo>
                    <a:pt x="8657" y="2156"/>
                  </a:lnTo>
                  <a:lnTo>
                    <a:pt x="8452" y="2156"/>
                  </a:lnTo>
                  <a:lnTo>
                    <a:pt x="8452" y="2258"/>
                  </a:lnTo>
                  <a:lnTo>
                    <a:pt x="8482" y="2258"/>
                  </a:lnTo>
                  <a:lnTo>
                    <a:pt x="8491" y="2259"/>
                  </a:lnTo>
                  <a:lnTo>
                    <a:pt x="8496" y="2264"/>
                  </a:lnTo>
                  <a:lnTo>
                    <a:pt x="8500" y="2271"/>
                  </a:lnTo>
                  <a:lnTo>
                    <a:pt x="8502" y="2277"/>
                  </a:lnTo>
                  <a:lnTo>
                    <a:pt x="8500" y="2285"/>
                  </a:lnTo>
                  <a:lnTo>
                    <a:pt x="8496" y="2291"/>
                  </a:lnTo>
                  <a:lnTo>
                    <a:pt x="8491" y="2296"/>
                  </a:lnTo>
                  <a:lnTo>
                    <a:pt x="8482" y="2298"/>
                  </a:lnTo>
                  <a:lnTo>
                    <a:pt x="7899" y="2298"/>
                  </a:lnTo>
                  <a:lnTo>
                    <a:pt x="7315" y="2298"/>
                  </a:lnTo>
                  <a:lnTo>
                    <a:pt x="7315" y="2565"/>
                  </a:lnTo>
                  <a:lnTo>
                    <a:pt x="8177" y="2565"/>
                  </a:lnTo>
                  <a:lnTo>
                    <a:pt x="9039" y="2565"/>
                  </a:lnTo>
                  <a:lnTo>
                    <a:pt x="8843" y="2298"/>
                  </a:lnTo>
                  <a:lnTo>
                    <a:pt x="8637" y="2298"/>
                  </a:lnTo>
                  <a:lnTo>
                    <a:pt x="8630" y="2296"/>
                  </a:lnTo>
                  <a:lnTo>
                    <a:pt x="8623" y="2291"/>
                  </a:lnTo>
                  <a:lnTo>
                    <a:pt x="8619" y="2285"/>
                  </a:lnTo>
                  <a:lnTo>
                    <a:pt x="8618" y="2277"/>
                  </a:lnTo>
                  <a:lnTo>
                    <a:pt x="8619" y="2271"/>
                  </a:lnTo>
                  <a:lnTo>
                    <a:pt x="8623" y="2264"/>
                  </a:lnTo>
                  <a:lnTo>
                    <a:pt x="8630" y="2259"/>
                  </a:lnTo>
                  <a:lnTo>
                    <a:pt x="8637" y="2258"/>
                  </a:lnTo>
                  <a:lnTo>
                    <a:pt x="8657" y="2258"/>
                  </a:lnTo>
                  <a:close/>
                  <a:moveTo>
                    <a:pt x="9075" y="2604"/>
                  </a:moveTo>
                  <a:lnTo>
                    <a:pt x="8195" y="2604"/>
                  </a:lnTo>
                  <a:lnTo>
                    <a:pt x="7315" y="2604"/>
                  </a:lnTo>
                  <a:lnTo>
                    <a:pt x="7315" y="2753"/>
                  </a:lnTo>
                  <a:lnTo>
                    <a:pt x="8192" y="2753"/>
                  </a:lnTo>
                  <a:lnTo>
                    <a:pt x="9070" y="2753"/>
                  </a:lnTo>
                  <a:lnTo>
                    <a:pt x="9081" y="2753"/>
                  </a:lnTo>
                  <a:lnTo>
                    <a:pt x="9081" y="2604"/>
                  </a:lnTo>
                  <a:lnTo>
                    <a:pt x="9075" y="2604"/>
                  </a:lnTo>
                  <a:close/>
                  <a:moveTo>
                    <a:pt x="6236" y="1893"/>
                  </a:moveTo>
                  <a:lnTo>
                    <a:pt x="6369" y="1893"/>
                  </a:lnTo>
                  <a:lnTo>
                    <a:pt x="6378" y="1895"/>
                  </a:lnTo>
                  <a:lnTo>
                    <a:pt x="6384" y="1900"/>
                  </a:lnTo>
                  <a:lnTo>
                    <a:pt x="6387" y="1906"/>
                  </a:lnTo>
                  <a:lnTo>
                    <a:pt x="6388" y="1913"/>
                  </a:lnTo>
                  <a:lnTo>
                    <a:pt x="6387" y="1920"/>
                  </a:lnTo>
                  <a:lnTo>
                    <a:pt x="6384" y="1927"/>
                  </a:lnTo>
                  <a:lnTo>
                    <a:pt x="6378" y="1932"/>
                  </a:lnTo>
                  <a:lnTo>
                    <a:pt x="6369" y="1933"/>
                  </a:lnTo>
                  <a:lnTo>
                    <a:pt x="6236" y="1933"/>
                  </a:lnTo>
                  <a:lnTo>
                    <a:pt x="6227" y="1932"/>
                  </a:lnTo>
                  <a:lnTo>
                    <a:pt x="6220" y="1927"/>
                  </a:lnTo>
                  <a:lnTo>
                    <a:pt x="6216" y="1920"/>
                  </a:lnTo>
                  <a:lnTo>
                    <a:pt x="6215" y="1913"/>
                  </a:lnTo>
                  <a:lnTo>
                    <a:pt x="6216" y="1906"/>
                  </a:lnTo>
                  <a:lnTo>
                    <a:pt x="6220" y="1900"/>
                  </a:lnTo>
                  <a:lnTo>
                    <a:pt x="6227" y="1895"/>
                  </a:lnTo>
                  <a:lnTo>
                    <a:pt x="6236" y="1893"/>
                  </a:lnTo>
                  <a:close/>
                  <a:moveTo>
                    <a:pt x="6472" y="1893"/>
                  </a:moveTo>
                  <a:lnTo>
                    <a:pt x="6605" y="1893"/>
                  </a:lnTo>
                  <a:lnTo>
                    <a:pt x="6614" y="1895"/>
                  </a:lnTo>
                  <a:lnTo>
                    <a:pt x="6620" y="1900"/>
                  </a:lnTo>
                  <a:lnTo>
                    <a:pt x="6624" y="1906"/>
                  </a:lnTo>
                  <a:lnTo>
                    <a:pt x="6626" y="1913"/>
                  </a:lnTo>
                  <a:lnTo>
                    <a:pt x="6624" y="1920"/>
                  </a:lnTo>
                  <a:lnTo>
                    <a:pt x="6620" y="1927"/>
                  </a:lnTo>
                  <a:lnTo>
                    <a:pt x="6614" y="1932"/>
                  </a:lnTo>
                  <a:lnTo>
                    <a:pt x="6605" y="1933"/>
                  </a:lnTo>
                  <a:lnTo>
                    <a:pt x="6472" y="1933"/>
                  </a:lnTo>
                  <a:lnTo>
                    <a:pt x="6464" y="1932"/>
                  </a:lnTo>
                  <a:lnTo>
                    <a:pt x="6458" y="1927"/>
                  </a:lnTo>
                  <a:lnTo>
                    <a:pt x="6454" y="1920"/>
                  </a:lnTo>
                  <a:lnTo>
                    <a:pt x="6452" y="1913"/>
                  </a:lnTo>
                  <a:lnTo>
                    <a:pt x="6454" y="1906"/>
                  </a:lnTo>
                  <a:lnTo>
                    <a:pt x="6458" y="1900"/>
                  </a:lnTo>
                  <a:lnTo>
                    <a:pt x="6464" y="1895"/>
                  </a:lnTo>
                  <a:lnTo>
                    <a:pt x="6472" y="1893"/>
                  </a:lnTo>
                  <a:close/>
                  <a:moveTo>
                    <a:pt x="6709" y="1893"/>
                  </a:moveTo>
                  <a:lnTo>
                    <a:pt x="6842" y="1893"/>
                  </a:lnTo>
                  <a:lnTo>
                    <a:pt x="6851" y="1895"/>
                  </a:lnTo>
                  <a:lnTo>
                    <a:pt x="6858" y="1900"/>
                  </a:lnTo>
                  <a:lnTo>
                    <a:pt x="6861" y="1906"/>
                  </a:lnTo>
                  <a:lnTo>
                    <a:pt x="6863" y="1913"/>
                  </a:lnTo>
                  <a:lnTo>
                    <a:pt x="6861" y="1920"/>
                  </a:lnTo>
                  <a:lnTo>
                    <a:pt x="6858" y="1927"/>
                  </a:lnTo>
                  <a:lnTo>
                    <a:pt x="6851" y="1932"/>
                  </a:lnTo>
                  <a:lnTo>
                    <a:pt x="6842" y="1933"/>
                  </a:lnTo>
                  <a:lnTo>
                    <a:pt x="6709" y="1933"/>
                  </a:lnTo>
                  <a:lnTo>
                    <a:pt x="6700" y="1932"/>
                  </a:lnTo>
                  <a:lnTo>
                    <a:pt x="6693" y="1927"/>
                  </a:lnTo>
                  <a:lnTo>
                    <a:pt x="6690" y="1920"/>
                  </a:lnTo>
                  <a:lnTo>
                    <a:pt x="6688" y="1913"/>
                  </a:lnTo>
                  <a:lnTo>
                    <a:pt x="6690" y="1906"/>
                  </a:lnTo>
                  <a:lnTo>
                    <a:pt x="6693" y="1900"/>
                  </a:lnTo>
                  <a:lnTo>
                    <a:pt x="6700" y="1895"/>
                  </a:lnTo>
                  <a:lnTo>
                    <a:pt x="6709" y="1893"/>
                  </a:lnTo>
                  <a:close/>
                  <a:moveTo>
                    <a:pt x="6946" y="1893"/>
                  </a:moveTo>
                  <a:lnTo>
                    <a:pt x="7078" y="1893"/>
                  </a:lnTo>
                  <a:lnTo>
                    <a:pt x="7087" y="1895"/>
                  </a:lnTo>
                  <a:lnTo>
                    <a:pt x="7094" y="1900"/>
                  </a:lnTo>
                  <a:lnTo>
                    <a:pt x="7097" y="1906"/>
                  </a:lnTo>
                  <a:lnTo>
                    <a:pt x="7099" y="1913"/>
                  </a:lnTo>
                  <a:lnTo>
                    <a:pt x="7097" y="1920"/>
                  </a:lnTo>
                  <a:lnTo>
                    <a:pt x="7094" y="1927"/>
                  </a:lnTo>
                  <a:lnTo>
                    <a:pt x="7087" y="1932"/>
                  </a:lnTo>
                  <a:lnTo>
                    <a:pt x="7078" y="1933"/>
                  </a:lnTo>
                  <a:lnTo>
                    <a:pt x="6946" y="1933"/>
                  </a:lnTo>
                  <a:lnTo>
                    <a:pt x="6937" y="1932"/>
                  </a:lnTo>
                  <a:lnTo>
                    <a:pt x="6931" y="1927"/>
                  </a:lnTo>
                  <a:lnTo>
                    <a:pt x="6927" y="1920"/>
                  </a:lnTo>
                  <a:lnTo>
                    <a:pt x="6926" y="1913"/>
                  </a:lnTo>
                  <a:lnTo>
                    <a:pt x="6927" y="1906"/>
                  </a:lnTo>
                  <a:lnTo>
                    <a:pt x="6931" y="1900"/>
                  </a:lnTo>
                  <a:lnTo>
                    <a:pt x="6937" y="1895"/>
                  </a:lnTo>
                  <a:lnTo>
                    <a:pt x="6946" y="1893"/>
                  </a:lnTo>
                  <a:close/>
                  <a:moveTo>
                    <a:pt x="6236" y="2156"/>
                  </a:moveTo>
                  <a:lnTo>
                    <a:pt x="6369" y="2156"/>
                  </a:lnTo>
                  <a:lnTo>
                    <a:pt x="6378" y="2158"/>
                  </a:lnTo>
                  <a:lnTo>
                    <a:pt x="6384" y="2162"/>
                  </a:lnTo>
                  <a:lnTo>
                    <a:pt x="6387" y="2168"/>
                  </a:lnTo>
                  <a:lnTo>
                    <a:pt x="6388" y="2176"/>
                  </a:lnTo>
                  <a:lnTo>
                    <a:pt x="6387" y="2184"/>
                  </a:lnTo>
                  <a:lnTo>
                    <a:pt x="6384" y="2190"/>
                  </a:lnTo>
                  <a:lnTo>
                    <a:pt x="6378" y="2194"/>
                  </a:lnTo>
                  <a:lnTo>
                    <a:pt x="6369" y="2197"/>
                  </a:lnTo>
                  <a:lnTo>
                    <a:pt x="6236" y="2197"/>
                  </a:lnTo>
                  <a:lnTo>
                    <a:pt x="6227" y="2194"/>
                  </a:lnTo>
                  <a:lnTo>
                    <a:pt x="6220" y="2190"/>
                  </a:lnTo>
                  <a:lnTo>
                    <a:pt x="6216" y="2184"/>
                  </a:lnTo>
                  <a:lnTo>
                    <a:pt x="6215" y="2176"/>
                  </a:lnTo>
                  <a:lnTo>
                    <a:pt x="6216" y="2168"/>
                  </a:lnTo>
                  <a:lnTo>
                    <a:pt x="6220" y="2162"/>
                  </a:lnTo>
                  <a:lnTo>
                    <a:pt x="6227" y="2158"/>
                  </a:lnTo>
                  <a:lnTo>
                    <a:pt x="6236" y="2156"/>
                  </a:lnTo>
                  <a:close/>
                  <a:moveTo>
                    <a:pt x="6472" y="2156"/>
                  </a:moveTo>
                  <a:lnTo>
                    <a:pt x="6605" y="2156"/>
                  </a:lnTo>
                  <a:lnTo>
                    <a:pt x="6614" y="2158"/>
                  </a:lnTo>
                  <a:lnTo>
                    <a:pt x="6620" y="2162"/>
                  </a:lnTo>
                  <a:lnTo>
                    <a:pt x="6624" y="2168"/>
                  </a:lnTo>
                  <a:lnTo>
                    <a:pt x="6626" y="2176"/>
                  </a:lnTo>
                  <a:lnTo>
                    <a:pt x="6624" y="2184"/>
                  </a:lnTo>
                  <a:lnTo>
                    <a:pt x="6620" y="2190"/>
                  </a:lnTo>
                  <a:lnTo>
                    <a:pt x="6614" y="2194"/>
                  </a:lnTo>
                  <a:lnTo>
                    <a:pt x="6605" y="2197"/>
                  </a:lnTo>
                  <a:lnTo>
                    <a:pt x="6472" y="2197"/>
                  </a:lnTo>
                  <a:lnTo>
                    <a:pt x="6464" y="2194"/>
                  </a:lnTo>
                  <a:lnTo>
                    <a:pt x="6458" y="2190"/>
                  </a:lnTo>
                  <a:lnTo>
                    <a:pt x="6454" y="2184"/>
                  </a:lnTo>
                  <a:lnTo>
                    <a:pt x="6452" y="2176"/>
                  </a:lnTo>
                  <a:lnTo>
                    <a:pt x="6454" y="2168"/>
                  </a:lnTo>
                  <a:lnTo>
                    <a:pt x="6458" y="2162"/>
                  </a:lnTo>
                  <a:lnTo>
                    <a:pt x="6464" y="2158"/>
                  </a:lnTo>
                  <a:lnTo>
                    <a:pt x="6472" y="2156"/>
                  </a:lnTo>
                  <a:close/>
                  <a:moveTo>
                    <a:pt x="6709" y="2156"/>
                  </a:moveTo>
                  <a:lnTo>
                    <a:pt x="6842" y="2156"/>
                  </a:lnTo>
                  <a:lnTo>
                    <a:pt x="6851" y="2158"/>
                  </a:lnTo>
                  <a:lnTo>
                    <a:pt x="6858" y="2162"/>
                  </a:lnTo>
                  <a:lnTo>
                    <a:pt x="6861" y="2168"/>
                  </a:lnTo>
                  <a:lnTo>
                    <a:pt x="6863" y="2176"/>
                  </a:lnTo>
                  <a:lnTo>
                    <a:pt x="6861" y="2184"/>
                  </a:lnTo>
                  <a:lnTo>
                    <a:pt x="6858" y="2190"/>
                  </a:lnTo>
                  <a:lnTo>
                    <a:pt x="6851" y="2194"/>
                  </a:lnTo>
                  <a:lnTo>
                    <a:pt x="6842" y="2197"/>
                  </a:lnTo>
                  <a:lnTo>
                    <a:pt x="6709" y="2197"/>
                  </a:lnTo>
                  <a:lnTo>
                    <a:pt x="6700" y="2194"/>
                  </a:lnTo>
                  <a:lnTo>
                    <a:pt x="6693" y="2190"/>
                  </a:lnTo>
                  <a:lnTo>
                    <a:pt x="6690" y="2184"/>
                  </a:lnTo>
                  <a:lnTo>
                    <a:pt x="6688" y="2176"/>
                  </a:lnTo>
                  <a:lnTo>
                    <a:pt x="6690" y="2168"/>
                  </a:lnTo>
                  <a:lnTo>
                    <a:pt x="6693" y="2162"/>
                  </a:lnTo>
                  <a:lnTo>
                    <a:pt x="6700" y="2158"/>
                  </a:lnTo>
                  <a:lnTo>
                    <a:pt x="6709" y="2156"/>
                  </a:lnTo>
                  <a:close/>
                  <a:moveTo>
                    <a:pt x="6946" y="2156"/>
                  </a:moveTo>
                  <a:lnTo>
                    <a:pt x="7078" y="2156"/>
                  </a:lnTo>
                  <a:lnTo>
                    <a:pt x="7087" y="2158"/>
                  </a:lnTo>
                  <a:lnTo>
                    <a:pt x="7094" y="2162"/>
                  </a:lnTo>
                  <a:lnTo>
                    <a:pt x="7097" y="2168"/>
                  </a:lnTo>
                  <a:lnTo>
                    <a:pt x="7099" y="2176"/>
                  </a:lnTo>
                  <a:lnTo>
                    <a:pt x="7097" y="2184"/>
                  </a:lnTo>
                  <a:lnTo>
                    <a:pt x="7094" y="2190"/>
                  </a:lnTo>
                  <a:lnTo>
                    <a:pt x="7087" y="2194"/>
                  </a:lnTo>
                  <a:lnTo>
                    <a:pt x="7078" y="2197"/>
                  </a:lnTo>
                  <a:lnTo>
                    <a:pt x="6946" y="2197"/>
                  </a:lnTo>
                  <a:lnTo>
                    <a:pt x="6937" y="2194"/>
                  </a:lnTo>
                  <a:lnTo>
                    <a:pt x="6931" y="2190"/>
                  </a:lnTo>
                  <a:lnTo>
                    <a:pt x="6927" y="2184"/>
                  </a:lnTo>
                  <a:lnTo>
                    <a:pt x="6926" y="2176"/>
                  </a:lnTo>
                  <a:lnTo>
                    <a:pt x="6927" y="2168"/>
                  </a:lnTo>
                  <a:lnTo>
                    <a:pt x="6931" y="2162"/>
                  </a:lnTo>
                  <a:lnTo>
                    <a:pt x="6937" y="2158"/>
                  </a:lnTo>
                  <a:lnTo>
                    <a:pt x="6946" y="2156"/>
                  </a:lnTo>
                  <a:close/>
                  <a:moveTo>
                    <a:pt x="6236" y="2419"/>
                  </a:moveTo>
                  <a:lnTo>
                    <a:pt x="6369" y="2419"/>
                  </a:lnTo>
                  <a:lnTo>
                    <a:pt x="6378" y="2420"/>
                  </a:lnTo>
                  <a:lnTo>
                    <a:pt x="6384" y="2425"/>
                  </a:lnTo>
                  <a:lnTo>
                    <a:pt x="6387" y="2432"/>
                  </a:lnTo>
                  <a:lnTo>
                    <a:pt x="6388" y="2439"/>
                  </a:lnTo>
                  <a:lnTo>
                    <a:pt x="6387" y="2446"/>
                  </a:lnTo>
                  <a:lnTo>
                    <a:pt x="6384" y="2452"/>
                  </a:lnTo>
                  <a:lnTo>
                    <a:pt x="6378" y="2457"/>
                  </a:lnTo>
                  <a:lnTo>
                    <a:pt x="6369" y="2459"/>
                  </a:lnTo>
                  <a:lnTo>
                    <a:pt x="6236" y="2459"/>
                  </a:lnTo>
                  <a:lnTo>
                    <a:pt x="6227" y="2457"/>
                  </a:lnTo>
                  <a:lnTo>
                    <a:pt x="6220" y="2452"/>
                  </a:lnTo>
                  <a:lnTo>
                    <a:pt x="6216" y="2446"/>
                  </a:lnTo>
                  <a:lnTo>
                    <a:pt x="6215" y="2439"/>
                  </a:lnTo>
                  <a:lnTo>
                    <a:pt x="6216" y="2432"/>
                  </a:lnTo>
                  <a:lnTo>
                    <a:pt x="6220" y="2425"/>
                  </a:lnTo>
                  <a:lnTo>
                    <a:pt x="6227" y="2420"/>
                  </a:lnTo>
                  <a:lnTo>
                    <a:pt x="6236" y="2419"/>
                  </a:lnTo>
                  <a:close/>
                  <a:moveTo>
                    <a:pt x="6472" y="2419"/>
                  </a:moveTo>
                  <a:lnTo>
                    <a:pt x="6605" y="2419"/>
                  </a:lnTo>
                  <a:lnTo>
                    <a:pt x="6614" y="2420"/>
                  </a:lnTo>
                  <a:lnTo>
                    <a:pt x="6620" y="2425"/>
                  </a:lnTo>
                  <a:lnTo>
                    <a:pt x="6624" y="2432"/>
                  </a:lnTo>
                  <a:lnTo>
                    <a:pt x="6626" y="2439"/>
                  </a:lnTo>
                  <a:lnTo>
                    <a:pt x="6624" y="2446"/>
                  </a:lnTo>
                  <a:lnTo>
                    <a:pt x="6620" y="2452"/>
                  </a:lnTo>
                  <a:lnTo>
                    <a:pt x="6614" y="2457"/>
                  </a:lnTo>
                  <a:lnTo>
                    <a:pt x="6605" y="2459"/>
                  </a:lnTo>
                  <a:lnTo>
                    <a:pt x="6472" y="2459"/>
                  </a:lnTo>
                  <a:lnTo>
                    <a:pt x="6464" y="2457"/>
                  </a:lnTo>
                  <a:lnTo>
                    <a:pt x="6458" y="2452"/>
                  </a:lnTo>
                  <a:lnTo>
                    <a:pt x="6454" y="2446"/>
                  </a:lnTo>
                  <a:lnTo>
                    <a:pt x="6452" y="2439"/>
                  </a:lnTo>
                  <a:lnTo>
                    <a:pt x="6454" y="2432"/>
                  </a:lnTo>
                  <a:lnTo>
                    <a:pt x="6458" y="2425"/>
                  </a:lnTo>
                  <a:lnTo>
                    <a:pt x="6464" y="2420"/>
                  </a:lnTo>
                  <a:lnTo>
                    <a:pt x="6472" y="2419"/>
                  </a:lnTo>
                  <a:close/>
                  <a:moveTo>
                    <a:pt x="6709" y="2419"/>
                  </a:moveTo>
                  <a:lnTo>
                    <a:pt x="6842" y="2419"/>
                  </a:lnTo>
                  <a:lnTo>
                    <a:pt x="6851" y="2420"/>
                  </a:lnTo>
                  <a:lnTo>
                    <a:pt x="6858" y="2425"/>
                  </a:lnTo>
                  <a:lnTo>
                    <a:pt x="6861" y="2432"/>
                  </a:lnTo>
                  <a:lnTo>
                    <a:pt x="6863" y="2439"/>
                  </a:lnTo>
                  <a:lnTo>
                    <a:pt x="6861" y="2446"/>
                  </a:lnTo>
                  <a:lnTo>
                    <a:pt x="6858" y="2452"/>
                  </a:lnTo>
                  <a:lnTo>
                    <a:pt x="6851" y="2457"/>
                  </a:lnTo>
                  <a:lnTo>
                    <a:pt x="6842" y="2459"/>
                  </a:lnTo>
                  <a:lnTo>
                    <a:pt x="6709" y="2459"/>
                  </a:lnTo>
                  <a:lnTo>
                    <a:pt x="6700" y="2457"/>
                  </a:lnTo>
                  <a:lnTo>
                    <a:pt x="6693" y="2452"/>
                  </a:lnTo>
                  <a:lnTo>
                    <a:pt x="6690" y="2446"/>
                  </a:lnTo>
                  <a:lnTo>
                    <a:pt x="6688" y="2439"/>
                  </a:lnTo>
                  <a:lnTo>
                    <a:pt x="6690" y="2432"/>
                  </a:lnTo>
                  <a:lnTo>
                    <a:pt x="6693" y="2425"/>
                  </a:lnTo>
                  <a:lnTo>
                    <a:pt x="6700" y="2420"/>
                  </a:lnTo>
                  <a:lnTo>
                    <a:pt x="6709" y="2419"/>
                  </a:lnTo>
                  <a:close/>
                  <a:moveTo>
                    <a:pt x="6946" y="2419"/>
                  </a:moveTo>
                  <a:lnTo>
                    <a:pt x="7078" y="2419"/>
                  </a:lnTo>
                  <a:lnTo>
                    <a:pt x="7087" y="2420"/>
                  </a:lnTo>
                  <a:lnTo>
                    <a:pt x="7094" y="2425"/>
                  </a:lnTo>
                  <a:lnTo>
                    <a:pt x="7097" y="2432"/>
                  </a:lnTo>
                  <a:lnTo>
                    <a:pt x="7099" y="2439"/>
                  </a:lnTo>
                  <a:lnTo>
                    <a:pt x="7097" y="2446"/>
                  </a:lnTo>
                  <a:lnTo>
                    <a:pt x="7094" y="2452"/>
                  </a:lnTo>
                  <a:lnTo>
                    <a:pt x="7087" y="2457"/>
                  </a:lnTo>
                  <a:lnTo>
                    <a:pt x="7078" y="2459"/>
                  </a:lnTo>
                  <a:lnTo>
                    <a:pt x="6946" y="2459"/>
                  </a:lnTo>
                  <a:lnTo>
                    <a:pt x="6937" y="2457"/>
                  </a:lnTo>
                  <a:lnTo>
                    <a:pt x="6931" y="2452"/>
                  </a:lnTo>
                  <a:lnTo>
                    <a:pt x="6927" y="2446"/>
                  </a:lnTo>
                  <a:lnTo>
                    <a:pt x="6926" y="2439"/>
                  </a:lnTo>
                  <a:lnTo>
                    <a:pt x="6927" y="2432"/>
                  </a:lnTo>
                  <a:lnTo>
                    <a:pt x="6931" y="2425"/>
                  </a:lnTo>
                  <a:lnTo>
                    <a:pt x="6937" y="2420"/>
                  </a:lnTo>
                  <a:lnTo>
                    <a:pt x="6946" y="2419"/>
                  </a:lnTo>
                  <a:close/>
                  <a:moveTo>
                    <a:pt x="6236" y="2682"/>
                  </a:moveTo>
                  <a:lnTo>
                    <a:pt x="6369" y="2682"/>
                  </a:lnTo>
                  <a:lnTo>
                    <a:pt x="6378" y="2684"/>
                  </a:lnTo>
                  <a:lnTo>
                    <a:pt x="6384" y="2689"/>
                  </a:lnTo>
                  <a:lnTo>
                    <a:pt x="6387" y="2695"/>
                  </a:lnTo>
                  <a:lnTo>
                    <a:pt x="6388" y="2702"/>
                  </a:lnTo>
                  <a:lnTo>
                    <a:pt x="6387" y="2709"/>
                  </a:lnTo>
                  <a:lnTo>
                    <a:pt x="6384" y="2716"/>
                  </a:lnTo>
                  <a:lnTo>
                    <a:pt x="6378" y="2721"/>
                  </a:lnTo>
                  <a:lnTo>
                    <a:pt x="6369" y="2722"/>
                  </a:lnTo>
                  <a:lnTo>
                    <a:pt x="6236" y="2722"/>
                  </a:lnTo>
                  <a:lnTo>
                    <a:pt x="6227" y="2721"/>
                  </a:lnTo>
                  <a:lnTo>
                    <a:pt x="6220" y="2716"/>
                  </a:lnTo>
                  <a:lnTo>
                    <a:pt x="6216" y="2709"/>
                  </a:lnTo>
                  <a:lnTo>
                    <a:pt x="6215" y="2702"/>
                  </a:lnTo>
                  <a:lnTo>
                    <a:pt x="6216" y="2695"/>
                  </a:lnTo>
                  <a:lnTo>
                    <a:pt x="6220" y="2689"/>
                  </a:lnTo>
                  <a:lnTo>
                    <a:pt x="6227" y="2684"/>
                  </a:lnTo>
                  <a:lnTo>
                    <a:pt x="6236" y="2682"/>
                  </a:lnTo>
                  <a:close/>
                  <a:moveTo>
                    <a:pt x="6472" y="2682"/>
                  </a:moveTo>
                  <a:lnTo>
                    <a:pt x="6605" y="2682"/>
                  </a:lnTo>
                  <a:lnTo>
                    <a:pt x="6614" y="2684"/>
                  </a:lnTo>
                  <a:lnTo>
                    <a:pt x="6620" y="2689"/>
                  </a:lnTo>
                  <a:lnTo>
                    <a:pt x="6624" y="2695"/>
                  </a:lnTo>
                  <a:lnTo>
                    <a:pt x="6626" y="2702"/>
                  </a:lnTo>
                  <a:lnTo>
                    <a:pt x="6624" y="2709"/>
                  </a:lnTo>
                  <a:lnTo>
                    <a:pt x="6620" y="2716"/>
                  </a:lnTo>
                  <a:lnTo>
                    <a:pt x="6614" y="2721"/>
                  </a:lnTo>
                  <a:lnTo>
                    <a:pt x="6605" y="2722"/>
                  </a:lnTo>
                  <a:lnTo>
                    <a:pt x="6472" y="2722"/>
                  </a:lnTo>
                  <a:lnTo>
                    <a:pt x="6464" y="2721"/>
                  </a:lnTo>
                  <a:lnTo>
                    <a:pt x="6458" y="2716"/>
                  </a:lnTo>
                  <a:lnTo>
                    <a:pt x="6454" y="2709"/>
                  </a:lnTo>
                  <a:lnTo>
                    <a:pt x="6452" y="2702"/>
                  </a:lnTo>
                  <a:lnTo>
                    <a:pt x="6454" y="2695"/>
                  </a:lnTo>
                  <a:lnTo>
                    <a:pt x="6458" y="2689"/>
                  </a:lnTo>
                  <a:lnTo>
                    <a:pt x="6464" y="2684"/>
                  </a:lnTo>
                  <a:lnTo>
                    <a:pt x="6472" y="2682"/>
                  </a:lnTo>
                  <a:close/>
                  <a:moveTo>
                    <a:pt x="6709" y="2682"/>
                  </a:moveTo>
                  <a:lnTo>
                    <a:pt x="6842" y="2682"/>
                  </a:lnTo>
                  <a:lnTo>
                    <a:pt x="6851" y="2684"/>
                  </a:lnTo>
                  <a:lnTo>
                    <a:pt x="6858" y="2689"/>
                  </a:lnTo>
                  <a:lnTo>
                    <a:pt x="6861" y="2695"/>
                  </a:lnTo>
                  <a:lnTo>
                    <a:pt x="6863" y="2702"/>
                  </a:lnTo>
                  <a:lnTo>
                    <a:pt x="6861" y="2709"/>
                  </a:lnTo>
                  <a:lnTo>
                    <a:pt x="6858" y="2716"/>
                  </a:lnTo>
                  <a:lnTo>
                    <a:pt x="6851" y="2721"/>
                  </a:lnTo>
                  <a:lnTo>
                    <a:pt x="6842" y="2722"/>
                  </a:lnTo>
                  <a:lnTo>
                    <a:pt x="6709" y="2722"/>
                  </a:lnTo>
                  <a:lnTo>
                    <a:pt x="6700" y="2721"/>
                  </a:lnTo>
                  <a:lnTo>
                    <a:pt x="6693" y="2716"/>
                  </a:lnTo>
                  <a:lnTo>
                    <a:pt x="6690" y="2709"/>
                  </a:lnTo>
                  <a:lnTo>
                    <a:pt x="6688" y="2702"/>
                  </a:lnTo>
                  <a:lnTo>
                    <a:pt x="6690" y="2695"/>
                  </a:lnTo>
                  <a:lnTo>
                    <a:pt x="6693" y="2689"/>
                  </a:lnTo>
                  <a:lnTo>
                    <a:pt x="6700" y="2684"/>
                  </a:lnTo>
                  <a:lnTo>
                    <a:pt x="6709" y="2682"/>
                  </a:lnTo>
                  <a:close/>
                  <a:moveTo>
                    <a:pt x="6946" y="2682"/>
                  </a:moveTo>
                  <a:lnTo>
                    <a:pt x="7078" y="2682"/>
                  </a:lnTo>
                  <a:lnTo>
                    <a:pt x="7087" y="2684"/>
                  </a:lnTo>
                  <a:lnTo>
                    <a:pt x="7094" y="2689"/>
                  </a:lnTo>
                  <a:lnTo>
                    <a:pt x="7097" y="2695"/>
                  </a:lnTo>
                  <a:lnTo>
                    <a:pt x="7099" y="2702"/>
                  </a:lnTo>
                  <a:lnTo>
                    <a:pt x="7097" y="2709"/>
                  </a:lnTo>
                  <a:lnTo>
                    <a:pt x="7094" y="2716"/>
                  </a:lnTo>
                  <a:lnTo>
                    <a:pt x="7087" y="2721"/>
                  </a:lnTo>
                  <a:lnTo>
                    <a:pt x="7078" y="2722"/>
                  </a:lnTo>
                  <a:lnTo>
                    <a:pt x="6946" y="2722"/>
                  </a:lnTo>
                  <a:lnTo>
                    <a:pt x="6937" y="2721"/>
                  </a:lnTo>
                  <a:lnTo>
                    <a:pt x="6931" y="2716"/>
                  </a:lnTo>
                  <a:lnTo>
                    <a:pt x="6927" y="2709"/>
                  </a:lnTo>
                  <a:lnTo>
                    <a:pt x="6926" y="2702"/>
                  </a:lnTo>
                  <a:lnTo>
                    <a:pt x="6927" y="2695"/>
                  </a:lnTo>
                  <a:lnTo>
                    <a:pt x="6931" y="2689"/>
                  </a:lnTo>
                  <a:lnTo>
                    <a:pt x="6937" y="2684"/>
                  </a:lnTo>
                  <a:lnTo>
                    <a:pt x="6946" y="2682"/>
                  </a:lnTo>
                  <a:close/>
                  <a:moveTo>
                    <a:pt x="6236" y="2946"/>
                  </a:moveTo>
                  <a:lnTo>
                    <a:pt x="6369" y="2946"/>
                  </a:lnTo>
                  <a:lnTo>
                    <a:pt x="6378" y="2947"/>
                  </a:lnTo>
                  <a:lnTo>
                    <a:pt x="6384" y="2951"/>
                  </a:lnTo>
                  <a:lnTo>
                    <a:pt x="6387" y="2957"/>
                  </a:lnTo>
                  <a:lnTo>
                    <a:pt x="6388" y="2965"/>
                  </a:lnTo>
                  <a:lnTo>
                    <a:pt x="6387" y="2973"/>
                  </a:lnTo>
                  <a:lnTo>
                    <a:pt x="6384" y="2979"/>
                  </a:lnTo>
                  <a:lnTo>
                    <a:pt x="6378" y="2983"/>
                  </a:lnTo>
                  <a:lnTo>
                    <a:pt x="6369" y="2985"/>
                  </a:lnTo>
                  <a:lnTo>
                    <a:pt x="6236" y="2985"/>
                  </a:lnTo>
                  <a:lnTo>
                    <a:pt x="6227" y="2983"/>
                  </a:lnTo>
                  <a:lnTo>
                    <a:pt x="6220" y="2979"/>
                  </a:lnTo>
                  <a:lnTo>
                    <a:pt x="6216" y="2973"/>
                  </a:lnTo>
                  <a:lnTo>
                    <a:pt x="6215" y="2965"/>
                  </a:lnTo>
                  <a:lnTo>
                    <a:pt x="6216" y="2957"/>
                  </a:lnTo>
                  <a:lnTo>
                    <a:pt x="6220" y="2951"/>
                  </a:lnTo>
                  <a:lnTo>
                    <a:pt x="6227" y="2947"/>
                  </a:lnTo>
                  <a:lnTo>
                    <a:pt x="6236" y="2946"/>
                  </a:lnTo>
                  <a:close/>
                  <a:moveTo>
                    <a:pt x="6472" y="2946"/>
                  </a:moveTo>
                  <a:lnTo>
                    <a:pt x="6605" y="2946"/>
                  </a:lnTo>
                  <a:lnTo>
                    <a:pt x="6614" y="2947"/>
                  </a:lnTo>
                  <a:lnTo>
                    <a:pt x="6620" y="2951"/>
                  </a:lnTo>
                  <a:lnTo>
                    <a:pt x="6624" y="2957"/>
                  </a:lnTo>
                  <a:lnTo>
                    <a:pt x="6626" y="2965"/>
                  </a:lnTo>
                  <a:lnTo>
                    <a:pt x="6624" y="2973"/>
                  </a:lnTo>
                  <a:lnTo>
                    <a:pt x="6620" y="2979"/>
                  </a:lnTo>
                  <a:lnTo>
                    <a:pt x="6614" y="2983"/>
                  </a:lnTo>
                  <a:lnTo>
                    <a:pt x="6605" y="2985"/>
                  </a:lnTo>
                  <a:lnTo>
                    <a:pt x="6472" y="2985"/>
                  </a:lnTo>
                  <a:lnTo>
                    <a:pt x="6464" y="2983"/>
                  </a:lnTo>
                  <a:lnTo>
                    <a:pt x="6458" y="2979"/>
                  </a:lnTo>
                  <a:lnTo>
                    <a:pt x="6454" y="2973"/>
                  </a:lnTo>
                  <a:lnTo>
                    <a:pt x="6452" y="2965"/>
                  </a:lnTo>
                  <a:lnTo>
                    <a:pt x="6454" y="2957"/>
                  </a:lnTo>
                  <a:lnTo>
                    <a:pt x="6458" y="2951"/>
                  </a:lnTo>
                  <a:lnTo>
                    <a:pt x="6464" y="2947"/>
                  </a:lnTo>
                  <a:lnTo>
                    <a:pt x="6472" y="2946"/>
                  </a:lnTo>
                  <a:close/>
                  <a:moveTo>
                    <a:pt x="6709" y="2946"/>
                  </a:moveTo>
                  <a:lnTo>
                    <a:pt x="6842" y="2946"/>
                  </a:lnTo>
                  <a:lnTo>
                    <a:pt x="6851" y="2947"/>
                  </a:lnTo>
                  <a:lnTo>
                    <a:pt x="6858" y="2951"/>
                  </a:lnTo>
                  <a:lnTo>
                    <a:pt x="6861" y="2957"/>
                  </a:lnTo>
                  <a:lnTo>
                    <a:pt x="6863" y="2965"/>
                  </a:lnTo>
                  <a:lnTo>
                    <a:pt x="6861" y="2973"/>
                  </a:lnTo>
                  <a:lnTo>
                    <a:pt x="6858" y="2979"/>
                  </a:lnTo>
                  <a:lnTo>
                    <a:pt x="6851" y="2983"/>
                  </a:lnTo>
                  <a:lnTo>
                    <a:pt x="6842" y="2985"/>
                  </a:lnTo>
                  <a:lnTo>
                    <a:pt x="6709" y="2985"/>
                  </a:lnTo>
                  <a:lnTo>
                    <a:pt x="6700" y="2983"/>
                  </a:lnTo>
                  <a:lnTo>
                    <a:pt x="6693" y="2979"/>
                  </a:lnTo>
                  <a:lnTo>
                    <a:pt x="6690" y="2973"/>
                  </a:lnTo>
                  <a:lnTo>
                    <a:pt x="6688" y="2965"/>
                  </a:lnTo>
                  <a:lnTo>
                    <a:pt x="6690" y="2957"/>
                  </a:lnTo>
                  <a:lnTo>
                    <a:pt x="6693" y="2951"/>
                  </a:lnTo>
                  <a:lnTo>
                    <a:pt x="6700" y="2947"/>
                  </a:lnTo>
                  <a:lnTo>
                    <a:pt x="6709" y="2946"/>
                  </a:lnTo>
                  <a:close/>
                  <a:moveTo>
                    <a:pt x="6946" y="2946"/>
                  </a:moveTo>
                  <a:lnTo>
                    <a:pt x="7078" y="2946"/>
                  </a:lnTo>
                  <a:lnTo>
                    <a:pt x="7087" y="2947"/>
                  </a:lnTo>
                  <a:lnTo>
                    <a:pt x="7094" y="2951"/>
                  </a:lnTo>
                  <a:lnTo>
                    <a:pt x="7097" y="2957"/>
                  </a:lnTo>
                  <a:lnTo>
                    <a:pt x="7099" y="2965"/>
                  </a:lnTo>
                  <a:lnTo>
                    <a:pt x="7097" y="2973"/>
                  </a:lnTo>
                  <a:lnTo>
                    <a:pt x="7094" y="2979"/>
                  </a:lnTo>
                  <a:lnTo>
                    <a:pt x="7087" y="2983"/>
                  </a:lnTo>
                  <a:lnTo>
                    <a:pt x="7078" y="2985"/>
                  </a:lnTo>
                  <a:lnTo>
                    <a:pt x="6946" y="2985"/>
                  </a:lnTo>
                  <a:lnTo>
                    <a:pt x="6937" y="2983"/>
                  </a:lnTo>
                  <a:lnTo>
                    <a:pt x="6931" y="2979"/>
                  </a:lnTo>
                  <a:lnTo>
                    <a:pt x="6927" y="2973"/>
                  </a:lnTo>
                  <a:lnTo>
                    <a:pt x="6926" y="2965"/>
                  </a:lnTo>
                  <a:lnTo>
                    <a:pt x="6927" y="2957"/>
                  </a:lnTo>
                  <a:lnTo>
                    <a:pt x="6931" y="2951"/>
                  </a:lnTo>
                  <a:lnTo>
                    <a:pt x="6937" y="2947"/>
                  </a:lnTo>
                  <a:lnTo>
                    <a:pt x="6946" y="2946"/>
                  </a:lnTo>
                  <a:close/>
                  <a:moveTo>
                    <a:pt x="6236" y="3208"/>
                  </a:moveTo>
                  <a:lnTo>
                    <a:pt x="6369" y="3208"/>
                  </a:lnTo>
                  <a:lnTo>
                    <a:pt x="6378" y="3211"/>
                  </a:lnTo>
                  <a:lnTo>
                    <a:pt x="6384" y="3214"/>
                  </a:lnTo>
                  <a:lnTo>
                    <a:pt x="6387" y="3221"/>
                  </a:lnTo>
                  <a:lnTo>
                    <a:pt x="6388" y="3228"/>
                  </a:lnTo>
                  <a:lnTo>
                    <a:pt x="6387" y="3236"/>
                  </a:lnTo>
                  <a:lnTo>
                    <a:pt x="6384" y="3242"/>
                  </a:lnTo>
                  <a:lnTo>
                    <a:pt x="6378" y="3246"/>
                  </a:lnTo>
                  <a:lnTo>
                    <a:pt x="6369" y="3248"/>
                  </a:lnTo>
                  <a:lnTo>
                    <a:pt x="6236" y="3248"/>
                  </a:lnTo>
                  <a:lnTo>
                    <a:pt x="6227" y="3246"/>
                  </a:lnTo>
                  <a:lnTo>
                    <a:pt x="6220" y="3242"/>
                  </a:lnTo>
                  <a:lnTo>
                    <a:pt x="6216" y="3236"/>
                  </a:lnTo>
                  <a:lnTo>
                    <a:pt x="6215" y="3228"/>
                  </a:lnTo>
                  <a:lnTo>
                    <a:pt x="6216" y="3221"/>
                  </a:lnTo>
                  <a:lnTo>
                    <a:pt x="6220" y="3214"/>
                  </a:lnTo>
                  <a:lnTo>
                    <a:pt x="6227" y="3211"/>
                  </a:lnTo>
                  <a:lnTo>
                    <a:pt x="6236" y="3208"/>
                  </a:lnTo>
                  <a:close/>
                  <a:moveTo>
                    <a:pt x="6472" y="3208"/>
                  </a:moveTo>
                  <a:lnTo>
                    <a:pt x="6605" y="3208"/>
                  </a:lnTo>
                  <a:lnTo>
                    <a:pt x="6614" y="3211"/>
                  </a:lnTo>
                  <a:lnTo>
                    <a:pt x="6620" y="3214"/>
                  </a:lnTo>
                  <a:lnTo>
                    <a:pt x="6624" y="3221"/>
                  </a:lnTo>
                  <a:lnTo>
                    <a:pt x="6626" y="3228"/>
                  </a:lnTo>
                  <a:lnTo>
                    <a:pt x="6624" y="3236"/>
                  </a:lnTo>
                  <a:lnTo>
                    <a:pt x="6620" y="3242"/>
                  </a:lnTo>
                  <a:lnTo>
                    <a:pt x="6614" y="3246"/>
                  </a:lnTo>
                  <a:lnTo>
                    <a:pt x="6605" y="3248"/>
                  </a:lnTo>
                  <a:lnTo>
                    <a:pt x="6472" y="3248"/>
                  </a:lnTo>
                  <a:lnTo>
                    <a:pt x="6464" y="3246"/>
                  </a:lnTo>
                  <a:lnTo>
                    <a:pt x="6458" y="3242"/>
                  </a:lnTo>
                  <a:lnTo>
                    <a:pt x="6454" y="3236"/>
                  </a:lnTo>
                  <a:lnTo>
                    <a:pt x="6452" y="3228"/>
                  </a:lnTo>
                  <a:lnTo>
                    <a:pt x="6454" y="3221"/>
                  </a:lnTo>
                  <a:lnTo>
                    <a:pt x="6458" y="3214"/>
                  </a:lnTo>
                  <a:lnTo>
                    <a:pt x="6464" y="3211"/>
                  </a:lnTo>
                  <a:lnTo>
                    <a:pt x="6472" y="3208"/>
                  </a:lnTo>
                  <a:close/>
                  <a:moveTo>
                    <a:pt x="6709" y="3208"/>
                  </a:moveTo>
                  <a:lnTo>
                    <a:pt x="6842" y="3208"/>
                  </a:lnTo>
                  <a:lnTo>
                    <a:pt x="6851" y="3211"/>
                  </a:lnTo>
                  <a:lnTo>
                    <a:pt x="6858" y="3214"/>
                  </a:lnTo>
                  <a:lnTo>
                    <a:pt x="6861" y="3221"/>
                  </a:lnTo>
                  <a:lnTo>
                    <a:pt x="6863" y="3228"/>
                  </a:lnTo>
                  <a:lnTo>
                    <a:pt x="6861" y="3236"/>
                  </a:lnTo>
                  <a:lnTo>
                    <a:pt x="6858" y="3242"/>
                  </a:lnTo>
                  <a:lnTo>
                    <a:pt x="6851" y="3246"/>
                  </a:lnTo>
                  <a:lnTo>
                    <a:pt x="6842" y="3248"/>
                  </a:lnTo>
                  <a:lnTo>
                    <a:pt x="6709" y="3248"/>
                  </a:lnTo>
                  <a:lnTo>
                    <a:pt x="6700" y="3246"/>
                  </a:lnTo>
                  <a:lnTo>
                    <a:pt x="6693" y="3242"/>
                  </a:lnTo>
                  <a:lnTo>
                    <a:pt x="6690" y="3236"/>
                  </a:lnTo>
                  <a:lnTo>
                    <a:pt x="6688" y="3228"/>
                  </a:lnTo>
                  <a:lnTo>
                    <a:pt x="6690" y="3221"/>
                  </a:lnTo>
                  <a:lnTo>
                    <a:pt x="6693" y="3214"/>
                  </a:lnTo>
                  <a:lnTo>
                    <a:pt x="6700" y="3211"/>
                  </a:lnTo>
                  <a:lnTo>
                    <a:pt x="6709" y="3208"/>
                  </a:lnTo>
                  <a:close/>
                  <a:moveTo>
                    <a:pt x="6946" y="3208"/>
                  </a:moveTo>
                  <a:lnTo>
                    <a:pt x="7078" y="3208"/>
                  </a:lnTo>
                  <a:lnTo>
                    <a:pt x="7087" y="3211"/>
                  </a:lnTo>
                  <a:lnTo>
                    <a:pt x="7094" y="3214"/>
                  </a:lnTo>
                  <a:lnTo>
                    <a:pt x="7097" y="3221"/>
                  </a:lnTo>
                  <a:lnTo>
                    <a:pt x="7099" y="3228"/>
                  </a:lnTo>
                  <a:lnTo>
                    <a:pt x="7097" y="3236"/>
                  </a:lnTo>
                  <a:lnTo>
                    <a:pt x="7094" y="3242"/>
                  </a:lnTo>
                  <a:lnTo>
                    <a:pt x="7087" y="3246"/>
                  </a:lnTo>
                  <a:lnTo>
                    <a:pt x="7078" y="3248"/>
                  </a:lnTo>
                  <a:lnTo>
                    <a:pt x="6946" y="3248"/>
                  </a:lnTo>
                  <a:lnTo>
                    <a:pt x="6937" y="3246"/>
                  </a:lnTo>
                  <a:lnTo>
                    <a:pt x="6931" y="3242"/>
                  </a:lnTo>
                  <a:lnTo>
                    <a:pt x="6927" y="3236"/>
                  </a:lnTo>
                  <a:lnTo>
                    <a:pt x="6926" y="3228"/>
                  </a:lnTo>
                  <a:lnTo>
                    <a:pt x="6927" y="3221"/>
                  </a:lnTo>
                  <a:lnTo>
                    <a:pt x="6931" y="3214"/>
                  </a:lnTo>
                  <a:lnTo>
                    <a:pt x="6937" y="3211"/>
                  </a:lnTo>
                  <a:lnTo>
                    <a:pt x="6946" y="3208"/>
                  </a:lnTo>
                  <a:close/>
                  <a:moveTo>
                    <a:pt x="6236" y="3471"/>
                  </a:moveTo>
                  <a:lnTo>
                    <a:pt x="6369" y="3471"/>
                  </a:lnTo>
                  <a:lnTo>
                    <a:pt x="6378" y="3473"/>
                  </a:lnTo>
                  <a:lnTo>
                    <a:pt x="6384" y="3478"/>
                  </a:lnTo>
                  <a:lnTo>
                    <a:pt x="6387" y="3484"/>
                  </a:lnTo>
                  <a:lnTo>
                    <a:pt x="6388" y="3492"/>
                  </a:lnTo>
                  <a:lnTo>
                    <a:pt x="6387" y="3498"/>
                  </a:lnTo>
                  <a:lnTo>
                    <a:pt x="6384" y="3505"/>
                  </a:lnTo>
                  <a:lnTo>
                    <a:pt x="6378" y="3510"/>
                  </a:lnTo>
                  <a:lnTo>
                    <a:pt x="6369" y="3511"/>
                  </a:lnTo>
                  <a:lnTo>
                    <a:pt x="6236" y="3511"/>
                  </a:lnTo>
                  <a:lnTo>
                    <a:pt x="6227" y="3510"/>
                  </a:lnTo>
                  <a:lnTo>
                    <a:pt x="6220" y="3505"/>
                  </a:lnTo>
                  <a:lnTo>
                    <a:pt x="6216" y="3498"/>
                  </a:lnTo>
                  <a:lnTo>
                    <a:pt x="6215" y="3492"/>
                  </a:lnTo>
                  <a:lnTo>
                    <a:pt x="6216" y="3484"/>
                  </a:lnTo>
                  <a:lnTo>
                    <a:pt x="6220" y="3478"/>
                  </a:lnTo>
                  <a:lnTo>
                    <a:pt x="6227" y="3473"/>
                  </a:lnTo>
                  <a:lnTo>
                    <a:pt x="6236" y="3471"/>
                  </a:lnTo>
                  <a:close/>
                  <a:moveTo>
                    <a:pt x="6472" y="3471"/>
                  </a:moveTo>
                  <a:lnTo>
                    <a:pt x="6605" y="3471"/>
                  </a:lnTo>
                  <a:lnTo>
                    <a:pt x="6614" y="3473"/>
                  </a:lnTo>
                  <a:lnTo>
                    <a:pt x="6620" y="3478"/>
                  </a:lnTo>
                  <a:lnTo>
                    <a:pt x="6624" y="3484"/>
                  </a:lnTo>
                  <a:lnTo>
                    <a:pt x="6626" y="3492"/>
                  </a:lnTo>
                  <a:lnTo>
                    <a:pt x="6624" y="3498"/>
                  </a:lnTo>
                  <a:lnTo>
                    <a:pt x="6620" y="3505"/>
                  </a:lnTo>
                  <a:lnTo>
                    <a:pt x="6614" y="3510"/>
                  </a:lnTo>
                  <a:lnTo>
                    <a:pt x="6605" y="3511"/>
                  </a:lnTo>
                  <a:lnTo>
                    <a:pt x="6472" y="3511"/>
                  </a:lnTo>
                  <a:lnTo>
                    <a:pt x="6464" y="3510"/>
                  </a:lnTo>
                  <a:lnTo>
                    <a:pt x="6458" y="3505"/>
                  </a:lnTo>
                  <a:lnTo>
                    <a:pt x="6454" y="3498"/>
                  </a:lnTo>
                  <a:lnTo>
                    <a:pt x="6452" y="3492"/>
                  </a:lnTo>
                  <a:lnTo>
                    <a:pt x="6454" y="3484"/>
                  </a:lnTo>
                  <a:lnTo>
                    <a:pt x="6458" y="3478"/>
                  </a:lnTo>
                  <a:lnTo>
                    <a:pt x="6464" y="3473"/>
                  </a:lnTo>
                  <a:lnTo>
                    <a:pt x="6472" y="3471"/>
                  </a:lnTo>
                  <a:close/>
                  <a:moveTo>
                    <a:pt x="6709" y="3471"/>
                  </a:moveTo>
                  <a:lnTo>
                    <a:pt x="6842" y="3471"/>
                  </a:lnTo>
                  <a:lnTo>
                    <a:pt x="6851" y="3473"/>
                  </a:lnTo>
                  <a:lnTo>
                    <a:pt x="6858" y="3478"/>
                  </a:lnTo>
                  <a:lnTo>
                    <a:pt x="6861" y="3484"/>
                  </a:lnTo>
                  <a:lnTo>
                    <a:pt x="6863" y="3492"/>
                  </a:lnTo>
                  <a:lnTo>
                    <a:pt x="6861" y="3498"/>
                  </a:lnTo>
                  <a:lnTo>
                    <a:pt x="6858" y="3505"/>
                  </a:lnTo>
                  <a:lnTo>
                    <a:pt x="6851" y="3510"/>
                  </a:lnTo>
                  <a:lnTo>
                    <a:pt x="6842" y="3511"/>
                  </a:lnTo>
                  <a:lnTo>
                    <a:pt x="6709" y="3511"/>
                  </a:lnTo>
                  <a:lnTo>
                    <a:pt x="6700" y="3510"/>
                  </a:lnTo>
                  <a:lnTo>
                    <a:pt x="6693" y="3505"/>
                  </a:lnTo>
                  <a:lnTo>
                    <a:pt x="6690" y="3498"/>
                  </a:lnTo>
                  <a:lnTo>
                    <a:pt x="6688" y="3492"/>
                  </a:lnTo>
                  <a:lnTo>
                    <a:pt x="6690" y="3484"/>
                  </a:lnTo>
                  <a:lnTo>
                    <a:pt x="6693" y="3478"/>
                  </a:lnTo>
                  <a:lnTo>
                    <a:pt x="6700" y="3473"/>
                  </a:lnTo>
                  <a:lnTo>
                    <a:pt x="6709" y="3471"/>
                  </a:lnTo>
                  <a:close/>
                  <a:moveTo>
                    <a:pt x="6946" y="3471"/>
                  </a:moveTo>
                  <a:lnTo>
                    <a:pt x="7078" y="3471"/>
                  </a:lnTo>
                  <a:lnTo>
                    <a:pt x="7087" y="3473"/>
                  </a:lnTo>
                  <a:lnTo>
                    <a:pt x="7094" y="3478"/>
                  </a:lnTo>
                  <a:lnTo>
                    <a:pt x="7097" y="3484"/>
                  </a:lnTo>
                  <a:lnTo>
                    <a:pt x="7099" y="3492"/>
                  </a:lnTo>
                  <a:lnTo>
                    <a:pt x="7097" y="3498"/>
                  </a:lnTo>
                  <a:lnTo>
                    <a:pt x="7094" y="3505"/>
                  </a:lnTo>
                  <a:lnTo>
                    <a:pt x="7087" y="3510"/>
                  </a:lnTo>
                  <a:lnTo>
                    <a:pt x="7078" y="3511"/>
                  </a:lnTo>
                  <a:lnTo>
                    <a:pt x="6946" y="3511"/>
                  </a:lnTo>
                  <a:lnTo>
                    <a:pt x="6937" y="3510"/>
                  </a:lnTo>
                  <a:lnTo>
                    <a:pt x="6931" y="3505"/>
                  </a:lnTo>
                  <a:lnTo>
                    <a:pt x="6927" y="3498"/>
                  </a:lnTo>
                  <a:lnTo>
                    <a:pt x="6926" y="3492"/>
                  </a:lnTo>
                  <a:lnTo>
                    <a:pt x="6927" y="3484"/>
                  </a:lnTo>
                  <a:lnTo>
                    <a:pt x="6931" y="3478"/>
                  </a:lnTo>
                  <a:lnTo>
                    <a:pt x="6937" y="3473"/>
                  </a:lnTo>
                  <a:lnTo>
                    <a:pt x="6946" y="3471"/>
                  </a:lnTo>
                  <a:close/>
                  <a:moveTo>
                    <a:pt x="6236" y="3735"/>
                  </a:moveTo>
                  <a:lnTo>
                    <a:pt x="6369" y="3735"/>
                  </a:lnTo>
                  <a:lnTo>
                    <a:pt x="6378" y="3736"/>
                  </a:lnTo>
                  <a:lnTo>
                    <a:pt x="6384" y="3741"/>
                  </a:lnTo>
                  <a:lnTo>
                    <a:pt x="6387" y="3748"/>
                  </a:lnTo>
                  <a:lnTo>
                    <a:pt x="6388" y="3754"/>
                  </a:lnTo>
                  <a:lnTo>
                    <a:pt x="6387" y="3762"/>
                  </a:lnTo>
                  <a:lnTo>
                    <a:pt x="6384" y="3768"/>
                  </a:lnTo>
                  <a:lnTo>
                    <a:pt x="6378" y="3773"/>
                  </a:lnTo>
                  <a:lnTo>
                    <a:pt x="6369" y="3774"/>
                  </a:lnTo>
                  <a:lnTo>
                    <a:pt x="6236" y="3774"/>
                  </a:lnTo>
                  <a:lnTo>
                    <a:pt x="6227" y="3773"/>
                  </a:lnTo>
                  <a:lnTo>
                    <a:pt x="6220" y="3768"/>
                  </a:lnTo>
                  <a:lnTo>
                    <a:pt x="6216" y="3762"/>
                  </a:lnTo>
                  <a:lnTo>
                    <a:pt x="6215" y="3754"/>
                  </a:lnTo>
                  <a:lnTo>
                    <a:pt x="6216" y="3748"/>
                  </a:lnTo>
                  <a:lnTo>
                    <a:pt x="6220" y="3741"/>
                  </a:lnTo>
                  <a:lnTo>
                    <a:pt x="6227" y="3736"/>
                  </a:lnTo>
                  <a:lnTo>
                    <a:pt x="6236" y="3735"/>
                  </a:lnTo>
                  <a:close/>
                  <a:moveTo>
                    <a:pt x="6472" y="3735"/>
                  </a:moveTo>
                  <a:lnTo>
                    <a:pt x="6605" y="3735"/>
                  </a:lnTo>
                  <a:lnTo>
                    <a:pt x="6614" y="3736"/>
                  </a:lnTo>
                  <a:lnTo>
                    <a:pt x="6620" y="3741"/>
                  </a:lnTo>
                  <a:lnTo>
                    <a:pt x="6624" y="3748"/>
                  </a:lnTo>
                  <a:lnTo>
                    <a:pt x="6626" y="3754"/>
                  </a:lnTo>
                  <a:lnTo>
                    <a:pt x="6624" y="3762"/>
                  </a:lnTo>
                  <a:lnTo>
                    <a:pt x="6620" y="3768"/>
                  </a:lnTo>
                  <a:lnTo>
                    <a:pt x="6614" y="3773"/>
                  </a:lnTo>
                  <a:lnTo>
                    <a:pt x="6605" y="3774"/>
                  </a:lnTo>
                  <a:lnTo>
                    <a:pt x="6472" y="3774"/>
                  </a:lnTo>
                  <a:lnTo>
                    <a:pt x="6464" y="3773"/>
                  </a:lnTo>
                  <a:lnTo>
                    <a:pt x="6458" y="3768"/>
                  </a:lnTo>
                  <a:lnTo>
                    <a:pt x="6454" y="3762"/>
                  </a:lnTo>
                  <a:lnTo>
                    <a:pt x="6452" y="3754"/>
                  </a:lnTo>
                  <a:lnTo>
                    <a:pt x="6454" y="3748"/>
                  </a:lnTo>
                  <a:lnTo>
                    <a:pt x="6458" y="3741"/>
                  </a:lnTo>
                  <a:lnTo>
                    <a:pt x="6464" y="3736"/>
                  </a:lnTo>
                  <a:lnTo>
                    <a:pt x="6472" y="3735"/>
                  </a:lnTo>
                  <a:close/>
                  <a:moveTo>
                    <a:pt x="6709" y="3735"/>
                  </a:moveTo>
                  <a:lnTo>
                    <a:pt x="6842" y="3735"/>
                  </a:lnTo>
                  <a:lnTo>
                    <a:pt x="6851" y="3736"/>
                  </a:lnTo>
                  <a:lnTo>
                    <a:pt x="6858" y="3741"/>
                  </a:lnTo>
                  <a:lnTo>
                    <a:pt x="6861" y="3748"/>
                  </a:lnTo>
                  <a:lnTo>
                    <a:pt x="6863" y="3754"/>
                  </a:lnTo>
                  <a:lnTo>
                    <a:pt x="6861" y="3762"/>
                  </a:lnTo>
                  <a:lnTo>
                    <a:pt x="6858" y="3768"/>
                  </a:lnTo>
                  <a:lnTo>
                    <a:pt x="6851" y="3773"/>
                  </a:lnTo>
                  <a:lnTo>
                    <a:pt x="6842" y="3774"/>
                  </a:lnTo>
                  <a:lnTo>
                    <a:pt x="6709" y="3774"/>
                  </a:lnTo>
                  <a:lnTo>
                    <a:pt x="6700" y="3773"/>
                  </a:lnTo>
                  <a:lnTo>
                    <a:pt x="6693" y="3768"/>
                  </a:lnTo>
                  <a:lnTo>
                    <a:pt x="6690" y="3762"/>
                  </a:lnTo>
                  <a:lnTo>
                    <a:pt x="6688" y="3754"/>
                  </a:lnTo>
                  <a:lnTo>
                    <a:pt x="6690" y="3748"/>
                  </a:lnTo>
                  <a:lnTo>
                    <a:pt x="6693" y="3741"/>
                  </a:lnTo>
                  <a:lnTo>
                    <a:pt x="6700" y="3736"/>
                  </a:lnTo>
                  <a:lnTo>
                    <a:pt x="6709" y="3735"/>
                  </a:lnTo>
                  <a:close/>
                  <a:moveTo>
                    <a:pt x="6946" y="3735"/>
                  </a:moveTo>
                  <a:lnTo>
                    <a:pt x="7078" y="3735"/>
                  </a:lnTo>
                  <a:lnTo>
                    <a:pt x="7087" y="3736"/>
                  </a:lnTo>
                  <a:lnTo>
                    <a:pt x="7094" y="3741"/>
                  </a:lnTo>
                  <a:lnTo>
                    <a:pt x="7097" y="3748"/>
                  </a:lnTo>
                  <a:lnTo>
                    <a:pt x="7099" y="3754"/>
                  </a:lnTo>
                  <a:lnTo>
                    <a:pt x="7097" y="3762"/>
                  </a:lnTo>
                  <a:lnTo>
                    <a:pt x="7094" y="3768"/>
                  </a:lnTo>
                  <a:lnTo>
                    <a:pt x="7087" y="3773"/>
                  </a:lnTo>
                  <a:lnTo>
                    <a:pt x="7078" y="3774"/>
                  </a:lnTo>
                  <a:lnTo>
                    <a:pt x="6946" y="3774"/>
                  </a:lnTo>
                  <a:lnTo>
                    <a:pt x="6937" y="3773"/>
                  </a:lnTo>
                  <a:lnTo>
                    <a:pt x="6931" y="3768"/>
                  </a:lnTo>
                  <a:lnTo>
                    <a:pt x="6927" y="3762"/>
                  </a:lnTo>
                  <a:lnTo>
                    <a:pt x="6926" y="3754"/>
                  </a:lnTo>
                  <a:lnTo>
                    <a:pt x="6927" y="3748"/>
                  </a:lnTo>
                  <a:lnTo>
                    <a:pt x="6931" y="3741"/>
                  </a:lnTo>
                  <a:lnTo>
                    <a:pt x="6937" y="3736"/>
                  </a:lnTo>
                  <a:lnTo>
                    <a:pt x="6946" y="3735"/>
                  </a:lnTo>
                  <a:close/>
                  <a:moveTo>
                    <a:pt x="6236" y="3997"/>
                  </a:moveTo>
                  <a:lnTo>
                    <a:pt x="6369" y="3997"/>
                  </a:lnTo>
                  <a:lnTo>
                    <a:pt x="6378" y="3999"/>
                  </a:lnTo>
                  <a:lnTo>
                    <a:pt x="6384" y="4003"/>
                  </a:lnTo>
                  <a:lnTo>
                    <a:pt x="6387" y="4010"/>
                  </a:lnTo>
                  <a:lnTo>
                    <a:pt x="6388" y="4017"/>
                  </a:lnTo>
                  <a:lnTo>
                    <a:pt x="6387" y="4025"/>
                  </a:lnTo>
                  <a:lnTo>
                    <a:pt x="6384" y="4031"/>
                  </a:lnTo>
                  <a:lnTo>
                    <a:pt x="6378" y="4035"/>
                  </a:lnTo>
                  <a:lnTo>
                    <a:pt x="6369" y="4038"/>
                  </a:lnTo>
                  <a:lnTo>
                    <a:pt x="6236" y="4038"/>
                  </a:lnTo>
                  <a:lnTo>
                    <a:pt x="6227" y="4035"/>
                  </a:lnTo>
                  <a:lnTo>
                    <a:pt x="6220" y="4031"/>
                  </a:lnTo>
                  <a:lnTo>
                    <a:pt x="6216" y="4025"/>
                  </a:lnTo>
                  <a:lnTo>
                    <a:pt x="6215" y="4017"/>
                  </a:lnTo>
                  <a:lnTo>
                    <a:pt x="6216" y="4010"/>
                  </a:lnTo>
                  <a:lnTo>
                    <a:pt x="6220" y="4003"/>
                  </a:lnTo>
                  <a:lnTo>
                    <a:pt x="6227" y="3999"/>
                  </a:lnTo>
                  <a:lnTo>
                    <a:pt x="6236" y="3997"/>
                  </a:lnTo>
                  <a:close/>
                  <a:moveTo>
                    <a:pt x="6472" y="3997"/>
                  </a:moveTo>
                  <a:lnTo>
                    <a:pt x="6605" y="3997"/>
                  </a:lnTo>
                  <a:lnTo>
                    <a:pt x="6614" y="3999"/>
                  </a:lnTo>
                  <a:lnTo>
                    <a:pt x="6620" y="4003"/>
                  </a:lnTo>
                  <a:lnTo>
                    <a:pt x="6624" y="4010"/>
                  </a:lnTo>
                  <a:lnTo>
                    <a:pt x="6626" y="4017"/>
                  </a:lnTo>
                  <a:lnTo>
                    <a:pt x="6624" y="4025"/>
                  </a:lnTo>
                  <a:lnTo>
                    <a:pt x="6620" y="4031"/>
                  </a:lnTo>
                  <a:lnTo>
                    <a:pt x="6614" y="4035"/>
                  </a:lnTo>
                  <a:lnTo>
                    <a:pt x="6605" y="4038"/>
                  </a:lnTo>
                  <a:lnTo>
                    <a:pt x="6472" y="4038"/>
                  </a:lnTo>
                  <a:lnTo>
                    <a:pt x="6464" y="4035"/>
                  </a:lnTo>
                  <a:lnTo>
                    <a:pt x="6458" y="4031"/>
                  </a:lnTo>
                  <a:lnTo>
                    <a:pt x="6454" y="4025"/>
                  </a:lnTo>
                  <a:lnTo>
                    <a:pt x="6452" y="4017"/>
                  </a:lnTo>
                  <a:lnTo>
                    <a:pt x="6454" y="4010"/>
                  </a:lnTo>
                  <a:lnTo>
                    <a:pt x="6458" y="4003"/>
                  </a:lnTo>
                  <a:lnTo>
                    <a:pt x="6464" y="3999"/>
                  </a:lnTo>
                  <a:lnTo>
                    <a:pt x="6472" y="3997"/>
                  </a:lnTo>
                  <a:close/>
                  <a:moveTo>
                    <a:pt x="6709" y="3997"/>
                  </a:moveTo>
                  <a:lnTo>
                    <a:pt x="6842" y="3997"/>
                  </a:lnTo>
                  <a:lnTo>
                    <a:pt x="6851" y="3999"/>
                  </a:lnTo>
                  <a:lnTo>
                    <a:pt x="6858" y="4003"/>
                  </a:lnTo>
                  <a:lnTo>
                    <a:pt x="6861" y="4010"/>
                  </a:lnTo>
                  <a:lnTo>
                    <a:pt x="6863" y="4017"/>
                  </a:lnTo>
                  <a:lnTo>
                    <a:pt x="6861" y="4025"/>
                  </a:lnTo>
                  <a:lnTo>
                    <a:pt x="6858" y="4031"/>
                  </a:lnTo>
                  <a:lnTo>
                    <a:pt x="6851" y="4035"/>
                  </a:lnTo>
                  <a:lnTo>
                    <a:pt x="6842" y="4038"/>
                  </a:lnTo>
                  <a:lnTo>
                    <a:pt x="6709" y="4038"/>
                  </a:lnTo>
                  <a:lnTo>
                    <a:pt x="6700" y="4035"/>
                  </a:lnTo>
                  <a:lnTo>
                    <a:pt x="6693" y="4031"/>
                  </a:lnTo>
                  <a:lnTo>
                    <a:pt x="6690" y="4025"/>
                  </a:lnTo>
                  <a:lnTo>
                    <a:pt x="6688" y="4017"/>
                  </a:lnTo>
                  <a:lnTo>
                    <a:pt x="6690" y="4010"/>
                  </a:lnTo>
                  <a:lnTo>
                    <a:pt x="6693" y="4003"/>
                  </a:lnTo>
                  <a:lnTo>
                    <a:pt x="6700" y="3999"/>
                  </a:lnTo>
                  <a:lnTo>
                    <a:pt x="6709" y="3997"/>
                  </a:lnTo>
                  <a:close/>
                  <a:moveTo>
                    <a:pt x="6946" y="3997"/>
                  </a:moveTo>
                  <a:lnTo>
                    <a:pt x="7078" y="3997"/>
                  </a:lnTo>
                  <a:lnTo>
                    <a:pt x="7087" y="3999"/>
                  </a:lnTo>
                  <a:lnTo>
                    <a:pt x="7094" y="4003"/>
                  </a:lnTo>
                  <a:lnTo>
                    <a:pt x="7097" y="4010"/>
                  </a:lnTo>
                  <a:lnTo>
                    <a:pt x="7099" y="4017"/>
                  </a:lnTo>
                  <a:lnTo>
                    <a:pt x="7097" y="4025"/>
                  </a:lnTo>
                  <a:lnTo>
                    <a:pt x="7094" y="4031"/>
                  </a:lnTo>
                  <a:lnTo>
                    <a:pt x="7087" y="4035"/>
                  </a:lnTo>
                  <a:lnTo>
                    <a:pt x="7078" y="4038"/>
                  </a:lnTo>
                  <a:lnTo>
                    <a:pt x="6946" y="4038"/>
                  </a:lnTo>
                  <a:lnTo>
                    <a:pt x="6937" y="4035"/>
                  </a:lnTo>
                  <a:lnTo>
                    <a:pt x="6931" y="4031"/>
                  </a:lnTo>
                  <a:lnTo>
                    <a:pt x="6927" y="4025"/>
                  </a:lnTo>
                  <a:lnTo>
                    <a:pt x="6926" y="4017"/>
                  </a:lnTo>
                  <a:lnTo>
                    <a:pt x="6927" y="4010"/>
                  </a:lnTo>
                  <a:lnTo>
                    <a:pt x="6931" y="4003"/>
                  </a:lnTo>
                  <a:lnTo>
                    <a:pt x="6937" y="3999"/>
                  </a:lnTo>
                  <a:lnTo>
                    <a:pt x="6946" y="3997"/>
                  </a:lnTo>
                  <a:close/>
                  <a:moveTo>
                    <a:pt x="7545" y="2941"/>
                  </a:moveTo>
                  <a:lnTo>
                    <a:pt x="7545" y="3052"/>
                  </a:lnTo>
                  <a:lnTo>
                    <a:pt x="7542" y="3061"/>
                  </a:lnTo>
                  <a:lnTo>
                    <a:pt x="7539" y="3067"/>
                  </a:lnTo>
                  <a:lnTo>
                    <a:pt x="7532" y="3071"/>
                  </a:lnTo>
                  <a:lnTo>
                    <a:pt x="7524" y="3072"/>
                  </a:lnTo>
                  <a:lnTo>
                    <a:pt x="7517" y="3071"/>
                  </a:lnTo>
                  <a:lnTo>
                    <a:pt x="7510" y="3067"/>
                  </a:lnTo>
                  <a:lnTo>
                    <a:pt x="7506" y="3061"/>
                  </a:lnTo>
                  <a:lnTo>
                    <a:pt x="7505" y="3052"/>
                  </a:lnTo>
                  <a:lnTo>
                    <a:pt x="7505" y="2941"/>
                  </a:lnTo>
                  <a:lnTo>
                    <a:pt x="7506" y="2932"/>
                  </a:lnTo>
                  <a:lnTo>
                    <a:pt x="7510" y="2925"/>
                  </a:lnTo>
                  <a:lnTo>
                    <a:pt x="7517" y="2922"/>
                  </a:lnTo>
                  <a:lnTo>
                    <a:pt x="7524" y="2920"/>
                  </a:lnTo>
                  <a:lnTo>
                    <a:pt x="7532" y="2922"/>
                  </a:lnTo>
                  <a:lnTo>
                    <a:pt x="7539" y="2925"/>
                  </a:lnTo>
                  <a:lnTo>
                    <a:pt x="7542" y="2932"/>
                  </a:lnTo>
                  <a:lnTo>
                    <a:pt x="7545" y="2941"/>
                  </a:lnTo>
                  <a:close/>
                  <a:moveTo>
                    <a:pt x="7808" y="2941"/>
                  </a:moveTo>
                  <a:lnTo>
                    <a:pt x="7808" y="3052"/>
                  </a:lnTo>
                  <a:lnTo>
                    <a:pt x="7807" y="3061"/>
                  </a:lnTo>
                  <a:lnTo>
                    <a:pt x="7801" y="3067"/>
                  </a:lnTo>
                  <a:lnTo>
                    <a:pt x="7795" y="3071"/>
                  </a:lnTo>
                  <a:lnTo>
                    <a:pt x="7787" y="3072"/>
                  </a:lnTo>
                  <a:lnTo>
                    <a:pt x="7781" y="3071"/>
                  </a:lnTo>
                  <a:lnTo>
                    <a:pt x="7774" y="3067"/>
                  </a:lnTo>
                  <a:lnTo>
                    <a:pt x="7769" y="3061"/>
                  </a:lnTo>
                  <a:lnTo>
                    <a:pt x="7768" y="3052"/>
                  </a:lnTo>
                  <a:lnTo>
                    <a:pt x="7768" y="2941"/>
                  </a:lnTo>
                  <a:lnTo>
                    <a:pt x="7769" y="2932"/>
                  </a:lnTo>
                  <a:lnTo>
                    <a:pt x="7774" y="2925"/>
                  </a:lnTo>
                  <a:lnTo>
                    <a:pt x="7781" y="2922"/>
                  </a:lnTo>
                  <a:lnTo>
                    <a:pt x="7787" y="2920"/>
                  </a:lnTo>
                  <a:lnTo>
                    <a:pt x="7795" y="2922"/>
                  </a:lnTo>
                  <a:lnTo>
                    <a:pt x="7801" y="2925"/>
                  </a:lnTo>
                  <a:lnTo>
                    <a:pt x="7807" y="2932"/>
                  </a:lnTo>
                  <a:lnTo>
                    <a:pt x="7808" y="2941"/>
                  </a:lnTo>
                  <a:close/>
                  <a:moveTo>
                    <a:pt x="8071" y="2941"/>
                  </a:moveTo>
                  <a:lnTo>
                    <a:pt x="8071" y="3052"/>
                  </a:lnTo>
                  <a:lnTo>
                    <a:pt x="8069" y="3061"/>
                  </a:lnTo>
                  <a:lnTo>
                    <a:pt x="8064" y="3067"/>
                  </a:lnTo>
                  <a:lnTo>
                    <a:pt x="8058" y="3071"/>
                  </a:lnTo>
                  <a:lnTo>
                    <a:pt x="8051" y="3072"/>
                  </a:lnTo>
                  <a:lnTo>
                    <a:pt x="8044" y="3071"/>
                  </a:lnTo>
                  <a:lnTo>
                    <a:pt x="8037" y="3067"/>
                  </a:lnTo>
                  <a:lnTo>
                    <a:pt x="8032" y="3061"/>
                  </a:lnTo>
                  <a:lnTo>
                    <a:pt x="8031" y="3052"/>
                  </a:lnTo>
                  <a:lnTo>
                    <a:pt x="8031" y="2941"/>
                  </a:lnTo>
                  <a:lnTo>
                    <a:pt x="8032" y="2932"/>
                  </a:lnTo>
                  <a:lnTo>
                    <a:pt x="8037" y="2925"/>
                  </a:lnTo>
                  <a:lnTo>
                    <a:pt x="8044" y="2922"/>
                  </a:lnTo>
                  <a:lnTo>
                    <a:pt x="8051" y="2920"/>
                  </a:lnTo>
                  <a:lnTo>
                    <a:pt x="8058" y="2922"/>
                  </a:lnTo>
                  <a:lnTo>
                    <a:pt x="8064" y="2925"/>
                  </a:lnTo>
                  <a:lnTo>
                    <a:pt x="8069" y="2932"/>
                  </a:lnTo>
                  <a:lnTo>
                    <a:pt x="8071" y="2941"/>
                  </a:lnTo>
                  <a:close/>
                  <a:moveTo>
                    <a:pt x="8334" y="2941"/>
                  </a:moveTo>
                  <a:lnTo>
                    <a:pt x="8334" y="3052"/>
                  </a:lnTo>
                  <a:lnTo>
                    <a:pt x="8332" y="3061"/>
                  </a:lnTo>
                  <a:lnTo>
                    <a:pt x="8327" y="3067"/>
                  </a:lnTo>
                  <a:lnTo>
                    <a:pt x="8322" y="3071"/>
                  </a:lnTo>
                  <a:lnTo>
                    <a:pt x="8314" y="3072"/>
                  </a:lnTo>
                  <a:lnTo>
                    <a:pt x="8307" y="3071"/>
                  </a:lnTo>
                  <a:lnTo>
                    <a:pt x="8300" y="3067"/>
                  </a:lnTo>
                  <a:lnTo>
                    <a:pt x="8296" y="3061"/>
                  </a:lnTo>
                  <a:lnTo>
                    <a:pt x="8294" y="3052"/>
                  </a:lnTo>
                  <a:lnTo>
                    <a:pt x="8294" y="2941"/>
                  </a:lnTo>
                  <a:lnTo>
                    <a:pt x="8296" y="2932"/>
                  </a:lnTo>
                  <a:lnTo>
                    <a:pt x="8300" y="2925"/>
                  </a:lnTo>
                  <a:lnTo>
                    <a:pt x="8307" y="2922"/>
                  </a:lnTo>
                  <a:lnTo>
                    <a:pt x="8314" y="2920"/>
                  </a:lnTo>
                  <a:lnTo>
                    <a:pt x="8322" y="2922"/>
                  </a:lnTo>
                  <a:lnTo>
                    <a:pt x="8327" y="2925"/>
                  </a:lnTo>
                  <a:lnTo>
                    <a:pt x="8332" y="2932"/>
                  </a:lnTo>
                  <a:lnTo>
                    <a:pt x="8334" y="2941"/>
                  </a:lnTo>
                  <a:close/>
                  <a:moveTo>
                    <a:pt x="8598" y="2941"/>
                  </a:moveTo>
                  <a:lnTo>
                    <a:pt x="8598" y="3052"/>
                  </a:lnTo>
                  <a:lnTo>
                    <a:pt x="8595" y="3061"/>
                  </a:lnTo>
                  <a:lnTo>
                    <a:pt x="8591" y="3067"/>
                  </a:lnTo>
                  <a:lnTo>
                    <a:pt x="8585" y="3071"/>
                  </a:lnTo>
                  <a:lnTo>
                    <a:pt x="8577" y="3072"/>
                  </a:lnTo>
                  <a:lnTo>
                    <a:pt x="8569" y="3071"/>
                  </a:lnTo>
                  <a:lnTo>
                    <a:pt x="8563" y="3067"/>
                  </a:lnTo>
                  <a:lnTo>
                    <a:pt x="8559" y="3061"/>
                  </a:lnTo>
                  <a:lnTo>
                    <a:pt x="8557" y="3052"/>
                  </a:lnTo>
                  <a:lnTo>
                    <a:pt x="8557" y="2941"/>
                  </a:lnTo>
                  <a:lnTo>
                    <a:pt x="8559" y="2932"/>
                  </a:lnTo>
                  <a:lnTo>
                    <a:pt x="8563" y="2925"/>
                  </a:lnTo>
                  <a:lnTo>
                    <a:pt x="8569" y="2922"/>
                  </a:lnTo>
                  <a:lnTo>
                    <a:pt x="8577" y="2920"/>
                  </a:lnTo>
                  <a:lnTo>
                    <a:pt x="8585" y="2922"/>
                  </a:lnTo>
                  <a:lnTo>
                    <a:pt x="8591" y="2925"/>
                  </a:lnTo>
                  <a:lnTo>
                    <a:pt x="8595" y="2932"/>
                  </a:lnTo>
                  <a:lnTo>
                    <a:pt x="8598" y="2941"/>
                  </a:lnTo>
                  <a:close/>
                  <a:moveTo>
                    <a:pt x="8861" y="2941"/>
                  </a:moveTo>
                  <a:lnTo>
                    <a:pt x="8861" y="3052"/>
                  </a:lnTo>
                  <a:lnTo>
                    <a:pt x="8858" y="3061"/>
                  </a:lnTo>
                  <a:lnTo>
                    <a:pt x="8854" y="3067"/>
                  </a:lnTo>
                  <a:lnTo>
                    <a:pt x="8848" y="3071"/>
                  </a:lnTo>
                  <a:lnTo>
                    <a:pt x="8840" y="3072"/>
                  </a:lnTo>
                  <a:lnTo>
                    <a:pt x="8832" y="3071"/>
                  </a:lnTo>
                  <a:lnTo>
                    <a:pt x="8826" y="3067"/>
                  </a:lnTo>
                  <a:lnTo>
                    <a:pt x="8822" y="3061"/>
                  </a:lnTo>
                  <a:lnTo>
                    <a:pt x="8821" y="3052"/>
                  </a:lnTo>
                  <a:lnTo>
                    <a:pt x="8821" y="2941"/>
                  </a:lnTo>
                  <a:lnTo>
                    <a:pt x="8822" y="2932"/>
                  </a:lnTo>
                  <a:lnTo>
                    <a:pt x="8826" y="2925"/>
                  </a:lnTo>
                  <a:lnTo>
                    <a:pt x="8832" y="2922"/>
                  </a:lnTo>
                  <a:lnTo>
                    <a:pt x="8840" y="2920"/>
                  </a:lnTo>
                  <a:lnTo>
                    <a:pt x="8848" y="2922"/>
                  </a:lnTo>
                  <a:lnTo>
                    <a:pt x="8854" y="2925"/>
                  </a:lnTo>
                  <a:lnTo>
                    <a:pt x="8858" y="2932"/>
                  </a:lnTo>
                  <a:lnTo>
                    <a:pt x="8861" y="2941"/>
                  </a:lnTo>
                  <a:close/>
                  <a:moveTo>
                    <a:pt x="7545" y="3186"/>
                  </a:moveTo>
                  <a:lnTo>
                    <a:pt x="7545" y="3299"/>
                  </a:lnTo>
                  <a:lnTo>
                    <a:pt x="7542" y="3308"/>
                  </a:lnTo>
                  <a:lnTo>
                    <a:pt x="7539" y="3314"/>
                  </a:lnTo>
                  <a:lnTo>
                    <a:pt x="7532" y="3318"/>
                  </a:lnTo>
                  <a:lnTo>
                    <a:pt x="7524" y="3319"/>
                  </a:lnTo>
                  <a:lnTo>
                    <a:pt x="7517" y="3318"/>
                  </a:lnTo>
                  <a:lnTo>
                    <a:pt x="7510" y="3314"/>
                  </a:lnTo>
                  <a:lnTo>
                    <a:pt x="7506" y="3308"/>
                  </a:lnTo>
                  <a:lnTo>
                    <a:pt x="7505" y="3299"/>
                  </a:lnTo>
                  <a:lnTo>
                    <a:pt x="7505" y="3186"/>
                  </a:lnTo>
                  <a:lnTo>
                    <a:pt x="7506" y="3179"/>
                  </a:lnTo>
                  <a:lnTo>
                    <a:pt x="7510" y="3172"/>
                  </a:lnTo>
                  <a:lnTo>
                    <a:pt x="7517" y="3168"/>
                  </a:lnTo>
                  <a:lnTo>
                    <a:pt x="7524" y="3167"/>
                  </a:lnTo>
                  <a:lnTo>
                    <a:pt x="7532" y="3168"/>
                  </a:lnTo>
                  <a:lnTo>
                    <a:pt x="7539" y="3172"/>
                  </a:lnTo>
                  <a:lnTo>
                    <a:pt x="7542" y="3179"/>
                  </a:lnTo>
                  <a:lnTo>
                    <a:pt x="7545" y="3186"/>
                  </a:lnTo>
                  <a:close/>
                  <a:moveTo>
                    <a:pt x="7808" y="3186"/>
                  </a:moveTo>
                  <a:lnTo>
                    <a:pt x="7808" y="3299"/>
                  </a:lnTo>
                  <a:lnTo>
                    <a:pt x="7807" y="3308"/>
                  </a:lnTo>
                  <a:lnTo>
                    <a:pt x="7801" y="3314"/>
                  </a:lnTo>
                  <a:lnTo>
                    <a:pt x="7795" y="3318"/>
                  </a:lnTo>
                  <a:lnTo>
                    <a:pt x="7787" y="3319"/>
                  </a:lnTo>
                  <a:lnTo>
                    <a:pt x="7781" y="3318"/>
                  </a:lnTo>
                  <a:lnTo>
                    <a:pt x="7774" y="3314"/>
                  </a:lnTo>
                  <a:lnTo>
                    <a:pt x="7769" y="3308"/>
                  </a:lnTo>
                  <a:lnTo>
                    <a:pt x="7768" y="3299"/>
                  </a:lnTo>
                  <a:lnTo>
                    <a:pt x="7768" y="3186"/>
                  </a:lnTo>
                  <a:lnTo>
                    <a:pt x="7769" y="3179"/>
                  </a:lnTo>
                  <a:lnTo>
                    <a:pt x="7774" y="3172"/>
                  </a:lnTo>
                  <a:lnTo>
                    <a:pt x="7781" y="3168"/>
                  </a:lnTo>
                  <a:lnTo>
                    <a:pt x="7787" y="3167"/>
                  </a:lnTo>
                  <a:lnTo>
                    <a:pt x="7795" y="3168"/>
                  </a:lnTo>
                  <a:lnTo>
                    <a:pt x="7801" y="3172"/>
                  </a:lnTo>
                  <a:lnTo>
                    <a:pt x="7807" y="3179"/>
                  </a:lnTo>
                  <a:lnTo>
                    <a:pt x="7808" y="3186"/>
                  </a:lnTo>
                  <a:close/>
                  <a:moveTo>
                    <a:pt x="8071" y="3186"/>
                  </a:moveTo>
                  <a:lnTo>
                    <a:pt x="8071" y="3299"/>
                  </a:lnTo>
                  <a:lnTo>
                    <a:pt x="8069" y="3308"/>
                  </a:lnTo>
                  <a:lnTo>
                    <a:pt x="8064" y="3314"/>
                  </a:lnTo>
                  <a:lnTo>
                    <a:pt x="8058" y="3318"/>
                  </a:lnTo>
                  <a:lnTo>
                    <a:pt x="8051" y="3319"/>
                  </a:lnTo>
                  <a:lnTo>
                    <a:pt x="8044" y="3318"/>
                  </a:lnTo>
                  <a:lnTo>
                    <a:pt x="8037" y="3314"/>
                  </a:lnTo>
                  <a:lnTo>
                    <a:pt x="8032" y="3308"/>
                  </a:lnTo>
                  <a:lnTo>
                    <a:pt x="8031" y="3299"/>
                  </a:lnTo>
                  <a:lnTo>
                    <a:pt x="8031" y="3186"/>
                  </a:lnTo>
                  <a:lnTo>
                    <a:pt x="8032" y="3179"/>
                  </a:lnTo>
                  <a:lnTo>
                    <a:pt x="8037" y="3172"/>
                  </a:lnTo>
                  <a:lnTo>
                    <a:pt x="8044" y="3168"/>
                  </a:lnTo>
                  <a:lnTo>
                    <a:pt x="8051" y="3167"/>
                  </a:lnTo>
                  <a:lnTo>
                    <a:pt x="8058" y="3168"/>
                  </a:lnTo>
                  <a:lnTo>
                    <a:pt x="8064" y="3172"/>
                  </a:lnTo>
                  <a:lnTo>
                    <a:pt x="8069" y="3179"/>
                  </a:lnTo>
                  <a:lnTo>
                    <a:pt x="8071" y="3186"/>
                  </a:lnTo>
                  <a:close/>
                  <a:moveTo>
                    <a:pt x="8334" y="3186"/>
                  </a:moveTo>
                  <a:lnTo>
                    <a:pt x="8334" y="3299"/>
                  </a:lnTo>
                  <a:lnTo>
                    <a:pt x="8332" y="3308"/>
                  </a:lnTo>
                  <a:lnTo>
                    <a:pt x="8327" y="3314"/>
                  </a:lnTo>
                  <a:lnTo>
                    <a:pt x="8322" y="3318"/>
                  </a:lnTo>
                  <a:lnTo>
                    <a:pt x="8314" y="3319"/>
                  </a:lnTo>
                  <a:lnTo>
                    <a:pt x="8307" y="3318"/>
                  </a:lnTo>
                  <a:lnTo>
                    <a:pt x="8300" y="3314"/>
                  </a:lnTo>
                  <a:lnTo>
                    <a:pt x="8296" y="3308"/>
                  </a:lnTo>
                  <a:lnTo>
                    <a:pt x="8294" y="3299"/>
                  </a:lnTo>
                  <a:lnTo>
                    <a:pt x="8294" y="3186"/>
                  </a:lnTo>
                  <a:lnTo>
                    <a:pt x="8296" y="3179"/>
                  </a:lnTo>
                  <a:lnTo>
                    <a:pt x="8300" y="3172"/>
                  </a:lnTo>
                  <a:lnTo>
                    <a:pt x="8307" y="3168"/>
                  </a:lnTo>
                  <a:lnTo>
                    <a:pt x="8314" y="3167"/>
                  </a:lnTo>
                  <a:lnTo>
                    <a:pt x="8322" y="3168"/>
                  </a:lnTo>
                  <a:lnTo>
                    <a:pt x="8327" y="3172"/>
                  </a:lnTo>
                  <a:lnTo>
                    <a:pt x="8332" y="3179"/>
                  </a:lnTo>
                  <a:lnTo>
                    <a:pt x="8334" y="3186"/>
                  </a:lnTo>
                  <a:close/>
                  <a:moveTo>
                    <a:pt x="8598" y="3186"/>
                  </a:moveTo>
                  <a:lnTo>
                    <a:pt x="8598" y="3299"/>
                  </a:lnTo>
                  <a:lnTo>
                    <a:pt x="8595" y="3308"/>
                  </a:lnTo>
                  <a:lnTo>
                    <a:pt x="8591" y="3314"/>
                  </a:lnTo>
                  <a:lnTo>
                    <a:pt x="8585" y="3318"/>
                  </a:lnTo>
                  <a:lnTo>
                    <a:pt x="8577" y="3319"/>
                  </a:lnTo>
                  <a:lnTo>
                    <a:pt x="8569" y="3318"/>
                  </a:lnTo>
                  <a:lnTo>
                    <a:pt x="8563" y="3314"/>
                  </a:lnTo>
                  <a:lnTo>
                    <a:pt x="8559" y="3308"/>
                  </a:lnTo>
                  <a:lnTo>
                    <a:pt x="8557" y="3299"/>
                  </a:lnTo>
                  <a:lnTo>
                    <a:pt x="8557" y="3186"/>
                  </a:lnTo>
                  <a:lnTo>
                    <a:pt x="8559" y="3179"/>
                  </a:lnTo>
                  <a:lnTo>
                    <a:pt x="8563" y="3172"/>
                  </a:lnTo>
                  <a:lnTo>
                    <a:pt x="8569" y="3168"/>
                  </a:lnTo>
                  <a:lnTo>
                    <a:pt x="8577" y="3167"/>
                  </a:lnTo>
                  <a:lnTo>
                    <a:pt x="8585" y="3168"/>
                  </a:lnTo>
                  <a:lnTo>
                    <a:pt x="8591" y="3172"/>
                  </a:lnTo>
                  <a:lnTo>
                    <a:pt x="8595" y="3179"/>
                  </a:lnTo>
                  <a:lnTo>
                    <a:pt x="8598" y="3186"/>
                  </a:lnTo>
                  <a:close/>
                  <a:moveTo>
                    <a:pt x="8861" y="3186"/>
                  </a:moveTo>
                  <a:lnTo>
                    <a:pt x="8861" y="3299"/>
                  </a:lnTo>
                  <a:lnTo>
                    <a:pt x="8858" y="3308"/>
                  </a:lnTo>
                  <a:lnTo>
                    <a:pt x="8854" y="3314"/>
                  </a:lnTo>
                  <a:lnTo>
                    <a:pt x="8848" y="3318"/>
                  </a:lnTo>
                  <a:lnTo>
                    <a:pt x="8840" y="3319"/>
                  </a:lnTo>
                  <a:lnTo>
                    <a:pt x="8832" y="3318"/>
                  </a:lnTo>
                  <a:lnTo>
                    <a:pt x="8826" y="3314"/>
                  </a:lnTo>
                  <a:lnTo>
                    <a:pt x="8822" y="3308"/>
                  </a:lnTo>
                  <a:lnTo>
                    <a:pt x="8821" y="3299"/>
                  </a:lnTo>
                  <a:lnTo>
                    <a:pt x="8821" y="3186"/>
                  </a:lnTo>
                  <a:lnTo>
                    <a:pt x="8822" y="3179"/>
                  </a:lnTo>
                  <a:lnTo>
                    <a:pt x="8826" y="3172"/>
                  </a:lnTo>
                  <a:lnTo>
                    <a:pt x="8832" y="3168"/>
                  </a:lnTo>
                  <a:lnTo>
                    <a:pt x="8840" y="3167"/>
                  </a:lnTo>
                  <a:lnTo>
                    <a:pt x="8848" y="3168"/>
                  </a:lnTo>
                  <a:lnTo>
                    <a:pt x="8854" y="3172"/>
                  </a:lnTo>
                  <a:lnTo>
                    <a:pt x="8858" y="3179"/>
                  </a:lnTo>
                  <a:lnTo>
                    <a:pt x="8861" y="3186"/>
                  </a:lnTo>
                  <a:close/>
                  <a:moveTo>
                    <a:pt x="7545" y="3433"/>
                  </a:moveTo>
                  <a:lnTo>
                    <a:pt x="7545" y="3546"/>
                  </a:lnTo>
                  <a:lnTo>
                    <a:pt x="7542" y="3554"/>
                  </a:lnTo>
                  <a:lnTo>
                    <a:pt x="7539" y="3561"/>
                  </a:lnTo>
                  <a:lnTo>
                    <a:pt x="7532" y="3565"/>
                  </a:lnTo>
                  <a:lnTo>
                    <a:pt x="7524" y="3565"/>
                  </a:lnTo>
                  <a:lnTo>
                    <a:pt x="7517" y="3565"/>
                  </a:lnTo>
                  <a:lnTo>
                    <a:pt x="7510" y="3561"/>
                  </a:lnTo>
                  <a:lnTo>
                    <a:pt x="7506" y="3554"/>
                  </a:lnTo>
                  <a:lnTo>
                    <a:pt x="7505" y="3546"/>
                  </a:lnTo>
                  <a:lnTo>
                    <a:pt x="7505" y="3433"/>
                  </a:lnTo>
                  <a:lnTo>
                    <a:pt x="7506" y="3424"/>
                  </a:lnTo>
                  <a:lnTo>
                    <a:pt x="7510" y="3419"/>
                  </a:lnTo>
                  <a:lnTo>
                    <a:pt x="7517" y="3415"/>
                  </a:lnTo>
                  <a:lnTo>
                    <a:pt x="7524" y="3414"/>
                  </a:lnTo>
                  <a:lnTo>
                    <a:pt x="7532" y="3415"/>
                  </a:lnTo>
                  <a:lnTo>
                    <a:pt x="7539" y="3419"/>
                  </a:lnTo>
                  <a:lnTo>
                    <a:pt x="7542" y="3424"/>
                  </a:lnTo>
                  <a:lnTo>
                    <a:pt x="7545" y="3433"/>
                  </a:lnTo>
                  <a:close/>
                  <a:moveTo>
                    <a:pt x="7808" y="3433"/>
                  </a:moveTo>
                  <a:lnTo>
                    <a:pt x="7808" y="3546"/>
                  </a:lnTo>
                  <a:lnTo>
                    <a:pt x="7807" y="3554"/>
                  </a:lnTo>
                  <a:lnTo>
                    <a:pt x="7801" y="3561"/>
                  </a:lnTo>
                  <a:lnTo>
                    <a:pt x="7795" y="3565"/>
                  </a:lnTo>
                  <a:lnTo>
                    <a:pt x="7787" y="3565"/>
                  </a:lnTo>
                  <a:lnTo>
                    <a:pt x="7781" y="3565"/>
                  </a:lnTo>
                  <a:lnTo>
                    <a:pt x="7774" y="3561"/>
                  </a:lnTo>
                  <a:lnTo>
                    <a:pt x="7769" y="3554"/>
                  </a:lnTo>
                  <a:lnTo>
                    <a:pt x="7768" y="3546"/>
                  </a:lnTo>
                  <a:lnTo>
                    <a:pt x="7768" y="3433"/>
                  </a:lnTo>
                  <a:lnTo>
                    <a:pt x="7769" y="3424"/>
                  </a:lnTo>
                  <a:lnTo>
                    <a:pt x="7774" y="3419"/>
                  </a:lnTo>
                  <a:lnTo>
                    <a:pt x="7781" y="3415"/>
                  </a:lnTo>
                  <a:lnTo>
                    <a:pt x="7787" y="3414"/>
                  </a:lnTo>
                  <a:lnTo>
                    <a:pt x="7795" y="3415"/>
                  </a:lnTo>
                  <a:lnTo>
                    <a:pt x="7801" y="3419"/>
                  </a:lnTo>
                  <a:lnTo>
                    <a:pt x="7807" y="3424"/>
                  </a:lnTo>
                  <a:lnTo>
                    <a:pt x="7808" y="3433"/>
                  </a:lnTo>
                  <a:close/>
                  <a:moveTo>
                    <a:pt x="8071" y="3433"/>
                  </a:moveTo>
                  <a:lnTo>
                    <a:pt x="8071" y="3546"/>
                  </a:lnTo>
                  <a:lnTo>
                    <a:pt x="8069" y="3554"/>
                  </a:lnTo>
                  <a:lnTo>
                    <a:pt x="8064" y="3561"/>
                  </a:lnTo>
                  <a:lnTo>
                    <a:pt x="8058" y="3565"/>
                  </a:lnTo>
                  <a:lnTo>
                    <a:pt x="8051" y="3565"/>
                  </a:lnTo>
                  <a:lnTo>
                    <a:pt x="8044" y="3565"/>
                  </a:lnTo>
                  <a:lnTo>
                    <a:pt x="8037" y="3561"/>
                  </a:lnTo>
                  <a:lnTo>
                    <a:pt x="8032" y="3554"/>
                  </a:lnTo>
                  <a:lnTo>
                    <a:pt x="8031" y="3546"/>
                  </a:lnTo>
                  <a:lnTo>
                    <a:pt x="8031" y="3433"/>
                  </a:lnTo>
                  <a:lnTo>
                    <a:pt x="8032" y="3424"/>
                  </a:lnTo>
                  <a:lnTo>
                    <a:pt x="8037" y="3419"/>
                  </a:lnTo>
                  <a:lnTo>
                    <a:pt x="8044" y="3415"/>
                  </a:lnTo>
                  <a:lnTo>
                    <a:pt x="8051" y="3414"/>
                  </a:lnTo>
                  <a:lnTo>
                    <a:pt x="8058" y="3415"/>
                  </a:lnTo>
                  <a:lnTo>
                    <a:pt x="8064" y="3419"/>
                  </a:lnTo>
                  <a:lnTo>
                    <a:pt x="8069" y="3424"/>
                  </a:lnTo>
                  <a:lnTo>
                    <a:pt x="8071" y="3433"/>
                  </a:lnTo>
                  <a:close/>
                  <a:moveTo>
                    <a:pt x="8334" y="3433"/>
                  </a:moveTo>
                  <a:lnTo>
                    <a:pt x="8334" y="3546"/>
                  </a:lnTo>
                  <a:lnTo>
                    <a:pt x="8332" y="3554"/>
                  </a:lnTo>
                  <a:lnTo>
                    <a:pt x="8327" y="3561"/>
                  </a:lnTo>
                  <a:lnTo>
                    <a:pt x="8322" y="3565"/>
                  </a:lnTo>
                  <a:lnTo>
                    <a:pt x="8314" y="3565"/>
                  </a:lnTo>
                  <a:lnTo>
                    <a:pt x="8307" y="3565"/>
                  </a:lnTo>
                  <a:lnTo>
                    <a:pt x="8300" y="3561"/>
                  </a:lnTo>
                  <a:lnTo>
                    <a:pt x="8296" y="3554"/>
                  </a:lnTo>
                  <a:lnTo>
                    <a:pt x="8294" y="3546"/>
                  </a:lnTo>
                  <a:lnTo>
                    <a:pt x="8294" y="3433"/>
                  </a:lnTo>
                  <a:lnTo>
                    <a:pt x="8296" y="3424"/>
                  </a:lnTo>
                  <a:lnTo>
                    <a:pt x="8300" y="3419"/>
                  </a:lnTo>
                  <a:lnTo>
                    <a:pt x="8307" y="3415"/>
                  </a:lnTo>
                  <a:lnTo>
                    <a:pt x="8314" y="3414"/>
                  </a:lnTo>
                  <a:lnTo>
                    <a:pt x="8322" y="3415"/>
                  </a:lnTo>
                  <a:lnTo>
                    <a:pt x="8327" y="3419"/>
                  </a:lnTo>
                  <a:lnTo>
                    <a:pt x="8332" y="3424"/>
                  </a:lnTo>
                  <a:lnTo>
                    <a:pt x="8334" y="3433"/>
                  </a:lnTo>
                  <a:close/>
                  <a:moveTo>
                    <a:pt x="8598" y="3433"/>
                  </a:moveTo>
                  <a:lnTo>
                    <a:pt x="8598" y="3546"/>
                  </a:lnTo>
                  <a:lnTo>
                    <a:pt x="8595" y="3554"/>
                  </a:lnTo>
                  <a:lnTo>
                    <a:pt x="8591" y="3561"/>
                  </a:lnTo>
                  <a:lnTo>
                    <a:pt x="8585" y="3565"/>
                  </a:lnTo>
                  <a:lnTo>
                    <a:pt x="8577" y="3565"/>
                  </a:lnTo>
                  <a:lnTo>
                    <a:pt x="8569" y="3565"/>
                  </a:lnTo>
                  <a:lnTo>
                    <a:pt x="8563" y="3561"/>
                  </a:lnTo>
                  <a:lnTo>
                    <a:pt x="8559" y="3554"/>
                  </a:lnTo>
                  <a:lnTo>
                    <a:pt x="8557" y="3546"/>
                  </a:lnTo>
                  <a:lnTo>
                    <a:pt x="8557" y="3433"/>
                  </a:lnTo>
                  <a:lnTo>
                    <a:pt x="8559" y="3424"/>
                  </a:lnTo>
                  <a:lnTo>
                    <a:pt x="8563" y="3419"/>
                  </a:lnTo>
                  <a:lnTo>
                    <a:pt x="8569" y="3415"/>
                  </a:lnTo>
                  <a:lnTo>
                    <a:pt x="8577" y="3414"/>
                  </a:lnTo>
                  <a:lnTo>
                    <a:pt x="8585" y="3415"/>
                  </a:lnTo>
                  <a:lnTo>
                    <a:pt x="8591" y="3419"/>
                  </a:lnTo>
                  <a:lnTo>
                    <a:pt x="8595" y="3424"/>
                  </a:lnTo>
                  <a:lnTo>
                    <a:pt x="8598" y="3433"/>
                  </a:lnTo>
                  <a:close/>
                  <a:moveTo>
                    <a:pt x="8861" y="3433"/>
                  </a:moveTo>
                  <a:lnTo>
                    <a:pt x="8861" y="3546"/>
                  </a:lnTo>
                  <a:lnTo>
                    <a:pt x="8858" y="3554"/>
                  </a:lnTo>
                  <a:lnTo>
                    <a:pt x="8854" y="3561"/>
                  </a:lnTo>
                  <a:lnTo>
                    <a:pt x="8848" y="3565"/>
                  </a:lnTo>
                  <a:lnTo>
                    <a:pt x="8840" y="3565"/>
                  </a:lnTo>
                  <a:lnTo>
                    <a:pt x="8832" y="3565"/>
                  </a:lnTo>
                  <a:lnTo>
                    <a:pt x="8826" y="3561"/>
                  </a:lnTo>
                  <a:lnTo>
                    <a:pt x="8822" y="3554"/>
                  </a:lnTo>
                  <a:lnTo>
                    <a:pt x="8821" y="3546"/>
                  </a:lnTo>
                  <a:lnTo>
                    <a:pt x="8821" y="3433"/>
                  </a:lnTo>
                  <a:lnTo>
                    <a:pt x="8822" y="3424"/>
                  </a:lnTo>
                  <a:lnTo>
                    <a:pt x="8826" y="3419"/>
                  </a:lnTo>
                  <a:lnTo>
                    <a:pt x="8832" y="3415"/>
                  </a:lnTo>
                  <a:lnTo>
                    <a:pt x="8840" y="3414"/>
                  </a:lnTo>
                  <a:lnTo>
                    <a:pt x="8848" y="3415"/>
                  </a:lnTo>
                  <a:lnTo>
                    <a:pt x="8854" y="3419"/>
                  </a:lnTo>
                  <a:lnTo>
                    <a:pt x="8858" y="3424"/>
                  </a:lnTo>
                  <a:lnTo>
                    <a:pt x="8861" y="3433"/>
                  </a:lnTo>
                  <a:close/>
                  <a:moveTo>
                    <a:pt x="7545" y="3680"/>
                  </a:moveTo>
                  <a:lnTo>
                    <a:pt x="7545" y="3792"/>
                  </a:lnTo>
                  <a:lnTo>
                    <a:pt x="7542" y="3801"/>
                  </a:lnTo>
                  <a:lnTo>
                    <a:pt x="7539" y="3806"/>
                  </a:lnTo>
                  <a:lnTo>
                    <a:pt x="7532" y="3810"/>
                  </a:lnTo>
                  <a:lnTo>
                    <a:pt x="7524" y="3811"/>
                  </a:lnTo>
                  <a:lnTo>
                    <a:pt x="7517" y="3810"/>
                  </a:lnTo>
                  <a:lnTo>
                    <a:pt x="7510" y="3806"/>
                  </a:lnTo>
                  <a:lnTo>
                    <a:pt x="7506" y="3801"/>
                  </a:lnTo>
                  <a:lnTo>
                    <a:pt x="7505" y="3792"/>
                  </a:lnTo>
                  <a:lnTo>
                    <a:pt x="7505" y="3680"/>
                  </a:lnTo>
                  <a:lnTo>
                    <a:pt x="7506" y="3671"/>
                  </a:lnTo>
                  <a:lnTo>
                    <a:pt x="7510" y="3664"/>
                  </a:lnTo>
                  <a:lnTo>
                    <a:pt x="7517" y="3661"/>
                  </a:lnTo>
                  <a:lnTo>
                    <a:pt x="7524" y="3659"/>
                  </a:lnTo>
                  <a:lnTo>
                    <a:pt x="7532" y="3661"/>
                  </a:lnTo>
                  <a:lnTo>
                    <a:pt x="7539" y="3664"/>
                  </a:lnTo>
                  <a:lnTo>
                    <a:pt x="7542" y="3671"/>
                  </a:lnTo>
                  <a:lnTo>
                    <a:pt x="7545" y="3680"/>
                  </a:lnTo>
                  <a:close/>
                  <a:moveTo>
                    <a:pt x="7808" y="3680"/>
                  </a:moveTo>
                  <a:lnTo>
                    <a:pt x="7808" y="3792"/>
                  </a:lnTo>
                  <a:lnTo>
                    <a:pt x="7807" y="3801"/>
                  </a:lnTo>
                  <a:lnTo>
                    <a:pt x="7801" y="3806"/>
                  </a:lnTo>
                  <a:lnTo>
                    <a:pt x="7795" y="3810"/>
                  </a:lnTo>
                  <a:lnTo>
                    <a:pt x="7787" y="3811"/>
                  </a:lnTo>
                  <a:lnTo>
                    <a:pt x="7781" y="3810"/>
                  </a:lnTo>
                  <a:lnTo>
                    <a:pt x="7774" y="3806"/>
                  </a:lnTo>
                  <a:lnTo>
                    <a:pt x="7769" y="3801"/>
                  </a:lnTo>
                  <a:lnTo>
                    <a:pt x="7768" y="3792"/>
                  </a:lnTo>
                  <a:lnTo>
                    <a:pt x="7768" y="3680"/>
                  </a:lnTo>
                  <a:lnTo>
                    <a:pt x="7769" y="3671"/>
                  </a:lnTo>
                  <a:lnTo>
                    <a:pt x="7774" y="3664"/>
                  </a:lnTo>
                  <a:lnTo>
                    <a:pt x="7781" y="3661"/>
                  </a:lnTo>
                  <a:lnTo>
                    <a:pt x="7787" y="3659"/>
                  </a:lnTo>
                  <a:lnTo>
                    <a:pt x="7795" y="3661"/>
                  </a:lnTo>
                  <a:lnTo>
                    <a:pt x="7801" y="3664"/>
                  </a:lnTo>
                  <a:lnTo>
                    <a:pt x="7807" y="3671"/>
                  </a:lnTo>
                  <a:lnTo>
                    <a:pt x="7808" y="3680"/>
                  </a:lnTo>
                  <a:close/>
                  <a:moveTo>
                    <a:pt x="8071" y="3680"/>
                  </a:moveTo>
                  <a:lnTo>
                    <a:pt x="8071" y="3792"/>
                  </a:lnTo>
                  <a:lnTo>
                    <a:pt x="8069" y="3801"/>
                  </a:lnTo>
                  <a:lnTo>
                    <a:pt x="8064" y="3806"/>
                  </a:lnTo>
                  <a:lnTo>
                    <a:pt x="8058" y="3810"/>
                  </a:lnTo>
                  <a:lnTo>
                    <a:pt x="8051" y="3811"/>
                  </a:lnTo>
                  <a:lnTo>
                    <a:pt x="8044" y="3810"/>
                  </a:lnTo>
                  <a:lnTo>
                    <a:pt x="8037" y="3806"/>
                  </a:lnTo>
                  <a:lnTo>
                    <a:pt x="8032" y="3801"/>
                  </a:lnTo>
                  <a:lnTo>
                    <a:pt x="8031" y="3792"/>
                  </a:lnTo>
                  <a:lnTo>
                    <a:pt x="8031" y="3680"/>
                  </a:lnTo>
                  <a:lnTo>
                    <a:pt x="8032" y="3671"/>
                  </a:lnTo>
                  <a:lnTo>
                    <a:pt x="8037" y="3664"/>
                  </a:lnTo>
                  <a:lnTo>
                    <a:pt x="8044" y="3661"/>
                  </a:lnTo>
                  <a:lnTo>
                    <a:pt x="8051" y="3659"/>
                  </a:lnTo>
                  <a:lnTo>
                    <a:pt x="8058" y="3661"/>
                  </a:lnTo>
                  <a:lnTo>
                    <a:pt x="8064" y="3664"/>
                  </a:lnTo>
                  <a:lnTo>
                    <a:pt x="8069" y="3671"/>
                  </a:lnTo>
                  <a:lnTo>
                    <a:pt x="8071" y="3680"/>
                  </a:lnTo>
                  <a:close/>
                  <a:moveTo>
                    <a:pt x="8334" y="3680"/>
                  </a:moveTo>
                  <a:lnTo>
                    <a:pt x="8334" y="3792"/>
                  </a:lnTo>
                  <a:lnTo>
                    <a:pt x="8332" y="3801"/>
                  </a:lnTo>
                  <a:lnTo>
                    <a:pt x="8327" y="3806"/>
                  </a:lnTo>
                  <a:lnTo>
                    <a:pt x="8322" y="3810"/>
                  </a:lnTo>
                  <a:lnTo>
                    <a:pt x="8314" y="3811"/>
                  </a:lnTo>
                  <a:lnTo>
                    <a:pt x="8307" y="3810"/>
                  </a:lnTo>
                  <a:lnTo>
                    <a:pt x="8300" y="3806"/>
                  </a:lnTo>
                  <a:lnTo>
                    <a:pt x="8296" y="3801"/>
                  </a:lnTo>
                  <a:lnTo>
                    <a:pt x="8294" y="3792"/>
                  </a:lnTo>
                  <a:lnTo>
                    <a:pt x="8294" y="3680"/>
                  </a:lnTo>
                  <a:lnTo>
                    <a:pt x="8296" y="3671"/>
                  </a:lnTo>
                  <a:lnTo>
                    <a:pt x="8300" y="3664"/>
                  </a:lnTo>
                  <a:lnTo>
                    <a:pt x="8307" y="3661"/>
                  </a:lnTo>
                  <a:lnTo>
                    <a:pt x="8314" y="3659"/>
                  </a:lnTo>
                  <a:lnTo>
                    <a:pt x="8322" y="3661"/>
                  </a:lnTo>
                  <a:lnTo>
                    <a:pt x="8327" y="3664"/>
                  </a:lnTo>
                  <a:lnTo>
                    <a:pt x="8332" y="3671"/>
                  </a:lnTo>
                  <a:lnTo>
                    <a:pt x="8334" y="3680"/>
                  </a:lnTo>
                  <a:close/>
                  <a:moveTo>
                    <a:pt x="8598" y="3680"/>
                  </a:moveTo>
                  <a:lnTo>
                    <a:pt x="8598" y="3792"/>
                  </a:lnTo>
                  <a:lnTo>
                    <a:pt x="8595" y="3801"/>
                  </a:lnTo>
                  <a:lnTo>
                    <a:pt x="8591" y="3806"/>
                  </a:lnTo>
                  <a:lnTo>
                    <a:pt x="8585" y="3810"/>
                  </a:lnTo>
                  <a:lnTo>
                    <a:pt x="8577" y="3811"/>
                  </a:lnTo>
                  <a:lnTo>
                    <a:pt x="8569" y="3810"/>
                  </a:lnTo>
                  <a:lnTo>
                    <a:pt x="8563" y="3806"/>
                  </a:lnTo>
                  <a:lnTo>
                    <a:pt x="8559" y="3801"/>
                  </a:lnTo>
                  <a:lnTo>
                    <a:pt x="8557" y="3792"/>
                  </a:lnTo>
                  <a:lnTo>
                    <a:pt x="8557" y="3680"/>
                  </a:lnTo>
                  <a:lnTo>
                    <a:pt x="8559" y="3671"/>
                  </a:lnTo>
                  <a:lnTo>
                    <a:pt x="8563" y="3664"/>
                  </a:lnTo>
                  <a:lnTo>
                    <a:pt x="8569" y="3661"/>
                  </a:lnTo>
                  <a:lnTo>
                    <a:pt x="8577" y="3659"/>
                  </a:lnTo>
                  <a:lnTo>
                    <a:pt x="8585" y="3661"/>
                  </a:lnTo>
                  <a:lnTo>
                    <a:pt x="8591" y="3664"/>
                  </a:lnTo>
                  <a:lnTo>
                    <a:pt x="8595" y="3671"/>
                  </a:lnTo>
                  <a:lnTo>
                    <a:pt x="8598" y="3680"/>
                  </a:lnTo>
                  <a:close/>
                  <a:moveTo>
                    <a:pt x="8861" y="3680"/>
                  </a:moveTo>
                  <a:lnTo>
                    <a:pt x="8861" y="3792"/>
                  </a:lnTo>
                  <a:lnTo>
                    <a:pt x="8858" y="3801"/>
                  </a:lnTo>
                  <a:lnTo>
                    <a:pt x="8854" y="3806"/>
                  </a:lnTo>
                  <a:lnTo>
                    <a:pt x="8848" y="3810"/>
                  </a:lnTo>
                  <a:lnTo>
                    <a:pt x="8840" y="3811"/>
                  </a:lnTo>
                  <a:lnTo>
                    <a:pt x="8832" y="3810"/>
                  </a:lnTo>
                  <a:lnTo>
                    <a:pt x="8826" y="3806"/>
                  </a:lnTo>
                  <a:lnTo>
                    <a:pt x="8822" y="3801"/>
                  </a:lnTo>
                  <a:lnTo>
                    <a:pt x="8821" y="3792"/>
                  </a:lnTo>
                  <a:lnTo>
                    <a:pt x="8821" y="3680"/>
                  </a:lnTo>
                  <a:lnTo>
                    <a:pt x="8822" y="3671"/>
                  </a:lnTo>
                  <a:lnTo>
                    <a:pt x="8826" y="3664"/>
                  </a:lnTo>
                  <a:lnTo>
                    <a:pt x="8832" y="3661"/>
                  </a:lnTo>
                  <a:lnTo>
                    <a:pt x="8840" y="3659"/>
                  </a:lnTo>
                  <a:lnTo>
                    <a:pt x="8848" y="3661"/>
                  </a:lnTo>
                  <a:lnTo>
                    <a:pt x="8854" y="3664"/>
                  </a:lnTo>
                  <a:lnTo>
                    <a:pt x="8858" y="3671"/>
                  </a:lnTo>
                  <a:lnTo>
                    <a:pt x="8861" y="3680"/>
                  </a:lnTo>
                  <a:close/>
                  <a:moveTo>
                    <a:pt x="9081" y="2604"/>
                  </a:moveTo>
                  <a:lnTo>
                    <a:pt x="9075" y="2604"/>
                  </a:lnTo>
                  <a:lnTo>
                    <a:pt x="9081" y="2604"/>
                  </a:lnTo>
                  <a:close/>
                  <a:moveTo>
                    <a:pt x="5536" y="1840"/>
                  </a:moveTo>
                  <a:lnTo>
                    <a:pt x="5109" y="1840"/>
                  </a:lnTo>
                  <a:lnTo>
                    <a:pt x="5109" y="1950"/>
                  </a:lnTo>
                  <a:lnTo>
                    <a:pt x="5536" y="1950"/>
                  </a:lnTo>
                  <a:lnTo>
                    <a:pt x="5536" y="1840"/>
                  </a:lnTo>
                  <a:close/>
                  <a:moveTo>
                    <a:pt x="4446" y="3790"/>
                  </a:moveTo>
                  <a:lnTo>
                    <a:pt x="5309" y="3790"/>
                  </a:lnTo>
                  <a:lnTo>
                    <a:pt x="5318" y="3791"/>
                  </a:lnTo>
                  <a:lnTo>
                    <a:pt x="5324" y="3796"/>
                  </a:lnTo>
                  <a:lnTo>
                    <a:pt x="5328" y="3803"/>
                  </a:lnTo>
                  <a:lnTo>
                    <a:pt x="5329" y="3809"/>
                  </a:lnTo>
                  <a:lnTo>
                    <a:pt x="5328" y="3817"/>
                  </a:lnTo>
                  <a:lnTo>
                    <a:pt x="5324" y="3823"/>
                  </a:lnTo>
                  <a:lnTo>
                    <a:pt x="5318" y="3828"/>
                  </a:lnTo>
                  <a:lnTo>
                    <a:pt x="5309" y="3829"/>
                  </a:lnTo>
                  <a:lnTo>
                    <a:pt x="5215" y="3829"/>
                  </a:lnTo>
                  <a:lnTo>
                    <a:pt x="5215" y="4317"/>
                  </a:lnTo>
                  <a:lnTo>
                    <a:pt x="5754" y="4317"/>
                  </a:lnTo>
                  <a:lnTo>
                    <a:pt x="5754" y="3782"/>
                  </a:lnTo>
                  <a:lnTo>
                    <a:pt x="5754" y="3249"/>
                  </a:lnTo>
                  <a:lnTo>
                    <a:pt x="5754" y="2716"/>
                  </a:lnTo>
                  <a:lnTo>
                    <a:pt x="5754" y="2182"/>
                  </a:lnTo>
                  <a:lnTo>
                    <a:pt x="5195" y="2182"/>
                  </a:lnTo>
                  <a:lnTo>
                    <a:pt x="4637" y="2182"/>
                  </a:lnTo>
                  <a:lnTo>
                    <a:pt x="4629" y="2181"/>
                  </a:lnTo>
                  <a:lnTo>
                    <a:pt x="4623" y="2176"/>
                  </a:lnTo>
                  <a:lnTo>
                    <a:pt x="4619" y="2170"/>
                  </a:lnTo>
                  <a:lnTo>
                    <a:pt x="4617" y="2163"/>
                  </a:lnTo>
                  <a:lnTo>
                    <a:pt x="4619" y="2156"/>
                  </a:lnTo>
                  <a:lnTo>
                    <a:pt x="4623" y="2149"/>
                  </a:lnTo>
                  <a:lnTo>
                    <a:pt x="4629" y="2144"/>
                  </a:lnTo>
                  <a:lnTo>
                    <a:pt x="4637" y="2143"/>
                  </a:lnTo>
                  <a:lnTo>
                    <a:pt x="5615" y="2143"/>
                  </a:lnTo>
                  <a:lnTo>
                    <a:pt x="5615" y="1989"/>
                  </a:lnTo>
                  <a:lnTo>
                    <a:pt x="5555" y="1989"/>
                  </a:lnTo>
                  <a:lnTo>
                    <a:pt x="5089" y="1989"/>
                  </a:lnTo>
                  <a:lnTo>
                    <a:pt x="4119" y="1989"/>
                  </a:lnTo>
                  <a:lnTo>
                    <a:pt x="4119" y="2143"/>
                  </a:lnTo>
                  <a:lnTo>
                    <a:pt x="4373" y="2143"/>
                  </a:lnTo>
                  <a:lnTo>
                    <a:pt x="4382" y="2144"/>
                  </a:lnTo>
                  <a:lnTo>
                    <a:pt x="4387" y="2149"/>
                  </a:lnTo>
                  <a:lnTo>
                    <a:pt x="4391" y="2156"/>
                  </a:lnTo>
                  <a:lnTo>
                    <a:pt x="4392" y="2163"/>
                  </a:lnTo>
                  <a:lnTo>
                    <a:pt x="4391" y="2170"/>
                  </a:lnTo>
                  <a:lnTo>
                    <a:pt x="4387" y="2176"/>
                  </a:lnTo>
                  <a:lnTo>
                    <a:pt x="4382" y="2181"/>
                  </a:lnTo>
                  <a:lnTo>
                    <a:pt x="4373" y="2182"/>
                  </a:lnTo>
                  <a:lnTo>
                    <a:pt x="4001" y="2182"/>
                  </a:lnTo>
                  <a:lnTo>
                    <a:pt x="4001" y="3195"/>
                  </a:lnTo>
                  <a:lnTo>
                    <a:pt x="3999" y="3204"/>
                  </a:lnTo>
                  <a:lnTo>
                    <a:pt x="3994" y="3211"/>
                  </a:lnTo>
                  <a:lnTo>
                    <a:pt x="3988" y="3214"/>
                  </a:lnTo>
                  <a:lnTo>
                    <a:pt x="3980" y="3216"/>
                  </a:lnTo>
                  <a:lnTo>
                    <a:pt x="3974" y="3214"/>
                  </a:lnTo>
                  <a:lnTo>
                    <a:pt x="3967" y="3211"/>
                  </a:lnTo>
                  <a:lnTo>
                    <a:pt x="3962" y="3204"/>
                  </a:lnTo>
                  <a:lnTo>
                    <a:pt x="3961" y="3195"/>
                  </a:lnTo>
                  <a:lnTo>
                    <a:pt x="3961" y="2679"/>
                  </a:lnTo>
                  <a:lnTo>
                    <a:pt x="3961" y="2163"/>
                  </a:lnTo>
                  <a:lnTo>
                    <a:pt x="3962" y="2156"/>
                  </a:lnTo>
                  <a:lnTo>
                    <a:pt x="3966" y="2149"/>
                  </a:lnTo>
                  <a:lnTo>
                    <a:pt x="3973" y="2144"/>
                  </a:lnTo>
                  <a:lnTo>
                    <a:pt x="3980" y="2143"/>
                  </a:lnTo>
                  <a:lnTo>
                    <a:pt x="4079" y="2143"/>
                  </a:lnTo>
                  <a:lnTo>
                    <a:pt x="4079" y="1970"/>
                  </a:lnTo>
                  <a:lnTo>
                    <a:pt x="4080" y="1963"/>
                  </a:lnTo>
                  <a:lnTo>
                    <a:pt x="4085" y="1956"/>
                  </a:lnTo>
                  <a:lnTo>
                    <a:pt x="4092" y="1951"/>
                  </a:lnTo>
                  <a:lnTo>
                    <a:pt x="4099" y="1950"/>
                  </a:lnTo>
                  <a:lnTo>
                    <a:pt x="5069" y="1950"/>
                  </a:lnTo>
                  <a:lnTo>
                    <a:pt x="5069" y="1819"/>
                  </a:lnTo>
                  <a:lnTo>
                    <a:pt x="5070" y="1812"/>
                  </a:lnTo>
                  <a:lnTo>
                    <a:pt x="5075" y="1805"/>
                  </a:lnTo>
                  <a:lnTo>
                    <a:pt x="5082" y="1801"/>
                  </a:lnTo>
                  <a:lnTo>
                    <a:pt x="5089" y="1799"/>
                  </a:lnTo>
                  <a:lnTo>
                    <a:pt x="5555" y="1799"/>
                  </a:lnTo>
                  <a:lnTo>
                    <a:pt x="5563" y="1801"/>
                  </a:lnTo>
                  <a:lnTo>
                    <a:pt x="5569" y="1805"/>
                  </a:lnTo>
                  <a:lnTo>
                    <a:pt x="5573" y="1812"/>
                  </a:lnTo>
                  <a:lnTo>
                    <a:pt x="5575" y="1819"/>
                  </a:lnTo>
                  <a:lnTo>
                    <a:pt x="5575" y="1950"/>
                  </a:lnTo>
                  <a:lnTo>
                    <a:pt x="5636" y="1950"/>
                  </a:lnTo>
                  <a:lnTo>
                    <a:pt x="5643" y="1951"/>
                  </a:lnTo>
                  <a:lnTo>
                    <a:pt x="5650" y="1956"/>
                  </a:lnTo>
                  <a:lnTo>
                    <a:pt x="5654" y="1963"/>
                  </a:lnTo>
                  <a:lnTo>
                    <a:pt x="5656" y="1970"/>
                  </a:lnTo>
                  <a:lnTo>
                    <a:pt x="5656" y="2143"/>
                  </a:lnTo>
                  <a:lnTo>
                    <a:pt x="5773" y="2143"/>
                  </a:lnTo>
                  <a:lnTo>
                    <a:pt x="5781" y="2144"/>
                  </a:lnTo>
                  <a:lnTo>
                    <a:pt x="5787" y="2149"/>
                  </a:lnTo>
                  <a:lnTo>
                    <a:pt x="5792" y="2156"/>
                  </a:lnTo>
                  <a:lnTo>
                    <a:pt x="5793" y="2163"/>
                  </a:lnTo>
                  <a:lnTo>
                    <a:pt x="5793" y="2705"/>
                  </a:lnTo>
                  <a:lnTo>
                    <a:pt x="5793" y="3249"/>
                  </a:lnTo>
                  <a:lnTo>
                    <a:pt x="5793" y="3792"/>
                  </a:lnTo>
                  <a:lnTo>
                    <a:pt x="5793" y="4336"/>
                  </a:lnTo>
                  <a:lnTo>
                    <a:pt x="5792" y="4343"/>
                  </a:lnTo>
                  <a:lnTo>
                    <a:pt x="5787" y="4350"/>
                  </a:lnTo>
                  <a:lnTo>
                    <a:pt x="5781" y="4355"/>
                  </a:lnTo>
                  <a:lnTo>
                    <a:pt x="5773" y="4356"/>
                  </a:lnTo>
                  <a:lnTo>
                    <a:pt x="5195" y="4356"/>
                  </a:lnTo>
                  <a:lnTo>
                    <a:pt x="4560" y="4356"/>
                  </a:lnTo>
                  <a:lnTo>
                    <a:pt x="3980" y="4356"/>
                  </a:lnTo>
                  <a:lnTo>
                    <a:pt x="3973" y="4355"/>
                  </a:lnTo>
                  <a:lnTo>
                    <a:pt x="3966" y="4350"/>
                  </a:lnTo>
                  <a:lnTo>
                    <a:pt x="3962" y="4343"/>
                  </a:lnTo>
                  <a:lnTo>
                    <a:pt x="3961" y="4336"/>
                  </a:lnTo>
                  <a:lnTo>
                    <a:pt x="3961" y="4037"/>
                  </a:lnTo>
                  <a:lnTo>
                    <a:pt x="3962" y="4028"/>
                  </a:lnTo>
                  <a:lnTo>
                    <a:pt x="3967" y="4021"/>
                  </a:lnTo>
                  <a:lnTo>
                    <a:pt x="3974" y="4017"/>
                  </a:lnTo>
                  <a:lnTo>
                    <a:pt x="3980" y="4016"/>
                  </a:lnTo>
                  <a:lnTo>
                    <a:pt x="3988" y="4017"/>
                  </a:lnTo>
                  <a:lnTo>
                    <a:pt x="3994" y="4021"/>
                  </a:lnTo>
                  <a:lnTo>
                    <a:pt x="3999" y="4028"/>
                  </a:lnTo>
                  <a:lnTo>
                    <a:pt x="4001" y="4037"/>
                  </a:lnTo>
                  <a:lnTo>
                    <a:pt x="4001" y="4317"/>
                  </a:lnTo>
                  <a:lnTo>
                    <a:pt x="4539" y="4317"/>
                  </a:lnTo>
                  <a:lnTo>
                    <a:pt x="4539" y="3829"/>
                  </a:lnTo>
                  <a:lnTo>
                    <a:pt x="4446" y="3829"/>
                  </a:lnTo>
                  <a:lnTo>
                    <a:pt x="4437" y="3828"/>
                  </a:lnTo>
                  <a:lnTo>
                    <a:pt x="4430" y="3823"/>
                  </a:lnTo>
                  <a:lnTo>
                    <a:pt x="4426" y="3817"/>
                  </a:lnTo>
                  <a:lnTo>
                    <a:pt x="4425" y="3809"/>
                  </a:lnTo>
                  <a:lnTo>
                    <a:pt x="4426" y="3803"/>
                  </a:lnTo>
                  <a:lnTo>
                    <a:pt x="4430" y="3796"/>
                  </a:lnTo>
                  <a:lnTo>
                    <a:pt x="4437" y="3791"/>
                  </a:lnTo>
                  <a:lnTo>
                    <a:pt x="4446" y="3790"/>
                  </a:lnTo>
                  <a:close/>
                  <a:moveTo>
                    <a:pt x="4897" y="3950"/>
                  </a:moveTo>
                  <a:lnTo>
                    <a:pt x="4897" y="4317"/>
                  </a:lnTo>
                  <a:lnTo>
                    <a:pt x="5175" y="4317"/>
                  </a:lnTo>
                  <a:lnTo>
                    <a:pt x="5175" y="3829"/>
                  </a:lnTo>
                  <a:lnTo>
                    <a:pt x="4579" y="3829"/>
                  </a:lnTo>
                  <a:lnTo>
                    <a:pt x="4579" y="4317"/>
                  </a:lnTo>
                  <a:lnTo>
                    <a:pt x="4857" y="4317"/>
                  </a:lnTo>
                  <a:lnTo>
                    <a:pt x="4857" y="3950"/>
                  </a:lnTo>
                  <a:lnTo>
                    <a:pt x="4859" y="3941"/>
                  </a:lnTo>
                  <a:lnTo>
                    <a:pt x="4864" y="3934"/>
                  </a:lnTo>
                  <a:lnTo>
                    <a:pt x="4870" y="3930"/>
                  </a:lnTo>
                  <a:lnTo>
                    <a:pt x="4877" y="3929"/>
                  </a:lnTo>
                  <a:lnTo>
                    <a:pt x="4884" y="3930"/>
                  </a:lnTo>
                  <a:lnTo>
                    <a:pt x="4891" y="3934"/>
                  </a:lnTo>
                  <a:lnTo>
                    <a:pt x="4896" y="3941"/>
                  </a:lnTo>
                  <a:lnTo>
                    <a:pt x="4897" y="3950"/>
                  </a:lnTo>
                  <a:close/>
                  <a:moveTo>
                    <a:pt x="8349" y="481"/>
                  </a:moveTo>
                  <a:lnTo>
                    <a:pt x="8337" y="483"/>
                  </a:lnTo>
                  <a:lnTo>
                    <a:pt x="8328" y="482"/>
                  </a:lnTo>
                  <a:lnTo>
                    <a:pt x="8321" y="475"/>
                  </a:lnTo>
                  <a:lnTo>
                    <a:pt x="8318" y="464"/>
                  </a:lnTo>
                  <a:lnTo>
                    <a:pt x="8316" y="446"/>
                  </a:lnTo>
                  <a:lnTo>
                    <a:pt x="8312" y="428"/>
                  </a:lnTo>
                  <a:lnTo>
                    <a:pt x="8299" y="394"/>
                  </a:lnTo>
                  <a:lnTo>
                    <a:pt x="8280" y="364"/>
                  </a:lnTo>
                  <a:lnTo>
                    <a:pt x="8255" y="337"/>
                  </a:lnTo>
                  <a:lnTo>
                    <a:pt x="8226" y="316"/>
                  </a:lnTo>
                  <a:lnTo>
                    <a:pt x="8192" y="299"/>
                  </a:lnTo>
                  <a:lnTo>
                    <a:pt x="8175" y="293"/>
                  </a:lnTo>
                  <a:lnTo>
                    <a:pt x="8157" y="289"/>
                  </a:lnTo>
                  <a:lnTo>
                    <a:pt x="8137" y="286"/>
                  </a:lnTo>
                  <a:lnTo>
                    <a:pt x="8119" y="285"/>
                  </a:lnTo>
                  <a:lnTo>
                    <a:pt x="8080" y="289"/>
                  </a:lnTo>
                  <a:lnTo>
                    <a:pt x="8060" y="294"/>
                  </a:lnTo>
                  <a:lnTo>
                    <a:pt x="8042" y="300"/>
                  </a:lnTo>
                  <a:lnTo>
                    <a:pt x="8008" y="318"/>
                  </a:lnTo>
                  <a:lnTo>
                    <a:pt x="7978" y="341"/>
                  </a:lnTo>
                  <a:lnTo>
                    <a:pt x="7966" y="355"/>
                  </a:lnTo>
                  <a:lnTo>
                    <a:pt x="7954" y="369"/>
                  </a:lnTo>
                  <a:lnTo>
                    <a:pt x="7935" y="403"/>
                  </a:lnTo>
                  <a:lnTo>
                    <a:pt x="7928" y="420"/>
                  </a:lnTo>
                  <a:lnTo>
                    <a:pt x="7923" y="438"/>
                  </a:lnTo>
                  <a:lnTo>
                    <a:pt x="7919" y="477"/>
                  </a:lnTo>
                  <a:lnTo>
                    <a:pt x="7867" y="477"/>
                  </a:lnTo>
                  <a:lnTo>
                    <a:pt x="7836" y="474"/>
                  </a:lnTo>
                  <a:lnTo>
                    <a:pt x="7815" y="477"/>
                  </a:lnTo>
                  <a:lnTo>
                    <a:pt x="7798" y="482"/>
                  </a:lnTo>
                  <a:lnTo>
                    <a:pt x="7780" y="492"/>
                  </a:lnTo>
                  <a:lnTo>
                    <a:pt x="7765" y="504"/>
                  </a:lnTo>
                  <a:lnTo>
                    <a:pt x="7754" y="519"/>
                  </a:lnTo>
                  <a:lnTo>
                    <a:pt x="7745" y="537"/>
                  </a:lnTo>
                  <a:lnTo>
                    <a:pt x="7740" y="556"/>
                  </a:lnTo>
                  <a:lnTo>
                    <a:pt x="7737" y="576"/>
                  </a:lnTo>
                  <a:lnTo>
                    <a:pt x="7740" y="598"/>
                  </a:lnTo>
                  <a:lnTo>
                    <a:pt x="8505" y="599"/>
                  </a:lnTo>
                  <a:lnTo>
                    <a:pt x="8508" y="574"/>
                  </a:lnTo>
                  <a:lnTo>
                    <a:pt x="8505" y="552"/>
                  </a:lnTo>
                  <a:lnTo>
                    <a:pt x="8499" y="532"/>
                  </a:lnTo>
                  <a:lnTo>
                    <a:pt x="8490" y="514"/>
                  </a:lnTo>
                  <a:lnTo>
                    <a:pt x="8477" y="497"/>
                  </a:lnTo>
                  <a:lnTo>
                    <a:pt x="8460" y="484"/>
                  </a:lnTo>
                  <a:lnTo>
                    <a:pt x="8443" y="474"/>
                  </a:lnTo>
                  <a:lnTo>
                    <a:pt x="8423" y="468"/>
                  </a:lnTo>
                  <a:lnTo>
                    <a:pt x="8401" y="465"/>
                  </a:lnTo>
                  <a:lnTo>
                    <a:pt x="8373" y="469"/>
                  </a:lnTo>
                  <a:lnTo>
                    <a:pt x="8349" y="481"/>
                  </a:lnTo>
                  <a:close/>
                  <a:moveTo>
                    <a:pt x="7880" y="455"/>
                  </a:moveTo>
                  <a:lnTo>
                    <a:pt x="7883" y="433"/>
                  </a:lnTo>
                  <a:lnTo>
                    <a:pt x="7889" y="411"/>
                  </a:lnTo>
                  <a:lnTo>
                    <a:pt x="7896" y="391"/>
                  </a:lnTo>
                  <a:lnTo>
                    <a:pt x="7905" y="372"/>
                  </a:lnTo>
                  <a:lnTo>
                    <a:pt x="7917" y="354"/>
                  </a:lnTo>
                  <a:lnTo>
                    <a:pt x="7930" y="336"/>
                  </a:lnTo>
                  <a:lnTo>
                    <a:pt x="7944" y="321"/>
                  </a:lnTo>
                  <a:lnTo>
                    <a:pt x="7959" y="305"/>
                  </a:lnTo>
                  <a:lnTo>
                    <a:pt x="7994" y="280"/>
                  </a:lnTo>
                  <a:lnTo>
                    <a:pt x="8032" y="261"/>
                  </a:lnTo>
                  <a:lnTo>
                    <a:pt x="8075" y="249"/>
                  </a:lnTo>
                  <a:lnTo>
                    <a:pt x="8119" y="245"/>
                  </a:lnTo>
                  <a:lnTo>
                    <a:pt x="8160" y="249"/>
                  </a:lnTo>
                  <a:lnTo>
                    <a:pt x="8200" y="259"/>
                  </a:lnTo>
                  <a:lnTo>
                    <a:pt x="8237" y="276"/>
                  </a:lnTo>
                  <a:lnTo>
                    <a:pt x="8254" y="286"/>
                  </a:lnTo>
                  <a:lnTo>
                    <a:pt x="8271" y="299"/>
                  </a:lnTo>
                  <a:lnTo>
                    <a:pt x="8300" y="326"/>
                  </a:lnTo>
                  <a:lnTo>
                    <a:pt x="8325" y="358"/>
                  </a:lnTo>
                  <a:lnTo>
                    <a:pt x="8335" y="376"/>
                  </a:lnTo>
                  <a:lnTo>
                    <a:pt x="8343" y="395"/>
                  </a:lnTo>
                  <a:lnTo>
                    <a:pt x="8350" y="414"/>
                  </a:lnTo>
                  <a:lnTo>
                    <a:pt x="8354" y="433"/>
                  </a:lnTo>
                  <a:lnTo>
                    <a:pt x="8377" y="428"/>
                  </a:lnTo>
                  <a:lnTo>
                    <a:pt x="8401" y="426"/>
                  </a:lnTo>
                  <a:lnTo>
                    <a:pt x="8431" y="428"/>
                  </a:lnTo>
                  <a:lnTo>
                    <a:pt x="8459" y="437"/>
                  </a:lnTo>
                  <a:lnTo>
                    <a:pt x="8484" y="451"/>
                  </a:lnTo>
                  <a:lnTo>
                    <a:pt x="8505" y="470"/>
                  </a:lnTo>
                  <a:lnTo>
                    <a:pt x="8523" y="492"/>
                  </a:lnTo>
                  <a:lnTo>
                    <a:pt x="8531" y="505"/>
                  </a:lnTo>
                  <a:lnTo>
                    <a:pt x="8536" y="518"/>
                  </a:lnTo>
                  <a:lnTo>
                    <a:pt x="8545" y="544"/>
                  </a:lnTo>
                  <a:lnTo>
                    <a:pt x="8548" y="560"/>
                  </a:lnTo>
                  <a:lnTo>
                    <a:pt x="8548" y="574"/>
                  </a:lnTo>
                  <a:lnTo>
                    <a:pt x="8548" y="592"/>
                  </a:lnTo>
                  <a:lnTo>
                    <a:pt x="8544" y="613"/>
                  </a:lnTo>
                  <a:lnTo>
                    <a:pt x="8540" y="624"/>
                  </a:lnTo>
                  <a:lnTo>
                    <a:pt x="8535" y="631"/>
                  </a:lnTo>
                  <a:lnTo>
                    <a:pt x="8528" y="638"/>
                  </a:lnTo>
                  <a:lnTo>
                    <a:pt x="8521" y="640"/>
                  </a:lnTo>
                  <a:lnTo>
                    <a:pt x="7724" y="638"/>
                  </a:lnTo>
                  <a:lnTo>
                    <a:pt x="7717" y="637"/>
                  </a:lnTo>
                  <a:lnTo>
                    <a:pt x="7710" y="631"/>
                  </a:lnTo>
                  <a:lnTo>
                    <a:pt x="7705" y="622"/>
                  </a:lnTo>
                  <a:lnTo>
                    <a:pt x="7701" y="613"/>
                  </a:lnTo>
                  <a:lnTo>
                    <a:pt x="7699" y="593"/>
                  </a:lnTo>
                  <a:lnTo>
                    <a:pt x="7698" y="576"/>
                  </a:lnTo>
                  <a:lnTo>
                    <a:pt x="7700" y="548"/>
                  </a:lnTo>
                  <a:lnTo>
                    <a:pt x="7708" y="521"/>
                  </a:lnTo>
                  <a:lnTo>
                    <a:pt x="7721" y="497"/>
                  </a:lnTo>
                  <a:lnTo>
                    <a:pt x="7737" y="477"/>
                  </a:lnTo>
                  <a:lnTo>
                    <a:pt x="7757" y="459"/>
                  </a:lnTo>
                  <a:lnTo>
                    <a:pt x="7781" y="446"/>
                  </a:lnTo>
                  <a:lnTo>
                    <a:pt x="7807" y="437"/>
                  </a:lnTo>
                  <a:lnTo>
                    <a:pt x="7836" y="434"/>
                  </a:lnTo>
                  <a:lnTo>
                    <a:pt x="7851" y="436"/>
                  </a:lnTo>
                  <a:lnTo>
                    <a:pt x="7864" y="440"/>
                  </a:lnTo>
                  <a:lnTo>
                    <a:pt x="7874" y="445"/>
                  </a:lnTo>
                  <a:lnTo>
                    <a:pt x="7880" y="455"/>
                  </a:lnTo>
                  <a:close/>
                  <a:moveTo>
                    <a:pt x="4157" y="902"/>
                  </a:moveTo>
                  <a:lnTo>
                    <a:pt x="4683" y="902"/>
                  </a:lnTo>
                  <a:lnTo>
                    <a:pt x="5210" y="902"/>
                  </a:lnTo>
                  <a:lnTo>
                    <a:pt x="5210" y="892"/>
                  </a:lnTo>
                  <a:lnTo>
                    <a:pt x="5207" y="865"/>
                  </a:lnTo>
                  <a:lnTo>
                    <a:pt x="5203" y="854"/>
                  </a:lnTo>
                  <a:lnTo>
                    <a:pt x="5200" y="841"/>
                  </a:lnTo>
                  <a:lnTo>
                    <a:pt x="5187" y="819"/>
                  </a:lnTo>
                  <a:lnTo>
                    <a:pt x="5179" y="809"/>
                  </a:lnTo>
                  <a:lnTo>
                    <a:pt x="5171" y="799"/>
                  </a:lnTo>
                  <a:lnTo>
                    <a:pt x="5151" y="784"/>
                  </a:lnTo>
                  <a:lnTo>
                    <a:pt x="5141" y="777"/>
                  </a:lnTo>
                  <a:lnTo>
                    <a:pt x="5129" y="771"/>
                  </a:lnTo>
                  <a:lnTo>
                    <a:pt x="5103" y="763"/>
                  </a:lnTo>
                  <a:lnTo>
                    <a:pt x="5077" y="761"/>
                  </a:lnTo>
                  <a:lnTo>
                    <a:pt x="5052" y="763"/>
                  </a:lnTo>
                  <a:lnTo>
                    <a:pt x="5042" y="767"/>
                  </a:lnTo>
                  <a:lnTo>
                    <a:pt x="5030" y="771"/>
                  </a:lnTo>
                  <a:lnTo>
                    <a:pt x="4996" y="791"/>
                  </a:lnTo>
                  <a:lnTo>
                    <a:pt x="4982" y="799"/>
                  </a:lnTo>
                  <a:lnTo>
                    <a:pt x="4970" y="801"/>
                  </a:lnTo>
                  <a:lnTo>
                    <a:pt x="4961" y="799"/>
                  </a:lnTo>
                  <a:lnTo>
                    <a:pt x="4955" y="786"/>
                  </a:lnTo>
                  <a:lnTo>
                    <a:pt x="4944" y="758"/>
                  </a:lnTo>
                  <a:lnTo>
                    <a:pt x="4938" y="745"/>
                  </a:lnTo>
                  <a:lnTo>
                    <a:pt x="4929" y="732"/>
                  </a:lnTo>
                  <a:lnTo>
                    <a:pt x="4911" y="711"/>
                  </a:lnTo>
                  <a:lnTo>
                    <a:pt x="4900" y="700"/>
                  </a:lnTo>
                  <a:lnTo>
                    <a:pt x="4888" y="690"/>
                  </a:lnTo>
                  <a:lnTo>
                    <a:pt x="4864" y="675"/>
                  </a:lnTo>
                  <a:lnTo>
                    <a:pt x="4837" y="662"/>
                  </a:lnTo>
                  <a:lnTo>
                    <a:pt x="4821" y="658"/>
                  </a:lnTo>
                  <a:lnTo>
                    <a:pt x="4807" y="656"/>
                  </a:lnTo>
                  <a:lnTo>
                    <a:pt x="4775" y="653"/>
                  </a:lnTo>
                  <a:lnTo>
                    <a:pt x="4751" y="656"/>
                  </a:lnTo>
                  <a:lnTo>
                    <a:pt x="4725" y="661"/>
                  </a:lnTo>
                  <a:lnTo>
                    <a:pt x="4702" y="665"/>
                  </a:lnTo>
                  <a:lnTo>
                    <a:pt x="4694" y="663"/>
                  </a:lnTo>
                  <a:lnTo>
                    <a:pt x="4688" y="660"/>
                  </a:lnTo>
                  <a:lnTo>
                    <a:pt x="4671" y="643"/>
                  </a:lnTo>
                  <a:lnTo>
                    <a:pt x="4653" y="628"/>
                  </a:lnTo>
                  <a:lnTo>
                    <a:pt x="4634" y="615"/>
                  </a:lnTo>
                  <a:lnTo>
                    <a:pt x="4614" y="605"/>
                  </a:lnTo>
                  <a:lnTo>
                    <a:pt x="4592" y="596"/>
                  </a:lnTo>
                  <a:lnTo>
                    <a:pt x="4570" y="589"/>
                  </a:lnTo>
                  <a:lnTo>
                    <a:pt x="4546" y="585"/>
                  </a:lnTo>
                  <a:lnTo>
                    <a:pt x="4521" y="584"/>
                  </a:lnTo>
                  <a:lnTo>
                    <a:pt x="4480" y="587"/>
                  </a:lnTo>
                  <a:lnTo>
                    <a:pt x="4462" y="590"/>
                  </a:lnTo>
                  <a:lnTo>
                    <a:pt x="4446" y="594"/>
                  </a:lnTo>
                  <a:lnTo>
                    <a:pt x="4416" y="607"/>
                  </a:lnTo>
                  <a:lnTo>
                    <a:pt x="4393" y="622"/>
                  </a:lnTo>
                  <a:lnTo>
                    <a:pt x="4373" y="640"/>
                  </a:lnTo>
                  <a:lnTo>
                    <a:pt x="4356" y="661"/>
                  </a:lnTo>
                  <a:lnTo>
                    <a:pt x="4343" y="683"/>
                  </a:lnTo>
                  <a:lnTo>
                    <a:pt x="4333" y="704"/>
                  </a:lnTo>
                  <a:lnTo>
                    <a:pt x="4317" y="749"/>
                  </a:lnTo>
                  <a:lnTo>
                    <a:pt x="4306" y="786"/>
                  </a:lnTo>
                  <a:lnTo>
                    <a:pt x="4293" y="812"/>
                  </a:lnTo>
                  <a:lnTo>
                    <a:pt x="4287" y="818"/>
                  </a:lnTo>
                  <a:lnTo>
                    <a:pt x="4276" y="819"/>
                  </a:lnTo>
                  <a:lnTo>
                    <a:pt x="4261" y="818"/>
                  </a:lnTo>
                  <a:lnTo>
                    <a:pt x="4242" y="819"/>
                  </a:lnTo>
                  <a:lnTo>
                    <a:pt x="4224" y="824"/>
                  </a:lnTo>
                  <a:lnTo>
                    <a:pt x="4207" y="832"/>
                  </a:lnTo>
                  <a:lnTo>
                    <a:pt x="4193" y="842"/>
                  </a:lnTo>
                  <a:lnTo>
                    <a:pt x="4180" y="854"/>
                  </a:lnTo>
                  <a:lnTo>
                    <a:pt x="4170" y="868"/>
                  </a:lnTo>
                  <a:lnTo>
                    <a:pt x="4162" y="885"/>
                  </a:lnTo>
                  <a:lnTo>
                    <a:pt x="4157" y="902"/>
                  </a:lnTo>
                  <a:close/>
                  <a:moveTo>
                    <a:pt x="5248" y="923"/>
                  </a:moveTo>
                  <a:lnTo>
                    <a:pt x="5243" y="933"/>
                  </a:lnTo>
                  <a:lnTo>
                    <a:pt x="5238" y="938"/>
                  </a:lnTo>
                  <a:lnTo>
                    <a:pt x="5227" y="942"/>
                  </a:lnTo>
                  <a:lnTo>
                    <a:pt x="4680" y="942"/>
                  </a:lnTo>
                  <a:lnTo>
                    <a:pt x="4135" y="942"/>
                  </a:lnTo>
                  <a:lnTo>
                    <a:pt x="4129" y="940"/>
                  </a:lnTo>
                  <a:lnTo>
                    <a:pt x="4123" y="936"/>
                  </a:lnTo>
                  <a:lnTo>
                    <a:pt x="4117" y="928"/>
                  </a:lnTo>
                  <a:lnTo>
                    <a:pt x="4116" y="920"/>
                  </a:lnTo>
                  <a:lnTo>
                    <a:pt x="4119" y="891"/>
                  </a:lnTo>
                  <a:lnTo>
                    <a:pt x="4128" y="864"/>
                  </a:lnTo>
                  <a:lnTo>
                    <a:pt x="4140" y="840"/>
                  </a:lnTo>
                  <a:lnTo>
                    <a:pt x="4158" y="819"/>
                  </a:lnTo>
                  <a:lnTo>
                    <a:pt x="4180" y="801"/>
                  </a:lnTo>
                  <a:lnTo>
                    <a:pt x="4205" y="789"/>
                  </a:lnTo>
                  <a:lnTo>
                    <a:pt x="4232" y="781"/>
                  </a:lnTo>
                  <a:lnTo>
                    <a:pt x="4261" y="777"/>
                  </a:lnTo>
                  <a:lnTo>
                    <a:pt x="4265" y="753"/>
                  </a:lnTo>
                  <a:lnTo>
                    <a:pt x="4270" y="730"/>
                  </a:lnTo>
                  <a:lnTo>
                    <a:pt x="4279" y="707"/>
                  </a:lnTo>
                  <a:lnTo>
                    <a:pt x="4288" y="686"/>
                  </a:lnTo>
                  <a:lnTo>
                    <a:pt x="4301" y="666"/>
                  </a:lnTo>
                  <a:lnTo>
                    <a:pt x="4314" y="647"/>
                  </a:lnTo>
                  <a:lnTo>
                    <a:pt x="4329" y="629"/>
                  </a:lnTo>
                  <a:lnTo>
                    <a:pt x="4346" y="612"/>
                  </a:lnTo>
                  <a:lnTo>
                    <a:pt x="4364" y="597"/>
                  </a:lnTo>
                  <a:lnTo>
                    <a:pt x="4383" y="584"/>
                  </a:lnTo>
                  <a:lnTo>
                    <a:pt x="4425" y="562"/>
                  </a:lnTo>
                  <a:lnTo>
                    <a:pt x="4448" y="555"/>
                  </a:lnTo>
                  <a:lnTo>
                    <a:pt x="4471" y="550"/>
                  </a:lnTo>
                  <a:lnTo>
                    <a:pt x="4496" y="546"/>
                  </a:lnTo>
                  <a:lnTo>
                    <a:pt x="4521" y="544"/>
                  </a:lnTo>
                  <a:lnTo>
                    <a:pt x="4548" y="546"/>
                  </a:lnTo>
                  <a:lnTo>
                    <a:pt x="4575" y="550"/>
                  </a:lnTo>
                  <a:lnTo>
                    <a:pt x="4625" y="565"/>
                  </a:lnTo>
                  <a:lnTo>
                    <a:pt x="4648" y="576"/>
                  </a:lnTo>
                  <a:lnTo>
                    <a:pt x="4670" y="590"/>
                  </a:lnTo>
                  <a:lnTo>
                    <a:pt x="4689" y="606"/>
                  </a:lnTo>
                  <a:lnTo>
                    <a:pt x="4709" y="622"/>
                  </a:lnTo>
                  <a:lnTo>
                    <a:pt x="4741" y="615"/>
                  </a:lnTo>
                  <a:lnTo>
                    <a:pt x="4775" y="612"/>
                  </a:lnTo>
                  <a:lnTo>
                    <a:pt x="4810" y="615"/>
                  </a:lnTo>
                  <a:lnTo>
                    <a:pt x="4827" y="619"/>
                  </a:lnTo>
                  <a:lnTo>
                    <a:pt x="4842" y="622"/>
                  </a:lnTo>
                  <a:lnTo>
                    <a:pt x="4873" y="635"/>
                  </a:lnTo>
                  <a:lnTo>
                    <a:pt x="4901" y="651"/>
                  </a:lnTo>
                  <a:lnTo>
                    <a:pt x="4927" y="671"/>
                  </a:lnTo>
                  <a:lnTo>
                    <a:pt x="4950" y="694"/>
                  </a:lnTo>
                  <a:lnTo>
                    <a:pt x="4969" y="720"/>
                  </a:lnTo>
                  <a:lnTo>
                    <a:pt x="4984" y="749"/>
                  </a:lnTo>
                  <a:lnTo>
                    <a:pt x="5005" y="738"/>
                  </a:lnTo>
                  <a:lnTo>
                    <a:pt x="5028" y="729"/>
                  </a:lnTo>
                  <a:lnTo>
                    <a:pt x="5052" y="722"/>
                  </a:lnTo>
                  <a:lnTo>
                    <a:pt x="5077" y="721"/>
                  </a:lnTo>
                  <a:lnTo>
                    <a:pt x="5112" y="725"/>
                  </a:lnTo>
                  <a:lnTo>
                    <a:pt x="5128" y="729"/>
                  </a:lnTo>
                  <a:lnTo>
                    <a:pt x="5145" y="734"/>
                  </a:lnTo>
                  <a:lnTo>
                    <a:pt x="5174" y="750"/>
                  </a:lnTo>
                  <a:lnTo>
                    <a:pt x="5200" y="771"/>
                  </a:lnTo>
                  <a:lnTo>
                    <a:pt x="5210" y="784"/>
                  </a:lnTo>
                  <a:lnTo>
                    <a:pt x="5220" y="796"/>
                  </a:lnTo>
                  <a:lnTo>
                    <a:pt x="5229" y="810"/>
                  </a:lnTo>
                  <a:lnTo>
                    <a:pt x="5237" y="826"/>
                  </a:lnTo>
                  <a:lnTo>
                    <a:pt x="5247" y="858"/>
                  </a:lnTo>
                  <a:lnTo>
                    <a:pt x="5250" y="892"/>
                  </a:lnTo>
                  <a:lnTo>
                    <a:pt x="5250" y="908"/>
                  </a:lnTo>
                  <a:lnTo>
                    <a:pt x="5248" y="923"/>
                  </a:lnTo>
                  <a:close/>
                  <a:moveTo>
                    <a:pt x="4239" y="2494"/>
                  </a:moveTo>
                  <a:lnTo>
                    <a:pt x="4239" y="2607"/>
                  </a:lnTo>
                  <a:lnTo>
                    <a:pt x="4238" y="2616"/>
                  </a:lnTo>
                  <a:lnTo>
                    <a:pt x="4233" y="2622"/>
                  </a:lnTo>
                  <a:lnTo>
                    <a:pt x="4226" y="2626"/>
                  </a:lnTo>
                  <a:lnTo>
                    <a:pt x="4219" y="2627"/>
                  </a:lnTo>
                  <a:lnTo>
                    <a:pt x="4212" y="2626"/>
                  </a:lnTo>
                  <a:lnTo>
                    <a:pt x="4206" y="2622"/>
                  </a:lnTo>
                  <a:lnTo>
                    <a:pt x="4201" y="2616"/>
                  </a:lnTo>
                  <a:lnTo>
                    <a:pt x="4199" y="2607"/>
                  </a:lnTo>
                  <a:lnTo>
                    <a:pt x="4199" y="2494"/>
                  </a:lnTo>
                  <a:lnTo>
                    <a:pt x="4201" y="2487"/>
                  </a:lnTo>
                  <a:lnTo>
                    <a:pt x="4206" y="2480"/>
                  </a:lnTo>
                  <a:lnTo>
                    <a:pt x="4212" y="2477"/>
                  </a:lnTo>
                  <a:lnTo>
                    <a:pt x="4219" y="2475"/>
                  </a:lnTo>
                  <a:lnTo>
                    <a:pt x="4226" y="2477"/>
                  </a:lnTo>
                  <a:lnTo>
                    <a:pt x="4233" y="2480"/>
                  </a:lnTo>
                  <a:lnTo>
                    <a:pt x="4238" y="2487"/>
                  </a:lnTo>
                  <a:lnTo>
                    <a:pt x="4239" y="2494"/>
                  </a:lnTo>
                  <a:close/>
                  <a:moveTo>
                    <a:pt x="4502" y="2494"/>
                  </a:moveTo>
                  <a:lnTo>
                    <a:pt x="4502" y="2607"/>
                  </a:lnTo>
                  <a:lnTo>
                    <a:pt x="4501" y="2616"/>
                  </a:lnTo>
                  <a:lnTo>
                    <a:pt x="4496" y="2622"/>
                  </a:lnTo>
                  <a:lnTo>
                    <a:pt x="4489" y="2626"/>
                  </a:lnTo>
                  <a:lnTo>
                    <a:pt x="4483" y="2627"/>
                  </a:lnTo>
                  <a:lnTo>
                    <a:pt x="4475" y="2626"/>
                  </a:lnTo>
                  <a:lnTo>
                    <a:pt x="4469" y="2622"/>
                  </a:lnTo>
                  <a:lnTo>
                    <a:pt x="4464" y="2616"/>
                  </a:lnTo>
                  <a:lnTo>
                    <a:pt x="4462" y="2607"/>
                  </a:lnTo>
                  <a:lnTo>
                    <a:pt x="4462" y="2494"/>
                  </a:lnTo>
                  <a:lnTo>
                    <a:pt x="4464" y="2487"/>
                  </a:lnTo>
                  <a:lnTo>
                    <a:pt x="4469" y="2480"/>
                  </a:lnTo>
                  <a:lnTo>
                    <a:pt x="4475" y="2477"/>
                  </a:lnTo>
                  <a:lnTo>
                    <a:pt x="4483" y="2475"/>
                  </a:lnTo>
                  <a:lnTo>
                    <a:pt x="4489" y="2477"/>
                  </a:lnTo>
                  <a:lnTo>
                    <a:pt x="4496" y="2480"/>
                  </a:lnTo>
                  <a:lnTo>
                    <a:pt x="4501" y="2487"/>
                  </a:lnTo>
                  <a:lnTo>
                    <a:pt x="4502" y="2494"/>
                  </a:lnTo>
                  <a:close/>
                  <a:moveTo>
                    <a:pt x="4765" y="2494"/>
                  </a:moveTo>
                  <a:lnTo>
                    <a:pt x="4765" y="2607"/>
                  </a:lnTo>
                  <a:lnTo>
                    <a:pt x="4764" y="2616"/>
                  </a:lnTo>
                  <a:lnTo>
                    <a:pt x="4759" y="2622"/>
                  </a:lnTo>
                  <a:lnTo>
                    <a:pt x="4752" y="2626"/>
                  </a:lnTo>
                  <a:lnTo>
                    <a:pt x="4746" y="2627"/>
                  </a:lnTo>
                  <a:lnTo>
                    <a:pt x="4738" y="2626"/>
                  </a:lnTo>
                  <a:lnTo>
                    <a:pt x="4732" y="2622"/>
                  </a:lnTo>
                  <a:lnTo>
                    <a:pt x="4728" y="2616"/>
                  </a:lnTo>
                  <a:lnTo>
                    <a:pt x="4725" y="2607"/>
                  </a:lnTo>
                  <a:lnTo>
                    <a:pt x="4725" y="2494"/>
                  </a:lnTo>
                  <a:lnTo>
                    <a:pt x="4728" y="2487"/>
                  </a:lnTo>
                  <a:lnTo>
                    <a:pt x="4732" y="2480"/>
                  </a:lnTo>
                  <a:lnTo>
                    <a:pt x="4738" y="2477"/>
                  </a:lnTo>
                  <a:lnTo>
                    <a:pt x="4746" y="2475"/>
                  </a:lnTo>
                  <a:lnTo>
                    <a:pt x="4752" y="2477"/>
                  </a:lnTo>
                  <a:lnTo>
                    <a:pt x="4759" y="2480"/>
                  </a:lnTo>
                  <a:lnTo>
                    <a:pt x="4764" y="2487"/>
                  </a:lnTo>
                  <a:lnTo>
                    <a:pt x="4765" y="2494"/>
                  </a:lnTo>
                  <a:close/>
                  <a:moveTo>
                    <a:pt x="5029" y="2494"/>
                  </a:moveTo>
                  <a:lnTo>
                    <a:pt x="5029" y="2607"/>
                  </a:lnTo>
                  <a:lnTo>
                    <a:pt x="5027" y="2616"/>
                  </a:lnTo>
                  <a:lnTo>
                    <a:pt x="5023" y="2622"/>
                  </a:lnTo>
                  <a:lnTo>
                    <a:pt x="5016" y="2626"/>
                  </a:lnTo>
                  <a:lnTo>
                    <a:pt x="5009" y="2627"/>
                  </a:lnTo>
                  <a:lnTo>
                    <a:pt x="5001" y="2626"/>
                  </a:lnTo>
                  <a:lnTo>
                    <a:pt x="4994" y="2622"/>
                  </a:lnTo>
                  <a:lnTo>
                    <a:pt x="4991" y="2616"/>
                  </a:lnTo>
                  <a:lnTo>
                    <a:pt x="4988" y="2607"/>
                  </a:lnTo>
                  <a:lnTo>
                    <a:pt x="4988" y="2494"/>
                  </a:lnTo>
                  <a:lnTo>
                    <a:pt x="4991" y="2487"/>
                  </a:lnTo>
                  <a:lnTo>
                    <a:pt x="4994" y="2480"/>
                  </a:lnTo>
                  <a:lnTo>
                    <a:pt x="5001" y="2477"/>
                  </a:lnTo>
                  <a:lnTo>
                    <a:pt x="5009" y="2475"/>
                  </a:lnTo>
                  <a:lnTo>
                    <a:pt x="5016" y="2477"/>
                  </a:lnTo>
                  <a:lnTo>
                    <a:pt x="5023" y="2480"/>
                  </a:lnTo>
                  <a:lnTo>
                    <a:pt x="5027" y="2487"/>
                  </a:lnTo>
                  <a:lnTo>
                    <a:pt x="5029" y="2494"/>
                  </a:lnTo>
                  <a:close/>
                  <a:moveTo>
                    <a:pt x="5292" y="2494"/>
                  </a:moveTo>
                  <a:lnTo>
                    <a:pt x="5292" y="2607"/>
                  </a:lnTo>
                  <a:lnTo>
                    <a:pt x="5289" y="2616"/>
                  </a:lnTo>
                  <a:lnTo>
                    <a:pt x="5286" y="2622"/>
                  </a:lnTo>
                  <a:lnTo>
                    <a:pt x="5279" y="2626"/>
                  </a:lnTo>
                  <a:lnTo>
                    <a:pt x="5271" y="2627"/>
                  </a:lnTo>
                  <a:lnTo>
                    <a:pt x="5264" y="2626"/>
                  </a:lnTo>
                  <a:lnTo>
                    <a:pt x="5257" y="2622"/>
                  </a:lnTo>
                  <a:lnTo>
                    <a:pt x="5253" y="2616"/>
                  </a:lnTo>
                  <a:lnTo>
                    <a:pt x="5252" y="2607"/>
                  </a:lnTo>
                  <a:lnTo>
                    <a:pt x="5252" y="2494"/>
                  </a:lnTo>
                  <a:lnTo>
                    <a:pt x="5253" y="2487"/>
                  </a:lnTo>
                  <a:lnTo>
                    <a:pt x="5257" y="2480"/>
                  </a:lnTo>
                  <a:lnTo>
                    <a:pt x="5264" y="2477"/>
                  </a:lnTo>
                  <a:lnTo>
                    <a:pt x="5271" y="2475"/>
                  </a:lnTo>
                  <a:lnTo>
                    <a:pt x="5279" y="2477"/>
                  </a:lnTo>
                  <a:lnTo>
                    <a:pt x="5286" y="2480"/>
                  </a:lnTo>
                  <a:lnTo>
                    <a:pt x="5289" y="2487"/>
                  </a:lnTo>
                  <a:lnTo>
                    <a:pt x="5292" y="2494"/>
                  </a:lnTo>
                  <a:close/>
                  <a:moveTo>
                    <a:pt x="5555" y="2494"/>
                  </a:moveTo>
                  <a:lnTo>
                    <a:pt x="5555" y="2607"/>
                  </a:lnTo>
                  <a:lnTo>
                    <a:pt x="5554" y="2616"/>
                  </a:lnTo>
                  <a:lnTo>
                    <a:pt x="5548" y="2622"/>
                  </a:lnTo>
                  <a:lnTo>
                    <a:pt x="5542" y="2626"/>
                  </a:lnTo>
                  <a:lnTo>
                    <a:pt x="5534" y="2627"/>
                  </a:lnTo>
                  <a:lnTo>
                    <a:pt x="5528" y="2626"/>
                  </a:lnTo>
                  <a:lnTo>
                    <a:pt x="5521" y="2622"/>
                  </a:lnTo>
                  <a:lnTo>
                    <a:pt x="5516" y="2616"/>
                  </a:lnTo>
                  <a:lnTo>
                    <a:pt x="5515" y="2607"/>
                  </a:lnTo>
                  <a:lnTo>
                    <a:pt x="5515" y="2494"/>
                  </a:lnTo>
                  <a:lnTo>
                    <a:pt x="5516" y="2487"/>
                  </a:lnTo>
                  <a:lnTo>
                    <a:pt x="5521" y="2480"/>
                  </a:lnTo>
                  <a:lnTo>
                    <a:pt x="5528" y="2477"/>
                  </a:lnTo>
                  <a:lnTo>
                    <a:pt x="5534" y="2475"/>
                  </a:lnTo>
                  <a:lnTo>
                    <a:pt x="5542" y="2477"/>
                  </a:lnTo>
                  <a:lnTo>
                    <a:pt x="5548" y="2480"/>
                  </a:lnTo>
                  <a:lnTo>
                    <a:pt x="5554" y="2487"/>
                  </a:lnTo>
                  <a:lnTo>
                    <a:pt x="5555" y="2494"/>
                  </a:lnTo>
                  <a:close/>
                  <a:moveTo>
                    <a:pt x="4239" y="2741"/>
                  </a:moveTo>
                  <a:lnTo>
                    <a:pt x="4239" y="2854"/>
                  </a:lnTo>
                  <a:lnTo>
                    <a:pt x="4238" y="2863"/>
                  </a:lnTo>
                  <a:lnTo>
                    <a:pt x="4233" y="2869"/>
                  </a:lnTo>
                  <a:lnTo>
                    <a:pt x="4226" y="2873"/>
                  </a:lnTo>
                  <a:lnTo>
                    <a:pt x="4219" y="2874"/>
                  </a:lnTo>
                  <a:lnTo>
                    <a:pt x="4212" y="2873"/>
                  </a:lnTo>
                  <a:lnTo>
                    <a:pt x="4206" y="2869"/>
                  </a:lnTo>
                  <a:lnTo>
                    <a:pt x="4201" y="2863"/>
                  </a:lnTo>
                  <a:lnTo>
                    <a:pt x="4199" y="2854"/>
                  </a:lnTo>
                  <a:lnTo>
                    <a:pt x="4199" y="2741"/>
                  </a:lnTo>
                  <a:lnTo>
                    <a:pt x="4201" y="2732"/>
                  </a:lnTo>
                  <a:lnTo>
                    <a:pt x="4206" y="2727"/>
                  </a:lnTo>
                  <a:lnTo>
                    <a:pt x="4212" y="2723"/>
                  </a:lnTo>
                  <a:lnTo>
                    <a:pt x="4219" y="2722"/>
                  </a:lnTo>
                  <a:lnTo>
                    <a:pt x="4226" y="2723"/>
                  </a:lnTo>
                  <a:lnTo>
                    <a:pt x="4233" y="2727"/>
                  </a:lnTo>
                  <a:lnTo>
                    <a:pt x="4238" y="2732"/>
                  </a:lnTo>
                  <a:lnTo>
                    <a:pt x="4239" y="2741"/>
                  </a:lnTo>
                  <a:close/>
                  <a:moveTo>
                    <a:pt x="4502" y="2741"/>
                  </a:moveTo>
                  <a:lnTo>
                    <a:pt x="4502" y="2854"/>
                  </a:lnTo>
                  <a:lnTo>
                    <a:pt x="4501" y="2863"/>
                  </a:lnTo>
                  <a:lnTo>
                    <a:pt x="4496" y="2869"/>
                  </a:lnTo>
                  <a:lnTo>
                    <a:pt x="4489" y="2873"/>
                  </a:lnTo>
                  <a:lnTo>
                    <a:pt x="4483" y="2874"/>
                  </a:lnTo>
                  <a:lnTo>
                    <a:pt x="4475" y="2873"/>
                  </a:lnTo>
                  <a:lnTo>
                    <a:pt x="4469" y="2869"/>
                  </a:lnTo>
                  <a:lnTo>
                    <a:pt x="4464" y="2863"/>
                  </a:lnTo>
                  <a:lnTo>
                    <a:pt x="4462" y="2854"/>
                  </a:lnTo>
                  <a:lnTo>
                    <a:pt x="4462" y="2741"/>
                  </a:lnTo>
                  <a:lnTo>
                    <a:pt x="4464" y="2732"/>
                  </a:lnTo>
                  <a:lnTo>
                    <a:pt x="4469" y="2727"/>
                  </a:lnTo>
                  <a:lnTo>
                    <a:pt x="4475" y="2723"/>
                  </a:lnTo>
                  <a:lnTo>
                    <a:pt x="4483" y="2722"/>
                  </a:lnTo>
                  <a:lnTo>
                    <a:pt x="4489" y="2723"/>
                  </a:lnTo>
                  <a:lnTo>
                    <a:pt x="4496" y="2727"/>
                  </a:lnTo>
                  <a:lnTo>
                    <a:pt x="4501" y="2732"/>
                  </a:lnTo>
                  <a:lnTo>
                    <a:pt x="4502" y="2741"/>
                  </a:lnTo>
                  <a:close/>
                  <a:moveTo>
                    <a:pt x="4765" y="2741"/>
                  </a:moveTo>
                  <a:lnTo>
                    <a:pt x="4765" y="2854"/>
                  </a:lnTo>
                  <a:lnTo>
                    <a:pt x="4764" y="2863"/>
                  </a:lnTo>
                  <a:lnTo>
                    <a:pt x="4759" y="2869"/>
                  </a:lnTo>
                  <a:lnTo>
                    <a:pt x="4752" y="2873"/>
                  </a:lnTo>
                  <a:lnTo>
                    <a:pt x="4746" y="2874"/>
                  </a:lnTo>
                  <a:lnTo>
                    <a:pt x="4738" y="2873"/>
                  </a:lnTo>
                  <a:lnTo>
                    <a:pt x="4732" y="2869"/>
                  </a:lnTo>
                  <a:lnTo>
                    <a:pt x="4728" y="2863"/>
                  </a:lnTo>
                  <a:lnTo>
                    <a:pt x="4725" y="2854"/>
                  </a:lnTo>
                  <a:lnTo>
                    <a:pt x="4725" y="2741"/>
                  </a:lnTo>
                  <a:lnTo>
                    <a:pt x="4728" y="2732"/>
                  </a:lnTo>
                  <a:lnTo>
                    <a:pt x="4732" y="2727"/>
                  </a:lnTo>
                  <a:lnTo>
                    <a:pt x="4738" y="2723"/>
                  </a:lnTo>
                  <a:lnTo>
                    <a:pt x="4746" y="2722"/>
                  </a:lnTo>
                  <a:lnTo>
                    <a:pt x="4752" y="2723"/>
                  </a:lnTo>
                  <a:lnTo>
                    <a:pt x="4759" y="2727"/>
                  </a:lnTo>
                  <a:lnTo>
                    <a:pt x="4764" y="2732"/>
                  </a:lnTo>
                  <a:lnTo>
                    <a:pt x="4765" y="2741"/>
                  </a:lnTo>
                  <a:close/>
                  <a:moveTo>
                    <a:pt x="5029" y="2741"/>
                  </a:moveTo>
                  <a:lnTo>
                    <a:pt x="5029" y="2854"/>
                  </a:lnTo>
                  <a:lnTo>
                    <a:pt x="5027" y="2863"/>
                  </a:lnTo>
                  <a:lnTo>
                    <a:pt x="5023" y="2869"/>
                  </a:lnTo>
                  <a:lnTo>
                    <a:pt x="5016" y="2873"/>
                  </a:lnTo>
                  <a:lnTo>
                    <a:pt x="5009" y="2874"/>
                  </a:lnTo>
                  <a:lnTo>
                    <a:pt x="5001" y="2873"/>
                  </a:lnTo>
                  <a:lnTo>
                    <a:pt x="4994" y="2869"/>
                  </a:lnTo>
                  <a:lnTo>
                    <a:pt x="4991" y="2863"/>
                  </a:lnTo>
                  <a:lnTo>
                    <a:pt x="4988" y="2854"/>
                  </a:lnTo>
                  <a:lnTo>
                    <a:pt x="4988" y="2741"/>
                  </a:lnTo>
                  <a:lnTo>
                    <a:pt x="4991" y="2732"/>
                  </a:lnTo>
                  <a:lnTo>
                    <a:pt x="4994" y="2727"/>
                  </a:lnTo>
                  <a:lnTo>
                    <a:pt x="5001" y="2723"/>
                  </a:lnTo>
                  <a:lnTo>
                    <a:pt x="5009" y="2722"/>
                  </a:lnTo>
                  <a:lnTo>
                    <a:pt x="5016" y="2723"/>
                  </a:lnTo>
                  <a:lnTo>
                    <a:pt x="5023" y="2727"/>
                  </a:lnTo>
                  <a:lnTo>
                    <a:pt x="5027" y="2732"/>
                  </a:lnTo>
                  <a:lnTo>
                    <a:pt x="5029" y="2741"/>
                  </a:lnTo>
                  <a:close/>
                  <a:moveTo>
                    <a:pt x="5292" y="2741"/>
                  </a:moveTo>
                  <a:lnTo>
                    <a:pt x="5292" y="2854"/>
                  </a:lnTo>
                  <a:lnTo>
                    <a:pt x="5289" y="2863"/>
                  </a:lnTo>
                  <a:lnTo>
                    <a:pt x="5286" y="2869"/>
                  </a:lnTo>
                  <a:lnTo>
                    <a:pt x="5279" y="2873"/>
                  </a:lnTo>
                  <a:lnTo>
                    <a:pt x="5271" y="2874"/>
                  </a:lnTo>
                  <a:lnTo>
                    <a:pt x="5264" y="2873"/>
                  </a:lnTo>
                  <a:lnTo>
                    <a:pt x="5257" y="2869"/>
                  </a:lnTo>
                  <a:lnTo>
                    <a:pt x="5253" y="2863"/>
                  </a:lnTo>
                  <a:lnTo>
                    <a:pt x="5252" y="2854"/>
                  </a:lnTo>
                  <a:lnTo>
                    <a:pt x="5252" y="2741"/>
                  </a:lnTo>
                  <a:lnTo>
                    <a:pt x="5253" y="2732"/>
                  </a:lnTo>
                  <a:lnTo>
                    <a:pt x="5257" y="2727"/>
                  </a:lnTo>
                  <a:lnTo>
                    <a:pt x="5264" y="2723"/>
                  </a:lnTo>
                  <a:lnTo>
                    <a:pt x="5271" y="2722"/>
                  </a:lnTo>
                  <a:lnTo>
                    <a:pt x="5279" y="2723"/>
                  </a:lnTo>
                  <a:lnTo>
                    <a:pt x="5286" y="2727"/>
                  </a:lnTo>
                  <a:lnTo>
                    <a:pt x="5289" y="2732"/>
                  </a:lnTo>
                  <a:lnTo>
                    <a:pt x="5292" y="2741"/>
                  </a:lnTo>
                  <a:close/>
                  <a:moveTo>
                    <a:pt x="5555" y="2741"/>
                  </a:moveTo>
                  <a:lnTo>
                    <a:pt x="5555" y="2854"/>
                  </a:lnTo>
                  <a:lnTo>
                    <a:pt x="5554" y="2863"/>
                  </a:lnTo>
                  <a:lnTo>
                    <a:pt x="5548" y="2869"/>
                  </a:lnTo>
                  <a:lnTo>
                    <a:pt x="5542" y="2873"/>
                  </a:lnTo>
                  <a:lnTo>
                    <a:pt x="5534" y="2874"/>
                  </a:lnTo>
                  <a:lnTo>
                    <a:pt x="5528" y="2873"/>
                  </a:lnTo>
                  <a:lnTo>
                    <a:pt x="5521" y="2869"/>
                  </a:lnTo>
                  <a:lnTo>
                    <a:pt x="5516" y="2863"/>
                  </a:lnTo>
                  <a:lnTo>
                    <a:pt x="5515" y="2854"/>
                  </a:lnTo>
                  <a:lnTo>
                    <a:pt x="5515" y="2741"/>
                  </a:lnTo>
                  <a:lnTo>
                    <a:pt x="5516" y="2732"/>
                  </a:lnTo>
                  <a:lnTo>
                    <a:pt x="5521" y="2727"/>
                  </a:lnTo>
                  <a:lnTo>
                    <a:pt x="5528" y="2723"/>
                  </a:lnTo>
                  <a:lnTo>
                    <a:pt x="5534" y="2722"/>
                  </a:lnTo>
                  <a:lnTo>
                    <a:pt x="5542" y="2723"/>
                  </a:lnTo>
                  <a:lnTo>
                    <a:pt x="5548" y="2727"/>
                  </a:lnTo>
                  <a:lnTo>
                    <a:pt x="5554" y="2732"/>
                  </a:lnTo>
                  <a:lnTo>
                    <a:pt x="5555" y="2741"/>
                  </a:lnTo>
                  <a:close/>
                  <a:moveTo>
                    <a:pt x="4239" y="2988"/>
                  </a:moveTo>
                  <a:lnTo>
                    <a:pt x="4239" y="3101"/>
                  </a:lnTo>
                  <a:lnTo>
                    <a:pt x="4238" y="3109"/>
                  </a:lnTo>
                  <a:lnTo>
                    <a:pt x="4233" y="3115"/>
                  </a:lnTo>
                  <a:lnTo>
                    <a:pt x="4226" y="3118"/>
                  </a:lnTo>
                  <a:lnTo>
                    <a:pt x="4219" y="3120"/>
                  </a:lnTo>
                  <a:lnTo>
                    <a:pt x="4212" y="3118"/>
                  </a:lnTo>
                  <a:lnTo>
                    <a:pt x="4206" y="3115"/>
                  </a:lnTo>
                  <a:lnTo>
                    <a:pt x="4201" y="3109"/>
                  </a:lnTo>
                  <a:lnTo>
                    <a:pt x="4199" y="3101"/>
                  </a:lnTo>
                  <a:lnTo>
                    <a:pt x="4199" y="2988"/>
                  </a:lnTo>
                  <a:lnTo>
                    <a:pt x="4201" y="2979"/>
                  </a:lnTo>
                  <a:lnTo>
                    <a:pt x="4206" y="2973"/>
                  </a:lnTo>
                  <a:lnTo>
                    <a:pt x="4212" y="2970"/>
                  </a:lnTo>
                  <a:lnTo>
                    <a:pt x="4219" y="2969"/>
                  </a:lnTo>
                  <a:lnTo>
                    <a:pt x="4226" y="2970"/>
                  </a:lnTo>
                  <a:lnTo>
                    <a:pt x="4233" y="2973"/>
                  </a:lnTo>
                  <a:lnTo>
                    <a:pt x="4238" y="2979"/>
                  </a:lnTo>
                  <a:lnTo>
                    <a:pt x="4239" y="2988"/>
                  </a:lnTo>
                  <a:close/>
                  <a:moveTo>
                    <a:pt x="4502" y="2988"/>
                  </a:moveTo>
                  <a:lnTo>
                    <a:pt x="4502" y="3101"/>
                  </a:lnTo>
                  <a:lnTo>
                    <a:pt x="4501" y="3109"/>
                  </a:lnTo>
                  <a:lnTo>
                    <a:pt x="4496" y="3115"/>
                  </a:lnTo>
                  <a:lnTo>
                    <a:pt x="4489" y="3118"/>
                  </a:lnTo>
                  <a:lnTo>
                    <a:pt x="4483" y="3120"/>
                  </a:lnTo>
                  <a:lnTo>
                    <a:pt x="4475" y="3118"/>
                  </a:lnTo>
                  <a:lnTo>
                    <a:pt x="4469" y="3115"/>
                  </a:lnTo>
                  <a:lnTo>
                    <a:pt x="4464" y="3109"/>
                  </a:lnTo>
                  <a:lnTo>
                    <a:pt x="4462" y="3101"/>
                  </a:lnTo>
                  <a:lnTo>
                    <a:pt x="4462" y="2988"/>
                  </a:lnTo>
                  <a:lnTo>
                    <a:pt x="4464" y="2979"/>
                  </a:lnTo>
                  <a:lnTo>
                    <a:pt x="4469" y="2973"/>
                  </a:lnTo>
                  <a:lnTo>
                    <a:pt x="4475" y="2970"/>
                  </a:lnTo>
                  <a:lnTo>
                    <a:pt x="4483" y="2969"/>
                  </a:lnTo>
                  <a:lnTo>
                    <a:pt x="4489" y="2970"/>
                  </a:lnTo>
                  <a:lnTo>
                    <a:pt x="4496" y="2973"/>
                  </a:lnTo>
                  <a:lnTo>
                    <a:pt x="4501" y="2979"/>
                  </a:lnTo>
                  <a:lnTo>
                    <a:pt x="4502" y="2988"/>
                  </a:lnTo>
                  <a:close/>
                  <a:moveTo>
                    <a:pt x="4765" y="2988"/>
                  </a:moveTo>
                  <a:lnTo>
                    <a:pt x="4765" y="3101"/>
                  </a:lnTo>
                  <a:lnTo>
                    <a:pt x="4764" y="3109"/>
                  </a:lnTo>
                  <a:lnTo>
                    <a:pt x="4759" y="3115"/>
                  </a:lnTo>
                  <a:lnTo>
                    <a:pt x="4752" y="3118"/>
                  </a:lnTo>
                  <a:lnTo>
                    <a:pt x="4746" y="3120"/>
                  </a:lnTo>
                  <a:lnTo>
                    <a:pt x="4738" y="3118"/>
                  </a:lnTo>
                  <a:lnTo>
                    <a:pt x="4732" y="3115"/>
                  </a:lnTo>
                  <a:lnTo>
                    <a:pt x="4728" y="3109"/>
                  </a:lnTo>
                  <a:lnTo>
                    <a:pt x="4725" y="3101"/>
                  </a:lnTo>
                  <a:lnTo>
                    <a:pt x="4725" y="2988"/>
                  </a:lnTo>
                  <a:lnTo>
                    <a:pt x="4728" y="2979"/>
                  </a:lnTo>
                  <a:lnTo>
                    <a:pt x="4732" y="2973"/>
                  </a:lnTo>
                  <a:lnTo>
                    <a:pt x="4738" y="2970"/>
                  </a:lnTo>
                  <a:lnTo>
                    <a:pt x="4746" y="2969"/>
                  </a:lnTo>
                  <a:lnTo>
                    <a:pt x="4752" y="2970"/>
                  </a:lnTo>
                  <a:lnTo>
                    <a:pt x="4759" y="2973"/>
                  </a:lnTo>
                  <a:lnTo>
                    <a:pt x="4764" y="2979"/>
                  </a:lnTo>
                  <a:lnTo>
                    <a:pt x="4765" y="2988"/>
                  </a:lnTo>
                  <a:close/>
                  <a:moveTo>
                    <a:pt x="5029" y="2988"/>
                  </a:moveTo>
                  <a:lnTo>
                    <a:pt x="5029" y="3101"/>
                  </a:lnTo>
                  <a:lnTo>
                    <a:pt x="5027" y="3109"/>
                  </a:lnTo>
                  <a:lnTo>
                    <a:pt x="5023" y="3115"/>
                  </a:lnTo>
                  <a:lnTo>
                    <a:pt x="5016" y="3118"/>
                  </a:lnTo>
                  <a:lnTo>
                    <a:pt x="5009" y="3120"/>
                  </a:lnTo>
                  <a:lnTo>
                    <a:pt x="5001" y="3118"/>
                  </a:lnTo>
                  <a:lnTo>
                    <a:pt x="4994" y="3115"/>
                  </a:lnTo>
                  <a:lnTo>
                    <a:pt x="4991" y="3109"/>
                  </a:lnTo>
                  <a:lnTo>
                    <a:pt x="4988" y="3101"/>
                  </a:lnTo>
                  <a:lnTo>
                    <a:pt x="4988" y="2988"/>
                  </a:lnTo>
                  <a:lnTo>
                    <a:pt x="4991" y="2979"/>
                  </a:lnTo>
                  <a:lnTo>
                    <a:pt x="4994" y="2973"/>
                  </a:lnTo>
                  <a:lnTo>
                    <a:pt x="5001" y="2970"/>
                  </a:lnTo>
                  <a:lnTo>
                    <a:pt x="5009" y="2969"/>
                  </a:lnTo>
                  <a:lnTo>
                    <a:pt x="5016" y="2970"/>
                  </a:lnTo>
                  <a:lnTo>
                    <a:pt x="5023" y="2973"/>
                  </a:lnTo>
                  <a:lnTo>
                    <a:pt x="5027" y="2979"/>
                  </a:lnTo>
                  <a:lnTo>
                    <a:pt x="5029" y="2988"/>
                  </a:lnTo>
                  <a:close/>
                  <a:moveTo>
                    <a:pt x="5292" y="2988"/>
                  </a:moveTo>
                  <a:lnTo>
                    <a:pt x="5292" y="3101"/>
                  </a:lnTo>
                  <a:lnTo>
                    <a:pt x="5289" y="3109"/>
                  </a:lnTo>
                  <a:lnTo>
                    <a:pt x="5286" y="3115"/>
                  </a:lnTo>
                  <a:lnTo>
                    <a:pt x="5279" y="3118"/>
                  </a:lnTo>
                  <a:lnTo>
                    <a:pt x="5271" y="3120"/>
                  </a:lnTo>
                  <a:lnTo>
                    <a:pt x="5264" y="3118"/>
                  </a:lnTo>
                  <a:lnTo>
                    <a:pt x="5257" y="3115"/>
                  </a:lnTo>
                  <a:lnTo>
                    <a:pt x="5253" y="3109"/>
                  </a:lnTo>
                  <a:lnTo>
                    <a:pt x="5252" y="3101"/>
                  </a:lnTo>
                  <a:lnTo>
                    <a:pt x="5252" y="2988"/>
                  </a:lnTo>
                  <a:lnTo>
                    <a:pt x="5253" y="2979"/>
                  </a:lnTo>
                  <a:lnTo>
                    <a:pt x="5257" y="2973"/>
                  </a:lnTo>
                  <a:lnTo>
                    <a:pt x="5264" y="2970"/>
                  </a:lnTo>
                  <a:lnTo>
                    <a:pt x="5271" y="2969"/>
                  </a:lnTo>
                  <a:lnTo>
                    <a:pt x="5279" y="2970"/>
                  </a:lnTo>
                  <a:lnTo>
                    <a:pt x="5286" y="2973"/>
                  </a:lnTo>
                  <a:lnTo>
                    <a:pt x="5289" y="2979"/>
                  </a:lnTo>
                  <a:lnTo>
                    <a:pt x="5292" y="2988"/>
                  </a:lnTo>
                  <a:close/>
                  <a:moveTo>
                    <a:pt x="5555" y="2988"/>
                  </a:moveTo>
                  <a:lnTo>
                    <a:pt x="5555" y="3101"/>
                  </a:lnTo>
                  <a:lnTo>
                    <a:pt x="5554" y="3109"/>
                  </a:lnTo>
                  <a:lnTo>
                    <a:pt x="5548" y="3115"/>
                  </a:lnTo>
                  <a:lnTo>
                    <a:pt x="5542" y="3118"/>
                  </a:lnTo>
                  <a:lnTo>
                    <a:pt x="5534" y="3120"/>
                  </a:lnTo>
                  <a:lnTo>
                    <a:pt x="5528" y="3118"/>
                  </a:lnTo>
                  <a:lnTo>
                    <a:pt x="5521" y="3115"/>
                  </a:lnTo>
                  <a:lnTo>
                    <a:pt x="5516" y="3109"/>
                  </a:lnTo>
                  <a:lnTo>
                    <a:pt x="5515" y="3101"/>
                  </a:lnTo>
                  <a:lnTo>
                    <a:pt x="5515" y="2988"/>
                  </a:lnTo>
                  <a:lnTo>
                    <a:pt x="5516" y="2979"/>
                  </a:lnTo>
                  <a:lnTo>
                    <a:pt x="5521" y="2973"/>
                  </a:lnTo>
                  <a:lnTo>
                    <a:pt x="5528" y="2970"/>
                  </a:lnTo>
                  <a:lnTo>
                    <a:pt x="5534" y="2969"/>
                  </a:lnTo>
                  <a:lnTo>
                    <a:pt x="5542" y="2970"/>
                  </a:lnTo>
                  <a:lnTo>
                    <a:pt x="5548" y="2973"/>
                  </a:lnTo>
                  <a:lnTo>
                    <a:pt x="5554" y="2979"/>
                  </a:lnTo>
                  <a:lnTo>
                    <a:pt x="5555" y="2988"/>
                  </a:lnTo>
                  <a:close/>
                  <a:moveTo>
                    <a:pt x="4239" y="3235"/>
                  </a:moveTo>
                  <a:lnTo>
                    <a:pt x="4239" y="3347"/>
                  </a:lnTo>
                  <a:lnTo>
                    <a:pt x="4238" y="3355"/>
                  </a:lnTo>
                  <a:lnTo>
                    <a:pt x="4233" y="3361"/>
                  </a:lnTo>
                  <a:lnTo>
                    <a:pt x="4226" y="3365"/>
                  </a:lnTo>
                  <a:lnTo>
                    <a:pt x="4219" y="3367"/>
                  </a:lnTo>
                  <a:lnTo>
                    <a:pt x="4212" y="3365"/>
                  </a:lnTo>
                  <a:lnTo>
                    <a:pt x="4206" y="3361"/>
                  </a:lnTo>
                  <a:lnTo>
                    <a:pt x="4201" y="3355"/>
                  </a:lnTo>
                  <a:lnTo>
                    <a:pt x="4199" y="3347"/>
                  </a:lnTo>
                  <a:lnTo>
                    <a:pt x="4199" y="3235"/>
                  </a:lnTo>
                  <a:lnTo>
                    <a:pt x="4201" y="3226"/>
                  </a:lnTo>
                  <a:lnTo>
                    <a:pt x="4206" y="3219"/>
                  </a:lnTo>
                  <a:lnTo>
                    <a:pt x="4212" y="3216"/>
                  </a:lnTo>
                  <a:lnTo>
                    <a:pt x="4219" y="3214"/>
                  </a:lnTo>
                  <a:lnTo>
                    <a:pt x="4226" y="3216"/>
                  </a:lnTo>
                  <a:lnTo>
                    <a:pt x="4233" y="3219"/>
                  </a:lnTo>
                  <a:lnTo>
                    <a:pt x="4238" y="3226"/>
                  </a:lnTo>
                  <a:lnTo>
                    <a:pt x="4239" y="3235"/>
                  </a:lnTo>
                  <a:close/>
                  <a:moveTo>
                    <a:pt x="4502" y="3235"/>
                  </a:moveTo>
                  <a:lnTo>
                    <a:pt x="4502" y="3347"/>
                  </a:lnTo>
                  <a:lnTo>
                    <a:pt x="4501" y="3355"/>
                  </a:lnTo>
                  <a:lnTo>
                    <a:pt x="4496" y="3361"/>
                  </a:lnTo>
                  <a:lnTo>
                    <a:pt x="4489" y="3365"/>
                  </a:lnTo>
                  <a:lnTo>
                    <a:pt x="4483" y="3367"/>
                  </a:lnTo>
                  <a:lnTo>
                    <a:pt x="4475" y="3365"/>
                  </a:lnTo>
                  <a:lnTo>
                    <a:pt x="4469" y="3361"/>
                  </a:lnTo>
                  <a:lnTo>
                    <a:pt x="4464" y="3355"/>
                  </a:lnTo>
                  <a:lnTo>
                    <a:pt x="4462" y="3347"/>
                  </a:lnTo>
                  <a:lnTo>
                    <a:pt x="4462" y="3235"/>
                  </a:lnTo>
                  <a:lnTo>
                    <a:pt x="4464" y="3226"/>
                  </a:lnTo>
                  <a:lnTo>
                    <a:pt x="4469" y="3219"/>
                  </a:lnTo>
                  <a:lnTo>
                    <a:pt x="4475" y="3216"/>
                  </a:lnTo>
                  <a:lnTo>
                    <a:pt x="4483" y="3214"/>
                  </a:lnTo>
                  <a:lnTo>
                    <a:pt x="4489" y="3216"/>
                  </a:lnTo>
                  <a:lnTo>
                    <a:pt x="4496" y="3219"/>
                  </a:lnTo>
                  <a:lnTo>
                    <a:pt x="4501" y="3226"/>
                  </a:lnTo>
                  <a:lnTo>
                    <a:pt x="4502" y="3235"/>
                  </a:lnTo>
                  <a:close/>
                  <a:moveTo>
                    <a:pt x="4765" y="3235"/>
                  </a:moveTo>
                  <a:lnTo>
                    <a:pt x="4765" y="3347"/>
                  </a:lnTo>
                  <a:lnTo>
                    <a:pt x="4764" y="3355"/>
                  </a:lnTo>
                  <a:lnTo>
                    <a:pt x="4759" y="3361"/>
                  </a:lnTo>
                  <a:lnTo>
                    <a:pt x="4752" y="3365"/>
                  </a:lnTo>
                  <a:lnTo>
                    <a:pt x="4746" y="3367"/>
                  </a:lnTo>
                  <a:lnTo>
                    <a:pt x="4738" y="3365"/>
                  </a:lnTo>
                  <a:lnTo>
                    <a:pt x="4732" y="3361"/>
                  </a:lnTo>
                  <a:lnTo>
                    <a:pt x="4728" y="3355"/>
                  </a:lnTo>
                  <a:lnTo>
                    <a:pt x="4725" y="3347"/>
                  </a:lnTo>
                  <a:lnTo>
                    <a:pt x="4725" y="3235"/>
                  </a:lnTo>
                  <a:lnTo>
                    <a:pt x="4728" y="3226"/>
                  </a:lnTo>
                  <a:lnTo>
                    <a:pt x="4732" y="3219"/>
                  </a:lnTo>
                  <a:lnTo>
                    <a:pt x="4738" y="3216"/>
                  </a:lnTo>
                  <a:lnTo>
                    <a:pt x="4746" y="3214"/>
                  </a:lnTo>
                  <a:lnTo>
                    <a:pt x="4752" y="3216"/>
                  </a:lnTo>
                  <a:lnTo>
                    <a:pt x="4759" y="3219"/>
                  </a:lnTo>
                  <a:lnTo>
                    <a:pt x="4764" y="3226"/>
                  </a:lnTo>
                  <a:lnTo>
                    <a:pt x="4765" y="3235"/>
                  </a:lnTo>
                  <a:close/>
                  <a:moveTo>
                    <a:pt x="5029" y="3235"/>
                  </a:moveTo>
                  <a:lnTo>
                    <a:pt x="5029" y="3347"/>
                  </a:lnTo>
                  <a:lnTo>
                    <a:pt x="5027" y="3355"/>
                  </a:lnTo>
                  <a:lnTo>
                    <a:pt x="5023" y="3361"/>
                  </a:lnTo>
                  <a:lnTo>
                    <a:pt x="5016" y="3365"/>
                  </a:lnTo>
                  <a:lnTo>
                    <a:pt x="5009" y="3367"/>
                  </a:lnTo>
                  <a:lnTo>
                    <a:pt x="5001" y="3365"/>
                  </a:lnTo>
                  <a:lnTo>
                    <a:pt x="4994" y="3361"/>
                  </a:lnTo>
                  <a:lnTo>
                    <a:pt x="4991" y="3355"/>
                  </a:lnTo>
                  <a:lnTo>
                    <a:pt x="4988" y="3347"/>
                  </a:lnTo>
                  <a:lnTo>
                    <a:pt x="4988" y="3235"/>
                  </a:lnTo>
                  <a:lnTo>
                    <a:pt x="4991" y="3226"/>
                  </a:lnTo>
                  <a:lnTo>
                    <a:pt x="4994" y="3219"/>
                  </a:lnTo>
                  <a:lnTo>
                    <a:pt x="5001" y="3216"/>
                  </a:lnTo>
                  <a:lnTo>
                    <a:pt x="5009" y="3214"/>
                  </a:lnTo>
                  <a:lnTo>
                    <a:pt x="5016" y="3216"/>
                  </a:lnTo>
                  <a:lnTo>
                    <a:pt x="5023" y="3219"/>
                  </a:lnTo>
                  <a:lnTo>
                    <a:pt x="5027" y="3226"/>
                  </a:lnTo>
                  <a:lnTo>
                    <a:pt x="5029" y="3235"/>
                  </a:lnTo>
                  <a:close/>
                  <a:moveTo>
                    <a:pt x="5292" y="3235"/>
                  </a:moveTo>
                  <a:lnTo>
                    <a:pt x="5292" y="3347"/>
                  </a:lnTo>
                  <a:lnTo>
                    <a:pt x="5289" y="3355"/>
                  </a:lnTo>
                  <a:lnTo>
                    <a:pt x="5286" y="3361"/>
                  </a:lnTo>
                  <a:lnTo>
                    <a:pt x="5279" y="3365"/>
                  </a:lnTo>
                  <a:lnTo>
                    <a:pt x="5271" y="3367"/>
                  </a:lnTo>
                  <a:lnTo>
                    <a:pt x="5264" y="3365"/>
                  </a:lnTo>
                  <a:lnTo>
                    <a:pt x="5257" y="3361"/>
                  </a:lnTo>
                  <a:lnTo>
                    <a:pt x="5253" y="3355"/>
                  </a:lnTo>
                  <a:lnTo>
                    <a:pt x="5252" y="3347"/>
                  </a:lnTo>
                  <a:lnTo>
                    <a:pt x="5252" y="3235"/>
                  </a:lnTo>
                  <a:lnTo>
                    <a:pt x="5253" y="3226"/>
                  </a:lnTo>
                  <a:lnTo>
                    <a:pt x="5257" y="3219"/>
                  </a:lnTo>
                  <a:lnTo>
                    <a:pt x="5264" y="3216"/>
                  </a:lnTo>
                  <a:lnTo>
                    <a:pt x="5271" y="3214"/>
                  </a:lnTo>
                  <a:lnTo>
                    <a:pt x="5279" y="3216"/>
                  </a:lnTo>
                  <a:lnTo>
                    <a:pt x="5286" y="3219"/>
                  </a:lnTo>
                  <a:lnTo>
                    <a:pt x="5289" y="3226"/>
                  </a:lnTo>
                  <a:lnTo>
                    <a:pt x="5292" y="3235"/>
                  </a:lnTo>
                  <a:close/>
                  <a:moveTo>
                    <a:pt x="5555" y="3235"/>
                  </a:moveTo>
                  <a:lnTo>
                    <a:pt x="5555" y="3347"/>
                  </a:lnTo>
                  <a:lnTo>
                    <a:pt x="5554" y="3355"/>
                  </a:lnTo>
                  <a:lnTo>
                    <a:pt x="5548" y="3361"/>
                  </a:lnTo>
                  <a:lnTo>
                    <a:pt x="5542" y="3365"/>
                  </a:lnTo>
                  <a:lnTo>
                    <a:pt x="5534" y="3367"/>
                  </a:lnTo>
                  <a:lnTo>
                    <a:pt x="5528" y="3365"/>
                  </a:lnTo>
                  <a:lnTo>
                    <a:pt x="5521" y="3361"/>
                  </a:lnTo>
                  <a:lnTo>
                    <a:pt x="5516" y="3355"/>
                  </a:lnTo>
                  <a:lnTo>
                    <a:pt x="5515" y="3347"/>
                  </a:lnTo>
                  <a:lnTo>
                    <a:pt x="5515" y="3235"/>
                  </a:lnTo>
                  <a:lnTo>
                    <a:pt x="5516" y="3226"/>
                  </a:lnTo>
                  <a:lnTo>
                    <a:pt x="5521" y="3219"/>
                  </a:lnTo>
                  <a:lnTo>
                    <a:pt x="5528" y="3216"/>
                  </a:lnTo>
                  <a:lnTo>
                    <a:pt x="5534" y="3214"/>
                  </a:lnTo>
                  <a:lnTo>
                    <a:pt x="5542" y="3216"/>
                  </a:lnTo>
                  <a:lnTo>
                    <a:pt x="5548" y="3219"/>
                  </a:lnTo>
                  <a:lnTo>
                    <a:pt x="5554" y="3226"/>
                  </a:lnTo>
                  <a:lnTo>
                    <a:pt x="5555" y="3235"/>
                  </a:lnTo>
                  <a:close/>
                  <a:moveTo>
                    <a:pt x="3624" y="4034"/>
                  </a:moveTo>
                  <a:lnTo>
                    <a:pt x="3624" y="3864"/>
                  </a:lnTo>
                  <a:lnTo>
                    <a:pt x="3625" y="3856"/>
                  </a:lnTo>
                  <a:lnTo>
                    <a:pt x="3629" y="3851"/>
                  </a:lnTo>
                  <a:lnTo>
                    <a:pt x="3634" y="3847"/>
                  </a:lnTo>
                  <a:lnTo>
                    <a:pt x="3639" y="3845"/>
                  </a:lnTo>
                  <a:lnTo>
                    <a:pt x="3646" y="3845"/>
                  </a:lnTo>
                  <a:lnTo>
                    <a:pt x="3652" y="3846"/>
                  </a:lnTo>
                  <a:lnTo>
                    <a:pt x="3657" y="3849"/>
                  </a:lnTo>
                  <a:lnTo>
                    <a:pt x="3662" y="3854"/>
                  </a:lnTo>
                  <a:lnTo>
                    <a:pt x="3666" y="3860"/>
                  </a:lnTo>
                  <a:lnTo>
                    <a:pt x="3667" y="3869"/>
                  </a:lnTo>
                  <a:lnTo>
                    <a:pt x="3667" y="4034"/>
                  </a:lnTo>
                  <a:lnTo>
                    <a:pt x="3710" y="4029"/>
                  </a:lnTo>
                  <a:lnTo>
                    <a:pt x="3751" y="4021"/>
                  </a:lnTo>
                  <a:lnTo>
                    <a:pt x="3789" y="4010"/>
                  </a:lnTo>
                  <a:lnTo>
                    <a:pt x="3828" y="3994"/>
                  </a:lnTo>
                  <a:lnTo>
                    <a:pt x="3846" y="3985"/>
                  </a:lnTo>
                  <a:lnTo>
                    <a:pt x="3864" y="3975"/>
                  </a:lnTo>
                  <a:lnTo>
                    <a:pt x="3897" y="3953"/>
                  </a:lnTo>
                  <a:lnTo>
                    <a:pt x="3928" y="3928"/>
                  </a:lnTo>
                  <a:lnTo>
                    <a:pt x="3957" y="3901"/>
                  </a:lnTo>
                  <a:lnTo>
                    <a:pt x="3970" y="3886"/>
                  </a:lnTo>
                  <a:lnTo>
                    <a:pt x="3983" y="3870"/>
                  </a:lnTo>
                  <a:lnTo>
                    <a:pt x="4006" y="3838"/>
                  </a:lnTo>
                  <a:lnTo>
                    <a:pt x="4026" y="3804"/>
                  </a:lnTo>
                  <a:lnTo>
                    <a:pt x="4043" y="3767"/>
                  </a:lnTo>
                  <a:lnTo>
                    <a:pt x="4057" y="3728"/>
                  </a:lnTo>
                  <a:lnTo>
                    <a:pt x="4067" y="3689"/>
                  </a:lnTo>
                  <a:lnTo>
                    <a:pt x="4074" y="3648"/>
                  </a:lnTo>
                  <a:lnTo>
                    <a:pt x="4075" y="3604"/>
                  </a:lnTo>
                  <a:lnTo>
                    <a:pt x="4074" y="3569"/>
                  </a:lnTo>
                  <a:lnTo>
                    <a:pt x="4069" y="3533"/>
                  </a:lnTo>
                  <a:lnTo>
                    <a:pt x="4062" y="3498"/>
                  </a:lnTo>
                  <a:lnTo>
                    <a:pt x="4052" y="3464"/>
                  </a:lnTo>
                  <a:lnTo>
                    <a:pt x="4039" y="3432"/>
                  </a:lnTo>
                  <a:lnTo>
                    <a:pt x="4024" y="3401"/>
                  </a:lnTo>
                  <a:lnTo>
                    <a:pt x="4006" y="3372"/>
                  </a:lnTo>
                  <a:lnTo>
                    <a:pt x="3987" y="3343"/>
                  </a:lnTo>
                  <a:lnTo>
                    <a:pt x="3955" y="3308"/>
                  </a:lnTo>
                  <a:lnTo>
                    <a:pt x="3919" y="3276"/>
                  </a:lnTo>
                  <a:lnTo>
                    <a:pt x="3880" y="3248"/>
                  </a:lnTo>
                  <a:lnTo>
                    <a:pt x="3860" y="3236"/>
                  </a:lnTo>
                  <a:lnTo>
                    <a:pt x="3839" y="3225"/>
                  </a:lnTo>
                  <a:lnTo>
                    <a:pt x="3817" y="3214"/>
                  </a:lnTo>
                  <a:lnTo>
                    <a:pt x="3794" y="3205"/>
                  </a:lnTo>
                  <a:lnTo>
                    <a:pt x="3748" y="3191"/>
                  </a:lnTo>
                  <a:lnTo>
                    <a:pt x="3699" y="3184"/>
                  </a:lnTo>
                  <a:lnTo>
                    <a:pt x="3674" y="3181"/>
                  </a:lnTo>
                  <a:lnTo>
                    <a:pt x="3648" y="3180"/>
                  </a:lnTo>
                  <a:lnTo>
                    <a:pt x="3604" y="3182"/>
                  </a:lnTo>
                  <a:lnTo>
                    <a:pt x="3562" y="3189"/>
                  </a:lnTo>
                  <a:lnTo>
                    <a:pt x="3521" y="3200"/>
                  </a:lnTo>
                  <a:lnTo>
                    <a:pt x="3481" y="3214"/>
                  </a:lnTo>
                  <a:lnTo>
                    <a:pt x="3443" y="3232"/>
                  </a:lnTo>
                  <a:lnTo>
                    <a:pt x="3408" y="3254"/>
                  </a:lnTo>
                  <a:lnTo>
                    <a:pt x="3375" y="3278"/>
                  </a:lnTo>
                  <a:lnTo>
                    <a:pt x="3344" y="3306"/>
                  </a:lnTo>
                  <a:lnTo>
                    <a:pt x="3316" y="3337"/>
                  </a:lnTo>
                  <a:lnTo>
                    <a:pt x="3292" y="3369"/>
                  </a:lnTo>
                  <a:lnTo>
                    <a:pt x="3270" y="3405"/>
                  </a:lnTo>
                  <a:lnTo>
                    <a:pt x="3252" y="3443"/>
                  </a:lnTo>
                  <a:lnTo>
                    <a:pt x="3238" y="3482"/>
                  </a:lnTo>
                  <a:lnTo>
                    <a:pt x="3226" y="3524"/>
                  </a:lnTo>
                  <a:lnTo>
                    <a:pt x="3220" y="3566"/>
                  </a:lnTo>
                  <a:lnTo>
                    <a:pt x="3219" y="3609"/>
                  </a:lnTo>
                  <a:lnTo>
                    <a:pt x="3220" y="3647"/>
                  </a:lnTo>
                  <a:lnTo>
                    <a:pt x="3224" y="3682"/>
                  </a:lnTo>
                  <a:lnTo>
                    <a:pt x="3231" y="3717"/>
                  </a:lnTo>
                  <a:lnTo>
                    <a:pt x="3242" y="3750"/>
                  </a:lnTo>
                  <a:lnTo>
                    <a:pt x="3254" y="3783"/>
                  </a:lnTo>
                  <a:lnTo>
                    <a:pt x="3270" y="3814"/>
                  </a:lnTo>
                  <a:lnTo>
                    <a:pt x="3288" y="3843"/>
                  </a:lnTo>
                  <a:lnTo>
                    <a:pt x="3307" y="3872"/>
                  </a:lnTo>
                  <a:lnTo>
                    <a:pt x="3336" y="3905"/>
                  </a:lnTo>
                  <a:lnTo>
                    <a:pt x="3370" y="3936"/>
                  </a:lnTo>
                  <a:lnTo>
                    <a:pt x="3388" y="3950"/>
                  </a:lnTo>
                  <a:lnTo>
                    <a:pt x="3407" y="3962"/>
                  </a:lnTo>
                  <a:lnTo>
                    <a:pt x="3445" y="3985"/>
                  </a:lnTo>
                  <a:lnTo>
                    <a:pt x="3487" y="4005"/>
                  </a:lnTo>
                  <a:lnTo>
                    <a:pt x="3531" y="4019"/>
                  </a:lnTo>
                  <a:lnTo>
                    <a:pt x="3576" y="4029"/>
                  </a:lnTo>
                  <a:lnTo>
                    <a:pt x="3624" y="4034"/>
                  </a:lnTo>
                  <a:close/>
                  <a:moveTo>
                    <a:pt x="3628" y="4333"/>
                  </a:moveTo>
                  <a:lnTo>
                    <a:pt x="3625" y="4328"/>
                  </a:lnTo>
                  <a:lnTo>
                    <a:pt x="3624" y="4320"/>
                  </a:lnTo>
                  <a:lnTo>
                    <a:pt x="3624" y="4079"/>
                  </a:lnTo>
                  <a:lnTo>
                    <a:pt x="3571" y="4072"/>
                  </a:lnTo>
                  <a:lnTo>
                    <a:pt x="3521" y="4062"/>
                  </a:lnTo>
                  <a:lnTo>
                    <a:pt x="3472" y="4045"/>
                  </a:lnTo>
                  <a:lnTo>
                    <a:pt x="3449" y="4035"/>
                  </a:lnTo>
                  <a:lnTo>
                    <a:pt x="3428" y="4024"/>
                  </a:lnTo>
                  <a:lnTo>
                    <a:pt x="3384" y="3998"/>
                  </a:lnTo>
                  <a:lnTo>
                    <a:pt x="3363" y="3984"/>
                  </a:lnTo>
                  <a:lnTo>
                    <a:pt x="3344" y="3967"/>
                  </a:lnTo>
                  <a:lnTo>
                    <a:pt x="3326" y="3951"/>
                  </a:lnTo>
                  <a:lnTo>
                    <a:pt x="3308" y="3934"/>
                  </a:lnTo>
                  <a:lnTo>
                    <a:pt x="3292" y="3915"/>
                  </a:lnTo>
                  <a:lnTo>
                    <a:pt x="3276" y="3896"/>
                  </a:lnTo>
                  <a:lnTo>
                    <a:pt x="3253" y="3865"/>
                  </a:lnTo>
                  <a:lnTo>
                    <a:pt x="3233" y="3832"/>
                  </a:lnTo>
                  <a:lnTo>
                    <a:pt x="3216" y="3797"/>
                  </a:lnTo>
                  <a:lnTo>
                    <a:pt x="3201" y="3762"/>
                  </a:lnTo>
                  <a:lnTo>
                    <a:pt x="3189" y="3725"/>
                  </a:lnTo>
                  <a:lnTo>
                    <a:pt x="3181" y="3686"/>
                  </a:lnTo>
                  <a:lnTo>
                    <a:pt x="3176" y="3645"/>
                  </a:lnTo>
                  <a:lnTo>
                    <a:pt x="3174" y="3604"/>
                  </a:lnTo>
                  <a:lnTo>
                    <a:pt x="3176" y="3557"/>
                  </a:lnTo>
                  <a:lnTo>
                    <a:pt x="3184" y="3510"/>
                  </a:lnTo>
                  <a:lnTo>
                    <a:pt x="3189" y="3488"/>
                  </a:lnTo>
                  <a:lnTo>
                    <a:pt x="3195" y="3465"/>
                  </a:lnTo>
                  <a:lnTo>
                    <a:pt x="3211" y="3423"/>
                  </a:lnTo>
                  <a:lnTo>
                    <a:pt x="3231" y="3382"/>
                  </a:lnTo>
                  <a:lnTo>
                    <a:pt x="3254" y="3342"/>
                  </a:lnTo>
                  <a:lnTo>
                    <a:pt x="3281" y="3306"/>
                  </a:lnTo>
                  <a:lnTo>
                    <a:pt x="3297" y="3290"/>
                  </a:lnTo>
                  <a:lnTo>
                    <a:pt x="3312" y="3273"/>
                  </a:lnTo>
                  <a:lnTo>
                    <a:pt x="3345" y="3242"/>
                  </a:lnTo>
                  <a:lnTo>
                    <a:pt x="3363" y="3228"/>
                  </a:lnTo>
                  <a:lnTo>
                    <a:pt x="3381" y="3216"/>
                  </a:lnTo>
                  <a:lnTo>
                    <a:pt x="3420" y="3193"/>
                  </a:lnTo>
                  <a:lnTo>
                    <a:pt x="3440" y="3182"/>
                  </a:lnTo>
                  <a:lnTo>
                    <a:pt x="3462" y="3172"/>
                  </a:lnTo>
                  <a:lnTo>
                    <a:pt x="3483" y="3164"/>
                  </a:lnTo>
                  <a:lnTo>
                    <a:pt x="3504" y="3157"/>
                  </a:lnTo>
                  <a:lnTo>
                    <a:pt x="3528" y="3150"/>
                  </a:lnTo>
                  <a:lnTo>
                    <a:pt x="3549" y="3145"/>
                  </a:lnTo>
                  <a:lnTo>
                    <a:pt x="3597" y="3138"/>
                  </a:lnTo>
                  <a:lnTo>
                    <a:pt x="3644" y="3135"/>
                  </a:lnTo>
                  <a:lnTo>
                    <a:pt x="3701" y="3139"/>
                  </a:lnTo>
                  <a:lnTo>
                    <a:pt x="3728" y="3143"/>
                  </a:lnTo>
                  <a:lnTo>
                    <a:pt x="3755" y="3149"/>
                  </a:lnTo>
                  <a:lnTo>
                    <a:pt x="3781" y="3156"/>
                  </a:lnTo>
                  <a:lnTo>
                    <a:pt x="3807" y="3164"/>
                  </a:lnTo>
                  <a:lnTo>
                    <a:pt x="3831" y="3175"/>
                  </a:lnTo>
                  <a:lnTo>
                    <a:pt x="3856" y="3185"/>
                  </a:lnTo>
                  <a:lnTo>
                    <a:pt x="3902" y="3212"/>
                  </a:lnTo>
                  <a:lnTo>
                    <a:pt x="3944" y="3242"/>
                  </a:lnTo>
                  <a:lnTo>
                    <a:pt x="3965" y="3260"/>
                  </a:lnTo>
                  <a:lnTo>
                    <a:pt x="3983" y="3278"/>
                  </a:lnTo>
                  <a:lnTo>
                    <a:pt x="4001" y="3299"/>
                  </a:lnTo>
                  <a:lnTo>
                    <a:pt x="4017" y="3318"/>
                  </a:lnTo>
                  <a:lnTo>
                    <a:pt x="4040" y="3350"/>
                  </a:lnTo>
                  <a:lnTo>
                    <a:pt x="4060" y="3382"/>
                  </a:lnTo>
                  <a:lnTo>
                    <a:pt x="4078" y="3416"/>
                  </a:lnTo>
                  <a:lnTo>
                    <a:pt x="4092" y="3453"/>
                  </a:lnTo>
                  <a:lnTo>
                    <a:pt x="4103" y="3491"/>
                  </a:lnTo>
                  <a:lnTo>
                    <a:pt x="4112" y="3529"/>
                  </a:lnTo>
                  <a:lnTo>
                    <a:pt x="4117" y="3569"/>
                  </a:lnTo>
                  <a:lnTo>
                    <a:pt x="4119" y="3609"/>
                  </a:lnTo>
                  <a:lnTo>
                    <a:pt x="4117" y="3657"/>
                  </a:lnTo>
                  <a:lnTo>
                    <a:pt x="4110" y="3702"/>
                  </a:lnTo>
                  <a:lnTo>
                    <a:pt x="4105" y="3725"/>
                  </a:lnTo>
                  <a:lnTo>
                    <a:pt x="4099" y="3746"/>
                  </a:lnTo>
                  <a:lnTo>
                    <a:pt x="4084" y="3788"/>
                  </a:lnTo>
                  <a:lnTo>
                    <a:pt x="4075" y="3809"/>
                  </a:lnTo>
                  <a:lnTo>
                    <a:pt x="4065" y="3828"/>
                  </a:lnTo>
                  <a:lnTo>
                    <a:pt x="4043" y="3866"/>
                  </a:lnTo>
                  <a:lnTo>
                    <a:pt x="4016" y="3902"/>
                  </a:lnTo>
                  <a:lnTo>
                    <a:pt x="3988" y="3936"/>
                  </a:lnTo>
                  <a:lnTo>
                    <a:pt x="3956" y="3965"/>
                  </a:lnTo>
                  <a:lnTo>
                    <a:pt x="3921" y="3993"/>
                  </a:lnTo>
                  <a:lnTo>
                    <a:pt x="3884" y="4016"/>
                  </a:lnTo>
                  <a:lnTo>
                    <a:pt x="3844" y="4037"/>
                  </a:lnTo>
                  <a:lnTo>
                    <a:pt x="3802" y="4053"/>
                  </a:lnTo>
                  <a:lnTo>
                    <a:pt x="3760" y="4066"/>
                  </a:lnTo>
                  <a:lnTo>
                    <a:pt x="3715" y="4075"/>
                  </a:lnTo>
                  <a:lnTo>
                    <a:pt x="3667" y="4079"/>
                  </a:lnTo>
                  <a:lnTo>
                    <a:pt x="3667" y="4336"/>
                  </a:lnTo>
                  <a:lnTo>
                    <a:pt x="3666" y="4345"/>
                  </a:lnTo>
                  <a:lnTo>
                    <a:pt x="3661" y="4351"/>
                  </a:lnTo>
                  <a:lnTo>
                    <a:pt x="3654" y="4355"/>
                  </a:lnTo>
                  <a:lnTo>
                    <a:pt x="3648" y="4356"/>
                  </a:lnTo>
                  <a:lnTo>
                    <a:pt x="3640" y="4355"/>
                  </a:lnTo>
                  <a:lnTo>
                    <a:pt x="3634" y="4351"/>
                  </a:lnTo>
                  <a:lnTo>
                    <a:pt x="3629" y="4345"/>
                  </a:lnTo>
                  <a:lnTo>
                    <a:pt x="3628" y="4336"/>
                  </a:lnTo>
                  <a:lnTo>
                    <a:pt x="3628" y="4333"/>
                  </a:lnTo>
                  <a:close/>
                </a:path>
              </a:pathLst>
            </a:custGeom>
            <a:solidFill>
              <a:srgbClr val="FF6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33EF670B-30BD-4A10-B403-507CF595F201}"/>
                </a:ext>
              </a:extLst>
            </p:cNvPr>
            <p:cNvSpPr>
              <a:spLocks noChangeAspect="1" noEditPoints="1"/>
            </p:cNvSpPr>
            <p:nvPr userDrawn="1"/>
          </p:nvSpPr>
          <p:spPr bwMode="black">
            <a:xfrm>
              <a:off x="5610994" y="5177099"/>
              <a:ext cx="193514" cy="216000"/>
            </a:xfrm>
            <a:custGeom>
              <a:avLst/>
              <a:gdLst>
                <a:gd name="T0" fmla="*/ 2964 w 3578"/>
                <a:gd name="T1" fmla="*/ 3151 h 3996"/>
                <a:gd name="T2" fmla="*/ 2988 w 3578"/>
                <a:gd name="T3" fmla="*/ 3131 h 3996"/>
                <a:gd name="T4" fmla="*/ 3002 w 3578"/>
                <a:gd name="T5" fmla="*/ 3095 h 3996"/>
                <a:gd name="T6" fmla="*/ 2998 w 3578"/>
                <a:gd name="T7" fmla="*/ 3052 h 3996"/>
                <a:gd name="T8" fmla="*/ 2570 w 3578"/>
                <a:gd name="T9" fmla="*/ 2480 h 3996"/>
                <a:gd name="T10" fmla="*/ 2976 w 3578"/>
                <a:gd name="T11" fmla="*/ 956 h 3996"/>
                <a:gd name="T12" fmla="*/ 2988 w 3578"/>
                <a:gd name="T13" fmla="*/ 917 h 3996"/>
                <a:gd name="T14" fmla="*/ 2981 w 3578"/>
                <a:gd name="T15" fmla="*/ 878 h 3996"/>
                <a:gd name="T16" fmla="*/ 2961 w 3578"/>
                <a:gd name="T17" fmla="*/ 853 h 3996"/>
                <a:gd name="T18" fmla="*/ 2936 w 3578"/>
                <a:gd name="T19" fmla="*/ 840 h 3996"/>
                <a:gd name="T20" fmla="*/ 2275 w 3578"/>
                <a:gd name="T21" fmla="*/ 835 h 3996"/>
                <a:gd name="T22" fmla="*/ 2209 w 3578"/>
                <a:gd name="T23" fmla="*/ 845 h 3996"/>
                <a:gd name="T24" fmla="*/ 2160 w 3578"/>
                <a:gd name="T25" fmla="*/ 872 h 3996"/>
                <a:gd name="T26" fmla="*/ 2119 w 3578"/>
                <a:gd name="T27" fmla="*/ 915 h 3996"/>
                <a:gd name="T28" fmla="*/ 1365 w 3578"/>
                <a:gd name="T29" fmla="*/ 931 h 3996"/>
                <a:gd name="T30" fmla="*/ 1356 w 3578"/>
                <a:gd name="T31" fmla="*/ 884 h 3996"/>
                <a:gd name="T32" fmla="*/ 1325 w 3578"/>
                <a:gd name="T33" fmla="*/ 851 h 3996"/>
                <a:gd name="T34" fmla="*/ 1280 w 3578"/>
                <a:gd name="T35" fmla="*/ 835 h 3996"/>
                <a:gd name="T36" fmla="*/ 664 w 3578"/>
                <a:gd name="T37" fmla="*/ 840 h 3996"/>
                <a:gd name="T38" fmla="*/ 625 w 3578"/>
                <a:gd name="T39" fmla="*/ 862 h 3996"/>
                <a:gd name="T40" fmla="*/ 602 w 3578"/>
                <a:gd name="T41" fmla="*/ 902 h 3996"/>
                <a:gd name="T42" fmla="*/ 598 w 3578"/>
                <a:gd name="T43" fmla="*/ 1998 h 3996"/>
                <a:gd name="T44" fmla="*/ 602 w 3578"/>
                <a:gd name="T45" fmla="*/ 3094 h 3996"/>
                <a:gd name="T46" fmla="*/ 625 w 3578"/>
                <a:gd name="T47" fmla="*/ 3133 h 3996"/>
                <a:gd name="T48" fmla="*/ 664 w 3578"/>
                <a:gd name="T49" fmla="*/ 3156 h 3996"/>
                <a:gd name="T50" fmla="*/ 1280 w 3578"/>
                <a:gd name="T51" fmla="*/ 3160 h 3996"/>
                <a:gd name="T52" fmla="*/ 1325 w 3578"/>
                <a:gd name="T53" fmla="*/ 3144 h 3996"/>
                <a:gd name="T54" fmla="*/ 1356 w 3578"/>
                <a:gd name="T55" fmla="*/ 3111 h 3996"/>
                <a:gd name="T56" fmla="*/ 1365 w 3578"/>
                <a:gd name="T57" fmla="*/ 3064 h 3996"/>
                <a:gd name="T58" fmla="*/ 2119 w 3578"/>
                <a:gd name="T59" fmla="*/ 3080 h 3996"/>
                <a:gd name="T60" fmla="*/ 2160 w 3578"/>
                <a:gd name="T61" fmla="*/ 3123 h 3996"/>
                <a:gd name="T62" fmla="*/ 2209 w 3578"/>
                <a:gd name="T63" fmla="*/ 3151 h 3996"/>
                <a:gd name="T64" fmla="*/ 2275 w 3578"/>
                <a:gd name="T65" fmla="*/ 3160 h 3996"/>
                <a:gd name="T66" fmla="*/ 4 w 3578"/>
                <a:gd name="T67" fmla="*/ 3929 h 3996"/>
                <a:gd name="T68" fmla="*/ 27 w 3578"/>
                <a:gd name="T69" fmla="*/ 3968 h 3996"/>
                <a:gd name="T70" fmla="*/ 66 w 3578"/>
                <a:gd name="T71" fmla="*/ 3991 h 3996"/>
                <a:gd name="T72" fmla="*/ 1789 w 3578"/>
                <a:gd name="T73" fmla="*/ 3996 h 3996"/>
                <a:gd name="T74" fmla="*/ 3512 w 3578"/>
                <a:gd name="T75" fmla="*/ 3991 h 3996"/>
                <a:gd name="T76" fmla="*/ 3552 w 3578"/>
                <a:gd name="T77" fmla="*/ 3968 h 3996"/>
                <a:gd name="T78" fmla="*/ 3574 w 3578"/>
                <a:gd name="T79" fmla="*/ 3929 h 3996"/>
                <a:gd name="T80" fmla="*/ 3577 w 3578"/>
                <a:gd name="T81" fmla="*/ 3624 h 3996"/>
                <a:gd name="T82" fmla="*/ 3563 w 3578"/>
                <a:gd name="T83" fmla="*/ 3579 h 3996"/>
                <a:gd name="T84" fmla="*/ 3529 w 3578"/>
                <a:gd name="T85" fmla="*/ 3549 h 3996"/>
                <a:gd name="T86" fmla="*/ 3482 w 3578"/>
                <a:gd name="T87" fmla="*/ 3538 h 3996"/>
                <a:gd name="T88" fmla="*/ 85 w 3578"/>
                <a:gd name="T89" fmla="*/ 3538 h 3996"/>
                <a:gd name="T90" fmla="*/ 41 w 3578"/>
                <a:gd name="T91" fmla="*/ 3554 h 3996"/>
                <a:gd name="T92" fmla="*/ 11 w 3578"/>
                <a:gd name="T93" fmla="*/ 3587 h 3996"/>
                <a:gd name="T94" fmla="*/ 0 w 3578"/>
                <a:gd name="T95" fmla="*/ 3634 h 3996"/>
                <a:gd name="T96" fmla="*/ 4 w 3578"/>
                <a:gd name="T97" fmla="*/ 391 h 3996"/>
                <a:gd name="T98" fmla="*/ 27 w 3578"/>
                <a:gd name="T99" fmla="*/ 430 h 3996"/>
                <a:gd name="T100" fmla="*/ 66 w 3578"/>
                <a:gd name="T101" fmla="*/ 453 h 3996"/>
                <a:gd name="T102" fmla="*/ 1789 w 3578"/>
                <a:gd name="T103" fmla="*/ 456 h 3996"/>
                <a:gd name="T104" fmla="*/ 3512 w 3578"/>
                <a:gd name="T105" fmla="*/ 453 h 3996"/>
                <a:gd name="T106" fmla="*/ 3552 w 3578"/>
                <a:gd name="T107" fmla="*/ 430 h 3996"/>
                <a:gd name="T108" fmla="*/ 3574 w 3578"/>
                <a:gd name="T109" fmla="*/ 391 h 3996"/>
                <a:gd name="T110" fmla="*/ 3577 w 3578"/>
                <a:gd name="T111" fmla="*/ 85 h 3996"/>
                <a:gd name="T112" fmla="*/ 3563 w 3578"/>
                <a:gd name="T113" fmla="*/ 41 h 3996"/>
                <a:gd name="T114" fmla="*/ 3529 w 3578"/>
                <a:gd name="T115" fmla="*/ 11 h 3996"/>
                <a:gd name="T116" fmla="*/ 3482 w 3578"/>
                <a:gd name="T117" fmla="*/ 0 h 3996"/>
                <a:gd name="T118" fmla="*/ 85 w 3578"/>
                <a:gd name="T119" fmla="*/ 0 h 3996"/>
                <a:gd name="T120" fmla="*/ 41 w 3578"/>
                <a:gd name="T121" fmla="*/ 16 h 3996"/>
                <a:gd name="T122" fmla="*/ 11 w 3578"/>
                <a:gd name="T123" fmla="*/ 49 h 3996"/>
                <a:gd name="T124" fmla="*/ 0 w 3578"/>
                <a:gd name="T125" fmla="*/ 95 h 3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78" h="3996">
                  <a:moveTo>
                    <a:pt x="2924" y="3160"/>
                  </a:moveTo>
                  <a:lnTo>
                    <a:pt x="2936" y="3160"/>
                  </a:lnTo>
                  <a:lnTo>
                    <a:pt x="2947" y="3157"/>
                  </a:lnTo>
                  <a:lnTo>
                    <a:pt x="2958" y="3153"/>
                  </a:lnTo>
                  <a:lnTo>
                    <a:pt x="2964" y="3151"/>
                  </a:lnTo>
                  <a:lnTo>
                    <a:pt x="2968" y="3148"/>
                  </a:lnTo>
                  <a:lnTo>
                    <a:pt x="2977" y="3142"/>
                  </a:lnTo>
                  <a:lnTo>
                    <a:pt x="2981" y="3139"/>
                  </a:lnTo>
                  <a:lnTo>
                    <a:pt x="2985" y="3135"/>
                  </a:lnTo>
                  <a:lnTo>
                    <a:pt x="2988" y="3131"/>
                  </a:lnTo>
                  <a:lnTo>
                    <a:pt x="2991" y="3126"/>
                  </a:lnTo>
                  <a:lnTo>
                    <a:pt x="2996" y="3117"/>
                  </a:lnTo>
                  <a:lnTo>
                    <a:pt x="3000" y="3106"/>
                  </a:lnTo>
                  <a:lnTo>
                    <a:pt x="3001" y="3101"/>
                  </a:lnTo>
                  <a:lnTo>
                    <a:pt x="3002" y="3095"/>
                  </a:lnTo>
                  <a:lnTo>
                    <a:pt x="3003" y="3084"/>
                  </a:lnTo>
                  <a:lnTo>
                    <a:pt x="3002" y="3072"/>
                  </a:lnTo>
                  <a:lnTo>
                    <a:pt x="3001" y="3065"/>
                  </a:lnTo>
                  <a:lnTo>
                    <a:pt x="2999" y="3059"/>
                  </a:lnTo>
                  <a:lnTo>
                    <a:pt x="2998" y="3052"/>
                  </a:lnTo>
                  <a:lnTo>
                    <a:pt x="2995" y="3045"/>
                  </a:lnTo>
                  <a:lnTo>
                    <a:pt x="2988" y="3032"/>
                  </a:lnTo>
                  <a:lnTo>
                    <a:pt x="2985" y="3026"/>
                  </a:lnTo>
                  <a:lnTo>
                    <a:pt x="2980" y="3019"/>
                  </a:lnTo>
                  <a:lnTo>
                    <a:pt x="2570" y="2480"/>
                  </a:lnTo>
                  <a:lnTo>
                    <a:pt x="2162" y="1941"/>
                  </a:lnTo>
                  <a:lnTo>
                    <a:pt x="2562" y="1459"/>
                  </a:lnTo>
                  <a:lnTo>
                    <a:pt x="2962" y="976"/>
                  </a:lnTo>
                  <a:lnTo>
                    <a:pt x="2972" y="962"/>
                  </a:lnTo>
                  <a:lnTo>
                    <a:pt x="2976" y="956"/>
                  </a:lnTo>
                  <a:lnTo>
                    <a:pt x="2979" y="949"/>
                  </a:lnTo>
                  <a:lnTo>
                    <a:pt x="2985" y="936"/>
                  </a:lnTo>
                  <a:lnTo>
                    <a:pt x="2986" y="929"/>
                  </a:lnTo>
                  <a:lnTo>
                    <a:pt x="2988" y="923"/>
                  </a:lnTo>
                  <a:lnTo>
                    <a:pt x="2988" y="917"/>
                  </a:lnTo>
                  <a:lnTo>
                    <a:pt x="2989" y="910"/>
                  </a:lnTo>
                  <a:lnTo>
                    <a:pt x="2988" y="899"/>
                  </a:lnTo>
                  <a:lnTo>
                    <a:pt x="2987" y="894"/>
                  </a:lnTo>
                  <a:lnTo>
                    <a:pt x="2986" y="888"/>
                  </a:lnTo>
                  <a:lnTo>
                    <a:pt x="2981" y="878"/>
                  </a:lnTo>
                  <a:lnTo>
                    <a:pt x="2979" y="873"/>
                  </a:lnTo>
                  <a:lnTo>
                    <a:pt x="2976" y="868"/>
                  </a:lnTo>
                  <a:lnTo>
                    <a:pt x="2972" y="864"/>
                  </a:lnTo>
                  <a:lnTo>
                    <a:pt x="2969" y="861"/>
                  </a:lnTo>
                  <a:lnTo>
                    <a:pt x="2961" y="853"/>
                  </a:lnTo>
                  <a:lnTo>
                    <a:pt x="2957" y="849"/>
                  </a:lnTo>
                  <a:lnTo>
                    <a:pt x="2951" y="846"/>
                  </a:lnTo>
                  <a:lnTo>
                    <a:pt x="2947" y="844"/>
                  </a:lnTo>
                  <a:lnTo>
                    <a:pt x="2941" y="842"/>
                  </a:lnTo>
                  <a:lnTo>
                    <a:pt x="2936" y="840"/>
                  </a:lnTo>
                  <a:lnTo>
                    <a:pt x="2930" y="838"/>
                  </a:lnTo>
                  <a:lnTo>
                    <a:pt x="2925" y="836"/>
                  </a:lnTo>
                  <a:lnTo>
                    <a:pt x="2919" y="836"/>
                  </a:lnTo>
                  <a:lnTo>
                    <a:pt x="2907" y="835"/>
                  </a:lnTo>
                  <a:lnTo>
                    <a:pt x="2275" y="835"/>
                  </a:lnTo>
                  <a:lnTo>
                    <a:pt x="2260" y="835"/>
                  </a:lnTo>
                  <a:lnTo>
                    <a:pt x="2246" y="836"/>
                  </a:lnTo>
                  <a:lnTo>
                    <a:pt x="2234" y="838"/>
                  </a:lnTo>
                  <a:lnTo>
                    <a:pt x="2222" y="841"/>
                  </a:lnTo>
                  <a:lnTo>
                    <a:pt x="2209" y="845"/>
                  </a:lnTo>
                  <a:lnTo>
                    <a:pt x="2198" y="848"/>
                  </a:lnTo>
                  <a:lnTo>
                    <a:pt x="2188" y="854"/>
                  </a:lnTo>
                  <a:lnTo>
                    <a:pt x="2178" y="859"/>
                  </a:lnTo>
                  <a:lnTo>
                    <a:pt x="2168" y="865"/>
                  </a:lnTo>
                  <a:lnTo>
                    <a:pt x="2160" y="872"/>
                  </a:lnTo>
                  <a:lnTo>
                    <a:pt x="2151" y="879"/>
                  </a:lnTo>
                  <a:lnTo>
                    <a:pt x="2142" y="887"/>
                  </a:lnTo>
                  <a:lnTo>
                    <a:pt x="2134" y="896"/>
                  </a:lnTo>
                  <a:lnTo>
                    <a:pt x="2126" y="905"/>
                  </a:lnTo>
                  <a:lnTo>
                    <a:pt x="2119" y="915"/>
                  </a:lnTo>
                  <a:lnTo>
                    <a:pt x="2111" y="925"/>
                  </a:lnTo>
                  <a:lnTo>
                    <a:pt x="1738" y="1404"/>
                  </a:lnTo>
                  <a:lnTo>
                    <a:pt x="1365" y="1885"/>
                  </a:lnTo>
                  <a:lnTo>
                    <a:pt x="1365" y="1408"/>
                  </a:lnTo>
                  <a:lnTo>
                    <a:pt x="1365" y="931"/>
                  </a:lnTo>
                  <a:lnTo>
                    <a:pt x="1365" y="920"/>
                  </a:lnTo>
                  <a:lnTo>
                    <a:pt x="1364" y="910"/>
                  </a:lnTo>
                  <a:lnTo>
                    <a:pt x="1362" y="902"/>
                  </a:lnTo>
                  <a:lnTo>
                    <a:pt x="1359" y="892"/>
                  </a:lnTo>
                  <a:lnTo>
                    <a:pt x="1356" y="884"/>
                  </a:lnTo>
                  <a:lnTo>
                    <a:pt x="1350" y="876"/>
                  </a:lnTo>
                  <a:lnTo>
                    <a:pt x="1346" y="868"/>
                  </a:lnTo>
                  <a:lnTo>
                    <a:pt x="1339" y="862"/>
                  </a:lnTo>
                  <a:lnTo>
                    <a:pt x="1332" y="856"/>
                  </a:lnTo>
                  <a:lnTo>
                    <a:pt x="1325" y="851"/>
                  </a:lnTo>
                  <a:lnTo>
                    <a:pt x="1317" y="846"/>
                  </a:lnTo>
                  <a:lnTo>
                    <a:pt x="1309" y="842"/>
                  </a:lnTo>
                  <a:lnTo>
                    <a:pt x="1300" y="840"/>
                  </a:lnTo>
                  <a:lnTo>
                    <a:pt x="1290" y="837"/>
                  </a:lnTo>
                  <a:lnTo>
                    <a:pt x="1280" y="835"/>
                  </a:lnTo>
                  <a:lnTo>
                    <a:pt x="1270" y="835"/>
                  </a:lnTo>
                  <a:lnTo>
                    <a:pt x="694" y="835"/>
                  </a:lnTo>
                  <a:lnTo>
                    <a:pt x="684" y="835"/>
                  </a:lnTo>
                  <a:lnTo>
                    <a:pt x="674" y="837"/>
                  </a:lnTo>
                  <a:lnTo>
                    <a:pt x="664" y="840"/>
                  </a:lnTo>
                  <a:lnTo>
                    <a:pt x="656" y="842"/>
                  </a:lnTo>
                  <a:lnTo>
                    <a:pt x="647" y="846"/>
                  </a:lnTo>
                  <a:lnTo>
                    <a:pt x="639" y="851"/>
                  </a:lnTo>
                  <a:lnTo>
                    <a:pt x="632" y="856"/>
                  </a:lnTo>
                  <a:lnTo>
                    <a:pt x="625" y="862"/>
                  </a:lnTo>
                  <a:lnTo>
                    <a:pt x="619" y="868"/>
                  </a:lnTo>
                  <a:lnTo>
                    <a:pt x="614" y="876"/>
                  </a:lnTo>
                  <a:lnTo>
                    <a:pt x="609" y="884"/>
                  </a:lnTo>
                  <a:lnTo>
                    <a:pt x="606" y="892"/>
                  </a:lnTo>
                  <a:lnTo>
                    <a:pt x="602" y="902"/>
                  </a:lnTo>
                  <a:lnTo>
                    <a:pt x="600" y="910"/>
                  </a:lnTo>
                  <a:lnTo>
                    <a:pt x="599" y="920"/>
                  </a:lnTo>
                  <a:lnTo>
                    <a:pt x="598" y="931"/>
                  </a:lnTo>
                  <a:lnTo>
                    <a:pt x="598" y="1464"/>
                  </a:lnTo>
                  <a:lnTo>
                    <a:pt x="598" y="1998"/>
                  </a:lnTo>
                  <a:lnTo>
                    <a:pt x="598" y="2531"/>
                  </a:lnTo>
                  <a:lnTo>
                    <a:pt x="598" y="3064"/>
                  </a:lnTo>
                  <a:lnTo>
                    <a:pt x="599" y="3074"/>
                  </a:lnTo>
                  <a:lnTo>
                    <a:pt x="600" y="3084"/>
                  </a:lnTo>
                  <a:lnTo>
                    <a:pt x="602" y="3094"/>
                  </a:lnTo>
                  <a:lnTo>
                    <a:pt x="606" y="3103"/>
                  </a:lnTo>
                  <a:lnTo>
                    <a:pt x="609" y="3111"/>
                  </a:lnTo>
                  <a:lnTo>
                    <a:pt x="614" y="3120"/>
                  </a:lnTo>
                  <a:lnTo>
                    <a:pt x="619" y="3126"/>
                  </a:lnTo>
                  <a:lnTo>
                    <a:pt x="625" y="3133"/>
                  </a:lnTo>
                  <a:lnTo>
                    <a:pt x="632" y="3140"/>
                  </a:lnTo>
                  <a:lnTo>
                    <a:pt x="639" y="3144"/>
                  </a:lnTo>
                  <a:lnTo>
                    <a:pt x="647" y="3150"/>
                  </a:lnTo>
                  <a:lnTo>
                    <a:pt x="656" y="3153"/>
                  </a:lnTo>
                  <a:lnTo>
                    <a:pt x="664" y="3156"/>
                  </a:lnTo>
                  <a:lnTo>
                    <a:pt x="674" y="3158"/>
                  </a:lnTo>
                  <a:lnTo>
                    <a:pt x="684" y="3160"/>
                  </a:lnTo>
                  <a:lnTo>
                    <a:pt x="694" y="3160"/>
                  </a:lnTo>
                  <a:lnTo>
                    <a:pt x="1270" y="3160"/>
                  </a:lnTo>
                  <a:lnTo>
                    <a:pt x="1280" y="3160"/>
                  </a:lnTo>
                  <a:lnTo>
                    <a:pt x="1290" y="3158"/>
                  </a:lnTo>
                  <a:lnTo>
                    <a:pt x="1300" y="3156"/>
                  </a:lnTo>
                  <a:lnTo>
                    <a:pt x="1309" y="3153"/>
                  </a:lnTo>
                  <a:lnTo>
                    <a:pt x="1317" y="3150"/>
                  </a:lnTo>
                  <a:lnTo>
                    <a:pt x="1325" y="3144"/>
                  </a:lnTo>
                  <a:lnTo>
                    <a:pt x="1332" y="3140"/>
                  </a:lnTo>
                  <a:lnTo>
                    <a:pt x="1339" y="3133"/>
                  </a:lnTo>
                  <a:lnTo>
                    <a:pt x="1346" y="3126"/>
                  </a:lnTo>
                  <a:lnTo>
                    <a:pt x="1350" y="3120"/>
                  </a:lnTo>
                  <a:lnTo>
                    <a:pt x="1356" y="3111"/>
                  </a:lnTo>
                  <a:lnTo>
                    <a:pt x="1359" y="3103"/>
                  </a:lnTo>
                  <a:lnTo>
                    <a:pt x="1362" y="3094"/>
                  </a:lnTo>
                  <a:lnTo>
                    <a:pt x="1364" y="3084"/>
                  </a:lnTo>
                  <a:lnTo>
                    <a:pt x="1365" y="3074"/>
                  </a:lnTo>
                  <a:lnTo>
                    <a:pt x="1365" y="3064"/>
                  </a:lnTo>
                  <a:lnTo>
                    <a:pt x="1365" y="2539"/>
                  </a:lnTo>
                  <a:lnTo>
                    <a:pt x="1365" y="2014"/>
                  </a:lnTo>
                  <a:lnTo>
                    <a:pt x="1738" y="2542"/>
                  </a:lnTo>
                  <a:lnTo>
                    <a:pt x="2111" y="3070"/>
                  </a:lnTo>
                  <a:lnTo>
                    <a:pt x="2119" y="3080"/>
                  </a:lnTo>
                  <a:lnTo>
                    <a:pt x="2126" y="3090"/>
                  </a:lnTo>
                  <a:lnTo>
                    <a:pt x="2134" y="3099"/>
                  </a:lnTo>
                  <a:lnTo>
                    <a:pt x="2142" y="3108"/>
                  </a:lnTo>
                  <a:lnTo>
                    <a:pt x="2151" y="3115"/>
                  </a:lnTo>
                  <a:lnTo>
                    <a:pt x="2160" y="3123"/>
                  </a:lnTo>
                  <a:lnTo>
                    <a:pt x="2168" y="3130"/>
                  </a:lnTo>
                  <a:lnTo>
                    <a:pt x="2178" y="3136"/>
                  </a:lnTo>
                  <a:lnTo>
                    <a:pt x="2188" y="3142"/>
                  </a:lnTo>
                  <a:lnTo>
                    <a:pt x="2198" y="3146"/>
                  </a:lnTo>
                  <a:lnTo>
                    <a:pt x="2209" y="3151"/>
                  </a:lnTo>
                  <a:lnTo>
                    <a:pt x="2222" y="3154"/>
                  </a:lnTo>
                  <a:lnTo>
                    <a:pt x="2234" y="3156"/>
                  </a:lnTo>
                  <a:lnTo>
                    <a:pt x="2246" y="3158"/>
                  </a:lnTo>
                  <a:lnTo>
                    <a:pt x="2260" y="3160"/>
                  </a:lnTo>
                  <a:lnTo>
                    <a:pt x="2275" y="3160"/>
                  </a:lnTo>
                  <a:lnTo>
                    <a:pt x="2924" y="3160"/>
                  </a:lnTo>
                  <a:close/>
                  <a:moveTo>
                    <a:pt x="0" y="3899"/>
                  </a:moveTo>
                  <a:lnTo>
                    <a:pt x="1" y="3909"/>
                  </a:lnTo>
                  <a:lnTo>
                    <a:pt x="2" y="3919"/>
                  </a:lnTo>
                  <a:lnTo>
                    <a:pt x="4" y="3929"/>
                  </a:lnTo>
                  <a:lnTo>
                    <a:pt x="8" y="3938"/>
                  </a:lnTo>
                  <a:lnTo>
                    <a:pt x="11" y="3947"/>
                  </a:lnTo>
                  <a:lnTo>
                    <a:pt x="16" y="3955"/>
                  </a:lnTo>
                  <a:lnTo>
                    <a:pt x="21" y="3961"/>
                  </a:lnTo>
                  <a:lnTo>
                    <a:pt x="27" y="3968"/>
                  </a:lnTo>
                  <a:lnTo>
                    <a:pt x="33" y="3975"/>
                  </a:lnTo>
                  <a:lnTo>
                    <a:pt x="41" y="3980"/>
                  </a:lnTo>
                  <a:lnTo>
                    <a:pt x="49" y="3985"/>
                  </a:lnTo>
                  <a:lnTo>
                    <a:pt x="58" y="3988"/>
                  </a:lnTo>
                  <a:lnTo>
                    <a:pt x="66" y="3991"/>
                  </a:lnTo>
                  <a:lnTo>
                    <a:pt x="75" y="3993"/>
                  </a:lnTo>
                  <a:lnTo>
                    <a:pt x="85" y="3995"/>
                  </a:lnTo>
                  <a:lnTo>
                    <a:pt x="96" y="3996"/>
                  </a:lnTo>
                  <a:lnTo>
                    <a:pt x="942" y="3996"/>
                  </a:lnTo>
                  <a:lnTo>
                    <a:pt x="1789" y="3996"/>
                  </a:lnTo>
                  <a:lnTo>
                    <a:pt x="2635" y="3996"/>
                  </a:lnTo>
                  <a:lnTo>
                    <a:pt x="3482" y="3996"/>
                  </a:lnTo>
                  <a:lnTo>
                    <a:pt x="3493" y="3995"/>
                  </a:lnTo>
                  <a:lnTo>
                    <a:pt x="3503" y="3993"/>
                  </a:lnTo>
                  <a:lnTo>
                    <a:pt x="3512" y="3991"/>
                  </a:lnTo>
                  <a:lnTo>
                    <a:pt x="3521" y="3988"/>
                  </a:lnTo>
                  <a:lnTo>
                    <a:pt x="3529" y="3985"/>
                  </a:lnTo>
                  <a:lnTo>
                    <a:pt x="3537" y="3980"/>
                  </a:lnTo>
                  <a:lnTo>
                    <a:pt x="3545" y="3975"/>
                  </a:lnTo>
                  <a:lnTo>
                    <a:pt x="3552" y="3968"/>
                  </a:lnTo>
                  <a:lnTo>
                    <a:pt x="3557" y="3961"/>
                  </a:lnTo>
                  <a:lnTo>
                    <a:pt x="3563" y="3955"/>
                  </a:lnTo>
                  <a:lnTo>
                    <a:pt x="3567" y="3947"/>
                  </a:lnTo>
                  <a:lnTo>
                    <a:pt x="3572" y="3938"/>
                  </a:lnTo>
                  <a:lnTo>
                    <a:pt x="3574" y="3929"/>
                  </a:lnTo>
                  <a:lnTo>
                    <a:pt x="3576" y="3919"/>
                  </a:lnTo>
                  <a:lnTo>
                    <a:pt x="3577" y="3909"/>
                  </a:lnTo>
                  <a:lnTo>
                    <a:pt x="3578" y="3899"/>
                  </a:lnTo>
                  <a:lnTo>
                    <a:pt x="3578" y="3634"/>
                  </a:lnTo>
                  <a:lnTo>
                    <a:pt x="3577" y="3624"/>
                  </a:lnTo>
                  <a:lnTo>
                    <a:pt x="3576" y="3614"/>
                  </a:lnTo>
                  <a:lnTo>
                    <a:pt x="3574" y="3605"/>
                  </a:lnTo>
                  <a:lnTo>
                    <a:pt x="3572" y="3595"/>
                  </a:lnTo>
                  <a:lnTo>
                    <a:pt x="3567" y="3587"/>
                  </a:lnTo>
                  <a:lnTo>
                    <a:pt x="3563" y="3579"/>
                  </a:lnTo>
                  <a:lnTo>
                    <a:pt x="3557" y="3572"/>
                  </a:lnTo>
                  <a:lnTo>
                    <a:pt x="3552" y="3565"/>
                  </a:lnTo>
                  <a:lnTo>
                    <a:pt x="3545" y="3559"/>
                  </a:lnTo>
                  <a:lnTo>
                    <a:pt x="3537" y="3554"/>
                  </a:lnTo>
                  <a:lnTo>
                    <a:pt x="3529" y="3549"/>
                  </a:lnTo>
                  <a:lnTo>
                    <a:pt x="3521" y="3545"/>
                  </a:lnTo>
                  <a:lnTo>
                    <a:pt x="3512" y="3542"/>
                  </a:lnTo>
                  <a:lnTo>
                    <a:pt x="3503" y="3539"/>
                  </a:lnTo>
                  <a:lnTo>
                    <a:pt x="3493" y="3538"/>
                  </a:lnTo>
                  <a:lnTo>
                    <a:pt x="3482" y="3538"/>
                  </a:lnTo>
                  <a:lnTo>
                    <a:pt x="2635" y="3538"/>
                  </a:lnTo>
                  <a:lnTo>
                    <a:pt x="1789" y="3538"/>
                  </a:lnTo>
                  <a:lnTo>
                    <a:pt x="942" y="3538"/>
                  </a:lnTo>
                  <a:lnTo>
                    <a:pt x="96" y="3538"/>
                  </a:lnTo>
                  <a:lnTo>
                    <a:pt x="85" y="3538"/>
                  </a:lnTo>
                  <a:lnTo>
                    <a:pt x="75" y="3539"/>
                  </a:lnTo>
                  <a:lnTo>
                    <a:pt x="66" y="3542"/>
                  </a:lnTo>
                  <a:lnTo>
                    <a:pt x="58" y="3545"/>
                  </a:lnTo>
                  <a:lnTo>
                    <a:pt x="49" y="3549"/>
                  </a:lnTo>
                  <a:lnTo>
                    <a:pt x="41" y="3554"/>
                  </a:lnTo>
                  <a:lnTo>
                    <a:pt x="33" y="3559"/>
                  </a:lnTo>
                  <a:lnTo>
                    <a:pt x="27" y="3565"/>
                  </a:lnTo>
                  <a:lnTo>
                    <a:pt x="21" y="3572"/>
                  </a:lnTo>
                  <a:lnTo>
                    <a:pt x="16" y="3579"/>
                  </a:lnTo>
                  <a:lnTo>
                    <a:pt x="11" y="3587"/>
                  </a:lnTo>
                  <a:lnTo>
                    <a:pt x="8" y="3595"/>
                  </a:lnTo>
                  <a:lnTo>
                    <a:pt x="4" y="3605"/>
                  </a:lnTo>
                  <a:lnTo>
                    <a:pt x="2" y="3614"/>
                  </a:lnTo>
                  <a:lnTo>
                    <a:pt x="1" y="3624"/>
                  </a:lnTo>
                  <a:lnTo>
                    <a:pt x="0" y="3634"/>
                  </a:lnTo>
                  <a:lnTo>
                    <a:pt x="0" y="3899"/>
                  </a:lnTo>
                  <a:close/>
                  <a:moveTo>
                    <a:pt x="0" y="361"/>
                  </a:moveTo>
                  <a:lnTo>
                    <a:pt x="1" y="371"/>
                  </a:lnTo>
                  <a:lnTo>
                    <a:pt x="2" y="381"/>
                  </a:lnTo>
                  <a:lnTo>
                    <a:pt x="4" y="391"/>
                  </a:lnTo>
                  <a:lnTo>
                    <a:pt x="8" y="400"/>
                  </a:lnTo>
                  <a:lnTo>
                    <a:pt x="11" y="409"/>
                  </a:lnTo>
                  <a:lnTo>
                    <a:pt x="16" y="416"/>
                  </a:lnTo>
                  <a:lnTo>
                    <a:pt x="21" y="423"/>
                  </a:lnTo>
                  <a:lnTo>
                    <a:pt x="27" y="430"/>
                  </a:lnTo>
                  <a:lnTo>
                    <a:pt x="33" y="436"/>
                  </a:lnTo>
                  <a:lnTo>
                    <a:pt x="41" y="441"/>
                  </a:lnTo>
                  <a:lnTo>
                    <a:pt x="49" y="446"/>
                  </a:lnTo>
                  <a:lnTo>
                    <a:pt x="58" y="450"/>
                  </a:lnTo>
                  <a:lnTo>
                    <a:pt x="66" y="453"/>
                  </a:lnTo>
                  <a:lnTo>
                    <a:pt x="75" y="455"/>
                  </a:lnTo>
                  <a:lnTo>
                    <a:pt x="85" y="456"/>
                  </a:lnTo>
                  <a:lnTo>
                    <a:pt x="96" y="456"/>
                  </a:lnTo>
                  <a:lnTo>
                    <a:pt x="942" y="456"/>
                  </a:lnTo>
                  <a:lnTo>
                    <a:pt x="1789" y="456"/>
                  </a:lnTo>
                  <a:lnTo>
                    <a:pt x="2635" y="456"/>
                  </a:lnTo>
                  <a:lnTo>
                    <a:pt x="3482" y="456"/>
                  </a:lnTo>
                  <a:lnTo>
                    <a:pt x="3493" y="456"/>
                  </a:lnTo>
                  <a:lnTo>
                    <a:pt x="3503" y="455"/>
                  </a:lnTo>
                  <a:lnTo>
                    <a:pt x="3512" y="453"/>
                  </a:lnTo>
                  <a:lnTo>
                    <a:pt x="3521" y="450"/>
                  </a:lnTo>
                  <a:lnTo>
                    <a:pt x="3529" y="446"/>
                  </a:lnTo>
                  <a:lnTo>
                    <a:pt x="3537" y="441"/>
                  </a:lnTo>
                  <a:lnTo>
                    <a:pt x="3545" y="436"/>
                  </a:lnTo>
                  <a:lnTo>
                    <a:pt x="3552" y="430"/>
                  </a:lnTo>
                  <a:lnTo>
                    <a:pt x="3557" y="423"/>
                  </a:lnTo>
                  <a:lnTo>
                    <a:pt x="3563" y="416"/>
                  </a:lnTo>
                  <a:lnTo>
                    <a:pt x="3567" y="409"/>
                  </a:lnTo>
                  <a:lnTo>
                    <a:pt x="3572" y="400"/>
                  </a:lnTo>
                  <a:lnTo>
                    <a:pt x="3574" y="391"/>
                  </a:lnTo>
                  <a:lnTo>
                    <a:pt x="3576" y="381"/>
                  </a:lnTo>
                  <a:lnTo>
                    <a:pt x="3577" y="371"/>
                  </a:lnTo>
                  <a:lnTo>
                    <a:pt x="3578" y="361"/>
                  </a:lnTo>
                  <a:lnTo>
                    <a:pt x="3578" y="95"/>
                  </a:lnTo>
                  <a:lnTo>
                    <a:pt x="3577" y="85"/>
                  </a:lnTo>
                  <a:lnTo>
                    <a:pt x="3576" y="75"/>
                  </a:lnTo>
                  <a:lnTo>
                    <a:pt x="3574" y="65"/>
                  </a:lnTo>
                  <a:lnTo>
                    <a:pt x="3572" y="57"/>
                  </a:lnTo>
                  <a:lnTo>
                    <a:pt x="3567" y="49"/>
                  </a:lnTo>
                  <a:lnTo>
                    <a:pt x="3563" y="41"/>
                  </a:lnTo>
                  <a:lnTo>
                    <a:pt x="3557" y="33"/>
                  </a:lnTo>
                  <a:lnTo>
                    <a:pt x="3552" y="27"/>
                  </a:lnTo>
                  <a:lnTo>
                    <a:pt x="3545" y="20"/>
                  </a:lnTo>
                  <a:lnTo>
                    <a:pt x="3537" y="16"/>
                  </a:lnTo>
                  <a:lnTo>
                    <a:pt x="3529" y="11"/>
                  </a:lnTo>
                  <a:lnTo>
                    <a:pt x="3521" y="7"/>
                  </a:lnTo>
                  <a:lnTo>
                    <a:pt x="3512" y="3"/>
                  </a:lnTo>
                  <a:lnTo>
                    <a:pt x="3503" y="1"/>
                  </a:lnTo>
                  <a:lnTo>
                    <a:pt x="3493" y="0"/>
                  </a:lnTo>
                  <a:lnTo>
                    <a:pt x="3482" y="0"/>
                  </a:lnTo>
                  <a:lnTo>
                    <a:pt x="2635" y="0"/>
                  </a:lnTo>
                  <a:lnTo>
                    <a:pt x="1789" y="0"/>
                  </a:lnTo>
                  <a:lnTo>
                    <a:pt x="942" y="0"/>
                  </a:lnTo>
                  <a:lnTo>
                    <a:pt x="96" y="0"/>
                  </a:lnTo>
                  <a:lnTo>
                    <a:pt x="85" y="0"/>
                  </a:lnTo>
                  <a:lnTo>
                    <a:pt x="75" y="1"/>
                  </a:lnTo>
                  <a:lnTo>
                    <a:pt x="66" y="3"/>
                  </a:lnTo>
                  <a:lnTo>
                    <a:pt x="58" y="7"/>
                  </a:lnTo>
                  <a:lnTo>
                    <a:pt x="49" y="11"/>
                  </a:lnTo>
                  <a:lnTo>
                    <a:pt x="41" y="16"/>
                  </a:lnTo>
                  <a:lnTo>
                    <a:pt x="33" y="20"/>
                  </a:lnTo>
                  <a:lnTo>
                    <a:pt x="27" y="27"/>
                  </a:lnTo>
                  <a:lnTo>
                    <a:pt x="21" y="33"/>
                  </a:lnTo>
                  <a:lnTo>
                    <a:pt x="16" y="41"/>
                  </a:lnTo>
                  <a:lnTo>
                    <a:pt x="11" y="49"/>
                  </a:lnTo>
                  <a:lnTo>
                    <a:pt x="8" y="57"/>
                  </a:lnTo>
                  <a:lnTo>
                    <a:pt x="4" y="65"/>
                  </a:lnTo>
                  <a:lnTo>
                    <a:pt x="2" y="75"/>
                  </a:lnTo>
                  <a:lnTo>
                    <a:pt x="1" y="85"/>
                  </a:lnTo>
                  <a:lnTo>
                    <a:pt x="0" y="95"/>
                  </a:lnTo>
                  <a:lnTo>
                    <a:pt x="0" y="36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Skatta Sans Regular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4600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lhue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5B3735D-A97E-464E-AF85-C53FF97B5F90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RIA - RKL yrittäjäpäivä 1.11.202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0148927-3435-4F7D-ABDF-7627D06F6934}"/>
              </a:ext>
            </a:extLst>
          </p:cNvPr>
          <p:cNvGrpSpPr/>
          <p:nvPr userDrawn="1"/>
        </p:nvGrpSpPr>
        <p:grpSpPr>
          <a:xfrm>
            <a:off x="0" y="4077072"/>
            <a:ext cx="9874285" cy="1872000"/>
            <a:chOff x="0" y="4077072"/>
            <a:chExt cx="9874285" cy="1872000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3D5CA6BC-B95B-4DCC-A876-2FE4BFA44B58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0" y="4077072"/>
              <a:ext cx="9874285" cy="1872000"/>
            </a:xfrm>
            <a:custGeom>
              <a:avLst/>
              <a:gdLst>
                <a:gd name="T0" fmla="*/ 10894 w 23040"/>
                <a:gd name="T1" fmla="*/ 3037 h 4369"/>
                <a:gd name="T2" fmla="*/ 10931 w 23040"/>
                <a:gd name="T3" fmla="*/ 2661 h 4369"/>
                <a:gd name="T4" fmla="*/ 13479 w 23040"/>
                <a:gd name="T5" fmla="*/ 2241 h 4369"/>
                <a:gd name="T6" fmla="*/ 12981 w 23040"/>
                <a:gd name="T7" fmla="*/ 1865 h 4369"/>
                <a:gd name="T8" fmla="*/ 13222 w 23040"/>
                <a:gd name="T9" fmla="*/ 1543 h 4369"/>
                <a:gd name="T10" fmla="*/ 13525 w 23040"/>
                <a:gd name="T11" fmla="*/ 3907 h 4369"/>
                <a:gd name="T12" fmla="*/ 12729 w 23040"/>
                <a:gd name="T13" fmla="*/ 3813 h 4369"/>
                <a:gd name="T14" fmla="*/ 10912 w 23040"/>
                <a:gd name="T15" fmla="*/ 2402 h 4369"/>
                <a:gd name="T16" fmla="*/ 16652 w 23040"/>
                <a:gd name="T17" fmla="*/ 970 h 4369"/>
                <a:gd name="T18" fmla="*/ 16232 w 23040"/>
                <a:gd name="T19" fmla="*/ 332 h 4369"/>
                <a:gd name="T20" fmla="*/ 15103 w 23040"/>
                <a:gd name="T21" fmla="*/ 2262 h 4369"/>
                <a:gd name="T22" fmla="*/ 12814 w 23040"/>
                <a:gd name="T23" fmla="*/ 2991 h 4369"/>
                <a:gd name="T24" fmla="*/ 11678 w 23040"/>
                <a:gd name="T25" fmla="*/ 3172 h 4369"/>
                <a:gd name="T26" fmla="*/ 12355 w 23040"/>
                <a:gd name="T27" fmla="*/ 2838 h 4369"/>
                <a:gd name="T28" fmla="*/ 12184 w 23040"/>
                <a:gd name="T29" fmla="*/ 4304 h 4369"/>
                <a:gd name="T30" fmla="*/ 11739 w 23040"/>
                <a:gd name="T31" fmla="*/ 2627 h 4369"/>
                <a:gd name="T32" fmla="*/ 11666 w 23040"/>
                <a:gd name="T33" fmla="*/ 2291 h 4369"/>
                <a:gd name="T34" fmla="*/ 11184 w 23040"/>
                <a:gd name="T35" fmla="*/ 3107 h 4369"/>
                <a:gd name="T36" fmla="*/ 11469 w 23040"/>
                <a:gd name="T37" fmla="*/ 1044 h 4369"/>
                <a:gd name="T38" fmla="*/ 13150 w 23040"/>
                <a:gd name="T39" fmla="*/ 754 h 4369"/>
                <a:gd name="T40" fmla="*/ 16863 w 23040"/>
                <a:gd name="T41" fmla="*/ 4331 h 4369"/>
                <a:gd name="T42" fmla="*/ 14362 w 23040"/>
                <a:gd name="T43" fmla="*/ 3771 h 4369"/>
                <a:gd name="T44" fmla="*/ 14362 w 23040"/>
                <a:gd name="T45" fmla="*/ 3373 h 4369"/>
                <a:gd name="T46" fmla="*/ 14105 w 23040"/>
                <a:gd name="T47" fmla="*/ 3277 h 4369"/>
                <a:gd name="T48" fmla="*/ 14091 w 23040"/>
                <a:gd name="T49" fmla="*/ 2881 h 4369"/>
                <a:gd name="T50" fmla="*/ 20731 w 23040"/>
                <a:gd name="T51" fmla="*/ 4008 h 4369"/>
                <a:gd name="T52" fmla="*/ 19002 w 23040"/>
                <a:gd name="T53" fmla="*/ 3795 h 4369"/>
                <a:gd name="T54" fmla="*/ 19052 w 23040"/>
                <a:gd name="T55" fmla="*/ 3549 h 4369"/>
                <a:gd name="T56" fmla="*/ 19727 w 23040"/>
                <a:gd name="T57" fmla="*/ 3547 h 4369"/>
                <a:gd name="T58" fmla="*/ 21772 w 23040"/>
                <a:gd name="T59" fmla="*/ 1759 h 4369"/>
                <a:gd name="T60" fmla="*/ 20169 w 23040"/>
                <a:gd name="T61" fmla="*/ 1874 h 4369"/>
                <a:gd name="T62" fmla="*/ 18388 w 23040"/>
                <a:gd name="T63" fmla="*/ 2546 h 4369"/>
                <a:gd name="T64" fmla="*/ 19509 w 23040"/>
                <a:gd name="T65" fmla="*/ 3625 h 4369"/>
                <a:gd name="T66" fmla="*/ 18969 w 23040"/>
                <a:gd name="T67" fmla="*/ 3381 h 4369"/>
                <a:gd name="T68" fmla="*/ 2798 w 23040"/>
                <a:gd name="T69" fmla="*/ 3193 h 4369"/>
                <a:gd name="T70" fmla="*/ 440 w 23040"/>
                <a:gd name="T71" fmla="*/ 2751 h 4369"/>
                <a:gd name="T72" fmla="*/ 2868 w 23040"/>
                <a:gd name="T73" fmla="*/ 4141 h 4369"/>
                <a:gd name="T74" fmla="*/ 837 w 23040"/>
                <a:gd name="T75" fmla="*/ 3250 h 4369"/>
                <a:gd name="T76" fmla="*/ 823 w 23040"/>
                <a:gd name="T77" fmla="*/ 3336 h 4369"/>
                <a:gd name="T78" fmla="*/ 1107 w 23040"/>
                <a:gd name="T79" fmla="*/ 3717 h 4369"/>
                <a:gd name="T80" fmla="*/ 1080 w 23040"/>
                <a:gd name="T81" fmla="*/ 3810 h 4369"/>
                <a:gd name="T82" fmla="*/ 188 w 23040"/>
                <a:gd name="T83" fmla="*/ 1799 h 4369"/>
                <a:gd name="T84" fmla="*/ 2556 w 23040"/>
                <a:gd name="T85" fmla="*/ 2016 h 4369"/>
                <a:gd name="T86" fmla="*/ 2583 w 23040"/>
                <a:gd name="T87" fmla="*/ 2578 h 4369"/>
                <a:gd name="T88" fmla="*/ 8182 w 23040"/>
                <a:gd name="T89" fmla="*/ 2792 h 4369"/>
                <a:gd name="T90" fmla="*/ 9070 w 23040"/>
                <a:gd name="T91" fmla="*/ 2753 h 4369"/>
                <a:gd name="T92" fmla="*/ 6863 w 23040"/>
                <a:gd name="T93" fmla="*/ 2176 h 4369"/>
                <a:gd name="T94" fmla="*/ 6215 w 23040"/>
                <a:gd name="T95" fmla="*/ 2702 h 4369"/>
                <a:gd name="T96" fmla="*/ 7097 w 23040"/>
                <a:gd name="T97" fmla="*/ 2957 h 4369"/>
                <a:gd name="T98" fmla="*/ 6454 w 23040"/>
                <a:gd name="T99" fmla="*/ 3498 h 4369"/>
                <a:gd name="T100" fmla="*/ 6384 w 23040"/>
                <a:gd name="T101" fmla="*/ 4003 h 4369"/>
                <a:gd name="T102" fmla="*/ 8037 w 23040"/>
                <a:gd name="T103" fmla="*/ 2925 h 4369"/>
                <a:gd name="T104" fmla="*/ 8332 w 23040"/>
                <a:gd name="T105" fmla="*/ 3308 h 4369"/>
                <a:gd name="T106" fmla="*/ 8296 w 23040"/>
                <a:gd name="T107" fmla="*/ 3424 h 4369"/>
                <a:gd name="T108" fmla="*/ 8598 w 23040"/>
                <a:gd name="T109" fmla="*/ 3792 h 4369"/>
                <a:gd name="T110" fmla="*/ 5650 w 23040"/>
                <a:gd name="T111" fmla="*/ 1956 h 4369"/>
                <a:gd name="T112" fmla="*/ 8119 w 23040"/>
                <a:gd name="T113" fmla="*/ 245 h 4369"/>
                <a:gd name="T114" fmla="*/ 4680 w 23040"/>
                <a:gd name="T115" fmla="*/ 942 h 4369"/>
                <a:gd name="T116" fmla="*/ 5027 w 23040"/>
                <a:gd name="T117" fmla="*/ 2616 h 4369"/>
                <a:gd name="T118" fmla="*/ 4991 w 23040"/>
                <a:gd name="T119" fmla="*/ 2732 h 4369"/>
                <a:gd name="T120" fmla="*/ 5292 w 23040"/>
                <a:gd name="T121" fmla="*/ 3101 h 4369"/>
                <a:gd name="T122" fmla="*/ 5252 w 23040"/>
                <a:gd name="T123" fmla="*/ 3235 h 4369"/>
                <a:gd name="T124" fmla="*/ 3326 w 23040"/>
                <a:gd name="T125" fmla="*/ 3951 h 4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040" h="4369">
                  <a:moveTo>
                    <a:pt x="10933" y="3163"/>
                  </a:moveTo>
                  <a:lnTo>
                    <a:pt x="10933" y="3274"/>
                  </a:lnTo>
                  <a:lnTo>
                    <a:pt x="10931" y="3283"/>
                  </a:lnTo>
                  <a:lnTo>
                    <a:pt x="10926" y="3290"/>
                  </a:lnTo>
                  <a:lnTo>
                    <a:pt x="10920" y="3294"/>
                  </a:lnTo>
                  <a:lnTo>
                    <a:pt x="10912" y="3295"/>
                  </a:lnTo>
                  <a:lnTo>
                    <a:pt x="10906" y="3294"/>
                  </a:lnTo>
                  <a:lnTo>
                    <a:pt x="10899" y="3290"/>
                  </a:lnTo>
                  <a:lnTo>
                    <a:pt x="10894" y="3283"/>
                  </a:lnTo>
                  <a:lnTo>
                    <a:pt x="10893" y="3274"/>
                  </a:lnTo>
                  <a:lnTo>
                    <a:pt x="10893" y="3163"/>
                  </a:lnTo>
                  <a:lnTo>
                    <a:pt x="10894" y="3154"/>
                  </a:lnTo>
                  <a:lnTo>
                    <a:pt x="10899" y="3148"/>
                  </a:lnTo>
                  <a:lnTo>
                    <a:pt x="10906" y="3144"/>
                  </a:lnTo>
                  <a:lnTo>
                    <a:pt x="10912" y="3143"/>
                  </a:lnTo>
                  <a:lnTo>
                    <a:pt x="10920" y="3144"/>
                  </a:lnTo>
                  <a:lnTo>
                    <a:pt x="10926" y="3148"/>
                  </a:lnTo>
                  <a:lnTo>
                    <a:pt x="10931" y="3154"/>
                  </a:lnTo>
                  <a:lnTo>
                    <a:pt x="10933" y="3163"/>
                  </a:lnTo>
                  <a:close/>
                  <a:moveTo>
                    <a:pt x="10670" y="3163"/>
                  </a:moveTo>
                  <a:lnTo>
                    <a:pt x="10670" y="3274"/>
                  </a:lnTo>
                  <a:lnTo>
                    <a:pt x="10669" y="3283"/>
                  </a:lnTo>
                  <a:lnTo>
                    <a:pt x="10663" y="3290"/>
                  </a:lnTo>
                  <a:lnTo>
                    <a:pt x="10657" y="3294"/>
                  </a:lnTo>
                  <a:lnTo>
                    <a:pt x="10649" y="3295"/>
                  </a:lnTo>
                  <a:lnTo>
                    <a:pt x="10643" y="3294"/>
                  </a:lnTo>
                  <a:lnTo>
                    <a:pt x="10637" y="3290"/>
                  </a:lnTo>
                  <a:lnTo>
                    <a:pt x="10631" y="3283"/>
                  </a:lnTo>
                  <a:lnTo>
                    <a:pt x="10630" y="3274"/>
                  </a:lnTo>
                  <a:lnTo>
                    <a:pt x="10630" y="3163"/>
                  </a:lnTo>
                  <a:lnTo>
                    <a:pt x="10631" y="3154"/>
                  </a:lnTo>
                  <a:lnTo>
                    <a:pt x="10637" y="3148"/>
                  </a:lnTo>
                  <a:lnTo>
                    <a:pt x="10643" y="3144"/>
                  </a:lnTo>
                  <a:lnTo>
                    <a:pt x="10649" y="3143"/>
                  </a:lnTo>
                  <a:lnTo>
                    <a:pt x="10657" y="3144"/>
                  </a:lnTo>
                  <a:lnTo>
                    <a:pt x="10663" y="3148"/>
                  </a:lnTo>
                  <a:lnTo>
                    <a:pt x="10669" y="3154"/>
                  </a:lnTo>
                  <a:lnTo>
                    <a:pt x="10670" y="3163"/>
                  </a:lnTo>
                  <a:close/>
                  <a:moveTo>
                    <a:pt x="10407" y="3163"/>
                  </a:moveTo>
                  <a:lnTo>
                    <a:pt x="10407" y="3274"/>
                  </a:lnTo>
                  <a:lnTo>
                    <a:pt x="10404" y="3283"/>
                  </a:lnTo>
                  <a:lnTo>
                    <a:pt x="10401" y="3290"/>
                  </a:lnTo>
                  <a:lnTo>
                    <a:pt x="10394" y="3294"/>
                  </a:lnTo>
                  <a:lnTo>
                    <a:pt x="10386" y="3295"/>
                  </a:lnTo>
                  <a:lnTo>
                    <a:pt x="10379" y="3294"/>
                  </a:lnTo>
                  <a:lnTo>
                    <a:pt x="10372" y="3290"/>
                  </a:lnTo>
                  <a:lnTo>
                    <a:pt x="10369" y="3283"/>
                  </a:lnTo>
                  <a:lnTo>
                    <a:pt x="10366" y="3274"/>
                  </a:lnTo>
                  <a:lnTo>
                    <a:pt x="10366" y="3163"/>
                  </a:lnTo>
                  <a:lnTo>
                    <a:pt x="10369" y="3154"/>
                  </a:lnTo>
                  <a:lnTo>
                    <a:pt x="10372" y="3148"/>
                  </a:lnTo>
                  <a:lnTo>
                    <a:pt x="10379" y="3144"/>
                  </a:lnTo>
                  <a:lnTo>
                    <a:pt x="10386" y="3143"/>
                  </a:lnTo>
                  <a:lnTo>
                    <a:pt x="10394" y="3144"/>
                  </a:lnTo>
                  <a:lnTo>
                    <a:pt x="10401" y="3148"/>
                  </a:lnTo>
                  <a:lnTo>
                    <a:pt x="10404" y="3154"/>
                  </a:lnTo>
                  <a:lnTo>
                    <a:pt x="10407" y="3163"/>
                  </a:lnTo>
                  <a:close/>
                  <a:moveTo>
                    <a:pt x="10143" y="3163"/>
                  </a:moveTo>
                  <a:lnTo>
                    <a:pt x="10143" y="3274"/>
                  </a:lnTo>
                  <a:lnTo>
                    <a:pt x="10142" y="3283"/>
                  </a:lnTo>
                  <a:lnTo>
                    <a:pt x="10138" y="3290"/>
                  </a:lnTo>
                  <a:lnTo>
                    <a:pt x="10131" y="3294"/>
                  </a:lnTo>
                  <a:lnTo>
                    <a:pt x="10124" y="3295"/>
                  </a:lnTo>
                  <a:lnTo>
                    <a:pt x="10116" y="3294"/>
                  </a:lnTo>
                  <a:lnTo>
                    <a:pt x="10109" y="3290"/>
                  </a:lnTo>
                  <a:lnTo>
                    <a:pt x="10106" y="3283"/>
                  </a:lnTo>
                  <a:lnTo>
                    <a:pt x="10103" y="3274"/>
                  </a:lnTo>
                  <a:lnTo>
                    <a:pt x="10103" y="3163"/>
                  </a:lnTo>
                  <a:lnTo>
                    <a:pt x="10106" y="3154"/>
                  </a:lnTo>
                  <a:lnTo>
                    <a:pt x="10109" y="3148"/>
                  </a:lnTo>
                  <a:lnTo>
                    <a:pt x="10116" y="3144"/>
                  </a:lnTo>
                  <a:lnTo>
                    <a:pt x="10124" y="3143"/>
                  </a:lnTo>
                  <a:lnTo>
                    <a:pt x="10131" y="3144"/>
                  </a:lnTo>
                  <a:lnTo>
                    <a:pt x="10138" y="3148"/>
                  </a:lnTo>
                  <a:lnTo>
                    <a:pt x="10142" y="3154"/>
                  </a:lnTo>
                  <a:lnTo>
                    <a:pt x="10143" y="3163"/>
                  </a:lnTo>
                  <a:close/>
                  <a:moveTo>
                    <a:pt x="9880" y="3163"/>
                  </a:moveTo>
                  <a:lnTo>
                    <a:pt x="9880" y="3274"/>
                  </a:lnTo>
                  <a:lnTo>
                    <a:pt x="9879" y="3283"/>
                  </a:lnTo>
                  <a:lnTo>
                    <a:pt x="9874" y="3290"/>
                  </a:lnTo>
                  <a:lnTo>
                    <a:pt x="9867" y="3294"/>
                  </a:lnTo>
                  <a:lnTo>
                    <a:pt x="9861" y="3295"/>
                  </a:lnTo>
                  <a:lnTo>
                    <a:pt x="9853" y="3294"/>
                  </a:lnTo>
                  <a:lnTo>
                    <a:pt x="9847" y="3290"/>
                  </a:lnTo>
                  <a:lnTo>
                    <a:pt x="9841" y="3283"/>
                  </a:lnTo>
                  <a:lnTo>
                    <a:pt x="9840" y="3274"/>
                  </a:lnTo>
                  <a:lnTo>
                    <a:pt x="9840" y="3163"/>
                  </a:lnTo>
                  <a:lnTo>
                    <a:pt x="9841" y="3154"/>
                  </a:lnTo>
                  <a:lnTo>
                    <a:pt x="9847" y="3148"/>
                  </a:lnTo>
                  <a:lnTo>
                    <a:pt x="9853" y="3144"/>
                  </a:lnTo>
                  <a:lnTo>
                    <a:pt x="9861" y="3143"/>
                  </a:lnTo>
                  <a:lnTo>
                    <a:pt x="9867" y="3144"/>
                  </a:lnTo>
                  <a:lnTo>
                    <a:pt x="9874" y="3148"/>
                  </a:lnTo>
                  <a:lnTo>
                    <a:pt x="9879" y="3154"/>
                  </a:lnTo>
                  <a:lnTo>
                    <a:pt x="9880" y="3163"/>
                  </a:lnTo>
                  <a:close/>
                  <a:moveTo>
                    <a:pt x="9617" y="3163"/>
                  </a:moveTo>
                  <a:lnTo>
                    <a:pt x="9617" y="3274"/>
                  </a:lnTo>
                  <a:lnTo>
                    <a:pt x="9616" y="3283"/>
                  </a:lnTo>
                  <a:lnTo>
                    <a:pt x="9611" y="3290"/>
                  </a:lnTo>
                  <a:lnTo>
                    <a:pt x="9604" y="3294"/>
                  </a:lnTo>
                  <a:lnTo>
                    <a:pt x="9598" y="3295"/>
                  </a:lnTo>
                  <a:lnTo>
                    <a:pt x="9590" y="3294"/>
                  </a:lnTo>
                  <a:lnTo>
                    <a:pt x="9584" y="3290"/>
                  </a:lnTo>
                  <a:lnTo>
                    <a:pt x="9579" y="3283"/>
                  </a:lnTo>
                  <a:lnTo>
                    <a:pt x="9577" y="3274"/>
                  </a:lnTo>
                  <a:lnTo>
                    <a:pt x="9577" y="3163"/>
                  </a:lnTo>
                  <a:lnTo>
                    <a:pt x="9579" y="3154"/>
                  </a:lnTo>
                  <a:lnTo>
                    <a:pt x="9584" y="3148"/>
                  </a:lnTo>
                  <a:lnTo>
                    <a:pt x="9590" y="3144"/>
                  </a:lnTo>
                  <a:lnTo>
                    <a:pt x="9598" y="3143"/>
                  </a:lnTo>
                  <a:lnTo>
                    <a:pt x="9604" y="3144"/>
                  </a:lnTo>
                  <a:lnTo>
                    <a:pt x="9611" y="3148"/>
                  </a:lnTo>
                  <a:lnTo>
                    <a:pt x="9616" y="3154"/>
                  </a:lnTo>
                  <a:lnTo>
                    <a:pt x="9617" y="3163"/>
                  </a:lnTo>
                  <a:close/>
                  <a:moveTo>
                    <a:pt x="10933" y="2916"/>
                  </a:moveTo>
                  <a:lnTo>
                    <a:pt x="10933" y="3028"/>
                  </a:lnTo>
                  <a:lnTo>
                    <a:pt x="10931" y="3037"/>
                  </a:lnTo>
                  <a:lnTo>
                    <a:pt x="10926" y="3043"/>
                  </a:lnTo>
                  <a:lnTo>
                    <a:pt x="10920" y="3047"/>
                  </a:lnTo>
                  <a:lnTo>
                    <a:pt x="10912" y="3048"/>
                  </a:lnTo>
                  <a:lnTo>
                    <a:pt x="10906" y="3047"/>
                  </a:lnTo>
                  <a:lnTo>
                    <a:pt x="10899" y="3043"/>
                  </a:lnTo>
                  <a:lnTo>
                    <a:pt x="10894" y="3037"/>
                  </a:lnTo>
                  <a:lnTo>
                    <a:pt x="10893" y="3028"/>
                  </a:lnTo>
                  <a:lnTo>
                    <a:pt x="10893" y="2916"/>
                  </a:lnTo>
                  <a:lnTo>
                    <a:pt x="10894" y="2907"/>
                  </a:lnTo>
                  <a:lnTo>
                    <a:pt x="10899" y="2901"/>
                  </a:lnTo>
                  <a:lnTo>
                    <a:pt x="10906" y="2897"/>
                  </a:lnTo>
                  <a:lnTo>
                    <a:pt x="10912" y="2896"/>
                  </a:lnTo>
                  <a:lnTo>
                    <a:pt x="10920" y="2897"/>
                  </a:lnTo>
                  <a:lnTo>
                    <a:pt x="10926" y="2901"/>
                  </a:lnTo>
                  <a:lnTo>
                    <a:pt x="10931" y="2907"/>
                  </a:lnTo>
                  <a:lnTo>
                    <a:pt x="10933" y="2916"/>
                  </a:lnTo>
                  <a:close/>
                  <a:moveTo>
                    <a:pt x="10670" y="2916"/>
                  </a:moveTo>
                  <a:lnTo>
                    <a:pt x="10670" y="3028"/>
                  </a:lnTo>
                  <a:lnTo>
                    <a:pt x="10669" y="3037"/>
                  </a:lnTo>
                  <a:lnTo>
                    <a:pt x="10663" y="3043"/>
                  </a:lnTo>
                  <a:lnTo>
                    <a:pt x="10657" y="3047"/>
                  </a:lnTo>
                  <a:lnTo>
                    <a:pt x="10649" y="3048"/>
                  </a:lnTo>
                  <a:lnTo>
                    <a:pt x="10643" y="3047"/>
                  </a:lnTo>
                  <a:lnTo>
                    <a:pt x="10637" y="3043"/>
                  </a:lnTo>
                  <a:lnTo>
                    <a:pt x="10631" y="3037"/>
                  </a:lnTo>
                  <a:lnTo>
                    <a:pt x="10630" y="3028"/>
                  </a:lnTo>
                  <a:lnTo>
                    <a:pt x="10630" y="2916"/>
                  </a:lnTo>
                  <a:lnTo>
                    <a:pt x="10631" y="2907"/>
                  </a:lnTo>
                  <a:lnTo>
                    <a:pt x="10637" y="2901"/>
                  </a:lnTo>
                  <a:lnTo>
                    <a:pt x="10643" y="2897"/>
                  </a:lnTo>
                  <a:lnTo>
                    <a:pt x="10649" y="2896"/>
                  </a:lnTo>
                  <a:lnTo>
                    <a:pt x="10657" y="2897"/>
                  </a:lnTo>
                  <a:lnTo>
                    <a:pt x="10663" y="2901"/>
                  </a:lnTo>
                  <a:lnTo>
                    <a:pt x="10669" y="2907"/>
                  </a:lnTo>
                  <a:lnTo>
                    <a:pt x="10670" y="2916"/>
                  </a:lnTo>
                  <a:close/>
                  <a:moveTo>
                    <a:pt x="10407" y="2916"/>
                  </a:moveTo>
                  <a:lnTo>
                    <a:pt x="10407" y="3028"/>
                  </a:lnTo>
                  <a:lnTo>
                    <a:pt x="10404" y="3037"/>
                  </a:lnTo>
                  <a:lnTo>
                    <a:pt x="10401" y="3043"/>
                  </a:lnTo>
                  <a:lnTo>
                    <a:pt x="10394" y="3047"/>
                  </a:lnTo>
                  <a:lnTo>
                    <a:pt x="10386" y="3048"/>
                  </a:lnTo>
                  <a:lnTo>
                    <a:pt x="10379" y="3047"/>
                  </a:lnTo>
                  <a:lnTo>
                    <a:pt x="10372" y="3043"/>
                  </a:lnTo>
                  <a:lnTo>
                    <a:pt x="10369" y="3037"/>
                  </a:lnTo>
                  <a:lnTo>
                    <a:pt x="10366" y="3028"/>
                  </a:lnTo>
                  <a:lnTo>
                    <a:pt x="10366" y="2916"/>
                  </a:lnTo>
                  <a:lnTo>
                    <a:pt x="10369" y="2907"/>
                  </a:lnTo>
                  <a:lnTo>
                    <a:pt x="10372" y="2901"/>
                  </a:lnTo>
                  <a:lnTo>
                    <a:pt x="10379" y="2897"/>
                  </a:lnTo>
                  <a:lnTo>
                    <a:pt x="10386" y="2896"/>
                  </a:lnTo>
                  <a:lnTo>
                    <a:pt x="10394" y="2897"/>
                  </a:lnTo>
                  <a:lnTo>
                    <a:pt x="10401" y="2901"/>
                  </a:lnTo>
                  <a:lnTo>
                    <a:pt x="10404" y="2907"/>
                  </a:lnTo>
                  <a:lnTo>
                    <a:pt x="10407" y="2916"/>
                  </a:lnTo>
                  <a:close/>
                  <a:moveTo>
                    <a:pt x="10143" y="2916"/>
                  </a:moveTo>
                  <a:lnTo>
                    <a:pt x="10143" y="3028"/>
                  </a:lnTo>
                  <a:lnTo>
                    <a:pt x="10142" y="3037"/>
                  </a:lnTo>
                  <a:lnTo>
                    <a:pt x="10138" y="3043"/>
                  </a:lnTo>
                  <a:lnTo>
                    <a:pt x="10131" y="3047"/>
                  </a:lnTo>
                  <a:lnTo>
                    <a:pt x="10124" y="3048"/>
                  </a:lnTo>
                  <a:lnTo>
                    <a:pt x="10116" y="3047"/>
                  </a:lnTo>
                  <a:lnTo>
                    <a:pt x="10109" y="3043"/>
                  </a:lnTo>
                  <a:lnTo>
                    <a:pt x="10106" y="3037"/>
                  </a:lnTo>
                  <a:lnTo>
                    <a:pt x="10103" y="3028"/>
                  </a:lnTo>
                  <a:lnTo>
                    <a:pt x="10103" y="2916"/>
                  </a:lnTo>
                  <a:lnTo>
                    <a:pt x="10106" y="2907"/>
                  </a:lnTo>
                  <a:lnTo>
                    <a:pt x="10109" y="2901"/>
                  </a:lnTo>
                  <a:lnTo>
                    <a:pt x="10116" y="2897"/>
                  </a:lnTo>
                  <a:lnTo>
                    <a:pt x="10124" y="2896"/>
                  </a:lnTo>
                  <a:lnTo>
                    <a:pt x="10131" y="2897"/>
                  </a:lnTo>
                  <a:lnTo>
                    <a:pt x="10138" y="2901"/>
                  </a:lnTo>
                  <a:lnTo>
                    <a:pt x="10142" y="2907"/>
                  </a:lnTo>
                  <a:lnTo>
                    <a:pt x="10143" y="2916"/>
                  </a:lnTo>
                  <a:close/>
                  <a:moveTo>
                    <a:pt x="9880" y="2916"/>
                  </a:moveTo>
                  <a:lnTo>
                    <a:pt x="9880" y="3028"/>
                  </a:lnTo>
                  <a:lnTo>
                    <a:pt x="9879" y="3037"/>
                  </a:lnTo>
                  <a:lnTo>
                    <a:pt x="9874" y="3043"/>
                  </a:lnTo>
                  <a:lnTo>
                    <a:pt x="9867" y="3047"/>
                  </a:lnTo>
                  <a:lnTo>
                    <a:pt x="9861" y="3048"/>
                  </a:lnTo>
                  <a:lnTo>
                    <a:pt x="9853" y="3047"/>
                  </a:lnTo>
                  <a:lnTo>
                    <a:pt x="9847" y="3043"/>
                  </a:lnTo>
                  <a:lnTo>
                    <a:pt x="9841" y="3037"/>
                  </a:lnTo>
                  <a:lnTo>
                    <a:pt x="9840" y="3028"/>
                  </a:lnTo>
                  <a:lnTo>
                    <a:pt x="9840" y="2916"/>
                  </a:lnTo>
                  <a:lnTo>
                    <a:pt x="9841" y="2907"/>
                  </a:lnTo>
                  <a:lnTo>
                    <a:pt x="9847" y="2901"/>
                  </a:lnTo>
                  <a:lnTo>
                    <a:pt x="9853" y="2897"/>
                  </a:lnTo>
                  <a:lnTo>
                    <a:pt x="9861" y="2896"/>
                  </a:lnTo>
                  <a:lnTo>
                    <a:pt x="9867" y="2897"/>
                  </a:lnTo>
                  <a:lnTo>
                    <a:pt x="9874" y="2901"/>
                  </a:lnTo>
                  <a:lnTo>
                    <a:pt x="9879" y="2907"/>
                  </a:lnTo>
                  <a:lnTo>
                    <a:pt x="9880" y="2916"/>
                  </a:lnTo>
                  <a:close/>
                  <a:moveTo>
                    <a:pt x="9617" y="2916"/>
                  </a:moveTo>
                  <a:lnTo>
                    <a:pt x="9617" y="3028"/>
                  </a:lnTo>
                  <a:lnTo>
                    <a:pt x="9616" y="3037"/>
                  </a:lnTo>
                  <a:lnTo>
                    <a:pt x="9611" y="3043"/>
                  </a:lnTo>
                  <a:lnTo>
                    <a:pt x="9604" y="3047"/>
                  </a:lnTo>
                  <a:lnTo>
                    <a:pt x="9598" y="3048"/>
                  </a:lnTo>
                  <a:lnTo>
                    <a:pt x="9590" y="3047"/>
                  </a:lnTo>
                  <a:lnTo>
                    <a:pt x="9584" y="3043"/>
                  </a:lnTo>
                  <a:lnTo>
                    <a:pt x="9579" y="3037"/>
                  </a:lnTo>
                  <a:lnTo>
                    <a:pt x="9577" y="3028"/>
                  </a:lnTo>
                  <a:lnTo>
                    <a:pt x="9577" y="2916"/>
                  </a:lnTo>
                  <a:lnTo>
                    <a:pt x="9579" y="2907"/>
                  </a:lnTo>
                  <a:lnTo>
                    <a:pt x="9584" y="2901"/>
                  </a:lnTo>
                  <a:lnTo>
                    <a:pt x="9590" y="2897"/>
                  </a:lnTo>
                  <a:lnTo>
                    <a:pt x="9598" y="2896"/>
                  </a:lnTo>
                  <a:lnTo>
                    <a:pt x="9604" y="2897"/>
                  </a:lnTo>
                  <a:lnTo>
                    <a:pt x="9611" y="2901"/>
                  </a:lnTo>
                  <a:lnTo>
                    <a:pt x="9616" y="2907"/>
                  </a:lnTo>
                  <a:lnTo>
                    <a:pt x="9617" y="2916"/>
                  </a:lnTo>
                  <a:close/>
                  <a:moveTo>
                    <a:pt x="10933" y="2670"/>
                  </a:moveTo>
                  <a:lnTo>
                    <a:pt x="10933" y="2782"/>
                  </a:lnTo>
                  <a:lnTo>
                    <a:pt x="10931" y="2790"/>
                  </a:lnTo>
                  <a:lnTo>
                    <a:pt x="10926" y="2796"/>
                  </a:lnTo>
                  <a:lnTo>
                    <a:pt x="10920" y="2800"/>
                  </a:lnTo>
                  <a:lnTo>
                    <a:pt x="10912" y="2801"/>
                  </a:lnTo>
                  <a:lnTo>
                    <a:pt x="10906" y="2800"/>
                  </a:lnTo>
                  <a:lnTo>
                    <a:pt x="10899" y="2796"/>
                  </a:lnTo>
                  <a:lnTo>
                    <a:pt x="10894" y="2790"/>
                  </a:lnTo>
                  <a:lnTo>
                    <a:pt x="10893" y="2782"/>
                  </a:lnTo>
                  <a:lnTo>
                    <a:pt x="10893" y="2670"/>
                  </a:lnTo>
                  <a:lnTo>
                    <a:pt x="10894" y="2661"/>
                  </a:lnTo>
                  <a:lnTo>
                    <a:pt x="10899" y="2654"/>
                  </a:lnTo>
                  <a:lnTo>
                    <a:pt x="10906" y="2650"/>
                  </a:lnTo>
                  <a:lnTo>
                    <a:pt x="10912" y="2649"/>
                  </a:lnTo>
                  <a:lnTo>
                    <a:pt x="10920" y="2650"/>
                  </a:lnTo>
                  <a:lnTo>
                    <a:pt x="10926" y="2654"/>
                  </a:lnTo>
                  <a:lnTo>
                    <a:pt x="10931" y="2661"/>
                  </a:lnTo>
                  <a:lnTo>
                    <a:pt x="10933" y="2670"/>
                  </a:lnTo>
                  <a:close/>
                  <a:moveTo>
                    <a:pt x="10670" y="2670"/>
                  </a:moveTo>
                  <a:lnTo>
                    <a:pt x="10670" y="2782"/>
                  </a:lnTo>
                  <a:lnTo>
                    <a:pt x="10669" y="2790"/>
                  </a:lnTo>
                  <a:lnTo>
                    <a:pt x="10663" y="2796"/>
                  </a:lnTo>
                  <a:lnTo>
                    <a:pt x="10657" y="2800"/>
                  </a:lnTo>
                  <a:lnTo>
                    <a:pt x="10649" y="2801"/>
                  </a:lnTo>
                  <a:lnTo>
                    <a:pt x="10643" y="2800"/>
                  </a:lnTo>
                  <a:lnTo>
                    <a:pt x="10637" y="2796"/>
                  </a:lnTo>
                  <a:lnTo>
                    <a:pt x="10631" y="2790"/>
                  </a:lnTo>
                  <a:lnTo>
                    <a:pt x="10630" y="2782"/>
                  </a:lnTo>
                  <a:lnTo>
                    <a:pt x="10630" y="2670"/>
                  </a:lnTo>
                  <a:lnTo>
                    <a:pt x="10631" y="2661"/>
                  </a:lnTo>
                  <a:lnTo>
                    <a:pt x="10637" y="2654"/>
                  </a:lnTo>
                  <a:lnTo>
                    <a:pt x="10643" y="2650"/>
                  </a:lnTo>
                  <a:lnTo>
                    <a:pt x="10649" y="2649"/>
                  </a:lnTo>
                  <a:lnTo>
                    <a:pt x="10657" y="2650"/>
                  </a:lnTo>
                  <a:lnTo>
                    <a:pt x="10663" y="2654"/>
                  </a:lnTo>
                  <a:lnTo>
                    <a:pt x="10669" y="2661"/>
                  </a:lnTo>
                  <a:lnTo>
                    <a:pt x="10670" y="2670"/>
                  </a:lnTo>
                  <a:close/>
                  <a:moveTo>
                    <a:pt x="10407" y="2670"/>
                  </a:moveTo>
                  <a:lnTo>
                    <a:pt x="10407" y="2782"/>
                  </a:lnTo>
                  <a:lnTo>
                    <a:pt x="10404" y="2790"/>
                  </a:lnTo>
                  <a:lnTo>
                    <a:pt x="10401" y="2796"/>
                  </a:lnTo>
                  <a:lnTo>
                    <a:pt x="10394" y="2800"/>
                  </a:lnTo>
                  <a:lnTo>
                    <a:pt x="10386" y="2801"/>
                  </a:lnTo>
                  <a:lnTo>
                    <a:pt x="10379" y="2800"/>
                  </a:lnTo>
                  <a:lnTo>
                    <a:pt x="10372" y="2796"/>
                  </a:lnTo>
                  <a:lnTo>
                    <a:pt x="10369" y="2790"/>
                  </a:lnTo>
                  <a:lnTo>
                    <a:pt x="10366" y="2782"/>
                  </a:lnTo>
                  <a:lnTo>
                    <a:pt x="10366" y="2670"/>
                  </a:lnTo>
                  <a:lnTo>
                    <a:pt x="10369" y="2661"/>
                  </a:lnTo>
                  <a:lnTo>
                    <a:pt x="10372" y="2654"/>
                  </a:lnTo>
                  <a:lnTo>
                    <a:pt x="10379" y="2650"/>
                  </a:lnTo>
                  <a:lnTo>
                    <a:pt x="10386" y="2649"/>
                  </a:lnTo>
                  <a:lnTo>
                    <a:pt x="10394" y="2650"/>
                  </a:lnTo>
                  <a:lnTo>
                    <a:pt x="10401" y="2654"/>
                  </a:lnTo>
                  <a:lnTo>
                    <a:pt x="10404" y="2661"/>
                  </a:lnTo>
                  <a:lnTo>
                    <a:pt x="10407" y="2670"/>
                  </a:lnTo>
                  <a:close/>
                  <a:moveTo>
                    <a:pt x="10143" y="2670"/>
                  </a:moveTo>
                  <a:lnTo>
                    <a:pt x="10143" y="2782"/>
                  </a:lnTo>
                  <a:lnTo>
                    <a:pt x="10142" y="2790"/>
                  </a:lnTo>
                  <a:lnTo>
                    <a:pt x="10138" y="2796"/>
                  </a:lnTo>
                  <a:lnTo>
                    <a:pt x="10131" y="2800"/>
                  </a:lnTo>
                  <a:lnTo>
                    <a:pt x="10124" y="2801"/>
                  </a:lnTo>
                  <a:lnTo>
                    <a:pt x="10116" y="2800"/>
                  </a:lnTo>
                  <a:lnTo>
                    <a:pt x="10109" y="2796"/>
                  </a:lnTo>
                  <a:lnTo>
                    <a:pt x="10106" y="2790"/>
                  </a:lnTo>
                  <a:lnTo>
                    <a:pt x="10103" y="2782"/>
                  </a:lnTo>
                  <a:lnTo>
                    <a:pt x="10103" y="2670"/>
                  </a:lnTo>
                  <a:lnTo>
                    <a:pt x="10106" y="2661"/>
                  </a:lnTo>
                  <a:lnTo>
                    <a:pt x="10109" y="2654"/>
                  </a:lnTo>
                  <a:lnTo>
                    <a:pt x="10116" y="2650"/>
                  </a:lnTo>
                  <a:lnTo>
                    <a:pt x="10124" y="2649"/>
                  </a:lnTo>
                  <a:lnTo>
                    <a:pt x="10131" y="2650"/>
                  </a:lnTo>
                  <a:lnTo>
                    <a:pt x="10138" y="2654"/>
                  </a:lnTo>
                  <a:lnTo>
                    <a:pt x="10142" y="2661"/>
                  </a:lnTo>
                  <a:lnTo>
                    <a:pt x="10143" y="2670"/>
                  </a:lnTo>
                  <a:close/>
                  <a:moveTo>
                    <a:pt x="9880" y="2670"/>
                  </a:moveTo>
                  <a:lnTo>
                    <a:pt x="9880" y="2782"/>
                  </a:lnTo>
                  <a:lnTo>
                    <a:pt x="9879" y="2790"/>
                  </a:lnTo>
                  <a:lnTo>
                    <a:pt x="9874" y="2796"/>
                  </a:lnTo>
                  <a:lnTo>
                    <a:pt x="9867" y="2800"/>
                  </a:lnTo>
                  <a:lnTo>
                    <a:pt x="9861" y="2801"/>
                  </a:lnTo>
                  <a:lnTo>
                    <a:pt x="9853" y="2800"/>
                  </a:lnTo>
                  <a:lnTo>
                    <a:pt x="9847" y="2796"/>
                  </a:lnTo>
                  <a:lnTo>
                    <a:pt x="9841" y="2790"/>
                  </a:lnTo>
                  <a:lnTo>
                    <a:pt x="9840" y="2782"/>
                  </a:lnTo>
                  <a:lnTo>
                    <a:pt x="9840" y="2670"/>
                  </a:lnTo>
                  <a:lnTo>
                    <a:pt x="9841" y="2661"/>
                  </a:lnTo>
                  <a:lnTo>
                    <a:pt x="9847" y="2654"/>
                  </a:lnTo>
                  <a:lnTo>
                    <a:pt x="9853" y="2650"/>
                  </a:lnTo>
                  <a:lnTo>
                    <a:pt x="9861" y="2649"/>
                  </a:lnTo>
                  <a:lnTo>
                    <a:pt x="9867" y="2650"/>
                  </a:lnTo>
                  <a:lnTo>
                    <a:pt x="9874" y="2654"/>
                  </a:lnTo>
                  <a:lnTo>
                    <a:pt x="9879" y="2661"/>
                  </a:lnTo>
                  <a:lnTo>
                    <a:pt x="9880" y="2670"/>
                  </a:lnTo>
                  <a:close/>
                  <a:moveTo>
                    <a:pt x="9617" y="2670"/>
                  </a:moveTo>
                  <a:lnTo>
                    <a:pt x="9617" y="2782"/>
                  </a:lnTo>
                  <a:lnTo>
                    <a:pt x="9616" y="2790"/>
                  </a:lnTo>
                  <a:lnTo>
                    <a:pt x="9611" y="2796"/>
                  </a:lnTo>
                  <a:lnTo>
                    <a:pt x="9604" y="2800"/>
                  </a:lnTo>
                  <a:lnTo>
                    <a:pt x="9598" y="2801"/>
                  </a:lnTo>
                  <a:lnTo>
                    <a:pt x="9590" y="2800"/>
                  </a:lnTo>
                  <a:lnTo>
                    <a:pt x="9584" y="2796"/>
                  </a:lnTo>
                  <a:lnTo>
                    <a:pt x="9579" y="2790"/>
                  </a:lnTo>
                  <a:lnTo>
                    <a:pt x="9577" y="2782"/>
                  </a:lnTo>
                  <a:lnTo>
                    <a:pt x="9577" y="2670"/>
                  </a:lnTo>
                  <a:lnTo>
                    <a:pt x="9579" y="2661"/>
                  </a:lnTo>
                  <a:lnTo>
                    <a:pt x="9584" y="2654"/>
                  </a:lnTo>
                  <a:lnTo>
                    <a:pt x="9590" y="2650"/>
                  </a:lnTo>
                  <a:lnTo>
                    <a:pt x="9598" y="2649"/>
                  </a:lnTo>
                  <a:lnTo>
                    <a:pt x="9604" y="2650"/>
                  </a:lnTo>
                  <a:lnTo>
                    <a:pt x="9611" y="2654"/>
                  </a:lnTo>
                  <a:lnTo>
                    <a:pt x="9616" y="2661"/>
                  </a:lnTo>
                  <a:lnTo>
                    <a:pt x="9617" y="2670"/>
                  </a:lnTo>
                  <a:close/>
                  <a:moveTo>
                    <a:pt x="13776" y="2113"/>
                  </a:moveTo>
                  <a:lnTo>
                    <a:pt x="13776" y="2226"/>
                  </a:lnTo>
                  <a:lnTo>
                    <a:pt x="13774" y="2235"/>
                  </a:lnTo>
                  <a:lnTo>
                    <a:pt x="13769" y="2241"/>
                  </a:lnTo>
                  <a:lnTo>
                    <a:pt x="13763" y="2245"/>
                  </a:lnTo>
                  <a:lnTo>
                    <a:pt x="13756" y="2246"/>
                  </a:lnTo>
                  <a:lnTo>
                    <a:pt x="13749" y="2245"/>
                  </a:lnTo>
                  <a:lnTo>
                    <a:pt x="13742" y="2241"/>
                  </a:lnTo>
                  <a:lnTo>
                    <a:pt x="13737" y="2235"/>
                  </a:lnTo>
                  <a:lnTo>
                    <a:pt x="13736" y="2226"/>
                  </a:lnTo>
                  <a:lnTo>
                    <a:pt x="13736" y="2113"/>
                  </a:lnTo>
                  <a:lnTo>
                    <a:pt x="13737" y="2106"/>
                  </a:lnTo>
                  <a:lnTo>
                    <a:pt x="13742" y="2099"/>
                  </a:lnTo>
                  <a:lnTo>
                    <a:pt x="13749" y="2095"/>
                  </a:lnTo>
                  <a:lnTo>
                    <a:pt x="13756" y="2094"/>
                  </a:lnTo>
                  <a:lnTo>
                    <a:pt x="13763" y="2095"/>
                  </a:lnTo>
                  <a:lnTo>
                    <a:pt x="13769" y="2099"/>
                  </a:lnTo>
                  <a:lnTo>
                    <a:pt x="13774" y="2106"/>
                  </a:lnTo>
                  <a:lnTo>
                    <a:pt x="13776" y="2113"/>
                  </a:lnTo>
                  <a:close/>
                  <a:moveTo>
                    <a:pt x="13513" y="2113"/>
                  </a:moveTo>
                  <a:lnTo>
                    <a:pt x="13513" y="2226"/>
                  </a:lnTo>
                  <a:lnTo>
                    <a:pt x="13511" y="2235"/>
                  </a:lnTo>
                  <a:lnTo>
                    <a:pt x="13506" y="2241"/>
                  </a:lnTo>
                  <a:lnTo>
                    <a:pt x="13500" y="2245"/>
                  </a:lnTo>
                  <a:lnTo>
                    <a:pt x="13492" y="2246"/>
                  </a:lnTo>
                  <a:lnTo>
                    <a:pt x="13486" y="2245"/>
                  </a:lnTo>
                  <a:lnTo>
                    <a:pt x="13479" y="2241"/>
                  </a:lnTo>
                  <a:lnTo>
                    <a:pt x="13474" y="2235"/>
                  </a:lnTo>
                  <a:lnTo>
                    <a:pt x="13473" y="2226"/>
                  </a:lnTo>
                  <a:lnTo>
                    <a:pt x="13473" y="2113"/>
                  </a:lnTo>
                  <a:lnTo>
                    <a:pt x="13474" y="2106"/>
                  </a:lnTo>
                  <a:lnTo>
                    <a:pt x="13479" y="2099"/>
                  </a:lnTo>
                  <a:lnTo>
                    <a:pt x="13486" y="2095"/>
                  </a:lnTo>
                  <a:lnTo>
                    <a:pt x="13492" y="2094"/>
                  </a:lnTo>
                  <a:lnTo>
                    <a:pt x="13500" y="2095"/>
                  </a:lnTo>
                  <a:lnTo>
                    <a:pt x="13506" y="2099"/>
                  </a:lnTo>
                  <a:lnTo>
                    <a:pt x="13511" y="2106"/>
                  </a:lnTo>
                  <a:lnTo>
                    <a:pt x="13513" y="2113"/>
                  </a:lnTo>
                  <a:close/>
                  <a:moveTo>
                    <a:pt x="13250" y="2113"/>
                  </a:moveTo>
                  <a:lnTo>
                    <a:pt x="13250" y="2226"/>
                  </a:lnTo>
                  <a:lnTo>
                    <a:pt x="13247" y="2235"/>
                  </a:lnTo>
                  <a:lnTo>
                    <a:pt x="13243" y="2241"/>
                  </a:lnTo>
                  <a:lnTo>
                    <a:pt x="13237" y="2245"/>
                  </a:lnTo>
                  <a:lnTo>
                    <a:pt x="13229" y="2246"/>
                  </a:lnTo>
                  <a:lnTo>
                    <a:pt x="13222" y="2245"/>
                  </a:lnTo>
                  <a:lnTo>
                    <a:pt x="13215" y="2241"/>
                  </a:lnTo>
                  <a:lnTo>
                    <a:pt x="13211" y="2235"/>
                  </a:lnTo>
                  <a:lnTo>
                    <a:pt x="13210" y="2226"/>
                  </a:lnTo>
                  <a:lnTo>
                    <a:pt x="13210" y="2113"/>
                  </a:lnTo>
                  <a:lnTo>
                    <a:pt x="13211" y="2106"/>
                  </a:lnTo>
                  <a:lnTo>
                    <a:pt x="13215" y="2099"/>
                  </a:lnTo>
                  <a:lnTo>
                    <a:pt x="13222" y="2095"/>
                  </a:lnTo>
                  <a:lnTo>
                    <a:pt x="13229" y="2094"/>
                  </a:lnTo>
                  <a:lnTo>
                    <a:pt x="13237" y="2095"/>
                  </a:lnTo>
                  <a:lnTo>
                    <a:pt x="13243" y="2099"/>
                  </a:lnTo>
                  <a:lnTo>
                    <a:pt x="13247" y="2106"/>
                  </a:lnTo>
                  <a:lnTo>
                    <a:pt x="13250" y="2113"/>
                  </a:lnTo>
                  <a:close/>
                  <a:moveTo>
                    <a:pt x="12987" y="2113"/>
                  </a:moveTo>
                  <a:lnTo>
                    <a:pt x="12987" y="2226"/>
                  </a:lnTo>
                  <a:lnTo>
                    <a:pt x="12984" y="2235"/>
                  </a:lnTo>
                  <a:lnTo>
                    <a:pt x="12981" y="2241"/>
                  </a:lnTo>
                  <a:lnTo>
                    <a:pt x="12974" y="2245"/>
                  </a:lnTo>
                  <a:lnTo>
                    <a:pt x="12966" y="2246"/>
                  </a:lnTo>
                  <a:lnTo>
                    <a:pt x="12959" y="2245"/>
                  </a:lnTo>
                  <a:lnTo>
                    <a:pt x="12952" y="2241"/>
                  </a:lnTo>
                  <a:lnTo>
                    <a:pt x="12948" y="2235"/>
                  </a:lnTo>
                  <a:lnTo>
                    <a:pt x="12946" y="2226"/>
                  </a:lnTo>
                  <a:lnTo>
                    <a:pt x="12946" y="2113"/>
                  </a:lnTo>
                  <a:lnTo>
                    <a:pt x="12948" y="2106"/>
                  </a:lnTo>
                  <a:lnTo>
                    <a:pt x="12952" y="2099"/>
                  </a:lnTo>
                  <a:lnTo>
                    <a:pt x="12959" y="2095"/>
                  </a:lnTo>
                  <a:lnTo>
                    <a:pt x="12966" y="2094"/>
                  </a:lnTo>
                  <a:lnTo>
                    <a:pt x="12974" y="2095"/>
                  </a:lnTo>
                  <a:lnTo>
                    <a:pt x="12981" y="2099"/>
                  </a:lnTo>
                  <a:lnTo>
                    <a:pt x="12984" y="2106"/>
                  </a:lnTo>
                  <a:lnTo>
                    <a:pt x="12987" y="2113"/>
                  </a:lnTo>
                  <a:close/>
                  <a:moveTo>
                    <a:pt x="13776" y="1879"/>
                  </a:moveTo>
                  <a:lnTo>
                    <a:pt x="13776" y="1992"/>
                  </a:lnTo>
                  <a:lnTo>
                    <a:pt x="13774" y="2001"/>
                  </a:lnTo>
                  <a:lnTo>
                    <a:pt x="13769" y="2007"/>
                  </a:lnTo>
                  <a:lnTo>
                    <a:pt x="13763" y="2011"/>
                  </a:lnTo>
                  <a:lnTo>
                    <a:pt x="13756" y="2012"/>
                  </a:lnTo>
                  <a:lnTo>
                    <a:pt x="13749" y="2011"/>
                  </a:lnTo>
                  <a:lnTo>
                    <a:pt x="13742" y="2007"/>
                  </a:lnTo>
                  <a:lnTo>
                    <a:pt x="13737" y="2001"/>
                  </a:lnTo>
                  <a:lnTo>
                    <a:pt x="13736" y="1992"/>
                  </a:lnTo>
                  <a:lnTo>
                    <a:pt x="13736" y="1879"/>
                  </a:lnTo>
                  <a:lnTo>
                    <a:pt x="13737" y="1872"/>
                  </a:lnTo>
                  <a:lnTo>
                    <a:pt x="13742" y="1865"/>
                  </a:lnTo>
                  <a:lnTo>
                    <a:pt x="13749" y="1861"/>
                  </a:lnTo>
                  <a:lnTo>
                    <a:pt x="13756" y="1860"/>
                  </a:lnTo>
                  <a:lnTo>
                    <a:pt x="13763" y="1861"/>
                  </a:lnTo>
                  <a:lnTo>
                    <a:pt x="13769" y="1865"/>
                  </a:lnTo>
                  <a:lnTo>
                    <a:pt x="13774" y="1872"/>
                  </a:lnTo>
                  <a:lnTo>
                    <a:pt x="13776" y="1879"/>
                  </a:lnTo>
                  <a:close/>
                  <a:moveTo>
                    <a:pt x="13513" y="1879"/>
                  </a:moveTo>
                  <a:lnTo>
                    <a:pt x="13513" y="1992"/>
                  </a:lnTo>
                  <a:lnTo>
                    <a:pt x="13511" y="2001"/>
                  </a:lnTo>
                  <a:lnTo>
                    <a:pt x="13506" y="2007"/>
                  </a:lnTo>
                  <a:lnTo>
                    <a:pt x="13500" y="2011"/>
                  </a:lnTo>
                  <a:lnTo>
                    <a:pt x="13492" y="2012"/>
                  </a:lnTo>
                  <a:lnTo>
                    <a:pt x="13486" y="2011"/>
                  </a:lnTo>
                  <a:lnTo>
                    <a:pt x="13479" y="2007"/>
                  </a:lnTo>
                  <a:lnTo>
                    <a:pt x="13474" y="2001"/>
                  </a:lnTo>
                  <a:lnTo>
                    <a:pt x="13473" y="1992"/>
                  </a:lnTo>
                  <a:lnTo>
                    <a:pt x="13473" y="1879"/>
                  </a:lnTo>
                  <a:lnTo>
                    <a:pt x="13474" y="1872"/>
                  </a:lnTo>
                  <a:lnTo>
                    <a:pt x="13479" y="1865"/>
                  </a:lnTo>
                  <a:lnTo>
                    <a:pt x="13486" y="1861"/>
                  </a:lnTo>
                  <a:lnTo>
                    <a:pt x="13492" y="1860"/>
                  </a:lnTo>
                  <a:lnTo>
                    <a:pt x="13500" y="1861"/>
                  </a:lnTo>
                  <a:lnTo>
                    <a:pt x="13506" y="1865"/>
                  </a:lnTo>
                  <a:lnTo>
                    <a:pt x="13511" y="1872"/>
                  </a:lnTo>
                  <a:lnTo>
                    <a:pt x="13513" y="1879"/>
                  </a:lnTo>
                  <a:close/>
                  <a:moveTo>
                    <a:pt x="13250" y="1879"/>
                  </a:moveTo>
                  <a:lnTo>
                    <a:pt x="13250" y="1992"/>
                  </a:lnTo>
                  <a:lnTo>
                    <a:pt x="13247" y="2001"/>
                  </a:lnTo>
                  <a:lnTo>
                    <a:pt x="13243" y="2007"/>
                  </a:lnTo>
                  <a:lnTo>
                    <a:pt x="13237" y="2011"/>
                  </a:lnTo>
                  <a:lnTo>
                    <a:pt x="13229" y="2012"/>
                  </a:lnTo>
                  <a:lnTo>
                    <a:pt x="13222" y="2011"/>
                  </a:lnTo>
                  <a:lnTo>
                    <a:pt x="13215" y="2007"/>
                  </a:lnTo>
                  <a:lnTo>
                    <a:pt x="13211" y="2001"/>
                  </a:lnTo>
                  <a:lnTo>
                    <a:pt x="13210" y="1992"/>
                  </a:lnTo>
                  <a:lnTo>
                    <a:pt x="13210" y="1879"/>
                  </a:lnTo>
                  <a:lnTo>
                    <a:pt x="13211" y="1872"/>
                  </a:lnTo>
                  <a:lnTo>
                    <a:pt x="13215" y="1865"/>
                  </a:lnTo>
                  <a:lnTo>
                    <a:pt x="13222" y="1861"/>
                  </a:lnTo>
                  <a:lnTo>
                    <a:pt x="13229" y="1860"/>
                  </a:lnTo>
                  <a:lnTo>
                    <a:pt x="13237" y="1861"/>
                  </a:lnTo>
                  <a:lnTo>
                    <a:pt x="13243" y="1865"/>
                  </a:lnTo>
                  <a:lnTo>
                    <a:pt x="13247" y="1872"/>
                  </a:lnTo>
                  <a:lnTo>
                    <a:pt x="13250" y="1879"/>
                  </a:lnTo>
                  <a:close/>
                  <a:moveTo>
                    <a:pt x="12987" y="1879"/>
                  </a:moveTo>
                  <a:lnTo>
                    <a:pt x="12987" y="1992"/>
                  </a:lnTo>
                  <a:lnTo>
                    <a:pt x="12984" y="2001"/>
                  </a:lnTo>
                  <a:lnTo>
                    <a:pt x="12981" y="2007"/>
                  </a:lnTo>
                  <a:lnTo>
                    <a:pt x="12974" y="2011"/>
                  </a:lnTo>
                  <a:lnTo>
                    <a:pt x="12966" y="2012"/>
                  </a:lnTo>
                  <a:lnTo>
                    <a:pt x="12959" y="2011"/>
                  </a:lnTo>
                  <a:lnTo>
                    <a:pt x="12952" y="2007"/>
                  </a:lnTo>
                  <a:lnTo>
                    <a:pt x="12948" y="2001"/>
                  </a:lnTo>
                  <a:lnTo>
                    <a:pt x="12946" y="1992"/>
                  </a:lnTo>
                  <a:lnTo>
                    <a:pt x="12946" y="1879"/>
                  </a:lnTo>
                  <a:lnTo>
                    <a:pt x="12948" y="1872"/>
                  </a:lnTo>
                  <a:lnTo>
                    <a:pt x="12952" y="1865"/>
                  </a:lnTo>
                  <a:lnTo>
                    <a:pt x="12959" y="1861"/>
                  </a:lnTo>
                  <a:lnTo>
                    <a:pt x="12966" y="1860"/>
                  </a:lnTo>
                  <a:lnTo>
                    <a:pt x="12974" y="1861"/>
                  </a:lnTo>
                  <a:lnTo>
                    <a:pt x="12981" y="1865"/>
                  </a:lnTo>
                  <a:lnTo>
                    <a:pt x="12984" y="1872"/>
                  </a:lnTo>
                  <a:lnTo>
                    <a:pt x="12987" y="1879"/>
                  </a:lnTo>
                  <a:close/>
                  <a:moveTo>
                    <a:pt x="13776" y="1645"/>
                  </a:moveTo>
                  <a:lnTo>
                    <a:pt x="13776" y="1758"/>
                  </a:lnTo>
                  <a:lnTo>
                    <a:pt x="13774" y="1767"/>
                  </a:lnTo>
                  <a:lnTo>
                    <a:pt x="13769" y="1773"/>
                  </a:lnTo>
                  <a:lnTo>
                    <a:pt x="13763" y="1777"/>
                  </a:lnTo>
                  <a:lnTo>
                    <a:pt x="13756" y="1778"/>
                  </a:lnTo>
                  <a:lnTo>
                    <a:pt x="13749" y="1777"/>
                  </a:lnTo>
                  <a:lnTo>
                    <a:pt x="13742" y="1773"/>
                  </a:lnTo>
                  <a:lnTo>
                    <a:pt x="13737" y="1767"/>
                  </a:lnTo>
                  <a:lnTo>
                    <a:pt x="13736" y="1758"/>
                  </a:lnTo>
                  <a:lnTo>
                    <a:pt x="13736" y="1645"/>
                  </a:lnTo>
                  <a:lnTo>
                    <a:pt x="13737" y="1636"/>
                  </a:lnTo>
                  <a:lnTo>
                    <a:pt x="13742" y="1631"/>
                  </a:lnTo>
                  <a:lnTo>
                    <a:pt x="13749" y="1627"/>
                  </a:lnTo>
                  <a:lnTo>
                    <a:pt x="13756" y="1626"/>
                  </a:lnTo>
                  <a:lnTo>
                    <a:pt x="13763" y="1627"/>
                  </a:lnTo>
                  <a:lnTo>
                    <a:pt x="13769" y="1631"/>
                  </a:lnTo>
                  <a:lnTo>
                    <a:pt x="13774" y="1636"/>
                  </a:lnTo>
                  <a:lnTo>
                    <a:pt x="13776" y="1645"/>
                  </a:lnTo>
                  <a:close/>
                  <a:moveTo>
                    <a:pt x="13513" y="1645"/>
                  </a:moveTo>
                  <a:lnTo>
                    <a:pt x="13513" y="1758"/>
                  </a:lnTo>
                  <a:lnTo>
                    <a:pt x="13511" y="1767"/>
                  </a:lnTo>
                  <a:lnTo>
                    <a:pt x="13506" y="1773"/>
                  </a:lnTo>
                  <a:lnTo>
                    <a:pt x="13500" y="1777"/>
                  </a:lnTo>
                  <a:lnTo>
                    <a:pt x="13492" y="1778"/>
                  </a:lnTo>
                  <a:lnTo>
                    <a:pt x="13486" y="1777"/>
                  </a:lnTo>
                  <a:lnTo>
                    <a:pt x="13479" y="1773"/>
                  </a:lnTo>
                  <a:lnTo>
                    <a:pt x="13474" y="1767"/>
                  </a:lnTo>
                  <a:lnTo>
                    <a:pt x="13473" y="1758"/>
                  </a:lnTo>
                  <a:lnTo>
                    <a:pt x="13473" y="1645"/>
                  </a:lnTo>
                  <a:lnTo>
                    <a:pt x="13474" y="1636"/>
                  </a:lnTo>
                  <a:lnTo>
                    <a:pt x="13479" y="1631"/>
                  </a:lnTo>
                  <a:lnTo>
                    <a:pt x="13486" y="1627"/>
                  </a:lnTo>
                  <a:lnTo>
                    <a:pt x="13492" y="1626"/>
                  </a:lnTo>
                  <a:lnTo>
                    <a:pt x="13500" y="1627"/>
                  </a:lnTo>
                  <a:lnTo>
                    <a:pt x="13506" y="1631"/>
                  </a:lnTo>
                  <a:lnTo>
                    <a:pt x="13511" y="1636"/>
                  </a:lnTo>
                  <a:lnTo>
                    <a:pt x="13513" y="1645"/>
                  </a:lnTo>
                  <a:close/>
                  <a:moveTo>
                    <a:pt x="13250" y="1645"/>
                  </a:moveTo>
                  <a:lnTo>
                    <a:pt x="13250" y="1758"/>
                  </a:lnTo>
                  <a:lnTo>
                    <a:pt x="13247" y="1767"/>
                  </a:lnTo>
                  <a:lnTo>
                    <a:pt x="13243" y="1773"/>
                  </a:lnTo>
                  <a:lnTo>
                    <a:pt x="13237" y="1777"/>
                  </a:lnTo>
                  <a:lnTo>
                    <a:pt x="13229" y="1778"/>
                  </a:lnTo>
                  <a:lnTo>
                    <a:pt x="13222" y="1777"/>
                  </a:lnTo>
                  <a:lnTo>
                    <a:pt x="13215" y="1773"/>
                  </a:lnTo>
                  <a:lnTo>
                    <a:pt x="13211" y="1767"/>
                  </a:lnTo>
                  <a:lnTo>
                    <a:pt x="13210" y="1758"/>
                  </a:lnTo>
                  <a:lnTo>
                    <a:pt x="13210" y="1645"/>
                  </a:lnTo>
                  <a:lnTo>
                    <a:pt x="13211" y="1636"/>
                  </a:lnTo>
                  <a:lnTo>
                    <a:pt x="13215" y="1631"/>
                  </a:lnTo>
                  <a:lnTo>
                    <a:pt x="13222" y="1627"/>
                  </a:lnTo>
                  <a:lnTo>
                    <a:pt x="13229" y="1626"/>
                  </a:lnTo>
                  <a:lnTo>
                    <a:pt x="13237" y="1627"/>
                  </a:lnTo>
                  <a:lnTo>
                    <a:pt x="13243" y="1631"/>
                  </a:lnTo>
                  <a:lnTo>
                    <a:pt x="13247" y="1636"/>
                  </a:lnTo>
                  <a:lnTo>
                    <a:pt x="13250" y="1645"/>
                  </a:lnTo>
                  <a:close/>
                  <a:moveTo>
                    <a:pt x="12987" y="1645"/>
                  </a:moveTo>
                  <a:lnTo>
                    <a:pt x="12987" y="1758"/>
                  </a:lnTo>
                  <a:lnTo>
                    <a:pt x="12984" y="1767"/>
                  </a:lnTo>
                  <a:lnTo>
                    <a:pt x="12981" y="1773"/>
                  </a:lnTo>
                  <a:lnTo>
                    <a:pt x="12974" y="1777"/>
                  </a:lnTo>
                  <a:lnTo>
                    <a:pt x="12966" y="1778"/>
                  </a:lnTo>
                  <a:lnTo>
                    <a:pt x="12959" y="1777"/>
                  </a:lnTo>
                  <a:lnTo>
                    <a:pt x="12952" y="1773"/>
                  </a:lnTo>
                  <a:lnTo>
                    <a:pt x="12948" y="1767"/>
                  </a:lnTo>
                  <a:lnTo>
                    <a:pt x="12946" y="1758"/>
                  </a:lnTo>
                  <a:lnTo>
                    <a:pt x="12946" y="1645"/>
                  </a:lnTo>
                  <a:lnTo>
                    <a:pt x="12948" y="1636"/>
                  </a:lnTo>
                  <a:lnTo>
                    <a:pt x="12952" y="1631"/>
                  </a:lnTo>
                  <a:lnTo>
                    <a:pt x="12959" y="1627"/>
                  </a:lnTo>
                  <a:lnTo>
                    <a:pt x="12966" y="1626"/>
                  </a:lnTo>
                  <a:lnTo>
                    <a:pt x="12974" y="1627"/>
                  </a:lnTo>
                  <a:lnTo>
                    <a:pt x="12981" y="1631"/>
                  </a:lnTo>
                  <a:lnTo>
                    <a:pt x="12984" y="1636"/>
                  </a:lnTo>
                  <a:lnTo>
                    <a:pt x="12987" y="1645"/>
                  </a:lnTo>
                  <a:close/>
                  <a:moveTo>
                    <a:pt x="13776" y="1411"/>
                  </a:moveTo>
                  <a:lnTo>
                    <a:pt x="13776" y="1524"/>
                  </a:lnTo>
                  <a:lnTo>
                    <a:pt x="13774" y="1533"/>
                  </a:lnTo>
                  <a:lnTo>
                    <a:pt x="13769" y="1539"/>
                  </a:lnTo>
                  <a:lnTo>
                    <a:pt x="13763" y="1543"/>
                  </a:lnTo>
                  <a:lnTo>
                    <a:pt x="13756" y="1544"/>
                  </a:lnTo>
                  <a:lnTo>
                    <a:pt x="13749" y="1543"/>
                  </a:lnTo>
                  <a:lnTo>
                    <a:pt x="13742" y="1539"/>
                  </a:lnTo>
                  <a:lnTo>
                    <a:pt x="13737" y="1533"/>
                  </a:lnTo>
                  <a:lnTo>
                    <a:pt x="13736" y="1524"/>
                  </a:lnTo>
                  <a:lnTo>
                    <a:pt x="13736" y="1411"/>
                  </a:lnTo>
                  <a:lnTo>
                    <a:pt x="13737" y="1402"/>
                  </a:lnTo>
                  <a:lnTo>
                    <a:pt x="13742" y="1397"/>
                  </a:lnTo>
                  <a:lnTo>
                    <a:pt x="13749" y="1393"/>
                  </a:lnTo>
                  <a:lnTo>
                    <a:pt x="13756" y="1392"/>
                  </a:lnTo>
                  <a:lnTo>
                    <a:pt x="13763" y="1393"/>
                  </a:lnTo>
                  <a:lnTo>
                    <a:pt x="13769" y="1397"/>
                  </a:lnTo>
                  <a:lnTo>
                    <a:pt x="13774" y="1402"/>
                  </a:lnTo>
                  <a:lnTo>
                    <a:pt x="13776" y="1411"/>
                  </a:lnTo>
                  <a:close/>
                  <a:moveTo>
                    <a:pt x="13513" y="1411"/>
                  </a:moveTo>
                  <a:lnTo>
                    <a:pt x="13513" y="1524"/>
                  </a:lnTo>
                  <a:lnTo>
                    <a:pt x="13511" y="1533"/>
                  </a:lnTo>
                  <a:lnTo>
                    <a:pt x="13506" y="1539"/>
                  </a:lnTo>
                  <a:lnTo>
                    <a:pt x="13500" y="1543"/>
                  </a:lnTo>
                  <a:lnTo>
                    <a:pt x="13492" y="1544"/>
                  </a:lnTo>
                  <a:lnTo>
                    <a:pt x="13486" y="1543"/>
                  </a:lnTo>
                  <a:lnTo>
                    <a:pt x="13479" y="1539"/>
                  </a:lnTo>
                  <a:lnTo>
                    <a:pt x="13474" y="1533"/>
                  </a:lnTo>
                  <a:lnTo>
                    <a:pt x="13473" y="1524"/>
                  </a:lnTo>
                  <a:lnTo>
                    <a:pt x="13473" y="1411"/>
                  </a:lnTo>
                  <a:lnTo>
                    <a:pt x="13474" y="1402"/>
                  </a:lnTo>
                  <a:lnTo>
                    <a:pt x="13479" y="1397"/>
                  </a:lnTo>
                  <a:lnTo>
                    <a:pt x="13486" y="1393"/>
                  </a:lnTo>
                  <a:lnTo>
                    <a:pt x="13492" y="1392"/>
                  </a:lnTo>
                  <a:lnTo>
                    <a:pt x="13500" y="1393"/>
                  </a:lnTo>
                  <a:lnTo>
                    <a:pt x="13506" y="1397"/>
                  </a:lnTo>
                  <a:lnTo>
                    <a:pt x="13511" y="1402"/>
                  </a:lnTo>
                  <a:lnTo>
                    <a:pt x="13513" y="1411"/>
                  </a:lnTo>
                  <a:close/>
                  <a:moveTo>
                    <a:pt x="13250" y="1411"/>
                  </a:moveTo>
                  <a:lnTo>
                    <a:pt x="13250" y="1524"/>
                  </a:lnTo>
                  <a:lnTo>
                    <a:pt x="13247" y="1533"/>
                  </a:lnTo>
                  <a:lnTo>
                    <a:pt x="13243" y="1539"/>
                  </a:lnTo>
                  <a:lnTo>
                    <a:pt x="13237" y="1543"/>
                  </a:lnTo>
                  <a:lnTo>
                    <a:pt x="13229" y="1544"/>
                  </a:lnTo>
                  <a:lnTo>
                    <a:pt x="13222" y="1543"/>
                  </a:lnTo>
                  <a:lnTo>
                    <a:pt x="13215" y="1539"/>
                  </a:lnTo>
                  <a:lnTo>
                    <a:pt x="13211" y="1533"/>
                  </a:lnTo>
                  <a:lnTo>
                    <a:pt x="13210" y="1524"/>
                  </a:lnTo>
                  <a:lnTo>
                    <a:pt x="13210" y="1411"/>
                  </a:lnTo>
                  <a:lnTo>
                    <a:pt x="13211" y="1402"/>
                  </a:lnTo>
                  <a:lnTo>
                    <a:pt x="13215" y="1397"/>
                  </a:lnTo>
                  <a:lnTo>
                    <a:pt x="13222" y="1393"/>
                  </a:lnTo>
                  <a:lnTo>
                    <a:pt x="13229" y="1392"/>
                  </a:lnTo>
                  <a:lnTo>
                    <a:pt x="13237" y="1393"/>
                  </a:lnTo>
                  <a:lnTo>
                    <a:pt x="13243" y="1397"/>
                  </a:lnTo>
                  <a:lnTo>
                    <a:pt x="13247" y="1402"/>
                  </a:lnTo>
                  <a:lnTo>
                    <a:pt x="13250" y="1411"/>
                  </a:lnTo>
                  <a:close/>
                  <a:moveTo>
                    <a:pt x="12987" y="1411"/>
                  </a:moveTo>
                  <a:lnTo>
                    <a:pt x="12987" y="1524"/>
                  </a:lnTo>
                  <a:lnTo>
                    <a:pt x="12984" y="1533"/>
                  </a:lnTo>
                  <a:lnTo>
                    <a:pt x="12981" y="1539"/>
                  </a:lnTo>
                  <a:lnTo>
                    <a:pt x="12974" y="1543"/>
                  </a:lnTo>
                  <a:lnTo>
                    <a:pt x="12966" y="1544"/>
                  </a:lnTo>
                  <a:lnTo>
                    <a:pt x="12959" y="1543"/>
                  </a:lnTo>
                  <a:lnTo>
                    <a:pt x="12952" y="1539"/>
                  </a:lnTo>
                  <a:lnTo>
                    <a:pt x="12948" y="1533"/>
                  </a:lnTo>
                  <a:lnTo>
                    <a:pt x="12946" y="1524"/>
                  </a:lnTo>
                  <a:lnTo>
                    <a:pt x="12946" y="1411"/>
                  </a:lnTo>
                  <a:lnTo>
                    <a:pt x="12948" y="1402"/>
                  </a:lnTo>
                  <a:lnTo>
                    <a:pt x="12952" y="1397"/>
                  </a:lnTo>
                  <a:lnTo>
                    <a:pt x="12959" y="1393"/>
                  </a:lnTo>
                  <a:lnTo>
                    <a:pt x="12966" y="1392"/>
                  </a:lnTo>
                  <a:lnTo>
                    <a:pt x="12974" y="1393"/>
                  </a:lnTo>
                  <a:lnTo>
                    <a:pt x="12981" y="1397"/>
                  </a:lnTo>
                  <a:lnTo>
                    <a:pt x="12984" y="1402"/>
                  </a:lnTo>
                  <a:lnTo>
                    <a:pt x="12987" y="1411"/>
                  </a:lnTo>
                  <a:close/>
                  <a:moveTo>
                    <a:pt x="13776" y="1177"/>
                  </a:moveTo>
                  <a:lnTo>
                    <a:pt x="13776" y="1290"/>
                  </a:lnTo>
                  <a:lnTo>
                    <a:pt x="13774" y="1299"/>
                  </a:lnTo>
                  <a:lnTo>
                    <a:pt x="13769" y="1305"/>
                  </a:lnTo>
                  <a:lnTo>
                    <a:pt x="13763" y="1309"/>
                  </a:lnTo>
                  <a:lnTo>
                    <a:pt x="13756" y="1309"/>
                  </a:lnTo>
                  <a:lnTo>
                    <a:pt x="13749" y="1309"/>
                  </a:lnTo>
                  <a:lnTo>
                    <a:pt x="13742" y="1305"/>
                  </a:lnTo>
                  <a:lnTo>
                    <a:pt x="13737" y="1299"/>
                  </a:lnTo>
                  <a:lnTo>
                    <a:pt x="13736" y="1290"/>
                  </a:lnTo>
                  <a:lnTo>
                    <a:pt x="13736" y="1177"/>
                  </a:lnTo>
                  <a:lnTo>
                    <a:pt x="13737" y="1168"/>
                  </a:lnTo>
                  <a:lnTo>
                    <a:pt x="13742" y="1163"/>
                  </a:lnTo>
                  <a:lnTo>
                    <a:pt x="13749" y="1159"/>
                  </a:lnTo>
                  <a:lnTo>
                    <a:pt x="13756" y="1158"/>
                  </a:lnTo>
                  <a:lnTo>
                    <a:pt x="13763" y="1159"/>
                  </a:lnTo>
                  <a:lnTo>
                    <a:pt x="13769" y="1163"/>
                  </a:lnTo>
                  <a:lnTo>
                    <a:pt x="13774" y="1168"/>
                  </a:lnTo>
                  <a:lnTo>
                    <a:pt x="13776" y="1177"/>
                  </a:lnTo>
                  <a:close/>
                  <a:moveTo>
                    <a:pt x="13513" y="1177"/>
                  </a:moveTo>
                  <a:lnTo>
                    <a:pt x="13513" y="1290"/>
                  </a:lnTo>
                  <a:lnTo>
                    <a:pt x="13511" y="1299"/>
                  </a:lnTo>
                  <a:lnTo>
                    <a:pt x="13506" y="1305"/>
                  </a:lnTo>
                  <a:lnTo>
                    <a:pt x="13500" y="1309"/>
                  </a:lnTo>
                  <a:lnTo>
                    <a:pt x="13492" y="1309"/>
                  </a:lnTo>
                  <a:lnTo>
                    <a:pt x="13486" y="1309"/>
                  </a:lnTo>
                  <a:lnTo>
                    <a:pt x="13479" y="1305"/>
                  </a:lnTo>
                  <a:lnTo>
                    <a:pt x="13474" y="1299"/>
                  </a:lnTo>
                  <a:lnTo>
                    <a:pt x="13473" y="1290"/>
                  </a:lnTo>
                  <a:lnTo>
                    <a:pt x="13473" y="1177"/>
                  </a:lnTo>
                  <a:lnTo>
                    <a:pt x="13474" y="1168"/>
                  </a:lnTo>
                  <a:lnTo>
                    <a:pt x="13479" y="1163"/>
                  </a:lnTo>
                  <a:lnTo>
                    <a:pt x="13486" y="1159"/>
                  </a:lnTo>
                  <a:lnTo>
                    <a:pt x="13492" y="1158"/>
                  </a:lnTo>
                  <a:lnTo>
                    <a:pt x="13500" y="1159"/>
                  </a:lnTo>
                  <a:lnTo>
                    <a:pt x="13506" y="1163"/>
                  </a:lnTo>
                  <a:lnTo>
                    <a:pt x="13511" y="1168"/>
                  </a:lnTo>
                  <a:lnTo>
                    <a:pt x="13513" y="1177"/>
                  </a:lnTo>
                  <a:close/>
                  <a:moveTo>
                    <a:pt x="13250" y="1177"/>
                  </a:moveTo>
                  <a:lnTo>
                    <a:pt x="13250" y="1290"/>
                  </a:lnTo>
                  <a:lnTo>
                    <a:pt x="13247" y="1299"/>
                  </a:lnTo>
                  <a:lnTo>
                    <a:pt x="13243" y="1305"/>
                  </a:lnTo>
                  <a:lnTo>
                    <a:pt x="13237" y="1309"/>
                  </a:lnTo>
                  <a:lnTo>
                    <a:pt x="13229" y="1309"/>
                  </a:lnTo>
                  <a:lnTo>
                    <a:pt x="13222" y="1309"/>
                  </a:lnTo>
                  <a:lnTo>
                    <a:pt x="13215" y="1305"/>
                  </a:lnTo>
                  <a:lnTo>
                    <a:pt x="13211" y="1299"/>
                  </a:lnTo>
                  <a:lnTo>
                    <a:pt x="13210" y="1290"/>
                  </a:lnTo>
                  <a:lnTo>
                    <a:pt x="13210" y="1177"/>
                  </a:lnTo>
                  <a:lnTo>
                    <a:pt x="13211" y="1168"/>
                  </a:lnTo>
                  <a:lnTo>
                    <a:pt x="13215" y="1163"/>
                  </a:lnTo>
                  <a:lnTo>
                    <a:pt x="13222" y="1159"/>
                  </a:lnTo>
                  <a:lnTo>
                    <a:pt x="13229" y="1158"/>
                  </a:lnTo>
                  <a:lnTo>
                    <a:pt x="13237" y="1159"/>
                  </a:lnTo>
                  <a:lnTo>
                    <a:pt x="13243" y="1163"/>
                  </a:lnTo>
                  <a:lnTo>
                    <a:pt x="13247" y="1168"/>
                  </a:lnTo>
                  <a:lnTo>
                    <a:pt x="13250" y="1177"/>
                  </a:lnTo>
                  <a:close/>
                  <a:moveTo>
                    <a:pt x="12987" y="1177"/>
                  </a:moveTo>
                  <a:lnTo>
                    <a:pt x="12987" y="1290"/>
                  </a:lnTo>
                  <a:lnTo>
                    <a:pt x="12984" y="1299"/>
                  </a:lnTo>
                  <a:lnTo>
                    <a:pt x="12981" y="1305"/>
                  </a:lnTo>
                  <a:lnTo>
                    <a:pt x="12974" y="1309"/>
                  </a:lnTo>
                  <a:lnTo>
                    <a:pt x="12966" y="1309"/>
                  </a:lnTo>
                  <a:lnTo>
                    <a:pt x="12959" y="1309"/>
                  </a:lnTo>
                  <a:lnTo>
                    <a:pt x="12952" y="1305"/>
                  </a:lnTo>
                  <a:lnTo>
                    <a:pt x="12948" y="1299"/>
                  </a:lnTo>
                  <a:lnTo>
                    <a:pt x="12946" y="1290"/>
                  </a:lnTo>
                  <a:lnTo>
                    <a:pt x="12946" y="1177"/>
                  </a:lnTo>
                  <a:lnTo>
                    <a:pt x="12948" y="1168"/>
                  </a:lnTo>
                  <a:lnTo>
                    <a:pt x="12952" y="1163"/>
                  </a:lnTo>
                  <a:lnTo>
                    <a:pt x="12959" y="1159"/>
                  </a:lnTo>
                  <a:lnTo>
                    <a:pt x="12966" y="1158"/>
                  </a:lnTo>
                  <a:lnTo>
                    <a:pt x="12974" y="1159"/>
                  </a:lnTo>
                  <a:lnTo>
                    <a:pt x="12981" y="1163"/>
                  </a:lnTo>
                  <a:lnTo>
                    <a:pt x="12984" y="1168"/>
                  </a:lnTo>
                  <a:lnTo>
                    <a:pt x="12987" y="1177"/>
                  </a:lnTo>
                  <a:close/>
                  <a:moveTo>
                    <a:pt x="13538" y="3927"/>
                  </a:moveTo>
                  <a:lnTo>
                    <a:pt x="13538" y="4038"/>
                  </a:lnTo>
                  <a:lnTo>
                    <a:pt x="13536" y="4047"/>
                  </a:lnTo>
                  <a:lnTo>
                    <a:pt x="13532" y="4053"/>
                  </a:lnTo>
                  <a:lnTo>
                    <a:pt x="13525" y="4057"/>
                  </a:lnTo>
                  <a:lnTo>
                    <a:pt x="13518" y="4058"/>
                  </a:lnTo>
                  <a:lnTo>
                    <a:pt x="13510" y="4057"/>
                  </a:lnTo>
                  <a:lnTo>
                    <a:pt x="13504" y="4053"/>
                  </a:lnTo>
                  <a:lnTo>
                    <a:pt x="13500" y="4047"/>
                  </a:lnTo>
                  <a:lnTo>
                    <a:pt x="13497" y="4038"/>
                  </a:lnTo>
                  <a:lnTo>
                    <a:pt x="13497" y="3927"/>
                  </a:lnTo>
                  <a:lnTo>
                    <a:pt x="13500" y="3918"/>
                  </a:lnTo>
                  <a:lnTo>
                    <a:pt x="13504" y="3911"/>
                  </a:lnTo>
                  <a:lnTo>
                    <a:pt x="13510" y="3907"/>
                  </a:lnTo>
                  <a:lnTo>
                    <a:pt x="13518" y="3906"/>
                  </a:lnTo>
                  <a:lnTo>
                    <a:pt x="13525" y="3907"/>
                  </a:lnTo>
                  <a:lnTo>
                    <a:pt x="13532" y="3911"/>
                  </a:lnTo>
                  <a:lnTo>
                    <a:pt x="13536" y="3918"/>
                  </a:lnTo>
                  <a:lnTo>
                    <a:pt x="13538" y="3927"/>
                  </a:lnTo>
                  <a:close/>
                  <a:moveTo>
                    <a:pt x="13274" y="3927"/>
                  </a:moveTo>
                  <a:lnTo>
                    <a:pt x="13274" y="4038"/>
                  </a:lnTo>
                  <a:lnTo>
                    <a:pt x="13273" y="4047"/>
                  </a:lnTo>
                  <a:lnTo>
                    <a:pt x="13269" y="4053"/>
                  </a:lnTo>
                  <a:lnTo>
                    <a:pt x="13263" y="4057"/>
                  </a:lnTo>
                  <a:lnTo>
                    <a:pt x="13255" y="4058"/>
                  </a:lnTo>
                  <a:lnTo>
                    <a:pt x="13247" y="4057"/>
                  </a:lnTo>
                  <a:lnTo>
                    <a:pt x="13241" y="4053"/>
                  </a:lnTo>
                  <a:lnTo>
                    <a:pt x="13237" y="4047"/>
                  </a:lnTo>
                  <a:lnTo>
                    <a:pt x="13234" y="4038"/>
                  </a:lnTo>
                  <a:lnTo>
                    <a:pt x="13234" y="3927"/>
                  </a:lnTo>
                  <a:lnTo>
                    <a:pt x="13237" y="3918"/>
                  </a:lnTo>
                  <a:lnTo>
                    <a:pt x="13241" y="3911"/>
                  </a:lnTo>
                  <a:lnTo>
                    <a:pt x="13247" y="3907"/>
                  </a:lnTo>
                  <a:lnTo>
                    <a:pt x="13255" y="3906"/>
                  </a:lnTo>
                  <a:lnTo>
                    <a:pt x="13263" y="3907"/>
                  </a:lnTo>
                  <a:lnTo>
                    <a:pt x="13269" y="3911"/>
                  </a:lnTo>
                  <a:lnTo>
                    <a:pt x="13273" y="3918"/>
                  </a:lnTo>
                  <a:lnTo>
                    <a:pt x="13274" y="3927"/>
                  </a:lnTo>
                  <a:close/>
                  <a:moveTo>
                    <a:pt x="13011" y="3927"/>
                  </a:moveTo>
                  <a:lnTo>
                    <a:pt x="13011" y="4038"/>
                  </a:lnTo>
                  <a:lnTo>
                    <a:pt x="13010" y="4047"/>
                  </a:lnTo>
                  <a:lnTo>
                    <a:pt x="13005" y="4053"/>
                  </a:lnTo>
                  <a:lnTo>
                    <a:pt x="12998" y="4057"/>
                  </a:lnTo>
                  <a:lnTo>
                    <a:pt x="12992" y="4058"/>
                  </a:lnTo>
                  <a:lnTo>
                    <a:pt x="12984" y="4057"/>
                  </a:lnTo>
                  <a:lnTo>
                    <a:pt x="12978" y="4053"/>
                  </a:lnTo>
                  <a:lnTo>
                    <a:pt x="12973" y="4047"/>
                  </a:lnTo>
                  <a:lnTo>
                    <a:pt x="12972" y="4038"/>
                  </a:lnTo>
                  <a:lnTo>
                    <a:pt x="12972" y="3927"/>
                  </a:lnTo>
                  <a:lnTo>
                    <a:pt x="12973" y="3918"/>
                  </a:lnTo>
                  <a:lnTo>
                    <a:pt x="12978" y="3911"/>
                  </a:lnTo>
                  <a:lnTo>
                    <a:pt x="12984" y="3907"/>
                  </a:lnTo>
                  <a:lnTo>
                    <a:pt x="12992" y="3906"/>
                  </a:lnTo>
                  <a:lnTo>
                    <a:pt x="12998" y="3907"/>
                  </a:lnTo>
                  <a:lnTo>
                    <a:pt x="13005" y="3911"/>
                  </a:lnTo>
                  <a:lnTo>
                    <a:pt x="13010" y="3918"/>
                  </a:lnTo>
                  <a:lnTo>
                    <a:pt x="13011" y="3927"/>
                  </a:lnTo>
                  <a:close/>
                  <a:moveTo>
                    <a:pt x="12748" y="3927"/>
                  </a:moveTo>
                  <a:lnTo>
                    <a:pt x="12748" y="4038"/>
                  </a:lnTo>
                  <a:lnTo>
                    <a:pt x="12747" y="4047"/>
                  </a:lnTo>
                  <a:lnTo>
                    <a:pt x="12742" y="4053"/>
                  </a:lnTo>
                  <a:lnTo>
                    <a:pt x="12736" y="4057"/>
                  </a:lnTo>
                  <a:lnTo>
                    <a:pt x="12729" y="4058"/>
                  </a:lnTo>
                  <a:lnTo>
                    <a:pt x="12721" y="4057"/>
                  </a:lnTo>
                  <a:lnTo>
                    <a:pt x="12715" y="4053"/>
                  </a:lnTo>
                  <a:lnTo>
                    <a:pt x="12710" y="4047"/>
                  </a:lnTo>
                  <a:lnTo>
                    <a:pt x="12709" y="4038"/>
                  </a:lnTo>
                  <a:lnTo>
                    <a:pt x="12709" y="3927"/>
                  </a:lnTo>
                  <a:lnTo>
                    <a:pt x="12710" y="3918"/>
                  </a:lnTo>
                  <a:lnTo>
                    <a:pt x="12715" y="3911"/>
                  </a:lnTo>
                  <a:lnTo>
                    <a:pt x="12721" y="3907"/>
                  </a:lnTo>
                  <a:lnTo>
                    <a:pt x="12729" y="3906"/>
                  </a:lnTo>
                  <a:lnTo>
                    <a:pt x="12736" y="3907"/>
                  </a:lnTo>
                  <a:lnTo>
                    <a:pt x="12742" y="3911"/>
                  </a:lnTo>
                  <a:lnTo>
                    <a:pt x="12747" y="3918"/>
                  </a:lnTo>
                  <a:lnTo>
                    <a:pt x="12748" y="3927"/>
                  </a:lnTo>
                  <a:close/>
                  <a:moveTo>
                    <a:pt x="13538" y="3681"/>
                  </a:moveTo>
                  <a:lnTo>
                    <a:pt x="13538" y="3792"/>
                  </a:lnTo>
                  <a:lnTo>
                    <a:pt x="13536" y="3801"/>
                  </a:lnTo>
                  <a:lnTo>
                    <a:pt x="13532" y="3808"/>
                  </a:lnTo>
                  <a:lnTo>
                    <a:pt x="13525" y="3811"/>
                  </a:lnTo>
                  <a:lnTo>
                    <a:pt x="13518" y="3813"/>
                  </a:lnTo>
                  <a:lnTo>
                    <a:pt x="13510" y="3811"/>
                  </a:lnTo>
                  <a:lnTo>
                    <a:pt x="13504" y="3808"/>
                  </a:lnTo>
                  <a:lnTo>
                    <a:pt x="13500" y="3801"/>
                  </a:lnTo>
                  <a:lnTo>
                    <a:pt x="13497" y="3792"/>
                  </a:lnTo>
                  <a:lnTo>
                    <a:pt x="13497" y="3681"/>
                  </a:lnTo>
                  <a:lnTo>
                    <a:pt x="13500" y="3672"/>
                  </a:lnTo>
                  <a:lnTo>
                    <a:pt x="13504" y="3666"/>
                  </a:lnTo>
                  <a:lnTo>
                    <a:pt x="13510" y="3662"/>
                  </a:lnTo>
                  <a:lnTo>
                    <a:pt x="13518" y="3661"/>
                  </a:lnTo>
                  <a:lnTo>
                    <a:pt x="13525" y="3662"/>
                  </a:lnTo>
                  <a:lnTo>
                    <a:pt x="13532" y="3666"/>
                  </a:lnTo>
                  <a:lnTo>
                    <a:pt x="13536" y="3672"/>
                  </a:lnTo>
                  <a:lnTo>
                    <a:pt x="13538" y="3681"/>
                  </a:lnTo>
                  <a:close/>
                  <a:moveTo>
                    <a:pt x="13274" y="3681"/>
                  </a:moveTo>
                  <a:lnTo>
                    <a:pt x="13274" y="3792"/>
                  </a:lnTo>
                  <a:lnTo>
                    <a:pt x="13273" y="3801"/>
                  </a:lnTo>
                  <a:lnTo>
                    <a:pt x="13269" y="3808"/>
                  </a:lnTo>
                  <a:lnTo>
                    <a:pt x="13263" y="3811"/>
                  </a:lnTo>
                  <a:lnTo>
                    <a:pt x="13255" y="3813"/>
                  </a:lnTo>
                  <a:lnTo>
                    <a:pt x="13247" y="3811"/>
                  </a:lnTo>
                  <a:lnTo>
                    <a:pt x="13241" y="3808"/>
                  </a:lnTo>
                  <a:lnTo>
                    <a:pt x="13237" y="3801"/>
                  </a:lnTo>
                  <a:lnTo>
                    <a:pt x="13234" y="3792"/>
                  </a:lnTo>
                  <a:lnTo>
                    <a:pt x="13234" y="3681"/>
                  </a:lnTo>
                  <a:lnTo>
                    <a:pt x="13237" y="3672"/>
                  </a:lnTo>
                  <a:lnTo>
                    <a:pt x="13241" y="3666"/>
                  </a:lnTo>
                  <a:lnTo>
                    <a:pt x="13247" y="3662"/>
                  </a:lnTo>
                  <a:lnTo>
                    <a:pt x="13255" y="3661"/>
                  </a:lnTo>
                  <a:lnTo>
                    <a:pt x="13263" y="3662"/>
                  </a:lnTo>
                  <a:lnTo>
                    <a:pt x="13269" y="3666"/>
                  </a:lnTo>
                  <a:lnTo>
                    <a:pt x="13273" y="3672"/>
                  </a:lnTo>
                  <a:lnTo>
                    <a:pt x="13274" y="3681"/>
                  </a:lnTo>
                  <a:close/>
                  <a:moveTo>
                    <a:pt x="13011" y="3681"/>
                  </a:moveTo>
                  <a:lnTo>
                    <a:pt x="13011" y="3792"/>
                  </a:lnTo>
                  <a:lnTo>
                    <a:pt x="13010" y="3801"/>
                  </a:lnTo>
                  <a:lnTo>
                    <a:pt x="13005" y="3808"/>
                  </a:lnTo>
                  <a:lnTo>
                    <a:pt x="12998" y="3811"/>
                  </a:lnTo>
                  <a:lnTo>
                    <a:pt x="12992" y="3813"/>
                  </a:lnTo>
                  <a:lnTo>
                    <a:pt x="12984" y="3811"/>
                  </a:lnTo>
                  <a:lnTo>
                    <a:pt x="12978" y="3808"/>
                  </a:lnTo>
                  <a:lnTo>
                    <a:pt x="12973" y="3801"/>
                  </a:lnTo>
                  <a:lnTo>
                    <a:pt x="12972" y="3792"/>
                  </a:lnTo>
                  <a:lnTo>
                    <a:pt x="12972" y="3681"/>
                  </a:lnTo>
                  <a:lnTo>
                    <a:pt x="12973" y="3672"/>
                  </a:lnTo>
                  <a:lnTo>
                    <a:pt x="12978" y="3666"/>
                  </a:lnTo>
                  <a:lnTo>
                    <a:pt x="12984" y="3662"/>
                  </a:lnTo>
                  <a:lnTo>
                    <a:pt x="12992" y="3661"/>
                  </a:lnTo>
                  <a:lnTo>
                    <a:pt x="12998" y="3662"/>
                  </a:lnTo>
                  <a:lnTo>
                    <a:pt x="13005" y="3666"/>
                  </a:lnTo>
                  <a:lnTo>
                    <a:pt x="13010" y="3672"/>
                  </a:lnTo>
                  <a:lnTo>
                    <a:pt x="13011" y="3681"/>
                  </a:lnTo>
                  <a:close/>
                  <a:moveTo>
                    <a:pt x="12748" y="3681"/>
                  </a:moveTo>
                  <a:lnTo>
                    <a:pt x="12748" y="3792"/>
                  </a:lnTo>
                  <a:lnTo>
                    <a:pt x="12747" y="3801"/>
                  </a:lnTo>
                  <a:lnTo>
                    <a:pt x="12742" y="3808"/>
                  </a:lnTo>
                  <a:lnTo>
                    <a:pt x="12736" y="3811"/>
                  </a:lnTo>
                  <a:lnTo>
                    <a:pt x="12729" y="3813"/>
                  </a:lnTo>
                  <a:lnTo>
                    <a:pt x="12721" y="3811"/>
                  </a:lnTo>
                  <a:lnTo>
                    <a:pt x="12715" y="3808"/>
                  </a:lnTo>
                  <a:lnTo>
                    <a:pt x="12710" y="3801"/>
                  </a:lnTo>
                  <a:lnTo>
                    <a:pt x="12709" y="3792"/>
                  </a:lnTo>
                  <a:lnTo>
                    <a:pt x="12709" y="3681"/>
                  </a:lnTo>
                  <a:lnTo>
                    <a:pt x="12710" y="3672"/>
                  </a:lnTo>
                  <a:lnTo>
                    <a:pt x="12715" y="3666"/>
                  </a:lnTo>
                  <a:lnTo>
                    <a:pt x="12721" y="3662"/>
                  </a:lnTo>
                  <a:lnTo>
                    <a:pt x="12729" y="3661"/>
                  </a:lnTo>
                  <a:lnTo>
                    <a:pt x="12736" y="3662"/>
                  </a:lnTo>
                  <a:lnTo>
                    <a:pt x="12742" y="3666"/>
                  </a:lnTo>
                  <a:lnTo>
                    <a:pt x="12747" y="3672"/>
                  </a:lnTo>
                  <a:lnTo>
                    <a:pt x="12748" y="3681"/>
                  </a:lnTo>
                  <a:close/>
                  <a:moveTo>
                    <a:pt x="13538" y="3436"/>
                  </a:moveTo>
                  <a:lnTo>
                    <a:pt x="13538" y="3547"/>
                  </a:lnTo>
                  <a:lnTo>
                    <a:pt x="13536" y="3556"/>
                  </a:lnTo>
                  <a:lnTo>
                    <a:pt x="13532" y="3562"/>
                  </a:lnTo>
                  <a:lnTo>
                    <a:pt x="13525" y="3566"/>
                  </a:lnTo>
                  <a:lnTo>
                    <a:pt x="13518" y="3567"/>
                  </a:lnTo>
                  <a:lnTo>
                    <a:pt x="13510" y="3566"/>
                  </a:lnTo>
                  <a:lnTo>
                    <a:pt x="13504" y="3562"/>
                  </a:lnTo>
                  <a:lnTo>
                    <a:pt x="13500" y="3556"/>
                  </a:lnTo>
                  <a:lnTo>
                    <a:pt x="13497" y="3547"/>
                  </a:lnTo>
                  <a:lnTo>
                    <a:pt x="13497" y="3436"/>
                  </a:lnTo>
                  <a:lnTo>
                    <a:pt x="13500" y="3427"/>
                  </a:lnTo>
                  <a:lnTo>
                    <a:pt x="13504" y="3420"/>
                  </a:lnTo>
                  <a:lnTo>
                    <a:pt x="13510" y="3416"/>
                  </a:lnTo>
                  <a:lnTo>
                    <a:pt x="13518" y="3415"/>
                  </a:lnTo>
                  <a:lnTo>
                    <a:pt x="13525" y="3416"/>
                  </a:lnTo>
                  <a:lnTo>
                    <a:pt x="13532" y="3420"/>
                  </a:lnTo>
                  <a:lnTo>
                    <a:pt x="13536" y="3427"/>
                  </a:lnTo>
                  <a:lnTo>
                    <a:pt x="13538" y="3436"/>
                  </a:lnTo>
                  <a:close/>
                  <a:moveTo>
                    <a:pt x="13274" y="3436"/>
                  </a:moveTo>
                  <a:lnTo>
                    <a:pt x="13274" y="3547"/>
                  </a:lnTo>
                  <a:lnTo>
                    <a:pt x="13273" y="3556"/>
                  </a:lnTo>
                  <a:lnTo>
                    <a:pt x="13269" y="3562"/>
                  </a:lnTo>
                  <a:lnTo>
                    <a:pt x="13263" y="3566"/>
                  </a:lnTo>
                  <a:lnTo>
                    <a:pt x="13255" y="3567"/>
                  </a:lnTo>
                  <a:lnTo>
                    <a:pt x="13247" y="3566"/>
                  </a:lnTo>
                  <a:lnTo>
                    <a:pt x="13241" y="3562"/>
                  </a:lnTo>
                  <a:lnTo>
                    <a:pt x="13237" y="3556"/>
                  </a:lnTo>
                  <a:lnTo>
                    <a:pt x="13234" y="3547"/>
                  </a:lnTo>
                  <a:lnTo>
                    <a:pt x="13234" y="3436"/>
                  </a:lnTo>
                  <a:lnTo>
                    <a:pt x="13237" y="3427"/>
                  </a:lnTo>
                  <a:lnTo>
                    <a:pt x="13241" y="3420"/>
                  </a:lnTo>
                  <a:lnTo>
                    <a:pt x="13247" y="3416"/>
                  </a:lnTo>
                  <a:lnTo>
                    <a:pt x="13255" y="3415"/>
                  </a:lnTo>
                  <a:lnTo>
                    <a:pt x="13263" y="3416"/>
                  </a:lnTo>
                  <a:lnTo>
                    <a:pt x="13269" y="3420"/>
                  </a:lnTo>
                  <a:lnTo>
                    <a:pt x="13273" y="3427"/>
                  </a:lnTo>
                  <a:lnTo>
                    <a:pt x="13274" y="3436"/>
                  </a:lnTo>
                  <a:close/>
                  <a:moveTo>
                    <a:pt x="13011" y="3436"/>
                  </a:moveTo>
                  <a:lnTo>
                    <a:pt x="13011" y="3547"/>
                  </a:lnTo>
                  <a:lnTo>
                    <a:pt x="13010" y="3556"/>
                  </a:lnTo>
                  <a:lnTo>
                    <a:pt x="13005" y="3562"/>
                  </a:lnTo>
                  <a:lnTo>
                    <a:pt x="12998" y="3566"/>
                  </a:lnTo>
                  <a:lnTo>
                    <a:pt x="12992" y="3567"/>
                  </a:lnTo>
                  <a:lnTo>
                    <a:pt x="12984" y="3566"/>
                  </a:lnTo>
                  <a:lnTo>
                    <a:pt x="12978" y="3562"/>
                  </a:lnTo>
                  <a:lnTo>
                    <a:pt x="12973" y="3556"/>
                  </a:lnTo>
                  <a:lnTo>
                    <a:pt x="12972" y="3547"/>
                  </a:lnTo>
                  <a:lnTo>
                    <a:pt x="12972" y="3436"/>
                  </a:lnTo>
                  <a:lnTo>
                    <a:pt x="12973" y="3427"/>
                  </a:lnTo>
                  <a:lnTo>
                    <a:pt x="12978" y="3420"/>
                  </a:lnTo>
                  <a:lnTo>
                    <a:pt x="12984" y="3416"/>
                  </a:lnTo>
                  <a:lnTo>
                    <a:pt x="12992" y="3415"/>
                  </a:lnTo>
                  <a:lnTo>
                    <a:pt x="12998" y="3416"/>
                  </a:lnTo>
                  <a:lnTo>
                    <a:pt x="13005" y="3420"/>
                  </a:lnTo>
                  <a:lnTo>
                    <a:pt x="13010" y="3427"/>
                  </a:lnTo>
                  <a:lnTo>
                    <a:pt x="13011" y="3436"/>
                  </a:lnTo>
                  <a:close/>
                  <a:moveTo>
                    <a:pt x="12748" y="3436"/>
                  </a:moveTo>
                  <a:lnTo>
                    <a:pt x="12748" y="3547"/>
                  </a:lnTo>
                  <a:lnTo>
                    <a:pt x="12747" y="3556"/>
                  </a:lnTo>
                  <a:lnTo>
                    <a:pt x="12742" y="3562"/>
                  </a:lnTo>
                  <a:lnTo>
                    <a:pt x="12736" y="3566"/>
                  </a:lnTo>
                  <a:lnTo>
                    <a:pt x="12729" y="3567"/>
                  </a:lnTo>
                  <a:lnTo>
                    <a:pt x="12721" y="3566"/>
                  </a:lnTo>
                  <a:lnTo>
                    <a:pt x="12715" y="3562"/>
                  </a:lnTo>
                  <a:lnTo>
                    <a:pt x="12710" y="3556"/>
                  </a:lnTo>
                  <a:lnTo>
                    <a:pt x="12709" y="3547"/>
                  </a:lnTo>
                  <a:lnTo>
                    <a:pt x="12709" y="3436"/>
                  </a:lnTo>
                  <a:lnTo>
                    <a:pt x="12710" y="3427"/>
                  </a:lnTo>
                  <a:lnTo>
                    <a:pt x="12715" y="3420"/>
                  </a:lnTo>
                  <a:lnTo>
                    <a:pt x="12721" y="3416"/>
                  </a:lnTo>
                  <a:lnTo>
                    <a:pt x="12729" y="3415"/>
                  </a:lnTo>
                  <a:lnTo>
                    <a:pt x="12736" y="3416"/>
                  </a:lnTo>
                  <a:lnTo>
                    <a:pt x="12742" y="3420"/>
                  </a:lnTo>
                  <a:lnTo>
                    <a:pt x="12747" y="3427"/>
                  </a:lnTo>
                  <a:lnTo>
                    <a:pt x="12748" y="3436"/>
                  </a:lnTo>
                  <a:close/>
                  <a:moveTo>
                    <a:pt x="12486" y="3436"/>
                  </a:moveTo>
                  <a:lnTo>
                    <a:pt x="12486" y="3547"/>
                  </a:lnTo>
                  <a:lnTo>
                    <a:pt x="12484" y="3556"/>
                  </a:lnTo>
                  <a:lnTo>
                    <a:pt x="12479" y="3562"/>
                  </a:lnTo>
                  <a:lnTo>
                    <a:pt x="12473" y="3566"/>
                  </a:lnTo>
                  <a:lnTo>
                    <a:pt x="12465" y="3567"/>
                  </a:lnTo>
                  <a:lnTo>
                    <a:pt x="12459" y="3566"/>
                  </a:lnTo>
                  <a:lnTo>
                    <a:pt x="12452" y="3562"/>
                  </a:lnTo>
                  <a:lnTo>
                    <a:pt x="12447" y="3556"/>
                  </a:lnTo>
                  <a:lnTo>
                    <a:pt x="12446" y="3547"/>
                  </a:lnTo>
                  <a:lnTo>
                    <a:pt x="12446" y="3436"/>
                  </a:lnTo>
                  <a:lnTo>
                    <a:pt x="12447" y="3427"/>
                  </a:lnTo>
                  <a:lnTo>
                    <a:pt x="12452" y="3420"/>
                  </a:lnTo>
                  <a:lnTo>
                    <a:pt x="12459" y="3416"/>
                  </a:lnTo>
                  <a:lnTo>
                    <a:pt x="12465" y="3415"/>
                  </a:lnTo>
                  <a:lnTo>
                    <a:pt x="12473" y="3416"/>
                  </a:lnTo>
                  <a:lnTo>
                    <a:pt x="12479" y="3420"/>
                  </a:lnTo>
                  <a:lnTo>
                    <a:pt x="12484" y="3427"/>
                  </a:lnTo>
                  <a:lnTo>
                    <a:pt x="12486" y="3436"/>
                  </a:lnTo>
                  <a:close/>
                  <a:moveTo>
                    <a:pt x="10933" y="2423"/>
                  </a:moveTo>
                  <a:lnTo>
                    <a:pt x="10933" y="2535"/>
                  </a:lnTo>
                  <a:lnTo>
                    <a:pt x="10931" y="2543"/>
                  </a:lnTo>
                  <a:lnTo>
                    <a:pt x="10926" y="2549"/>
                  </a:lnTo>
                  <a:lnTo>
                    <a:pt x="10920" y="2553"/>
                  </a:lnTo>
                  <a:lnTo>
                    <a:pt x="10912" y="2555"/>
                  </a:lnTo>
                  <a:lnTo>
                    <a:pt x="10906" y="2553"/>
                  </a:lnTo>
                  <a:lnTo>
                    <a:pt x="10899" y="2549"/>
                  </a:lnTo>
                  <a:lnTo>
                    <a:pt x="10894" y="2543"/>
                  </a:lnTo>
                  <a:lnTo>
                    <a:pt x="10893" y="2535"/>
                  </a:lnTo>
                  <a:lnTo>
                    <a:pt x="10893" y="2423"/>
                  </a:lnTo>
                  <a:lnTo>
                    <a:pt x="10894" y="2414"/>
                  </a:lnTo>
                  <a:lnTo>
                    <a:pt x="10899" y="2407"/>
                  </a:lnTo>
                  <a:lnTo>
                    <a:pt x="10906" y="2404"/>
                  </a:lnTo>
                  <a:lnTo>
                    <a:pt x="10912" y="2402"/>
                  </a:lnTo>
                  <a:lnTo>
                    <a:pt x="10920" y="2404"/>
                  </a:lnTo>
                  <a:lnTo>
                    <a:pt x="10926" y="2407"/>
                  </a:lnTo>
                  <a:lnTo>
                    <a:pt x="10931" y="2414"/>
                  </a:lnTo>
                  <a:lnTo>
                    <a:pt x="10933" y="2423"/>
                  </a:lnTo>
                  <a:close/>
                  <a:moveTo>
                    <a:pt x="10670" y="2423"/>
                  </a:moveTo>
                  <a:lnTo>
                    <a:pt x="10670" y="2535"/>
                  </a:lnTo>
                  <a:lnTo>
                    <a:pt x="10669" y="2543"/>
                  </a:lnTo>
                  <a:lnTo>
                    <a:pt x="10663" y="2549"/>
                  </a:lnTo>
                  <a:lnTo>
                    <a:pt x="10657" y="2553"/>
                  </a:lnTo>
                  <a:lnTo>
                    <a:pt x="10649" y="2555"/>
                  </a:lnTo>
                  <a:lnTo>
                    <a:pt x="10643" y="2553"/>
                  </a:lnTo>
                  <a:lnTo>
                    <a:pt x="10637" y="2549"/>
                  </a:lnTo>
                  <a:lnTo>
                    <a:pt x="10631" y="2543"/>
                  </a:lnTo>
                  <a:lnTo>
                    <a:pt x="10630" y="2535"/>
                  </a:lnTo>
                  <a:lnTo>
                    <a:pt x="10630" y="2423"/>
                  </a:lnTo>
                  <a:lnTo>
                    <a:pt x="10631" y="2414"/>
                  </a:lnTo>
                  <a:lnTo>
                    <a:pt x="10637" y="2407"/>
                  </a:lnTo>
                  <a:lnTo>
                    <a:pt x="10643" y="2404"/>
                  </a:lnTo>
                  <a:lnTo>
                    <a:pt x="10649" y="2402"/>
                  </a:lnTo>
                  <a:lnTo>
                    <a:pt x="10657" y="2404"/>
                  </a:lnTo>
                  <a:lnTo>
                    <a:pt x="10663" y="2407"/>
                  </a:lnTo>
                  <a:lnTo>
                    <a:pt x="10669" y="2414"/>
                  </a:lnTo>
                  <a:lnTo>
                    <a:pt x="10670" y="2423"/>
                  </a:lnTo>
                  <a:close/>
                  <a:moveTo>
                    <a:pt x="10407" y="2423"/>
                  </a:moveTo>
                  <a:lnTo>
                    <a:pt x="10407" y="2535"/>
                  </a:lnTo>
                  <a:lnTo>
                    <a:pt x="10404" y="2543"/>
                  </a:lnTo>
                  <a:lnTo>
                    <a:pt x="10401" y="2549"/>
                  </a:lnTo>
                  <a:lnTo>
                    <a:pt x="10394" y="2553"/>
                  </a:lnTo>
                  <a:lnTo>
                    <a:pt x="10386" y="2555"/>
                  </a:lnTo>
                  <a:lnTo>
                    <a:pt x="10379" y="2553"/>
                  </a:lnTo>
                  <a:lnTo>
                    <a:pt x="10372" y="2549"/>
                  </a:lnTo>
                  <a:lnTo>
                    <a:pt x="10369" y="2543"/>
                  </a:lnTo>
                  <a:lnTo>
                    <a:pt x="10366" y="2535"/>
                  </a:lnTo>
                  <a:lnTo>
                    <a:pt x="10366" y="2423"/>
                  </a:lnTo>
                  <a:lnTo>
                    <a:pt x="10369" y="2414"/>
                  </a:lnTo>
                  <a:lnTo>
                    <a:pt x="10372" y="2407"/>
                  </a:lnTo>
                  <a:lnTo>
                    <a:pt x="10379" y="2404"/>
                  </a:lnTo>
                  <a:lnTo>
                    <a:pt x="10386" y="2402"/>
                  </a:lnTo>
                  <a:lnTo>
                    <a:pt x="10394" y="2404"/>
                  </a:lnTo>
                  <a:lnTo>
                    <a:pt x="10401" y="2407"/>
                  </a:lnTo>
                  <a:lnTo>
                    <a:pt x="10404" y="2414"/>
                  </a:lnTo>
                  <a:lnTo>
                    <a:pt x="10407" y="2423"/>
                  </a:lnTo>
                  <a:close/>
                  <a:moveTo>
                    <a:pt x="10143" y="2423"/>
                  </a:moveTo>
                  <a:lnTo>
                    <a:pt x="10143" y="2535"/>
                  </a:lnTo>
                  <a:lnTo>
                    <a:pt x="10142" y="2543"/>
                  </a:lnTo>
                  <a:lnTo>
                    <a:pt x="10138" y="2549"/>
                  </a:lnTo>
                  <a:lnTo>
                    <a:pt x="10131" y="2553"/>
                  </a:lnTo>
                  <a:lnTo>
                    <a:pt x="10124" y="2555"/>
                  </a:lnTo>
                  <a:lnTo>
                    <a:pt x="10116" y="2553"/>
                  </a:lnTo>
                  <a:lnTo>
                    <a:pt x="10109" y="2549"/>
                  </a:lnTo>
                  <a:lnTo>
                    <a:pt x="10106" y="2543"/>
                  </a:lnTo>
                  <a:lnTo>
                    <a:pt x="10103" y="2535"/>
                  </a:lnTo>
                  <a:lnTo>
                    <a:pt x="10103" y="2423"/>
                  </a:lnTo>
                  <a:lnTo>
                    <a:pt x="10106" y="2414"/>
                  </a:lnTo>
                  <a:lnTo>
                    <a:pt x="10109" y="2407"/>
                  </a:lnTo>
                  <a:lnTo>
                    <a:pt x="10116" y="2404"/>
                  </a:lnTo>
                  <a:lnTo>
                    <a:pt x="10124" y="2402"/>
                  </a:lnTo>
                  <a:lnTo>
                    <a:pt x="10131" y="2404"/>
                  </a:lnTo>
                  <a:lnTo>
                    <a:pt x="10138" y="2407"/>
                  </a:lnTo>
                  <a:lnTo>
                    <a:pt x="10142" y="2414"/>
                  </a:lnTo>
                  <a:lnTo>
                    <a:pt x="10143" y="2423"/>
                  </a:lnTo>
                  <a:close/>
                  <a:moveTo>
                    <a:pt x="9880" y="2423"/>
                  </a:moveTo>
                  <a:lnTo>
                    <a:pt x="9880" y="2535"/>
                  </a:lnTo>
                  <a:lnTo>
                    <a:pt x="9879" y="2543"/>
                  </a:lnTo>
                  <a:lnTo>
                    <a:pt x="9874" y="2549"/>
                  </a:lnTo>
                  <a:lnTo>
                    <a:pt x="9867" y="2553"/>
                  </a:lnTo>
                  <a:lnTo>
                    <a:pt x="9861" y="2555"/>
                  </a:lnTo>
                  <a:lnTo>
                    <a:pt x="9853" y="2553"/>
                  </a:lnTo>
                  <a:lnTo>
                    <a:pt x="9847" y="2549"/>
                  </a:lnTo>
                  <a:lnTo>
                    <a:pt x="9841" y="2543"/>
                  </a:lnTo>
                  <a:lnTo>
                    <a:pt x="9840" y="2535"/>
                  </a:lnTo>
                  <a:lnTo>
                    <a:pt x="9840" y="2423"/>
                  </a:lnTo>
                  <a:lnTo>
                    <a:pt x="9841" y="2414"/>
                  </a:lnTo>
                  <a:lnTo>
                    <a:pt x="9847" y="2407"/>
                  </a:lnTo>
                  <a:lnTo>
                    <a:pt x="9853" y="2404"/>
                  </a:lnTo>
                  <a:lnTo>
                    <a:pt x="9861" y="2402"/>
                  </a:lnTo>
                  <a:lnTo>
                    <a:pt x="9867" y="2404"/>
                  </a:lnTo>
                  <a:lnTo>
                    <a:pt x="9874" y="2407"/>
                  </a:lnTo>
                  <a:lnTo>
                    <a:pt x="9879" y="2414"/>
                  </a:lnTo>
                  <a:lnTo>
                    <a:pt x="9880" y="2423"/>
                  </a:lnTo>
                  <a:close/>
                  <a:moveTo>
                    <a:pt x="9617" y="2423"/>
                  </a:moveTo>
                  <a:lnTo>
                    <a:pt x="9617" y="2535"/>
                  </a:lnTo>
                  <a:lnTo>
                    <a:pt x="9616" y="2543"/>
                  </a:lnTo>
                  <a:lnTo>
                    <a:pt x="9611" y="2549"/>
                  </a:lnTo>
                  <a:lnTo>
                    <a:pt x="9604" y="2553"/>
                  </a:lnTo>
                  <a:lnTo>
                    <a:pt x="9598" y="2555"/>
                  </a:lnTo>
                  <a:lnTo>
                    <a:pt x="9590" y="2553"/>
                  </a:lnTo>
                  <a:lnTo>
                    <a:pt x="9584" y="2549"/>
                  </a:lnTo>
                  <a:lnTo>
                    <a:pt x="9579" y="2543"/>
                  </a:lnTo>
                  <a:lnTo>
                    <a:pt x="9577" y="2535"/>
                  </a:lnTo>
                  <a:lnTo>
                    <a:pt x="9577" y="2423"/>
                  </a:lnTo>
                  <a:lnTo>
                    <a:pt x="9579" y="2414"/>
                  </a:lnTo>
                  <a:lnTo>
                    <a:pt x="9584" y="2407"/>
                  </a:lnTo>
                  <a:lnTo>
                    <a:pt x="9590" y="2404"/>
                  </a:lnTo>
                  <a:lnTo>
                    <a:pt x="9598" y="2402"/>
                  </a:lnTo>
                  <a:lnTo>
                    <a:pt x="9604" y="2404"/>
                  </a:lnTo>
                  <a:lnTo>
                    <a:pt x="9611" y="2407"/>
                  </a:lnTo>
                  <a:lnTo>
                    <a:pt x="9616" y="2414"/>
                  </a:lnTo>
                  <a:lnTo>
                    <a:pt x="9617" y="2423"/>
                  </a:lnTo>
                  <a:close/>
                  <a:moveTo>
                    <a:pt x="16589" y="796"/>
                  </a:moveTo>
                  <a:lnTo>
                    <a:pt x="16589" y="847"/>
                  </a:lnTo>
                  <a:lnTo>
                    <a:pt x="16588" y="859"/>
                  </a:lnTo>
                  <a:lnTo>
                    <a:pt x="16584" y="869"/>
                  </a:lnTo>
                  <a:lnTo>
                    <a:pt x="16576" y="878"/>
                  </a:lnTo>
                  <a:lnTo>
                    <a:pt x="16566" y="883"/>
                  </a:lnTo>
                  <a:lnTo>
                    <a:pt x="16556" y="890"/>
                  </a:lnTo>
                  <a:lnTo>
                    <a:pt x="16547" y="896"/>
                  </a:lnTo>
                  <a:lnTo>
                    <a:pt x="16534" y="913"/>
                  </a:lnTo>
                  <a:lnTo>
                    <a:pt x="16529" y="923"/>
                  </a:lnTo>
                  <a:lnTo>
                    <a:pt x="16526" y="934"/>
                  </a:lnTo>
                  <a:lnTo>
                    <a:pt x="16526" y="956"/>
                  </a:lnTo>
                  <a:lnTo>
                    <a:pt x="16530" y="968"/>
                  </a:lnTo>
                  <a:lnTo>
                    <a:pt x="16535" y="978"/>
                  </a:lnTo>
                  <a:lnTo>
                    <a:pt x="16541" y="987"/>
                  </a:lnTo>
                  <a:lnTo>
                    <a:pt x="16549" y="996"/>
                  </a:lnTo>
                  <a:lnTo>
                    <a:pt x="16568" y="1006"/>
                  </a:lnTo>
                  <a:lnTo>
                    <a:pt x="16591" y="1011"/>
                  </a:lnTo>
                  <a:lnTo>
                    <a:pt x="16604" y="1009"/>
                  </a:lnTo>
                  <a:lnTo>
                    <a:pt x="16617" y="1005"/>
                  </a:lnTo>
                  <a:lnTo>
                    <a:pt x="16629" y="1000"/>
                  </a:lnTo>
                  <a:lnTo>
                    <a:pt x="16638" y="991"/>
                  </a:lnTo>
                  <a:lnTo>
                    <a:pt x="16647" y="982"/>
                  </a:lnTo>
                  <a:lnTo>
                    <a:pt x="16652" y="970"/>
                  </a:lnTo>
                  <a:lnTo>
                    <a:pt x="16656" y="957"/>
                  </a:lnTo>
                  <a:lnTo>
                    <a:pt x="16657" y="945"/>
                  </a:lnTo>
                  <a:lnTo>
                    <a:pt x="16659" y="936"/>
                  </a:lnTo>
                  <a:lnTo>
                    <a:pt x="16663" y="929"/>
                  </a:lnTo>
                  <a:lnTo>
                    <a:pt x="16670" y="925"/>
                  </a:lnTo>
                  <a:lnTo>
                    <a:pt x="16677" y="924"/>
                  </a:lnTo>
                  <a:lnTo>
                    <a:pt x="16685" y="925"/>
                  </a:lnTo>
                  <a:lnTo>
                    <a:pt x="16691" y="929"/>
                  </a:lnTo>
                  <a:lnTo>
                    <a:pt x="16695" y="936"/>
                  </a:lnTo>
                  <a:lnTo>
                    <a:pt x="16698" y="945"/>
                  </a:lnTo>
                  <a:lnTo>
                    <a:pt x="16695" y="966"/>
                  </a:lnTo>
                  <a:lnTo>
                    <a:pt x="16689" y="986"/>
                  </a:lnTo>
                  <a:lnTo>
                    <a:pt x="16679" y="1003"/>
                  </a:lnTo>
                  <a:lnTo>
                    <a:pt x="16666" y="1020"/>
                  </a:lnTo>
                  <a:lnTo>
                    <a:pt x="16650" y="1033"/>
                  </a:lnTo>
                  <a:lnTo>
                    <a:pt x="16632" y="1042"/>
                  </a:lnTo>
                  <a:lnTo>
                    <a:pt x="16612" y="1048"/>
                  </a:lnTo>
                  <a:lnTo>
                    <a:pt x="16591" y="1051"/>
                  </a:lnTo>
                  <a:lnTo>
                    <a:pt x="16572" y="1048"/>
                  </a:lnTo>
                  <a:lnTo>
                    <a:pt x="16556" y="1044"/>
                  </a:lnTo>
                  <a:lnTo>
                    <a:pt x="16539" y="1037"/>
                  </a:lnTo>
                  <a:lnTo>
                    <a:pt x="16523" y="1025"/>
                  </a:lnTo>
                  <a:lnTo>
                    <a:pt x="16511" y="1014"/>
                  </a:lnTo>
                  <a:lnTo>
                    <a:pt x="16500" y="998"/>
                  </a:lnTo>
                  <a:lnTo>
                    <a:pt x="16495" y="991"/>
                  </a:lnTo>
                  <a:lnTo>
                    <a:pt x="16491" y="982"/>
                  </a:lnTo>
                  <a:lnTo>
                    <a:pt x="16488" y="964"/>
                  </a:lnTo>
                  <a:lnTo>
                    <a:pt x="16485" y="945"/>
                  </a:lnTo>
                  <a:lnTo>
                    <a:pt x="16486" y="928"/>
                  </a:lnTo>
                  <a:lnTo>
                    <a:pt x="16490" y="910"/>
                  </a:lnTo>
                  <a:lnTo>
                    <a:pt x="16498" y="895"/>
                  </a:lnTo>
                  <a:lnTo>
                    <a:pt x="16507" y="879"/>
                  </a:lnTo>
                  <a:lnTo>
                    <a:pt x="16518" y="867"/>
                  </a:lnTo>
                  <a:lnTo>
                    <a:pt x="16532" y="856"/>
                  </a:lnTo>
                  <a:lnTo>
                    <a:pt x="16549" y="847"/>
                  </a:lnTo>
                  <a:lnTo>
                    <a:pt x="16549" y="796"/>
                  </a:lnTo>
                  <a:lnTo>
                    <a:pt x="16550" y="787"/>
                  </a:lnTo>
                  <a:lnTo>
                    <a:pt x="16556" y="782"/>
                  </a:lnTo>
                  <a:lnTo>
                    <a:pt x="16562" y="778"/>
                  </a:lnTo>
                  <a:lnTo>
                    <a:pt x="16568" y="777"/>
                  </a:lnTo>
                  <a:lnTo>
                    <a:pt x="16576" y="778"/>
                  </a:lnTo>
                  <a:lnTo>
                    <a:pt x="16582" y="782"/>
                  </a:lnTo>
                  <a:lnTo>
                    <a:pt x="16588" y="787"/>
                  </a:lnTo>
                  <a:lnTo>
                    <a:pt x="16589" y="796"/>
                  </a:lnTo>
                  <a:close/>
                  <a:moveTo>
                    <a:pt x="17183" y="112"/>
                  </a:moveTo>
                  <a:lnTo>
                    <a:pt x="17100" y="225"/>
                  </a:lnTo>
                  <a:lnTo>
                    <a:pt x="17100" y="309"/>
                  </a:lnTo>
                  <a:lnTo>
                    <a:pt x="17183" y="309"/>
                  </a:lnTo>
                  <a:lnTo>
                    <a:pt x="17183" y="112"/>
                  </a:lnTo>
                  <a:close/>
                  <a:moveTo>
                    <a:pt x="17059" y="309"/>
                  </a:moveTo>
                  <a:lnTo>
                    <a:pt x="17059" y="218"/>
                  </a:lnTo>
                  <a:lnTo>
                    <a:pt x="17063" y="207"/>
                  </a:lnTo>
                  <a:lnTo>
                    <a:pt x="17175" y="55"/>
                  </a:lnTo>
                  <a:lnTo>
                    <a:pt x="16382" y="309"/>
                  </a:lnTo>
                  <a:lnTo>
                    <a:pt x="16906" y="309"/>
                  </a:lnTo>
                  <a:lnTo>
                    <a:pt x="17015" y="309"/>
                  </a:lnTo>
                  <a:lnTo>
                    <a:pt x="17059" y="309"/>
                  </a:lnTo>
                  <a:close/>
                  <a:moveTo>
                    <a:pt x="17222" y="309"/>
                  </a:moveTo>
                  <a:lnTo>
                    <a:pt x="17388" y="309"/>
                  </a:lnTo>
                  <a:lnTo>
                    <a:pt x="17222" y="80"/>
                  </a:lnTo>
                  <a:lnTo>
                    <a:pt x="17222" y="309"/>
                  </a:lnTo>
                  <a:close/>
                  <a:moveTo>
                    <a:pt x="17183" y="481"/>
                  </a:moveTo>
                  <a:lnTo>
                    <a:pt x="17015" y="481"/>
                  </a:lnTo>
                  <a:lnTo>
                    <a:pt x="17007" y="478"/>
                  </a:lnTo>
                  <a:lnTo>
                    <a:pt x="17000" y="474"/>
                  </a:lnTo>
                  <a:lnTo>
                    <a:pt x="16995" y="468"/>
                  </a:lnTo>
                  <a:lnTo>
                    <a:pt x="16994" y="460"/>
                  </a:lnTo>
                  <a:lnTo>
                    <a:pt x="16994" y="349"/>
                  </a:lnTo>
                  <a:lnTo>
                    <a:pt x="16926" y="349"/>
                  </a:lnTo>
                  <a:lnTo>
                    <a:pt x="16926" y="552"/>
                  </a:lnTo>
                  <a:lnTo>
                    <a:pt x="17067" y="552"/>
                  </a:lnTo>
                  <a:lnTo>
                    <a:pt x="17183" y="552"/>
                  </a:lnTo>
                  <a:lnTo>
                    <a:pt x="17183" y="481"/>
                  </a:lnTo>
                  <a:close/>
                  <a:moveTo>
                    <a:pt x="17222" y="349"/>
                  </a:moveTo>
                  <a:lnTo>
                    <a:pt x="17222" y="460"/>
                  </a:lnTo>
                  <a:lnTo>
                    <a:pt x="17222" y="573"/>
                  </a:lnTo>
                  <a:lnTo>
                    <a:pt x="17222" y="1413"/>
                  </a:lnTo>
                  <a:lnTo>
                    <a:pt x="17222" y="2253"/>
                  </a:lnTo>
                  <a:lnTo>
                    <a:pt x="17220" y="2262"/>
                  </a:lnTo>
                  <a:lnTo>
                    <a:pt x="17216" y="2268"/>
                  </a:lnTo>
                  <a:lnTo>
                    <a:pt x="17209" y="2272"/>
                  </a:lnTo>
                  <a:lnTo>
                    <a:pt x="17202" y="2273"/>
                  </a:lnTo>
                  <a:lnTo>
                    <a:pt x="17194" y="2272"/>
                  </a:lnTo>
                  <a:lnTo>
                    <a:pt x="17188" y="2268"/>
                  </a:lnTo>
                  <a:lnTo>
                    <a:pt x="17184" y="2262"/>
                  </a:lnTo>
                  <a:lnTo>
                    <a:pt x="17183" y="2253"/>
                  </a:lnTo>
                  <a:lnTo>
                    <a:pt x="17183" y="1422"/>
                  </a:lnTo>
                  <a:lnTo>
                    <a:pt x="17183" y="592"/>
                  </a:lnTo>
                  <a:lnTo>
                    <a:pt x="17088" y="592"/>
                  </a:lnTo>
                  <a:lnTo>
                    <a:pt x="17088" y="1422"/>
                  </a:lnTo>
                  <a:lnTo>
                    <a:pt x="17088" y="2253"/>
                  </a:lnTo>
                  <a:lnTo>
                    <a:pt x="17085" y="2262"/>
                  </a:lnTo>
                  <a:lnTo>
                    <a:pt x="17081" y="2268"/>
                  </a:lnTo>
                  <a:lnTo>
                    <a:pt x="17075" y="2272"/>
                  </a:lnTo>
                  <a:lnTo>
                    <a:pt x="17067" y="2273"/>
                  </a:lnTo>
                  <a:lnTo>
                    <a:pt x="17059" y="2272"/>
                  </a:lnTo>
                  <a:lnTo>
                    <a:pt x="17053" y="2268"/>
                  </a:lnTo>
                  <a:lnTo>
                    <a:pt x="17049" y="2262"/>
                  </a:lnTo>
                  <a:lnTo>
                    <a:pt x="17047" y="2253"/>
                  </a:lnTo>
                  <a:lnTo>
                    <a:pt x="17047" y="1422"/>
                  </a:lnTo>
                  <a:lnTo>
                    <a:pt x="17047" y="592"/>
                  </a:lnTo>
                  <a:lnTo>
                    <a:pt x="16906" y="592"/>
                  </a:lnTo>
                  <a:lnTo>
                    <a:pt x="16898" y="590"/>
                  </a:lnTo>
                  <a:lnTo>
                    <a:pt x="16891" y="587"/>
                  </a:lnTo>
                  <a:lnTo>
                    <a:pt x="16888" y="580"/>
                  </a:lnTo>
                  <a:lnTo>
                    <a:pt x="16886" y="573"/>
                  </a:lnTo>
                  <a:lnTo>
                    <a:pt x="16886" y="349"/>
                  </a:lnTo>
                  <a:lnTo>
                    <a:pt x="16584" y="349"/>
                  </a:lnTo>
                  <a:lnTo>
                    <a:pt x="16584" y="740"/>
                  </a:lnTo>
                  <a:lnTo>
                    <a:pt x="16581" y="749"/>
                  </a:lnTo>
                  <a:lnTo>
                    <a:pt x="16577" y="755"/>
                  </a:lnTo>
                  <a:lnTo>
                    <a:pt x="16571" y="759"/>
                  </a:lnTo>
                  <a:lnTo>
                    <a:pt x="16563" y="761"/>
                  </a:lnTo>
                  <a:lnTo>
                    <a:pt x="16556" y="759"/>
                  </a:lnTo>
                  <a:lnTo>
                    <a:pt x="16549" y="755"/>
                  </a:lnTo>
                  <a:lnTo>
                    <a:pt x="16545" y="749"/>
                  </a:lnTo>
                  <a:lnTo>
                    <a:pt x="16544" y="740"/>
                  </a:lnTo>
                  <a:lnTo>
                    <a:pt x="16544" y="349"/>
                  </a:lnTo>
                  <a:lnTo>
                    <a:pt x="16255" y="349"/>
                  </a:lnTo>
                  <a:lnTo>
                    <a:pt x="16246" y="348"/>
                  </a:lnTo>
                  <a:lnTo>
                    <a:pt x="16239" y="344"/>
                  </a:lnTo>
                  <a:lnTo>
                    <a:pt x="16235" y="339"/>
                  </a:lnTo>
                  <a:lnTo>
                    <a:pt x="16232" y="332"/>
                  </a:lnTo>
                  <a:lnTo>
                    <a:pt x="16232" y="326"/>
                  </a:lnTo>
                  <a:lnTo>
                    <a:pt x="16235" y="319"/>
                  </a:lnTo>
                  <a:lnTo>
                    <a:pt x="16241" y="314"/>
                  </a:lnTo>
                  <a:lnTo>
                    <a:pt x="16249" y="310"/>
                  </a:lnTo>
                  <a:lnTo>
                    <a:pt x="17184" y="9"/>
                  </a:lnTo>
                  <a:lnTo>
                    <a:pt x="17188" y="5"/>
                  </a:lnTo>
                  <a:lnTo>
                    <a:pt x="17192" y="2"/>
                  </a:lnTo>
                  <a:lnTo>
                    <a:pt x="17203" y="0"/>
                  </a:lnTo>
                  <a:lnTo>
                    <a:pt x="17213" y="2"/>
                  </a:lnTo>
                  <a:lnTo>
                    <a:pt x="17220" y="10"/>
                  </a:lnTo>
                  <a:lnTo>
                    <a:pt x="17443" y="317"/>
                  </a:lnTo>
                  <a:lnTo>
                    <a:pt x="17447" y="323"/>
                  </a:lnTo>
                  <a:lnTo>
                    <a:pt x="17449" y="328"/>
                  </a:lnTo>
                  <a:lnTo>
                    <a:pt x="17447" y="339"/>
                  </a:lnTo>
                  <a:lnTo>
                    <a:pt x="17440" y="346"/>
                  </a:lnTo>
                  <a:lnTo>
                    <a:pt x="17427" y="349"/>
                  </a:lnTo>
                  <a:lnTo>
                    <a:pt x="17222" y="349"/>
                  </a:lnTo>
                  <a:close/>
                  <a:moveTo>
                    <a:pt x="17183" y="349"/>
                  </a:moveTo>
                  <a:lnTo>
                    <a:pt x="17034" y="349"/>
                  </a:lnTo>
                  <a:lnTo>
                    <a:pt x="17034" y="440"/>
                  </a:lnTo>
                  <a:lnTo>
                    <a:pt x="17183" y="440"/>
                  </a:lnTo>
                  <a:lnTo>
                    <a:pt x="17183" y="349"/>
                  </a:lnTo>
                  <a:close/>
                  <a:moveTo>
                    <a:pt x="15662" y="1363"/>
                  </a:moveTo>
                  <a:lnTo>
                    <a:pt x="15676" y="1370"/>
                  </a:lnTo>
                  <a:lnTo>
                    <a:pt x="15687" y="1379"/>
                  </a:lnTo>
                  <a:lnTo>
                    <a:pt x="15696" y="1391"/>
                  </a:lnTo>
                  <a:lnTo>
                    <a:pt x="15704" y="1404"/>
                  </a:lnTo>
                  <a:lnTo>
                    <a:pt x="15709" y="1417"/>
                  </a:lnTo>
                  <a:lnTo>
                    <a:pt x="15713" y="1431"/>
                  </a:lnTo>
                  <a:lnTo>
                    <a:pt x="15713" y="1461"/>
                  </a:lnTo>
                  <a:lnTo>
                    <a:pt x="15709" y="1477"/>
                  </a:lnTo>
                  <a:lnTo>
                    <a:pt x="15702" y="1491"/>
                  </a:lnTo>
                  <a:lnTo>
                    <a:pt x="15693" y="1503"/>
                  </a:lnTo>
                  <a:lnTo>
                    <a:pt x="15681" y="1515"/>
                  </a:lnTo>
                  <a:lnTo>
                    <a:pt x="15668" y="1524"/>
                  </a:lnTo>
                  <a:lnTo>
                    <a:pt x="15654" y="1530"/>
                  </a:lnTo>
                  <a:lnTo>
                    <a:pt x="15640" y="1534"/>
                  </a:lnTo>
                  <a:lnTo>
                    <a:pt x="15623" y="1535"/>
                  </a:lnTo>
                  <a:lnTo>
                    <a:pt x="15605" y="1534"/>
                  </a:lnTo>
                  <a:lnTo>
                    <a:pt x="15589" y="1529"/>
                  </a:lnTo>
                  <a:lnTo>
                    <a:pt x="15573" y="1520"/>
                  </a:lnTo>
                  <a:lnTo>
                    <a:pt x="15559" y="1509"/>
                  </a:lnTo>
                  <a:lnTo>
                    <a:pt x="15549" y="1496"/>
                  </a:lnTo>
                  <a:lnTo>
                    <a:pt x="15540" y="1480"/>
                  </a:lnTo>
                  <a:lnTo>
                    <a:pt x="15535" y="1464"/>
                  </a:lnTo>
                  <a:lnTo>
                    <a:pt x="15532" y="1445"/>
                  </a:lnTo>
                  <a:lnTo>
                    <a:pt x="15535" y="1437"/>
                  </a:lnTo>
                  <a:lnTo>
                    <a:pt x="15539" y="1431"/>
                  </a:lnTo>
                  <a:lnTo>
                    <a:pt x="15545" y="1427"/>
                  </a:lnTo>
                  <a:lnTo>
                    <a:pt x="15553" y="1425"/>
                  </a:lnTo>
                  <a:lnTo>
                    <a:pt x="15560" y="1427"/>
                  </a:lnTo>
                  <a:lnTo>
                    <a:pt x="15567" y="1431"/>
                  </a:lnTo>
                  <a:lnTo>
                    <a:pt x="15571" y="1437"/>
                  </a:lnTo>
                  <a:lnTo>
                    <a:pt x="15573" y="1445"/>
                  </a:lnTo>
                  <a:lnTo>
                    <a:pt x="15573" y="1455"/>
                  </a:lnTo>
                  <a:lnTo>
                    <a:pt x="15577" y="1465"/>
                  </a:lnTo>
                  <a:lnTo>
                    <a:pt x="15581" y="1474"/>
                  </a:lnTo>
                  <a:lnTo>
                    <a:pt x="15587" y="1480"/>
                  </a:lnTo>
                  <a:lnTo>
                    <a:pt x="15595" y="1487"/>
                  </a:lnTo>
                  <a:lnTo>
                    <a:pt x="15604" y="1492"/>
                  </a:lnTo>
                  <a:lnTo>
                    <a:pt x="15623" y="1496"/>
                  </a:lnTo>
                  <a:lnTo>
                    <a:pt x="15641" y="1492"/>
                  </a:lnTo>
                  <a:lnTo>
                    <a:pt x="15655" y="1484"/>
                  </a:lnTo>
                  <a:lnTo>
                    <a:pt x="15662" y="1478"/>
                  </a:lnTo>
                  <a:lnTo>
                    <a:pt x="15667" y="1470"/>
                  </a:lnTo>
                  <a:lnTo>
                    <a:pt x="15673" y="1455"/>
                  </a:lnTo>
                  <a:lnTo>
                    <a:pt x="15675" y="1436"/>
                  </a:lnTo>
                  <a:lnTo>
                    <a:pt x="15669" y="1423"/>
                  </a:lnTo>
                  <a:lnTo>
                    <a:pt x="15662" y="1413"/>
                  </a:lnTo>
                  <a:lnTo>
                    <a:pt x="15652" y="1405"/>
                  </a:lnTo>
                  <a:lnTo>
                    <a:pt x="15631" y="1390"/>
                  </a:lnTo>
                  <a:lnTo>
                    <a:pt x="15625" y="1379"/>
                  </a:lnTo>
                  <a:lnTo>
                    <a:pt x="15622" y="1365"/>
                  </a:lnTo>
                  <a:lnTo>
                    <a:pt x="15622" y="1323"/>
                  </a:lnTo>
                  <a:lnTo>
                    <a:pt x="15623" y="1314"/>
                  </a:lnTo>
                  <a:lnTo>
                    <a:pt x="15628" y="1308"/>
                  </a:lnTo>
                  <a:lnTo>
                    <a:pt x="15635" y="1305"/>
                  </a:lnTo>
                  <a:lnTo>
                    <a:pt x="15643" y="1304"/>
                  </a:lnTo>
                  <a:lnTo>
                    <a:pt x="15649" y="1305"/>
                  </a:lnTo>
                  <a:lnTo>
                    <a:pt x="15655" y="1308"/>
                  </a:lnTo>
                  <a:lnTo>
                    <a:pt x="15660" y="1314"/>
                  </a:lnTo>
                  <a:lnTo>
                    <a:pt x="15662" y="1323"/>
                  </a:lnTo>
                  <a:lnTo>
                    <a:pt x="15662" y="1363"/>
                  </a:lnTo>
                  <a:close/>
                  <a:moveTo>
                    <a:pt x="15667" y="963"/>
                  </a:moveTo>
                  <a:lnTo>
                    <a:pt x="15667" y="1277"/>
                  </a:lnTo>
                  <a:lnTo>
                    <a:pt x="15664" y="1286"/>
                  </a:lnTo>
                  <a:lnTo>
                    <a:pt x="15660" y="1292"/>
                  </a:lnTo>
                  <a:lnTo>
                    <a:pt x="15654" y="1296"/>
                  </a:lnTo>
                  <a:lnTo>
                    <a:pt x="15646" y="1298"/>
                  </a:lnTo>
                  <a:lnTo>
                    <a:pt x="15639" y="1296"/>
                  </a:lnTo>
                  <a:lnTo>
                    <a:pt x="15632" y="1292"/>
                  </a:lnTo>
                  <a:lnTo>
                    <a:pt x="15628" y="1286"/>
                  </a:lnTo>
                  <a:lnTo>
                    <a:pt x="15627" y="1277"/>
                  </a:lnTo>
                  <a:lnTo>
                    <a:pt x="15627" y="963"/>
                  </a:lnTo>
                  <a:lnTo>
                    <a:pt x="15385" y="963"/>
                  </a:lnTo>
                  <a:lnTo>
                    <a:pt x="15385" y="1139"/>
                  </a:lnTo>
                  <a:lnTo>
                    <a:pt x="15384" y="1147"/>
                  </a:lnTo>
                  <a:lnTo>
                    <a:pt x="15378" y="1153"/>
                  </a:lnTo>
                  <a:lnTo>
                    <a:pt x="15372" y="1157"/>
                  </a:lnTo>
                  <a:lnTo>
                    <a:pt x="15366" y="1158"/>
                  </a:lnTo>
                  <a:lnTo>
                    <a:pt x="15253" y="1158"/>
                  </a:lnTo>
                  <a:lnTo>
                    <a:pt x="15253" y="1705"/>
                  </a:lnTo>
                  <a:lnTo>
                    <a:pt x="15253" y="2253"/>
                  </a:lnTo>
                  <a:lnTo>
                    <a:pt x="15250" y="2262"/>
                  </a:lnTo>
                  <a:lnTo>
                    <a:pt x="15246" y="2268"/>
                  </a:lnTo>
                  <a:lnTo>
                    <a:pt x="15240" y="2272"/>
                  </a:lnTo>
                  <a:lnTo>
                    <a:pt x="15232" y="2273"/>
                  </a:lnTo>
                  <a:lnTo>
                    <a:pt x="15225" y="2272"/>
                  </a:lnTo>
                  <a:lnTo>
                    <a:pt x="15218" y="2268"/>
                  </a:lnTo>
                  <a:lnTo>
                    <a:pt x="15214" y="2262"/>
                  </a:lnTo>
                  <a:lnTo>
                    <a:pt x="15213" y="2253"/>
                  </a:lnTo>
                  <a:lnTo>
                    <a:pt x="15213" y="1705"/>
                  </a:lnTo>
                  <a:lnTo>
                    <a:pt x="15213" y="1158"/>
                  </a:lnTo>
                  <a:lnTo>
                    <a:pt x="15141" y="1158"/>
                  </a:lnTo>
                  <a:lnTo>
                    <a:pt x="15141" y="1705"/>
                  </a:lnTo>
                  <a:lnTo>
                    <a:pt x="15141" y="2253"/>
                  </a:lnTo>
                  <a:lnTo>
                    <a:pt x="15140" y="2262"/>
                  </a:lnTo>
                  <a:lnTo>
                    <a:pt x="15135" y="2268"/>
                  </a:lnTo>
                  <a:lnTo>
                    <a:pt x="15128" y="2272"/>
                  </a:lnTo>
                  <a:lnTo>
                    <a:pt x="15122" y="2273"/>
                  </a:lnTo>
                  <a:lnTo>
                    <a:pt x="15114" y="2272"/>
                  </a:lnTo>
                  <a:lnTo>
                    <a:pt x="15108" y="2268"/>
                  </a:lnTo>
                  <a:lnTo>
                    <a:pt x="15103" y="2262"/>
                  </a:lnTo>
                  <a:lnTo>
                    <a:pt x="15101" y="2253"/>
                  </a:lnTo>
                  <a:lnTo>
                    <a:pt x="15101" y="1695"/>
                  </a:lnTo>
                  <a:lnTo>
                    <a:pt x="15101" y="1139"/>
                  </a:lnTo>
                  <a:lnTo>
                    <a:pt x="15101" y="1047"/>
                  </a:lnTo>
                  <a:lnTo>
                    <a:pt x="15101" y="963"/>
                  </a:lnTo>
                  <a:lnTo>
                    <a:pt x="14931" y="963"/>
                  </a:lnTo>
                  <a:lnTo>
                    <a:pt x="14918" y="960"/>
                  </a:lnTo>
                  <a:lnTo>
                    <a:pt x="14913" y="956"/>
                  </a:lnTo>
                  <a:lnTo>
                    <a:pt x="14910" y="952"/>
                  </a:lnTo>
                  <a:lnTo>
                    <a:pt x="14909" y="947"/>
                  </a:lnTo>
                  <a:lnTo>
                    <a:pt x="14909" y="942"/>
                  </a:lnTo>
                  <a:lnTo>
                    <a:pt x="14914" y="931"/>
                  </a:lnTo>
                  <a:lnTo>
                    <a:pt x="15105" y="680"/>
                  </a:lnTo>
                  <a:lnTo>
                    <a:pt x="15116" y="675"/>
                  </a:lnTo>
                  <a:lnTo>
                    <a:pt x="15127" y="674"/>
                  </a:lnTo>
                  <a:lnTo>
                    <a:pt x="15907" y="924"/>
                  </a:lnTo>
                  <a:lnTo>
                    <a:pt x="15920" y="933"/>
                  </a:lnTo>
                  <a:lnTo>
                    <a:pt x="15922" y="940"/>
                  </a:lnTo>
                  <a:lnTo>
                    <a:pt x="15923" y="946"/>
                  </a:lnTo>
                  <a:lnTo>
                    <a:pt x="15921" y="952"/>
                  </a:lnTo>
                  <a:lnTo>
                    <a:pt x="15916" y="957"/>
                  </a:lnTo>
                  <a:lnTo>
                    <a:pt x="15909" y="961"/>
                  </a:lnTo>
                  <a:lnTo>
                    <a:pt x="15900" y="963"/>
                  </a:lnTo>
                  <a:lnTo>
                    <a:pt x="15667" y="963"/>
                  </a:lnTo>
                  <a:close/>
                  <a:moveTo>
                    <a:pt x="15167" y="727"/>
                  </a:moveTo>
                  <a:lnTo>
                    <a:pt x="15240" y="828"/>
                  </a:lnTo>
                  <a:lnTo>
                    <a:pt x="15244" y="840"/>
                  </a:lnTo>
                  <a:lnTo>
                    <a:pt x="15244" y="923"/>
                  </a:lnTo>
                  <a:lnTo>
                    <a:pt x="15276" y="923"/>
                  </a:lnTo>
                  <a:lnTo>
                    <a:pt x="15366" y="923"/>
                  </a:lnTo>
                  <a:lnTo>
                    <a:pt x="15773" y="923"/>
                  </a:lnTo>
                  <a:lnTo>
                    <a:pt x="15167" y="727"/>
                  </a:lnTo>
                  <a:close/>
                  <a:moveTo>
                    <a:pt x="15203" y="923"/>
                  </a:moveTo>
                  <a:lnTo>
                    <a:pt x="15203" y="846"/>
                  </a:lnTo>
                  <a:lnTo>
                    <a:pt x="15141" y="762"/>
                  </a:lnTo>
                  <a:lnTo>
                    <a:pt x="15141" y="923"/>
                  </a:lnTo>
                  <a:lnTo>
                    <a:pt x="15203" y="923"/>
                  </a:lnTo>
                  <a:close/>
                  <a:moveTo>
                    <a:pt x="15101" y="752"/>
                  </a:moveTo>
                  <a:lnTo>
                    <a:pt x="14971" y="923"/>
                  </a:lnTo>
                  <a:lnTo>
                    <a:pt x="15101" y="923"/>
                  </a:lnTo>
                  <a:lnTo>
                    <a:pt x="15101" y="752"/>
                  </a:lnTo>
                  <a:close/>
                  <a:moveTo>
                    <a:pt x="15296" y="963"/>
                  </a:moveTo>
                  <a:lnTo>
                    <a:pt x="15296" y="1047"/>
                  </a:lnTo>
                  <a:lnTo>
                    <a:pt x="15295" y="1055"/>
                  </a:lnTo>
                  <a:lnTo>
                    <a:pt x="15290" y="1061"/>
                  </a:lnTo>
                  <a:lnTo>
                    <a:pt x="15283" y="1065"/>
                  </a:lnTo>
                  <a:lnTo>
                    <a:pt x="15276" y="1066"/>
                  </a:lnTo>
                  <a:lnTo>
                    <a:pt x="15141" y="1066"/>
                  </a:lnTo>
                  <a:lnTo>
                    <a:pt x="15141" y="1119"/>
                  </a:lnTo>
                  <a:lnTo>
                    <a:pt x="15232" y="1119"/>
                  </a:lnTo>
                  <a:lnTo>
                    <a:pt x="15345" y="1119"/>
                  </a:lnTo>
                  <a:lnTo>
                    <a:pt x="15345" y="963"/>
                  </a:lnTo>
                  <a:lnTo>
                    <a:pt x="15296" y="963"/>
                  </a:lnTo>
                  <a:close/>
                  <a:moveTo>
                    <a:pt x="15257" y="963"/>
                  </a:moveTo>
                  <a:lnTo>
                    <a:pt x="15141" y="963"/>
                  </a:lnTo>
                  <a:lnTo>
                    <a:pt x="15141" y="1027"/>
                  </a:lnTo>
                  <a:lnTo>
                    <a:pt x="15257" y="1027"/>
                  </a:lnTo>
                  <a:lnTo>
                    <a:pt x="15257" y="963"/>
                  </a:lnTo>
                  <a:close/>
                  <a:moveTo>
                    <a:pt x="12486" y="3681"/>
                  </a:moveTo>
                  <a:lnTo>
                    <a:pt x="12486" y="3792"/>
                  </a:lnTo>
                  <a:lnTo>
                    <a:pt x="12484" y="3800"/>
                  </a:lnTo>
                  <a:lnTo>
                    <a:pt x="12482" y="3805"/>
                  </a:lnTo>
                  <a:lnTo>
                    <a:pt x="12523" y="3838"/>
                  </a:lnTo>
                  <a:lnTo>
                    <a:pt x="12559" y="3875"/>
                  </a:lnTo>
                  <a:lnTo>
                    <a:pt x="12592" y="3918"/>
                  </a:lnTo>
                  <a:lnTo>
                    <a:pt x="12606" y="3939"/>
                  </a:lnTo>
                  <a:lnTo>
                    <a:pt x="12619" y="3962"/>
                  </a:lnTo>
                  <a:lnTo>
                    <a:pt x="12641" y="4011"/>
                  </a:lnTo>
                  <a:lnTo>
                    <a:pt x="12657" y="4062"/>
                  </a:lnTo>
                  <a:lnTo>
                    <a:pt x="12666" y="4116"/>
                  </a:lnTo>
                  <a:lnTo>
                    <a:pt x="12670" y="4171"/>
                  </a:lnTo>
                  <a:lnTo>
                    <a:pt x="12666" y="4226"/>
                  </a:lnTo>
                  <a:lnTo>
                    <a:pt x="12661" y="4265"/>
                  </a:lnTo>
                  <a:lnTo>
                    <a:pt x="12654" y="4304"/>
                  </a:lnTo>
                  <a:lnTo>
                    <a:pt x="13197" y="4304"/>
                  </a:lnTo>
                  <a:lnTo>
                    <a:pt x="13741" y="4304"/>
                  </a:lnTo>
                  <a:lnTo>
                    <a:pt x="13741" y="3764"/>
                  </a:lnTo>
                  <a:lnTo>
                    <a:pt x="13741" y="3225"/>
                  </a:lnTo>
                  <a:lnTo>
                    <a:pt x="13183" y="3225"/>
                  </a:lnTo>
                  <a:lnTo>
                    <a:pt x="12625" y="3225"/>
                  </a:lnTo>
                  <a:lnTo>
                    <a:pt x="12616" y="3222"/>
                  </a:lnTo>
                  <a:lnTo>
                    <a:pt x="12610" y="3218"/>
                  </a:lnTo>
                  <a:lnTo>
                    <a:pt x="12606" y="3212"/>
                  </a:lnTo>
                  <a:lnTo>
                    <a:pt x="12606" y="3204"/>
                  </a:lnTo>
                  <a:lnTo>
                    <a:pt x="12606" y="3196"/>
                  </a:lnTo>
                  <a:lnTo>
                    <a:pt x="12610" y="3190"/>
                  </a:lnTo>
                  <a:lnTo>
                    <a:pt x="12616" y="3186"/>
                  </a:lnTo>
                  <a:lnTo>
                    <a:pt x="12625" y="3184"/>
                  </a:lnTo>
                  <a:lnTo>
                    <a:pt x="12793" y="3184"/>
                  </a:lnTo>
                  <a:lnTo>
                    <a:pt x="12793" y="3031"/>
                  </a:lnTo>
                  <a:lnTo>
                    <a:pt x="12353" y="3031"/>
                  </a:lnTo>
                  <a:lnTo>
                    <a:pt x="12353" y="3184"/>
                  </a:lnTo>
                  <a:lnTo>
                    <a:pt x="12493" y="3184"/>
                  </a:lnTo>
                  <a:lnTo>
                    <a:pt x="12502" y="3186"/>
                  </a:lnTo>
                  <a:lnTo>
                    <a:pt x="12509" y="3190"/>
                  </a:lnTo>
                  <a:lnTo>
                    <a:pt x="12512" y="3196"/>
                  </a:lnTo>
                  <a:lnTo>
                    <a:pt x="12514" y="3204"/>
                  </a:lnTo>
                  <a:lnTo>
                    <a:pt x="12512" y="3212"/>
                  </a:lnTo>
                  <a:lnTo>
                    <a:pt x="12509" y="3218"/>
                  </a:lnTo>
                  <a:lnTo>
                    <a:pt x="12502" y="3222"/>
                  </a:lnTo>
                  <a:lnTo>
                    <a:pt x="12493" y="3225"/>
                  </a:lnTo>
                  <a:lnTo>
                    <a:pt x="12236" y="3225"/>
                  </a:lnTo>
                  <a:lnTo>
                    <a:pt x="12236" y="3670"/>
                  </a:lnTo>
                  <a:lnTo>
                    <a:pt x="12233" y="3679"/>
                  </a:lnTo>
                  <a:lnTo>
                    <a:pt x="12229" y="3685"/>
                  </a:lnTo>
                  <a:lnTo>
                    <a:pt x="12223" y="3689"/>
                  </a:lnTo>
                  <a:lnTo>
                    <a:pt x="12215" y="3690"/>
                  </a:lnTo>
                  <a:lnTo>
                    <a:pt x="12207" y="3689"/>
                  </a:lnTo>
                  <a:lnTo>
                    <a:pt x="12201" y="3685"/>
                  </a:lnTo>
                  <a:lnTo>
                    <a:pt x="12197" y="3679"/>
                  </a:lnTo>
                  <a:lnTo>
                    <a:pt x="12194" y="3670"/>
                  </a:lnTo>
                  <a:lnTo>
                    <a:pt x="12194" y="3204"/>
                  </a:lnTo>
                  <a:lnTo>
                    <a:pt x="12197" y="3196"/>
                  </a:lnTo>
                  <a:lnTo>
                    <a:pt x="12201" y="3190"/>
                  </a:lnTo>
                  <a:lnTo>
                    <a:pt x="12207" y="3186"/>
                  </a:lnTo>
                  <a:lnTo>
                    <a:pt x="12215" y="3184"/>
                  </a:lnTo>
                  <a:lnTo>
                    <a:pt x="12314" y="3184"/>
                  </a:lnTo>
                  <a:lnTo>
                    <a:pt x="12314" y="3011"/>
                  </a:lnTo>
                  <a:lnTo>
                    <a:pt x="12315" y="3003"/>
                  </a:lnTo>
                  <a:lnTo>
                    <a:pt x="12319" y="2997"/>
                  </a:lnTo>
                  <a:lnTo>
                    <a:pt x="12325" y="2993"/>
                  </a:lnTo>
                  <a:lnTo>
                    <a:pt x="12333" y="2991"/>
                  </a:lnTo>
                  <a:lnTo>
                    <a:pt x="12814" y="2991"/>
                  </a:lnTo>
                  <a:lnTo>
                    <a:pt x="12822" y="2993"/>
                  </a:lnTo>
                  <a:lnTo>
                    <a:pt x="12828" y="2997"/>
                  </a:lnTo>
                  <a:lnTo>
                    <a:pt x="12832" y="3003"/>
                  </a:lnTo>
                  <a:lnTo>
                    <a:pt x="12833" y="3011"/>
                  </a:lnTo>
                  <a:lnTo>
                    <a:pt x="12833" y="3184"/>
                  </a:lnTo>
                  <a:lnTo>
                    <a:pt x="13761" y="3184"/>
                  </a:lnTo>
                  <a:lnTo>
                    <a:pt x="13769" y="3186"/>
                  </a:lnTo>
                  <a:lnTo>
                    <a:pt x="13776" y="3190"/>
                  </a:lnTo>
                  <a:lnTo>
                    <a:pt x="13779" y="3196"/>
                  </a:lnTo>
                  <a:lnTo>
                    <a:pt x="13782" y="3204"/>
                  </a:lnTo>
                  <a:lnTo>
                    <a:pt x="13782" y="3764"/>
                  </a:lnTo>
                  <a:lnTo>
                    <a:pt x="13782" y="4324"/>
                  </a:lnTo>
                  <a:lnTo>
                    <a:pt x="13779" y="4332"/>
                  </a:lnTo>
                  <a:lnTo>
                    <a:pt x="13776" y="4338"/>
                  </a:lnTo>
                  <a:lnTo>
                    <a:pt x="13769" y="4342"/>
                  </a:lnTo>
                  <a:lnTo>
                    <a:pt x="13761" y="4343"/>
                  </a:lnTo>
                  <a:lnTo>
                    <a:pt x="13197" y="4343"/>
                  </a:lnTo>
                  <a:lnTo>
                    <a:pt x="12633" y="4343"/>
                  </a:lnTo>
                  <a:lnTo>
                    <a:pt x="12628" y="4347"/>
                  </a:lnTo>
                  <a:lnTo>
                    <a:pt x="12621" y="4349"/>
                  </a:lnTo>
                  <a:lnTo>
                    <a:pt x="12016" y="4349"/>
                  </a:lnTo>
                  <a:lnTo>
                    <a:pt x="11412" y="4349"/>
                  </a:lnTo>
                  <a:lnTo>
                    <a:pt x="11403" y="4346"/>
                  </a:lnTo>
                  <a:lnTo>
                    <a:pt x="11397" y="4341"/>
                  </a:lnTo>
                  <a:lnTo>
                    <a:pt x="11388" y="4334"/>
                  </a:lnTo>
                  <a:lnTo>
                    <a:pt x="11385" y="4329"/>
                  </a:lnTo>
                  <a:lnTo>
                    <a:pt x="11385" y="4323"/>
                  </a:lnTo>
                  <a:lnTo>
                    <a:pt x="11385" y="3936"/>
                  </a:lnTo>
                  <a:lnTo>
                    <a:pt x="11346" y="3930"/>
                  </a:lnTo>
                  <a:lnTo>
                    <a:pt x="11307" y="3924"/>
                  </a:lnTo>
                  <a:lnTo>
                    <a:pt x="11271" y="3913"/>
                  </a:lnTo>
                  <a:lnTo>
                    <a:pt x="11235" y="3898"/>
                  </a:lnTo>
                  <a:lnTo>
                    <a:pt x="11202" y="3881"/>
                  </a:lnTo>
                  <a:lnTo>
                    <a:pt x="11171" y="3860"/>
                  </a:lnTo>
                  <a:lnTo>
                    <a:pt x="11142" y="3837"/>
                  </a:lnTo>
                  <a:lnTo>
                    <a:pt x="11115" y="3811"/>
                  </a:lnTo>
                  <a:lnTo>
                    <a:pt x="11090" y="3783"/>
                  </a:lnTo>
                  <a:lnTo>
                    <a:pt x="11069" y="3753"/>
                  </a:lnTo>
                  <a:lnTo>
                    <a:pt x="11049" y="3721"/>
                  </a:lnTo>
                  <a:lnTo>
                    <a:pt x="11034" y="3686"/>
                  </a:lnTo>
                  <a:lnTo>
                    <a:pt x="11021" y="3650"/>
                  </a:lnTo>
                  <a:lnTo>
                    <a:pt x="11011" y="3613"/>
                  </a:lnTo>
                  <a:lnTo>
                    <a:pt x="11006" y="3575"/>
                  </a:lnTo>
                  <a:lnTo>
                    <a:pt x="11005" y="3535"/>
                  </a:lnTo>
                  <a:lnTo>
                    <a:pt x="11006" y="3494"/>
                  </a:lnTo>
                  <a:lnTo>
                    <a:pt x="11012" y="3453"/>
                  </a:lnTo>
                  <a:lnTo>
                    <a:pt x="11022" y="3415"/>
                  </a:lnTo>
                  <a:lnTo>
                    <a:pt x="11035" y="3379"/>
                  </a:lnTo>
                  <a:lnTo>
                    <a:pt x="11052" y="3343"/>
                  </a:lnTo>
                  <a:lnTo>
                    <a:pt x="11072" y="3310"/>
                  </a:lnTo>
                  <a:lnTo>
                    <a:pt x="11096" y="3280"/>
                  </a:lnTo>
                  <a:lnTo>
                    <a:pt x="11121" y="3251"/>
                  </a:lnTo>
                  <a:lnTo>
                    <a:pt x="11151" y="3226"/>
                  </a:lnTo>
                  <a:lnTo>
                    <a:pt x="11181" y="3203"/>
                  </a:lnTo>
                  <a:lnTo>
                    <a:pt x="11214" y="3182"/>
                  </a:lnTo>
                  <a:lnTo>
                    <a:pt x="11249" y="3166"/>
                  </a:lnTo>
                  <a:lnTo>
                    <a:pt x="11287" y="3152"/>
                  </a:lnTo>
                  <a:lnTo>
                    <a:pt x="11325" y="3143"/>
                  </a:lnTo>
                  <a:lnTo>
                    <a:pt x="11365" y="3136"/>
                  </a:lnTo>
                  <a:lnTo>
                    <a:pt x="11406" y="3134"/>
                  </a:lnTo>
                  <a:lnTo>
                    <a:pt x="11447" y="3136"/>
                  </a:lnTo>
                  <a:lnTo>
                    <a:pt x="11487" y="3143"/>
                  </a:lnTo>
                  <a:lnTo>
                    <a:pt x="11525" y="3152"/>
                  </a:lnTo>
                  <a:lnTo>
                    <a:pt x="11562" y="3166"/>
                  </a:lnTo>
                  <a:lnTo>
                    <a:pt x="11597" y="3182"/>
                  </a:lnTo>
                  <a:lnTo>
                    <a:pt x="11630" y="3203"/>
                  </a:lnTo>
                  <a:lnTo>
                    <a:pt x="11661" y="3226"/>
                  </a:lnTo>
                  <a:lnTo>
                    <a:pt x="11689" y="3251"/>
                  </a:lnTo>
                  <a:lnTo>
                    <a:pt x="11716" y="3280"/>
                  </a:lnTo>
                  <a:lnTo>
                    <a:pt x="11739" y="3310"/>
                  </a:lnTo>
                  <a:lnTo>
                    <a:pt x="11759" y="3343"/>
                  </a:lnTo>
                  <a:lnTo>
                    <a:pt x="11775" y="3379"/>
                  </a:lnTo>
                  <a:lnTo>
                    <a:pt x="11789" y="3415"/>
                  </a:lnTo>
                  <a:lnTo>
                    <a:pt x="11800" y="3453"/>
                  </a:lnTo>
                  <a:lnTo>
                    <a:pt x="11805" y="3494"/>
                  </a:lnTo>
                  <a:lnTo>
                    <a:pt x="11807" y="3535"/>
                  </a:lnTo>
                  <a:lnTo>
                    <a:pt x="11806" y="3575"/>
                  </a:lnTo>
                  <a:lnTo>
                    <a:pt x="11800" y="3613"/>
                  </a:lnTo>
                  <a:lnTo>
                    <a:pt x="11791" y="3650"/>
                  </a:lnTo>
                  <a:lnTo>
                    <a:pt x="11778" y="3686"/>
                  </a:lnTo>
                  <a:lnTo>
                    <a:pt x="11761" y="3721"/>
                  </a:lnTo>
                  <a:lnTo>
                    <a:pt x="11743" y="3753"/>
                  </a:lnTo>
                  <a:lnTo>
                    <a:pt x="11720" y="3783"/>
                  </a:lnTo>
                  <a:lnTo>
                    <a:pt x="11696" y="3811"/>
                  </a:lnTo>
                  <a:lnTo>
                    <a:pt x="11669" y="3837"/>
                  </a:lnTo>
                  <a:lnTo>
                    <a:pt x="11639" y="3860"/>
                  </a:lnTo>
                  <a:lnTo>
                    <a:pt x="11608" y="3881"/>
                  </a:lnTo>
                  <a:lnTo>
                    <a:pt x="11575" y="3898"/>
                  </a:lnTo>
                  <a:lnTo>
                    <a:pt x="11539" y="3913"/>
                  </a:lnTo>
                  <a:lnTo>
                    <a:pt x="11502" y="3924"/>
                  </a:lnTo>
                  <a:lnTo>
                    <a:pt x="11465" y="3932"/>
                  </a:lnTo>
                  <a:lnTo>
                    <a:pt x="11425" y="3936"/>
                  </a:lnTo>
                  <a:lnTo>
                    <a:pt x="11425" y="4205"/>
                  </a:lnTo>
                  <a:lnTo>
                    <a:pt x="11443" y="4178"/>
                  </a:lnTo>
                  <a:lnTo>
                    <a:pt x="11464" y="4153"/>
                  </a:lnTo>
                  <a:lnTo>
                    <a:pt x="11488" y="4130"/>
                  </a:lnTo>
                  <a:lnTo>
                    <a:pt x="11516" y="4108"/>
                  </a:lnTo>
                  <a:lnTo>
                    <a:pt x="11549" y="4090"/>
                  </a:lnTo>
                  <a:lnTo>
                    <a:pt x="11585" y="4076"/>
                  </a:lnTo>
                  <a:lnTo>
                    <a:pt x="11625" y="4067"/>
                  </a:lnTo>
                  <a:lnTo>
                    <a:pt x="11646" y="4065"/>
                  </a:lnTo>
                  <a:lnTo>
                    <a:pt x="11669" y="4065"/>
                  </a:lnTo>
                  <a:lnTo>
                    <a:pt x="11685" y="4066"/>
                  </a:lnTo>
                  <a:lnTo>
                    <a:pt x="11702" y="4069"/>
                  </a:lnTo>
                  <a:lnTo>
                    <a:pt x="11719" y="4074"/>
                  </a:lnTo>
                  <a:lnTo>
                    <a:pt x="11734" y="4080"/>
                  </a:lnTo>
                  <a:lnTo>
                    <a:pt x="11766" y="4092"/>
                  </a:lnTo>
                  <a:lnTo>
                    <a:pt x="11783" y="4095"/>
                  </a:lnTo>
                  <a:lnTo>
                    <a:pt x="11800" y="4097"/>
                  </a:lnTo>
                  <a:lnTo>
                    <a:pt x="11814" y="4095"/>
                  </a:lnTo>
                  <a:lnTo>
                    <a:pt x="11825" y="4090"/>
                  </a:lnTo>
                  <a:lnTo>
                    <a:pt x="11837" y="4084"/>
                  </a:lnTo>
                  <a:lnTo>
                    <a:pt x="11847" y="4076"/>
                  </a:lnTo>
                  <a:lnTo>
                    <a:pt x="11847" y="3213"/>
                  </a:lnTo>
                  <a:lnTo>
                    <a:pt x="11833" y="3208"/>
                  </a:lnTo>
                  <a:lnTo>
                    <a:pt x="11820" y="3199"/>
                  </a:lnTo>
                  <a:lnTo>
                    <a:pt x="11796" y="3182"/>
                  </a:lnTo>
                  <a:lnTo>
                    <a:pt x="11784" y="3173"/>
                  </a:lnTo>
                  <a:lnTo>
                    <a:pt x="11771" y="3167"/>
                  </a:lnTo>
                  <a:lnTo>
                    <a:pt x="11757" y="3163"/>
                  </a:lnTo>
                  <a:lnTo>
                    <a:pt x="11742" y="3163"/>
                  </a:lnTo>
                  <a:lnTo>
                    <a:pt x="11696" y="3170"/>
                  </a:lnTo>
                  <a:lnTo>
                    <a:pt x="11678" y="3172"/>
                  </a:lnTo>
                  <a:lnTo>
                    <a:pt x="11661" y="3171"/>
                  </a:lnTo>
                  <a:lnTo>
                    <a:pt x="11646" y="3166"/>
                  </a:lnTo>
                  <a:lnTo>
                    <a:pt x="11632" y="3156"/>
                  </a:lnTo>
                  <a:lnTo>
                    <a:pt x="11624" y="3148"/>
                  </a:lnTo>
                  <a:lnTo>
                    <a:pt x="11617" y="3139"/>
                  </a:lnTo>
                  <a:lnTo>
                    <a:pt x="11602" y="3115"/>
                  </a:lnTo>
                  <a:lnTo>
                    <a:pt x="11591" y="3093"/>
                  </a:lnTo>
                  <a:lnTo>
                    <a:pt x="11580" y="3079"/>
                  </a:lnTo>
                  <a:lnTo>
                    <a:pt x="11570" y="3070"/>
                  </a:lnTo>
                  <a:lnTo>
                    <a:pt x="11561" y="3065"/>
                  </a:lnTo>
                  <a:lnTo>
                    <a:pt x="11537" y="3060"/>
                  </a:lnTo>
                  <a:lnTo>
                    <a:pt x="11520" y="3055"/>
                  </a:lnTo>
                  <a:lnTo>
                    <a:pt x="11498" y="3047"/>
                  </a:lnTo>
                  <a:lnTo>
                    <a:pt x="11475" y="3033"/>
                  </a:lnTo>
                  <a:lnTo>
                    <a:pt x="11467" y="3024"/>
                  </a:lnTo>
                  <a:lnTo>
                    <a:pt x="11462" y="3015"/>
                  </a:lnTo>
                  <a:lnTo>
                    <a:pt x="11456" y="2996"/>
                  </a:lnTo>
                  <a:lnTo>
                    <a:pt x="11453" y="2974"/>
                  </a:lnTo>
                  <a:lnTo>
                    <a:pt x="11453" y="2953"/>
                  </a:lnTo>
                  <a:lnTo>
                    <a:pt x="11451" y="2933"/>
                  </a:lnTo>
                  <a:lnTo>
                    <a:pt x="11446" y="2913"/>
                  </a:lnTo>
                  <a:lnTo>
                    <a:pt x="11440" y="2904"/>
                  </a:lnTo>
                  <a:lnTo>
                    <a:pt x="11434" y="2896"/>
                  </a:lnTo>
                  <a:lnTo>
                    <a:pt x="11399" y="2864"/>
                  </a:lnTo>
                  <a:lnTo>
                    <a:pt x="11387" y="2851"/>
                  </a:lnTo>
                  <a:lnTo>
                    <a:pt x="11376" y="2837"/>
                  </a:lnTo>
                  <a:lnTo>
                    <a:pt x="11371" y="2823"/>
                  </a:lnTo>
                  <a:lnTo>
                    <a:pt x="11370" y="2805"/>
                  </a:lnTo>
                  <a:lnTo>
                    <a:pt x="11375" y="2783"/>
                  </a:lnTo>
                  <a:lnTo>
                    <a:pt x="11384" y="2757"/>
                  </a:lnTo>
                  <a:lnTo>
                    <a:pt x="11394" y="2734"/>
                  </a:lnTo>
                  <a:lnTo>
                    <a:pt x="11398" y="2722"/>
                  </a:lnTo>
                  <a:lnTo>
                    <a:pt x="11401" y="2711"/>
                  </a:lnTo>
                  <a:lnTo>
                    <a:pt x="11397" y="2689"/>
                  </a:lnTo>
                  <a:lnTo>
                    <a:pt x="11389" y="2670"/>
                  </a:lnTo>
                  <a:lnTo>
                    <a:pt x="11380" y="2650"/>
                  </a:lnTo>
                  <a:lnTo>
                    <a:pt x="11373" y="2633"/>
                  </a:lnTo>
                  <a:lnTo>
                    <a:pt x="11369" y="2613"/>
                  </a:lnTo>
                  <a:lnTo>
                    <a:pt x="11373" y="2593"/>
                  </a:lnTo>
                  <a:lnTo>
                    <a:pt x="11378" y="2581"/>
                  </a:lnTo>
                  <a:lnTo>
                    <a:pt x="11387" y="2570"/>
                  </a:lnTo>
                  <a:lnTo>
                    <a:pt x="11412" y="2543"/>
                  </a:lnTo>
                  <a:lnTo>
                    <a:pt x="11430" y="2526"/>
                  </a:lnTo>
                  <a:lnTo>
                    <a:pt x="11442" y="2512"/>
                  </a:lnTo>
                  <a:lnTo>
                    <a:pt x="11448" y="2502"/>
                  </a:lnTo>
                  <a:lnTo>
                    <a:pt x="11451" y="2492"/>
                  </a:lnTo>
                  <a:lnTo>
                    <a:pt x="11452" y="2466"/>
                  </a:lnTo>
                  <a:lnTo>
                    <a:pt x="11456" y="2427"/>
                  </a:lnTo>
                  <a:lnTo>
                    <a:pt x="11460" y="2413"/>
                  </a:lnTo>
                  <a:lnTo>
                    <a:pt x="11465" y="2401"/>
                  </a:lnTo>
                  <a:lnTo>
                    <a:pt x="11471" y="2392"/>
                  </a:lnTo>
                  <a:lnTo>
                    <a:pt x="11479" y="2384"/>
                  </a:lnTo>
                  <a:lnTo>
                    <a:pt x="11497" y="2374"/>
                  </a:lnTo>
                  <a:lnTo>
                    <a:pt x="11516" y="2368"/>
                  </a:lnTo>
                  <a:lnTo>
                    <a:pt x="11537" y="2363"/>
                  </a:lnTo>
                  <a:lnTo>
                    <a:pt x="11557" y="2356"/>
                  </a:lnTo>
                  <a:lnTo>
                    <a:pt x="11566" y="2351"/>
                  </a:lnTo>
                  <a:lnTo>
                    <a:pt x="11575" y="2346"/>
                  </a:lnTo>
                  <a:lnTo>
                    <a:pt x="11582" y="2340"/>
                  </a:lnTo>
                  <a:lnTo>
                    <a:pt x="11589" y="2331"/>
                  </a:lnTo>
                  <a:lnTo>
                    <a:pt x="11612" y="2291"/>
                  </a:lnTo>
                  <a:lnTo>
                    <a:pt x="11623" y="2275"/>
                  </a:lnTo>
                  <a:lnTo>
                    <a:pt x="11633" y="2263"/>
                  </a:lnTo>
                  <a:lnTo>
                    <a:pt x="11647" y="2254"/>
                  </a:lnTo>
                  <a:lnTo>
                    <a:pt x="11664" y="2249"/>
                  </a:lnTo>
                  <a:lnTo>
                    <a:pt x="11685" y="2248"/>
                  </a:lnTo>
                  <a:lnTo>
                    <a:pt x="11714" y="2251"/>
                  </a:lnTo>
                  <a:lnTo>
                    <a:pt x="11743" y="2257"/>
                  </a:lnTo>
                  <a:lnTo>
                    <a:pt x="11762" y="2257"/>
                  </a:lnTo>
                  <a:lnTo>
                    <a:pt x="11780" y="2249"/>
                  </a:lnTo>
                  <a:lnTo>
                    <a:pt x="11805" y="2231"/>
                  </a:lnTo>
                  <a:lnTo>
                    <a:pt x="11832" y="2213"/>
                  </a:lnTo>
                  <a:lnTo>
                    <a:pt x="11848" y="2207"/>
                  </a:lnTo>
                  <a:lnTo>
                    <a:pt x="11866" y="2204"/>
                  </a:lnTo>
                  <a:lnTo>
                    <a:pt x="11885" y="2207"/>
                  </a:lnTo>
                  <a:lnTo>
                    <a:pt x="11901" y="2213"/>
                  </a:lnTo>
                  <a:lnTo>
                    <a:pt x="11916" y="2222"/>
                  </a:lnTo>
                  <a:lnTo>
                    <a:pt x="11930" y="2232"/>
                  </a:lnTo>
                  <a:lnTo>
                    <a:pt x="11943" y="2243"/>
                  </a:lnTo>
                  <a:lnTo>
                    <a:pt x="11959" y="2251"/>
                  </a:lnTo>
                  <a:lnTo>
                    <a:pt x="11974" y="2257"/>
                  </a:lnTo>
                  <a:lnTo>
                    <a:pt x="11992" y="2257"/>
                  </a:lnTo>
                  <a:lnTo>
                    <a:pt x="12037" y="2250"/>
                  </a:lnTo>
                  <a:lnTo>
                    <a:pt x="12056" y="2248"/>
                  </a:lnTo>
                  <a:lnTo>
                    <a:pt x="12073" y="2249"/>
                  </a:lnTo>
                  <a:lnTo>
                    <a:pt x="12088" y="2254"/>
                  </a:lnTo>
                  <a:lnTo>
                    <a:pt x="12102" y="2264"/>
                  </a:lnTo>
                  <a:lnTo>
                    <a:pt x="12109" y="2272"/>
                  </a:lnTo>
                  <a:lnTo>
                    <a:pt x="12116" y="2281"/>
                  </a:lnTo>
                  <a:lnTo>
                    <a:pt x="12130" y="2305"/>
                  </a:lnTo>
                  <a:lnTo>
                    <a:pt x="12143" y="2327"/>
                  </a:lnTo>
                  <a:lnTo>
                    <a:pt x="12153" y="2341"/>
                  </a:lnTo>
                  <a:lnTo>
                    <a:pt x="12162" y="2350"/>
                  </a:lnTo>
                  <a:lnTo>
                    <a:pt x="12173" y="2355"/>
                  </a:lnTo>
                  <a:lnTo>
                    <a:pt x="12197" y="2360"/>
                  </a:lnTo>
                  <a:lnTo>
                    <a:pt x="12214" y="2365"/>
                  </a:lnTo>
                  <a:lnTo>
                    <a:pt x="12234" y="2373"/>
                  </a:lnTo>
                  <a:lnTo>
                    <a:pt x="12257" y="2388"/>
                  </a:lnTo>
                  <a:lnTo>
                    <a:pt x="12265" y="2396"/>
                  </a:lnTo>
                  <a:lnTo>
                    <a:pt x="12271" y="2405"/>
                  </a:lnTo>
                  <a:lnTo>
                    <a:pt x="12278" y="2425"/>
                  </a:lnTo>
                  <a:lnTo>
                    <a:pt x="12279" y="2446"/>
                  </a:lnTo>
                  <a:lnTo>
                    <a:pt x="12280" y="2466"/>
                  </a:lnTo>
                  <a:lnTo>
                    <a:pt x="12282" y="2488"/>
                  </a:lnTo>
                  <a:lnTo>
                    <a:pt x="12287" y="2507"/>
                  </a:lnTo>
                  <a:lnTo>
                    <a:pt x="12292" y="2516"/>
                  </a:lnTo>
                  <a:lnTo>
                    <a:pt x="12300" y="2524"/>
                  </a:lnTo>
                  <a:lnTo>
                    <a:pt x="12333" y="2556"/>
                  </a:lnTo>
                  <a:lnTo>
                    <a:pt x="12347" y="2569"/>
                  </a:lnTo>
                  <a:lnTo>
                    <a:pt x="12356" y="2583"/>
                  </a:lnTo>
                  <a:lnTo>
                    <a:pt x="12361" y="2598"/>
                  </a:lnTo>
                  <a:lnTo>
                    <a:pt x="12362" y="2615"/>
                  </a:lnTo>
                  <a:lnTo>
                    <a:pt x="12359" y="2636"/>
                  </a:lnTo>
                  <a:lnTo>
                    <a:pt x="12348" y="2663"/>
                  </a:lnTo>
                  <a:lnTo>
                    <a:pt x="12337" y="2690"/>
                  </a:lnTo>
                  <a:lnTo>
                    <a:pt x="12333" y="2711"/>
                  </a:lnTo>
                  <a:lnTo>
                    <a:pt x="12336" y="2731"/>
                  </a:lnTo>
                  <a:lnTo>
                    <a:pt x="12343" y="2750"/>
                  </a:lnTo>
                  <a:lnTo>
                    <a:pt x="12352" y="2769"/>
                  </a:lnTo>
                  <a:lnTo>
                    <a:pt x="12360" y="2787"/>
                  </a:lnTo>
                  <a:lnTo>
                    <a:pt x="12364" y="2806"/>
                  </a:lnTo>
                  <a:lnTo>
                    <a:pt x="12360" y="2828"/>
                  </a:lnTo>
                  <a:lnTo>
                    <a:pt x="12355" y="2838"/>
                  </a:lnTo>
                  <a:lnTo>
                    <a:pt x="12347" y="2851"/>
                  </a:lnTo>
                  <a:lnTo>
                    <a:pt x="12321" y="2877"/>
                  </a:lnTo>
                  <a:lnTo>
                    <a:pt x="12302" y="2893"/>
                  </a:lnTo>
                  <a:lnTo>
                    <a:pt x="12291" y="2907"/>
                  </a:lnTo>
                  <a:lnTo>
                    <a:pt x="12284" y="2918"/>
                  </a:lnTo>
                  <a:lnTo>
                    <a:pt x="12282" y="2929"/>
                  </a:lnTo>
                  <a:lnTo>
                    <a:pt x="12282" y="2953"/>
                  </a:lnTo>
                  <a:lnTo>
                    <a:pt x="12278" y="2993"/>
                  </a:lnTo>
                  <a:lnTo>
                    <a:pt x="12274" y="3007"/>
                  </a:lnTo>
                  <a:lnTo>
                    <a:pt x="12269" y="3019"/>
                  </a:lnTo>
                  <a:lnTo>
                    <a:pt x="12262" y="3028"/>
                  </a:lnTo>
                  <a:lnTo>
                    <a:pt x="12255" y="3035"/>
                  </a:lnTo>
                  <a:lnTo>
                    <a:pt x="12237" y="3046"/>
                  </a:lnTo>
                  <a:lnTo>
                    <a:pt x="12216" y="3053"/>
                  </a:lnTo>
                  <a:lnTo>
                    <a:pt x="12196" y="3058"/>
                  </a:lnTo>
                  <a:lnTo>
                    <a:pt x="12177" y="3065"/>
                  </a:lnTo>
                  <a:lnTo>
                    <a:pt x="12168" y="3069"/>
                  </a:lnTo>
                  <a:lnTo>
                    <a:pt x="12159" y="3074"/>
                  </a:lnTo>
                  <a:lnTo>
                    <a:pt x="12151" y="3081"/>
                  </a:lnTo>
                  <a:lnTo>
                    <a:pt x="12144" y="3089"/>
                  </a:lnTo>
                  <a:lnTo>
                    <a:pt x="12121" y="3130"/>
                  </a:lnTo>
                  <a:lnTo>
                    <a:pt x="12111" y="3145"/>
                  </a:lnTo>
                  <a:lnTo>
                    <a:pt x="12100" y="3158"/>
                  </a:lnTo>
                  <a:lnTo>
                    <a:pt x="12087" y="3167"/>
                  </a:lnTo>
                  <a:lnTo>
                    <a:pt x="12070" y="3171"/>
                  </a:lnTo>
                  <a:lnTo>
                    <a:pt x="12048" y="3172"/>
                  </a:lnTo>
                  <a:lnTo>
                    <a:pt x="12020" y="3168"/>
                  </a:lnTo>
                  <a:lnTo>
                    <a:pt x="11989" y="3163"/>
                  </a:lnTo>
                  <a:lnTo>
                    <a:pt x="11971" y="3163"/>
                  </a:lnTo>
                  <a:lnTo>
                    <a:pt x="11953" y="3172"/>
                  </a:lnTo>
                  <a:lnTo>
                    <a:pt x="11929" y="3189"/>
                  </a:lnTo>
                  <a:lnTo>
                    <a:pt x="11910" y="3202"/>
                  </a:lnTo>
                  <a:lnTo>
                    <a:pt x="11887" y="3213"/>
                  </a:lnTo>
                  <a:lnTo>
                    <a:pt x="11887" y="4017"/>
                  </a:lnTo>
                  <a:lnTo>
                    <a:pt x="11933" y="3925"/>
                  </a:lnTo>
                  <a:lnTo>
                    <a:pt x="11961" y="3877"/>
                  </a:lnTo>
                  <a:lnTo>
                    <a:pt x="11994" y="3829"/>
                  </a:lnTo>
                  <a:lnTo>
                    <a:pt x="12014" y="3808"/>
                  </a:lnTo>
                  <a:lnTo>
                    <a:pt x="12035" y="3787"/>
                  </a:lnTo>
                  <a:lnTo>
                    <a:pt x="12060" y="3769"/>
                  </a:lnTo>
                  <a:lnTo>
                    <a:pt x="12073" y="3762"/>
                  </a:lnTo>
                  <a:lnTo>
                    <a:pt x="12085" y="3754"/>
                  </a:lnTo>
                  <a:lnTo>
                    <a:pt x="12115" y="3741"/>
                  </a:lnTo>
                  <a:lnTo>
                    <a:pt x="12148" y="3731"/>
                  </a:lnTo>
                  <a:lnTo>
                    <a:pt x="12184" y="3725"/>
                  </a:lnTo>
                  <a:lnTo>
                    <a:pt x="12224" y="3723"/>
                  </a:lnTo>
                  <a:lnTo>
                    <a:pt x="12283" y="3727"/>
                  </a:lnTo>
                  <a:lnTo>
                    <a:pt x="12341" y="3739"/>
                  </a:lnTo>
                  <a:lnTo>
                    <a:pt x="12368" y="3748"/>
                  </a:lnTo>
                  <a:lnTo>
                    <a:pt x="12395" y="3758"/>
                  </a:lnTo>
                  <a:lnTo>
                    <a:pt x="12420" y="3769"/>
                  </a:lnTo>
                  <a:lnTo>
                    <a:pt x="12446" y="3782"/>
                  </a:lnTo>
                  <a:lnTo>
                    <a:pt x="12446" y="3681"/>
                  </a:lnTo>
                  <a:lnTo>
                    <a:pt x="12447" y="3672"/>
                  </a:lnTo>
                  <a:lnTo>
                    <a:pt x="12452" y="3666"/>
                  </a:lnTo>
                  <a:lnTo>
                    <a:pt x="12459" y="3662"/>
                  </a:lnTo>
                  <a:lnTo>
                    <a:pt x="12465" y="3661"/>
                  </a:lnTo>
                  <a:lnTo>
                    <a:pt x="12473" y="3662"/>
                  </a:lnTo>
                  <a:lnTo>
                    <a:pt x="12479" y="3666"/>
                  </a:lnTo>
                  <a:lnTo>
                    <a:pt x="12484" y="3672"/>
                  </a:lnTo>
                  <a:lnTo>
                    <a:pt x="12486" y="3681"/>
                  </a:lnTo>
                  <a:close/>
                  <a:moveTo>
                    <a:pt x="12630" y="4171"/>
                  </a:moveTo>
                  <a:lnTo>
                    <a:pt x="12628" y="4130"/>
                  </a:lnTo>
                  <a:lnTo>
                    <a:pt x="12621" y="4089"/>
                  </a:lnTo>
                  <a:lnTo>
                    <a:pt x="12613" y="4051"/>
                  </a:lnTo>
                  <a:lnTo>
                    <a:pt x="12598" y="4012"/>
                  </a:lnTo>
                  <a:lnTo>
                    <a:pt x="12582" y="3976"/>
                  </a:lnTo>
                  <a:lnTo>
                    <a:pt x="12561" y="3943"/>
                  </a:lnTo>
                  <a:lnTo>
                    <a:pt x="12537" y="3911"/>
                  </a:lnTo>
                  <a:lnTo>
                    <a:pt x="12511" y="3883"/>
                  </a:lnTo>
                  <a:lnTo>
                    <a:pt x="12482" y="3856"/>
                  </a:lnTo>
                  <a:lnTo>
                    <a:pt x="12451" y="3833"/>
                  </a:lnTo>
                  <a:lnTo>
                    <a:pt x="12418" y="3813"/>
                  </a:lnTo>
                  <a:lnTo>
                    <a:pt x="12382" y="3795"/>
                  </a:lnTo>
                  <a:lnTo>
                    <a:pt x="12345" y="3781"/>
                  </a:lnTo>
                  <a:lnTo>
                    <a:pt x="12306" y="3772"/>
                  </a:lnTo>
                  <a:lnTo>
                    <a:pt x="12265" y="3765"/>
                  </a:lnTo>
                  <a:lnTo>
                    <a:pt x="12224" y="3763"/>
                  </a:lnTo>
                  <a:lnTo>
                    <a:pt x="12197" y="3764"/>
                  </a:lnTo>
                  <a:lnTo>
                    <a:pt x="12173" y="3767"/>
                  </a:lnTo>
                  <a:lnTo>
                    <a:pt x="12150" y="3772"/>
                  </a:lnTo>
                  <a:lnTo>
                    <a:pt x="12128" y="3780"/>
                  </a:lnTo>
                  <a:lnTo>
                    <a:pt x="12089" y="3797"/>
                  </a:lnTo>
                  <a:lnTo>
                    <a:pt x="12073" y="3809"/>
                  </a:lnTo>
                  <a:lnTo>
                    <a:pt x="12057" y="3822"/>
                  </a:lnTo>
                  <a:lnTo>
                    <a:pt x="12029" y="3850"/>
                  </a:lnTo>
                  <a:lnTo>
                    <a:pt x="12005" y="3881"/>
                  </a:lnTo>
                  <a:lnTo>
                    <a:pt x="11984" y="3915"/>
                  </a:lnTo>
                  <a:lnTo>
                    <a:pt x="11965" y="3950"/>
                  </a:lnTo>
                  <a:lnTo>
                    <a:pt x="11932" y="4017"/>
                  </a:lnTo>
                  <a:lnTo>
                    <a:pt x="11915" y="4049"/>
                  </a:lnTo>
                  <a:lnTo>
                    <a:pt x="11897" y="4077"/>
                  </a:lnTo>
                  <a:lnTo>
                    <a:pt x="11878" y="4102"/>
                  </a:lnTo>
                  <a:lnTo>
                    <a:pt x="11866" y="4112"/>
                  </a:lnTo>
                  <a:lnTo>
                    <a:pt x="11855" y="4120"/>
                  </a:lnTo>
                  <a:lnTo>
                    <a:pt x="11843" y="4127"/>
                  </a:lnTo>
                  <a:lnTo>
                    <a:pt x="11830" y="4132"/>
                  </a:lnTo>
                  <a:lnTo>
                    <a:pt x="11800" y="4136"/>
                  </a:lnTo>
                  <a:lnTo>
                    <a:pt x="11783" y="4135"/>
                  </a:lnTo>
                  <a:lnTo>
                    <a:pt x="11766" y="4131"/>
                  </a:lnTo>
                  <a:lnTo>
                    <a:pt x="11750" y="4126"/>
                  </a:lnTo>
                  <a:lnTo>
                    <a:pt x="11734" y="4120"/>
                  </a:lnTo>
                  <a:lnTo>
                    <a:pt x="11702" y="4109"/>
                  </a:lnTo>
                  <a:lnTo>
                    <a:pt x="11685" y="4106"/>
                  </a:lnTo>
                  <a:lnTo>
                    <a:pt x="11669" y="4104"/>
                  </a:lnTo>
                  <a:lnTo>
                    <a:pt x="11625" y="4108"/>
                  </a:lnTo>
                  <a:lnTo>
                    <a:pt x="11603" y="4112"/>
                  </a:lnTo>
                  <a:lnTo>
                    <a:pt x="11584" y="4118"/>
                  </a:lnTo>
                  <a:lnTo>
                    <a:pt x="11565" y="4127"/>
                  </a:lnTo>
                  <a:lnTo>
                    <a:pt x="11546" y="4136"/>
                  </a:lnTo>
                  <a:lnTo>
                    <a:pt x="11529" y="4148"/>
                  </a:lnTo>
                  <a:lnTo>
                    <a:pt x="11512" y="4161"/>
                  </a:lnTo>
                  <a:lnTo>
                    <a:pt x="11498" y="4175"/>
                  </a:lnTo>
                  <a:lnTo>
                    <a:pt x="11484" y="4190"/>
                  </a:lnTo>
                  <a:lnTo>
                    <a:pt x="11471" y="4208"/>
                  </a:lnTo>
                  <a:lnTo>
                    <a:pt x="11461" y="4226"/>
                  </a:lnTo>
                  <a:lnTo>
                    <a:pt x="11452" y="4245"/>
                  </a:lnTo>
                  <a:lnTo>
                    <a:pt x="11444" y="4265"/>
                  </a:lnTo>
                  <a:lnTo>
                    <a:pt x="11438" y="4286"/>
                  </a:lnTo>
                  <a:lnTo>
                    <a:pt x="11434" y="4309"/>
                  </a:lnTo>
                  <a:lnTo>
                    <a:pt x="12171" y="4309"/>
                  </a:lnTo>
                  <a:lnTo>
                    <a:pt x="12177" y="4305"/>
                  </a:lnTo>
                  <a:lnTo>
                    <a:pt x="12184" y="4304"/>
                  </a:lnTo>
                  <a:lnTo>
                    <a:pt x="12609" y="4304"/>
                  </a:lnTo>
                  <a:lnTo>
                    <a:pt x="12618" y="4271"/>
                  </a:lnTo>
                  <a:lnTo>
                    <a:pt x="12625" y="4239"/>
                  </a:lnTo>
                  <a:lnTo>
                    <a:pt x="12629" y="4204"/>
                  </a:lnTo>
                  <a:lnTo>
                    <a:pt x="12630" y="4171"/>
                  </a:lnTo>
                  <a:close/>
                  <a:moveTo>
                    <a:pt x="11425" y="3810"/>
                  </a:moveTo>
                  <a:lnTo>
                    <a:pt x="11524" y="3712"/>
                  </a:lnTo>
                  <a:lnTo>
                    <a:pt x="11532" y="3707"/>
                  </a:lnTo>
                  <a:lnTo>
                    <a:pt x="11539" y="3705"/>
                  </a:lnTo>
                  <a:lnTo>
                    <a:pt x="11547" y="3707"/>
                  </a:lnTo>
                  <a:lnTo>
                    <a:pt x="11553" y="3712"/>
                  </a:lnTo>
                  <a:lnTo>
                    <a:pt x="11557" y="3717"/>
                  </a:lnTo>
                  <a:lnTo>
                    <a:pt x="11558" y="3725"/>
                  </a:lnTo>
                  <a:lnTo>
                    <a:pt x="11557" y="3732"/>
                  </a:lnTo>
                  <a:lnTo>
                    <a:pt x="11553" y="3740"/>
                  </a:lnTo>
                  <a:lnTo>
                    <a:pt x="11426" y="3866"/>
                  </a:lnTo>
                  <a:lnTo>
                    <a:pt x="11425" y="3895"/>
                  </a:lnTo>
                  <a:lnTo>
                    <a:pt x="11460" y="3892"/>
                  </a:lnTo>
                  <a:lnTo>
                    <a:pt x="11494" y="3884"/>
                  </a:lnTo>
                  <a:lnTo>
                    <a:pt x="11528" y="3874"/>
                  </a:lnTo>
                  <a:lnTo>
                    <a:pt x="11558" y="3861"/>
                  </a:lnTo>
                  <a:lnTo>
                    <a:pt x="11589" y="3846"/>
                  </a:lnTo>
                  <a:lnTo>
                    <a:pt x="11617" y="3828"/>
                  </a:lnTo>
                  <a:lnTo>
                    <a:pt x="11643" y="3806"/>
                  </a:lnTo>
                  <a:lnTo>
                    <a:pt x="11667" y="3783"/>
                  </a:lnTo>
                  <a:lnTo>
                    <a:pt x="11689" y="3758"/>
                  </a:lnTo>
                  <a:lnTo>
                    <a:pt x="11710" y="3731"/>
                  </a:lnTo>
                  <a:lnTo>
                    <a:pt x="11726" y="3702"/>
                  </a:lnTo>
                  <a:lnTo>
                    <a:pt x="11741" y="3671"/>
                  </a:lnTo>
                  <a:lnTo>
                    <a:pt x="11752" y="3639"/>
                  </a:lnTo>
                  <a:lnTo>
                    <a:pt x="11761" y="3606"/>
                  </a:lnTo>
                  <a:lnTo>
                    <a:pt x="11766" y="3571"/>
                  </a:lnTo>
                  <a:lnTo>
                    <a:pt x="11767" y="3535"/>
                  </a:lnTo>
                  <a:lnTo>
                    <a:pt x="11765" y="3498"/>
                  </a:lnTo>
                  <a:lnTo>
                    <a:pt x="11760" y="3462"/>
                  </a:lnTo>
                  <a:lnTo>
                    <a:pt x="11751" y="3428"/>
                  </a:lnTo>
                  <a:lnTo>
                    <a:pt x="11739" y="3395"/>
                  </a:lnTo>
                  <a:lnTo>
                    <a:pt x="11724" y="3363"/>
                  </a:lnTo>
                  <a:lnTo>
                    <a:pt x="11706" y="3333"/>
                  </a:lnTo>
                  <a:lnTo>
                    <a:pt x="11684" y="3305"/>
                  </a:lnTo>
                  <a:lnTo>
                    <a:pt x="11661" y="3280"/>
                  </a:lnTo>
                  <a:lnTo>
                    <a:pt x="11635" y="3257"/>
                  </a:lnTo>
                  <a:lnTo>
                    <a:pt x="11608" y="3236"/>
                  </a:lnTo>
                  <a:lnTo>
                    <a:pt x="11578" y="3218"/>
                  </a:lnTo>
                  <a:lnTo>
                    <a:pt x="11547" y="3203"/>
                  </a:lnTo>
                  <a:lnTo>
                    <a:pt x="11530" y="3196"/>
                  </a:lnTo>
                  <a:lnTo>
                    <a:pt x="11514" y="3190"/>
                  </a:lnTo>
                  <a:lnTo>
                    <a:pt x="11479" y="3181"/>
                  </a:lnTo>
                  <a:lnTo>
                    <a:pt x="11443" y="3176"/>
                  </a:lnTo>
                  <a:lnTo>
                    <a:pt x="11406" y="3175"/>
                  </a:lnTo>
                  <a:lnTo>
                    <a:pt x="11369" y="3176"/>
                  </a:lnTo>
                  <a:lnTo>
                    <a:pt x="11333" y="3181"/>
                  </a:lnTo>
                  <a:lnTo>
                    <a:pt x="11298" y="3190"/>
                  </a:lnTo>
                  <a:lnTo>
                    <a:pt x="11265" y="3203"/>
                  </a:lnTo>
                  <a:lnTo>
                    <a:pt x="11233" y="3218"/>
                  </a:lnTo>
                  <a:lnTo>
                    <a:pt x="11203" y="3236"/>
                  </a:lnTo>
                  <a:lnTo>
                    <a:pt x="11175" y="3257"/>
                  </a:lnTo>
                  <a:lnTo>
                    <a:pt x="11149" y="3280"/>
                  </a:lnTo>
                  <a:lnTo>
                    <a:pt x="11126" y="3305"/>
                  </a:lnTo>
                  <a:lnTo>
                    <a:pt x="11106" y="3333"/>
                  </a:lnTo>
                  <a:lnTo>
                    <a:pt x="11088" y="3363"/>
                  </a:lnTo>
                  <a:lnTo>
                    <a:pt x="11072" y="3395"/>
                  </a:lnTo>
                  <a:lnTo>
                    <a:pt x="11066" y="3411"/>
                  </a:lnTo>
                  <a:lnTo>
                    <a:pt x="11060" y="3428"/>
                  </a:lnTo>
                  <a:lnTo>
                    <a:pt x="11051" y="3462"/>
                  </a:lnTo>
                  <a:lnTo>
                    <a:pt x="11046" y="3498"/>
                  </a:lnTo>
                  <a:lnTo>
                    <a:pt x="11044" y="3535"/>
                  </a:lnTo>
                  <a:lnTo>
                    <a:pt x="11046" y="3570"/>
                  </a:lnTo>
                  <a:lnTo>
                    <a:pt x="11051" y="3606"/>
                  </a:lnTo>
                  <a:lnTo>
                    <a:pt x="11060" y="3639"/>
                  </a:lnTo>
                  <a:lnTo>
                    <a:pt x="11070" y="3671"/>
                  </a:lnTo>
                  <a:lnTo>
                    <a:pt x="11085" y="3702"/>
                  </a:lnTo>
                  <a:lnTo>
                    <a:pt x="11102" y="3731"/>
                  </a:lnTo>
                  <a:lnTo>
                    <a:pt x="11121" y="3758"/>
                  </a:lnTo>
                  <a:lnTo>
                    <a:pt x="11143" y="3783"/>
                  </a:lnTo>
                  <a:lnTo>
                    <a:pt x="11167" y="3806"/>
                  </a:lnTo>
                  <a:lnTo>
                    <a:pt x="11193" y="3827"/>
                  </a:lnTo>
                  <a:lnTo>
                    <a:pt x="11221" y="3846"/>
                  </a:lnTo>
                  <a:lnTo>
                    <a:pt x="11252" y="3861"/>
                  </a:lnTo>
                  <a:lnTo>
                    <a:pt x="11283" y="3874"/>
                  </a:lnTo>
                  <a:lnTo>
                    <a:pt x="11316" y="3884"/>
                  </a:lnTo>
                  <a:lnTo>
                    <a:pt x="11349" y="3891"/>
                  </a:lnTo>
                  <a:lnTo>
                    <a:pt x="11385" y="3895"/>
                  </a:lnTo>
                  <a:lnTo>
                    <a:pt x="11385" y="3757"/>
                  </a:lnTo>
                  <a:lnTo>
                    <a:pt x="11258" y="3631"/>
                  </a:lnTo>
                  <a:lnTo>
                    <a:pt x="11253" y="3624"/>
                  </a:lnTo>
                  <a:lnTo>
                    <a:pt x="11252" y="3616"/>
                  </a:lnTo>
                  <a:lnTo>
                    <a:pt x="11255" y="3608"/>
                  </a:lnTo>
                  <a:lnTo>
                    <a:pt x="11258" y="3602"/>
                  </a:lnTo>
                  <a:lnTo>
                    <a:pt x="11265" y="3598"/>
                  </a:lnTo>
                  <a:lnTo>
                    <a:pt x="11271" y="3597"/>
                  </a:lnTo>
                  <a:lnTo>
                    <a:pt x="11279" y="3598"/>
                  </a:lnTo>
                  <a:lnTo>
                    <a:pt x="11287" y="3602"/>
                  </a:lnTo>
                  <a:lnTo>
                    <a:pt x="11385" y="3700"/>
                  </a:lnTo>
                  <a:lnTo>
                    <a:pt x="11385" y="3589"/>
                  </a:lnTo>
                  <a:lnTo>
                    <a:pt x="11385" y="3581"/>
                  </a:lnTo>
                  <a:lnTo>
                    <a:pt x="11385" y="3447"/>
                  </a:lnTo>
                  <a:lnTo>
                    <a:pt x="11387" y="3439"/>
                  </a:lnTo>
                  <a:lnTo>
                    <a:pt x="11392" y="3433"/>
                  </a:lnTo>
                  <a:lnTo>
                    <a:pt x="11398" y="3429"/>
                  </a:lnTo>
                  <a:lnTo>
                    <a:pt x="11405" y="3428"/>
                  </a:lnTo>
                  <a:lnTo>
                    <a:pt x="11412" y="3429"/>
                  </a:lnTo>
                  <a:lnTo>
                    <a:pt x="11419" y="3433"/>
                  </a:lnTo>
                  <a:lnTo>
                    <a:pt x="11424" y="3439"/>
                  </a:lnTo>
                  <a:lnTo>
                    <a:pt x="11425" y="3447"/>
                  </a:lnTo>
                  <a:lnTo>
                    <a:pt x="11425" y="3537"/>
                  </a:lnTo>
                  <a:lnTo>
                    <a:pt x="11517" y="3445"/>
                  </a:lnTo>
                  <a:lnTo>
                    <a:pt x="11525" y="3439"/>
                  </a:lnTo>
                  <a:lnTo>
                    <a:pt x="11533" y="3438"/>
                  </a:lnTo>
                  <a:lnTo>
                    <a:pt x="11541" y="3441"/>
                  </a:lnTo>
                  <a:lnTo>
                    <a:pt x="11546" y="3445"/>
                  </a:lnTo>
                  <a:lnTo>
                    <a:pt x="11551" y="3451"/>
                  </a:lnTo>
                  <a:lnTo>
                    <a:pt x="11552" y="3457"/>
                  </a:lnTo>
                  <a:lnTo>
                    <a:pt x="11551" y="3465"/>
                  </a:lnTo>
                  <a:lnTo>
                    <a:pt x="11546" y="3473"/>
                  </a:lnTo>
                  <a:lnTo>
                    <a:pt x="11425" y="3593"/>
                  </a:lnTo>
                  <a:lnTo>
                    <a:pt x="11425" y="3810"/>
                  </a:lnTo>
                  <a:close/>
                  <a:moveTo>
                    <a:pt x="11847" y="2875"/>
                  </a:moveTo>
                  <a:lnTo>
                    <a:pt x="11847" y="2753"/>
                  </a:lnTo>
                  <a:lnTo>
                    <a:pt x="11743" y="2650"/>
                  </a:lnTo>
                  <a:lnTo>
                    <a:pt x="11738" y="2643"/>
                  </a:lnTo>
                  <a:lnTo>
                    <a:pt x="11737" y="2635"/>
                  </a:lnTo>
                  <a:lnTo>
                    <a:pt x="11739" y="2627"/>
                  </a:lnTo>
                  <a:lnTo>
                    <a:pt x="11743" y="2622"/>
                  </a:lnTo>
                  <a:lnTo>
                    <a:pt x="11750" y="2617"/>
                  </a:lnTo>
                  <a:lnTo>
                    <a:pt x="11757" y="2616"/>
                  </a:lnTo>
                  <a:lnTo>
                    <a:pt x="11764" y="2617"/>
                  </a:lnTo>
                  <a:lnTo>
                    <a:pt x="11771" y="2622"/>
                  </a:lnTo>
                  <a:lnTo>
                    <a:pt x="11847" y="2696"/>
                  </a:lnTo>
                  <a:lnTo>
                    <a:pt x="11847" y="2643"/>
                  </a:lnTo>
                  <a:lnTo>
                    <a:pt x="11848" y="2634"/>
                  </a:lnTo>
                  <a:lnTo>
                    <a:pt x="11853" y="2627"/>
                  </a:lnTo>
                  <a:lnTo>
                    <a:pt x="11860" y="2624"/>
                  </a:lnTo>
                  <a:lnTo>
                    <a:pt x="11866" y="2622"/>
                  </a:lnTo>
                  <a:lnTo>
                    <a:pt x="11874" y="2624"/>
                  </a:lnTo>
                  <a:lnTo>
                    <a:pt x="11880" y="2627"/>
                  </a:lnTo>
                  <a:lnTo>
                    <a:pt x="11885" y="2634"/>
                  </a:lnTo>
                  <a:lnTo>
                    <a:pt x="11887" y="2643"/>
                  </a:lnTo>
                  <a:lnTo>
                    <a:pt x="11887" y="2741"/>
                  </a:lnTo>
                  <a:lnTo>
                    <a:pt x="11887" y="2748"/>
                  </a:lnTo>
                  <a:lnTo>
                    <a:pt x="11887" y="2831"/>
                  </a:lnTo>
                  <a:lnTo>
                    <a:pt x="12024" y="2693"/>
                  </a:lnTo>
                  <a:lnTo>
                    <a:pt x="12032" y="2688"/>
                  </a:lnTo>
                  <a:lnTo>
                    <a:pt x="12039" y="2686"/>
                  </a:lnTo>
                  <a:lnTo>
                    <a:pt x="12047" y="2689"/>
                  </a:lnTo>
                  <a:lnTo>
                    <a:pt x="12052" y="2693"/>
                  </a:lnTo>
                  <a:lnTo>
                    <a:pt x="12057" y="2699"/>
                  </a:lnTo>
                  <a:lnTo>
                    <a:pt x="12059" y="2707"/>
                  </a:lnTo>
                  <a:lnTo>
                    <a:pt x="12057" y="2714"/>
                  </a:lnTo>
                  <a:lnTo>
                    <a:pt x="12052" y="2721"/>
                  </a:lnTo>
                  <a:lnTo>
                    <a:pt x="11887" y="2887"/>
                  </a:lnTo>
                  <a:lnTo>
                    <a:pt x="11887" y="2960"/>
                  </a:lnTo>
                  <a:lnTo>
                    <a:pt x="11887" y="2968"/>
                  </a:lnTo>
                  <a:lnTo>
                    <a:pt x="11887" y="3172"/>
                  </a:lnTo>
                  <a:lnTo>
                    <a:pt x="11897" y="3164"/>
                  </a:lnTo>
                  <a:lnTo>
                    <a:pt x="11907" y="3156"/>
                  </a:lnTo>
                  <a:lnTo>
                    <a:pt x="11919" y="3147"/>
                  </a:lnTo>
                  <a:lnTo>
                    <a:pt x="11932" y="3138"/>
                  </a:lnTo>
                  <a:lnTo>
                    <a:pt x="11947" y="3130"/>
                  </a:lnTo>
                  <a:lnTo>
                    <a:pt x="11968" y="3126"/>
                  </a:lnTo>
                  <a:lnTo>
                    <a:pt x="11993" y="3125"/>
                  </a:lnTo>
                  <a:lnTo>
                    <a:pt x="12027" y="3129"/>
                  </a:lnTo>
                  <a:lnTo>
                    <a:pt x="12043" y="3131"/>
                  </a:lnTo>
                  <a:lnTo>
                    <a:pt x="12056" y="3131"/>
                  </a:lnTo>
                  <a:lnTo>
                    <a:pt x="12066" y="3129"/>
                  </a:lnTo>
                  <a:lnTo>
                    <a:pt x="12075" y="3125"/>
                  </a:lnTo>
                  <a:lnTo>
                    <a:pt x="12088" y="3112"/>
                  </a:lnTo>
                  <a:lnTo>
                    <a:pt x="12097" y="3097"/>
                  </a:lnTo>
                  <a:lnTo>
                    <a:pt x="12106" y="3078"/>
                  </a:lnTo>
                  <a:lnTo>
                    <a:pt x="12118" y="3058"/>
                  </a:lnTo>
                  <a:lnTo>
                    <a:pt x="12135" y="3040"/>
                  </a:lnTo>
                  <a:lnTo>
                    <a:pt x="12148" y="3033"/>
                  </a:lnTo>
                  <a:lnTo>
                    <a:pt x="12162" y="3026"/>
                  </a:lnTo>
                  <a:lnTo>
                    <a:pt x="12211" y="3012"/>
                  </a:lnTo>
                  <a:lnTo>
                    <a:pt x="12224" y="3007"/>
                  </a:lnTo>
                  <a:lnTo>
                    <a:pt x="12232" y="3001"/>
                  </a:lnTo>
                  <a:lnTo>
                    <a:pt x="12237" y="2992"/>
                  </a:lnTo>
                  <a:lnTo>
                    <a:pt x="12238" y="2978"/>
                  </a:lnTo>
                  <a:lnTo>
                    <a:pt x="12242" y="2928"/>
                  </a:lnTo>
                  <a:lnTo>
                    <a:pt x="12244" y="2911"/>
                  </a:lnTo>
                  <a:lnTo>
                    <a:pt x="12250" y="2897"/>
                  </a:lnTo>
                  <a:lnTo>
                    <a:pt x="12262" y="2875"/>
                  </a:lnTo>
                  <a:lnTo>
                    <a:pt x="12270" y="2868"/>
                  </a:lnTo>
                  <a:lnTo>
                    <a:pt x="12279" y="2860"/>
                  </a:lnTo>
                  <a:lnTo>
                    <a:pt x="12296" y="2847"/>
                  </a:lnTo>
                  <a:lnTo>
                    <a:pt x="12310" y="2836"/>
                  </a:lnTo>
                  <a:lnTo>
                    <a:pt x="12315" y="2828"/>
                  </a:lnTo>
                  <a:lnTo>
                    <a:pt x="12319" y="2821"/>
                  </a:lnTo>
                  <a:lnTo>
                    <a:pt x="12320" y="2812"/>
                  </a:lnTo>
                  <a:lnTo>
                    <a:pt x="12320" y="2801"/>
                  </a:lnTo>
                  <a:lnTo>
                    <a:pt x="12312" y="2773"/>
                  </a:lnTo>
                  <a:lnTo>
                    <a:pt x="12300" y="2743"/>
                  </a:lnTo>
                  <a:lnTo>
                    <a:pt x="12294" y="2727"/>
                  </a:lnTo>
                  <a:lnTo>
                    <a:pt x="12293" y="2711"/>
                  </a:lnTo>
                  <a:lnTo>
                    <a:pt x="12294" y="2693"/>
                  </a:lnTo>
                  <a:lnTo>
                    <a:pt x="12300" y="2676"/>
                  </a:lnTo>
                  <a:lnTo>
                    <a:pt x="12318" y="2629"/>
                  </a:lnTo>
                  <a:lnTo>
                    <a:pt x="12323" y="2616"/>
                  </a:lnTo>
                  <a:lnTo>
                    <a:pt x="12323" y="2606"/>
                  </a:lnTo>
                  <a:lnTo>
                    <a:pt x="12319" y="2598"/>
                  </a:lnTo>
                  <a:lnTo>
                    <a:pt x="12309" y="2588"/>
                  </a:lnTo>
                  <a:lnTo>
                    <a:pt x="12271" y="2553"/>
                  </a:lnTo>
                  <a:lnTo>
                    <a:pt x="12261" y="2540"/>
                  </a:lnTo>
                  <a:lnTo>
                    <a:pt x="12252" y="2529"/>
                  </a:lnTo>
                  <a:lnTo>
                    <a:pt x="12247" y="2516"/>
                  </a:lnTo>
                  <a:lnTo>
                    <a:pt x="12243" y="2505"/>
                  </a:lnTo>
                  <a:lnTo>
                    <a:pt x="12242" y="2483"/>
                  </a:lnTo>
                  <a:lnTo>
                    <a:pt x="12242" y="2461"/>
                  </a:lnTo>
                  <a:lnTo>
                    <a:pt x="12241" y="2443"/>
                  </a:lnTo>
                  <a:lnTo>
                    <a:pt x="12238" y="2434"/>
                  </a:lnTo>
                  <a:lnTo>
                    <a:pt x="12236" y="2427"/>
                  </a:lnTo>
                  <a:lnTo>
                    <a:pt x="12229" y="2419"/>
                  </a:lnTo>
                  <a:lnTo>
                    <a:pt x="12220" y="2413"/>
                  </a:lnTo>
                  <a:lnTo>
                    <a:pt x="12209" y="2406"/>
                  </a:lnTo>
                  <a:lnTo>
                    <a:pt x="12193" y="2401"/>
                  </a:lnTo>
                  <a:lnTo>
                    <a:pt x="12164" y="2393"/>
                  </a:lnTo>
                  <a:lnTo>
                    <a:pt x="12143" y="2384"/>
                  </a:lnTo>
                  <a:lnTo>
                    <a:pt x="12129" y="2376"/>
                  </a:lnTo>
                  <a:lnTo>
                    <a:pt x="12120" y="2365"/>
                  </a:lnTo>
                  <a:lnTo>
                    <a:pt x="12106" y="2340"/>
                  </a:lnTo>
                  <a:lnTo>
                    <a:pt x="12096" y="2322"/>
                  </a:lnTo>
                  <a:lnTo>
                    <a:pt x="12082" y="2301"/>
                  </a:lnTo>
                  <a:lnTo>
                    <a:pt x="12077" y="2295"/>
                  </a:lnTo>
                  <a:lnTo>
                    <a:pt x="12070" y="2291"/>
                  </a:lnTo>
                  <a:lnTo>
                    <a:pt x="12055" y="2287"/>
                  </a:lnTo>
                  <a:lnTo>
                    <a:pt x="12038" y="2289"/>
                  </a:lnTo>
                  <a:lnTo>
                    <a:pt x="12020" y="2292"/>
                  </a:lnTo>
                  <a:lnTo>
                    <a:pt x="12000" y="2296"/>
                  </a:lnTo>
                  <a:lnTo>
                    <a:pt x="11978" y="2296"/>
                  </a:lnTo>
                  <a:lnTo>
                    <a:pt x="11955" y="2292"/>
                  </a:lnTo>
                  <a:lnTo>
                    <a:pt x="11930" y="2281"/>
                  </a:lnTo>
                  <a:lnTo>
                    <a:pt x="11900" y="2259"/>
                  </a:lnTo>
                  <a:lnTo>
                    <a:pt x="11882" y="2248"/>
                  </a:lnTo>
                  <a:lnTo>
                    <a:pt x="11866" y="2244"/>
                  </a:lnTo>
                  <a:lnTo>
                    <a:pt x="11851" y="2246"/>
                  </a:lnTo>
                  <a:lnTo>
                    <a:pt x="11843" y="2250"/>
                  </a:lnTo>
                  <a:lnTo>
                    <a:pt x="11837" y="2254"/>
                  </a:lnTo>
                  <a:lnTo>
                    <a:pt x="11812" y="2276"/>
                  </a:lnTo>
                  <a:lnTo>
                    <a:pt x="11796" y="2286"/>
                  </a:lnTo>
                  <a:lnTo>
                    <a:pt x="11774" y="2294"/>
                  </a:lnTo>
                  <a:lnTo>
                    <a:pt x="11744" y="2295"/>
                  </a:lnTo>
                  <a:lnTo>
                    <a:pt x="11726" y="2294"/>
                  </a:lnTo>
                  <a:lnTo>
                    <a:pt x="11706" y="2291"/>
                  </a:lnTo>
                  <a:lnTo>
                    <a:pt x="11691" y="2289"/>
                  </a:lnTo>
                  <a:lnTo>
                    <a:pt x="11676" y="2289"/>
                  </a:lnTo>
                  <a:lnTo>
                    <a:pt x="11666" y="2291"/>
                  </a:lnTo>
                  <a:lnTo>
                    <a:pt x="11658" y="2295"/>
                  </a:lnTo>
                  <a:lnTo>
                    <a:pt x="11646" y="2308"/>
                  </a:lnTo>
                  <a:lnTo>
                    <a:pt x="11637" y="2324"/>
                  </a:lnTo>
                  <a:lnTo>
                    <a:pt x="11628" y="2342"/>
                  </a:lnTo>
                  <a:lnTo>
                    <a:pt x="11616" y="2361"/>
                  </a:lnTo>
                  <a:lnTo>
                    <a:pt x="11598" y="2379"/>
                  </a:lnTo>
                  <a:lnTo>
                    <a:pt x="11585" y="2387"/>
                  </a:lnTo>
                  <a:lnTo>
                    <a:pt x="11570" y="2393"/>
                  </a:lnTo>
                  <a:lnTo>
                    <a:pt x="11521" y="2409"/>
                  </a:lnTo>
                  <a:lnTo>
                    <a:pt x="11508" y="2414"/>
                  </a:lnTo>
                  <a:lnTo>
                    <a:pt x="11501" y="2419"/>
                  </a:lnTo>
                  <a:lnTo>
                    <a:pt x="11497" y="2428"/>
                  </a:lnTo>
                  <a:lnTo>
                    <a:pt x="11494" y="2442"/>
                  </a:lnTo>
                  <a:lnTo>
                    <a:pt x="11491" y="2492"/>
                  </a:lnTo>
                  <a:lnTo>
                    <a:pt x="11488" y="2509"/>
                  </a:lnTo>
                  <a:lnTo>
                    <a:pt x="11484" y="2523"/>
                  </a:lnTo>
                  <a:lnTo>
                    <a:pt x="11470" y="2544"/>
                  </a:lnTo>
                  <a:lnTo>
                    <a:pt x="11462" y="2552"/>
                  </a:lnTo>
                  <a:lnTo>
                    <a:pt x="11455" y="2560"/>
                  </a:lnTo>
                  <a:lnTo>
                    <a:pt x="11438" y="2572"/>
                  </a:lnTo>
                  <a:lnTo>
                    <a:pt x="11424" y="2585"/>
                  </a:lnTo>
                  <a:lnTo>
                    <a:pt x="11419" y="2592"/>
                  </a:lnTo>
                  <a:lnTo>
                    <a:pt x="11415" y="2599"/>
                  </a:lnTo>
                  <a:lnTo>
                    <a:pt x="11412" y="2608"/>
                  </a:lnTo>
                  <a:lnTo>
                    <a:pt x="11412" y="2620"/>
                  </a:lnTo>
                  <a:lnTo>
                    <a:pt x="11421" y="2647"/>
                  </a:lnTo>
                  <a:lnTo>
                    <a:pt x="11434" y="2677"/>
                  </a:lnTo>
                  <a:lnTo>
                    <a:pt x="11438" y="2694"/>
                  </a:lnTo>
                  <a:lnTo>
                    <a:pt x="11440" y="2711"/>
                  </a:lnTo>
                  <a:lnTo>
                    <a:pt x="11438" y="2732"/>
                  </a:lnTo>
                  <a:lnTo>
                    <a:pt x="11432" y="2751"/>
                  </a:lnTo>
                  <a:lnTo>
                    <a:pt x="11416" y="2782"/>
                  </a:lnTo>
                  <a:lnTo>
                    <a:pt x="11411" y="2797"/>
                  </a:lnTo>
                  <a:lnTo>
                    <a:pt x="11411" y="2805"/>
                  </a:lnTo>
                  <a:lnTo>
                    <a:pt x="11412" y="2812"/>
                  </a:lnTo>
                  <a:lnTo>
                    <a:pt x="11420" y="2828"/>
                  </a:lnTo>
                  <a:lnTo>
                    <a:pt x="11438" y="2847"/>
                  </a:lnTo>
                  <a:lnTo>
                    <a:pt x="11461" y="2868"/>
                  </a:lnTo>
                  <a:lnTo>
                    <a:pt x="11476" y="2884"/>
                  </a:lnTo>
                  <a:lnTo>
                    <a:pt x="11484" y="2899"/>
                  </a:lnTo>
                  <a:lnTo>
                    <a:pt x="11488" y="2911"/>
                  </a:lnTo>
                  <a:lnTo>
                    <a:pt x="11491" y="2941"/>
                  </a:lnTo>
                  <a:lnTo>
                    <a:pt x="11491" y="2960"/>
                  </a:lnTo>
                  <a:lnTo>
                    <a:pt x="11494" y="2985"/>
                  </a:lnTo>
                  <a:lnTo>
                    <a:pt x="11502" y="3000"/>
                  </a:lnTo>
                  <a:lnTo>
                    <a:pt x="11514" y="3010"/>
                  </a:lnTo>
                  <a:lnTo>
                    <a:pt x="11529" y="3015"/>
                  </a:lnTo>
                  <a:lnTo>
                    <a:pt x="11547" y="3020"/>
                  </a:lnTo>
                  <a:lnTo>
                    <a:pt x="11567" y="3026"/>
                  </a:lnTo>
                  <a:lnTo>
                    <a:pt x="11587" y="3034"/>
                  </a:lnTo>
                  <a:lnTo>
                    <a:pt x="11606" y="3048"/>
                  </a:lnTo>
                  <a:lnTo>
                    <a:pt x="11615" y="3057"/>
                  </a:lnTo>
                  <a:lnTo>
                    <a:pt x="11623" y="3069"/>
                  </a:lnTo>
                  <a:lnTo>
                    <a:pt x="11648" y="3112"/>
                  </a:lnTo>
                  <a:lnTo>
                    <a:pt x="11656" y="3124"/>
                  </a:lnTo>
                  <a:lnTo>
                    <a:pt x="11664" y="3130"/>
                  </a:lnTo>
                  <a:lnTo>
                    <a:pt x="11673" y="3133"/>
                  </a:lnTo>
                  <a:lnTo>
                    <a:pt x="11687" y="3131"/>
                  </a:lnTo>
                  <a:lnTo>
                    <a:pt x="11737" y="3124"/>
                  </a:lnTo>
                  <a:lnTo>
                    <a:pt x="11757" y="3124"/>
                  </a:lnTo>
                  <a:lnTo>
                    <a:pt x="11774" y="3126"/>
                  </a:lnTo>
                  <a:lnTo>
                    <a:pt x="11789" y="3131"/>
                  </a:lnTo>
                  <a:lnTo>
                    <a:pt x="11803" y="3139"/>
                  </a:lnTo>
                  <a:lnTo>
                    <a:pt x="11826" y="3156"/>
                  </a:lnTo>
                  <a:lnTo>
                    <a:pt x="11847" y="3171"/>
                  </a:lnTo>
                  <a:lnTo>
                    <a:pt x="11847" y="2973"/>
                  </a:lnTo>
                  <a:lnTo>
                    <a:pt x="11769" y="2895"/>
                  </a:lnTo>
                  <a:lnTo>
                    <a:pt x="11764" y="2887"/>
                  </a:lnTo>
                  <a:lnTo>
                    <a:pt x="11762" y="2879"/>
                  </a:lnTo>
                  <a:lnTo>
                    <a:pt x="11765" y="2873"/>
                  </a:lnTo>
                  <a:lnTo>
                    <a:pt x="11769" y="2867"/>
                  </a:lnTo>
                  <a:lnTo>
                    <a:pt x="11775" y="2863"/>
                  </a:lnTo>
                  <a:lnTo>
                    <a:pt x="11782" y="2860"/>
                  </a:lnTo>
                  <a:lnTo>
                    <a:pt x="11789" y="2861"/>
                  </a:lnTo>
                  <a:lnTo>
                    <a:pt x="11797" y="2867"/>
                  </a:lnTo>
                  <a:lnTo>
                    <a:pt x="11847" y="2916"/>
                  </a:lnTo>
                  <a:lnTo>
                    <a:pt x="11847" y="2882"/>
                  </a:lnTo>
                  <a:lnTo>
                    <a:pt x="11847" y="2875"/>
                  </a:lnTo>
                  <a:close/>
                  <a:moveTo>
                    <a:pt x="11887" y="2960"/>
                  </a:moveTo>
                  <a:lnTo>
                    <a:pt x="11887" y="2968"/>
                  </a:lnTo>
                  <a:lnTo>
                    <a:pt x="11887" y="2960"/>
                  </a:lnTo>
                  <a:close/>
                  <a:moveTo>
                    <a:pt x="11887" y="2741"/>
                  </a:moveTo>
                  <a:lnTo>
                    <a:pt x="11887" y="2748"/>
                  </a:lnTo>
                  <a:lnTo>
                    <a:pt x="11887" y="2741"/>
                  </a:lnTo>
                  <a:close/>
                  <a:moveTo>
                    <a:pt x="11847" y="2882"/>
                  </a:moveTo>
                  <a:lnTo>
                    <a:pt x="11847" y="2875"/>
                  </a:lnTo>
                  <a:lnTo>
                    <a:pt x="11847" y="2882"/>
                  </a:lnTo>
                  <a:close/>
                  <a:moveTo>
                    <a:pt x="9740" y="1741"/>
                  </a:moveTo>
                  <a:lnTo>
                    <a:pt x="9740" y="1619"/>
                  </a:lnTo>
                  <a:lnTo>
                    <a:pt x="9741" y="1611"/>
                  </a:lnTo>
                  <a:lnTo>
                    <a:pt x="9747" y="1604"/>
                  </a:lnTo>
                  <a:lnTo>
                    <a:pt x="9753" y="1601"/>
                  </a:lnTo>
                  <a:lnTo>
                    <a:pt x="9761" y="1599"/>
                  </a:lnTo>
                  <a:lnTo>
                    <a:pt x="10006" y="1599"/>
                  </a:lnTo>
                  <a:lnTo>
                    <a:pt x="10013" y="1601"/>
                  </a:lnTo>
                  <a:lnTo>
                    <a:pt x="10020" y="1604"/>
                  </a:lnTo>
                  <a:lnTo>
                    <a:pt x="10024" y="1611"/>
                  </a:lnTo>
                  <a:lnTo>
                    <a:pt x="10026" y="1619"/>
                  </a:lnTo>
                  <a:lnTo>
                    <a:pt x="10026" y="1741"/>
                  </a:lnTo>
                  <a:lnTo>
                    <a:pt x="10978" y="1741"/>
                  </a:lnTo>
                  <a:lnTo>
                    <a:pt x="10987" y="1744"/>
                  </a:lnTo>
                  <a:lnTo>
                    <a:pt x="10994" y="1749"/>
                  </a:lnTo>
                  <a:lnTo>
                    <a:pt x="11211" y="2048"/>
                  </a:lnTo>
                  <a:lnTo>
                    <a:pt x="11235" y="2048"/>
                  </a:lnTo>
                  <a:lnTo>
                    <a:pt x="11242" y="2051"/>
                  </a:lnTo>
                  <a:lnTo>
                    <a:pt x="11248" y="2055"/>
                  </a:lnTo>
                  <a:lnTo>
                    <a:pt x="11253" y="2061"/>
                  </a:lnTo>
                  <a:lnTo>
                    <a:pt x="11255" y="2069"/>
                  </a:lnTo>
                  <a:lnTo>
                    <a:pt x="11255" y="2241"/>
                  </a:lnTo>
                  <a:lnTo>
                    <a:pt x="11253" y="2249"/>
                  </a:lnTo>
                  <a:lnTo>
                    <a:pt x="11248" y="2255"/>
                  </a:lnTo>
                  <a:lnTo>
                    <a:pt x="11242" y="2260"/>
                  </a:lnTo>
                  <a:lnTo>
                    <a:pt x="11235" y="2262"/>
                  </a:lnTo>
                  <a:lnTo>
                    <a:pt x="11224" y="2262"/>
                  </a:lnTo>
                  <a:lnTo>
                    <a:pt x="11224" y="3107"/>
                  </a:lnTo>
                  <a:lnTo>
                    <a:pt x="11223" y="3116"/>
                  </a:lnTo>
                  <a:lnTo>
                    <a:pt x="11217" y="3122"/>
                  </a:lnTo>
                  <a:lnTo>
                    <a:pt x="11211" y="3126"/>
                  </a:lnTo>
                  <a:lnTo>
                    <a:pt x="11205" y="3127"/>
                  </a:lnTo>
                  <a:lnTo>
                    <a:pt x="11197" y="3126"/>
                  </a:lnTo>
                  <a:lnTo>
                    <a:pt x="11190" y="3122"/>
                  </a:lnTo>
                  <a:lnTo>
                    <a:pt x="11185" y="3116"/>
                  </a:lnTo>
                  <a:lnTo>
                    <a:pt x="11184" y="3107"/>
                  </a:lnTo>
                  <a:lnTo>
                    <a:pt x="11184" y="2262"/>
                  </a:lnTo>
                  <a:lnTo>
                    <a:pt x="10285" y="2262"/>
                  </a:lnTo>
                  <a:lnTo>
                    <a:pt x="9388" y="2262"/>
                  </a:lnTo>
                  <a:lnTo>
                    <a:pt x="9388" y="3282"/>
                  </a:lnTo>
                  <a:lnTo>
                    <a:pt x="9388" y="4304"/>
                  </a:lnTo>
                  <a:lnTo>
                    <a:pt x="10285" y="4304"/>
                  </a:lnTo>
                  <a:lnTo>
                    <a:pt x="11184" y="4304"/>
                  </a:lnTo>
                  <a:lnTo>
                    <a:pt x="11184" y="3976"/>
                  </a:lnTo>
                  <a:lnTo>
                    <a:pt x="11185" y="3969"/>
                  </a:lnTo>
                  <a:lnTo>
                    <a:pt x="11190" y="3962"/>
                  </a:lnTo>
                  <a:lnTo>
                    <a:pt x="11197" y="3959"/>
                  </a:lnTo>
                  <a:lnTo>
                    <a:pt x="11205" y="3957"/>
                  </a:lnTo>
                  <a:lnTo>
                    <a:pt x="11211" y="3959"/>
                  </a:lnTo>
                  <a:lnTo>
                    <a:pt x="11217" y="3962"/>
                  </a:lnTo>
                  <a:lnTo>
                    <a:pt x="11223" y="3969"/>
                  </a:lnTo>
                  <a:lnTo>
                    <a:pt x="11224" y="3976"/>
                  </a:lnTo>
                  <a:lnTo>
                    <a:pt x="11224" y="4324"/>
                  </a:lnTo>
                  <a:lnTo>
                    <a:pt x="11223" y="4332"/>
                  </a:lnTo>
                  <a:lnTo>
                    <a:pt x="11217" y="4338"/>
                  </a:lnTo>
                  <a:lnTo>
                    <a:pt x="11211" y="4342"/>
                  </a:lnTo>
                  <a:lnTo>
                    <a:pt x="11205" y="4343"/>
                  </a:lnTo>
                  <a:lnTo>
                    <a:pt x="10285" y="4343"/>
                  </a:lnTo>
                  <a:lnTo>
                    <a:pt x="9367" y="4343"/>
                  </a:lnTo>
                  <a:lnTo>
                    <a:pt x="9361" y="4342"/>
                  </a:lnTo>
                  <a:lnTo>
                    <a:pt x="9354" y="4338"/>
                  </a:lnTo>
                  <a:lnTo>
                    <a:pt x="9349" y="4332"/>
                  </a:lnTo>
                  <a:lnTo>
                    <a:pt x="9348" y="4324"/>
                  </a:lnTo>
                  <a:lnTo>
                    <a:pt x="9348" y="3808"/>
                  </a:lnTo>
                  <a:lnTo>
                    <a:pt x="9348" y="3292"/>
                  </a:lnTo>
                  <a:lnTo>
                    <a:pt x="9348" y="2777"/>
                  </a:lnTo>
                  <a:lnTo>
                    <a:pt x="9348" y="2262"/>
                  </a:lnTo>
                  <a:lnTo>
                    <a:pt x="9336" y="2262"/>
                  </a:lnTo>
                  <a:lnTo>
                    <a:pt x="9329" y="2260"/>
                  </a:lnTo>
                  <a:lnTo>
                    <a:pt x="9322" y="2255"/>
                  </a:lnTo>
                  <a:lnTo>
                    <a:pt x="9318" y="2249"/>
                  </a:lnTo>
                  <a:lnTo>
                    <a:pt x="9317" y="2241"/>
                  </a:lnTo>
                  <a:lnTo>
                    <a:pt x="9317" y="2069"/>
                  </a:lnTo>
                  <a:lnTo>
                    <a:pt x="9318" y="2061"/>
                  </a:lnTo>
                  <a:lnTo>
                    <a:pt x="9322" y="2055"/>
                  </a:lnTo>
                  <a:lnTo>
                    <a:pt x="9329" y="2051"/>
                  </a:lnTo>
                  <a:lnTo>
                    <a:pt x="9336" y="2048"/>
                  </a:lnTo>
                  <a:lnTo>
                    <a:pt x="9364" y="2048"/>
                  </a:lnTo>
                  <a:lnTo>
                    <a:pt x="9581" y="1749"/>
                  </a:lnTo>
                  <a:lnTo>
                    <a:pt x="9589" y="1744"/>
                  </a:lnTo>
                  <a:lnTo>
                    <a:pt x="9598" y="1741"/>
                  </a:lnTo>
                  <a:lnTo>
                    <a:pt x="9740" y="1741"/>
                  </a:lnTo>
                  <a:close/>
                  <a:moveTo>
                    <a:pt x="9985" y="1741"/>
                  </a:moveTo>
                  <a:lnTo>
                    <a:pt x="9985" y="1639"/>
                  </a:lnTo>
                  <a:lnTo>
                    <a:pt x="9780" y="1639"/>
                  </a:lnTo>
                  <a:lnTo>
                    <a:pt x="9780" y="1741"/>
                  </a:lnTo>
                  <a:lnTo>
                    <a:pt x="9799" y="1741"/>
                  </a:lnTo>
                  <a:lnTo>
                    <a:pt x="9808" y="1743"/>
                  </a:lnTo>
                  <a:lnTo>
                    <a:pt x="9815" y="1748"/>
                  </a:lnTo>
                  <a:lnTo>
                    <a:pt x="9818" y="1754"/>
                  </a:lnTo>
                  <a:lnTo>
                    <a:pt x="9820" y="1762"/>
                  </a:lnTo>
                  <a:lnTo>
                    <a:pt x="9818" y="1768"/>
                  </a:lnTo>
                  <a:lnTo>
                    <a:pt x="9815" y="1775"/>
                  </a:lnTo>
                  <a:lnTo>
                    <a:pt x="9808" y="1780"/>
                  </a:lnTo>
                  <a:lnTo>
                    <a:pt x="9799" y="1781"/>
                  </a:lnTo>
                  <a:lnTo>
                    <a:pt x="9607" y="1781"/>
                  </a:lnTo>
                  <a:lnTo>
                    <a:pt x="9413" y="2048"/>
                  </a:lnTo>
                  <a:lnTo>
                    <a:pt x="10288" y="2048"/>
                  </a:lnTo>
                  <a:lnTo>
                    <a:pt x="11162" y="2048"/>
                  </a:lnTo>
                  <a:lnTo>
                    <a:pt x="10967" y="1781"/>
                  </a:lnTo>
                  <a:lnTo>
                    <a:pt x="9953" y="1781"/>
                  </a:lnTo>
                  <a:lnTo>
                    <a:pt x="9944" y="1780"/>
                  </a:lnTo>
                  <a:lnTo>
                    <a:pt x="9938" y="1775"/>
                  </a:lnTo>
                  <a:lnTo>
                    <a:pt x="9934" y="1768"/>
                  </a:lnTo>
                  <a:lnTo>
                    <a:pt x="9933" y="1762"/>
                  </a:lnTo>
                  <a:lnTo>
                    <a:pt x="9934" y="1754"/>
                  </a:lnTo>
                  <a:lnTo>
                    <a:pt x="9938" y="1748"/>
                  </a:lnTo>
                  <a:lnTo>
                    <a:pt x="9944" y="1743"/>
                  </a:lnTo>
                  <a:lnTo>
                    <a:pt x="9953" y="1741"/>
                  </a:lnTo>
                  <a:lnTo>
                    <a:pt x="9985" y="1741"/>
                  </a:lnTo>
                  <a:close/>
                  <a:moveTo>
                    <a:pt x="9372" y="2089"/>
                  </a:moveTo>
                  <a:lnTo>
                    <a:pt x="9357" y="2089"/>
                  </a:lnTo>
                  <a:lnTo>
                    <a:pt x="9357" y="2222"/>
                  </a:lnTo>
                  <a:lnTo>
                    <a:pt x="10285" y="2222"/>
                  </a:lnTo>
                  <a:lnTo>
                    <a:pt x="11215" y="2222"/>
                  </a:lnTo>
                  <a:lnTo>
                    <a:pt x="11215" y="2089"/>
                  </a:lnTo>
                  <a:lnTo>
                    <a:pt x="11205" y="2089"/>
                  </a:lnTo>
                  <a:lnTo>
                    <a:pt x="11198" y="2089"/>
                  </a:lnTo>
                  <a:lnTo>
                    <a:pt x="10288" y="2089"/>
                  </a:lnTo>
                  <a:lnTo>
                    <a:pt x="9379" y="2089"/>
                  </a:lnTo>
                  <a:lnTo>
                    <a:pt x="9372" y="2089"/>
                  </a:lnTo>
                  <a:close/>
                  <a:moveTo>
                    <a:pt x="11205" y="2089"/>
                  </a:moveTo>
                  <a:lnTo>
                    <a:pt x="11198" y="2089"/>
                  </a:lnTo>
                  <a:lnTo>
                    <a:pt x="11205" y="2089"/>
                  </a:lnTo>
                  <a:close/>
                  <a:moveTo>
                    <a:pt x="9379" y="2089"/>
                  </a:moveTo>
                  <a:lnTo>
                    <a:pt x="9372" y="2089"/>
                  </a:lnTo>
                  <a:lnTo>
                    <a:pt x="9379" y="2089"/>
                  </a:lnTo>
                  <a:close/>
                  <a:moveTo>
                    <a:pt x="11106" y="1136"/>
                  </a:moveTo>
                  <a:lnTo>
                    <a:pt x="11083" y="1126"/>
                  </a:lnTo>
                  <a:lnTo>
                    <a:pt x="11056" y="1122"/>
                  </a:lnTo>
                  <a:lnTo>
                    <a:pt x="11035" y="1125"/>
                  </a:lnTo>
                  <a:lnTo>
                    <a:pt x="11017" y="1130"/>
                  </a:lnTo>
                  <a:lnTo>
                    <a:pt x="10999" y="1140"/>
                  </a:lnTo>
                  <a:lnTo>
                    <a:pt x="10985" y="1152"/>
                  </a:lnTo>
                  <a:lnTo>
                    <a:pt x="10972" y="1167"/>
                  </a:lnTo>
                  <a:lnTo>
                    <a:pt x="10963" y="1185"/>
                  </a:lnTo>
                  <a:lnTo>
                    <a:pt x="10957" y="1204"/>
                  </a:lnTo>
                  <a:lnTo>
                    <a:pt x="10956" y="1225"/>
                  </a:lnTo>
                  <a:lnTo>
                    <a:pt x="10958" y="1246"/>
                  </a:lnTo>
                  <a:lnTo>
                    <a:pt x="11683" y="1245"/>
                  </a:lnTo>
                  <a:lnTo>
                    <a:pt x="11683" y="1227"/>
                  </a:lnTo>
                  <a:lnTo>
                    <a:pt x="11682" y="1208"/>
                  </a:lnTo>
                  <a:lnTo>
                    <a:pt x="11675" y="1190"/>
                  </a:lnTo>
                  <a:lnTo>
                    <a:pt x="11666" y="1174"/>
                  </a:lnTo>
                  <a:lnTo>
                    <a:pt x="11653" y="1159"/>
                  </a:lnTo>
                  <a:lnTo>
                    <a:pt x="11647" y="1153"/>
                  </a:lnTo>
                  <a:lnTo>
                    <a:pt x="11639" y="1148"/>
                  </a:lnTo>
                  <a:lnTo>
                    <a:pt x="11621" y="1139"/>
                  </a:lnTo>
                  <a:lnTo>
                    <a:pt x="11603" y="1133"/>
                  </a:lnTo>
                  <a:lnTo>
                    <a:pt x="11583" y="1131"/>
                  </a:lnTo>
                  <a:lnTo>
                    <a:pt x="11558" y="1134"/>
                  </a:lnTo>
                  <a:lnTo>
                    <a:pt x="11542" y="1138"/>
                  </a:lnTo>
                  <a:lnTo>
                    <a:pt x="11523" y="1139"/>
                  </a:lnTo>
                  <a:lnTo>
                    <a:pt x="11489" y="1133"/>
                  </a:lnTo>
                  <a:lnTo>
                    <a:pt x="11489" y="1113"/>
                  </a:lnTo>
                  <a:lnTo>
                    <a:pt x="11487" y="1096"/>
                  </a:lnTo>
                  <a:lnTo>
                    <a:pt x="11482" y="1078"/>
                  </a:lnTo>
                  <a:lnTo>
                    <a:pt x="11476" y="1061"/>
                  </a:lnTo>
                  <a:lnTo>
                    <a:pt x="11469" y="1044"/>
                  </a:lnTo>
                  <a:lnTo>
                    <a:pt x="11460" y="1030"/>
                  </a:lnTo>
                  <a:lnTo>
                    <a:pt x="11451" y="1016"/>
                  </a:lnTo>
                  <a:lnTo>
                    <a:pt x="11439" y="1002"/>
                  </a:lnTo>
                  <a:lnTo>
                    <a:pt x="11412" y="980"/>
                  </a:lnTo>
                  <a:lnTo>
                    <a:pt x="11383" y="964"/>
                  </a:lnTo>
                  <a:lnTo>
                    <a:pt x="11366" y="957"/>
                  </a:lnTo>
                  <a:lnTo>
                    <a:pt x="11349" y="954"/>
                  </a:lnTo>
                  <a:lnTo>
                    <a:pt x="11312" y="950"/>
                  </a:lnTo>
                  <a:lnTo>
                    <a:pt x="11278" y="954"/>
                  </a:lnTo>
                  <a:lnTo>
                    <a:pt x="11261" y="957"/>
                  </a:lnTo>
                  <a:lnTo>
                    <a:pt x="11246" y="963"/>
                  </a:lnTo>
                  <a:lnTo>
                    <a:pt x="11230" y="970"/>
                  </a:lnTo>
                  <a:lnTo>
                    <a:pt x="11216" y="978"/>
                  </a:lnTo>
                  <a:lnTo>
                    <a:pt x="11190" y="998"/>
                  </a:lnTo>
                  <a:lnTo>
                    <a:pt x="11170" y="1024"/>
                  </a:lnTo>
                  <a:lnTo>
                    <a:pt x="11153" y="1053"/>
                  </a:lnTo>
                  <a:lnTo>
                    <a:pt x="11147" y="1069"/>
                  </a:lnTo>
                  <a:lnTo>
                    <a:pt x="11142" y="1085"/>
                  </a:lnTo>
                  <a:lnTo>
                    <a:pt x="11138" y="1102"/>
                  </a:lnTo>
                  <a:lnTo>
                    <a:pt x="11137" y="1120"/>
                  </a:lnTo>
                  <a:lnTo>
                    <a:pt x="11134" y="1131"/>
                  </a:lnTo>
                  <a:lnTo>
                    <a:pt x="11126" y="1138"/>
                  </a:lnTo>
                  <a:lnTo>
                    <a:pt x="11122" y="1139"/>
                  </a:lnTo>
                  <a:lnTo>
                    <a:pt x="11117" y="1140"/>
                  </a:lnTo>
                  <a:lnTo>
                    <a:pt x="11106" y="1136"/>
                  </a:lnTo>
                  <a:close/>
                  <a:moveTo>
                    <a:pt x="11528" y="1106"/>
                  </a:moveTo>
                  <a:lnTo>
                    <a:pt x="11539" y="1098"/>
                  </a:lnTo>
                  <a:lnTo>
                    <a:pt x="11555" y="1094"/>
                  </a:lnTo>
                  <a:lnTo>
                    <a:pt x="11583" y="1090"/>
                  </a:lnTo>
                  <a:lnTo>
                    <a:pt x="11611" y="1094"/>
                  </a:lnTo>
                  <a:lnTo>
                    <a:pt x="11624" y="1097"/>
                  </a:lnTo>
                  <a:lnTo>
                    <a:pt x="11637" y="1102"/>
                  </a:lnTo>
                  <a:lnTo>
                    <a:pt x="11660" y="1115"/>
                  </a:lnTo>
                  <a:lnTo>
                    <a:pt x="11682" y="1131"/>
                  </a:lnTo>
                  <a:lnTo>
                    <a:pt x="11698" y="1151"/>
                  </a:lnTo>
                  <a:lnTo>
                    <a:pt x="11712" y="1174"/>
                  </a:lnTo>
                  <a:lnTo>
                    <a:pt x="11720" y="1199"/>
                  </a:lnTo>
                  <a:lnTo>
                    <a:pt x="11723" y="1213"/>
                  </a:lnTo>
                  <a:lnTo>
                    <a:pt x="11723" y="1227"/>
                  </a:lnTo>
                  <a:lnTo>
                    <a:pt x="11723" y="1243"/>
                  </a:lnTo>
                  <a:lnTo>
                    <a:pt x="11721" y="1262"/>
                  </a:lnTo>
                  <a:lnTo>
                    <a:pt x="11714" y="1278"/>
                  </a:lnTo>
                  <a:lnTo>
                    <a:pt x="11707" y="1284"/>
                  </a:lnTo>
                  <a:lnTo>
                    <a:pt x="11700" y="1285"/>
                  </a:lnTo>
                  <a:lnTo>
                    <a:pt x="10943" y="1286"/>
                  </a:lnTo>
                  <a:lnTo>
                    <a:pt x="10934" y="1285"/>
                  </a:lnTo>
                  <a:lnTo>
                    <a:pt x="10928" y="1280"/>
                  </a:lnTo>
                  <a:lnTo>
                    <a:pt x="10924" y="1271"/>
                  </a:lnTo>
                  <a:lnTo>
                    <a:pt x="10920" y="1262"/>
                  </a:lnTo>
                  <a:lnTo>
                    <a:pt x="10916" y="1240"/>
                  </a:lnTo>
                  <a:lnTo>
                    <a:pt x="10915" y="1225"/>
                  </a:lnTo>
                  <a:lnTo>
                    <a:pt x="10919" y="1197"/>
                  </a:lnTo>
                  <a:lnTo>
                    <a:pt x="10926" y="1170"/>
                  </a:lnTo>
                  <a:lnTo>
                    <a:pt x="10939" y="1145"/>
                  </a:lnTo>
                  <a:lnTo>
                    <a:pt x="10956" y="1125"/>
                  </a:lnTo>
                  <a:lnTo>
                    <a:pt x="10978" y="1107"/>
                  </a:lnTo>
                  <a:lnTo>
                    <a:pt x="10989" y="1099"/>
                  </a:lnTo>
                  <a:lnTo>
                    <a:pt x="11001" y="1094"/>
                  </a:lnTo>
                  <a:lnTo>
                    <a:pt x="11028" y="1085"/>
                  </a:lnTo>
                  <a:lnTo>
                    <a:pt x="11042" y="1083"/>
                  </a:lnTo>
                  <a:lnTo>
                    <a:pt x="11056" y="1083"/>
                  </a:lnTo>
                  <a:lnTo>
                    <a:pt x="11079" y="1084"/>
                  </a:lnTo>
                  <a:lnTo>
                    <a:pt x="11101" y="1089"/>
                  </a:lnTo>
                  <a:lnTo>
                    <a:pt x="11110" y="1052"/>
                  </a:lnTo>
                  <a:lnTo>
                    <a:pt x="11126" y="1019"/>
                  </a:lnTo>
                  <a:lnTo>
                    <a:pt x="11147" y="988"/>
                  </a:lnTo>
                  <a:lnTo>
                    <a:pt x="11173" y="961"/>
                  </a:lnTo>
                  <a:lnTo>
                    <a:pt x="11202" y="940"/>
                  </a:lnTo>
                  <a:lnTo>
                    <a:pt x="11237" y="923"/>
                  </a:lnTo>
                  <a:lnTo>
                    <a:pt x="11274" y="913"/>
                  </a:lnTo>
                  <a:lnTo>
                    <a:pt x="11312" y="910"/>
                  </a:lnTo>
                  <a:lnTo>
                    <a:pt x="11355" y="914"/>
                  </a:lnTo>
                  <a:lnTo>
                    <a:pt x="11374" y="918"/>
                  </a:lnTo>
                  <a:lnTo>
                    <a:pt x="11393" y="925"/>
                  </a:lnTo>
                  <a:lnTo>
                    <a:pt x="11428" y="942"/>
                  </a:lnTo>
                  <a:lnTo>
                    <a:pt x="11444" y="954"/>
                  </a:lnTo>
                  <a:lnTo>
                    <a:pt x="11458" y="966"/>
                  </a:lnTo>
                  <a:lnTo>
                    <a:pt x="11473" y="980"/>
                  </a:lnTo>
                  <a:lnTo>
                    <a:pt x="11485" y="996"/>
                  </a:lnTo>
                  <a:lnTo>
                    <a:pt x="11506" y="1029"/>
                  </a:lnTo>
                  <a:lnTo>
                    <a:pt x="11514" y="1047"/>
                  </a:lnTo>
                  <a:lnTo>
                    <a:pt x="11520" y="1066"/>
                  </a:lnTo>
                  <a:lnTo>
                    <a:pt x="11525" y="1085"/>
                  </a:lnTo>
                  <a:lnTo>
                    <a:pt x="11528" y="1106"/>
                  </a:lnTo>
                  <a:close/>
                  <a:moveTo>
                    <a:pt x="13515" y="644"/>
                  </a:moveTo>
                  <a:lnTo>
                    <a:pt x="13404" y="644"/>
                  </a:lnTo>
                  <a:lnTo>
                    <a:pt x="13404" y="754"/>
                  </a:lnTo>
                  <a:lnTo>
                    <a:pt x="13515" y="754"/>
                  </a:lnTo>
                  <a:lnTo>
                    <a:pt x="13515" y="644"/>
                  </a:lnTo>
                  <a:close/>
                  <a:moveTo>
                    <a:pt x="13534" y="605"/>
                  </a:moveTo>
                  <a:lnTo>
                    <a:pt x="13542" y="606"/>
                  </a:lnTo>
                  <a:lnTo>
                    <a:pt x="13549" y="611"/>
                  </a:lnTo>
                  <a:lnTo>
                    <a:pt x="13552" y="617"/>
                  </a:lnTo>
                  <a:lnTo>
                    <a:pt x="13555" y="624"/>
                  </a:lnTo>
                  <a:lnTo>
                    <a:pt x="13555" y="754"/>
                  </a:lnTo>
                  <a:lnTo>
                    <a:pt x="14078" y="754"/>
                  </a:lnTo>
                  <a:lnTo>
                    <a:pt x="14086" y="757"/>
                  </a:lnTo>
                  <a:lnTo>
                    <a:pt x="14092" y="761"/>
                  </a:lnTo>
                  <a:lnTo>
                    <a:pt x="14097" y="767"/>
                  </a:lnTo>
                  <a:lnTo>
                    <a:pt x="14099" y="775"/>
                  </a:lnTo>
                  <a:lnTo>
                    <a:pt x="14099" y="1471"/>
                  </a:lnTo>
                  <a:lnTo>
                    <a:pt x="14099" y="2170"/>
                  </a:lnTo>
                  <a:lnTo>
                    <a:pt x="14097" y="2177"/>
                  </a:lnTo>
                  <a:lnTo>
                    <a:pt x="14092" y="2184"/>
                  </a:lnTo>
                  <a:lnTo>
                    <a:pt x="14086" y="2188"/>
                  </a:lnTo>
                  <a:lnTo>
                    <a:pt x="14078" y="2189"/>
                  </a:lnTo>
                  <a:lnTo>
                    <a:pt x="14072" y="2188"/>
                  </a:lnTo>
                  <a:lnTo>
                    <a:pt x="14065" y="2184"/>
                  </a:lnTo>
                  <a:lnTo>
                    <a:pt x="14060" y="2177"/>
                  </a:lnTo>
                  <a:lnTo>
                    <a:pt x="14059" y="2170"/>
                  </a:lnTo>
                  <a:lnTo>
                    <a:pt x="14059" y="1482"/>
                  </a:lnTo>
                  <a:lnTo>
                    <a:pt x="14059" y="795"/>
                  </a:lnTo>
                  <a:lnTo>
                    <a:pt x="13534" y="795"/>
                  </a:lnTo>
                  <a:lnTo>
                    <a:pt x="13384" y="795"/>
                  </a:lnTo>
                  <a:lnTo>
                    <a:pt x="13150" y="795"/>
                  </a:lnTo>
                  <a:lnTo>
                    <a:pt x="13141" y="793"/>
                  </a:lnTo>
                  <a:lnTo>
                    <a:pt x="13134" y="789"/>
                  </a:lnTo>
                  <a:lnTo>
                    <a:pt x="13131" y="782"/>
                  </a:lnTo>
                  <a:lnTo>
                    <a:pt x="13129" y="775"/>
                  </a:lnTo>
                  <a:lnTo>
                    <a:pt x="13131" y="767"/>
                  </a:lnTo>
                  <a:lnTo>
                    <a:pt x="13134" y="761"/>
                  </a:lnTo>
                  <a:lnTo>
                    <a:pt x="13141" y="757"/>
                  </a:lnTo>
                  <a:lnTo>
                    <a:pt x="13150" y="754"/>
                  </a:lnTo>
                  <a:lnTo>
                    <a:pt x="13201" y="754"/>
                  </a:lnTo>
                  <a:lnTo>
                    <a:pt x="13201" y="612"/>
                  </a:lnTo>
                  <a:lnTo>
                    <a:pt x="12798" y="612"/>
                  </a:lnTo>
                  <a:lnTo>
                    <a:pt x="12798" y="754"/>
                  </a:lnTo>
                  <a:lnTo>
                    <a:pt x="12852" y="754"/>
                  </a:lnTo>
                  <a:lnTo>
                    <a:pt x="12861" y="757"/>
                  </a:lnTo>
                  <a:lnTo>
                    <a:pt x="12868" y="761"/>
                  </a:lnTo>
                  <a:lnTo>
                    <a:pt x="12872" y="767"/>
                  </a:lnTo>
                  <a:lnTo>
                    <a:pt x="12873" y="775"/>
                  </a:lnTo>
                  <a:lnTo>
                    <a:pt x="12872" y="782"/>
                  </a:lnTo>
                  <a:lnTo>
                    <a:pt x="12868" y="789"/>
                  </a:lnTo>
                  <a:lnTo>
                    <a:pt x="12861" y="793"/>
                  </a:lnTo>
                  <a:lnTo>
                    <a:pt x="12852" y="795"/>
                  </a:lnTo>
                  <a:lnTo>
                    <a:pt x="12664" y="795"/>
                  </a:lnTo>
                  <a:lnTo>
                    <a:pt x="12664" y="1810"/>
                  </a:lnTo>
                  <a:lnTo>
                    <a:pt x="12664" y="2826"/>
                  </a:lnTo>
                  <a:lnTo>
                    <a:pt x="12661" y="2835"/>
                  </a:lnTo>
                  <a:lnTo>
                    <a:pt x="12657" y="2840"/>
                  </a:lnTo>
                  <a:lnTo>
                    <a:pt x="12651" y="2844"/>
                  </a:lnTo>
                  <a:lnTo>
                    <a:pt x="12643" y="2845"/>
                  </a:lnTo>
                  <a:lnTo>
                    <a:pt x="12636" y="2844"/>
                  </a:lnTo>
                  <a:lnTo>
                    <a:pt x="12629" y="2840"/>
                  </a:lnTo>
                  <a:lnTo>
                    <a:pt x="12625" y="2835"/>
                  </a:lnTo>
                  <a:lnTo>
                    <a:pt x="12624" y="2826"/>
                  </a:lnTo>
                  <a:lnTo>
                    <a:pt x="12624" y="2313"/>
                  </a:lnTo>
                  <a:lnTo>
                    <a:pt x="12624" y="1800"/>
                  </a:lnTo>
                  <a:lnTo>
                    <a:pt x="12624" y="1287"/>
                  </a:lnTo>
                  <a:lnTo>
                    <a:pt x="12624" y="775"/>
                  </a:lnTo>
                  <a:lnTo>
                    <a:pt x="12625" y="767"/>
                  </a:lnTo>
                  <a:lnTo>
                    <a:pt x="12629" y="761"/>
                  </a:lnTo>
                  <a:lnTo>
                    <a:pt x="12636" y="757"/>
                  </a:lnTo>
                  <a:lnTo>
                    <a:pt x="12643" y="754"/>
                  </a:lnTo>
                  <a:lnTo>
                    <a:pt x="12759" y="754"/>
                  </a:lnTo>
                  <a:lnTo>
                    <a:pt x="12759" y="592"/>
                  </a:lnTo>
                  <a:lnTo>
                    <a:pt x="12760" y="584"/>
                  </a:lnTo>
                  <a:lnTo>
                    <a:pt x="12764" y="578"/>
                  </a:lnTo>
                  <a:lnTo>
                    <a:pt x="12770" y="574"/>
                  </a:lnTo>
                  <a:lnTo>
                    <a:pt x="12778" y="573"/>
                  </a:lnTo>
                  <a:lnTo>
                    <a:pt x="13220" y="573"/>
                  </a:lnTo>
                  <a:lnTo>
                    <a:pt x="13228" y="574"/>
                  </a:lnTo>
                  <a:lnTo>
                    <a:pt x="13234" y="578"/>
                  </a:lnTo>
                  <a:lnTo>
                    <a:pt x="13240" y="584"/>
                  </a:lnTo>
                  <a:lnTo>
                    <a:pt x="13241" y="592"/>
                  </a:lnTo>
                  <a:lnTo>
                    <a:pt x="13241" y="754"/>
                  </a:lnTo>
                  <a:lnTo>
                    <a:pt x="13364" y="754"/>
                  </a:lnTo>
                  <a:lnTo>
                    <a:pt x="13364" y="624"/>
                  </a:lnTo>
                  <a:lnTo>
                    <a:pt x="13365" y="617"/>
                  </a:lnTo>
                  <a:lnTo>
                    <a:pt x="13370" y="611"/>
                  </a:lnTo>
                  <a:lnTo>
                    <a:pt x="13377" y="606"/>
                  </a:lnTo>
                  <a:lnTo>
                    <a:pt x="13384" y="605"/>
                  </a:lnTo>
                  <a:lnTo>
                    <a:pt x="13534" y="605"/>
                  </a:lnTo>
                  <a:close/>
                  <a:moveTo>
                    <a:pt x="15835" y="2587"/>
                  </a:moveTo>
                  <a:lnTo>
                    <a:pt x="15677" y="2587"/>
                  </a:lnTo>
                  <a:lnTo>
                    <a:pt x="15677" y="3445"/>
                  </a:lnTo>
                  <a:lnTo>
                    <a:pt x="15677" y="4304"/>
                  </a:lnTo>
                  <a:lnTo>
                    <a:pt x="16008" y="4304"/>
                  </a:lnTo>
                  <a:lnTo>
                    <a:pt x="16008" y="3419"/>
                  </a:lnTo>
                  <a:lnTo>
                    <a:pt x="16008" y="2534"/>
                  </a:lnTo>
                  <a:lnTo>
                    <a:pt x="16009" y="2525"/>
                  </a:lnTo>
                  <a:lnTo>
                    <a:pt x="16012" y="2519"/>
                  </a:lnTo>
                  <a:lnTo>
                    <a:pt x="16016" y="2515"/>
                  </a:lnTo>
                  <a:lnTo>
                    <a:pt x="16021" y="2511"/>
                  </a:lnTo>
                  <a:lnTo>
                    <a:pt x="16027" y="2511"/>
                  </a:lnTo>
                  <a:lnTo>
                    <a:pt x="16032" y="2512"/>
                  </a:lnTo>
                  <a:lnTo>
                    <a:pt x="16039" y="2516"/>
                  </a:lnTo>
                  <a:lnTo>
                    <a:pt x="16045" y="2523"/>
                  </a:lnTo>
                  <a:lnTo>
                    <a:pt x="16536" y="3199"/>
                  </a:lnTo>
                  <a:lnTo>
                    <a:pt x="16536" y="2534"/>
                  </a:lnTo>
                  <a:lnTo>
                    <a:pt x="16538" y="2525"/>
                  </a:lnTo>
                  <a:lnTo>
                    <a:pt x="16540" y="2519"/>
                  </a:lnTo>
                  <a:lnTo>
                    <a:pt x="16544" y="2515"/>
                  </a:lnTo>
                  <a:lnTo>
                    <a:pt x="16549" y="2511"/>
                  </a:lnTo>
                  <a:lnTo>
                    <a:pt x="16556" y="2511"/>
                  </a:lnTo>
                  <a:lnTo>
                    <a:pt x="16562" y="2512"/>
                  </a:lnTo>
                  <a:lnTo>
                    <a:pt x="16567" y="2516"/>
                  </a:lnTo>
                  <a:lnTo>
                    <a:pt x="16573" y="2523"/>
                  </a:lnTo>
                  <a:lnTo>
                    <a:pt x="17076" y="3214"/>
                  </a:lnTo>
                  <a:lnTo>
                    <a:pt x="17076" y="2534"/>
                  </a:lnTo>
                  <a:lnTo>
                    <a:pt x="17077" y="2525"/>
                  </a:lnTo>
                  <a:lnTo>
                    <a:pt x="17080" y="2519"/>
                  </a:lnTo>
                  <a:lnTo>
                    <a:pt x="17084" y="2515"/>
                  </a:lnTo>
                  <a:lnTo>
                    <a:pt x="17089" y="2511"/>
                  </a:lnTo>
                  <a:lnTo>
                    <a:pt x="17094" y="2511"/>
                  </a:lnTo>
                  <a:lnTo>
                    <a:pt x="17100" y="2512"/>
                  </a:lnTo>
                  <a:lnTo>
                    <a:pt x="17107" y="2516"/>
                  </a:lnTo>
                  <a:lnTo>
                    <a:pt x="17112" y="2523"/>
                  </a:lnTo>
                  <a:lnTo>
                    <a:pt x="17640" y="3249"/>
                  </a:lnTo>
                  <a:lnTo>
                    <a:pt x="17644" y="3258"/>
                  </a:lnTo>
                  <a:lnTo>
                    <a:pt x="17644" y="3265"/>
                  </a:lnTo>
                  <a:lnTo>
                    <a:pt x="17642" y="3272"/>
                  </a:lnTo>
                  <a:lnTo>
                    <a:pt x="17636" y="3277"/>
                  </a:lnTo>
                  <a:lnTo>
                    <a:pt x="17630" y="3281"/>
                  </a:lnTo>
                  <a:lnTo>
                    <a:pt x="17622" y="3281"/>
                  </a:lnTo>
                  <a:lnTo>
                    <a:pt x="17615" y="3280"/>
                  </a:lnTo>
                  <a:lnTo>
                    <a:pt x="17608" y="3273"/>
                  </a:lnTo>
                  <a:lnTo>
                    <a:pt x="17116" y="2595"/>
                  </a:lnTo>
                  <a:lnTo>
                    <a:pt x="17116" y="3262"/>
                  </a:lnTo>
                  <a:lnTo>
                    <a:pt x="17113" y="3271"/>
                  </a:lnTo>
                  <a:lnTo>
                    <a:pt x="17108" y="3278"/>
                  </a:lnTo>
                  <a:lnTo>
                    <a:pt x="17099" y="3281"/>
                  </a:lnTo>
                  <a:lnTo>
                    <a:pt x="17090" y="3281"/>
                  </a:lnTo>
                  <a:lnTo>
                    <a:pt x="17080" y="3281"/>
                  </a:lnTo>
                  <a:lnTo>
                    <a:pt x="17074" y="3278"/>
                  </a:lnTo>
                  <a:lnTo>
                    <a:pt x="17070" y="3273"/>
                  </a:lnTo>
                  <a:lnTo>
                    <a:pt x="16577" y="2595"/>
                  </a:lnTo>
                  <a:lnTo>
                    <a:pt x="16577" y="3258"/>
                  </a:lnTo>
                  <a:lnTo>
                    <a:pt x="16577" y="3264"/>
                  </a:lnTo>
                  <a:lnTo>
                    <a:pt x="16575" y="3269"/>
                  </a:lnTo>
                  <a:lnTo>
                    <a:pt x="16571" y="3276"/>
                  </a:lnTo>
                  <a:lnTo>
                    <a:pt x="16563" y="3281"/>
                  </a:lnTo>
                  <a:lnTo>
                    <a:pt x="16554" y="3281"/>
                  </a:lnTo>
                  <a:lnTo>
                    <a:pt x="16547" y="3278"/>
                  </a:lnTo>
                  <a:lnTo>
                    <a:pt x="16541" y="3276"/>
                  </a:lnTo>
                  <a:lnTo>
                    <a:pt x="16539" y="3271"/>
                  </a:lnTo>
                  <a:lnTo>
                    <a:pt x="16049" y="2595"/>
                  </a:lnTo>
                  <a:lnTo>
                    <a:pt x="16049" y="3450"/>
                  </a:lnTo>
                  <a:lnTo>
                    <a:pt x="16049" y="4304"/>
                  </a:lnTo>
                  <a:lnTo>
                    <a:pt x="16844" y="4304"/>
                  </a:lnTo>
                  <a:lnTo>
                    <a:pt x="16853" y="4305"/>
                  </a:lnTo>
                  <a:lnTo>
                    <a:pt x="16859" y="4310"/>
                  </a:lnTo>
                  <a:lnTo>
                    <a:pt x="16863" y="4317"/>
                  </a:lnTo>
                  <a:lnTo>
                    <a:pt x="16865" y="4324"/>
                  </a:lnTo>
                  <a:lnTo>
                    <a:pt x="16863" y="4331"/>
                  </a:lnTo>
                  <a:lnTo>
                    <a:pt x="16859" y="4337"/>
                  </a:lnTo>
                  <a:lnTo>
                    <a:pt x="16853" y="4342"/>
                  </a:lnTo>
                  <a:lnTo>
                    <a:pt x="16844" y="4343"/>
                  </a:lnTo>
                  <a:lnTo>
                    <a:pt x="16250" y="4343"/>
                  </a:lnTo>
                  <a:lnTo>
                    <a:pt x="15657" y="4343"/>
                  </a:lnTo>
                  <a:lnTo>
                    <a:pt x="14760" y="4343"/>
                  </a:lnTo>
                  <a:lnTo>
                    <a:pt x="13864" y="4343"/>
                  </a:lnTo>
                  <a:lnTo>
                    <a:pt x="13856" y="4342"/>
                  </a:lnTo>
                  <a:lnTo>
                    <a:pt x="13850" y="4338"/>
                  </a:lnTo>
                  <a:lnTo>
                    <a:pt x="13846" y="4332"/>
                  </a:lnTo>
                  <a:lnTo>
                    <a:pt x="13843" y="4324"/>
                  </a:lnTo>
                  <a:lnTo>
                    <a:pt x="13843" y="3455"/>
                  </a:lnTo>
                  <a:lnTo>
                    <a:pt x="13843" y="2587"/>
                  </a:lnTo>
                  <a:lnTo>
                    <a:pt x="13686" y="2587"/>
                  </a:lnTo>
                  <a:lnTo>
                    <a:pt x="13677" y="2585"/>
                  </a:lnTo>
                  <a:lnTo>
                    <a:pt x="13670" y="2581"/>
                  </a:lnTo>
                  <a:lnTo>
                    <a:pt x="13667" y="2575"/>
                  </a:lnTo>
                  <a:lnTo>
                    <a:pt x="13665" y="2567"/>
                  </a:lnTo>
                  <a:lnTo>
                    <a:pt x="13667" y="2560"/>
                  </a:lnTo>
                  <a:lnTo>
                    <a:pt x="13670" y="2553"/>
                  </a:lnTo>
                  <a:lnTo>
                    <a:pt x="13677" y="2549"/>
                  </a:lnTo>
                  <a:lnTo>
                    <a:pt x="13686" y="2547"/>
                  </a:lnTo>
                  <a:lnTo>
                    <a:pt x="13963" y="2547"/>
                  </a:lnTo>
                  <a:lnTo>
                    <a:pt x="13963" y="2374"/>
                  </a:lnTo>
                  <a:lnTo>
                    <a:pt x="13964" y="2367"/>
                  </a:lnTo>
                  <a:lnTo>
                    <a:pt x="13968" y="2360"/>
                  </a:lnTo>
                  <a:lnTo>
                    <a:pt x="13974" y="2355"/>
                  </a:lnTo>
                  <a:lnTo>
                    <a:pt x="13982" y="2354"/>
                  </a:lnTo>
                  <a:lnTo>
                    <a:pt x="14750" y="2354"/>
                  </a:lnTo>
                  <a:lnTo>
                    <a:pt x="15519" y="2354"/>
                  </a:lnTo>
                  <a:lnTo>
                    <a:pt x="15527" y="2355"/>
                  </a:lnTo>
                  <a:lnTo>
                    <a:pt x="15534" y="2360"/>
                  </a:lnTo>
                  <a:lnTo>
                    <a:pt x="15537" y="2367"/>
                  </a:lnTo>
                  <a:lnTo>
                    <a:pt x="15539" y="2374"/>
                  </a:lnTo>
                  <a:lnTo>
                    <a:pt x="15539" y="2547"/>
                  </a:lnTo>
                  <a:lnTo>
                    <a:pt x="15835" y="2547"/>
                  </a:lnTo>
                  <a:lnTo>
                    <a:pt x="15844" y="2549"/>
                  </a:lnTo>
                  <a:lnTo>
                    <a:pt x="15850" y="2553"/>
                  </a:lnTo>
                  <a:lnTo>
                    <a:pt x="15854" y="2560"/>
                  </a:lnTo>
                  <a:lnTo>
                    <a:pt x="15855" y="2567"/>
                  </a:lnTo>
                  <a:lnTo>
                    <a:pt x="15854" y="2575"/>
                  </a:lnTo>
                  <a:lnTo>
                    <a:pt x="15850" y="2581"/>
                  </a:lnTo>
                  <a:lnTo>
                    <a:pt x="15844" y="2585"/>
                  </a:lnTo>
                  <a:lnTo>
                    <a:pt x="15835" y="2587"/>
                  </a:lnTo>
                  <a:close/>
                  <a:moveTo>
                    <a:pt x="15636" y="2587"/>
                  </a:moveTo>
                  <a:lnTo>
                    <a:pt x="14760" y="2587"/>
                  </a:lnTo>
                  <a:lnTo>
                    <a:pt x="13885" y="2587"/>
                  </a:lnTo>
                  <a:lnTo>
                    <a:pt x="13885" y="3445"/>
                  </a:lnTo>
                  <a:lnTo>
                    <a:pt x="13885" y="4304"/>
                  </a:lnTo>
                  <a:lnTo>
                    <a:pt x="14760" y="4304"/>
                  </a:lnTo>
                  <a:lnTo>
                    <a:pt x="15636" y="4304"/>
                  </a:lnTo>
                  <a:lnTo>
                    <a:pt x="15636" y="3445"/>
                  </a:lnTo>
                  <a:lnTo>
                    <a:pt x="15636" y="2587"/>
                  </a:lnTo>
                  <a:close/>
                  <a:moveTo>
                    <a:pt x="14002" y="2547"/>
                  </a:moveTo>
                  <a:lnTo>
                    <a:pt x="14750" y="2547"/>
                  </a:lnTo>
                  <a:lnTo>
                    <a:pt x="15499" y="2547"/>
                  </a:lnTo>
                  <a:lnTo>
                    <a:pt x="15499" y="2393"/>
                  </a:lnTo>
                  <a:lnTo>
                    <a:pt x="14750" y="2393"/>
                  </a:lnTo>
                  <a:lnTo>
                    <a:pt x="14002" y="2393"/>
                  </a:lnTo>
                  <a:lnTo>
                    <a:pt x="14002" y="2547"/>
                  </a:lnTo>
                  <a:close/>
                  <a:moveTo>
                    <a:pt x="15171" y="3639"/>
                  </a:moveTo>
                  <a:lnTo>
                    <a:pt x="15171" y="3751"/>
                  </a:lnTo>
                  <a:lnTo>
                    <a:pt x="15168" y="3760"/>
                  </a:lnTo>
                  <a:lnTo>
                    <a:pt x="15164" y="3765"/>
                  </a:lnTo>
                  <a:lnTo>
                    <a:pt x="15158" y="3769"/>
                  </a:lnTo>
                  <a:lnTo>
                    <a:pt x="15150" y="3771"/>
                  </a:lnTo>
                  <a:lnTo>
                    <a:pt x="15142" y="3769"/>
                  </a:lnTo>
                  <a:lnTo>
                    <a:pt x="15136" y="3765"/>
                  </a:lnTo>
                  <a:lnTo>
                    <a:pt x="15132" y="3760"/>
                  </a:lnTo>
                  <a:lnTo>
                    <a:pt x="15131" y="3751"/>
                  </a:lnTo>
                  <a:lnTo>
                    <a:pt x="15131" y="3639"/>
                  </a:lnTo>
                  <a:lnTo>
                    <a:pt x="15132" y="3630"/>
                  </a:lnTo>
                  <a:lnTo>
                    <a:pt x="15136" y="3624"/>
                  </a:lnTo>
                  <a:lnTo>
                    <a:pt x="15142" y="3620"/>
                  </a:lnTo>
                  <a:lnTo>
                    <a:pt x="15150" y="3618"/>
                  </a:lnTo>
                  <a:lnTo>
                    <a:pt x="15158" y="3620"/>
                  </a:lnTo>
                  <a:lnTo>
                    <a:pt x="15164" y="3624"/>
                  </a:lnTo>
                  <a:lnTo>
                    <a:pt x="15168" y="3630"/>
                  </a:lnTo>
                  <a:lnTo>
                    <a:pt x="15171" y="3639"/>
                  </a:lnTo>
                  <a:close/>
                  <a:moveTo>
                    <a:pt x="14908" y="3639"/>
                  </a:moveTo>
                  <a:lnTo>
                    <a:pt x="14908" y="3751"/>
                  </a:lnTo>
                  <a:lnTo>
                    <a:pt x="14905" y="3760"/>
                  </a:lnTo>
                  <a:lnTo>
                    <a:pt x="14901" y="3765"/>
                  </a:lnTo>
                  <a:lnTo>
                    <a:pt x="14895" y="3769"/>
                  </a:lnTo>
                  <a:lnTo>
                    <a:pt x="14887" y="3771"/>
                  </a:lnTo>
                  <a:lnTo>
                    <a:pt x="14880" y="3769"/>
                  </a:lnTo>
                  <a:lnTo>
                    <a:pt x="14873" y="3765"/>
                  </a:lnTo>
                  <a:lnTo>
                    <a:pt x="14869" y="3760"/>
                  </a:lnTo>
                  <a:lnTo>
                    <a:pt x="14867" y="3751"/>
                  </a:lnTo>
                  <a:lnTo>
                    <a:pt x="14867" y="3639"/>
                  </a:lnTo>
                  <a:lnTo>
                    <a:pt x="14869" y="3630"/>
                  </a:lnTo>
                  <a:lnTo>
                    <a:pt x="14873" y="3624"/>
                  </a:lnTo>
                  <a:lnTo>
                    <a:pt x="14880" y="3620"/>
                  </a:lnTo>
                  <a:lnTo>
                    <a:pt x="14887" y="3618"/>
                  </a:lnTo>
                  <a:lnTo>
                    <a:pt x="14895" y="3620"/>
                  </a:lnTo>
                  <a:lnTo>
                    <a:pt x="14901" y="3624"/>
                  </a:lnTo>
                  <a:lnTo>
                    <a:pt x="14905" y="3630"/>
                  </a:lnTo>
                  <a:lnTo>
                    <a:pt x="14908" y="3639"/>
                  </a:lnTo>
                  <a:close/>
                  <a:moveTo>
                    <a:pt x="14644" y="3639"/>
                  </a:moveTo>
                  <a:lnTo>
                    <a:pt x="14644" y="3751"/>
                  </a:lnTo>
                  <a:lnTo>
                    <a:pt x="14642" y="3760"/>
                  </a:lnTo>
                  <a:lnTo>
                    <a:pt x="14637" y="3765"/>
                  </a:lnTo>
                  <a:lnTo>
                    <a:pt x="14631" y="3769"/>
                  </a:lnTo>
                  <a:lnTo>
                    <a:pt x="14624" y="3771"/>
                  </a:lnTo>
                  <a:lnTo>
                    <a:pt x="14617" y="3769"/>
                  </a:lnTo>
                  <a:lnTo>
                    <a:pt x="14610" y="3765"/>
                  </a:lnTo>
                  <a:lnTo>
                    <a:pt x="14606" y="3760"/>
                  </a:lnTo>
                  <a:lnTo>
                    <a:pt x="14604" y="3751"/>
                  </a:lnTo>
                  <a:lnTo>
                    <a:pt x="14604" y="3639"/>
                  </a:lnTo>
                  <a:lnTo>
                    <a:pt x="14606" y="3630"/>
                  </a:lnTo>
                  <a:lnTo>
                    <a:pt x="14610" y="3624"/>
                  </a:lnTo>
                  <a:lnTo>
                    <a:pt x="14617" y="3620"/>
                  </a:lnTo>
                  <a:lnTo>
                    <a:pt x="14624" y="3618"/>
                  </a:lnTo>
                  <a:lnTo>
                    <a:pt x="14631" y="3620"/>
                  </a:lnTo>
                  <a:lnTo>
                    <a:pt x="14637" y="3624"/>
                  </a:lnTo>
                  <a:lnTo>
                    <a:pt x="14642" y="3630"/>
                  </a:lnTo>
                  <a:lnTo>
                    <a:pt x="14644" y="3639"/>
                  </a:lnTo>
                  <a:close/>
                  <a:moveTo>
                    <a:pt x="14381" y="3639"/>
                  </a:moveTo>
                  <a:lnTo>
                    <a:pt x="14381" y="3751"/>
                  </a:lnTo>
                  <a:lnTo>
                    <a:pt x="14379" y="3760"/>
                  </a:lnTo>
                  <a:lnTo>
                    <a:pt x="14374" y="3765"/>
                  </a:lnTo>
                  <a:lnTo>
                    <a:pt x="14368" y="3769"/>
                  </a:lnTo>
                  <a:lnTo>
                    <a:pt x="14362" y="3771"/>
                  </a:lnTo>
                  <a:lnTo>
                    <a:pt x="14354" y="3769"/>
                  </a:lnTo>
                  <a:lnTo>
                    <a:pt x="14347" y="3765"/>
                  </a:lnTo>
                  <a:lnTo>
                    <a:pt x="14342" y="3760"/>
                  </a:lnTo>
                  <a:lnTo>
                    <a:pt x="14341" y="3751"/>
                  </a:lnTo>
                  <a:lnTo>
                    <a:pt x="14341" y="3639"/>
                  </a:lnTo>
                  <a:lnTo>
                    <a:pt x="14342" y="3630"/>
                  </a:lnTo>
                  <a:lnTo>
                    <a:pt x="14347" y="3624"/>
                  </a:lnTo>
                  <a:lnTo>
                    <a:pt x="14354" y="3620"/>
                  </a:lnTo>
                  <a:lnTo>
                    <a:pt x="14362" y="3618"/>
                  </a:lnTo>
                  <a:lnTo>
                    <a:pt x="14368" y="3620"/>
                  </a:lnTo>
                  <a:lnTo>
                    <a:pt x="14374" y="3624"/>
                  </a:lnTo>
                  <a:lnTo>
                    <a:pt x="14379" y="3630"/>
                  </a:lnTo>
                  <a:lnTo>
                    <a:pt x="14381" y="3639"/>
                  </a:lnTo>
                  <a:close/>
                  <a:moveTo>
                    <a:pt x="14118" y="3639"/>
                  </a:moveTo>
                  <a:lnTo>
                    <a:pt x="14118" y="3751"/>
                  </a:lnTo>
                  <a:lnTo>
                    <a:pt x="14117" y="3760"/>
                  </a:lnTo>
                  <a:lnTo>
                    <a:pt x="14111" y="3765"/>
                  </a:lnTo>
                  <a:lnTo>
                    <a:pt x="14105" y="3769"/>
                  </a:lnTo>
                  <a:lnTo>
                    <a:pt x="14097" y="3771"/>
                  </a:lnTo>
                  <a:lnTo>
                    <a:pt x="14091" y="3769"/>
                  </a:lnTo>
                  <a:lnTo>
                    <a:pt x="14085" y="3765"/>
                  </a:lnTo>
                  <a:lnTo>
                    <a:pt x="14079" y="3760"/>
                  </a:lnTo>
                  <a:lnTo>
                    <a:pt x="14078" y="3751"/>
                  </a:lnTo>
                  <a:lnTo>
                    <a:pt x="14078" y="3639"/>
                  </a:lnTo>
                  <a:lnTo>
                    <a:pt x="14079" y="3630"/>
                  </a:lnTo>
                  <a:lnTo>
                    <a:pt x="14085" y="3624"/>
                  </a:lnTo>
                  <a:lnTo>
                    <a:pt x="14091" y="3620"/>
                  </a:lnTo>
                  <a:lnTo>
                    <a:pt x="14097" y="3618"/>
                  </a:lnTo>
                  <a:lnTo>
                    <a:pt x="14105" y="3620"/>
                  </a:lnTo>
                  <a:lnTo>
                    <a:pt x="14111" y="3624"/>
                  </a:lnTo>
                  <a:lnTo>
                    <a:pt x="14117" y="3630"/>
                  </a:lnTo>
                  <a:lnTo>
                    <a:pt x="14118" y="3639"/>
                  </a:lnTo>
                  <a:close/>
                  <a:moveTo>
                    <a:pt x="15434" y="3392"/>
                  </a:moveTo>
                  <a:lnTo>
                    <a:pt x="15434" y="3505"/>
                  </a:lnTo>
                  <a:lnTo>
                    <a:pt x="15432" y="3514"/>
                  </a:lnTo>
                  <a:lnTo>
                    <a:pt x="15427" y="3520"/>
                  </a:lnTo>
                  <a:lnTo>
                    <a:pt x="15421" y="3524"/>
                  </a:lnTo>
                  <a:lnTo>
                    <a:pt x="15413" y="3524"/>
                  </a:lnTo>
                  <a:lnTo>
                    <a:pt x="15407" y="3524"/>
                  </a:lnTo>
                  <a:lnTo>
                    <a:pt x="15400" y="3520"/>
                  </a:lnTo>
                  <a:lnTo>
                    <a:pt x="15395" y="3514"/>
                  </a:lnTo>
                  <a:lnTo>
                    <a:pt x="15394" y="3505"/>
                  </a:lnTo>
                  <a:lnTo>
                    <a:pt x="15394" y="3392"/>
                  </a:lnTo>
                  <a:lnTo>
                    <a:pt x="15395" y="3383"/>
                  </a:lnTo>
                  <a:lnTo>
                    <a:pt x="15400" y="3378"/>
                  </a:lnTo>
                  <a:lnTo>
                    <a:pt x="15407" y="3374"/>
                  </a:lnTo>
                  <a:lnTo>
                    <a:pt x="15413" y="3373"/>
                  </a:lnTo>
                  <a:lnTo>
                    <a:pt x="15421" y="3374"/>
                  </a:lnTo>
                  <a:lnTo>
                    <a:pt x="15427" y="3378"/>
                  </a:lnTo>
                  <a:lnTo>
                    <a:pt x="15432" y="3383"/>
                  </a:lnTo>
                  <a:lnTo>
                    <a:pt x="15434" y="3392"/>
                  </a:lnTo>
                  <a:close/>
                  <a:moveTo>
                    <a:pt x="15171" y="3392"/>
                  </a:moveTo>
                  <a:lnTo>
                    <a:pt x="15171" y="3505"/>
                  </a:lnTo>
                  <a:lnTo>
                    <a:pt x="15168" y="3514"/>
                  </a:lnTo>
                  <a:lnTo>
                    <a:pt x="15164" y="3520"/>
                  </a:lnTo>
                  <a:lnTo>
                    <a:pt x="15158" y="3524"/>
                  </a:lnTo>
                  <a:lnTo>
                    <a:pt x="15150" y="3524"/>
                  </a:lnTo>
                  <a:lnTo>
                    <a:pt x="15142" y="3524"/>
                  </a:lnTo>
                  <a:lnTo>
                    <a:pt x="15136" y="3520"/>
                  </a:lnTo>
                  <a:lnTo>
                    <a:pt x="15132" y="3514"/>
                  </a:lnTo>
                  <a:lnTo>
                    <a:pt x="15131" y="3505"/>
                  </a:lnTo>
                  <a:lnTo>
                    <a:pt x="15131" y="3392"/>
                  </a:lnTo>
                  <a:lnTo>
                    <a:pt x="15132" y="3383"/>
                  </a:lnTo>
                  <a:lnTo>
                    <a:pt x="15136" y="3378"/>
                  </a:lnTo>
                  <a:lnTo>
                    <a:pt x="15142" y="3374"/>
                  </a:lnTo>
                  <a:lnTo>
                    <a:pt x="15150" y="3373"/>
                  </a:lnTo>
                  <a:lnTo>
                    <a:pt x="15158" y="3374"/>
                  </a:lnTo>
                  <a:lnTo>
                    <a:pt x="15164" y="3378"/>
                  </a:lnTo>
                  <a:lnTo>
                    <a:pt x="15168" y="3383"/>
                  </a:lnTo>
                  <a:lnTo>
                    <a:pt x="15171" y="3392"/>
                  </a:lnTo>
                  <a:close/>
                  <a:moveTo>
                    <a:pt x="14908" y="3392"/>
                  </a:moveTo>
                  <a:lnTo>
                    <a:pt x="14908" y="3505"/>
                  </a:lnTo>
                  <a:lnTo>
                    <a:pt x="14905" y="3514"/>
                  </a:lnTo>
                  <a:lnTo>
                    <a:pt x="14901" y="3520"/>
                  </a:lnTo>
                  <a:lnTo>
                    <a:pt x="14895" y="3524"/>
                  </a:lnTo>
                  <a:lnTo>
                    <a:pt x="14887" y="3524"/>
                  </a:lnTo>
                  <a:lnTo>
                    <a:pt x="14880" y="3524"/>
                  </a:lnTo>
                  <a:lnTo>
                    <a:pt x="14873" y="3520"/>
                  </a:lnTo>
                  <a:lnTo>
                    <a:pt x="14869" y="3514"/>
                  </a:lnTo>
                  <a:lnTo>
                    <a:pt x="14867" y="3505"/>
                  </a:lnTo>
                  <a:lnTo>
                    <a:pt x="14867" y="3392"/>
                  </a:lnTo>
                  <a:lnTo>
                    <a:pt x="14869" y="3383"/>
                  </a:lnTo>
                  <a:lnTo>
                    <a:pt x="14873" y="3378"/>
                  </a:lnTo>
                  <a:lnTo>
                    <a:pt x="14880" y="3374"/>
                  </a:lnTo>
                  <a:lnTo>
                    <a:pt x="14887" y="3373"/>
                  </a:lnTo>
                  <a:lnTo>
                    <a:pt x="14895" y="3374"/>
                  </a:lnTo>
                  <a:lnTo>
                    <a:pt x="14901" y="3378"/>
                  </a:lnTo>
                  <a:lnTo>
                    <a:pt x="14905" y="3383"/>
                  </a:lnTo>
                  <a:lnTo>
                    <a:pt x="14908" y="3392"/>
                  </a:lnTo>
                  <a:close/>
                  <a:moveTo>
                    <a:pt x="14644" y="3392"/>
                  </a:moveTo>
                  <a:lnTo>
                    <a:pt x="14644" y="3505"/>
                  </a:lnTo>
                  <a:lnTo>
                    <a:pt x="14642" y="3514"/>
                  </a:lnTo>
                  <a:lnTo>
                    <a:pt x="14637" y="3520"/>
                  </a:lnTo>
                  <a:lnTo>
                    <a:pt x="14631" y="3524"/>
                  </a:lnTo>
                  <a:lnTo>
                    <a:pt x="14624" y="3524"/>
                  </a:lnTo>
                  <a:lnTo>
                    <a:pt x="14617" y="3524"/>
                  </a:lnTo>
                  <a:lnTo>
                    <a:pt x="14610" y="3520"/>
                  </a:lnTo>
                  <a:lnTo>
                    <a:pt x="14606" y="3514"/>
                  </a:lnTo>
                  <a:lnTo>
                    <a:pt x="14604" y="3505"/>
                  </a:lnTo>
                  <a:lnTo>
                    <a:pt x="14604" y="3392"/>
                  </a:lnTo>
                  <a:lnTo>
                    <a:pt x="14606" y="3383"/>
                  </a:lnTo>
                  <a:lnTo>
                    <a:pt x="14610" y="3378"/>
                  </a:lnTo>
                  <a:lnTo>
                    <a:pt x="14617" y="3374"/>
                  </a:lnTo>
                  <a:lnTo>
                    <a:pt x="14624" y="3373"/>
                  </a:lnTo>
                  <a:lnTo>
                    <a:pt x="14631" y="3374"/>
                  </a:lnTo>
                  <a:lnTo>
                    <a:pt x="14637" y="3378"/>
                  </a:lnTo>
                  <a:lnTo>
                    <a:pt x="14642" y="3383"/>
                  </a:lnTo>
                  <a:lnTo>
                    <a:pt x="14644" y="3392"/>
                  </a:lnTo>
                  <a:close/>
                  <a:moveTo>
                    <a:pt x="14381" y="3392"/>
                  </a:moveTo>
                  <a:lnTo>
                    <a:pt x="14381" y="3505"/>
                  </a:lnTo>
                  <a:lnTo>
                    <a:pt x="14379" y="3514"/>
                  </a:lnTo>
                  <a:lnTo>
                    <a:pt x="14374" y="3520"/>
                  </a:lnTo>
                  <a:lnTo>
                    <a:pt x="14368" y="3524"/>
                  </a:lnTo>
                  <a:lnTo>
                    <a:pt x="14362" y="3524"/>
                  </a:lnTo>
                  <a:lnTo>
                    <a:pt x="14354" y="3524"/>
                  </a:lnTo>
                  <a:lnTo>
                    <a:pt x="14347" y="3520"/>
                  </a:lnTo>
                  <a:lnTo>
                    <a:pt x="14342" y="3514"/>
                  </a:lnTo>
                  <a:lnTo>
                    <a:pt x="14341" y="3505"/>
                  </a:lnTo>
                  <a:lnTo>
                    <a:pt x="14341" y="3392"/>
                  </a:lnTo>
                  <a:lnTo>
                    <a:pt x="14342" y="3383"/>
                  </a:lnTo>
                  <a:lnTo>
                    <a:pt x="14347" y="3378"/>
                  </a:lnTo>
                  <a:lnTo>
                    <a:pt x="14354" y="3374"/>
                  </a:lnTo>
                  <a:lnTo>
                    <a:pt x="14362" y="3373"/>
                  </a:lnTo>
                  <a:lnTo>
                    <a:pt x="14368" y="3374"/>
                  </a:lnTo>
                  <a:lnTo>
                    <a:pt x="14374" y="3378"/>
                  </a:lnTo>
                  <a:lnTo>
                    <a:pt x="14379" y="3383"/>
                  </a:lnTo>
                  <a:lnTo>
                    <a:pt x="14381" y="3392"/>
                  </a:lnTo>
                  <a:close/>
                  <a:moveTo>
                    <a:pt x="14118" y="3392"/>
                  </a:moveTo>
                  <a:lnTo>
                    <a:pt x="14118" y="3505"/>
                  </a:lnTo>
                  <a:lnTo>
                    <a:pt x="14117" y="3514"/>
                  </a:lnTo>
                  <a:lnTo>
                    <a:pt x="14111" y="3520"/>
                  </a:lnTo>
                  <a:lnTo>
                    <a:pt x="14105" y="3524"/>
                  </a:lnTo>
                  <a:lnTo>
                    <a:pt x="14097" y="3524"/>
                  </a:lnTo>
                  <a:lnTo>
                    <a:pt x="14091" y="3524"/>
                  </a:lnTo>
                  <a:lnTo>
                    <a:pt x="14085" y="3520"/>
                  </a:lnTo>
                  <a:lnTo>
                    <a:pt x="14079" y="3514"/>
                  </a:lnTo>
                  <a:lnTo>
                    <a:pt x="14078" y="3505"/>
                  </a:lnTo>
                  <a:lnTo>
                    <a:pt x="14078" y="3392"/>
                  </a:lnTo>
                  <a:lnTo>
                    <a:pt x="14079" y="3383"/>
                  </a:lnTo>
                  <a:lnTo>
                    <a:pt x="14085" y="3378"/>
                  </a:lnTo>
                  <a:lnTo>
                    <a:pt x="14091" y="3374"/>
                  </a:lnTo>
                  <a:lnTo>
                    <a:pt x="14097" y="3373"/>
                  </a:lnTo>
                  <a:lnTo>
                    <a:pt x="14105" y="3374"/>
                  </a:lnTo>
                  <a:lnTo>
                    <a:pt x="14111" y="3378"/>
                  </a:lnTo>
                  <a:lnTo>
                    <a:pt x="14117" y="3383"/>
                  </a:lnTo>
                  <a:lnTo>
                    <a:pt x="14118" y="3392"/>
                  </a:lnTo>
                  <a:close/>
                  <a:moveTo>
                    <a:pt x="15434" y="3145"/>
                  </a:moveTo>
                  <a:lnTo>
                    <a:pt x="15434" y="3258"/>
                  </a:lnTo>
                  <a:lnTo>
                    <a:pt x="15432" y="3267"/>
                  </a:lnTo>
                  <a:lnTo>
                    <a:pt x="15427" y="3273"/>
                  </a:lnTo>
                  <a:lnTo>
                    <a:pt x="15421" y="3277"/>
                  </a:lnTo>
                  <a:lnTo>
                    <a:pt x="15413" y="3278"/>
                  </a:lnTo>
                  <a:lnTo>
                    <a:pt x="15407" y="3277"/>
                  </a:lnTo>
                  <a:lnTo>
                    <a:pt x="15400" y="3273"/>
                  </a:lnTo>
                  <a:lnTo>
                    <a:pt x="15395" y="3267"/>
                  </a:lnTo>
                  <a:lnTo>
                    <a:pt x="15394" y="3258"/>
                  </a:lnTo>
                  <a:lnTo>
                    <a:pt x="15394" y="3145"/>
                  </a:lnTo>
                  <a:lnTo>
                    <a:pt x="15395" y="3138"/>
                  </a:lnTo>
                  <a:lnTo>
                    <a:pt x="15400" y="3131"/>
                  </a:lnTo>
                  <a:lnTo>
                    <a:pt x="15407" y="3127"/>
                  </a:lnTo>
                  <a:lnTo>
                    <a:pt x="15413" y="3126"/>
                  </a:lnTo>
                  <a:lnTo>
                    <a:pt x="15421" y="3127"/>
                  </a:lnTo>
                  <a:lnTo>
                    <a:pt x="15427" y="3131"/>
                  </a:lnTo>
                  <a:lnTo>
                    <a:pt x="15432" y="3138"/>
                  </a:lnTo>
                  <a:lnTo>
                    <a:pt x="15434" y="3145"/>
                  </a:lnTo>
                  <a:close/>
                  <a:moveTo>
                    <a:pt x="15171" y="3145"/>
                  </a:moveTo>
                  <a:lnTo>
                    <a:pt x="15171" y="3258"/>
                  </a:lnTo>
                  <a:lnTo>
                    <a:pt x="15168" y="3267"/>
                  </a:lnTo>
                  <a:lnTo>
                    <a:pt x="15164" y="3273"/>
                  </a:lnTo>
                  <a:lnTo>
                    <a:pt x="15158" y="3277"/>
                  </a:lnTo>
                  <a:lnTo>
                    <a:pt x="15150" y="3278"/>
                  </a:lnTo>
                  <a:lnTo>
                    <a:pt x="15142" y="3277"/>
                  </a:lnTo>
                  <a:lnTo>
                    <a:pt x="15136" y="3273"/>
                  </a:lnTo>
                  <a:lnTo>
                    <a:pt x="15132" y="3267"/>
                  </a:lnTo>
                  <a:lnTo>
                    <a:pt x="15131" y="3258"/>
                  </a:lnTo>
                  <a:lnTo>
                    <a:pt x="15131" y="3145"/>
                  </a:lnTo>
                  <a:lnTo>
                    <a:pt x="15132" y="3138"/>
                  </a:lnTo>
                  <a:lnTo>
                    <a:pt x="15136" y="3131"/>
                  </a:lnTo>
                  <a:lnTo>
                    <a:pt x="15142" y="3127"/>
                  </a:lnTo>
                  <a:lnTo>
                    <a:pt x="15150" y="3126"/>
                  </a:lnTo>
                  <a:lnTo>
                    <a:pt x="15158" y="3127"/>
                  </a:lnTo>
                  <a:lnTo>
                    <a:pt x="15164" y="3131"/>
                  </a:lnTo>
                  <a:lnTo>
                    <a:pt x="15168" y="3138"/>
                  </a:lnTo>
                  <a:lnTo>
                    <a:pt x="15171" y="3145"/>
                  </a:lnTo>
                  <a:close/>
                  <a:moveTo>
                    <a:pt x="14908" y="3145"/>
                  </a:moveTo>
                  <a:lnTo>
                    <a:pt x="14908" y="3258"/>
                  </a:lnTo>
                  <a:lnTo>
                    <a:pt x="14905" y="3267"/>
                  </a:lnTo>
                  <a:lnTo>
                    <a:pt x="14901" y="3273"/>
                  </a:lnTo>
                  <a:lnTo>
                    <a:pt x="14895" y="3277"/>
                  </a:lnTo>
                  <a:lnTo>
                    <a:pt x="14887" y="3278"/>
                  </a:lnTo>
                  <a:lnTo>
                    <a:pt x="14880" y="3277"/>
                  </a:lnTo>
                  <a:lnTo>
                    <a:pt x="14873" y="3273"/>
                  </a:lnTo>
                  <a:lnTo>
                    <a:pt x="14869" y="3267"/>
                  </a:lnTo>
                  <a:lnTo>
                    <a:pt x="14867" y="3258"/>
                  </a:lnTo>
                  <a:lnTo>
                    <a:pt x="14867" y="3145"/>
                  </a:lnTo>
                  <a:lnTo>
                    <a:pt x="14869" y="3138"/>
                  </a:lnTo>
                  <a:lnTo>
                    <a:pt x="14873" y="3131"/>
                  </a:lnTo>
                  <a:lnTo>
                    <a:pt x="14880" y="3127"/>
                  </a:lnTo>
                  <a:lnTo>
                    <a:pt x="14887" y="3126"/>
                  </a:lnTo>
                  <a:lnTo>
                    <a:pt x="14895" y="3127"/>
                  </a:lnTo>
                  <a:lnTo>
                    <a:pt x="14901" y="3131"/>
                  </a:lnTo>
                  <a:lnTo>
                    <a:pt x="14905" y="3138"/>
                  </a:lnTo>
                  <a:lnTo>
                    <a:pt x="14908" y="3145"/>
                  </a:lnTo>
                  <a:close/>
                  <a:moveTo>
                    <a:pt x="14644" y="3145"/>
                  </a:moveTo>
                  <a:lnTo>
                    <a:pt x="14644" y="3258"/>
                  </a:lnTo>
                  <a:lnTo>
                    <a:pt x="14642" y="3267"/>
                  </a:lnTo>
                  <a:lnTo>
                    <a:pt x="14637" y="3273"/>
                  </a:lnTo>
                  <a:lnTo>
                    <a:pt x="14631" y="3277"/>
                  </a:lnTo>
                  <a:lnTo>
                    <a:pt x="14624" y="3278"/>
                  </a:lnTo>
                  <a:lnTo>
                    <a:pt x="14617" y="3277"/>
                  </a:lnTo>
                  <a:lnTo>
                    <a:pt x="14610" y="3273"/>
                  </a:lnTo>
                  <a:lnTo>
                    <a:pt x="14606" y="3267"/>
                  </a:lnTo>
                  <a:lnTo>
                    <a:pt x="14604" y="3258"/>
                  </a:lnTo>
                  <a:lnTo>
                    <a:pt x="14604" y="3145"/>
                  </a:lnTo>
                  <a:lnTo>
                    <a:pt x="14606" y="3138"/>
                  </a:lnTo>
                  <a:lnTo>
                    <a:pt x="14610" y="3131"/>
                  </a:lnTo>
                  <a:lnTo>
                    <a:pt x="14617" y="3127"/>
                  </a:lnTo>
                  <a:lnTo>
                    <a:pt x="14624" y="3126"/>
                  </a:lnTo>
                  <a:lnTo>
                    <a:pt x="14631" y="3127"/>
                  </a:lnTo>
                  <a:lnTo>
                    <a:pt x="14637" y="3131"/>
                  </a:lnTo>
                  <a:lnTo>
                    <a:pt x="14642" y="3138"/>
                  </a:lnTo>
                  <a:lnTo>
                    <a:pt x="14644" y="3145"/>
                  </a:lnTo>
                  <a:close/>
                  <a:moveTo>
                    <a:pt x="14381" y="3145"/>
                  </a:moveTo>
                  <a:lnTo>
                    <a:pt x="14381" y="3258"/>
                  </a:lnTo>
                  <a:lnTo>
                    <a:pt x="14379" y="3267"/>
                  </a:lnTo>
                  <a:lnTo>
                    <a:pt x="14374" y="3273"/>
                  </a:lnTo>
                  <a:lnTo>
                    <a:pt x="14368" y="3277"/>
                  </a:lnTo>
                  <a:lnTo>
                    <a:pt x="14362" y="3278"/>
                  </a:lnTo>
                  <a:lnTo>
                    <a:pt x="14354" y="3277"/>
                  </a:lnTo>
                  <a:lnTo>
                    <a:pt x="14347" y="3273"/>
                  </a:lnTo>
                  <a:lnTo>
                    <a:pt x="14342" y="3267"/>
                  </a:lnTo>
                  <a:lnTo>
                    <a:pt x="14341" y="3258"/>
                  </a:lnTo>
                  <a:lnTo>
                    <a:pt x="14341" y="3145"/>
                  </a:lnTo>
                  <a:lnTo>
                    <a:pt x="14342" y="3138"/>
                  </a:lnTo>
                  <a:lnTo>
                    <a:pt x="14347" y="3131"/>
                  </a:lnTo>
                  <a:lnTo>
                    <a:pt x="14354" y="3127"/>
                  </a:lnTo>
                  <a:lnTo>
                    <a:pt x="14362" y="3126"/>
                  </a:lnTo>
                  <a:lnTo>
                    <a:pt x="14368" y="3127"/>
                  </a:lnTo>
                  <a:lnTo>
                    <a:pt x="14374" y="3131"/>
                  </a:lnTo>
                  <a:lnTo>
                    <a:pt x="14379" y="3138"/>
                  </a:lnTo>
                  <a:lnTo>
                    <a:pt x="14381" y="3145"/>
                  </a:lnTo>
                  <a:close/>
                  <a:moveTo>
                    <a:pt x="14118" y="3145"/>
                  </a:moveTo>
                  <a:lnTo>
                    <a:pt x="14118" y="3258"/>
                  </a:lnTo>
                  <a:lnTo>
                    <a:pt x="14117" y="3267"/>
                  </a:lnTo>
                  <a:lnTo>
                    <a:pt x="14111" y="3273"/>
                  </a:lnTo>
                  <a:lnTo>
                    <a:pt x="14105" y="3277"/>
                  </a:lnTo>
                  <a:lnTo>
                    <a:pt x="14097" y="3278"/>
                  </a:lnTo>
                  <a:lnTo>
                    <a:pt x="14091" y="3277"/>
                  </a:lnTo>
                  <a:lnTo>
                    <a:pt x="14085" y="3273"/>
                  </a:lnTo>
                  <a:lnTo>
                    <a:pt x="14079" y="3267"/>
                  </a:lnTo>
                  <a:lnTo>
                    <a:pt x="14078" y="3258"/>
                  </a:lnTo>
                  <a:lnTo>
                    <a:pt x="14078" y="3145"/>
                  </a:lnTo>
                  <a:lnTo>
                    <a:pt x="14079" y="3138"/>
                  </a:lnTo>
                  <a:lnTo>
                    <a:pt x="14085" y="3131"/>
                  </a:lnTo>
                  <a:lnTo>
                    <a:pt x="14091" y="3127"/>
                  </a:lnTo>
                  <a:lnTo>
                    <a:pt x="14097" y="3126"/>
                  </a:lnTo>
                  <a:lnTo>
                    <a:pt x="14105" y="3127"/>
                  </a:lnTo>
                  <a:lnTo>
                    <a:pt x="14111" y="3131"/>
                  </a:lnTo>
                  <a:lnTo>
                    <a:pt x="14117" y="3138"/>
                  </a:lnTo>
                  <a:lnTo>
                    <a:pt x="14118" y="3145"/>
                  </a:lnTo>
                  <a:close/>
                  <a:moveTo>
                    <a:pt x="15434" y="2900"/>
                  </a:moveTo>
                  <a:lnTo>
                    <a:pt x="15434" y="3011"/>
                  </a:lnTo>
                  <a:lnTo>
                    <a:pt x="15432" y="3020"/>
                  </a:lnTo>
                  <a:lnTo>
                    <a:pt x="15427" y="3026"/>
                  </a:lnTo>
                  <a:lnTo>
                    <a:pt x="15421" y="3030"/>
                  </a:lnTo>
                  <a:lnTo>
                    <a:pt x="15413" y="3031"/>
                  </a:lnTo>
                  <a:lnTo>
                    <a:pt x="15407" y="3030"/>
                  </a:lnTo>
                  <a:lnTo>
                    <a:pt x="15400" y="3026"/>
                  </a:lnTo>
                  <a:lnTo>
                    <a:pt x="15395" y="3020"/>
                  </a:lnTo>
                  <a:lnTo>
                    <a:pt x="15394" y="3011"/>
                  </a:lnTo>
                  <a:lnTo>
                    <a:pt x="15394" y="2900"/>
                  </a:lnTo>
                  <a:lnTo>
                    <a:pt x="15395" y="2891"/>
                  </a:lnTo>
                  <a:lnTo>
                    <a:pt x="15400" y="2884"/>
                  </a:lnTo>
                  <a:lnTo>
                    <a:pt x="15407" y="2881"/>
                  </a:lnTo>
                  <a:lnTo>
                    <a:pt x="15413" y="2879"/>
                  </a:lnTo>
                  <a:lnTo>
                    <a:pt x="15421" y="2881"/>
                  </a:lnTo>
                  <a:lnTo>
                    <a:pt x="15427" y="2884"/>
                  </a:lnTo>
                  <a:lnTo>
                    <a:pt x="15432" y="2891"/>
                  </a:lnTo>
                  <a:lnTo>
                    <a:pt x="15434" y="2900"/>
                  </a:lnTo>
                  <a:close/>
                  <a:moveTo>
                    <a:pt x="15171" y="2900"/>
                  </a:moveTo>
                  <a:lnTo>
                    <a:pt x="15171" y="3011"/>
                  </a:lnTo>
                  <a:lnTo>
                    <a:pt x="15168" y="3020"/>
                  </a:lnTo>
                  <a:lnTo>
                    <a:pt x="15164" y="3026"/>
                  </a:lnTo>
                  <a:lnTo>
                    <a:pt x="15158" y="3030"/>
                  </a:lnTo>
                  <a:lnTo>
                    <a:pt x="15150" y="3031"/>
                  </a:lnTo>
                  <a:lnTo>
                    <a:pt x="15142" y="3030"/>
                  </a:lnTo>
                  <a:lnTo>
                    <a:pt x="15136" y="3026"/>
                  </a:lnTo>
                  <a:lnTo>
                    <a:pt x="15132" y="3020"/>
                  </a:lnTo>
                  <a:lnTo>
                    <a:pt x="15131" y="3011"/>
                  </a:lnTo>
                  <a:lnTo>
                    <a:pt x="15131" y="2900"/>
                  </a:lnTo>
                  <a:lnTo>
                    <a:pt x="15132" y="2891"/>
                  </a:lnTo>
                  <a:lnTo>
                    <a:pt x="15136" y="2884"/>
                  </a:lnTo>
                  <a:lnTo>
                    <a:pt x="15142" y="2881"/>
                  </a:lnTo>
                  <a:lnTo>
                    <a:pt x="15150" y="2879"/>
                  </a:lnTo>
                  <a:lnTo>
                    <a:pt x="15158" y="2881"/>
                  </a:lnTo>
                  <a:lnTo>
                    <a:pt x="15164" y="2884"/>
                  </a:lnTo>
                  <a:lnTo>
                    <a:pt x="15168" y="2891"/>
                  </a:lnTo>
                  <a:lnTo>
                    <a:pt x="15171" y="2900"/>
                  </a:lnTo>
                  <a:close/>
                  <a:moveTo>
                    <a:pt x="14908" y="2900"/>
                  </a:moveTo>
                  <a:lnTo>
                    <a:pt x="14908" y="3011"/>
                  </a:lnTo>
                  <a:lnTo>
                    <a:pt x="14905" y="3020"/>
                  </a:lnTo>
                  <a:lnTo>
                    <a:pt x="14901" y="3026"/>
                  </a:lnTo>
                  <a:lnTo>
                    <a:pt x="14895" y="3030"/>
                  </a:lnTo>
                  <a:lnTo>
                    <a:pt x="14887" y="3031"/>
                  </a:lnTo>
                  <a:lnTo>
                    <a:pt x="14880" y="3030"/>
                  </a:lnTo>
                  <a:lnTo>
                    <a:pt x="14873" y="3026"/>
                  </a:lnTo>
                  <a:lnTo>
                    <a:pt x="14869" y="3020"/>
                  </a:lnTo>
                  <a:lnTo>
                    <a:pt x="14867" y="3011"/>
                  </a:lnTo>
                  <a:lnTo>
                    <a:pt x="14867" y="2900"/>
                  </a:lnTo>
                  <a:lnTo>
                    <a:pt x="14869" y="2891"/>
                  </a:lnTo>
                  <a:lnTo>
                    <a:pt x="14873" y="2884"/>
                  </a:lnTo>
                  <a:lnTo>
                    <a:pt x="14880" y="2881"/>
                  </a:lnTo>
                  <a:lnTo>
                    <a:pt x="14887" y="2879"/>
                  </a:lnTo>
                  <a:lnTo>
                    <a:pt x="14895" y="2881"/>
                  </a:lnTo>
                  <a:lnTo>
                    <a:pt x="14901" y="2884"/>
                  </a:lnTo>
                  <a:lnTo>
                    <a:pt x="14905" y="2891"/>
                  </a:lnTo>
                  <a:lnTo>
                    <a:pt x="14908" y="2900"/>
                  </a:lnTo>
                  <a:close/>
                  <a:moveTo>
                    <a:pt x="14644" y="2900"/>
                  </a:moveTo>
                  <a:lnTo>
                    <a:pt x="14644" y="3011"/>
                  </a:lnTo>
                  <a:lnTo>
                    <a:pt x="14642" y="3020"/>
                  </a:lnTo>
                  <a:lnTo>
                    <a:pt x="14637" y="3026"/>
                  </a:lnTo>
                  <a:lnTo>
                    <a:pt x="14631" y="3030"/>
                  </a:lnTo>
                  <a:lnTo>
                    <a:pt x="14624" y="3031"/>
                  </a:lnTo>
                  <a:lnTo>
                    <a:pt x="14617" y="3030"/>
                  </a:lnTo>
                  <a:lnTo>
                    <a:pt x="14610" y="3026"/>
                  </a:lnTo>
                  <a:lnTo>
                    <a:pt x="14606" y="3020"/>
                  </a:lnTo>
                  <a:lnTo>
                    <a:pt x="14604" y="3011"/>
                  </a:lnTo>
                  <a:lnTo>
                    <a:pt x="14604" y="2900"/>
                  </a:lnTo>
                  <a:lnTo>
                    <a:pt x="14606" y="2891"/>
                  </a:lnTo>
                  <a:lnTo>
                    <a:pt x="14610" y="2884"/>
                  </a:lnTo>
                  <a:lnTo>
                    <a:pt x="14617" y="2881"/>
                  </a:lnTo>
                  <a:lnTo>
                    <a:pt x="14624" y="2879"/>
                  </a:lnTo>
                  <a:lnTo>
                    <a:pt x="14631" y="2881"/>
                  </a:lnTo>
                  <a:lnTo>
                    <a:pt x="14637" y="2884"/>
                  </a:lnTo>
                  <a:lnTo>
                    <a:pt x="14642" y="2891"/>
                  </a:lnTo>
                  <a:lnTo>
                    <a:pt x="14644" y="2900"/>
                  </a:lnTo>
                  <a:close/>
                  <a:moveTo>
                    <a:pt x="14381" y="2900"/>
                  </a:moveTo>
                  <a:lnTo>
                    <a:pt x="14381" y="3011"/>
                  </a:lnTo>
                  <a:lnTo>
                    <a:pt x="14379" y="3020"/>
                  </a:lnTo>
                  <a:lnTo>
                    <a:pt x="14374" y="3026"/>
                  </a:lnTo>
                  <a:lnTo>
                    <a:pt x="14368" y="3030"/>
                  </a:lnTo>
                  <a:lnTo>
                    <a:pt x="14362" y="3031"/>
                  </a:lnTo>
                  <a:lnTo>
                    <a:pt x="14354" y="3030"/>
                  </a:lnTo>
                  <a:lnTo>
                    <a:pt x="14347" y="3026"/>
                  </a:lnTo>
                  <a:lnTo>
                    <a:pt x="14342" y="3020"/>
                  </a:lnTo>
                  <a:lnTo>
                    <a:pt x="14341" y="3011"/>
                  </a:lnTo>
                  <a:lnTo>
                    <a:pt x="14341" y="2900"/>
                  </a:lnTo>
                  <a:lnTo>
                    <a:pt x="14342" y="2891"/>
                  </a:lnTo>
                  <a:lnTo>
                    <a:pt x="14347" y="2884"/>
                  </a:lnTo>
                  <a:lnTo>
                    <a:pt x="14354" y="2881"/>
                  </a:lnTo>
                  <a:lnTo>
                    <a:pt x="14362" y="2879"/>
                  </a:lnTo>
                  <a:lnTo>
                    <a:pt x="14368" y="2881"/>
                  </a:lnTo>
                  <a:lnTo>
                    <a:pt x="14374" y="2884"/>
                  </a:lnTo>
                  <a:lnTo>
                    <a:pt x="14379" y="2891"/>
                  </a:lnTo>
                  <a:lnTo>
                    <a:pt x="14381" y="2900"/>
                  </a:lnTo>
                  <a:close/>
                  <a:moveTo>
                    <a:pt x="14118" y="2900"/>
                  </a:moveTo>
                  <a:lnTo>
                    <a:pt x="14118" y="3011"/>
                  </a:lnTo>
                  <a:lnTo>
                    <a:pt x="14117" y="3020"/>
                  </a:lnTo>
                  <a:lnTo>
                    <a:pt x="14111" y="3026"/>
                  </a:lnTo>
                  <a:lnTo>
                    <a:pt x="14105" y="3030"/>
                  </a:lnTo>
                  <a:lnTo>
                    <a:pt x="14097" y="3031"/>
                  </a:lnTo>
                  <a:lnTo>
                    <a:pt x="14091" y="3030"/>
                  </a:lnTo>
                  <a:lnTo>
                    <a:pt x="14085" y="3026"/>
                  </a:lnTo>
                  <a:lnTo>
                    <a:pt x="14079" y="3020"/>
                  </a:lnTo>
                  <a:lnTo>
                    <a:pt x="14078" y="3011"/>
                  </a:lnTo>
                  <a:lnTo>
                    <a:pt x="14078" y="2900"/>
                  </a:lnTo>
                  <a:lnTo>
                    <a:pt x="14079" y="2891"/>
                  </a:lnTo>
                  <a:lnTo>
                    <a:pt x="14085" y="2884"/>
                  </a:lnTo>
                  <a:lnTo>
                    <a:pt x="14091" y="2881"/>
                  </a:lnTo>
                  <a:lnTo>
                    <a:pt x="14097" y="2879"/>
                  </a:lnTo>
                  <a:lnTo>
                    <a:pt x="14105" y="2881"/>
                  </a:lnTo>
                  <a:lnTo>
                    <a:pt x="14111" y="2884"/>
                  </a:lnTo>
                  <a:lnTo>
                    <a:pt x="14117" y="2891"/>
                  </a:lnTo>
                  <a:lnTo>
                    <a:pt x="14118" y="2900"/>
                  </a:lnTo>
                  <a:close/>
                  <a:moveTo>
                    <a:pt x="15434" y="3639"/>
                  </a:moveTo>
                  <a:lnTo>
                    <a:pt x="15434" y="3751"/>
                  </a:lnTo>
                  <a:lnTo>
                    <a:pt x="15432" y="3760"/>
                  </a:lnTo>
                  <a:lnTo>
                    <a:pt x="15427" y="3765"/>
                  </a:lnTo>
                  <a:lnTo>
                    <a:pt x="15421" y="3769"/>
                  </a:lnTo>
                  <a:lnTo>
                    <a:pt x="15413" y="3771"/>
                  </a:lnTo>
                  <a:lnTo>
                    <a:pt x="15407" y="3769"/>
                  </a:lnTo>
                  <a:lnTo>
                    <a:pt x="15400" y="3765"/>
                  </a:lnTo>
                  <a:lnTo>
                    <a:pt x="15395" y="3760"/>
                  </a:lnTo>
                  <a:lnTo>
                    <a:pt x="15394" y="3751"/>
                  </a:lnTo>
                  <a:lnTo>
                    <a:pt x="15394" y="3639"/>
                  </a:lnTo>
                  <a:lnTo>
                    <a:pt x="15395" y="3630"/>
                  </a:lnTo>
                  <a:lnTo>
                    <a:pt x="15400" y="3624"/>
                  </a:lnTo>
                  <a:lnTo>
                    <a:pt x="15407" y="3620"/>
                  </a:lnTo>
                  <a:lnTo>
                    <a:pt x="15413" y="3618"/>
                  </a:lnTo>
                  <a:lnTo>
                    <a:pt x="15421" y="3620"/>
                  </a:lnTo>
                  <a:lnTo>
                    <a:pt x="15427" y="3624"/>
                  </a:lnTo>
                  <a:lnTo>
                    <a:pt x="15432" y="3630"/>
                  </a:lnTo>
                  <a:lnTo>
                    <a:pt x="15434" y="3639"/>
                  </a:lnTo>
                  <a:close/>
                  <a:moveTo>
                    <a:pt x="18172" y="964"/>
                  </a:moveTo>
                  <a:lnTo>
                    <a:pt x="17643" y="964"/>
                  </a:lnTo>
                  <a:lnTo>
                    <a:pt x="17643" y="1019"/>
                  </a:lnTo>
                  <a:lnTo>
                    <a:pt x="18172" y="1019"/>
                  </a:lnTo>
                  <a:lnTo>
                    <a:pt x="18172" y="964"/>
                  </a:lnTo>
                  <a:close/>
                  <a:moveTo>
                    <a:pt x="17665" y="1323"/>
                  </a:moveTo>
                  <a:lnTo>
                    <a:pt x="18163" y="2010"/>
                  </a:lnTo>
                  <a:lnTo>
                    <a:pt x="18134" y="1058"/>
                  </a:lnTo>
                  <a:lnTo>
                    <a:pt x="17680" y="1058"/>
                  </a:lnTo>
                  <a:lnTo>
                    <a:pt x="17665" y="1322"/>
                  </a:lnTo>
                  <a:lnTo>
                    <a:pt x="17665" y="1323"/>
                  </a:lnTo>
                  <a:close/>
                  <a:moveTo>
                    <a:pt x="17638" y="1754"/>
                  </a:moveTo>
                  <a:lnTo>
                    <a:pt x="18179" y="2500"/>
                  </a:lnTo>
                  <a:lnTo>
                    <a:pt x="18166" y="2079"/>
                  </a:lnTo>
                  <a:lnTo>
                    <a:pt x="18161" y="2074"/>
                  </a:lnTo>
                  <a:lnTo>
                    <a:pt x="17661" y="1385"/>
                  </a:lnTo>
                  <a:lnTo>
                    <a:pt x="17638" y="1754"/>
                  </a:lnTo>
                  <a:close/>
                  <a:moveTo>
                    <a:pt x="17611" y="2186"/>
                  </a:moveTo>
                  <a:lnTo>
                    <a:pt x="18194" y="2989"/>
                  </a:lnTo>
                  <a:lnTo>
                    <a:pt x="18181" y="2571"/>
                  </a:lnTo>
                  <a:lnTo>
                    <a:pt x="17634" y="1817"/>
                  </a:lnTo>
                  <a:lnTo>
                    <a:pt x="17611" y="2186"/>
                  </a:lnTo>
                  <a:close/>
                  <a:moveTo>
                    <a:pt x="22919" y="2556"/>
                  </a:moveTo>
                  <a:lnTo>
                    <a:pt x="22895" y="2525"/>
                  </a:lnTo>
                  <a:lnTo>
                    <a:pt x="22869" y="2494"/>
                  </a:lnTo>
                  <a:lnTo>
                    <a:pt x="22841" y="2464"/>
                  </a:lnTo>
                  <a:lnTo>
                    <a:pt x="22812" y="2434"/>
                  </a:lnTo>
                  <a:lnTo>
                    <a:pt x="22748" y="2377"/>
                  </a:lnTo>
                  <a:lnTo>
                    <a:pt x="22714" y="2350"/>
                  </a:lnTo>
                  <a:lnTo>
                    <a:pt x="22678" y="2323"/>
                  </a:lnTo>
                  <a:lnTo>
                    <a:pt x="22603" y="2272"/>
                  </a:lnTo>
                  <a:lnTo>
                    <a:pt x="22522" y="2225"/>
                  </a:lnTo>
                  <a:lnTo>
                    <a:pt x="22436" y="2181"/>
                  </a:lnTo>
                  <a:lnTo>
                    <a:pt x="22346" y="2142"/>
                  </a:lnTo>
                  <a:lnTo>
                    <a:pt x="22250" y="2104"/>
                  </a:lnTo>
                  <a:lnTo>
                    <a:pt x="22151" y="2072"/>
                  </a:lnTo>
                  <a:lnTo>
                    <a:pt x="22048" y="2046"/>
                  </a:lnTo>
                  <a:lnTo>
                    <a:pt x="21995" y="2033"/>
                  </a:lnTo>
                  <a:lnTo>
                    <a:pt x="21941" y="2023"/>
                  </a:lnTo>
                  <a:lnTo>
                    <a:pt x="21831" y="2003"/>
                  </a:lnTo>
                  <a:lnTo>
                    <a:pt x="21774" y="1997"/>
                  </a:lnTo>
                  <a:lnTo>
                    <a:pt x="21718" y="1991"/>
                  </a:lnTo>
                  <a:lnTo>
                    <a:pt x="21601" y="1983"/>
                  </a:lnTo>
                  <a:lnTo>
                    <a:pt x="21483" y="1980"/>
                  </a:lnTo>
                  <a:lnTo>
                    <a:pt x="21365" y="1983"/>
                  </a:lnTo>
                  <a:lnTo>
                    <a:pt x="21249" y="1991"/>
                  </a:lnTo>
                  <a:lnTo>
                    <a:pt x="21136" y="2003"/>
                  </a:lnTo>
                  <a:lnTo>
                    <a:pt x="21026" y="2023"/>
                  </a:lnTo>
                  <a:lnTo>
                    <a:pt x="20972" y="2033"/>
                  </a:lnTo>
                  <a:lnTo>
                    <a:pt x="20919" y="2046"/>
                  </a:lnTo>
                  <a:lnTo>
                    <a:pt x="20815" y="2072"/>
                  </a:lnTo>
                  <a:lnTo>
                    <a:pt x="20717" y="2104"/>
                  </a:lnTo>
                  <a:lnTo>
                    <a:pt x="20622" y="2142"/>
                  </a:lnTo>
                  <a:lnTo>
                    <a:pt x="20531" y="2181"/>
                  </a:lnTo>
                  <a:lnTo>
                    <a:pt x="20445" y="2225"/>
                  </a:lnTo>
                  <a:lnTo>
                    <a:pt x="20364" y="2272"/>
                  </a:lnTo>
                  <a:lnTo>
                    <a:pt x="20288" y="2323"/>
                  </a:lnTo>
                  <a:lnTo>
                    <a:pt x="20219" y="2377"/>
                  </a:lnTo>
                  <a:lnTo>
                    <a:pt x="20187" y="2405"/>
                  </a:lnTo>
                  <a:lnTo>
                    <a:pt x="20155" y="2434"/>
                  </a:lnTo>
                  <a:lnTo>
                    <a:pt x="20125" y="2464"/>
                  </a:lnTo>
                  <a:lnTo>
                    <a:pt x="20098" y="2494"/>
                  </a:lnTo>
                  <a:lnTo>
                    <a:pt x="20047" y="2556"/>
                  </a:lnTo>
                  <a:lnTo>
                    <a:pt x="20765" y="2556"/>
                  </a:lnTo>
                  <a:lnTo>
                    <a:pt x="21483" y="2556"/>
                  </a:lnTo>
                  <a:lnTo>
                    <a:pt x="22201" y="2556"/>
                  </a:lnTo>
                  <a:lnTo>
                    <a:pt x="22919" y="2556"/>
                  </a:lnTo>
                  <a:close/>
                  <a:moveTo>
                    <a:pt x="21733" y="1952"/>
                  </a:moveTo>
                  <a:lnTo>
                    <a:pt x="21733" y="1794"/>
                  </a:lnTo>
                  <a:lnTo>
                    <a:pt x="21235" y="1794"/>
                  </a:lnTo>
                  <a:lnTo>
                    <a:pt x="21235" y="1952"/>
                  </a:lnTo>
                  <a:lnTo>
                    <a:pt x="21295" y="1947"/>
                  </a:lnTo>
                  <a:lnTo>
                    <a:pt x="21358" y="1943"/>
                  </a:lnTo>
                  <a:lnTo>
                    <a:pt x="21420" y="1941"/>
                  </a:lnTo>
                  <a:lnTo>
                    <a:pt x="21483" y="1939"/>
                  </a:lnTo>
                  <a:lnTo>
                    <a:pt x="21609" y="1943"/>
                  </a:lnTo>
                  <a:lnTo>
                    <a:pt x="21733" y="1952"/>
                  </a:lnTo>
                  <a:close/>
                  <a:moveTo>
                    <a:pt x="20024" y="2977"/>
                  </a:moveTo>
                  <a:lnTo>
                    <a:pt x="20754" y="2977"/>
                  </a:lnTo>
                  <a:lnTo>
                    <a:pt x="21483" y="2977"/>
                  </a:lnTo>
                  <a:lnTo>
                    <a:pt x="22213" y="2977"/>
                  </a:lnTo>
                  <a:lnTo>
                    <a:pt x="22943" y="2977"/>
                  </a:lnTo>
                  <a:lnTo>
                    <a:pt x="22943" y="2750"/>
                  </a:lnTo>
                  <a:lnTo>
                    <a:pt x="22213" y="2750"/>
                  </a:lnTo>
                  <a:lnTo>
                    <a:pt x="21483" y="2750"/>
                  </a:lnTo>
                  <a:lnTo>
                    <a:pt x="20754" y="2750"/>
                  </a:lnTo>
                  <a:lnTo>
                    <a:pt x="20024" y="2750"/>
                  </a:lnTo>
                  <a:lnTo>
                    <a:pt x="20024" y="2977"/>
                  </a:lnTo>
                  <a:close/>
                  <a:moveTo>
                    <a:pt x="20768" y="4017"/>
                  </a:moveTo>
                  <a:lnTo>
                    <a:pt x="20768" y="4324"/>
                  </a:lnTo>
                  <a:lnTo>
                    <a:pt x="20974" y="4324"/>
                  </a:lnTo>
                  <a:lnTo>
                    <a:pt x="20974" y="3670"/>
                  </a:lnTo>
                  <a:lnTo>
                    <a:pt x="20974" y="3016"/>
                  </a:lnTo>
                  <a:lnTo>
                    <a:pt x="20523" y="3016"/>
                  </a:lnTo>
                  <a:lnTo>
                    <a:pt x="20523" y="3670"/>
                  </a:lnTo>
                  <a:lnTo>
                    <a:pt x="20523" y="4324"/>
                  </a:lnTo>
                  <a:lnTo>
                    <a:pt x="20728" y="4324"/>
                  </a:lnTo>
                  <a:lnTo>
                    <a:pt x="20728" y="4017"/>
                  </a:lnTo>
                  <a:lnTo>
                    <a:pt x="20731" y="4008"/>
                  </a:lnTo>
                  <a:lnTo>
                    <a:pt x="20734" y="4002"/>
                  </a:lnTo>
                  <a:lnTo>
                    <a:pt x="20741" y="3998"/>
                  </a:lnTo>
                  <a:lnTo>
                    <a:pt x="20749" y="3997"/>
                  </a:lnTo>
                  <a:lnTo>
                    <a:pt x="20756" y="3998"/>
                  </a:lnTo>
                  <a:lnTo>
                    <a:pt x="20763" y="4002"/>
                  </a:lnTo>
                  <a:lnTo>
                    <a:pt x="20767" y="4008"/>
                  </a:lnTo>
                  <a:lnTo>
                    <a:pt x="20768" y="4017"/>
                  </a:lnTo>
                  <a:close/>
                  <a:moveTo>
                    <a:pt x="21260" y="4017"/>
                  </a:moveTo>
                  <a:lnTo>
                    <a:pt x="21260" y="4324"/>
                  </a:lnTo>
                  <a:lnTo>
                    <a:pt x="21467" y="4324"/>
                  </a:lnTo>
                  <a:lnTo>
                    <a:pt x="21467" y="3670"/>
                  </a:lnTo>
                  <a:lnTo>
                    <a:pt x="21467" y="3016"/>
                  </a:lnTo>
                  <a:lnTo>
                    <a:pt x="21014" y="3016"/>
                  </a:lnTo>
                  <a:lnTo>
                    <a:pt x="21014" y="3670"/>
                  </a:lnTo>
                  <a:lnTo>
                    <a:pt x="21014" y="4324"/>
                  </a:lnTo>
                  <a:lnTo>
                    <a:pt x="21220" y="4324"/>
                  </a:lnTo>
                  <a:lnTo>
                    <a:pt x="21220" y="4017"/>
                  </a:lnTo>
                  <a:lnTo>
                    <a:pt x="21222" y="4008"/>
                  </a:lnTo>
                  <a:lnTo>
                    <a:pt x="21227" y="4002"/>
                  </a:lnTo>
                  <a:lnTo>
                    <a:pt x="21233" y="3998"/>
                  </a:lnTo>
                  <a:lnTo>
                    <a:pt x="21241" y="3997"/>
                  </a:lnTo>
                  <a:lnTo>
                    <a:pt x="21247" y="3998"/>
                  </a:lnTo>
                  <a:lnTo>
                    <a:pt x="21254" y="4002"/>
                  </a:lnTo>
                  <a:lnTo>
                    <a:pt x="21259" y="4008"/>
                  </a:lnTo>
                  <a:lnTo>
                    <a:pt x="21260" y="4017"/>
                  </a:lnTo>
                  <a:close/>
                  <a:moveTo>
                    <a:pt x="21753" y="4017"/>
                  </a:moveTo>
                  <a:lnTo>
                    <a:pt x="21753" y="4324"/>
                  </a:lnTo>
                  <a:lnTo>
                    <a:pt x="21959" y="4324"/>
                  </a:lnTo>
                  <a:lnTo>
                    <a:pt x="21959" y="3670"/>
                  </a:lnTo>
                  <a:lnTo>
                    <a:pt x="21959" y="3016"/>
                  </a:lnTo>
                  <a:lnTo>
                    <a:pt x="21506" y="3016"/>
                  </a:lnTo>
                  <a:lnTo>
                    <a:pt x="21506" y="3670"/>
                  </a:lnTo>
                  <a:lnTo>
                    <a:pt x="21506" y="4324"/>
                  </a:lnTo>
                  <a:lnTo>
                    <a:pt x="21713" y="4324"/>
                  </a:lnTo>
                  <a:lnTo>
                    <a:pt x="21713" y="4017"/>
                  </a:lnTo>
                  <a:lnTo>
                    <a:pt x="21714" y="4008"/>
                  </a:lnTo>
                  <a:lnTo>
                    <a:pt x="21719" y="4002"/>
                  </a:lnTo>
                  <a:lnTo>
                    <a:pt x="21726" y="3998"/>
                  </a:lnTo>
                  <a:lnTo>
                    <a:pt x="21732" y="3997"/>
                  </a:lnTo>
                  <a:lnTo>
                    <a:pt x="21740" y="3998"/>
                  </a:lnTo>
                  <a:lnTo>
                    <a:pt x="21746" y="4002"/>
                  </a:lnTo>
                  <a:lnTo>
                    <a:pt x="21751" y="4008"/>
                  </a:lnTo>
                  <a:lnTo>
                    <a:pt x="21753" y="4017"/>
                  </a:lnTo>
                  <a:close/>
                  <a:moveTo>
                    <a:pt x="22245" y="4017"/>
                  </a:moveTo>
                  <a:lnTo>
                    <a:pt x="22245" y="4324"/>
                  </a:lnTo>
                  <a:lnTo>
                    <a:pt x="22450" y="4324"/>
                  </a:lnTo>
                  <a:lnTo>
                    <a:pt x="22450" y="3670"/>
                  </a:lnTo>
                  <a:lnTo>
                    <a:pt x="22450" y="3016"/>
                  </a:lnTo>
                  <a:lnTo>
                    <a:pt x="21999" y="3016"/>
                  </a:lnTo>
                  <a:lnTo>
                    <a:pt x="21999" y="3670"/>
                  </a:lnTo>
                  <a:lnTo>
                    <a:pt x="21999" y="4324"/>
                  </a:lnTo>
                  <a:lnTo>
                    <a:pt x="22205" y="4324"/>
                  </a:lnTo>
                  <a:lnTo>
                    <a:pt x="22205" y="4017"/>
                  </a:lnTo>
                  <a:lnTo>
                    <a:pt x="22207" y="4008"/>
                  </a:lnTo>
                  <a:lnTo>
                    <a:pt x="22210" y="4002"/>
                  </a:lnTo>
                  <a:lnTo>
                    <a:pt x="22217" y="3998"/>
                  </a:lnTo>
                  <a:lnTo>
                    <a:pt x="22224" y="3997"/>
                  </a:lnTo>
                  <a:lnTo>
                    <a:pt x="22232" y="3998"/>
                  </a:lnTo>
                  <a:lnTo>
                    <a:pt x="22239" y="4002"/>
                  </a:lnTo>
                  <a:lnTo>
                    <a:pt x="22242" y="4008"/>
                  </a:lnTo>
                  <a:lnTo>
                    <a:pt x="22245" y="4017"/>
                  </a:lnTo>
                  <a:close/>
                  <a:moveTo>
                    <a:pt x="22737" y="4017"/>
                  </a:moveTo>
                  <a:lnTo>
                    <a:pt x="22737" y="4324"/>
                  </a:lnTo>
                  <a:lnTo>
                    <a:pt x="22943" y="4324"/>
                  </a:lnTo>
                  <a:lnTo>
                    <a:pt x="22943" y="3670"/>
                  </a:lnTo>
                  <a:lnTo>
                    <a:pt x="22943" y="3016"/>
                  </a:lnTo>
                  <a:lnTo>
                    <a:pt x="22491" y="3016"/>
                  </a:lnTo>
                  <a:lnTo>
                    <a:pt x="22491" y="3670"/>
                  </a:lnTo>
                  <a:lnTo>
                    <a:pt x="22491" y="4324"/>
                  </a:lnTo>
                  <a:lnTo>
                    <a:pt x="22696" y="4324"/>
                  </a:lnTo>
                  <a:lnTo>
                    <a:pt x="22696" y="4017"/>
                  </a:lnTo>
                  <a:lnTo>
                    <a:pt x="22699" y="4008"/>
                  </a:lnTo>
                  <a:lnTo>
                    <a:pt x="22703" y="4002"/>
                  </a:lnTo>
                  <a:lnTo>
                    <a:pt x="22709" y="3998"/>
                  </a:lnTo>
                  <a:lnTo>
                    <a:pt x="22717" y="3997"/>
                  </a:lnTo>
                  <a:lnTo>
                    <a:pt x="22725" y="3998"/>
                  </a:lnTo>
                  <a:lnTo>
                    <a:pt x="22731" y="4002"/>
                  </a:lnTo>
                  <a:lnTo>
                    <a:pt x="22735" y="4008"/>
                  </a:lnTo>
                  <a:lnTo>
                    <a:pt x="22737" y="4017"/>
                  </a:lnTo>
                  <a:close/>
                  <a:moveTo>
                    <a:pt x="21727" y="1754"/>
                  </a:moveTo>
                  <a:lnTo>
                    <a:pt x="21714" y="1740"/>
                  </a:lnTo>
                  <a:lnTo>
                    <a:pt x="21696" y="1727"/>
                  </a:lnTo>
                  <a:lnTo>
                    <a:pt x="21673" y="1714"/>
                  </a:lnTo>
                  <a:lnTo>
                    <a:pt x="21645" y="1703"/>
                  </a:lnTo>
                  <a:lnTo>
                    <a:pt x="21612" y="1693"/>
                  </a:lnTo>
                  <a:lnTo>
                    <a:pt x="21573" y="1686"/>
                  </a:lnTo>
                  <a:lnTo>
                    <a:pt x="21531" y="1681"/>
                  </a:lnTo>
                  <a:lnTo>
                    <a:pt x="21483" y="1679"/>
                  </a:lnTo>
                  <a:lnTo>
                    <a:pt x="21437" y="1681"/>
                  </a:lnTo>
                  <a:lnTo>
                    <a:pt x="21394" y="1686"/>
                  </a:lnTo>
                  <a:lnTo>
                    <a:pt x="21356" y="1693"/>
                  </a:lnTo>
                  <a:lnTo>
                    <a:pt x="21322" y="1703"/>
                  </a:lnTo>
                  <a:lnTo>
                    <a:pt x="21294" y="1714"/>
                  </a:lnTo>
                  <a:lnTo>
                    <a:pt x="21270" y="1727"/>
                  </a:lnTo>
                  <a:lnTo>
                    <a:pt x="21253" y="1740"/>
                  </a:lnTo>
                  <a:lnTo>
                    <a:pt x="21241" y="1754"/>
                  </a:lnTo>
                  <a:lnTo>
                    <a:pt x="21727" y="1754"/>
                  </a:lnTo>
                  <a:close/>
                  <a:moveTo>
                    <a:pt x="19597" y="4131"/>
                  </a:moveTo>
                  <a:lnTo>
                    <a:pt x="19564" y="4135"/>
                  </a:lnTo>
                  <a:lnTo>
                    <a:pt x="19532" y="4145"/>
                  </a:lnTo>
                  <a:lnTo>
                    <a:pt x="19500" y="4154"/>
                  </a:lnTo>
                  <a:lnTo>
                    <a:pt x="19465" y="4159"/>
                  </a:lnTo>
                  <a:lnTo>
                    <a:pt x="19436" y="4154"/>
                  </a:lnTo>
                  <a:lnTo>
                    <a:pt x="19423" y="4149"/>
                  </a:lnTo>
                  <a:lnTo>
                    <a:pt x="19410" y="4143"/>
                  </a:lnTo>
                  <a:lnTo>
                    <a:pt x="19388" y="4125"/>
                  </a:lnTo>
                  <a:lnTo>
                    <a:pt x="19369" y="4100"/>
                  </a:lnTo>
                  <a:lnTo>
                    <a:pt x="19351" y="4072"/>
                  </a:lnTo>
                  <a:lnTo>
                    <a:pt x="19334" y="4040"/>
                  </a:lnTo>
                  <a:lnTo>
                    <a:pt x="19300" y="3973"/>
                  </a:lnTo>
                  <a:lnTo>
                    <a:pt x="19282" y="3937"/>
                  </a:lnTo>
                  <a:lnTo>
                    <a:pt x="19260" y="3904"/>
                  </a:lnTo>
                  <a:lnTo>
                    <a:pt x="19235" y="3872"/>
                  </a:lnTo>
                  <a:lnTo>
                    <a:pt x="19209" y="3843"/>
                  </a:lnTo>
                  <a:lnTo>
                    <a:pt x="19175" y="3820"/>
                  </a:lnTo>
                  <a:lnTo>
                    <a:pt x="19157" y="3810"/>
                  </a:lnTo>
                  <a:lnTo>
                    <a:pt x="19138" y="3801"/>
                  </a:lnTo>
                  <a:lnTo>
                    <a:pt x="19116" y="3795"/>
                  </a:lnTo>
                  <a:lnTo>
                    <a:pt x="19093" y="3790"/>
                  </a:lnTo>
                  <a:lnTo>
                    <a:pt x="19069" y="3787"/>
                  </a:lnTo>
                  <a:lnTo>
                    <a:pt x="19042" y="3786"/>
                  </a:lnTo>
                  <a:lnTo>
                    <a:pt x="19014" y="3790"/>
                  </a:lnTo>
                  <a:lnTo>
                    <a:pt x="19002" y="3795"/>
                  </a:lnTo>
                  <a:lnTo>
                    <a:pt x="18993" y="3801"/>
                  </a:lnTo>
                  <a:lnTo>
                    <a:pt x="18974" y="3817"/>
                  </a:lnTo>
                  <a:lnTo>
                    <a:pt x="18952" y="3836"/>
                  </a:lnTo>
                  <a:lnTo>
                    <a:pt x="18925" y="3854"/>
                  </a:lnTo>
                  <a:lnTo>
                    <a:pt x="18908" y="3863"/>
                  </a:lnTo>
                  <a:lnTo>
                    <a:pt x="18889" y="3869"/>
                  </a:lnTo>
                  <a:lnTo>
                    <a:pt x="18865" y="3875"/>
                  </a:lnTo>
                  <a:lnTo>
                    <a:pt x="18838" y="3881"/>
                  </a:lnTo>
                  <a:lnTo>
                    <a:pt x="18806" y="3884"/>
                  </a:lnTo>
                  <a:lnTo>
                    <a:pt x="18769" y="3886"/>
                  </a:lnTo>
                  <a:lnTo>
                    <a:pt x="18742" y="3883"/>
                  </a:lnTo>
                  <a:lnTo>
                    <a:pt x="18720" y="3879"/>
                  </a:lnTo>
                  <a:lnTo>
                    <a:pt x="18688" y="3868"/>
                  </a:lnTo>
                  <a:lnTo>
                    <a:pt x="18662" y="3855"/>
                  </a:lnTo>
                  <a:lnTo>
                    <a:pt x="18649" y="3851"/>
                  </a:lnTo>
                  <a:lnTo>
                    <a:pt x="18637" y="3850"/>
                  </a:lnTo>
                  <a:lnTo>
                    <a:pt x="18615" y="3851"/>
                  </a:lnTo>
                  <a:lnTo>
                    <a:pt x="18594" y="3856"/>
                  </a:lnTo>
                  <a:lnTo>
                    <a:pt x="18575" y="3864"/>
                  </a:lnTo>
                  <a:lnTo>
                    <a:pt x="18557" y="3875"/>
                  </a:lnTo>
                  <a:lnTo>
                    <a:pt x="18540" y="3888"/>
                  </a:lnTo>
                  <a:lnTo>
                    <a:pt x="18524" y="3902"/>
                  </a:lnTo>
                  <a:lnTo>
                    <a:pt x="18494" y="3936"/>
                  </a:lnTo>
                  <a:lnTo>
                    <a:pt x="18467" y="3973"/>
                  </a:lnTo>
                  <a:lnTo>
                    <a:pt x="18442" y="4011"/>
                  </a:lnTo>
                  <a:lnTo>
                    <a:pt x="18416" y="4047"/>
                  </a:lnTo>
                  <a:lnTo>
                    <a:pt x="18389" y="4077"/>
                  </a:lnTo>
                  <a:lnTo>
                    <a:pt x="18366" y="4097"/>
                  </a:lnTo>
                  <a:lnTo>
                    <a:pt x="18337" y="4116"/>
                  </a:lnTo>
                  <a:lnTo>
                    <a:pt x="18266" y="4155"/>
                  </a:lnTo>
                  <a:lnTo>
                    <a:pt x="18261" y="4161"/>
                  </a:lnTo>
                  <a:lnTo>
                    <a:pt x="18253" y="4163"/>
                  </a:lnTo>
                  <a:lnTo>
                    <a:pt x="18207" y="4191"/>
                  </a:lnTo>
                  <a:lnTo>
                    <a:pt x="18169" y="4221"/>
                  </a:lnTo>
                  <a:lnTo>
                    <a:pt x="18153" y="4236"/>
                  </a:lnTo>
                  <a:lnTo>
                    <a:pt x="18147" y="4245"/>
                  </a:lnTo>
                  <a:lnTo>
                    <a:pt x="18142" y="4253"/>
                  </a:lnTo>
                  <a:lnTo>
                    <a:pt x="18134" y="4269"/>
                  </a:lnTo>
                  <a:lnTo>
                    <a:pt x="18131" y="4287"/>
                  </a:lnTo>
                  <a:lnTo>
                    <a:pt x="18133" y="4308"/>
                  </a:lnTo>
                  <a:lnTo>
                    <a:pt x="18137" y="4329"/>
                  </a:lnTo>
                  <a:lnTo>
                    <a:pt x="18256" y="4329"/>
                  </a:lnTo>
                  <a:lnTo>
                    <a:pt x="18261" y="4329"/>
                  </a:lnTo>
                  <a:lnTo>
                    <a:pt x="19046" y="4329"/>
                  </a:lnTo>
                  <a:lnTo>
                    <a:pt x="19830" y="4329"/>
                  </a:lnTo>
                  <a:lnTo>
                    <a:pt x="19825" y="4308"/>
                  </a:lnTo>
                  <a:lnTo>
                    <a:pt x="19819" y="4286"/>
                  </a:lnTo>
                  <a:lnTo>
                    <a:pt x="19810" y="4265"/>
                  </a:lnTo>
                  <a:lnTo>
                    <a:pt x="19801" y="4248"/>
                  </a:lnTo>
                  <a:lnTo>
                    <a:pt x="19778" y="4213"/>
                  </a:lnTo>
                  <a:lnTo>
                    <a:pt x="19764" y="4198"/>
                  </a:lnTo>
                  <a:lnTo>
                    <a:pt x="19748" y="4185"/>
                  </a:lnTo>
                  <a:lnTo>
                    <a:pt x="19733" y="4172"/>
                  </a:lnTo>
                  <a:lnTo>
                    <a:pt x="19716" y="4162"/>
                  </a:lnTo>
                  <a:lnTo>
                    <a:pt x="19698" y="4153"/>
                  </a:lnTo>
                  <a:lnTo>
                    <a:pt x="19679" y="4145"/>
                  </a:lnTo>
                  <a:lnTo>
                    <a:pt x="19660" y="4139"/>
                  </a:lnTo>
                  <a:lnTo>
                    <a:pt x="19639" y="4134"/>
                  </a:lnTo>
                  <a:lnTo>
                    <a:pt x="19597" y="4131"/>
                  </a:lnTo>
                  <a:close/>
                  <a:moveTo>
                    <a:pt x="18860" y="2743"/>
                  </a:moveTo>
                  <a:lnTo>
                    <a:pt x="18742" y="2904"/>
                  </a:lnTo>
                  <a:lnTo>
                    <a:pt x="18742" y="3047"/>
                  </a:lnTo>
                  <a:lnTo>
                    <a:pt x="18794" y="3040"/>
                  </a:lnTo>
                  <a:lnTo>
                    <a:pt x="18803" y="3039"/>
                  </a:lnTo>
                  <a:lnTo>
                    <a:pt x="18811" y="3043"/>
                  </a:lnTo>
                  <a:lnTo>
                    <a:pt x="18815" y="3048"/>
                  </a:lnTo>
                  <a:lnTo>
                    <a:pt x="18819" y="3056"/>
                  </a:lnTo>
                  <a:lnTo>
                    <a:pt x="18819" y="3062"/>
                  </a:lnTo>
                  <a:lnTo>
                    <a:pt x="18816" y="3070"/>
                  </a:lnTo>
                  <a:lnTo>
                    <a:pt x="18811" y="3075"/>
                  </a:lnTo>
                  <a:lnTo>
                    <a:pt x="18802" y="3079"/>
                  </a:lnTo>
                  <a:lnTo>
                    <a:pt x="18773" y="3084"/>
                  </a:lnTo>
                  <a:lnTo>
                    <a:pt x="18742" y="3086"/>
                  </a:lnTo>
                  <a:lnTo>
                    <a:pt x="18742" y="3827"/>
                  </a:lnTo>
                  <a:lnTo>
                    <a:pt x="18741" y="3836"/>
                  </a:lnTo>
                  <a:lnTo>
                    <a:pt x="18735" y="3842"/>
                  </a:lnTo>
                  <a:lnTo>
                    <a:pt x="18751" y="3845"/>
                  </a:lnTo>
                  <a:lnTo>
                    <a:pt x="18769" y="3845"/>
                  </a:lnTo>
                  <a:lnTo>
                    <a:pt x="18798" y="3845"/>
                  </a:lnTo>
                  <a:lnTo>
                    <a:pt x="18825" y="3843"/>
                  </a:lnTo>
                  <a:lnTo>
                    <a:pt x="18850" y="3840"/>
                  </a:lnTo>
                  <a:lnTo>
                    <a:pt x="18871" y="3835"/>
                  </a:lnTo>
                  <a:lnTo>
                    <a:pt x="18892" y="3826"/>
                  </a:lnTo>
                  <a:lnTo>
                    <a:pt x="18911" y="3815"/>
                  </a:lnTo>
                  <a:lnTo>
                    <a:pt x="18952" y="3782"/>
                  </a:lnTo>
                  <a:lnTo>
                    <a:pt x="18973" y="3767"/>
                  </a:lnTo>
                  <a:lnTo>
                    <a:pt x="18982" y="3760"/>
                  </a:lnTo>
                  <a:lnTo>
                    <a:pt x="18992" y="3755"/>
                  </a:lnTo>
                  <a:lnTo>
                    <a:pt x="19015" y="3748"/>
                  </a:lnTo>
                  <a:lnTo>
                    <a:pt x="19042" y="3745"/>
                  </a:lnTo>
                  <a:lnTo>
                    <a:pt x="19075" y="3748"/>
                  </a:lnTo>
                  <a:lnTo>
                    <a:pt x="19107" y="3751"/>
                  </a:lnTo>
                  <a:lnTo>
                    <a:pt x="19135" y="3758"/>
                  </a:lnTo>
                  <a:lnTo>
                    <a:pt x="19162" y="3768"/>
                  </a:lnTo>
                  <a:lnTo>
                    <a:pt x="19187" y="3780"/>
                  </a:lnTo>
                  <a:lnTo>
                    <a:pt x="19209" y="3794"/>
                  </a:lnTo>
                  <a:lnTo>
                    <a:pt x="19229" y="3809"/>
                  </a:lnTo>
                  <a:lnTo>
                    <a:pt x="19248" y="3827"/>
                  </a:lnTo>
                  <a:lnTo>
                    <a:pt x="19282" y="3866"/>
                  </a:lnTo>
                  <a:lnTo>
                    <a:pt x="19311" y="3911"/>
                  </a:lnTo>
                  <a:lnTo>
                    <a:pt x="19338" y="3960"/>
                  </a:lnTo>
                  <a:lnTo>
                    <a:pt x="19364" y="4012"/>
                  </a:lnTo>
                  <a:lnTo>
                    <a:pt x="19369" y="4021"/>
                  </a:lnTo>
                  <a:lnTo>
                    <a:pt x="19369" y="3649"/>
                  </a:lnTo>
                  <a:lnTo>
                    <a:pt x="19334" y="3663"/>
                  </a:lnTo>
                  <a:lnTo>
                    <a:pt x="19319" y="3670"/>
                  </a:lnTo>
                  <a:lnTo>
                    <a:pt x="19302" y="3676"/>
                  </a:lnTo>
                  <a:lnTo>
                    <a:pt x="19284" y="3676"/>
                  </a:lnTo>
                  <a:lnTo>
                    <a:pt x="19275" y="3675"/>
                  </a:lnTo>
                  <a:lnTo>
                    <a:pt x="19265" y="3671"/>
                  </a:lnTo>
                  <a:lnTo>
                    <a:pt x="19255" y="3666"/>
                  </a:lnTo>
                  <a:lnTo>
                    <a:pt x="19244" y="3658"/>
                  </a:lnTo>
                  <a:lnTo>
                    <a:pt x="19221" y="3634"/>
                  </a:lnTo>
                  <a:lnTo>
                    <a:pt x="19205" y="3616"/>
                  </a:lnTo>
                  <a:lnTo>
                    <a:pt x="19191" y="3604"/>
                  </a:lnTo>
                  <a:lnTo>
                    <a:pt x="19180" y="3598"/>
                  </a:lnTo>
                  <a:lnTo>
                    <a:pt x="19169" y="3595"/>
                  </a:lnTo>
                  <a:lnTo>
                    <a:pt x="19144" y="3594"/>
                  </a:lnTo>
                  <a:lnTo>
                    <a:pt x="19105" y="3590"/>
                  </a:lnTo>
                  <a:lnTo>
                    <a:pt x="19091" y="3586"/>
                  </a:lnTo>
                  <a:lnTo>
                    <a:pt x="19079" y="3581"/>
                  </a:lnTo>
                  <a:lnTo>
                    <a:pt x="19062" y="3567"/>
                  </a:lnTo>
                  <a:lnTo>
                    <a:pt x="19052" y="3549"/>
                  </a:lnTo>
                  <a:lnTo>
                    <a:pt x="19044" y="3530"/>
                  </a:lnTo>
                  <a:lnTo>
                    <a:pt x="19039" y="3510"/>
                  </a:lnTo>
                  <a:lnTo>
                    <a:pt x="19033" y="3489"/>
                  </a:lnTo>
                  <a:lnTo>
                    <a:pt x="19029" y="3480"/>
                  </a:lnTo>
                  <a:lnTo>
                    <a:pt x="19024" y="3471"/>
                  </a:lnTo>
                  <a:lnTo>
                    <a:pt x="19016" y="3464"/>
                  </a:lnTo>
                  <a:lnTo>
                    <a:pt x="19009" y="3457"/>
                  </a:lnTo>
                  <a:lnTo>
                    <a:pt x="18967" y="3434"/>
                  </a:lnTo>
                  <a:lnTo>
                    <a:pt x="18952" y="3424"/>
                  </a:lnTo>
                  <a:lnTo>
                    <a:pt x="18939" y="3414"/>
                  </a:lnTo>
                  <a:lnTo>
                    <a:pt x="18930" y="3400"/>
                  </a:lnTo>
                  <a:lnTo>
                    <a:pt x="18926" y="3383"/>
                  </a:lnTo>
                  <a:lnTo>
                    <a:pt x="18925" y="3361"/>
                  </a:lnTo>
                  <a:lnTo>
                    <a:pt x="18929" y="3333"/>
                  </a:lnTo>
                  <a:lnTo>
                    <a:pt x="18934" y="3304"/>
                  </a:lnTo>
                  <a:lnTo>
                    <a:pt x="18934" y="3285"/>
                  </a:lnTo>
                  <a:lnTo>
                    <a:pt x="18925" y="3267"/>
                  </a:lnTo>
                  <a:lnTo>
                    <a:pt x="18908" y="3242"/>
                  </a:lnTo>
                  <a:lnTo>
                    <a:pt x="18891" y="3216"/>
                  </a:lnTo>
                  <a:lnTo>
                    <a:pt x="18884" y="3199"/>
                  </a:lnTo>
                  <a:lnTo>
                    <a:pt x="18882" y="3181"/>
                  </a:lnTo>
                  <a:lnTo>
                    <a:pt x="18884" y="3162"/>
                  </a:lnTo>
                  <a:lnTo>
                    <a:pt x="18891" y="3145"/>
                  </a:lnTo>
                  <a:lnTo>
                    <a:pt x="18908" y="3118"/>
                  </a:lnTo>
                  <a:lnTo>
                    <a:pt x="18923" y="3098"/>
                  </a:lnTo>
                  <a:lnTo>
                    <a:pt x="18930" y="3083"/>
                  </a:lnTo>
                  <a:lnTo>
                    <a:pt x="18934" y="3070"/>
                  </a:lnTo>
                  <a:lnTo>
                    <a:pt x="18935" y="3060"/>
                  </a:lnTo>
                  <a:lnTo>
                    <a:pt x="18929" y="3035"/>
                  </a:lnTo>
                  <a:lnTo>
                    <a:pt x="18925" y="2996"/>
                  </a:lnTo>
                  <a:lnTo>
                    <a:pt x="18928" y="2969"/>
                  </a:lnTo>
                  <a:lnTo>
                    <a:pt x="18932" y="2959"/>
                  </a:lnTo>
                  <a:lnTo>
                    <a:pt x="18938" y="2950"/>
                  </a:lnTo>
                  <a:lnTo>
                    <a:pt x="18944" y="2942"/>
                  </a:lnTo>
                  <a:lnTo>
                    <a:pt x="18952" y="2936"/>
                  </a:lnTo>
                  <a:lnTo>
                    <a:pt x="18970" y="2924"/>
                  </a:lnTo>
                  <a:lnTo>
                    <a:pt x="19007" y="2904"/>
                  </a:lnTo>
                  <a:lnTo>
                    <a:pt x="19023" y="2891"/>
                  </a:lnTo>
                  <a:lnTo>
                    <a:pt x="19033" y="2872"/>
                  </a:lnTo>
                  <a:lnTo>
                    <a:pt x="19047" y="2828"/>
                  </a:lnTo>
                  <a:lnTo>
                    <a:pt x="19053" y="2810"/>
                  </a:lnTo>
                  <a:lnTo>
                    <a:pt x="19061" y="2796"/>
                  </a:lnTo>
                  <a:lnTo>
                    <a:pt x="19073" y="2785"/>
                  </a:lnTo>
                  <a:lnTo>
                    <a:pt x="19088" y="2776"/>
                  </a:lnTo>
                  <a:lnTo>
                    <a:pt x="19109" y="2771"/>
                  </a:lnTo>
                  <a:lnTo>
                    <a:pt x="19138" y="2768"/>
                  </a:lnTo>
                  <a:lnTo>
                    <a:pt x="19162" y="2766"/>
                  </a:lnTo>
                  <a:lnTo>
                    <a:pt x="19180" y="2763"/>
                  </a:lnTo>
                  <a:lnTo>
                    <a:pt x="19192" y="2758"/>
                  </a:lnTo>
                  <a:lnTo>
                    <a:pt x="19201" y="2751"/>
                  </a:lnTo>
                  <a:lnTo>
                    <a:pt x="19216" y="2732"/>
                  </a:lnTo>
                  <a:lnTo>
                    <a:pt x="19228" y="2719"/>
                  </a:lnTo>
                  <a:lnTo>
                    <a:pt x="19243" y="2704"/>
                  </a:lnTo>
                  <a:lnTo>
                    <a:pt x="19265" y="2690"/>
                  </a:lnTo>
                  <a:lnTo>
                    <a:pt x="19274" y="2686"/>
                  </a:lnTo>
                  <a:lnTo>
                    <a:pt x="19284" y="2685"/>
                  </a:lnTo>
                  <a:lnTo>
                    <a:pt x="19302" y="2686"/>
                  </a:lnTo>
                  <a:lnTo>
                    <a:pt x="19319" y="2691"/>
                  </a:lnTo>
                  <a:lnTo>
                    <a:pt x="19352" y="2707"/>
                  </a:lnTo>
                  <a:lnTo>
                    <a:pt x="19370" y="2713"/>
                  </a:lnTo>
                  <a:lnTo>
                    <a:pt x="19388" y="2716"/>
                  </a:lnTo>
                  <a:lnTo>
                    <a:pt x="19410" y="2712"/>
                  </a:lnTo>
                  <a:lnTo>
                    <a:pt x="19429" y="2705"/>
                  </a:lnTo>
                  <a:lnTo>
                    <a:pt x="19448" y="2696"/>
                  </a:lnTo>
                  <a:lnTo>
                    <a:pt x="19466" y="2689"/>
                  </a:lnTo>
                  <a:lnTo>
                    <a:pt x="19486" y="2685"/>
                  </a:lnTo>
                  <a:lnTo>
                    <a:pt x="19506" y="2688"/>
                  </a:lnTo>
                  <a:lnTo>
                    <a:pt x="19518" y="2694"/>
                  </a:lnTo>
                  <a:lnTo>
                    <a:pt x="19529" y="2702"/>
                  </a:lnTo>
                  <a:lnTo>
                    <a:pt x="19556" y="2727"/>
                  </a:lnTo>
                  <a:lnTo>
                    <a:pt x="19573" y="2746"/>
                  </a:lnTo>
                  <a:lnTo>
                    <a:pt x="19586" y="2758"/>
                  </a:lnTo>
                  <a:lnTo>
                    <a:pt x="19597" y="2764"/>
                  </a:lnTo>
                  <a:lnTo>
                    <a:pt x="19607" y="2767"/>
                  </a:lnTo>
                  <a:lnTo>
                    <a:pt x="19633" y="2767"/>
                  </a:lnTo>
                  <a:lnTo>
                    <a:pt x="19673" y="2771"/>
                  </a:lnTo>
                  <a:lnTo>
                    <a:pt x="19687" y="2774"/>
                  </a:lnTo>
                  <a:lnTo>
                    <a:pt x="19698" y="2780"/>
                  </a:lnTo>
                  <a:lnTo>
                    <a:pt x="19715" y="2794"/>
                  </a:lnTo>
                  <a:lnTo>
                    <a:pt x="19725" y="2812"/>
                  </a:lnTo>
                  <a:lnTo>
                    <a:pt x="19732" y="2832"/>
                  </a:lnTo>
                  <a:lnTo>
                    <a:pt x="19737" y="2852"/>
                  </a:lnTo>
                  <a:lnTo>
                    <a:pt x="19743" y="2872"/>
                  </a:lnTo>
                  <a:lnTo>
                    <a:pt x="19748" y="2881"/>
                  </a:lnTo>
                  <a:lnTo>
                    <a:pt x="19754" y="2890"/>
                  </a:lnTo>
                  <a:lnTo>
                    <a:pt x="19760" y="2897"/>
                  </a:lnTo>
                  <a:lnTo>
                    <a:pt x="19769" y="2904"/>
                  </a:lnTo>
                  <a:lnTo>
                    <a:pt x="19809" y="2927"/>
                  </a:lnTo>
                  <a:lnTo>
                    <a:pt x="19825" y="2937"/>
                  </a:lnTo>
                  <a:lnTo>
                    <a:pt x="19837" y="2948"/>
                  </a:lnTo>
                  <a:lnTo>
                    <a:pt x="19846" y="2961"/>
                  </a:lnTo>
                  <a:lnTo>
                    <a:pt x="19851" y="2978"/>
                  </a:lnTo>
                  <a:lnTo>
                    <a:pt x="19852" y="3000"/>
                  </a:lnTo>
                  <a:lnTo>
                    <a:pt x="19848" y="3028"/>
                  </a:lnTo>
                  <a:lnTo>
                    <a:pt x="19843" y="3057"/>
                  </a:lnTo>
                  <a:lnTo>
                    <a:pt x="19843" y="3076"/>
                  </a:lnTo>
                  <a:lnTo>
                    <a:pt x="19851" y="3094"/>
                  </a:lnTo>
                  <a:lnTo>
                    <a:pt x="19869" y="3118"/>
                  </a:lnTo>
                  <a:lnTo>
                    <a:pt x="19887" y="3145"/>
                  </a:lnTo>
                  <a:lnTo>
                    <a:pt x="19893" y="3162"/>
                  </a:lnTo>
                  <a:lnTo>
                    <a:pt x="19896" y="3181"/>
                  </a:lnTo>
                  <a:lnTo>
                    <a:pt x="19893" y="3199"/>
                  </a:lnTo>
                  <a:lnTo>
                    <a:pt x="19887" y="3216"/>
                  </a:lnTo>
                  <a:lnTo>
                    <a:pt x="19878" y="3230"/>
                  </a:lnTo>
                  <a:lnTo>
                    <a:pt x="19868" y="3244"/>
                  </a:lnTo>
                  <a:lnTo>
                    <a:pt x="19857" y="3258"/>
                  </a:lnTo>
                  <a:lnTo>
                    <a:pt x="19848" y="3272"/>
                  </a:lnTo>
                  <a:lnTo>
                    <a:pt x="19843" y="3287"/>
                  </a:lnTo>
                  <a:lnTo>
                    <a:pt x="19843" y="3305"/>
                  </a:lnTo>
                  <a:lnTo>
                    <a:pt x="19850" y="3351"/>
                  </a:lnTo>
                  <a:lnTo>
                    <a:pt x="19852" y="3369"/>
                  </a:lnTo>
                  <a:lnTo>
                    <a:pt x="19851" y="3386"/>
                  </a:lnTo>
                  <a:lnTo>
                    <a:pt x="19846" y="3401"/>
                  </a:lnTo>
                  <a:lnTo>
                    <a:pt x="19836" y="3415"/>
                  </a:lnTo>
                  <a:lnTo>
                    <a:pt x="19819" y="3429"/>
                  </a:lnTo>
                  <a:lnTo>
                    <a:pt x="19795" y="3445"/>
                  </a:lnTo>
                  <a:lnTo>
                    <a:pt x="19773" y="3456"/>
                  </a:lnTo>
                  <a:lnTo>
                    <a:pt x="19759" y="3466"/>
                  </a:lnTo>
                  <a:lnTo>
                    <a:pt x="19750" y="3476"/>
                  </a:lnTo>
                  <a:lnTo>
                    <a:pt x="19745" y="3485"/>
                  </a:lnTo>
                  <a:lnTo>
                    <a:pt x="19739" y="3510"/>
                  </a:lnTo>
                  <a:lnTo>
                    <a:pt x="19734" y="3526"/>
                  </a:lnTo>
                  <a:lnTo>
                    <a:pt x="19727" y="3547"/>
                  </a:lnTo>
                  <a:lnTo>
                    <a:pt x="19711" y="3570"/>
                  </a:lnTo>
                  <a:lnTo>
                    <a:pt x="19704" y="3579"/>
                  </a:lnTo>
                  <a:lnTo>
                    <a:pt x="19695" y="3584"/>
                  </a:lnTo>
                  <a:lnTo>
                    <a:pt x="19674" y="3590"/>
                  </a:lnTo>
                  <a:lnTo>
                    <a:pt x="19653" y="3593"/>
                  </a:lnTo>
                  <a:lnTo>
                    <a:pt x="19632" y="3593"/>
                  </a:lnTo>
                  <a:lnTo>
                    <a:pt x="19611" y="3594"/>
                  </a:lnTo>
                  <a:lnTo>
                    <a:pt x="19592" y="3601"/>
                  </a:lnTo>
                  <a:lnTo>
                    <a:pt x="19583" y="3606"/>
                  </a:lnTo>
                  <a:lnTo>
                    <a:pt x="19575" y="3612"/>
                  </a:lnTo>
                  <a:lnTo>
                    <a:pt x="19543" y="3647"/>
                  </a:lnTo>
                  <a:lnTo>
                    <a:pt x="19530" y="3659"/>
                  </a:lnTo>
                  <a:lnTo>
                    <a:pt x="19516" y="3668"/>
                  </a:lnTo>
                  <a:lnTo>
                    <a:pt x="19501" y="3675"/>
                  </a:lnTo>
                  <a:lnTo>
                    <a:pt x="19484" y="3676"/>
                  </a:lnTo>
                  <a:lnTo>
                    <a:pt x="19462" y="3671"/>
                  </a:lnTo>
                  <a:lnTo>
                    <a:pt x="19436" y="3661"/>
                  </a:lnTo>
                  <a:lnTo>
                    <a:pt x="19409" y="3649"/>
                  </a:lnTo>
                  <a:lnTo>
                    <a:pt x="19409" y="4083"/>
                  </a:lnTo>
                  <a:lnTo>
                    <a:pt x="19409" y="4086"/>
                  </a:lnTo>
                  <a:lnTo>
                    <a:pt x="19420" y="4099"/>
                  </a:lnTo>
                  <a:lnTo>
                    <a:pt x="19434" y="4109"/>
                  </a:lnTo>
                  <a:lnTo>
                    <a:pt x="19448" y="4117"/>
                  </a:lnTo>
                  <a:lnTo>
                    <a:pt x="19465" y="4118"/>
                  </a:lnTo>
                  <a:lnTo>
                    <a:pt x="19498" y="4115"/>
                  </a:lnTo>
                  <a:lnTo>
                    <a:pt x="19530" y="4104"/>
                  </a:lnTo>
                  <a:lnTo>
                    <a:pt x="19564" y="4095"/>
                  </a:lnTo>
                  <a:lnTo>
                    <a:pt x="19597" y="4090"/>
                  </a:lnTo>
                  <a:lnTo>
                    <a:pt x="19629" y="4093"/>
                  </a:lnTo>
                  <a:lnTo>
                    <a:pt x="19660" y="4098"/>
                  </a:lnTo>
                  <a:lnTo>
                    <a:pt x="19688" y="4106"/>
                  </a:lnTo>
                  <a:lnTo>
                    <a:pt x="19715" y="4116"/>
                  </a:lnTo>
                  <a:lnTo>
                    <a:pt x="19739" y="4130"/>
                  </a:lnTo>
                  <a:lnTo>
                    <a:pt x="19761" y="4144"/>
                  </a:lnTo>
                  <a:lnTo>
                    <a:pt x="19782" y="4161"/>
                  </a:lnTo>
                  <a:lnTo>
                    <a:pt x="19800" y="4178"/>
                  </a:lnTo>
                  <a:lnTo>
                    <a:pt x="19830" y="4217"/>
                  </a:lnTo>
                  <a:lnTo>
                    <a:pt x="19842" y="4236"/>
                  </a:lnTo>
                  <a:lnTo>
                    <a:pt x="19852" y="4255"/>
                  </a:lnTo>
                  <a:lnTo>
                    <a:pt x="19861" y="4274"/>
                  </a:lnTo>
                  <a:lnTo>
                    <a:pt x="19866" y="4292"/>
                  </a:lnTo>
                  <a:lnTo>
                    <a:pt x="19871" y="4309"/>
                  </a:lnTo>
                  <a:lnTo>
                    <a:pt x="19874" y="4324"/>
                  </a:lnTo>
                  <a:lnTo>
                    <a:pt x="20236" y="4324"/>
                  </a:lnTo>
                  <a:lnTo>
                    <a:pt x="20236" y="4017"/>
                  </a:lnTo>
                  <a:lnTo>
                    <a:pt x="20238" y="4008"/>
                  </a:lnTo>
                  <a:lnTo>
                    <a:pt x="20242" y="4002"/>
                  </a:lnTo>
                  <a:lnTo>
                    <a:pt x="20248" y="3998"/>
                  </a:lnTo>
                  <a:lnTo>
                    <a:pt x="20256" y="3997"/>
                  </a:lnTo>
                  <a:lnTo>
                    <a:pt x="20264" y="3998"/>
                  </a:lnTo>
                  <a:lnTo>
                    <a:pt x="20270" y="4002"/>
                  </a:lnTo>
                  <a:lnTo>
                    <a:pt x="20274" y="4008"/>
                  </a:lnTo>
                  <a:lnTo>
                    <a:pt x="20277" y="4017"/>
                  </a:lnTo>
                  <a:lnTo>
                    <a:pt x="20277" y="4324"/>
                  </a:lnTo>
                  <a:lnTo>
                    <a:pt x="20482" y="4324"/>
                  </a:lnTo>
                  <a:lnTo>
                    <a:pt x="20482" y="3670"/>
                  </a:lnTo>
                  <a:lnTo>
                    <a:pt x="20482" y="3016"/>
                  </a:lnTo>
                  <a:lnTo>
                    <a:pt x="20024" y="3016"/>
                  </a:lnTo>
                  <a:lnTo>
                    <a:pt x="20024" y="3584"/>
                  </a:lnTo>
                  <a:lnTo>
                    <a:pt x="20024" y="4152"/>
                  </a:lnTo>
                  <a:lnTo>
                    <a:pt x="20023" y="4161"/>
                  </a:lnTo>
                  <a:lnTo>
                    <a:pt x="20018" y="4167"/>
                  </a:lnTo>
                  <a:lnTo>
                    <a:pt x="20011" y="4171"/>
                  </a:lnTo>
                  <a:lnTo>
                    <a:pt x="20005" y="4172"/>
                  </a:lnTo>
                  <a:lnTo>
                    <a:pt x="19997" y="4171"/>
                  </a:lnTo>
                  <a:lnTo>
                    <a:pt x="19991" y="4167"/>
                  </a:lnTo>
                  <a:lnTo>
                    <a:pt x="19986" y="4161"/>
                  </a:lnTo>
                  <a:lnTo>
                    <a:pt x="19984" y="4152"/>
                  </a:lnTo>
                  <a:lnTo>
                    <a:pt x="19984" y="3451"/>
                  </a:lnTo>
                  <a:lnTo>
                    <a:pt x="19984" y="2750"/>
                  </a:lnTo>
                  <a:lnTo>
                    <a:pt x="19946" y="2750"/>
                  </a:lnTo>
                  <a:lnTo>
                    <a:pt x="19939" y="2748"/>
                  </a:lnTo>
                  <a:lnTo>
                    <a:pt x="19933" y="2744"/>
                  </a:lnTo>
                  <a:lnTo>
                    <a:pt x="19928" y="2737"/>
                  </a:lnTo>
                  <a:lnTo>
                    <a:pt x="19927" y="2730"/>
                  </a:lnTo>
                  <a:lnTo>
                    <a:pt x="19927" y="2576"/>
                  </a:lnTo>
                  <a:lnTo>
                    <a:pt x="19928" y="2569"/>
                  </a:lnTo>
                  <a:lnTo>
                    <a:pt x="19933" y="2562"/>
                  </a:lnTo>
                  <a:lnTo>
                    <a:pt x="19939" y="2558"/>
                  </a:lnTo>
                  <a:lnTo>
                    <a:pt x="19946" y="2556"/>
                  </a:lnTo>
                  <a:lnTo>
                    <a:pt x="19998" y="2556"/>
                  </a:lnTo>
                  <a:lnTo>
                    <a:pt x="20041" y="2500"/>
                  </a:lnTo>
                  <a:lnTo>
                    <a:pt x="20089" y="2443"/>
                  </a:lnTo>
                  <a:lnTo>
                    <a:pt x="20116" y="2418"/>
                  </a:lnTo>
                  <a:lnTo>
                    <a:pt x="20143" y="2391"/>
                  </a:lnTo>
                  <a:lnTo>
                    <a:pt x="20201" y="2340"/>
                  </a:lnTo>
                  <a:lnTo>
                    <a:pt x="20264" y="2292"/>
                  </a:lnTo>
                  <a:lnTo>
                    <a:pt x="20331" y="2246"/>
                  </a:lnTo>
                  <a:lnTo>
                    <a:pt x="20402" y="2203"/>
                  </a:lnTo>
                  <a:lnTo>
                    <a:pt x="20477" y="2163"/>
                  </a:lnTo>
                  <a:lnTo>
                    <a:pt x="20556" y="2126"/>
                  </a:lnTo>
                  <a:lnTo>
                    <a:pt x="20638" y="2092"/>
                  </a:lnTo>
                  <a:lnTo>
                    <a:pt x="20681" y="2075"/>
                  </a:lnTo>
                  <a:lnTo>
                    <a:pt x="20724" y="2060"/>
                  </a:lnTo>
                  <a:lnTo>
                    <a:pt x="20813" y="2033"/>
                  </a:lnTo>
                  <a:lnTo>
                    <a:pt x="20904" y="2009"/>
                  </a:lnTo>
                  <a:lnTo>
                    <a:pt x="20999" y="1987"/>
                  </a:lnTo>
                  <a:lnTo>
                    <a:pt x="21095" y="1970"/>
                  </a:lnTo>
                  <a:lnTo>
                    <a:pt x="21194" y="1956"/>
                  </a:lnTo>
                  <a:lnTo>
                    <a:pt x="21194" y="1775"/>
                  </a:lnTo>
                  <a:lnTo>
                    <a:pt x="21196" y="1759"/>
                  </a:lnTo>
                  <a:lnTo>
                    <a:pt x="21200" y="1744"/>
                  </a:lnTo>
                  <a:lnTo>
                    <a:pt x="21209" y="1730"/>
                  </a:lnTo>
                  <a:lnTo>
                    <a:pt x="21219" y="1717"/>
                  </a:lnTo>
                  <a:lnTo>
                    <a:pt x="21232" y="1705"/>
                  </a:lnTo>
                  <a:lnTo>
                    <a:pt x="21247" y="1694"/>
                  </a:lnTo>
                  <a:lnTo>
                    <a:pt x="21265" y="1684"/>
                  </a:lnTo>
                  <a:lnTo>
                    <a:pt x="21285" y="1675"/>
                  </a:lnTo>
                  <a:lnTo>
                    <a:pt x="21329" y="1659"/>
                  </a:lnTo>
                  <a:lnTo>
                    <a:pt x="21378" y="1648"/>
                  </a:lnTo>
                  <a:lnTo>
                    <a:pt x="21429" y="1642"/>
                  </a:lnTo>
                  <a:lnTo>
                    <a:pt x="21483" y="1639"/>
                  </a:lnTo>
                  <a:lnTo>
                    <a:pt x="21537" y="1642"/>
                  </a:lnTo>
                  <a:lnTo>
                    <a:pt x="21590" y="1648"/>
                  </a:lnTo>
                  <a:lnTo>
                    <a:pt x="21614" y="1653"/>
                  </a:lnTo>
                  <a:lnTo>
                    <a:pt x="21638" y="1659"/>
                  </a:lnTo>
                  <a:lnTo>
                    <a:pt x="21660" y="1666"/>
                  </a:lnTo>
                  <a:lnTo>
                    <a:pt x="21682" y="1675"/>
                  </a:lnTo>
                  <a:lnTo>
                    <a:pt x="21719" y="1694"/>
                  </a:lnTo>
                  <a:lnTo>
                    <a:pt x="21747" y="1717"/>
                  </a:lnTo>
                  <a:lnTo>
                    <a:pt x="21759" y="1730"/>
                  </a:lnTo>
                  <a:lnTo>
                    <a:pt x="21767" y="1744"/>
                  </a:lnTo>
                  <a:lnTo>
                    <a:pt x="21772" y="1759"/>
                  </a:lnTo>
                  <a:lnTo>
                    <a:pt x="21773" y="1775"/>
                  </a:lnTo>
                  <a:lnTo>
                    <a:pt x="21773" y="1956"/>
                  </a:lnTo>
                  <a:lnTo>
                    <a:pt x="21872" y="1970"/>
                  </a:lnTo>
                  <a:lnTo>
                    <a:pt x="21969" y="1987"/>
                  </a:lnTo>
                  <a:lnTo>
                    <a:pt x="22063" y="2009"/>
                  </a:lnTo>
                  <a:lnTo>
                    <a:pt x="22155" y="2033"/>
                  </a:lnTo>
                  <a:lnTo>
                    <a:pt x="22244" y="2060"/>
                  </a:lnTo>
                  <a:lnTo>
                    <a:pt x="22328" y="2092"/>
                  </a:lnTo>
                  <a:lnTo>
                    <a:pt x="22412" y="2126"/>
                  </a:lnTo>
                  <a:lnTo>
                    <a:pt x="22490" y="2163"/>
                  </a:lnTo>
                  <a:lnTo>
                    <a:pt x="22566" y="2203"/>
                  </a:lnTo>
                  <a:lnTo>
                    <a:pt x="22601" y="2225"/>
                  </a:lnTo>
                  <a:lnTo>
                    <a:pt x="22636" y="2246"/>
                  </a:lnTo>
                  <a:lnTo>
                    <a:pt x="22703" y="2292"/>
                  </a:lnTo>
                  <a:lnTo>
                    <a:pt x="22766" y="2340"/>
                  </a:lnTo>
                  <a:lnTo>
                    <a:pt x="22795" y="2365"/>
                  </a:lnTo>
                  <a:lnTo>
                    <a:pt x="22825" y="2391"/>
                  </a:lnTo>
                  <a:lnTo>
                    <a:pt x="22877" y="2445"/>
                  </a:lnTo>
                  <a:lnTo>
                    <a:pt x="22926" y="2500"/>
                  </a:lnTo>
                  <a:lnTo>
                    <a:pt x="22969" y="2556"/>
                  </a:lnTo>
                  <a:lnTo>
                    <a:pt x="23021" y="2556"/>
                  </a:lnTo>
                  <a:lnTo>
                    <a:pt x="23028" y="2558"/>
                  </a:lnTo>
                  <a:lnTo>
                    <a:pt x="23035" y="2562"/>
                  </a:lnTo>
                  <a:lnTo>
                    <a:pt x="23039" y="2569"/>
                  </a:lnTo>
                  <a:lnTo>
                    <a:pt x="23040" y="2576"/>
                  </a:lnTo>
                  <a:lnTo>
                    <a:pt x="23040" y="2730"/>
                  </a:lnTo>
                  <a:lnTo>
                    <a:pt x="23039" y="2737"/>
                  </a:lnTo>
                  <a:lnTo>
                    <a:pt x="23035" y="2744"/>
                  </a:lnTo>
                  <a:lnTo>
                    <a:pt x="23028" y="2748"/>
                  </a:lnTo>
                  <a:lnTo>
                    <a:pt x="23021" y="2750"/>
                  </a:lnTo>
                  <a:lnTo>
                    <a:pt x="22982" y="2750"/>
                  </a:lnTo>
                  <a:lnTo>
                    <a:pt x="22982" y="3547"/>
                  </a:lnTo>
                  <a:lnTo>
                    <a:pt x="22982" y="4345"/>
                  </a:lnTo>
                  <a:lnTo>
                    <a:pt x="22981" y="4352"/>
                  </a:lnTo>
                  <a:lnTo>
                    <a:pt x="22977" y="4359"/>
                  </a:lnTo>
                  <a:lnTo>
                    <a:pt x="22971" y="4363"/>
                  </a:lnTo>
                  <a:lnTo>
                    <a:pt x="22963" y="4365"/>
                  </a:lnTo>
                  <a:lnTo>
                    <a:pt x="22717" y="4365"/>
                  </a:lnTo>
                  <a:lnTo>
                    <a:pt x="21733" y="4365"/>
                  </a:lnTo>
                  <a:lnTo>
                    <a:pt x="21241" y="4365"/>
                  </a:lnTo>
                  <a:lnTo>
                    <a:pt x="20749" y="4365"/>
                  </a:lnTo>
                  <a:lnTo>
                    <a:pt x="20257" y="4365"/>
                  </a:lnTo>
                  <a:lnTo>
                    <a:pt x="19865" y="4365"/>
                  </a:lnTo>
                  <a:lnTo>
                    <a:pt x="19859" y="4368"/>
                  </a:lnTo>
                  <a:lnTo>
                    <a:pt x="19852" y="4369"/>
                  </a:lnTo>
                  <a:lnTo>
                    <a:pt x="18987" y="4369"/>
                  </a:lnTo>
                  <a:lnTo>
                    <a:pt x="18122" y="4369"/>
                  </a:lnTo>
                  <a:lnTo>
                    <a:pt x="18119" y="4369"/>
                  </a:lnTo>
                  <a:lnTo>
                    <a:pt x="17558" y="4369"/>
                  </a:lnTo>
                  <a:lnTo>
                    <a:pt x="17549" y="4366"/>
                  </a:lnTo>
                  <a:lnTo>
                    <a:pt x="17543" y="4363"/>
                  </a:lnTo>
                  <a:lnTo>
                    <a:pt x="17540" y="4356"/>
                  </a:lnTo>
                  <a:lnTo>
                    <a:pt x="17539" y="4349"/>
                  </a:lnTo>
                  <a:lnTo>
                    <a:pt x="17540" y="4341"/>
                  </a:lnTo>
                  <a:lnTo>
                    <a:pt x="17543" y="4334"/>
                  </a:lnTo>
                  <a:lnTo>
                    <a:pt x="17549" y="4331"/>
                  </a:lnTo>
                  <a:lnTo>
                    <a:pt x="17558" y="4329"/>
                  </a:lnTo>
                  <a:lnTo>
                    <a:pt x="18096" y="4329"/>
                  </a:lnTo>
                  <a:lnTo>
                    <a:pt x="18092" y="4305"/>
                  </a:lnTo>
                  <a:lnTo>
                    <a:pt x="18090" y="4287"/>
                  </a:lnTo>
                  <a:lnTo>
                    <a:pt x="18094" y="4262"/>
                  </a:lnTo>
                  <a:lnTo>
                    <a:pt x="18103" y="4237"/>
                  </a:lnTo>
                  <a:lnTo>
                    <a:pt x="18116" y="4216"/>
                  </a:lnTo>
                  <a:lnTo>
                    <a:pt x="18134" y="4196"/>
                  </a:lnTo>
                  <a:lnTo>
                    <a:pt x="18155" y="4178"/>
                  </a:lnTo>
                  <a:lnTo>
                    <a:pt x="18178" y="4162"/>
                  </a:lnTo>
                  <a:lnTo>
                    <a:pt x="18230" y="4131"/>
                  </a:lnTo>
                  <a:lnTo>
                    <a:pt x="18213" y="3595"/>
                  </a:lnTo>
                  <a:lnTo>
                    <a:pt x="18197" y="3061"/>
                  </a:lnTo>
                  <a:lnTo>
                    <a:pt x="17607" y="2249"/>
                  </a:lnTo>
                  <a:lnTo>
                    <a:pt x="17579" y="2705"/>
                  </a:lnTo>
                  <a:lnTo>
                    <a:pt x="17576" y="2714"/>
                  </a:lnTo>
                  <a:lnTo>
                    <a:pt x="17571" y="2719"/>
                  </a:lnTo>
                  <a:lnTo>
                    <a:pt x="17557" y="2725"/>
                  </a:lnTo>
                  <a:lnTo>
                    <a:pt x="17551" y="2722"/>
                  </a:lnTo>
                  <a:lnTo>
                    <a:pt x="17544" y="2718"/>
                  </a:lnTo>
                  <a:lnTo>
                    <a:pt x="17540" y="2712"/>
                  </a:lnTo>
                  <a:lnTo>
                    <a:pt x="17539" y="2703"/>
                  </a:lnTo>
                  <a:lnTo>
                    <a:pt x="17570" y="2195"/>
                  </a:lnTo>
                  <a:lnTo>
                    <a:pt x="17571" y="2188"/>
                  </a:lnTo>
                  <a:lnTo>
                    <a:pt x="17597" y="1763"/>
                  </a:lnTo>
                  <a:lnTo>
                    <a:pt x="17597" y="1755"/>
                  </a:lnTo>
                  <a:lnTo>
                    <a:pt x="17640" y="1058"/>
                  </a:lnTo>
                  <a:lnTo>
                    <a:pt x="17622" y="1058"/>
                  </a:lnTo>
                  <a:lnTo>
                    <a:pt x="17615" y="1057"/>
                  </a:lnTo>
                  <a:lnTo>
                    <a:pt x="17608" y="1053"/>
                  </a:lnTo>
                  <a:lnTo>
                    <a:pt x="17604" y="1047"/>
                  </a:lnTo>
                  <a:lnTo>
                    <a:pt x="17603" y="1039"/>
                  </a:lnTo>
                  <a:lnTo>
                    <a:pt x="17603" y="943"/>
                  </a:lnTo>
                  <a:lnTo>
                    <a:pt x="17604" y="936"/>
                  </a:lnTo>
                  <a:lnTo>
                    <a:pt x="17608" y="929"/>
                  </a:lnTo>
                  <a:lnTo>
                    <a:pt x="17615" y="925"/>
                  </a:lnTo>
                  <a:lnTo>
                    <a:pt x="17622" y="924"/>
                  </a:lnTo>
                  <a:lnTo>
                    <a:pt x="18192" y="924"/>
                  </a:lnTo>
                  <a:lnTo>
                    <a:pt x="18199" y="925"/>
                  </a:lnTo>
                  <a:lnTo>
                    <a:pt x="18206" y="929"/>
                  </a:lnTo>
                  <a:lnTo>
                    <a:pt x="18211" y="936"/>
                  </a:lnTo>
                  <a:lnTo>
                    <a:pt x="18212" y="943"/>
                  </a:lnTo>
                  <a:lnTo>
                    <a:pt x="18212" y="1039"/>
                  </a:lnTo>
                  <a:lnTo>
                    <a:pt x="18211" y="1047"/>
                  </a:lnTo>
                  <a:lnTo>
                    <a:pt x="18206" y="1053"/>
                  </a:lnTo>
                  <a:lnTo>
                    <a:pt x="18199" y="1057"/>
                  </a:lnTo>
                  <a:lnTo>
                    <a:pt x="18192" y="1058"/>
                  </a:lnTo>
                  <a:lnTo>
                    <a:pt x="18174" y="1058"/>
                  </a:lnTo>
                  <a:lnTo>
                    <a:pt x="18201" y="1919"/>
                  </a:lnTo>
                  <a:lnTo>
                    <a:pt x="18930" y="1919"/>
                  </a:lnTo>
                  <a:lnTo>
                    <a:pt x="19661" y="1919"/>
                  </a:lnTo>
                  <a:lnTo>
                    <a:pt x="19698" y="1158"/>
                  </a:lnTo>
                  <a:lnTo>
                    <a:pt x="19736" y="399"/>
                  </a:lnTo>
                  <a:lnTo>
                    <a:pt x="19738" y="392"/>
                  </a:lnTo>
                  <a:lnTo>
                    <a:pt x="19742" y="386"/>
                  </a:lnTo>
                  <a:lnTo>
                    <a:pt x="19748" y="382"/>
                  </a:lnTo>
                  <a:lnTo>
                    <a:pt x="19756" y="381"/>
                  </a:lnTo>
                  <a:lnTo>
                    <a:pt x="20084" y="381"/>
                  </a:lnTo>
                  <a:lnTo>
                    <a:pt x="20092" y="382"/>
                  </a:lnTo>
                  <a:lnTo>
                    <a:pt x="20098" y="386"/>
                  </a:lnTo>
                  <a:lnTo>
                    <a:pt x="20102" y="392"/>
                  </a:lnTo>
                  <a:lnTo>
                    <a:pt x="20105" y="399"/>
                  </a:lnTo>
                  <a:lnTo>
                    <a:pt x="20142" y="1126"/>
                  </a:lnTo>
                  <a:lnTo>
                    <a:pt x="20181" y="1855"/>
                  </a:lnTo>
                  <a:lnTo>
                    <a:pt x="20179" y="1864"/>
                  </a:lnTo>
                  <a:lnTo>
                    <a:pt x="20175" y="1870"/>
                  </a:lnTo>
                  <a:lnTo>
                    <a:pt x="20169" y="1874"/>
                  </a:lnTo>
                  <a:lnTo>
                    <a:pt x="20161" y="1877"/>
                  </a:lnTo>
                  <a:lnTo>
                    <a:pt x="20147" y="1872"/>
                  </a:lnTo>
                  <a:lnTo>
                    <a:pt x="20143" y="1867"/>
                  </a:lnTo>
                  <a:lnTo>
                    <a:pt x="20141" y="1858"/>
                  </a:lnTo>
                  <a:lnTo>
                    <a:pt x="20102" y="1139"/>
                  </a:lnTo>
                  <a:lnTo>
                    <a:pt x="20065" y="420"/>
                  </a:lnTo>
                  <a:lnTo>
                    <a:pt x="19775" y="420"/>
                  </a:lnTo>
                  <a:lnTo>
                    <a:pt x="19737" y="1180"/>
                  </a:lnTo>
                  <a:lnTo>
                    <a:pt x="19700" y="1939"/>
                  </a:lnTo>
                  <a:lnTo>
                    <a:pt x="19700" y="1942"/>
                  </a:lnTo>
                  <a:lnTo>
                    <a:pt x="19698" y="1947"/>
                  </a:lnTo>
                  <a:lnTo>
                    <a:pt x="19695" y="1952"/>
                  </a:lnTo>
                  <a:lnTo>
                    <a:pt x="19688" y="1956"/>
                  </a:lnTo>
                  <a:lnTo>
                    <a:pt x="19682" y="1959"/>
                  </a:lnTo>
                  <a:lnTo>
                    <a:pt x="18942" y="1959"/>
                  </a:lnTo>
                  <a:lnTo>
                    <a:pt x="18202" y="1959"/>
                  </a:lnTo>
                  <a:lnTo>
                    <a:pt x="18221" y="2560"/>
                  </a:lnTo>
                  <a:lnTo>
                    <a:pt x="18221" y="2567"/>
                  </a:lnTo>
                  <a:lnTo>
                    <a:pt x="18244" y="3338"/>
                  </a:lnTo>
                  <a:lnTo>
                    <a:pt x="18269" y="4111"/>
                  </a:lnTo>
                  <a:lnTo>
                    <a:pt x="18320" y="4081"/>
                  </a:lnTo>
                  <a:lnTo>
                    <a:pt x="18342" y="4066"/>
                  </a:lnTo>
                  <a:lnTo>
                    <a:pt x="18361" y="4049"/>
                  </a:lnTo>
                  <a:lnTo>
                    <a:pt x="18392" y="4015"/>
                  </a:lnTo>
                  <a:lnTo>
                    <a:pt x="18419" y="3976"/>
                  </a:lnTo>
                  <a:lnTo>
                    <a:pt x="18447" y="3936"/>
                  </a:lnTo>
                  <a:lnTo>
                    <a:pt x="18475" y="3897"/>
                  </a:lnTo>
                  <a:lnTo>
                    <a:pt x="18506" y="3863"/>
                  </a:lnTo>
                  <a:lnTo>
                    <a:pt x="18524" y="3849"/>
                  </a:lnTo>
                  <a:lnTo>
                    <a:pt x="18542" y="3835"/>
                  </a:lnTo>
                  <a:lnTo>
                    <a:pt x="18562" y="3824"/>
                  </a:lnTo>
                  <a:lnTo>
                    <a:pt x="18585" y="3817"/>
                  </a:lnTo>
                  <a:lnTo>
                    <a:pt x="18610" y="3811"/>
                  </a:lnTo>
                  <a:lnTo>
                    <a:pt x="18637" y="3810"/>
                  </a:lnTo>
                  <a:lnTo>
                    <a:pt x="18656" y="3811"/>
                  </a:lnTo>
                  <a:lnTo>
                    <a:pt x="18673" y="3817"/>
                  </a:lnTo>
                  <a:lnTo>
                    <a:pt x="18702" y="3831"/>
                  </a:lnTo>
                  <a:lnTo>
                    <a:pt x="18702" y="3827"/>
                  </a:lnTo>
                  <a:lnTo>
                    <a:pt x="18702" y="3086"/>
                  </a:lnTo>
                  <a:lnTo>
                    <a:pt x="18664" y="3083"/>
                  </a:lnTo>
                  <a:lnTo>
                    <a:pt x="18625" y="3075"/>
                  </a:lnTo>
                  <a:lnTo>
                    <a:pt x="18588" y="3065"/>
                  </a:lnTo>
                  <a:lnTo>
                    <a:pt x="18553" y="3051"/>
                  </a:lnTo>
                  <a:lnTo>
                    <a:pt x="18519" y="3033"/>
                  </a:lnTo>
                  <a:lnTo>
                    <a:pt x="18488" y="3012"/>
                  </a:lnTo>
                  <a:lnTo>
                    <a:pt x="18458" y="2989"/>
                  </a:lnTo>
                  <a:lnTo>
                    <a:pt x="18431" y="2964"/>
                  </a:lnTo>
                  <a:lnTo>
                    <a:pt x="18407" y="2936"/>
                  </a:lnTo>
                  <a:lnTo>
                    <a:pt x="18385" y="2905"/>
                  </a:lnTo>
                  <a:lnTo>
                    <a:pt x="18366" y="2873"/>
                  </a:lnTo>
                  <a:lnTo>
                    <a:pt x="18349" y="2838"/>
                  </a:lnTo>
                  <a:lnTo>
                    <a:pt x="18337" y="2803"/>
                  </a:lnTo>
                  <a:lnTo>
                    <a:pt x="18328" y="2766"/>
                  </a:lnTo>
                  <a:lnTo>
                    <a:pt x="18322" y="2726"/>
                  </a:lnTo>
                  <a:lnTo>
                    <a:pt x="18320" y="2686"/>
                  </a:lnTo>
                  <a:lnTo>
                    <a:pt x="18322" y="2645"/>
                  </a:lnTo>
                  <a:lnTo>
                    <a:pt x="18328" y="2606"/>
                  </a:lnTo>
                  <a:lnTo>
                    <a:pt x="18338" y="2567"/>
                  </a:lnTo>
                  <a:lnTo>
                    <a:pt x="18352" y="2530"/>
                  </a:lnTo>
                  <a:lnTo>
                    <a:pt x="18369" y="2496"/>
                  </a:lnTo>
                  <a:lnTo>
                    <a:pt x="18388" y="2462"/>
                  </a:lnTo>
                  <a:lnTo>
                    <a:pt x="18412" y="2432"/>
                  </a:lnTo>
                  <a:lnTo>
                    <a:pt x="18438" y="2404"/>
                  </a:lnTo>
                  <a:lnTo>
                    <a:pt x="18466" y="2377"/>
                  </a:lnTo>
                  <a:lnTo>
                    <a:pt x="18497" y="2354"/>
                  </a:lnTo>
                  <a:lnTo>
                    <a:pt x="18530" y="2335"/>
                  </a:lnTo>
                  <a:lnTo>
                    <a:pt x="18565" y="2317"/>
                  </a:lnTo>
                  <a:lnTo>
                    <a:pt x="18602" y="2304"/>
                  </a:lnTo>
                  <a:lnTo>
                    <a:pt x="18640" y="2294"/>
                  </a:lnTo>
                  <a:lnTo>
                    <a:pt x="18680" y="2287"/>
                  </a:lnTo>
                  <a:lnTo>
                    <a:pt x="18721" y="2286"/>
                  </a:lnTo>
                  <a:lnTo>
                    <a:pt x="18764" y="2287"/>
                  </a:lnTo>
                  <a:lnTo>
                    <a:pt x="18803" y="2294"/>
                  </a:lnTo>
                  <a:lnTo>
                    <a:pt x="18842" y="2304"/>
                  </a:lnTo>
                  <a:lnTo>
                    <a:pt x="18879" y="2318"/>
                  </a:lnTo>
                  <a:lnTo>
                    <a:pt x="18914" y="2335"/>
                  </a:lnTo>
                  <a:lnTo>
                    <a:pt x="18947" y="2355"/>
                  </a:lnTo>
                  <a:lnTo>
                    <a:pt x="18978" y="2378"/>
                  </a:lnTo>
                  <a:lnTo>
                    <a:pt x="19007" y="2404"/>
                  </a:lnTo>
                  <a:lnTo>
                    <a:pt x="19033" y="2433"/>
                  </a:lnTo>
                  <a:lnTo>
                    <a:pt x="19056" y="2464"/>
                  </a:lnTo>
                  <a:lnTo>
                    <a:pt x="19075" y="2497"/>
                  </a:lnTo>
                  <a:lnTo>
                    <a:pt x="19092" y="2532"/>
                  </a:lnTo>
                  <a:lnTo>
                    <a:pt x="19106" y="2569"/>
                  </a:lnTo>
                  <a:lnTo>
                    <a:pt x="19115" y="2607"/>
                  </a:lnTo>
                  <a:lnTo>
                    <a:pt x="19121" y="2645"/>
                  </a:lnTo>
                  <a:lnTo>
                    <a:pt x="19124" y="2686"/>
                  </a:lnTo>
                  <a:lnTo>
                    <a:pt x="19121" y="2695"/>
                  </a:lnTo>
                  <a:lnTo>
                    <a:pt x="19118" y="2702"/>
                  </a:lnTo>
                  <a:lnTo>
                    <a:pt x="19111" y="2705"/>
                  </a:lnTo>
                  <a:lnTo>
                    <a:pt x="19103" y="2707"/>
                  </a:lnTo>
                  <a:lnTo>
                    <a:pt x="19096" y="2705"/>
                  </a:lnTo>
                  <a:lnTo>
                    <a:pt x="19089" y="2702"/>
                  </a:lnTo>
                  <a:lnTo>
                    <a:pt x="19085" y="2695"/>
                  </a:lnTo>
                  <a:lnTo>
                    <a:pt x="19083" y="2686"/>
                  </a:lnTo>
                  <a:lnTo>
                    <a:pt x="19082" y="2650"/>
                  </a:lnTo>
                  <a:lnTo>
                    <a:pt x="19076" y="2615"/>
                  </a:lnTo>
                  <a:lnTo>
                    <a:pt x="19067" y="2580"/>
                  </a:lnTo>
                  <a:lnTo>
                    <a:pt x="19055" y="2547"/>
                  </a:lnTo>
                  <a:lnTo>
                    <a:pt x="19041" y="2515"/>
                  </a:lnTo>
                  <a:lnTo>
                    <a:pt x="19023" y="2485"/>
                  </a:lnTo>
                  <a:lnTo>
                    <a:pt x="19002" y="2457"/>
                  </a:lnTo>
                  <a:lnTo>
                    <a:pt x="18978" y="2432"/>
                  </a:lnTo>
                  <a:lnTo>
                    <a:pt x="18952" y="2409"/>
                  </a:lnTo>
                  <a:lnTo>
                    <a:pt x="18925" y="2388"/>
                  </a:lnTo>
                  <a:lnTo>
                    <a:pt x="18894" y="2369"/>
                  </a:lnTo>
                  <a:lnTo>
                    <a:pt x="18864" y="2354"/>
                  </a:lnTo>
                  <a:lnTo>
                    <a:pt x="18830" y="2342"/>
                  </a:lnTo>
                  <a:lnTo>
                    <a:pt x="18796" y="2333"/>
                  </a:lnTo>
                  <a:lnTo>
                    <a:pt x="18758" y="2328"/>
                  </a:lnTo>
                  <a:lnTo>
                    <a:pt x="18721" y="2326"/>
                  </a:lnTo>
                  <a:lnTo>
                    <a:pt x="18684" y="2328"/>
                  </a:lnTo>
                  <a:lnTo>
                    <a:pt x="18648" y="2333"/>
                  </a:lnTo>
                  <a:lnTo>
                    <a:pt x="18614" y="2342"/>
                  </a:lnTo>
                  <a:lnTo>
                    <a:pt x="18580" y="2354"/>
                  </a:lnTo>
                  <a:lnTo>
                    <a:pt x="18549" y="2369"/>
                  </a:lnTo>
                  <a:lnTo>
                    <a:pt x="18520" y="2387"/>
                  </a:lnTo>
                  <a:lnTo>
                    <a:pt x="18492" y="2407"/>
                  </a:lnTo>
                  <a:lnTo>
                    <a:pt x="18466" y="2432"/>
                  </a:lnTo>
                  <a:lnTo>
                    <a:pt x="18443" y="2457"/>
                  </a:lnTo>
                  <a:lnTo>
                    <a:pt x="18421" y="2484"/>
                  </a:lnTo>
                  <a:lnTo>
                    <a:pt x="18403" y="2515"/>
                  </a:lnTo>
                  <a:lnTo>
                    <a:pt x="18388" y="2546"/>
                  </a:lnTo>
                  <a:lnTo>
                    <a:pt x="18381" y="2562"/>
                  </a:lnTo>
                  <a:lnTo>
                    <a:pt x="18376" y="2579"/>
                  </a:lnTo>
                  <a:lnTo>
                    <a:pt x="18367" y="2613"/>
                  </a:lnTo>
                  <a:lnTo>
                    <a:pt x="18362" y="2649"/>
                  </a:lnTo>
                  <a:lnTo>
                    <a:pt x="18360" y="2686"/>
                  </a:lnTo>
                  <a:lnTo>
                    <a:pt x="18362" y="2722"/>
                  </a:lnTo>
                  <a:lnTo>
                    <a:pt x="18367" y="2757"/>
                  </a:lnTo>
                  <a:lnTo>
                    <a:pt x="18375" y="2790"/>
                  </a:lnTo>
                  <a:lnTo>
                    <a:pt x="18387" y="2823"/>
                  </a:lnTo>
                  <a:lnTo>
                    <a:pt x="18401" y="2854"/>
                  </a:lnTo>
                  <a:lnTo>
                    <a:pt x="18417" y="2882"/>
                  </a:lnTo>
                  <a:lnTo>
                    <a:pt x="18438" y="2910"/>
                  </a:lnTo>
                  <a:lnTo>
                    <a:pt x="18460" y="2936"/>
                  </a:lnTo>
                  <a:lnTo>
                    <a:pt x="18484" y="2959"/>
                  </a:lnTo>
                  <a:lnTo>
                    <a:pt x="18510" y="2979"/>
                  </a:lnTo>
                  <a:lnTo>
                    <a:pt x="18538" y="2997"/>
                  </a:lnTo>
                  <a:lnTo>
                    <a:pt x="18569" y="3014"/>
                  </a:lnTo>
                  <a:lnTo>
                    <a:pt x="18599" y="3026"/>
                  </a:lnTo>
                  <a:lnTo>
                    <a:pt x="18633" y="3037"/>
                  </a:lnTo>
                  <a:lnTo>
                    <a:pt x="18667" y="3043"/>
                  </a:lnTo>
                  <a:lnTo>
                    <a:pt x="18702" y="3047"/>
                  </a:lnTo>
                  <a:lnTo>
                    <a:pt x="18702" y="3011"/>
                  </a:lnTo>
                  <a:lnTo>
                    <a:pt x="18701" y="3008"/>
                  </a:lnTo>
                  <a:lnTo>
                    <a:pt x="18597" y="2865"/>
                  </a:lnTo>
                  <a:lnTo>
                    <a:pt x="18593" y="2858"/>
                  </a:lnTo>
                  <a:lnTo>
                    <a:pt x="18593" y="2850"/>
                  </a:lnTo>
                  <a:lnTo>
                    <a:pt x="18596" y="2842"/>
                  </a:lnTo>
                  <a:lnTo>
                    <a:pt x="18601" y="2837"/>
                  </a:lnTo>
                  <a:lnTo>
                    <a:pt x="18607" y="2835"/>
                  </a:lnTo>
                  <a:lnTo>
                    <a:pt x="18615" y="2833"/>
                  </a:lnTo>
                  <a:lnTo>
                    <a:pt x="18623" y="2836"/>
                  </a:lnTo>
                  <a:lnTo>
                    <a:pt x="18629" y="2842"/>
                  </a:lnTo>
                  <a:lnTo>
                    <a:pt x="18702" y="2943"/>
                  </a:lnTo>
                  <a:lnTo>
                    <a:pt x="18702" y="2901"/>
                  </a:lnTo>
                  <a:lnTo>
                    <a:pt x="18702" y="2895"/>
                  </a:lnTo>
                  <a:lnTo>
                    <a:pt x="18702" y="2744"/>
                  </a:lnTo>
                  <a:lnTo>
                    <a:pt x="18606" y="2611"/>
                  </a:lnTo>
                  <a:lnTo>
                    <a:pt x="18602" y="2603"/>
                  </a:lnTo>
                  <a:lnTo>
                    <a:pt x="18602" y="2595"/>
                  </a:lnTo>
                  <a:lnTo>
                    <a:pt x="18606" y="2588"/>
                  </a:lnTo>
                  <a:lnTo>
                    <a:pt x="18611" y="2583"/>
                  </a:lnTo>
                  <a:lnTo>
                    <a:pt x="18617" y="2580"/>
                  </a:lnTo>
                  <a:lnTo>
                    <a:pt x="18625" y="2579"/>
                  </a:lnTo>
                  <a:lnTo>
                    <a:pt x="18633" y="2581"/>
                  </a:lnTo>
                  <a:lnTo>
                    <a:pt x="18639" y="2588"/>
                  </a:lnTo>
                  <a:lnTo>
                    <a:pt x="18702" y="2675"/>
                  </a:lnTo>
                  <a:lnTo>
                    <a:pt x="18702" y="2599"/>
                  </a:lnTo>
                  <a:lnTo>
                    <a:pt x="18705" y="2590"/>
                  </a:lnTo>
                  <a:lnTo>
                    <a:pt x="18708" y="2584"/>
                  </a:lnTo>
                  <a:lnTo>
                    <a:pt x="18715" y="2580"/>
                  </a:lnTo>
                  <a:lnTo>
                    <a:pt x="18723" y="2579"/>
                  </a:lnTo>
                  <a:lnTo>
                    <a:pt x="18730" y="2580"/>
                  </a:lnTo>
                  <a:lnTo>
                    <a:pt x="18737" y="2584"/>
                  </a:lnTo>
                  <a:lnTo>
                    <a:pt x="18741" y="2590"/>
                  </a:lnTo>
                  <a:lnTo>
                    <a:pt x="18742" y="2599"/>
                  </a:lnTo>
                  <a:lnTo>
                    <a:pt x="18742" y="2734"/>
                  </a:lnTo>
                  <a:lnTo>
                    <a:pt x="18742" y="2740"/>
                  </a:lnTo>
                  <a:lnTo>
                    <a:pt x="18742" y="2836"/>
                  </a:lnTo>
                  <a:lnTo>
                    <a:pt x="18828" y="2718"/>
                  </a:lnTo>
                  <a:lnTo>
                    <a:pt x="18834" y="2712"/>
                  </a:lnTo>
                  <a:lnTo>
                    <a:pt x="18842" y="2711"/>
                  </a:lnTo>
                  <a:lnTo>
                    <a:pt x="18856" y="2714"/>
                  </a:lnTo>
                  <a:lnTo>
                    <a:pt x="18861" y="2719"/>
                  </a:lnTo>
                  <a:lnTo>
                    <a:pt x="18864" y="2726"/>
                  </a:lnTo>
                  <a:lnTo>
                    <a:pt x="18864" y="2734"/>
                  </a:lnTo>
                  <a:lnTo>
                    <a:pt x="18860" y="2743"/>
                  </a:lnTo>
                  <a:close/>
                  <a:moveTo>
                    <a:pt x="20006" y="2597"/>
                  </a:moveTo>
                  <a:lnTo>
                    <a:pt x="19966" y="2597"/>
                  </a:lnTo>
                  <a:lnTo>
                    <a:pt x="19966" y="2709"/>
                  </a:lnTo>
                  <a:lnTo>
                    <a:pt x="20724" y="2709"/>
                  </a:lnTo>
                  <a:lnTo>
                    <a:pt x="21483" y="2709"/>
                  </a:lnTo>
                  <a:lnTo>
                    <a:pt x="22241" y="2709"/>
                  </a:lnTo>
                  <a:lnTo>
                    <a:pt x="23000" y="2709"/>
                  </a:lnTo>
                  <a:lnTo>
                    <a:pt x="23000" y="2597"/>
                  </a:lnTo>
                  <a:lnTo>
                    <a:pt x="22962" y="2597"/>
                  </a:lnTo>
                  <a:lnTo>
                    <a:pt x="22954" y="2597"/>
                  </a:lnTo>
                  <a:lnTo>
                    <a:pt x="22218" y="2597"/>
                  </a:lnTo>
                  <a:lnTo>
                    <a:pt x="21483" y="2597"/>
                  </a:lnTo>
                  <a:lnTo>
                    <a:pt x="20747" y="2597"/>
                  </a:lnTo>
                  <a:lnTo>
                    <a:pt x="20013" y="2597"/>
                  </a:lnTo>
                  <a:lnTo>
                    <a:pt x="20006" y="2597"/>
                  </a:lnTo>
                  <a:close/>
                  <a:moveTo>
                    <a:pt x="19369" y="3221"/>
                  </a:moveTo>
                  <a:lnTo>
                    <a:pt x="19369" y="3011"/>
                  </a:lnTo>
                  <a:lnTo>
                    <a:pt x="19370" y="3002"/>
                  </a:lnTo>
                  <a:lnTo>
                    <a:pt x="19375" y="2996"/>
                  </a:lnTo>
                  <a:lnTo>
                    <a:pt x="19382" y="2992"/>
                  </a:lnTo>
                  <a:lnTo>
                    <a:pt x="19388" y="2991"/>
                  </a:lnTo>
                  <a:lnTo>
                    <a:pt x="19396" y="2992"/>
                  </a:lnTo>
                  <a:lnTo>
                    <a:pt x="19402" y="2996"/>
                  </a:lnTo>
                  <a:lnTo>
                    <a:pt x="19407" y="3002"/>
                  </a:lnTo>
                  <a:lnTo>
                    <a:pt x="19409" y="3011"/>
                  </a:lnTo>
                  <a:lnTo>
                    <a:pt x="19409" y="3162"/>
                  </a:lnTo>
                  <a:lnTo>
                    <a:pt x="19442" y="3116"/>
                  </a:lnTo>
                  <a:lnTo>
                    <a:pt x="19448" y="3111"/>
                  </a:lnTo>
                  <a:lnTo>
                    <a:pt x="19456" y="3108"/>
                  </a:lnTo>
                  <a:lnTo>
                    <a:pt x="19470" y="3112"/>
                  </a:lnTo>
                  <a:lnTo>
                    <a:pt x="19475" y="3117"/>
                  </a:lnTo>
                  <a:lnTo>
                    <a:pt x="19478" y="3124"/>
                  </a:lnTo>
                  <a:lnTo>
                    <a:pt x="19478" y="3131"/>
                  </a:lnTo>
                  <a:lnTo>
                    <a:pt x="19474" y="3140"/>
                  </a:lnTo>
                  <a:lnTo>
                    <a:pt x="19409" y="3231"/>
                  </a:lnTo>
                  <a:lnTo>
                    <a:pt x="19409" y="3413"/>
                  </a:lnTo>
                  <a:lnTo>
                    <a:pt x="19432" y="3381"/>
                  </a:lnTo>
                  <a:lnTo>
                    <a:pt x="19438" y="3374"/>
                  </a:lnTo>
                  <a:lnTo>
                    <a:pt x="19446" y="3372"/>
                  </a:lnTo>
                  <a:lnTo>
                    <a:pt x="19460" y="3375"/>
                  </a:lnTo>
                  <a:lnTo>
                    <a:pt x="19465" y="3382"/>
                  </a:lnTo>
                  <a:lnTo>
                    <a:pt x="19468" y="3388"/>
                  </a:lnTo>
                  <a:lnTo>
                    <a:pt x="19468" y="3396"/>
                  </a:lnTo>
                  <a:lnTo>
                    <a:pt x="19464" y="3404"/>
                  </a:lnTo>
                  <a:lnTo>
                    <a:pt x="19409" y="3480"/>
                  </a:lnTo>
                  <a:lnTo>
                    <a:pt x="19409" y="3491"/>
                  </a:lnTo>
                  <a:lnTo>
                    <a:pt x="19409" y="3498"/>
                  </a:lnTo>
                  <a:lnTo>
                    <a:pt x="19409" y="3608"/>
                  </a:lnTo>
                  <a:lnTo>
                    <a:pt x="19425" y="3613"/>
                  </a:lnTo>
                  <a:lnTo>
                    <a:pt x="19441" y="3620"/>
                  </a:lnTo>
                  <a:lnTo>
                    <a:pt x="19455" y="3627"/>
                  </a:lnTo>
                  <a:lnTo>
                    <a:pt x="19468" y="3632"/>
                  </a:lnTo>
                  <a:lnTo>
                    <a:pt x="19480" y="3635"/>
                  </a:lnTo>
                  <a:lnTo>
                    <a:pt x="19488" y="3635"/>
                  </a:lnTo>
                  <a:lnTo>
                    <a:pt x="19494" y="3632"/>
                  </a:lnTo>
                  <a:lnTo>
                    <a:pt x="19501" y="3630"/>
                  </a:lnTo>
                  <a:lnTo>
                    <a:pt x="19509" y="3625"/>
                  </a:lnTo>
                  <a:lnTo>
                    <a:pt x="19525" y="3608"/>
                  </a:lnTo>
                  <a:lnTo>
                    <a:pt x="19547" y="3585"/>
                  </a:lnTo>
                  <a:lnTo>
                    <a:pt x="19562" y="3570"/>
                  </a:lnTo>
                  <a:lnTo>
                    <a:pt x="19577" y="3562"/>
                  </a:lnTo>
                  <a:lnTo>
                    <a:pt x="19591" y="3558"/>
                  </a:lnTo>
                  <a:lnTo>
                    <a:pt x="19620" y="3556"/>
                  </a:lnTo>
                  <a:lnTo>
                    <a:pt x="19639" y="3554"/>
                  </a:lnTo>
                  <a:lnTo>
                    <a:pt x="19664" y="3552"/>
                  </a:lnTo>
                  <a:lnTo>
                    <a:pt x="19679" y="3544"/>
                  </a:lnTo>
                  <a:lnTo>
                    <a:pt x="19684" y="3539"/>
                  </a:lnTo>
                  <a:lnTo>
                    <a:pt x="19688" y="3533"/>
                  </a:lnTo>
                  <a:lnTo>
                    <a:pt x="19695" y="3517"/>
                  </a:lnTo>
                  <a:lnTo>
                    <a:pt x="19700" y="3499"/>
                  </a:lnTo>
                  <a:lnTo>
                    <a:pt x="19705" y="3479"/>
                  </a:lnTo>
                  <a:lnTo>
                    <a:pt x="19714" y="3460"/>
                  </a:lnTo>
                  <a:lnTo>
                    <a:pt x="19728" y="3441"/>
                  </a:lnTo>
                  <a:lnTo>
                    <a:pt x="19737" y="3432"/>
                  </a:lnTo>
                  <a:lnTo>
                    <a:pt x="19748" y="3424"/>
                  </a:lnTo>
                  <a:lnTo>
                    <a:pt x="19792" y="3398"/>
                  </a:lnTo>
                  <a:lnTo>
                    <a:pt x="19804" y="3391"/>
                  </a:lnTo>
                  <a:lnTo>
                    <a:pt x="19810" y="3383"/>
                  </a:lnTo>
                  <a:lnTo>
                    <a:pt x="19813" y="3373"/>
                  </a:lnTo>
                  <a:lnTo>
                    <a:pt x="19811" y="3360"/>
                  </a:lnTo>
                  <a:lnTo>
                    <a:pt x="19804" y="3310"/>
                  </a:lnTo>
                  <a:lnTo>
                    <a:pt x="19804" y="3286"/>
                  </a:lnTo>
                  <a:lnTo>
                    <a:pt x="19807" y="3265"/>
                  </a:lnTo>
                  <a:lnTo>
                    <a:pt x="19816" y="3248"/>
                  </a:lnTo>
                  <a:lnTo>
                    <a:pt x="19827" y="3232"/>
                  </a:lnTo>
                  <a:lnTo>
                    <a:pt x="19847" y="3207"/>
                  </a:lnTo>
                  <a:lnTo>
                    <a:pt x="19854" y="3194"/>
                  </a:lnTo>
                  <a:lnTo>
                    <a:pt x="19856" y="3181"/>
                  </a:lnTo>
                  <a:lnTo>
                    <a:pt x="19854" y="3164"/>
                  </a:lnTo>
                  <a:lnTo>
                    <a:pt x="19850" y="3158"/>
                  </a:lnTo>
                  <a:lnTo>
                    <a:pt x="19846" y="3152"/>
                  </a:lnTo>
                  <a:lnTo>
                    <a:pt x="19824" y="3126"/>
                  </a:lnTo>
                  <a:lnTo>
                    <a:pt x="19814" y="3109"/>
                  </a:lnTo>
                  <a:lnTo>
                    <a:pt x="19806" y="3088"/>
                  </a:lnTo>
                  <a:lnTo>
                    <a:pt x="19805" y="3060"/>
                  </a:lnTo>
                  <a:lnTo>
                    <a:pt x="19806" y="3042"/>
                  </a:lnTo>
                  <a:lnTo>
                    <a:pt x="19809" y="3020"/>
                  </a:lnTo>
                  <a:lnTo>
                    <a:pt x="19811" y="3005"/>
                  </a:lnTo>
                  <a:lnTo>
                    <a:pt x="19811" y="2992"/>
                  </a:lnTo>
                  <a:lnTo>
                    <a:pt x="19809" y="2982"/>
                  </a:lnTo>
                  <a:lnTo>
                    <a:pt x="19805" y="2973"/>
                  </a:lnTo>
                  <a:lnTo>
                    <a:pt x="19792" y="2960"/>
                  </a:lnTo>
                  <a:lnTo>
                    <a:pt x="19775" y="2951"/>
                  </a:lnTo>
                  <a:lnTo>
                    <a:pt x="19757" y="2942"/>
                  </a:lnTo>
                  <a:lnTo>
                    <a:pt x="19738" y="2930"/>
                  </a:lnTo>
                  <a:lnTo>
                    <a:pt x="19720" y="2913"/>
                  </a:lnTo>
                  <a:lnTo>
                    <a:pt x="19712" y="2900"/>
                  </a:lnTo>
                  <a:lnTo>
                    <a:pt x="19706" y="2884"/>
                  </a:lnTo>
                  <a:lnTo>
                    <a:pt x="19691" y="2837"/>
                  </a:lnTo>
                  <a:lnTo>
                    <a:pt x="19686" y="2824"/>
                  </a:lnTo>
                  <a:lnTo>
                    <a:pt x="19683" y="2819"/>
                  </a:lnTo>
                  <a:lnTo>
                    <a:pt x="19680" y="2815"/>
                  </a:lnTo>
                  <a:lnTo>
                    <a:pt x="19671" y="2812"/>
                  </a:lnTo>
                  <a:lnTo>
                    <a:pt x="19657" y="2810"/>
                  </a:lnTo>
                  <a:lnTo>
                    <a:pt x="19607" y="2806"/>
                  </a:lnTo>
                  <a:lnTo>
                    <a:pt x="19591" y="2803"/>
                  </a:lnTo>
                  <a:lnTo>
                    <a:pt x="19577" y="2799"/>
                  </a:lnTo>
                  <a:lnTo>
                    <a:pt x="19555" y="2786"/>
                  </a:lnTo>
                  <a:lnTo>
                    <a:pt x="19547" y="2778"/>
                  </a:lnTo>
                  <a:lnTo>
                    <a:pt x="19539" y="2769"/>
                  </a:lnTo>
                  <a:lnTo>
                    <a:pt x="19527" y="2753"/>
                  </a:lnTo>
                  <a:lnTo>
                    <a:pt x="19514" y="2739"/>
                  </a:lnTo>
                  <a:lnTo>
                    <a:pt x="19507" y="2734"/>
                  </a:lnTo>
                  <a:lnTo>
                    <a:pt x="19500" y="2730"/>
                  </a:lnTo>
                  <a:lnTo>
                    <a:pt x="19491" y="2727"/>
                  </a:lnTo>
                  <a:lnTo>
                    <a:pt x="19479" y="2728"/>
                  </a:lnTo>
                  <a:lnTo>
                    <a:pt x="19452" y="2736"/>
                  </a:lnTo>
                  <a:lnTo>
                    <a:pt x="19421" y="2749"/>
                  </a:lnTo>
                  <a:lnTo>
                    <a:pt x="19405" y="2754"/>
                  </a:lnTo>
                  <a:lnTo>
                    <a:pt x="19388" y="2755"/>
                  </a:lnTo>
                  <a:lnTo>
                    <a:pt x="19366" y="2753"/>
                  </a:lnTo>
                  <a:lnTo>
                    <a:pt x="19347" y="2746"/>
                  </a:lnTo>
                  <a:lnTo>
                    <a:pt x="19316" y="2731"/>
                  </a:lnTo>
                  <a:lnTo>
                    <a:pt x="19301" y="2727"/>
                  </a:lnTo>
                  <a:lnTo>
                    <a:pt x="19293" y="2726"/>
                  </a:lnTo>
                  <a:lnTo>
                    <a:pt x="19287" y="2727"/>
                  </a:lnTo>
                  <a:lnTo>
                    <a:pt x="19270" y="2736"/>
                  </a:lnTo>
                  <a:lnTo>
                    <a:pt x="19251" y="2753"/>
                  </a:lnTo>
                  <a:lnTo>
                    <a:pt x="19230" y="2776"/>
                  </a:lnTo>
                  <a:lnTo>
                    <a:pt x="19214" y="2791"/>
                  </a:lnTo>
                  <a:lnTo>
                    <a:pt x="19200" y="2799"/>
                  </a:lnTo>
                  <a:lnTo>
                    <a:pt x="19187" y="2804"/>
                  </a:lnTo>
                  <a:lnTo>
                    <a:pt x="19157" y="2805"/>
                  </a:lnTo>
                  <a:lnTo>
                    <a:pt x="19138" y="2806"/>
                  </a:lnTo>
                  <a:lnTo>
                    <a:pt x="19112" y="2810"/>
                  </a:lnTo>
                  <a:lnTo>
                    <a:pt x="19098" y="2817"/>
                  </a:lnTo>
                  <a:lnTo>
                    <a:pt x="19093" y="2822"/>
                  </a:lnTo>
                  <a:lnTo>
                    <a:pt x="19088" y="2828"/>
                  </a:lnTo>
                  <a:lnTo>
                    <a:pt x="19082" y="2844"/>
                  </a:lnTo>
                  <a:lnTo>
                    <a:pt x="19078" y="2863"/>
                  </a:lnTo>
                  <a:lnTo>
                    <a:pt x="19071" y="2882"/>
                  </a:lnTo>
                  <a:lnTo>
                    <a:pt x="19064" y="2902"/>
                  </a:lnTo>
                  <a:lnTo>
                    <a:pt x="19050" y="2920"/>
                  </a:lnTo>
                  <a:lnTo>
                    <a:pt x="19041" y="2929"/>
                  </a:lnTo>
                  <a:lnTo>
                    <a:pt x="19029" y="2937"/>
                  </a:lnTo>
                  <a:lnTo>
                    <a:pt x="18985" y="2962"/>
                  </a:lnTo>
                  <a:lnTo>
                    <a:pt x="18974" y="2970"/>
                  </a:lnTo>
                  <a:lnTo>
                    <a:pt x="18967" y="2978"/>
                  </a:lnTo>
                  <a:lnTo>
                    <a:pt x="18965" y="2988"/>
                  </a:lnTo>
                  <a:lnTo>
                    <a:pt x="18966" y="3002"/>
                  </a:lnTo>
                  <a:lnTo>
                    <a:pt x="18974" y="3052"/>
                  </a:lnTo>
                  <a:lnTo>
                    <a:pt x="18974" y="3079"/>
                  </a:lnTo>
                  <a:lnTo>
                    <a:pt x="18967" y="3101"/>
                  </a:lnTo>
                  <a:lnTo>
                    <a:pt x="18956" y="3121"/>
                  </a:lnTo>
                  <a:lnTo>
                    <a:pt x="18941" y="3143"/>
                  </a:lnTo>
                  <a:lnTo>
                    <a:pt x="18926" y="3164"/>
                  </a:lnTo>
                  <a:lnTo>
                    <a:pt x="18923" y="3172"/>
                  </a:lnTo>
                  <a:lnTo>
                    <a:pt x="18921" y="3181"/>
                  </a:lnTo>
                  <a:lnTo>
                    <a:pt x="18924" y="3196"/>
                  </a:lnTo>
                  <a:lnTo>
                    <a:pt x="18928" y="3204"/>
                  </a:lnTo>
                  <a:lnTo>
                    <a:pt x="18932" y="3211"/>
                  </a:lnTo>
                  <a:lnTo>
                    <a:pt x="18953" y="3235"/>
                  </a:lnTo>
                  <a:lnTo>
                    <a:pt x="18964" y="3251"/>
                  </a:lnTo>
                  <a:lnTo>
                    <a:pt x="18970" y="3273"/>
                  </a:lnTo>
                  <a:lnTo>
                    <a:pt x="18973" y="3303"/>
                  </a:lnTo>
                  <a:lnTo>
                    <a:pt x="18971" y="3320"/>
                  </a:lnTo>
                  <a:lnTo>
                    <a:pt x="18969" y="3341"/>
                  </a:lnTo>
                  <a:lnTo>
                    <a:pt x="18966" y="3356"/>
                  </a:lnTo>
                  <a:lnTo>
                    <a:pt x="18966" y="3369"/>
                  </a:lnTo>
                  <a:lnTo>
                    <a:pt x="18969" y="3381"/>
                  </a:lnTo>
                  <a:lnTo>
                    <a:pt x="18973" y="3388"/>
                  </a:lnTo>
                  <a:lnTo>
                    <a:pt x="18984" y="3401"/>
                  </a:lnTo>
                  <a:lnTo>
                    <a:pt x="19001" y="3410"/>
                  </a:lnTo>
                  <a:lnTo>
                    <a:pt x="19020" y="3419"/>
                  </a:lnTo>
                  <a:lnTo>
                    <a:pt x="19039" y="3430"/>
                  </a:lnTo>
                  <a:lnTo>
                    <a:pt x="19057" y="3448"/>
                  </a:lnTo>
                  <a:lnTo>
                    <a:pt x="19065" y="3461"/>
                  </a:lnTo>
                  <a:lnTo>
                    <a:pt x="19071" y="3476"/>
                  </a:lnTo>
                  <a:lnTo>
                    <a:pt x="19085" y="3524"/>
                  </a:lnTo>
                  <a:lnTo>
                    <a:pt x="19091" y="3538"/>
                  </a:lnTo>
                  <a:lnTo>
                    <a:pt x="19093" y="3542"/>
                  </a:lnTo>
                  <a:lnTo>
                    <a:pt x="19097" y="3546"/>
                  </a:lnTo>
                  <a:lnTo>
                    <a:pt x="19106" y="3549"/>
                  </a:lnTo>
                  <a:lnTo>
                    <a:pt x="19120" y="3551"/>
                  </a:lnTo>
                  <a:lnTo>
                    <a:pt x="19170" y="3556"/>
                  </a:lnTo>
                  <a:lnTo>
                    <a:pt x="19187" y="3558"/>
                  </a:lnTo>
                  <a:lnTo>
                    <a:pt x="19201" y="3562"/>
                  </a:lnTo>
                  <a:lnTo>
                    <a:pt x="19221" y="3576"/>
                  </a:lnTo>
                  <a:lnTo>
                    <a:pt x="19230" y="3584"/>
                  </a:lnTo>
                  <a:lnTo>
                    <a:pt x="19238" y="3592"/>
                  </a:lnTo>
                  <a:lnTo>
                    <a:pt x="19251" y="3608"/>
                  </a:lnTo>
                  <a:lnTo>
                    <a:pt x="19262" y="3622"/>
                  </a:lnTo>
                  <a:lnTo>
                    <a:pt x="19270" y="3627"/>
                  </a:lnTo>
                  <a:lnTo>
                    <a:pt x="19278" y="3631"/>
                  </a:lnTo>
                  <a:lnTo>
                    <a:pt x="19287" y="3634"/>
                  </a:lnTo>
                  <a:lnTo>
                    <a:pt x="19297" y="3634"/>
                  </a:lnTo>
                  <a:lnTo>
                    <a:pt x="19325" y="3625"/>
                  </a:lnTo>
                  <a:lnTo>
                    <a:pt x="19347" y="3616"/>
                  </a:lnTo>
                  <a:lnTo>
                    <a:pt x="19369" y="3608"/>
                  </a:lnTo>
                  <a:lnTo>
                    <a:pt x="19369" y="3506"/>
                  </a:lnTo>
                  <a:lnTo>
                    <a:pt x="19364" y="3502"/>
                  </a:lnTo>
                  <a:lnTo>
                    <a:pt x="19360" y="3498"/>
                  </a:lnTo>
                  <a:lnTo>
                    <a:pt x="19359" y="3487"/>
                  </a:lnTo>
                  <a:lnTo>
                    <a:pt x="19264" y="3358"/>
                  </a:lnTo>
                  <a:lnTo>
                    <a:pt x="19260" y="3349"/>
                  </a:lnTo>
                  <a:lnTo>
                    <a:pt x="19260" y="3341"/>
                  </a:lnTo>
                  <a:lnTo>
                    <a:pt x="19264" y="3335"/>
                  </a:lnTo>
                  <a:lnTo>
                    <a:pt x="19269" y="3329"/>
                  </a:lnTo>
                  <a:lnTo>
                    <a:pt x="19275" y="3326"/>
                  </a:lnTo>
                  <a:lnTo>
                    <a:pt x="19283" y="3326"/>
                  </a:lnTo>
                  <a:lnTo>
                    <a:pt x="19289" y="3328"/>
                  </a:lnTo>
                  <a:lnTo>
                    <a:pt x="19297" y="3333"/>
                  </a:lnTo>
                  <a:lnTo>
                    <a:pt x="19369" y="3433"/>
                  </a:lnTo>
                  <a:lnTo>
                    <a:pt x="19369" y="3320"/>
                  </a:lnTo>
                  <a:lnTo>
                    <a:pt x="19262" y="3176"/>
                  </a:lnTo>
                  <a:lnTo>
                    <a:pt x="19259" y="3167"/>
                  </a:lnTo>
                  <a:lnTo>
                    <a:pt x="19259" y="3159"/>
                  </a:lnTo>
                  <a:lnTo>
                    <a:pt x="19262" y="3153"/>
                  </a:lnTo>
                  <a:lnTo>
                    <a:pt x="19268" y="3148"/>
                  </a:lnTo>
                  <a:lnTo>
                    <a:pt x="19274" y="3144"/>
                  </a:lnTo>
                  <a:lnTo>
                    <a:pt x="19282" y="3144"/>
                  </a:lnTo>
                  <a:lnTo>
                    <a:pt x="19289" y="3147"/>
                  </a:lnTo>
                  <a:lnTo>
                    <a:pt x="19296" y="3152"/>
                  </a:lnTo>
                  <a:lnTo>
                    <a:pt x="19369" y="3253"/>
                  </a:lnTo>
                  <a:lnTo>
                    <a:pt x="19369" y="3227"/>
                  </a:lnTo>
                  <a:lnTo>
                    <a:pt x="19369" y="3221"/>
                  </a:lnTo>
                  <a:close/>
                  <a:moveTo>
                    <a:pt x="22962" y="2597"/>
                  </a:moveTo>
                  <a:lnTo>
                    <a:pt x="22954" y="2597"/>
                  </a:lnTo>
                  <a:lnTo>
                    <a:pt x="22962" y="2597"/>
                  </a:lnTo>
                  <a:close/>
                  <a:moveTo>
                    <a:pt x="20013" y="2597"/>
                  </a:moveTo>
                  <a:lnTo>
                    <a:pt x="20006" y="2597"/>
                  </a:lnTo>
                  <a:lnTo>
                    <a:pt x="20013" y="2597"/>
                  </a:lnTo>
                  <a:close/>
                  <a:moveTo>
                    <a:pt x="19409" y="3491"/>
                  </a:moveTo>
                  <a:lnTo>
                    <a:pt x="19409" y="3498"/>
                  </a:lnTo>
                  <a:lnTo>
                    <a:pt x="19409" y="3491"/>
                  </a:lnTo>
                  <a:close/>
                  <a:moveTo>
                    <a:pt x="19369" y="3227"/>
                  </a:moveTo>
                  <a:lnTo>
                    <a:pt x="19369" y="3221"/>
                  </a:lnTo>
                  <a:lnTo>
                    <a:pt x="19369" y="3227"/>
                  </a:lnTo>
                  <a:close/>
                  <a:moveTo>
                    <a:pt x="20708" y="1885"/>
                  </a:moveTo>
                  <a:lnTo>
                    <a:pt x="20672" y="1152"/>
                  </a:lnTo>
                  <a:lnTo>
                    <a:pt x="20636" y="420"/>
                  </a:lnTo>
                  <a:lnTo>
                    <a:pt x="20345" y="420"/>
                  </a:lnTo>
                  <a:lnTo>
                    <a:pt x="20306" y="1139"/>
                  </a:lnTo>
                  <a:lnTo>
                    <a:pt x="20269" y="1858"/>
                  </a:lnTo>
                  <a:lnTo>
                    <a:pt x="20268" y="1867"/>
                  </a:lnTo>
                  <a:lnTo>
                    <a:pt x="20263" y="1872"/>
                  </a:lnTo>
                  <a:lnTo>
                    <a:pt x="20256" y="1876"/>
                  </a:lnTo>
                  <a:lnTo>
                    <a:pt x="20248" y="1877"/>
                  </a:lnTo>
                  <a:lnTo>
                    <a:pt x="20241" y="1874"/>
                  </a:lnTo>
                  <a:lnTo>
                    <a:pt x="20234" y="1870"/>
                  </a:lnTo>
                  <a:lnTo>
                    <a:pt x="20231" y="1864"/>
                  </a:lnTo>
                  <a:lnTo>
                    <a:pt x="20229" y="1855"/>
                  </a:lnTo>
                  <a:lnTo>
                    <a:pt x="20268" y="1126"/>
                  </a:lnTo>
                  <a:lnTo>
                    <a:pt x="20306" y="399"/>
                  </a:lnTo>
                  <a:lnTo>
                    <a:pt x="20307" y="392"/>
                  </a:lnTo>
                  <a:lnTo>
                    <a:pt x="20313" y="386"/>
                  </a:lnTo>
                  <a:lnTo>
                    <a:pt x="20318" y="382"/>
                  </a:lnTo>
                  <a:lnTo>
                    <a:pt x="20325" y="381"/>
                  </a:lnTo>
                  <a:lnTo>
                    <a:pt x="20655" y="381"/>
                  </a:lnTo>
                  <a:lnTo>
                    <a:pt x="20661" y="382"/>
                  </a:lnTo>
                  <a:lnTo>
                    <a:pt x="20668" y="386"/>
                  </a:lnTo>
                  <a:lnTo>
                    <a:pt x="20673" y="392"/>
                  </a:lnTo>
                  <a:lnTo>
                    <a:pt x="20674" y="399"/>
                  </a:lnTo>
                  <a:lnTo>
                    <a:pt x="20710" y="1140"/>
                  </a:lnTo>
                  <a:lnTo>
                    <a:pt x="20747" y="1882"/>
                  </a:lnTo>
                  <a:lnTo>
                    <a:pt x="20746" y="1891"/>
                  </a:lnTo>
                  <a:lnTo>
                    <a:pt x="20742" y="1897"/>
                  </a:lnTo>
                  <a:lnTo>
                    <a:pt x="20736" y="1901"/>
                  </a:lnTo>
                  <a:lnTo>
                    <a:pt x="20728" y="1902"/>
                  </a:lnTo>
                  <a:lnTo>
                    <a:pt x="20715" y="1899"/>
                  </a:lnTo>
                  <a:lnTo>
                    <a:pt x="20710" y="1892"/>
                  </a:lnTo>
                  <a:lnTo>
                    <a:pt x="20708" y="1885"/>
                  </a:lnTo>
                  <a:close/>
                  <a:moveTo>
                    <a:pt x="2868" y="3476"/>
                  </a:moveTo>
                  <a:lnTo>
                    <a:pt x="2980" y="3323"/>
                  </a:lnTo>
                  <a:lnTo>
                    <a:pt x="2953" y="3268"/>
                  </a:lnTo>
                  <a:lnTo>
                    <a:pt x="2939" y="3245"/>
                  </a:lnTo>
                  <a:lnTo>
                    <a:pt x="2925" y="3225"/>
                  </a:lnTo>
                  <a:lnTo>
                    <a:pt x="2911" y="3207"/>
                  </a:lnTo>
                  <a:lnTo>
                    <a:pt x="2897" y="3193"/>
                  </a:lnTo>
                  <a:lnTo>
                    <a:pt x="2883" y="3181"/>
                  </a:lnTo>
                  <a:lnTo>
                    <a:pt x="2868" y="3175"/>
                  </a:lnTo>
                  <a:lnTo>
                    <a:pt x="2868" y="3476"/>
                  </a:lnTo>
                  <a:close/>
                  <a:moveTo>
                    <a:pt x="2998" y="3365"/>
                  </a:moveTo>
                  <a:lnTo>
                    <a:pt x="2868" y="3544"/>
                  </a:lnTo>
                  <a:lnTo>
                    <a:pt x="2868" y="3753"/>
                  </a:lnTo>
                  <a:lnTo>
                    <a:pt x="3045" y="3507"/>
                  </a:lnTo>
                  <a:lnTo>
                    <a:pt x="3027" y="3445"/>
                  </a:lnTo>
                  <a:lnTo>
                    <a:pt x="2998" y="3365"/>
                  </a:lnTo>
                  <a:close/>
                  <a:moveTo>
                    <a:pt x="2716" y="3324"/>
                  </a:moveTo>
                  <a:lnTo>
                    <a:pt x="2829" y="3479"/>
                  </a:lnTo>
                  <a:lnTo>
                    <a:pt x="2829" y="3173"/>
                  </a:lnTo>
                  <a:lnTo>
                    <a:pt x="2813" y="3181"/>
                  </a:lnTo>
                  <a:lnTo>
                    <a:pt x="2798" y="3193"/>
                  </a:lnTo>
                  <a:lnTo>
                    <a:pt x="2790" y="3199"/>
                  </a:lnTo>
                  <a:lnTo>
                    <a:pt x="2783" y="3207"/>
                  </a:lnTo>
                  <a:lnTo>
                    <a:pt x="2768" y="3225"/>
                  </a:lnTo>
                  <a:lnTo>
                    <a:pt x="2742" y="3269"/>
                  </a:lnTo>
                  <a:lnTo>
                    <a:pt x="2715" y="3323"/>
                  </a:lnTo>
                  <a:lnTo>
                    <a:pt x="2716" y="3324"/>
                  </a:lnTo>
                  <a:close/>
                  <a:moveTo>
                    <a:pt x="3060" y="3557"/>
                  </a:moveTo>
                  <a:lnTo>
                    <a:pt x="2868" y="3820"/>
                  </a:lnTo>
                  <a:lnTo>
                    <a:pt x="2868" y="4028"/>
                  </a:lnTo>
                  <a:lnTo>
                    <a:pt x="3089" y="3725"/>
                  </a:lnTo>
                  <a:lnTo>
                    <a:pt x="3094" y="3718"/>
                  </a:lnTo>
                  <a:lnTo>
                    <a:pt x="3080" y="3640"/>
                  </a:lnTo>
                  <a:lnTo>
                    <a:pt x="3060" y="3557"/>
                  </a:lnTo>
                  <a:close/>
                  <a:moveTo>
                    <a:pt x="2654" y="3515"/>
                  </a:moveTo>
                  <a:lnTo>
                    <a:pt x="2829" y="3754"/>
                  </a:lnTo>
                  <a:lnTo>
                    <a:pt x="2829" y="3547"/>
                  </a:lnTo>
                  <a:lnTo>
                    <a:pt x="2698" y="3367"/>
                  </a:lnTo>
                  <a:lnTo>
                    <a:pt x="2672" y="3437"/>
                  </a:lnTo>
                  <a:lnTo>
                    <a:pt x="2650" y="3511"/>
                  </a:lnTo>
                  <a:lnTo>
                    <a:pt x="2654" y="3515"/>
                  </a:lnTo>
                  <a:close/>
                  <a:moveTo>
                    <a:pt x="3103" y="3773"/>
                  </a:moveTo>
                  <a:lnTo>
                    <a:pt x="2868" y="4095"/>
                  </a:lnTo>
                  <a:lnTo>
                    <a:pt x="2868" y="4102"/>
                  </a:lnTo>
                  <a:lnTo>
                    <a:pt x="2893" y="4098"/>
                  </a:lnTo>
                  <a:lnTo>
                    <a:pt x="2917" y="4093"/>
                  </a:lnTo>
                  <a:lnTo>
                    <a:pt x="2940" y="4085"/>
                  </a:lnTo>
                  <a:lnTo>
                    <a:pt x="2962" y="4076"/>
                  </a:lnTo>
                  <a:lnTo>
                    <a:pt x="2983" y="4065"/>
                  </a:lnTo>
                  <a:lnTo>
                    <a:pt x="3003" y="4051"/>
                  </a:lnTo>
                  <a:lnTo>
                    <a:pt x="3021" y="4037"/>
                  </a:lnTo>
                  <a:lnTo>
                    <a:pt x="3038" y="4020"/>
                  </a:lnTo>
                  <a:lnTo>
                    <a:pt x="3067" y="3982"/>
                  </a:lnTo>
                  <a:lnTo>
                    <a:pt x="3079" y="3961"/>
                  </a:lnTo>
                  <a:lnTo>
                    <a:pt x="3089" y="3939"/>
                  </a:lnTo>
                  <a:lnTo>
                    <a:pt x="3097" y="3916"/>
                  </a:lnTo>
                  <a:lnTo>
                    <a:pt x="3103" y="3893"/>
                  </a:lnTo>
                  <a:lnTo>
                    <a:pt x="3107" y="3868"/>
                  </a:lnTo>
                  <a:lnTo>
                    <a:pt x="3108" y="3843"/>
                  </a:lnTo>
                  <a:lnTo>
                    <a:pt x="3107" y="3811"/>
                  </a:lnTo>
                  <a:lnTo>
                    <a:pt x="3103" y="3773"/>
                  </a:lnTo>
                  <a:close/>
                  <a:moveTo>
                    <a:pt x="2603" y="3719"/>
                  </a:moveTo>
                  <a:lnTo>
                    <a:pt x="2829" y="4012"/>
                  </a:lnTo>
                  <a:lnTo>
                    <a:pt x="2829" y="3822"/>
                  </a:lnTo>
                  <a:lnTo>
                    <a:pt x="2638" y="3560"/>
                  </a:lnTo>
                  <a:lnTo>
                    <a:pt x="2618" y="3644"/>
                  </a:lnTo>
                  <a:lnTo>
                    <a:pt x="2603" y="3719"/>
                  </a:lnTo>
                  <a:close/>
                  <a:moveTo>
                    <a:pt x="2784" y="1296"/>
                  </a:moveTo>
                  <a:lnTo>
                    <a:pt x="2784" y="1465"/>
                  </a:lnTo>
                  <a:lnTo>
                    <a:pt x="2781" y="1474"/>
                  </a:lnTo>
                  <a:lnTo>
                    <a:pt x="2777" y="1480"/>
                  </a:lnTo>
                  <a:lnTo>
                    <a:pt x="2771" y="1484"/>
                  </a:lnTo>
                  <a:lnTo>
                    <a:pt x="2763" y="1486"/>
                  </a:lnTo>
                  <a:lnTo>
                    <a:pt x="2756" y="1484"/>
                  </a:lnTo>
                  <a:lnTo>
                    <a:pt x="2749" y="1480"/>
                  </a:lnTo>
                  <a:lnTo>
                    <a:pt x="2745" y="1474"/>
                  </a:lnTo>
                  <a:lnTo>
                    <a:pt x="2743" y="1465"/>
                  </a:lnTo>
                  <a:lnTo>
                    <a:pt x="2743" y="1296"/>
                  </a:lnTo>
                  <a:lnTo>
                    <a:pt x="2650" y="1296"/>
                  </a:lnTo>
                  <a:lnTo>
                    <a:pt x="2650" y="1465"/>
                  </a:lnTo>
                  <a:lnTo>
                    <a:pt x="2649" y="1474"/>
                  </a:lnTo>
                  <a:lnTo>
                    <a:pt x="2644" y="1480"/>
                  </a:lnTo>
                  <a:lnTo>
                    <a:pt x="2638" y="1484"/>
                  </a:lnTo>
                  <a:lnTo>
                    <a:pt x="2631" y="1486"/>
                  </a:lnTo>
                  <a:lnTo>
                    <a:pt x="2624" y="1484"/>
                  </a:lnTo>
                  <a:lnTo>
                    <a:pt x="2617" y="1480"/>
                  </a:lnTo>
                  <a:lnTo>
                    <a:pt x="2612" y="1474"/>
                  </a:lnTo>
                  <a:lnTo>
                    <a:pt x="2611" y="1465"/>
                  </a:lnTo>
                  <a:lnTo>
                    <a:pt x="2611" y="1296"/>
                  </a:lnTo>
                  <a:lnTo>
                    <a:pt x="2518" y="1296"/>
                  </a:lnTo>
                  <a:lnTo>
                    <a:pt x="2518" y="1465"/>
                  </a:lnTo>
                  <a:lnTo>
                    <a:pt x="2516" y="1474"/>
                  </a:lnTo>
                  <a:lnTo>
                    <a:pt x="2512" y="1480"/>
                  </a:lnTo>
                  <a:lnTo>
                    <a:pt x="2506" y="1484"/>
                  </a:lnTo>
                  <a:lnTo>
                    <a:pt x="2498" y="1486"/>
                  </a:lnTo>
                  <a:lnTo>
                    <a:pt x="2490" y="1484"/>
                  </a:lnTo>
                  <a:lnTo>
                    <a:pt x="2484" y="1480"/>
                  </a:lnTo>
                  <a:lnTo>
                    <a:pt x="2480" y="1474"/>
                  </a:lnTo>
                  <a:lnTo>
                    <a:pt x="2477" y="1465"/>
                  </a:lnTo>
                  <a:lnTo>
                    <a:pt x="2477" y="1296"/>
                  </a:lnTo>
                  <a:lnTo>
                    <a:pt x="2385" y="1296"/>
                  </a:lnTo>
                  <a:lnTo>
                    <a:pt x="2385" y="1465"/>
                  </a:lnTo>
                  <a:lnTo>
                    <a:pt x="2384" y="1474"/>
                  </a:lnTo>
                  <a:lnTo>
                    <a:pt x="2379" y="1480"/>
                  </a:lnTo>
                  <a:lnTo>
                    <a:pt x="2372" y="1484"/>
                  </a:lnTo>
                  <a:lnTo>
                    <a:pt x="2366" y="1486"/>
                  </a:lnTo>
                  <a:lnTo>
                    <a:pt x="2358" y="1484"/>
                  </a:lnTo>
                  <a:lnTo>
                    <a:pt x="2352" y="1480"/>
                  </a:lnTo>
                  <a:lnTo>
                    <a:pt x="2347" y="1474"/>
                  </a:lnTo>
                  <a:lnTo>
                    <a:pt x="2345" y="1465"/>
                  </a:lnTo>
                  <a:lnTo>
                    <a:pt x="2345" y="1296"/>
                  </a:lnTo>
                  <a:lnTo>
                    <a:pt x="2282" y="1296"/>
                  </a:lnTo>
                  <a:lnTo>
                    <a:pt x="2282" y="1634"/>
                  </a:lnTo>
                  <a:lnTo>
                    <a:pt x="2852" y="1634"/>
                  </a:lnTo>
                  <a:lnTo>
                    <a:pt x="2852" y="1296"/>
                  </a:lnTo>
                  <a:lnTo>
                    <a:pt x="2784" y="1296"/>
                  </a:lnTo>
                  <a:close/>
                  <a:moveTo>
                    <a:pt x="332" y="4356"/>
                  </a:moveTo>
                  <a:lnTo>
                    <a:pt x="322" y="4359"/>
                  </a:lnTo>
                  <a:lnTo>
                    <a:pt x="313" y="4356"/>
                  </a:lnTo>
                  <a:lnTo>
                    <a:pt x="0" y="4356"/>
                  </a:lnTo>
                  <a:lnTo>
                    <a:pt x="0" y="4317"/>
                  </a:lnTo>
                  <a:lnTo>
                    <a:pt x="64" y="4317"/>
                  </a:lnTo>
                  <a:lnTo>
                    <a:pt x="64" y="3833"/>
                  </a:lnTo>
                  <a:lnTo>
                    <a:pt x="0" y="3833"/>
                  </a:lnTo>
                  <a:lnTo>
                    <a:pt x="0" y="3792"/>
                  </a:lnTo>
                  <a:lnTo>
                    <a:pt x="197" y="3792"/>
                  </a:lnTo>
                  <a:lnTo>
                    <a:pt x="206" y="3795"/>
                  </a:lnTo>
                  <a:lnTo>
                    <a:pt x="213" y="3799"/>
                  </a:lnTo>
                  <a:lnTo>
                    <a:pt x="217" y="3805"/>
                  </a:lnTo>
                  <a:lnTo>
                    <a:pt x="218" y="3813"/>
                  </a:lnTo>
                  <a:lnTo>
                    <a:pt x="217" y="3820"/>
                  </a:lnTo>
                  <a:lnTo>
                    <a:pt x="213" y="3827"/>
                  </a:lnTo>
                  <a:lnTo>
                    <a:pt x="206" y="3831"/>
                  </a:lnTo>
                  <a:lnTo>
                    <a:pt x="197" y="3833"/>
                  </a:lnTo>
                  <a:lnTo>
                    <a:pt x="104" y="3833"/>
                  </a:lnTo>
                  <a:lnTo>
                    <a:pt x="104" y="4317"/>
                  </a:lnTo>
                  <a:lnTo>
                    <a:pt x="303" y="4317"/>
                  </a:lnTo>
                  <a:lnTo>
                    <a:pt x="303" y="3544"/>
                  </a:lnTo>
                  <a:lnTo>
                    <a:pt x="303" y="2772"/>
                  </a:lnTo>
                  <a:lnTo>
                    <a:pt x="304" y="2764"/>
                  </a:lnTo>
                  <a:lnTo>
                    <a:pt x="308" y="2758"/>
                  </a:lnTo>
                  <a:lnTo>
                    <a:pt x="314" y="2753"/>
                  </a:lnTo>
                  <a:lnTo>
                    <a:pt x="322" y="2751"/>
                  </a:lnTo>
                  <a:lnTo>
                    <a:pt x="440" y="2751"/>
                  </a:lnTo>
                  <a:lnTo>
                    <a:pt x="440" y="2579"/>
                  </a:lnTo>
                  <a:lnTo>
                    <a:pt x="441" y="2571"/>
                  </a:lnTo>
                  <a:lnTo>
                    <a:pt x="446" y="2565"/>
                  </a:lnTo>
                  <a:lnTo>
                    <a:pt x="453" y="2560"/>
                  </a:lnTo>
                  <a:lnTo>
                    <a:pt x="460" y="2558"/>
                  </a:lnTo>
                  <a:lnTo>
                    <a:pt x="541" y="2558"/>
                  </a:lnTo>
                  <a:lnTo>
                    <a:pt x="1007" y="2558"/>
                  </a:lnTo>
                  <a:lnTo>
                    <a:pt x="1997" y="2558"/>
                  </a:lnTo>
                  <a:lnTo>
                    <a:pt x="2004" y="2560"/>
                  </a:lnTo>
                  <a:lnTo>
                    <a:pt x="2011" y="2565"/>
                  </a:lnTo>
                  <a:lnTo>
                    <a:pt x="2014" y="2571"/>
                  </a:lnTo>
                  <a:lnTo>
                    <a:pt x="2017" y="2579"/>
                  </a:lnTo>
                  <a:lnTo>
                    <a:pt x="2017" y="2751"/>
                  </a:lnTo>
                  <a:lnTo>
                    <a:pt x="2098" y="2751"/>
                  </a:lnTo>
                  <a:lnTo>
                    <a:pt x="2098" y="2203"/>
                  </a:lnTo>
                  <a:lnTo>
                    <a:pt x="2098" y="1654"/>
                  </a:lnTo>
                  <a:lnTo>
                    <a:pt x="2099" y="1647"/>
                  </a:lnTo>
                  <a:lnTo>
                    <a:pt x="2103" y="1640"/>
                  </a:lnTo>
                  <a:lnTo>
                    <a:pt x="2109" y="1635"/>
                  </a:lnTo>
                  <a:lnTo>
                    <a:pt x="2117" y="1634"/>
                  </a:lnTo>
                  <a:lnTo>
                    <a:pt x="2243" y="1634"/>
                  </a:lnTo>
                  <a:lnTo>
                    <a:pt x="2243" y="1276"/>
                  </a:lnTo>
                  <a:lnTo>
                    <a:pt x="2244" y="1268"/>
                  </a:lnTo>
                  <a:lnTo>
                    <a:pt x="2249" y="1262"/>
                  </a:lnTo>
                  <a:lnTo>
                    <a:pt x="2254" y="1258"/>
                  </a:lnTo>
                  <a:lnTo>
                    <a:pt x="2262" y="1257"/>
                  </a:lnTo>
                  <a:lnTo>
                    <a:pt x="2872" y="1257"/>
                  </a:lnTo>
                  <a:lnTo>
                    <a:pt x="2880" y="1258"/>
                  </a:lnTo>
                  <a:lnTo>
                    <a:pt x="2886" y="1262"/>
                  </a:lnTo>
                  <a:lnTo>
                    <a:pt x="2890" y="1268"/>
                  </a:lnTo>
                  <a:lnTo>
                    <a:pt x="2893" y="1276"/>
                  </a:lnTo>
                  <a:lnTo>
                    <a:pt x="2893" y="1634"/>
                  </a:lnTo>
                  <a:lnTo>
                    <a:pt x="3017" y="1634"/>
                  </a:lnTo>
                  <a:lnTo>
                    <a:pt x="3025" y="1635"/>
                  </a:lnTo>
                  <a:lnTo>
                    <a:pt x="3031" y="1640"/>
                  </a:lnTo>
                  <a:lnTo>
                    <a:pt x="3035" y="1647"/>
                  </a:lnTo>
                  <a:lnTo>
                    <a:pt x="3038" y="1654"/>
                  </a:lnTo>
                  <a:lnTo>
                    <a:pt x="3038" y="2434"/>
                  </a:lnTo>
                  <a:lnTo>
                    <a:pt x="3038" y="3214"/>
                  </a:lnTo>
                  <a:lnTo>
                    <a:pt x="3035" y="3223"/>
                  </a:lnTo>
                  <a:lnTo>
                    <a:pt x="3031" y="3230"/>
                  </a:lnTo>
                  <a:lnTo>
                    <a:pt x="3025" y="3234"/>
                  </a:lnTo>
                  <a:lnTo>
                    <a:pt x="3017" y="3235"/>
                  </a:lnTo>
                  <a:lnTo>
                    <a:pt x="3010" y="3234"/>
                  </a:lnTo>
                  <a:lnTo>
                    <a:pt x="3003" y="3230"/>
                  </a:lnTo>
                  <a:lnTo>
                    <a:pt x="2999" y="3223"/>
                  </a:lnTo>
                  <a:lnTo>
                    <a:pt x="2998" y="3214"/>
                  </a:lnTo>
                  <a:lnTo>
                    <a:pt x="2998" y="2443"/>
                  </a:lnTo>
                  <a:lnTo>
                    <a:pt x="2998" y="1674"/>
                  </a:lnTo>
                  <a:lnTo>
                    <a:pt x="2138" y="1674"/>
                  </a:lnTo>
                  <a:lnTo>
                    <a:pt x="2138" y="2333"/>
                  </a:lnTo>
                  <a:lnTo>
                    <a:pt x="2138" y="2994"/>
                  </a:lnTo>
                  <a:lnTo>
                    <a:pt x="2138" y="3655"/>
                  </a:lnTo>
                  <a:lnTo>
                    <a:pt x="2138" y="4317"/>
                  </a:lnTo>
                  <a:lnTo>
                    <a:pt x="2829" y="4317"/>
                  </a:lnTo>
                  <a:lnTo>
                    <a:pt x="2829" y="4141"/>
                  </a:lnTo>
                  <a:lnTo>
                    <a:pt x="2799" y="4138"/>
                  </a:lnTo>
                  <a:lnTo>
                    <a:pt x="2771" y="4132"/>
                  </a:lnTo>
                  <a:lnTo>
                    <a:pt x="2744" y="4123"/>
                  </a:lnTo>
                  <a:lnTo>
                    <a:pt x="2731" y="4118"/>
                  </a:lnTo>
                  <a:lnTo>
                    <a:pt x="2718" y="4113"/>
                  </a:lnTo>
                  <a:lnTo>
                    <a:pt x="2694" y="4099"/>
                  </a:lnTo>
                  <a:lnTo>
                    <a:pt x="2671" y="4084"/>
                  </a:lnTo>
                  <a:lnTo>
                    <a:pt x="2649" y="4067"/>
                  </a:lnTo>
                  <a:lnTo>
                    <a:pt x="2630" y="4048"/>
                  </a:lnTo>
                  <a:lnTo>
                    <a:pt x="2612" y="4026"/>
                  </a:lnTo>
                  <a:lnTo>
                    <a:pt x="2595" y="4005"/>
                  </a:lnTo>
                  <a:lnTo>
                    <a:pt x="2581" y="3980"/>
                  </a:lnTo>
                  <a:lnTo>
                    <a:pt x="2570" y="3955"/>
                  </a:lnTo>
                  <a:lnTo>
                    <a:pt x="2561" y="3929"/>
                  </a:lnTo>
                  <a:lnTo>
                    <a:pt x="2554" y="3901"/>
                  </a:lnTo>
                  <a:lnTo>
                    <a:pt x="2549" y="3873"/>
                  </a:lnTo>
                  <a:lnTo>
                    <a:pt x="2548" y="3843"/>
                  </a:lnTo>
                  <a:lnTo>
                    <a:pt x="2549" y="3813"/>
                  </a:lnTo>
                  <a:lnTo>
                    <a:pt x="2554" y="3773"/>
                  </a:lnTo>
                  <a:lnTo>
                    <a:pt x="2570" y="3675"/>
                  </a:lnTo>
                  <a:lnTo>
                    <a:pt x="2581" y="3617"/>
                  </a:lnTo>
                  <a:lnTo>
                    <a:pt x="2595" y="3558"/>
                  </a:lnTo>
                  <a:lnTo>
                    <a:pt x="2630" y="3436"/>
                  </a:lnTo>
                  <a:lnTo>
                    <a:pt x="2650" y="3377"/>
                  </a:lnTo>
                  <a:lnTo>
                    <a:pt x="2674" y="3320"/>
                  </a:lnTo>
                  <a:lnTo>
                    <a:pt x="2698" y="3268"/>
                  </a:lnTo>
                  <a:lnTo>
                    <a:pt x="2725" y="3222"/>
                  </a:lnTo>
                  <a:lnTo>
                    <a:pt x="2753" y="3185"/>
                  </a:lnTo>
                  <a:lnTo>
                    <a:pt x="2783" y="3156"/>
                  </a:lnTo>
                  <a:lnTo>
                    <a:pt x="2799" y="3144"/>
                  </a:lnTo>
                  <a:lnTo>
                    <a:pt x="2815" y="3136"/>
                  </a:lnTo>
                  <a:lnTo>
                    <a:pt x="2831" y="3133"/>
                  </a:lnTo>
                  <a:lnTo>
                    <a:pt x="2848" y="3130"/>
                  </a:lnTo>
                  <a:lnTo>
                    <a:pt x="2866" y="3133"/>
                  </a:lnTo>
                  <a:lnTo>
                    <a:pt x="2883" y="3138"/>
                  </a:lnTo>
                  <a:lnTo>
                    <a:pt x="2899" y="3145"/>
                  </a:lnTo>
                  <a:lnTo>
                    <a:pt x="2915" y="3157"/>
                  </a:lnTo>
                  <a:lnTo>
                    <a:pt x="2945" y="3187"/>
                  </a:lnTo>
                  <a:lnTo>
                    <a:pt x="2953" y="3196"/>
                  </a:lnTo>
                  <a:lnTo>
                    <a:pt x="2960" y="3205"/>
                  </a:lnTo>
                  <a:lnTo>
                    <a:pt x="2974" y="3226"/>
                  </a:lnTo>
                  <a:lnTo>
                    <a:pt x="3001" y="3272"/>
                  </a:lnTo>
                  <a:lnTo>
                    <a:pt x="3024" y="3323"/>
                  </a:lnTo>
                  <a:lnTo>
                    <a:pt x="3045" y="3377"/>
                  </a:lnTo>
                  <a:lnTo>
                    <a:pt x="3065" y="3433"/>
                  </a:lnTo>
                  <a:lnTo>
                    <a:pt x="3083" y="3492"/>
                  </a:lnTo>
                  <a:lnTo>
                    <a:pt x="3099" y="3551"/>
                  </a:lnTo>
                  <a:lnTo>
                    <a:pt x="3113" y="3609"/>
                  </a:lnTo>
                  <a:lnTo>
                    <a:pt x="3125" y="3666"/>
                  </a:lnTo>
                  <a:lnTo>
                    <a:pt x="3135" y="3719"/>
                  </a:lnTo>
                  <a:lnTo>
                    <a:pt x="3142" y="3767"/>
                  </a:lnTo>
                  <a:lnTo>
                    <a:pt x="3147" y="3809"/>
                  </a:lnTo>
                  <a:lnTo>
                    <a:pt x="3148" y="3843"/>
                  </a:lnTo>
                  <a:lnTo>
                    <a:pt x="3147" y="3873"/>
                  </a:lnTo>
                  <a:lnTo>
                    <a:pt x="3143" y="3901"/>
                  </a:lnTo>
                  <a:lnTo>
                    <a:pt x="3135" y="3929"/>
                  </a:lnTo>
                  <a:lnTo>
                    <a:pt x="3126" y="3955"/>
                  </a:lnTo>
                  <a:lnTo>
                    <a:pt x="3115" y="3980"/>
                  </a:lnTo>
                  <a:lnTo>
                    <a:pt x="3101" y="4005"/>
                  </a:lnTo>
                  <a:lnTo>
                    <a:pt x="3067" y="4048"/>
                  </a:lnTo>
                  <a:lnTo>
                    <a:pt x="3025" y="4084"/>
                  </a:lnTo>
                  <a:lnTo>
                    <a:pt x="3002" y="4099"/>
                  </a:lnTo>
                  <a:lnTo>
                    <a:pt x="2977" y="4113"/>
                  </a:lnTo>
                  <a:lnTo>
                    <a:pt x="2952" y="4123"/>
                  </a:lnTo>
                  <a:lnTo>
                    <a:pt x="2925" y="4132"/>
                  </a:lnTo>
                  <a:lnTo>
                    <a:pt x="2897" y="4138"/>
                  </a:lnTo>
                  <a:lnTo>
                    <a:pt x="2868" y="4141"/>
                  </a:lnTo>
                  <a:lnTo>
                    <a:pt x="2868" y="4317"/>
                  </a:lnTo>
                  <a:lnTo>
                    <a:pt x="2998" y="4317"/>
                  </a:lnTo>
                  <a:lnTo>
                    <a:pt x="2998" y="4193"/>
                  </a:lnTo>
                  <a:lnTo>
                    <a:pt x="2999" y="4184"/>
                  </a:lnTo>
                  <a:lnTo>
                    <a:pt x="3003" y="4177"/>
                  </a:lnTo>
                  <a:lnTo>
                    <a:pt x="3010" y="4173"/>
                  </a:lnTo>
                  <a:lnTo>
                    <a:pt x="3017" y="4172"/>
                  </a:lnTo>
                  <a:lnTo>
                    <a:pt x="3025" y="4173"/>
                  </a:lnTo>
                  <a:lnTo>
                    <a:pt x="3031" y="4177"/>
                  </a:lnTo>
                  <a:lnTo>
                    <a:pt x="3035" y="4184"/>
                  </a:lnTo>
                  <a:lnTo>
                    <a:pt x="3038" y="4193"/>
                  </a:lnTo>
                  <a:lnTo>
                    <a:pt x="3038" y="4332"/>
                  </a:lnTo>
                  <a:lnTo>
                    <a:pt x="3036" y="4340"/>
                  </a:lnTo>
                  <a:lnTo>
                    <a:pt x="3031" y="4346"/>
                  </a:lnTo>
                  <a:lnTo>
                    <a:pt x="3025" y="4354"/>
                  </a:lnTo>
                  <a:lnTo>
                    <a:pt x="3013" y="4356"/>
                  </a:lnTo>
                  <a:lnTo>
                    <a:pt x="2343" y="4356"/>
                  </a:lnTo>
                  <a:lnTo>
                    <a:pt x="1672" y="4356"/>
                  </a:lnTo>
                  <a:lnTo>
                    <a:pt x="1001" y="4356"/>
                  </a:lnTo>
                  <a:lnTo>
                    <a:pt x="332" y="4356"/>
                  </a:lnTo>
                  <a:close/>
                  <a:moveTo>
                    <a:pt x="1458" y="2791"/>
                  </a:moveTo>
                  <a:lnTo>
                    <a:pt x="900" y="2791"/>
                  </a:lnTo>
                  <a:lnTo>
                    <a:pt x="342" y="2791"/>
                  </a:lnTo>
                  <a:lnTo>
                    <a:pt x="342" y="3553"/>
                  </a:lnTo>
                  <a:lnTo>
                    <a:pt x="342" y="4317"/>
                  </a:lnTo>
                  <a:lnTo>
                    <a:pt x="1218" y="4317"/>
                  </a:lnTo>
                  <a:lnTo>
                    <a:pt x="2095" y="4317"/>
                  </a:lnTo>
                  <a:lnTo>
                    <a:pt x="2095" y="3553"/>
                  </a:lnTo>
                  <a:lnTo>
                    <a:pt x="2095" y="2791"/>
                  </a:lnTo>
                  <a:lnTo>
                    <a:pt x="1723" y="2791"/>
                  </a:lnTo>
                  <a:lnTo>
                    <a:pt x="1714" y="2790"/>
                  </a:lnTo>
                  <a:lnTo>
                    <a:pt x="1708" y="2786"/>
                  </a:lnTo>
                  <a:lnTo>
                    <a:pt x="1704" y="2780"/>
                  </a:lnTo>
                  <a:lnTo>
                    <a:pt x="1703" y="2772"/>
                  </a:lnTo>
                  <a:lnTo>
                    <a:pt x="1704" y="2764"/>
                  </a:lnTo>
                  <a:lnTo>
                    <a:pt x="1708" y="2758"/>
                  </a:lnTo>
                  <a:lnTo>
                    <a:pt x="1714" y="2754"/>
                  </a:lnTo>
                  <a:lnTo>
                    <a:pt x="1723" y="2751"/>
                  </a:lnTo>
                  <a:lnTo>
                    <a:pt x="1976" y="2751"/>
                  </a:lnTo>
                  <a:lnTo>
                    <a:pt x="1976" y="2598"/>
                  </a:lnTo>
                  <a:lnTo>
                    <a:pt x="1025" y="2598"/>
                  </a:lnTo>
                  <a:lnTo>
                    <a:pt x="1018" y="2602"/>
                  </a:lnTo>
                  <a:lnTo>
                    <a:pt x="1010" y="2603"/>
                  </a:lnTo>
                  <a:lnTo>
                    <a:pt x="544" y="2603"/>
                  </a:lnTo>
                  <a:lnTo>
                    <a:pt x="536" y="2602"/>
                  </a:lnTo>
                  <a:lnTo>
                    <a:pt x="531" y="2598"/>
                  </a:lnTo>
                  <a:lnTo>
                    <a:pt x="480" y="2598"/>
                  </a:lnTo>
                  <a:lnTo>
                    <a:pt x="480" y="2751"/>
                  </a:lnTo>
                  <a:lnTo>
                    <a:pt x="1458" y="2751"/>
                  </a:lnTo>
                  <a:lnTo>
                    <a:pt x="1467" y="2754"/>
                  </a:lnTo>
                  <a:lnTo>
                    <a:pt x="1473" y="2758"/>
                  </a:lnTo>
                  <a:lnTo>
                    <a:pt x="1477" y="2764"/>
                  </a:lnTo>
                  <a:lnTo>
                    <a:pt x="1478" y="2772"/>
                  </a:lnTo>
                  <a:lnTo>
                    <a:pt x="1477" y="2780"/>
                  </a:lnTo>
                  <a:lnTo>
                    <a:pt x="1473" y="2786"/>
                  </a:lnTo>
                  <a:lnTo>
                    <a:pt x="1467" y="2790"/>
                  </a:lnTo>
                  <a:lnTo>
                    <a:pt x="1458" y="2791"/>
                  </a:lnTo>
                  <a:close/>
                  <a:moveTo>
                    <a:pt x="2829" y="4085"/>
                  </a:moveTo>
                  <a:lnTo>
                    <a:pt x="2829" y="4077"/>
                  </a:lnTo>
                  <a:lnTo>
                    <a:pt x="2594" y="3774"/>
                  </a:lnTo>
                  <a:lnTo>
                    <a:pt x="2590" y="3814"/>
                  </a:lnTo>
                  <a:lnTo>
                    <a:pt x="2588" y="3843"/>
                  </a:lnTo>
                  <a:lnTo>
                    <a:pt x="2589" y="3868"/>
                  </a:lnTo>
                  <a:lnTo>
                    <a:pt x="2593" y="3893"/>
                  </a:lnTo>
                  <a:lnTo>
                    <a:pt x="2599" y="3916"/>
                  </a:lnTo>
                  <a:lnTo>
                    <a:pt x="2607" y="3939"/>
                  </a:lnTo>
                  <a:lnTo>
                    <a:pt x="2617" y="3961"/>
                  </a:lnTo>
                  <a:lnTo>
                    <a:pt x="2629" y="3982"/>
                  </a:lnTo>
                  <a:lnTo>
                    <a:pt x="2643" y="4002"/>
                  </a:lnTo>
                  <a:lnTo>
                    <a:pt x="2658" y="4020"/>
                  </a:lnTo>
                  <a:lnTo>
                    <a:pt x="2675" y="4037"/>
                  </a:lnTo>
                  <a:lnTo>
                    <a:pt x="2693" y="4051"/>
                  </a:lnTo>
                  <a:lnTo>
                    <a:pt x="2713" y="4065"/>
                  </a:lnTo>
                  <a:lnTo>
                    <a:pt x="2734" y="4076"/>
                  </a:lnTo>
                  <a:lnTo>
                    <a:pt x="2756" y="4085"/>
                  </a:lnTo>
                  <a:lnTo>
                    <a:pt x="2779" y="4093"/>
                  </a:lnTo>
                  <a:lnTo>
                    <a:pt x="2803" y="4098"/>
                  </a:lnTo>
                  <a:lnTo>
                    <a:pt x="2829" y="4102"/>
                  </a:lnTo>
                  <a:lnTo>
                    <a:pt x="2829" y="4093"/>
                  </a:lnTo>
                  <a:lnTo>
                    <a:pt x="2829" y="4085"/>
                  </a:lnTo>
                  <a:close/>
                  <a:moveTo>
                    <a:pt x="1903" y="3824"/>
                  </a:moveTo>
                  <a:lnTo>
                    <a:pt x="1903" y="3937"/>
                  </a:lnTo>
                  <a:lnTo>
                    <a:pt x="1902" y="3946"/>
                  </a:lnTo>
                  <a:lnTo>
                    <a:pt x="1896" y="3952"/>
                  </a:lnTo>
                  <a:lnTo>
                    <a:pt x="1890" y="3956"/>
                  </a:lnTo>
                  <a:lnTo>
                    <a:pt x="1882" y="3957"/>
                  </a:lnTo>
                  <a:lnTo>
                    <a:pt x="1876" y="3956"/>
                  </a:lnTo>
                  <a:lnTo>
                    <a:pt x="1870" y="3952"/>
                  </a:lnTo>
                  <a:lnTo>
                    <a:pt x="1864" y="3946"/>
                  </a:lnTo>
                  <a:lnTo>
                    <a:pt x="1863" y="3937"/>
                  </a:lnTo>
                  <a:lnTo>
                    <a:pt x="1863" y="3824"/>
                  </a:lnTo>
                  <a:lnTo>
                    <a:pt x="1864" y="3817"/>
                  </a:lnTo>
                  <a:lnTo>
                    <a:pt x="1870" y="3810"/>
                  </a:lnTo>
                  <a:lnTo>
                    <a:pt x="1876" y="3806"/>
                  </a:lnTo>
                  <a:lnTo>
                    <a:pt x="1882" y="3805"/>
                  </a:lnTo>
                  <a:lnTo>
                    <a:pt x="1890" y="3806"/>
                  </a:lnTo>
                  <a:lnTo>
                    <a:pt x="1896" y="3810"/>
                  </a:lnTo>
                  <a:lnTo>
                    <a:pt x="1902" y="3817"/>
                  </a:lnTo>
                  <a:lnTo>
                    <a:pt x="1903" y="3824"/>
                  </a:lnTo>
                  <a:close/>
                  <a:moveTo>
                    <a:pt x="587" y="3118"/>
                  </a:moveTo>
                  <a:lnTo>
                    <a:pt x="587" y="3231"/>
                  </a:lnTo>
                  <a:lnTo>
                    <a:pt x="586" y="3240"/>
                  </a:lnTo>
                  <a:lnTo>
                    <a:pt x="581" y="3246"/>
                  </a:lnTo>
                  <a:lnTo>
                    <a:pt x="574" y="3250"/>
                  </a:lnTo>
                  <a:lnTo>
                    <a:pt x="567" y="3251"/>
                  </a:lnTo>
                  <a:lnTo>
                    <a:pt x="560" y="3250"/>
                  </a:lnTo>
                  <a:lnTo>
                    <a:pt x="554" y="3246"/>
                  </a:lnTo>
                  <a:lnTo>
                    <a:pt x="549" y="3240"/>
                  </a:lnTo>
                  <a:lnTo>
                    <a:pt x="548" y="3231"/>
                  </a:lnTo>
                  <a:lnTo>
                    <a:pt x="548" y="3118"/>
                  </a:lnTo>
                  <a:lnTo>
                    <a:pt x="549" y="3111"/>
                  </a:lnTo>
                  <a:lnTo>
                    <a:pt x="554" y="3104"/>
                  </a:lnTo>
                  <a:lnTo>
                    <a:pt x="560" y="3101"/>
                  </a:lnTo>
                  <a:lnTo>
                    <a:pt x="567" y="3099"/>
                  </a:lnTo>
                  <a:lnTo>
                    <a:pt x="574" y="3101"/>
                  </a:lnTo>
                  <a:lnTo>
                    <a:pt x="581" y="3104"/>
                  </a:lnTo>
                  <a:lnTo>
                    <a:pt x="586" y="3111"/>
                  </a:lnTo>
                  <a:lnTo>
                    <a:pt x="587" y="3118"/>
                  </a:lnTo>
                  <a:close/>
                  <a:moveTo>
                    <a:pt x="850" y="3118"/>
                  </a:moveTo>
                  <a:lnTo>
                    <a:pt x="850" y="3231"/>
                  </a:lnTo>
                  <a:lnTo>
                    <a:pt x="849" y="3240"/>
                  </a:lnTo>
                  <a:lnTo>
                    <a:pt x="844" y="3246"/>
                  </a:lnTo>
                  <a:lnTo>
                    <a:pt x="837" y="3250"/>
                  </a:lnTo>
                  <a:lnTo>
                    <a:pt x="831" y="3251"/>
                  </a:lnTo>
                  <a:lnTo>
                    <a:pt x="823" y="3250"/>
                  </a:lnTo>
                  <a:lnTo>
                    <a:pt x="817" y="3246"/>
                  </a:lnTo>
                  <a:lnTo>
                    <a:pt x="812" y="3240"/>
                  </a:lnTo>
                  <a:lnTo>
                    <a:pt x="810" y="3231"/>
                  </a:lnTo>
                  <a:lnTo>
                    <a:pt x="810" y="3118"/>
                  </a:lnTo>
                  <a:lnTo>
                    <a:pt x="812" y="3111"/>
                  </a:lnTo>
                  <a:lnTo>
                    <a:pt x="817" y="3104"/>
                  </a:lnTo>
                  <a:lnTo>
                    <a:pt x="823" y="3101"/>
                  </a:lnTo>
                  <a:lnTo>
                    <a:pt x="831" y="3099"/>
                  </a:lnTo>
                  <a:lnTo>
                    <a:pt x="837" y="3101"/>
                  </a:lnTo>
                  <a:lnTo>
                    <a:pt x="844" y="3104"/>
                  </a:lnTo>
                  <a:lnTo>
                    <a:pt x="849" y="3111"/>
                  </a:lnTo>
                  <a:lnTo>
                    <a:pt x="850" y="3118"/>
                  </a:lnTo>
                  <a:close/>
                  <a:moveTo>
                    <a:pt x="1113" y="3118"/>
                  </a:moveTo>
                  <a:lnTo>
                    <a:pt x="1113" y="3231"/>
                  </a:lnTo>
                  <a:lnTo>
                    <a:pt x="1112" y="3240"/>
                  </a:lnTo>
                  <a:lnTo>
                    <a:pt x="1107" y="3246"/>
                  </a:lnTo>
                  <a:lnTo>
                    <a:pt x="1100" y="3250"/>
                  </a:lnTo>
                  <a:lnTo>
                    <a:pt x="1094" y="3251"/>
                  </a:lnTo>
                  <a:lnTo>
                    <a:pt x="1086" y="3250"/>
                  </a:lnTo>
                  <a:lnTo>
                    <a:pt x="1080" y="3246"/>
                  </a:lnTo>
                  <a:lnTo>
                    <a:pt x="1076" y="3240"/>
                  </a:lnTo>
                  <a:lnTo>
                    <a:pt x="1073" y="3231"/>
                  </a:lnTo>
                  <a:lnTo>
                    <a:pt x="1073" y="3118"/>
                  </a:lnTo>
                  <a:lnTo>
                    <a:pt x="1076" y="3111"/>
                  </a:lnTo>
                  <a:lnTo>
                    <a:pt x="1080" y="3104"/>
                  </a:lnTo>
                  <a:lnTo>
                    <a:pt x="1086" y="3101"/>
                  </a:lnTo>
                  <a:lnTo>
                    <a:pt x="1094" y="3099"/>
                  </a:lnTo>
                  <a:lnTo>
                    <a:pt x="1100" y="3101"/>
                  </a:lnTo>
                  <a:lnTo>
                    <a:pt x="1107" y="3104"/>
                  </a:lnTo>
                  <a:lnTo>
                    <a:pt x="1112" y="3111"/>
                  </a:lnTo>
                  <a:lnTo>
                    <a:pt x="1113" y="3118"/>
                  </a:lnTo>
                  <a:close/>
                  <a:moveTo>
                    <a:pt x="1377" y="3118"/>
                  </a:moveTo>
                  <a:lnTo>
                    <a:pt x="1377" y="3231"/>
                  </a:lnTo>
                  <a:lnTo>
                    <a:pt x="1375" y="3240"/>
                  </a:lnTo>
                  <a:lnTo>
                    <a:pt x="1371" y="3246"/>
                  </a:lnTo>
                  <a:lnTo>
                    <a:pt x="1364" y="3250"/>
                  </a:lnTo>
                  <a:lnTo>
                    <a:pt x="1357" y="3251"/>
                  </a:lnTo>
                  <a:lnTo>
                    <a:pt x="1349" y="3250"/>
                  </a:lnTo>
                  <a:lnTo>
                    <a:pt x="1343" y="3246"/>
                  </a:lnTo>
                  <a:lnTo>
                    <a:pt x="1339" y="3240"/>
                  </a:lnTo>
                  <a:lnTo>
                    <a:pt x="1336" y="3231"/>
                  </a:lnTo>
                  <a:lnTo>
                    <a:pt x="1336" y="3118"/>
                  </a:lnTo>
                  <a:lnTo>
                    <a:pt x="1339" y="3111"/>
                  </a:lnTo>
                  <a:lnTo>
                    <a:pt x="1343" y="3104"/>
                  </a:lnTo>
                  <a:lnTo>
                    <a:pt x="1349" y="3101"/>
                  </a:lnTo>
                  <a:lnTo>
                    <a:pt x="1357" y="3099"/>
                  </a:lnTo>
                  <a:lnTo>
                    <a:pt x="1364" y="3101"/>
                  </a:lnTo>
                  <a:lnTo>
                    <a:pt x="1371" y="3104"/>
                  </a:lnTo>
                  <a:lnTo>
                    <a:pt x="1375" y="3111"/>
                  </a:lnTo>
                  <a:lnTo>
                    <a:pt x="1377" y="3118"/>
                  </a:lnTo>
                  <a:close/>
                  <a:moveTo>
                    <a:pt x="1640" y="3118"/>
                  </a:moveTo>
                  <a:lnTo>
                    <a:pt x="1640" y="3231"/>
                  </a:lnTo>
                  <a:lnTo>
                    <a:pt x="1637" y="3240"/>
                  </a:lnTo>
                  <a:lnTo>
                    <a:pt x="1634" y="3246"/>
                  </a:lnTo>
                  <a:lnTo>
                    <a:pt x="1627" y="3250"/>
                  </a:lnTo>
                  <a:lnTo>
                    <a:pt x="1620" y="3251"/>
                  </a:lnTo>
                  <a:lnTo>
                    <a:pt x="1612" y="3250"/>
                  </a:lnTo>
                  <a:lnTo>
                    <a:pt x="1605" y="3246"/>
                  </a:lnTo>
                  <a:lnTo>
                    <a:pt x="1602" y="3240"/>
                  </a:lnTo>
                  <a:lnTo>
                    <a:pt x="1600" y="3231"/>
                  </a:lnTo>
                  <a:lnTo>
                    <a:pt x="1600" y="3118"/>
                  </a:lnTo>
                  <a:lnTo>
                    <a:pt x="1602" y="3111"/>
                  </a:lnTo>
                  <a:lnTo>
                    <a:pt x="1605" y="3104"/>
                  </a:lnTo>
                  <a:lnTo>
                    <a:pt x="1612" y="3101"/>
                  </a:lnTo>
                  <a:lnTo>
                    <a:pt x="1620" y="3099"/>
                  </a:lnTo>
                  <a:lnTo>
                    <a:pt x="1627" y="3101"/>
                  </a:lnTo>
                  <a:lnTo>
                    <a:pt x="1634" y="3104"/>
                  </a:lnTo>
                  <a:lnTo>
                    <a:pt x="1637" y="3111"/>
                  </a:lnTo>
                  <a:lnTo>
                    <a:pt x="1640" y="3118"/>
                  </a:lnTo>
                  <a:close/>
                  <a:moveTo>
                    <a:pt x="1903" y="3118"/>
                  </a:moveTo>
                  <a:lnTo>
                    <a:pt x="1903" y="3231"/>
                  </a:lnTo>
                  <a:lnTo>
                    <a:pt x="1902" y="3240"/>
                  </a:lnTo>
                  <a:lnTo>
                    <a:pt x="1896" y="3246"/>
                  </a:lnTo>
                  <a:lnTo>
                    <a:pt x="1890" y="3250"/>
                  </a:lnTo>
                  <a:lnTo>
                    <a:pt x="1882" y="3251"/>
                  </a:lnTo>
                  <a:lnTo>
                    <a:pt x="1876" y="3250"/>
                  </a:lnTo>
                  <a:lnTo>
                    <a:pt x="1870" y="3246"/>
                  </a:lnTo>
                  <a:lnTo>
                    <a:pt x="1864" y="3240"/>
                  </a:lnTo>
                  <a:lnTo>
                    <a:pt x="1863" y="3231"/>
                  </a:lnTo>
                  <a:lnTo>
                    <a:pt x="1863" y="3118"/>
                  </a:lnTo>
                  <a:lnTo>
                    <a:pt x="1864" y="3111"/>
                  </a:lnTo>
                  <a:lnTo>
                    <a:pt x="1870" y="3104"/>
                  </a:lnTo>
                  <a:lnTo>
                    <a:pt x="1876" y="3101"/>
                  </a:lnTo>
                  <a:lnTo>
                    <a:pt x="1882" y="3099"/>
                  </a:lnTo>
                  <a:lnTo>
                    <a:pt x="1890" y="3101"/>
                  </a:lnTo>
                  <a:lnTo>
                    <a:pt x="1896" y="3104"/>
                  </a:lnTo>
                  <a:lnTo>
                    <a:pt x="1902" y="3111"/>
                  </a:lnTo>
                  <a:lnTo>
                    <a:pt x="1903" y="3118"/>
                  </a:lnTo>
                  <a:close/>
                  <a:moveTo>
                    <a:pt x="587" y="3354"/>
                  </a:moveTo>
                  <a:lnTo>
                    <a:pt x="587" y="3466"/>
                  </a:lnTo>
                  <a:lnTo>
                    <a:pt x="586" y="3475"/>
                  </a:lnTo>
                  <a:lnTo>
                    <a:pt x="581" y="3482"/>
                  </a:lnTo>
                  <a:lnTo>
                    <a:pt x="574" y="3485"/>
                  </a:lnTo>
                  <a:lnTo>
                    <a:pt x="567" y="3487"/>
                  </a:lnTo>
                  <a:lnTo>
                    <a:pt x="560" y="3485"/>
                  </a:lnTo>
                  <a:lnTo>
                    <a:pt x="554" y="3482"/>
                  </a:lnTo>
                  <a:lnTo>
                    <a:pt x="549" y="3475"/>
                  </a:lnTo>
                  <a:lnTo>
                    <a:pt x="548" y="3466"/>
                  </a:lnTo>
                  <a:lnTo>
                    <a:pt x="548" y="3354"/>
                  </a:lnTo>
                  <a:lnTo>
                    <a:pt x="549" y="3346"/>
                  </a:lnTo>
                  <a:lnTo>
                    <a:pt x="554" y="3340"/>
                  </a:lnTo>
                  <a:lnTo>
                    <a:pt x="560" y="3336"/>
                  </a:lnTo>
                  <a:lnTo>
                    <a:pt x="567" y="3335"/>
                  </a:lnTo>
                  <a:lnTo>
                    <a:pt x="574" y="3336"/>
                  </a:lnTo>
                  <a:lnTo>
                    <a:pt x="581" y="3340"/>
                  </a:lnTo>
                  <a:lnTo>
                    <a:pt x="586" y="3346"/>
                  </a:lnTo>
                  <a:lnTo>
                    <a:pt x="587" y="3354"/>
                  </a:lnTo>
                  <a:close/>
                  <a:moveTo>
                    <a:pt x="850" y="3354"/>
                  </a:moveTo>
                  <a:lnTo>
                    <a:pt x="850" y="3466"/>
                  </a:lnTo>
                  <a:lnTo>
                    <a:pt x="849" y="3475"/>
                  </a:lnTo>
                  <a:lnTo>
                    <a:pt x="844" y="3482"/>
                  </a:lnTo>
                  <a:lnTo>
                    <a:pt x="837" y="3485"/>
                  </a:lnTo>
                  <a:lnTo>
                    <a:pt x="831" y="3487"/>
                  </a:lnTo>
                  <a:lnTo>
                    <a:pt x="823" y="3485"/>
                  </a:lnTo>
                  <a:lnTo>
                    <a:pt x="817" y="3482"/>
                  </a:lnTo>
                  <a:lnTo>
                    <a:pt x="812" y="3475"/>
                  </a:lnTo>
                  <a:lnTo>
                    <a:pt x="810" y="3466"/>
                  </a:lnTo>
                  <a:lnTo>
                    <a:pt x="810" y="3354"/>
                  </a:lnTo>
                  <a:lnTo>
                    <a:pt x="812" y="3346"/>
                  </a:lnTo>
                  <a:lnTo>
                    <a:pt x="817" y="3340"/>
                  </a:lnTo>
                  <a:lnTo>
                    <a:pt x="823" y="3336"/>
                  </a:lnTo>
                  <a:lnTo>
                    <a:pt x="831" y="3335"/>
                  </a:lnTo>
                  <a:lnTo>
                    <a:pt x="837" y="3336"/>
                  </a:lnTo>
                  <a:lnTo>
                    <a:pt x="844" y="3340"/>
                  </a:lnTo>
                  <a:lnTo>
                    <a:pt x="849" y="3346"/>
                  </a:lnTo>
                  <a:lnTo>
                    <a:pt x="850" y="3354"/>
                  </a:lnTo>
                  <a:close/>
                  <a:moveTo>
                    <a:pt x="1113" y="3354"/>
                  </a:moveTo>
                  <a:lnTo>
                    <a:pt x="1113" y="3466"/>
                  </a:lnTo>
                  <a:lnTo>
                    <a:pt x="1112" y="3475"/>
                  </a:lnTo>
                  <a:lnTo>
                    <a:pt x="1107" y="3482"/>
                  </a:lnTo>
                  <a:lnTo>
                    <a:pt x="1100" y="3485"/>
                  </a:lnTo>
                  <a:lnTo>
                    <a:pt x="1094" y="3487"/>
                  </a:lnTo>
                  <a:lnTo>
                    <a:pt x="1086" y="3485"/>
                  </a:lnTo>
                  <a:lnTo>
                    <a:pt x="1080" y="3482"/>
                  </a:lnTo>
                  <a:lnTo>
                    <a:pt x="1076" y="3475"/>
                  </a:lnTo>
                  <a:lnTo>
                    <a:pt x="1073" y="3466"/>
                  </a:lnTo>
                  <a:lnTo>
                    <a:pt x="1073" y="3354"/>
                  </a:lnTo>
                  <a:lnTo>
                    <a:pt x="1076" y="3346"/>
                  </a:lnTo>
                  <a:lnTo>
                    <a:pt x="1080" y="3340"/>
                  </a:lnTo>
                  <a:lnTo>
                    <a:pt x="1086" y="3336"/>
                  </a:lnTo>
                  <a:lnTo>
                    <a:pt x="1094" y="3335"/>
                  </a:lnTo>
                  <a:lnTo>
                    <a:pt x="1100" y="3336"/>
                  </a:lnTo>
                  <a:lnTo>
                    <a:pt x="1107" y="3340"/>
                  </a:lnTo>
                  <a:lnTo>
                    <a:pt x="1112" y="3346"/>
                  </a:lnTo>
                  <a:lnTo>
                    <a:pt x="1113" y="3354"/>
                  </a:lnTo>
                  <a:close/>
                  <a:moveTo>
                    <a:pt x="1377" y="3354"/>
                  </a:moveTo>
                  <a:lnTo>
                    <a:pt x="1377" y="3466"/>
                  </a:lnTo>
                  <a:lnTo>
                    <a:pt x="1375" y="3475"/>
                  </a:lnTo>
                  <a:lnTo>
                    <a:pt x="1371" y="3482"/>
                  </a:lnTo>
                  <a:lnTo>
                    <a:pt x="1364" y="3485"/>
                  </a:lnTo>
                  <a:lnTo>
                    <a:pt x="1357" y="3487"/>
                  </a:lnTo>
                  <a:lnTo>
                    <a:pt x="1349" y="3485"/>
                  </a:lnTo>
                  <a:lnTo>
                    <a:pt x="1343" y="3482"/>
                  </a:lnTo>
                  <a:lnTo>
                    <a:pt x="1339" y="3475"/>
                  </a:lnTo>
                  <a:lnTo>
                    <a:pt x="1336" y="3466"/>
                  </a:lnTo>
                  <a:lnTo>
                    <a:pt x="1336" y="3354"/>
                  </a:lnTo>
                  <a:lnTo>
                    <a:pt x="1339" y="3346"/>
                  </a:lnTo>
                  <a:lnTo>
                    <a:pt x="1343" y="3340"/>
                  </a:lnTo>
                  <a:lnTo>
                    <a:pt x="1349" y="3336"/>
                  </a:lnTo>
                  <a:lnTo>
                    <a:pt x="1357" y="3335"/>
                  </a:lnTo>
                  <a:lnTo>
                    <a:pt x="1364" y="3336"/>
                  </a:lnTo>
                  <a:lnTo>
                    <a:pt x="1371" y="3340"/>
                  </a:lnTo>
                  <a:lnTo>
                    <a:pt x="1375" y="3346"/>
                  </a:lnTo>
                  <a:lnTo>
                    <a:pt x="1377" y="3354"/>
                  </a:lnTo>
                  <a:close/>
                  <a:moveTo>
                    <a:pt x="1640" y="3354"/>
                  </a:moveTo>
                  <a:lnTo>
                    <a:pt x="1640" y="3466"/>
                  </a:lnTo>
                  <a:lnTo>
                    <a:pt x="1637" y="3475"/>
                  </a:lnTo>
                  <a:lnTo>
                    <a:pt x="1634" y="3482"/>
                  </a:lnTo>
                  <a:lnTo>
                    <a:pt x="1627" y="3485"/>
                  </a:lnTo>
                  <a:lnTo>
                    <a:pt x="1620" y="3487"/>
                  </a:lnTo>
                  <a:lnTo>
                    <a:pt x="1612" y="3485"/>
                  </a:lnTo>
                  <a:lnTo>
                    <a:pt x="1605" y="3482"/>
                  </a:lnTo>
                  <a:lnTo>
                    <a:pt x="1602" y="3475"/>
                  </a:lnTo>
                  <a:lnTo>
                    <a:pt x="1600" y="3466"/>
                  </a:lnTo>
                  <a:lnTo>
                    <a:pt x="1600" y="3354"/>
                  </a:lnTo>
                  <a:lnTo>
                    <a:pt x="1602" y="3346"/>
                  </a:lnTo>
                  <a:lnTo>
                    <a:pt x="1605" y="3340"/>
                  </a:lnTo>
                  <a:lnTo>
                    <a:pt x="1612" y="3336"/>
                  </a:lnTo>
                  <a:lnTo>
                    <a:pt x="1620" y="3335"/>
                  </a:lnTo>
                  <a:lnTo>
                    <a:pt x="1627" y="3336"/>
                  </a:lnTo>
                  <a:lnTo>
                    <a:pt x="1634" y="3340"/>
                  </a:lnTo>
                  <a:lnTo>
                    <a:pt x="1637" y="3346"/>
                  </a:lnTo>
                  <a:lnTo>
                    <a:pt x="1640" y="3354"/>
                  </a:lnTo>
                  <a:close/>
                  <a:moveTo>
                    <a:pt x="1903" y="3354"/>
                  </a:moveTo>
                  <a:lnTo>
                    <a:pt x="1903" y="3466"/>
                  </a:lnTo>
                  <a:lnTo>
                    <a:pt x="1902" y="3475"/>
                  </a:lnTo>
                  <a:lnTo>
                    <a:pt x="1896" y="3482"/>
                  </a:lnTo>
                  <a:lnTo>
                    <a:pt x="1890" y="3485"/>
                  </a:lnTo>
                  <a:lnTo>
                    <a:pt x="1882" y="3487"/>
                  </a:lnTo>
                  <a:lnTo>
                    <a:pt x="1876" y="3485"/>
                  </a:lnTo>
                  <a:lnTo>
                    <a:pt x="1870" y="3482"/>
                  </a:lnTo>
                  <a:lnTo>
                    <a:pt x="1864" y="3475"/>
                  </a:lnTo>
                  <a:lnTo>
                    <a:pt x="1863" y="3466"/>
                  </a:lnTo>
                  <a:lnTo>
                    <a:pt x="1863" y="3354"/>
                  </a:lnTo>
                  <a:lnTo>
                    <a:pt x="1864" y="3346"/>
                  </a:lnTo>
                  <a:lnTo>
                    <a:pt x="1870" y="3340"/>
                  </a:lnTo>
                  <a:lnTo>
                    <a:pt x="1876" y="3336"/>
                  </a:lnTo>
                  <a:lnTo>
                    <a:pt x="1882" y="3335"/>
                  </a:lnTo>
                  <a:lnTo>
                    <a:pt x="1890" y="3336"/>
                  </a:lnTo>
                  <a:lnTo>
                    <a:pt x="1896" y="3340"/>
                  </a:lnTo>
                  <a:lnTo>
                    <a:pt x="1902" y="3346"/>
                  </a:lnTo>
                  <a:lnTo>
                    <a:pt x="1903" y="3354"/>
                  </a:lnTo>
                  <a:close/>
                  <a:moveTo>
                    <a:pt x="587" y="3589"/>
                  </a:moveTo>
                  <a:lnTo>
                    <a:pt x="587" y="3702"/>
                  </a:lnTo>
                  <a:lnTo>
                    <a:pt x="586" y="3710"/>
                  </a:lnTo>
                  <a:lnTo>
                    <a:pt x="581" y="3717"/>
                  </a:lnTo>
                  <a:lnTo>
                    <a:pt x="574" y="3721"/>
                  </a:lnTo>
                  <a:lnTo>
                    <a:pt x="567" y="3722"/>
                  </a:lnTo>
                  <a:lnTo>
                    <a:pt x="560" y="3721"/>
                  </a:lnTo>
                  <a:lnTo>
                    <a:pt x="554" y="3717"/>
                  </a:lnTo>
                  <a:lnTo>
                    <a:pt x="549" y="3710"/>
                  </a:lnTo>
                  <a:lnTo>
                    <a:pt x="548" y="3702"/>
                  </a:lnTo>
                  <a:lnTo>
                    <a:pt x="548" y="3589"/>
                  </a:lnTo>
                  <a:lnTo>
                    <a:pt x="549" y="3581"/>
                  </a:lnTo>
                  <a:lnTo>
                    <a:pt x="554" y="3575"/>
                  </a:lnTo>
                  <a:lnTo>
                    <a:pt x="560" y="3571"/>
                  </a:lnTo>
                  <a:lnTo>
                    <a:pt x="567" y="3570"/>
                  </a:lnTo>
                  <a:lnTo>
                    <a:pt x="574" y="3571"/>
                  </a:lnTo>
                  <a:lnTo>
                    <a:pt x="581" y="3575"/>
                  </a:lnTo>
                  <a:lnTo>
                    <a:pt x="586" y="3581"/>
                  </a:lnTo>
                  <a:lnTo>
                    <a:pt x="587" y="3589"/>
                  </a:lnTo>
                  <a:close/>
                  <a:moveTo>
                    <a:pt x="850" y="3589"/>
                  </a:moveTo>
                  <a:lnTo>
                    <a:pt x="850" y="3702"/>
                  </a:lnTo>
                  <a:lnTo>
                    <a:pt x="849" y="3710"/>
                  </a:lnTo>
                  <a:lnTo>
                    <a:pt x="844" y="3717"/>
                  </a:lnTo>
                  <a:lnTo>
                    <a:pt x="837" y="3721"/>
                  </a:lnTo>
                  <a:lnTo>
                    <a:pt x="831" y="3722"/>
                  </a:lnTo>
                  <a:lnTo>
                    <a:pt x="823" y="3721"/>
                  </a:lnTo>
                  <a:lnTo>
                    <a:pt x="817" y="3717"/>
                  </a:lnTo>
                  <a:lnTo>
                    <a:pt x="812" y="3710"/>
                  </a:lnTo>
                  <a:lnTo>
                    <a:pt x="810" y="3702"/>
                  </a:lnTo>
                  <a:lnTo>
                    <a:pt x="810" y="3589"/>
                  </a:lnTo>
                  <a:lnTo>
                    <a:pt x="812" y="3581"/>
                  </a:lnTo>
                  <a:lnTo>
                    <a:pt x="817" y="3575"/>
                  </a:lnTo>
                  <a:lnTo>
                    <a:pt x="823" y="3571"/>
                  </a:lnTo>
                  <a:lnTo>
                    <a:pt x="831" y="3570"/>
                  </a:lnTo>
                  <a:lnTo>
                    <a:pt x="837" y="3571"/>
                  </a:lnTo>
                  <a:lnTo>
                    <a:pt x="844" y="3575"/>
                  </a:lnTo>
                  <a:lnTo>
                    <a:pt x="849" y="3581"/>
                  </a:lnTo>
                  <a:lnTo>
                    <a:pt x="850" y="3589"/>
                  </a:lnTo>
                  <a:close/>
                  <a:moveTo>
                    <a:pt x="1113" y="3589"/>
                  </a:moveTo>
                  <a:lnTo>
                    <a:pt x="1113" y="3702"/>
                  </a:lnTo>
                  <a:lnTo>
                    <a:pt x="1112" y="3710"/>
                  </a:lnTo>
                  <a:lnTo>
                    <a:pt x="1107" y="3717"/>
                  </a:lnTo>
                  <a:lnTo>
                    <a:pt x="1100" y="3721"/>
                  </a:lnTo>
                  <a:lnTo>
                    <a:pt x="1094" y="3722"/>
                  </a:lnTo>
                  <a:lnTo>
                    <a:pt x="1086" y="3721"/>
                  </a:lnTo>
                  <a:lnTo>
                    <a:pt x="1080" y="3717"/>
                  </a:lnTo>
                  <a:lnTo>
                    <a:pt x="1076" y="3710"/>
                  </a:lnTo>
                  <a:lnTo>
                    <a:pt x="1073" y="3702"/>
                  </a:lnTo>
                  <a:lnTo>
                    <a:pt x="1073" y="3589"/>
                  </a:lnTo>
                  <a:lnTo>
                    <a:pt x="1076" y="3581"/>
                  </a:lnTo>
                  <a:lnTo>
                    <a:pt x="1080" y="3575"/>
                  </a:lnTo>
                  <a:lnTo>
                    <a:pt x="1086" y="3571"/>
                  </a:lnTo>
                  <a:lnTo>
                    <a:pt x="1094" y="3570"/>
                  </a:lnTo>
                  <a:lnTo>
                    <a:pt x="1100" y="3571"/>
                  </a:lnTo>
                  <a:lnTo>
                    <a:pt x="1107" y="3575"/>
                  </a:lnTo>
                  <a:lnTo>
                    <a:pt x="1112" y="3581"/>
                  </a:lnTo>
                  <a:lnTo>
                    <a:pt x="1113" y="3589"/>
                  </a:lnTo>
                  <a:close/>
                  <a:moveTo>
                    <a:pt x="1377" y="3589"/>
                  </a:moveTo>
                  <a:lnTo>
                    <a:pt x="1377" y="3702"/>
                  </a:lnTo>
                  <a:lnTo>
                    <a:pt x="1375" y="3710"/>
                  </a:lnTo>
                  <a:lnTo>
                    <a:pt x="1371" y="3717"/>
                  </a:lnTo>
                  <a:lnTo>
                    <a:pt x="1364" y="3721"/>
                  </a:lnTo>
                  <a:lnTo>
                    <a:pt x="1357" y="3722"/>
                  </a:lnTo>
                  <a:lnTo>
                    <a:pt x="1349" y="3721"/>
                  </a:lnTo>
                  <a:lnTo>
                    <a:pt x="1343" y="3717"/>
                  </a:lnTo>
                  <a:lnTo>
                    <a:pt x="1339" y="3710"/>
                  </a:lnTo>
                  <a:lnTo>
                    <a:pt x="1336" y="3702"/>
                  </a:lnTo>
                  <a:lnTo>
                    <a:pt x="1336" y="3589"/>
                  </a:lnTo>
                  <a:lnTo>
                    <a:pt x="1339" y="3581"/>
                  </a:lnTo>
                  <a:lnTo>
                    <a:pt x="1343" y="3575"/>
                  </a:lnTo>
                  <a:lnTo>
                    <a:pt x="1349" y="3571"/>
                  </a:lnTo>
                  <a:lnTo>
                    <a:pt x="1357" y="3570"/>
                  </a:lnTo>
                  <a:lnTo>
                    <a:pt x="1364" y="3571"/>
                  </a:lnTo>
                  <a:lnTo>
                    <a:pt x="1371" y="3575"/>
                  </a:lnTo>
                  <a:lnTo>
                    <a:pt x="1375" y="3581"/>
                  </a:lnTo>
                  <a:lnTo>
                    <a:pt x="1377" y="3589"/>
                  </a:lnTo>
                  <a:close/>
                  <a:moveTo>
                    <a:pt x="1640" y="3589"/>
                  </a:moveTo>
                  <a:lnTo>
                    <a:pt x="1640" y="3702"/>
                  </a:lnTo>
                  <a:lnTo>
                    <a:pt x="1637" y="3710"/>
                  </a:lnTo>
                  <a:lnTo>
                    <a:pt x="1634" y="3717"/>
                  </a:lnTo>
                  <a:lnTo>
                    <a:pt x="1627" y="3721"/>
                  </a:lnTo>
                  <a:lnTo>
                    <a:pt x="1620" y="3722"/>
                  </a:lnTo>
                  <a:lnTo>
                    <a:pt x="1612" y="3721"/>
                  </a:lnTo>
                  <a:lnTo>
                    <a:pt x="1605" y="3717"/>
                  </a:lnTo>
                  <a:lnTo>
                    <a:pt x="1602" y="3710"/>
                  </a:lnTo>
                  <a:lnTo>
                    <a:pt x="1600" y="3702"/>
                  </a:lnTo>
                  <a:lnTo>
                    <a:pt x="1600" y="3589"/>
                  </a:lnTo>
                  <a:lnTo>
                    <a:pt x="1602" y="3581"/>
                  </a:lnTo>
                  <a:lnTo>
                    <a:pt x="1605" y="3575"/>
                  </a:lnTo>
                  <a:lnTo>
                    <a:pt x="1612" y="3571"/>
                  </a:lnTo>
                  <a:lnTo>
                    <a:pt x="1620" y="3570"/>
                  </a:lnTo>
                  <a:lnTo>
                    <a:pt x="1627" y="3571"/>
                  </a:lnTo>
                  <a:lnTo>
                    <a:pt x="1634" y="3575"/>
                  </a:lnTo>
                  <a:lnTo>
                    <a:pt x="1637" y="3581"/>
                  </a:lnTo>
                  <a:lnTo>
                    <a:pt x="1640" y="3589"/>
                  </a:lnTo>
                  <a:close/>
                  <a:moveTo>
                    <a:pt x="1903" y="3589"/>
                  </a:moveTo>
                  <a:lnTo>
                    <a:pt x="1903" y="3702"/>
                  </a:lnTo>
                  <a:lnTo>
                    <a:pt x="1902" y="3710"/>
                  </a:lnTo>
                  <a:lnTo>
                    <a:pt x="1896" y="3717"/>
                  </a:lnTo>
                  <a:lnTo>
                    <a:pt x="1890" y="3721"/>
                  </a:lnTo>
                  <a:lnTo>
                    <a:pt x="1882" y="3722"/>
                  </a:lnTo>
                  <a:lnTo>
                    <a:pt x="1876" y="3721"/>
                  </a:lnTo>
                  <a:lnTo>
                    <a:pt x="1870" y="3717"/>
                  </a:lnTo>
                  <a:lnTo>
                    <a:pt x="1864" y="3710"/>
                  </a:lnTo>
                  <a:lnTo>
                    <a:pt x="1863" y="3702"/>
                  </a:lnTo>
                  <a:lnTo>
                    <a:pt x="1863" y="3589"/>
                  </a:lnTo>
                  <a:lnTo>
                    <a:pt x="1864" y="3581"/>
                  </a:lnTo>
                  <a:lnTo>
                    <a:pt x="1870" y="3575"/>
                  </a:lnTo>
                  <a:lnTo>
                    <a:pt x="1876" y="3571"/>
                  </a:lnTo>
                  <a:lnTo>
                    <a:pt x="1882" y="3570"/>
                  </a:lnTo>
                  <a:lnTo>
                    <a:pt x="1890" y="3571"/>
                  </a:lnTo>
                  <a:lnTo>
                    <a:pt x="1896" y="3575"/>
                  </a:lnTo>
                  <a:lnTo>
                    <a:pt x="1902" y="3581"/>
                  </a:lnTo>
                  <a:lnTo>
                    <a:pt x="1903" y="3589"/>
                  </a:lnTo>
                  <a:close/>
                  <a:moveTo>
                    <a:pt x="587" y="3824"/>
                  </a:moveTo>
                  <a:lnTo>
                    <a:pt x="587" y="3937"/>
                  </a:lnTo>
                  <a:lnTo>
                    <a:pt x="586" y="3946"/>
                  </a:lnTo>
                  <a:lnTo>
                    <a:pt x="581" y="3952"/>
                  </a:lnTo>
                  <a:lnTo>
                    <a:pt x="574" y="3956"/>
                  </a:lnTo>
                  <a:lnTo>
                    <a:pt x="567" y="3957"/>
                  </a:lnTo>
                  <a:lnTo>
                    <a:pt x="560" y="3956"/>
                  </a:lnTo>
                  <a:lnTo>
                    <a:pt x="554" y="3952"/>
                  </a:lnTo>
                  <a:lnTo>
                    <a:pt x="549" y="3946"/>
                  </a:lnTo>
                  <a:lnTo>
                    <a:pt x="548" y="3937"/>
                  </a:lnTo>
                  <a:lnTo>
                    <a:pt x="548" y="3824"/>
                  </a:lnTo>
                  <a:lnTo>
                    <a:pt x="549" y="3817"/>
                  </a:lnTo>
                  <a:lnTo>
                    <a:pt x="554" y="3810"/>
                  </a:lnTo>
                  <a:lnTo>
                    <a:pt x="560" y="3806"/>
                  </a:lnTo>
                  <a:lnTo>
                    <a:pt x="567" y="3805"/>
                  </a:lnTo>
                  <a:lnTo>
                    <a:pt x="574" y="3806"/>
                  </a:lnTo>
                  <a:lnTo>
                    <a:pt x="581" y="3810"/>
                  </a:lnTo>
                  <a:lnTo>
                    <a:pt x="586" y="3817"/>
                  </a:lnTo>
                  <a:lnTo>
                    <a:pt x="587" y="3824"/>
                  </a:lnTo>
                  <a:close/>
                  <a:moveTo>
                    <a:pt x="850" y="3824"/>
                  </a:moveTo>
                  <a:lnTo>
                    <a:pt x="850" y="3937"/>
                  </a:lnTo>
                  <a:lnTo>
                    <a:pt x="849" y="3946"/>
                  </a:lnTo>
                  <a:lnTo>
                    <a:pt x="844" y="3952"/>
                  </a:lnTo>
                  <a:lnTo>
                    <a:pt x="837" y="3956"/>
                  </a:lnTo>
                  <a:lnTo>
                    <a:pt x="831" y="3957"/>
                  </a:lnTo>
                  <a:lnTo>
                    <a:pt x="823" y="3956"/>
                  </a:lnTo>
                  <a:lnTo>
                    <a:pt x="817" y="3952"/>
                  </a:lnTo>
                  <a:lnTo>
                    <a:pt x="812" y="3946"/>
                  </a:lnTo>
                  <a:lnTo>
                    <a:pt x="810" y="3937"/>
                  </a:lnTo>
                  <a:lnTo>
                    <a:pt x="810" y="3824"/>
                  </a:lnTo>
                  <a:lnTo>
                    <a:pt x="812" y="3817"/>
                  </a:lnTo>
                  <a:lnTo>
                    <a:pt x="817" y="3810"/>
                  </a:lnTo>
                  <a:lnTo>
                    <a:pt x="823" y="3806"/>
                  </a:lnTo>
                  <a:lnTo>
                    <a:pt x="831" y="3805"/>
                  </a:lnTo>
                  <a:lnTo>
                    <a:pt x="837" y="3806"/>
                  </a:lnTo>
                  <a:lnTo>
                    <a:pt x="844" y="3810"/>
                  </a:lnTo>
                  <a:lnTo>
                    <a:pt x="849" y="3817"/>
                  </a:lnTo>
                  <a:lnTo>
                    <a:pt x="850" y="3824"/>
                  </a:lnTo>
                  <a:close/>
                  <a:moveTo>
                    <a:pt x="1113" y="3824"/>
                  </a:moveTo>
                  <a:lnTo>
                    <a:pt x="1113" y="3937"/>
                  </a:lnTo>
                  <a:lnTo>
                    <a:pt x="1112" y="3946"/>
                  </a:lnTo>
                  <a:lnTo>
                    <a:pt x="1107" y="3952"/>
                  </a:lnTo>
                  <a:lnTo>
                    <a:pt x="1100" y="3956"/>
                  </a:lnTo>
                  <a:lnTo>
                    <a:pt x="1094" y="3957"/>
                  </a:lnTo>
                  <a:lnTo>
                    <a:pt x="1086" y="3956"/>
                  </a:lnTo>
                  <a:lnTo>
                    <a:pt x="1080" y="3952"/>
                  </a:lnTo>
                  <a:lnTo>
                    <a:pt x="1076" y="3946"/>
                  </a:lnTo>
                  <a:lnTo>
                    <a:pt x="1073" y="3937"/>
                  </a:lnTo>
                  <a:lnTo>
                    <a:pt x="1073" y="3824"/>
                  </a:lnTo>
                  <a:lnTo>
                    <a:pt x="1076" y="3817"/>
                  </a:lnTo>
                  <a:lnTo>
                    <a:pt x="1080" y="3810"/>
                  </a:lnTo>
                  <a:lnTo>
                    <a:pt x="1086" y="3806"/>
                  </a:lnTo>
                  <a:lnTo>
                    <a:pt x="1094" y="3805"/>
                  </a:lnTo>
                  <a:lnTo>
                    <a:pt x="1100" y="3806"/>
                  </a:lnTo>
                  <a:lnTo>
                    <a:pt x="1107" y="3810"/>
                  </a:lnTo>
                  <a:lnTo>
                    <a:pt x="1112" y="3817"/>
                  </a:lnTo>
                  <a:lnTo>
                    <a:pt x="1113" y="3824"/>
                  </a:lnTo>
                  <a:close/>
                  <a:moveTo>
                    <a:pt x="1377" y="3824"/>
                  </a:moveTo>
                  <a:lnTo>
                    <a:pt x="1377" y="3937"/>
                  </a:lnTo>
                  <a:lnTo>
                    <a:pt x="1375" y="3946"/>
                  </a:lnTo>
                  <a:lnTo>
                    <a:pt x="1371" y="3952"/>
                  </a:lnTo>
                  <a:lnTo>
                    <a:pt x="1364" y="3956"/>
                  </a:lnTo>
                  <a:lnTo>
                    <a:pt x="1357" y="3957"/>
                  </a:lnTo>
                  <a:lnTo>
                    <a:pt x="1349" y="3956"/>
                  </a:lnTo>
                  <a:lnTo>
                    <a:pt x="1343" y="3952"/>
                  </a:lnTo>
                  <a:lnTo>
                    <a:pt x="1339" y="3946"/>
                  </a:lnTo>
                  <a:lnTo>
                    <a:pt x="1336" y="3937"/>
                  </a:lnTo>
                  <a:lnTo>
                    <a:pt x="1336" y="3824"/>
                  </a:lnTo>
                  <a:lnTo>
                    <a:pt x="1339" y="3817"/>
                  </a:lnTo>
                  <a:lnTo>
                    <a:pt x="1343" y="3810"/>
                  </a:lnTo>
                  <a:lnTo>
                    <a:pt x="1349" y="3806"/>
                  </a:lnTo>
                  <a:lnTo>
                    <a:pt x="1357" y="3805"/>
                  </a:lnTo>
                  <a:lnTo>
                    <a:pt x="1364" y="3806"/>
                  </a:lnTo>
                  <a:lnTo>
                    <a:pt x="1371" y="3810"/>
                  </a:lnTo>
                  <a:lnTo>
                    <a:pt x="1375" y="3817"/>
                  </a:lnTo>
                  <a:lnTo>
                    <a:pt x="1377" y="3824"/>
                  </a:lnTo>
                  <a:close/>
                  <a:moveTo>
                    <a:pt x="1640" y="3824"/>
                  </a:moveTo>
                  <a:lnTo>
                    <a:pt x="1640" y="3937"/>
                  </a:lnTo>
                  <a:lnTo>
                    <a:pt x="1637" y="3946"/>
                  </a:lnTo>
                  <a:lnTo>
                    <a:pt x="1634" y="3952"/>
                  </a:lnTo>
                  <a:lnTo>
                    <a:pt x="1627" y="3956"/>
                  </a:lnTo>
                  <a:lnTo>
                    <a:pt x="1620" y="3957"/>
                  </a:lnTo>
                  <a:lnTo>
                    <a:pt x="1612" y="3956"/>
                  </a:lnTo>
                  <a:lnTo>
                    <a:pt x="1605" y="3952"/>
                  </a:lnTo>
                  <a:lnTo>
                    <a:pt x="1602" y="3946"/>
                  </a:lnTo>
                  <a:lnTo>
                    <a:pt x="1600" y="3937"/>
                  </a:lnTo>
                  <a:lnTo>
                    <a:pt x="1600" y="3824"/>
                  </a:lnTo>
                  <a:lnTo>
                    <a:pt x="1602" y="3817"/>
                  </a:lnTo>
                  <a:lnTo>
                    <a:pt x="1605" y="3810"/>
                  </a:lnTo>
                  <a:lnTo>
                    <a:pt x="1612" y="3806"/>
                  </a:lnTo>
                  <a:lnTo>
                    <a:pt x="1620" y="3805"/>
                  </a:lnTo>
                  <a:lnTo>
                    <a:pt x="1627" y="3806"/>
                  </a:lnTo>
                  <a:lnTo>
                    <a:pt x="1634" y="3810"/>
                  </a:lnTo>
                  <a:lnTo>
                    <a:pt x="1637" y="3817"/>
                  </a:lnTo>
                  <a:lnTo>
                    <a:pt x="1640" y="3824"/>
                  </a:lnTo>
                  <a:close/>
                  <a:moveTo>
                    <a:pt x="2829" y="4093"/>
                  </a:moveTo>
                  <a:lnTo>
                    <a:pt x="2829" y="4085"/>
                  </a:lnTo>
                  <a:lnTo>
                    <a:pt x="2829" y="4093"/>
                  </a:lnTo>
                  <a:close/>
                  <a:moveTo>
                    <a:pt x="0" y="915"/>
                  </a:moveTo>
                  <a:lnTo>
                    <a:pt x="492" y="915"/>
                  </a:lnTo>
                  <a:lnTo>
                    <a:pt x="500" y="917"/>
                  </a:lnTo>
                  <a:lnTo>
                    <a:pt x="507" y="922"/>
                  </a:lnTo>
                  <a:lnTo>
                    <a:pt x="512" y="928"/>
                  </a:lnTo>
                  <a:lnTo>
                    <a:pt x="513" y="936"/>
                  </a:lnTo>
                  <a:lnTo>
                    <a:pt x="513" y="1633"/>
                  </a:lnTo>
                  <a:lnTo>
                    <a:pt x="513" y="2329"/>
                  </a:lnTo>
                  <a:lnTo>
                    <a:pt x="512" y="2338"/>
                  </a:lnTo>
                  <a:lnTo>
                    <a:pt x="507" y="2345"/>
                  </a:lnTo>
                  <a:lnTo>
                    <a:pt x="500" y="2349"/>
                  </a:lnTo>
                  <a:lnTo>
                    <a:pt x="492" y="2350"/>
                  </a:lnTo>
                  <a:lnTo>
                    <a:pt x="486" y="2349"/>
                  </a:lnTo>
                  <a:lnTo>
                    <a:pt x="480" y="2345"/>
                  </a:lnTo>
                  <a:lnTo>
                    <a:pt x="474" y="2338"/>
                  </a:lnTo>
                  <a:lnTo>
                    <a:pt x="473" y="2329"/>
                  </a:lnTo>
                  <a:lnTo>
                    <a:pt x="473" y="1642"/>
                  </a:lnTo>
                  <a:lnTo>
                    <a:pt x="473" y="955"/>
                  </a:lnTo>
                  <a:lnTo>
                    <a:pt x="0" y="955"/>
                  </a:lnTo>
                  <a:lnTo>
                    <a:pt x="0" y="915"/>
                  </a:lnTo>
                  <a:close/>
                  <a:moveTo>
                    <a:pt x="190" y="1345"/>
                  </a:moveTo>
                  <a:lnTo>
                    <a:pt x="190" y="1450"/>
                  </a:lnTo>
                  <a:lnTo>
                    <a:pt x="188" y="1457"/>
                  </a:lnTo>
                  <a:lnTo>
                    <a:pt x="183" y="1464"/>
                  </a:lnTo>
                  <a:lnTo>
                    <a:pt x="177" y="1468"/>
                  </a:lnTo>
                  <a:lnTo>
                    <a:pt x="171" y="1469"/>
                  </a:lnTo>
                  <a:lnTo>
                    <a:pt x="163" y="1468"/>
                  </a:lnTo>
                  <a:lnTo>
                    <a:pt x="156" y="1464"/>
                  </a:lnTo>
                  <a:lnTo>
                    <a:pt x="151" y="1457"/>
                  </a:lnTo>
                  <a:lnTo>
                    <a:pt x="150" y="1450"/>
                  </a:lnTo>
                  <a:lnTo>
                    <a:pt x="150" y="1345"/>
                  </a:lnTo>
                  <a:lnTo>
                    <a:pt x="151" y="1337"/>
                  </a:lnTo>
                  <a:lnTo>
                    <a:pt x="156" y="1331"/>
                  </a:lnTo>
                  <a:lnTo>
                    <a:pt x="163" y="1327"/>
                  </a:lnTo>
                  <a:lnTo>
                    <a:pt x="171" y="1326"/>
                  </a:lnTo>
                  <a:lnTo>
                    <a:pt x="177" y="1327"/>
                  </a:lnTo>
                  <a:lnTo>
                    <a:pt x="183" y="1331"/>
                  </a:lnTo>
                  <a:lnTo>
                    <a:pt x="188" y="1337"/>
                  </a:lnTo>
                  <a:lnTo>
                    <a:pt x="190" y="1345"/>
                  </a:lnTo>
                  <a:close/>
                  <a:moveTo>
                    <a:pt x="190" y="1576"/>
                  </a:moveTo>
                  <a:lnTo>
                    <a:pt x="190" y="1680"/>
                  </a:lnTo>
                  <a:lnTo>
                    <a:pt x="188" y="1689"/>
                  </a:lnTo>
                  <a:lnTo>
                    <a:pt x="183" y="1695"/>
                  </a:lnTo>
                  <a:lnTo>
                    <a:pt x="177" y="1699"/>
                  </a:lnTo>
                  <a:lnTo>
                    <a:pt x="171" y="1700"/>
                  </a:lnTo>
                  <a:lnTo>
                    <a:pt x="163" y="1699"/>
                  </a:lnTo>
                  <a:lnTo>
                    <a:pt x="156" y="1695"/>
                  </a:lnTo>
                  <a:lnTo>
                    <a:pt x="151" y="1689"/>
                  </a:lnTo>
                  <a:lnTo>
                    <a:pt x="150" y="1680"/>
                  </a:lnTo>
                  <a:lnTo>
                    <a:pt x="150" y="1576"/>
                  </a:lnTo>
                  <a:lnTo>
                    <a:pt x="151" y="1567"/>
                  </a:lnTo>
                  <a:lnTo>
                    <a:pt x="156" y="1561"/>
                  </a:lnTo>
                  <a:lnTo>
                    <a:pt x="163" y="1558"/>
                  </a:lnTo>
                  <a:lnTo>
                    <a:pt x="171" y="1557"/>
                  </a:lnTo>
                  <a:lnTo>
                    <a:pt x="177" y="1558"/>
                  </a:lnTo>
                  <a:lnTo>
                    <a:pt x="183" y="1561"/>
                  </a:lnTo>
                  <a:lnTo>
                    <a:pt x="188" y="1567"/>
                  </a:lnTo>
                  <a:lnTo>
                    <a:pt x="190" y="1576"/>
                  </a:lnTo>
                  <a:close/>
                  <a:moveTo>
                    <a:pt x="190" y="1808"/>
                  </a:moveTo>
                  <a:lnTo>
                    <a:pt x="190" y="1911"/>
                  </a:lnTo>
                  <a:lnTo>
                    <a:pt x="188" y="1920"/>
                  </a:lnTo>
                  <a:lnTo>
                    <a:pt x="183" y="1927"/>
                  </a:lnTo>
                  <a:lnTo>
                    <a:pt x="177" y="1931"/>
                  </a:lnTo>
                  <a:lnTo>
                    <a:pt x="171" y="1932"/>
                  </a:lnTo>
                  <a:lnTo>
                    <a:pt x="163" y="1931"/>
                  </a:lnTo>
                  <a:lnTo>
                    <a:pt x="156" y="1927"/>
                  </a:lnTo>
                  <a:lnTo>
                    <a:pt x="151" y="1920"/>
                  </a:lnTo>
                  <a:lnTo>
                    <a:pt x="150" y="1911"/>
                  </a:lnTo>
                  <a:lnTo>
                    <a:pt x="150" y="1808"/>
                  </a:lnTo>
                  <a:lnTo>
                    <a:pt x="151" y="1799"/>
                  </a:lnTo>
                  <a:lnTo>
                    <a:pt x="156" y="1792"/>
                  </a:lnTo>
                  <a:lnTo>
                    <a:pt x="163" y="1789"/>
                  </a:lnTo>
                  <a:lnTo>
                    <a:pt x="171" y="1787"/>
                  </a:lnTo>
                  <a:lnTo>
                    <a:pt x="177" y="1789"/>
                  </a:lnTo>
                  <a:lnTo>
                    <a:pt x="183" y="1792"/>
                  </a:lnTo>
                  <a:lnTo>
                    <a:pt x="188" y="1799"/>
                  </a:lnTo>
                  <a:lnTo>
                    <a:pt x="190" y="1808"/>
                  </a:lnTo>
                  <a:close/>
                  <a:moveTo>
                    <a:pt x="190" y="2039"/>
                  </a:moveTo>
                  <a:lnTo>
                    <a:pt x="190" y="2143"/>
                  </a:lnTo>
                  <a:lnTo>
                    <a:pt x="188" y="2150"/>
                  </a:lnTo>
                  <a:lnTo>
                    <a:pt x="183" y="2157"/>
                  </a:lnTo>
                  <a:lnTo>
                    <a:pt x="177" y="2161"/>
                  </a:lnTo>
                  <a:lnTo>
                    <a:pt x="171" y="2162"/>
                  </a:lnTo>
                  <a:lnTo>
                    <a:pt x="163" y="2161"/>
                  </a:lnTo>
                  <a:lnTo>
                    <a:pt x="156" y="2157"/>
                  </a:lnTo>
                  <a:lnTo>
                    <a:pt x="151" y="2150"/>
                  </a:lnTo>
                  <a:lnTo>
                    <a:pt x="150" y="2143"/>
                  </a:lnTo>
                  <a:lnTo>
                    <a:pt x="150" y="2039"/>
                  </a:lnTo>
                  <a:lnTo>
                    <a:pt x="151" y="2030"/>
                  </a:lnTo>
                  <a:lnTo>
                    <a:pt x="156" y="2024"/>
                  </a:lnTo>
                  <a:lnTo>
                    <a:pt x="163" y="2020"/>
                  </a:lnTo>
                  <a:lnTo>
                    <a:pt x="171" y="2019"/>
                  </a:lnTo>
                  <a:lnTo>
                    <a:pt x="177" y="2020"/>
                  </a:lnTo>
                  <a:lnTo>
                    <a:pt x="183" y="2024"/>
                  </a:lnTo>
                  <a:lnTo>
                    <a:pt x="188" y="2030"/>
                  </a:lnTo>
                  <a:lnTo>
                    <a:pt x="190" y="2039"/>
                  </a:lnTo>
                  <a:close/>
                  <a:moveTo>
                    <a:pt x="190" y="2269"/>
                  </a:moveTo>
                  <a:lnTo>
                    <a:pt x="190" y="2373"/>
                  </a:lnTo>
                  <a:lnTo>
                    <a:pt x="188" y="2382"/>
                  </a:lnTo>
                  <a:lnTo>
                    <a:pt x="183" y="2388"/>
                  </a:lnTo>
                  <a:lnTo>
                    <a:pt x="177" y="2392"/>
                  </a:lnTo>
                  <a:lnTo>
                    <a:pt x="171" y="2393"/>
                  </a:lnTo>
                  <a:lnTo>
                    <a:pt x="163" y="2392"/>
                  </a:lnTo>
                  <a:lnTo>
                    <a:pt x="156" y="2388"/>
                  </a:lnTo>
                  <a:lnTo>
                    <a:pt x="151" y="2382"/>
                  </a:lnTo>
                  <a:lnTo>
                    <a:pt x="150" y="2373"/>
                  </a:lnTo>
                  <a:lnTo>
                    <a:pt x="150" y="2269"/>
                  </a:lnTo>
                  <a:lnTo>
                    <a:pt x="151" y="2260"/>
                  </a:lnTo>
                  <a:lnTo>
                    <a:pt x="156" y="2255"/>
                  </a:lnTo>
                  <a:lnTo>
                    <a:pt x="163" y="2251"/>
                  </a:lnTo>
                  <a:lnTo>
                    <a:pt x="171" y="2250"/>
                  </a:lnTo>
                  <a:lnTo>
                    <a:pt x="177" y="2251"/>
                  </a:lnTo>
                  <a:lnTo>
                    <a:pt x="183" y="2255"/>
                  </a:lnTo>
                  <a:lnTo>
                    <a:pt x="188" y="2260"/>
                  </a:lnTo>
                  <a:lnTo>
                    <a:pt x="190" y="2269"/>
                  </a:lnTo>
                  <a:close/>
                  <a:moveTo>
                    <a:pt x="190" y="2501"/>
                  </a:moveTo>
                  <a:lnTo>
                    <a:pt x="190" y="2604"/>
                  </a:lnTo>
                  <a:lnTo>
                    <a:pt x="188" y="2613"/>
                  </a:lnTo>
                  <a:lnTo>
                    <a:pt x="183" y="2620"/>
                  </a:lnTo>
                  <a:lnTo>
                    <a:pt x="177" y="2624"/>
                  </a:lnTo>
                  <a:lnTo>
                    <a:pt x="171" y="2625"/>
                  </a:lnTo>
                  <a:lnTo>
                    <a:pt x="163" y="2624"/>
                  </a:lnTo>
                  <a:lnTo>
                    <a:pt x="156" y="2620"/>
                  </a:lnTo>
                  <a:lnTo>
                    <a:pt x="151" y="2613"/>
                  </a:lnTo>
                  <a:lnTo>
                    <a:pt x="150" y="2604"/>
                  </a:lnTo>
                  <a:lnTo>
                    <a:pt x="150" y="2501"/>
                  </a:lnTo>
                  <a:lnTo>
                    <a:pt x="151" y="2492"/>
                  </a:lnTo>
                  <a:lnTo>
                    <a:pt x="156" y="2485"/>
                  </a:lnTo>
                  <a:lnTo>
                    <a:pt x="163" y="2482"/>
                  </a:lnTo>
                  <a:lnTo>
                    <a:pt x="171" y="2480"/>
                  </a:lnTo>
                  <a:lnTo>
                    <a:pt x="177" y="2482"/>
                  </a:lnTo>
                  <a:lnTo>
                    <a:pt x="183" y="2485"/>
                  </a:lnTo>
                  <a:lnTo>
                    <a:pt x="188" y="2492"/>
                  </a:lnTo>
                  <a:lnTo>
                    <a:pt x="190" y="2501"/>
                  </a:lnTo>
                  <a:close/>
                  <a:moveTo>
                    <a:pt x="190" y="2732"/>
                  </a:moveTo>
                  <a:lnTo>
                    <a:pt x="190" y="2836"/>
                  </a:lnTo>
                  <a:lnTo>
                    <a:pt x="188" y="2845"/>
                  </a:lnTo>
                  <a:lnTo>
                    <a:pt x="183" y="2850"/>
                  </a:lnTo>
                  <a:lnTo>
                    <a:pt x="177" y="2854"/>
                  </a:lnTo>
                  <a:lnTo>
                    <a:pt x="171" y="2855"/>
                  </a:lnTo>
                  <a:lnTo>
                    <a:pt x="163" y="2854"/>
                  </a:lnTo>
                  <a:lnTo>
                    <a:pt x="156" y="2850"/>
                  </a:lnTo>
                  <a:lnTo>
                    <a:pt x="151" y="2845"/>
                  </a:lnTo>
                  <a:lnTo>
                    <a:pt x="150" y="2836"/>
                  </a:lnTo>
                  <a:lnTo>
                    <a:pt x="150" y="2732"/>
                  </a:lnTo>
                  <a:lnTo>
                    <a:pt x="151" y="2723"/>
                  </a:lnTo>
                  <a:lnTo>
                    <a:pt x="156" y="2717"/>
                  </a:lnTo>
                  <a:lnTo>
                    <a:pt x="163" y="2713"/>
                  </a:lnTo>
                  <a:lnTo>
                    <a:pt x="171" y="2712"/>
                  </a:lnTo>
                  <a:lnTo>
                    <a:pt x="177" y="2713"/>
                  </a:lnTo>
                  <a:lnTo>
                    <a:pt x="183" y="2717"/>
                  </a:lnTo>
                  <a:lnTo>
                    <a:pt x="188" y="2723"/>
                  </a:lnTo>
                  <a:lnTo>
                    <a:pt x="190" y="2732"/>
                  </a:lnTo>
                  <a:close/>
                  <a:moveTo>
                    <a:pt x="190" y="2962"/>
                  </a:moveTo>
                  <a:lnTo>
                    <a:pt x="190" y="3066"/>
                  </a:lnTo>
                  <a:lnTo>
                    <a:pt x="188" y="3075"/>
                  </a:lnTo>
                  <a:lnTo>
                    <a:pt x="183" y="3081"/>
                  </a:lnTo>
                  <a:lnTo>
                    <a:pt x="177" y="3085"/>
                  </a:lnTo>
                  <a:lnTo>
                    <a:pt x="171" y="3086"/>
                  </a:lnTo>
                  <a:lnTo>
                    <a:pt x="163" y="3085"/>
                  </a:lnTo>
                  <a:lnTo>
                    <a:pt x="156" y="3081"/>
                  </a:lnTo>
                  <a:lnTo>
                    <a:pt x="151" y="3075"/>
                  </a:lnTo>
                  <a:lnTo>
                    <a:pt x="150" y="3066"/>
                  </a:lnTo>
                  <a:lnTo>
                    <a:pt x="150" y="2962"/>
                  </a:lnTo>
                  <a:lnTo>
                    <a:pt x="151" y="2953"/>
                  </a:lnTo>
                  <a:lnTo>
                    <a:pt x="156" y="2948"/>
                  </a:lnTo>
                  <a:lnTo>
                    <a:pt x="163" y="2945"/>
                  </a:lnTo>
                  <a:lnTo>
                    <a:pt x="171" y="2943"/>
                  </a:lnTo>
                  <a:lnTo>
                    <a:pt x="177" y="2945"/>
                  </a:lnTo>
                  <a:lnTo>
                    <a:pt x="183" y="2948"/>
                  </a:lnTo>
                  <a:lnTo>
                    <a:pt x="188" y="2953"/>
                  </a:lnTo>
                  <a:lnTo>
                    <a:pt x="190" y="2962"/>
                  </a:lnTo>
                  <a:close/>
                  <a:moveTo>
                    <a:pt x="2375" y="1897"/>
                  </a:moveTo>
                  <a:lnTo>
                    <a:pt x="2375" y="2001"/>
                  </a:lnTo>
                  <a:lnTo>
                    <a:pt x="2372" y="2010"/>
                  </a:lnTo>
                  <a:lnTo>
                    <a:pt x="2368" y="2016"/>
                  </a:lnTo>
                  <a:lnTo>
                    <a:pt x="2362" y="2020"/>
                  </a:lnTo>
                  <a:lnTo>
                    <a:pt x="2354" y="2021"/>
                  </a:lnTo>
                  <a:lnTo>
                    <a:pt x="2347" y="2020"/>
                  </a:lnTo>
                  <a:lnTo>
                    <a:pt x="2340" y="2016"/>
                  </a:lnTo>
                  <a:lnTo>
                    <a:pt x="2336" y="2010"/>
                  </a:lnTo>
                  <a:lnTo>
                    <a:pt x="2334" y="2001"/>
                  </a:lnTo>
                  <a:lnTo>
                    <a:pt x="2334" y="1897"/>
                  </a:lnTo>
                  <a:lnTo>
                    <a:pt x="2336" y="1888"/>
                  </a:lnTo>
                  <a:lnTo>
                    <a:pt x="2340" y="1882"/>
                  </a:lnTo>
                  <a:lnTo>
                    <a:pt x="2347" y="1878"/>
                  </a:lnTo>
                  <a:lnTo>
                    <a:pt x="2354" y="1877"/>
                  </a:lnTo>
                  <a:lnTo>
                    <a:pt x="2362" y="1878"/>
                  </a:lnTo>
                  <a:lnTo>
                    <a:pt x="2368" y="1882"/>
                  </a:lnTo>
                  <a:lnTo>
                    <a:pt x="2372" y="1888"/>
                  </a:lnTo>
                  <a:lnTo>
                    <a:pt x="2375" y="1897"/>
                  </a:lnTo>
                  <a:close/>
                  <a:moveTo>
                    <a:pt x="2589" y="1897"/>
                  </a:moveTo>
                  <a:lnTo>
                    <a:pt x="2589" y="2001"/>
                  </a:lnTo>
                  <a:lnTo>
                    <a:pt x="2588" y="2010"/>
                  </a:lnTo>
                  <a:lnTo>
                    <a:pt x="2583" y="2016"/>
                  </a:lnTo>
                  <a:lnTo>
                    <a:pt x="2576" y="2020"/>
                  </a:lnTo>
                  <a:lnTo>
                    <a:pt x="2570" y="2021"/>
                  </a:lnTo>
                  <a:lnTo>
                    <a:pt x="2562" y="2020"/>
                  </a:lnTo>
                  <a:lnTo>
                    <a:pt x="2556" y="2016"/>
                  </a:lnTo>
                  <a:lnTo>
                    <a:pt x="2550" y="2010"/>
                  </a:lnTo>
                  <a:lnTo>
                    <a:pt x="2549" y="2001"/>
                  </a:lnTo>
                  <a:lnTo>
                    <a:pt x="2549" y="1897"/>
                  </a:lnTo>
                  <a:lnTo>
                    <a:pt x="2550" y="1888"/>
                  </a:lnTo>
                  <a:lnTo>
                    <a:pt x="2556" y="1882"/>
                  </a:lnTo>
                  <a:lnTo>
                    <a:pt x="2562" y="1878"/>
                  </a:lnTo>
                  <a:lnTo>
                    <a:pt x="2570" y="1877"/>
                  </a:lnTo>
                  <a:lnTo>
                    <a:pt x="2576" y="1878"/>
                  </a:lnTo>
                  <a:lnTo>
                    <a:pt x="2583" y="1882"/>
                  </a:lnTo>
                  <a:lnTo>
                    <a:pt x="2588" y="1888"/>
                  </a:lnTo>
                  <a:lnTo>
                    <a:pt x="2589" y="1897"/>
                  </a:lnTo>
                  <a:close/>
                  <a:moveTo>
                    <a:pt x="2804" y="1897"/>
                  </a:moveTo>
                  <a:lnTo>
                    <a:pt x="2804" y="2001"/>
                  </a:lnTo>
                  <a:lnTo>
                    <a:pt x="2803" y="2010"/>
                  </a:lnTo>
                  <a:lnTo>
                    <a:pt x="2798" y="2016"/>
                  </a:lnTo>
                  <a:lnTo>
                    <a:pt x="2792" y="2020"/>
                  </a:lnTo>
                  <a:lnTo>
                    <a:pt x="2784" y="2021"/>
                  </a:lnTo>
                  <a:lnTo>
                    <a:pt x="2777" y="2020"/>
                  </a:lnTo>
                  <a:lnTo>
                    <a:pt x="2771" y="2016"/>
                  </a:lnTo>
                  <a:lnTo>
                    <a:pt x="2766" y="2010"/>
                  </a:lnTo>
                  <a:lnTo>
                    <a:pt x="2765" y="2001"/>
                  </a:lnTo>
                  <a:lnTo>
                    <a:pt x="2765" y="1897"/>
                  </a:lnTo>
                  <a:lnTo>
                    <a:pt x="2766" y="1888"/>
                  </a:lnTo>
                  <a:lnTo>
                    <a:pt x="2771" y="1882"/>
                  </a:lnTo>
                  <a:lnTo>
                    <a:pt x="2777" y="1878"/>
                  </a:lnTo>
                  <a:lnTo>
                    <a:pt x="2784" y="1877"/>
                  </a:lnTo>
                  <a:lnTo>
                    <a:pt x="2792" y="1878"/>
                  </a:lnTo>
                  <a:lnTo>
                    <a:pt x="2798" y="1882"/>
                  </a:lnTo>
                  <a:lnTo>
                    <a:pt x="2803" y="1888"/>
                  </a:lnTo>
                  <a:lnTo>
                    <a:pt x="2804" y="1897"/>
                  </a:lnTo>
                  <a:close/>
                  <a:moveTo>
                    <a:pt x="2375" y="2245"/>
                  </a:moveTo>
                  <a:lnTo>
                    <a:pt x="2375" y="2349"/>
                  </a:lnTo>
                  <a:lnTo>
                    <a:pt x="2372" y="2358"/>
                  </a:lnTo>
                  <a:lnTo>
                    <a:pt x="2368" y="2364"/>
                  </a:lnTo>
                  <a:lnTo>
                    <a:pt x="2362" y="2368"/>
                  </a:lnTo>
                  <a:lnTo>
                    <a:pt x="2354" y="2369"/>
                  </a:lnTo>
                  <a:lnTo>
                    <a:pt x="2347" y="2368"/>
                  </a:lnTo>
                  <a:lnTo>
                    <a:pt x="2340" y="2364"/>
                  </a:lnTo>
                  <a:lnTo>
                    <a:pt x="2336" y="2358"/>
                  </a:lnTo>
                  <a:lnTo>
                    <a:pt x="2334" y="2349"/>
                  </a:lnTo>
                  <a:lnTo>
                    <a:pt x="2334" y="2245"/>
                  </a:lnTo>
                  <a:lnTo>
                    <a:pt x="2336" y="2236"/>
                  </a:lnTo>
                  <a:lnTo>
                    <a:pt x="2340" y="2230"/>
                  </a:lnTo>
                  <a:lnTo>
                    <a:pt x="2347" y="2226"/>
                  </a:lnTo>
                  <a:lnTo>
                    <a:pt x="2354" y="2225"/>
                  </a:lnTo>
                  <a:lnTo>
                    <a:pt x="2362" y="2226"/>
                  </a:lnTo>
                  <a:lnTo>
                    <a:pt x="2368" y="2230"/>
                  </a:lnTo>
                  <a:lnTo>
                    <a:pt x="2372" y="2236"/>
                  </a:lnTo>
                  <a:lnTo>
                    <a:pt x="2375" y="2245"/>
                  </a:lnTo>
                  <a:close/>
                  <a:moveTo>
                    <a:pt x="2589" y="2245"/>
                  </a:moveTo>
                  <a:lnTo>
                    <a:pt x="2589" y="2349"/>
                  </a:lnTo>
                  <a:lnTo>
                    <a:pt x="2588" y="2358"/>
                  </a:lnTo>
                  <a:lnTo>
                    <a:pt x="2583" y="2364"/>
                  </a:lnTo>
                  <a:lnTo>
                    <a:pt x="2576" y="2368"/>
                  </a:lnTo>
                  <a:lnTo>
                    <a:pt x="2570" y="2369"/>
                  </a:lnTo>
                  <a:lnTo>
                    <a:pt x="2562" y="2368"/>
                  </a:lnTo>
                  <a:lnTo>
                    <a:pt x="2556" y="2364"/>
                  </a:lnTo>
                  <a:lnTo>
                    <a:pt x="2550" y="2358"/>
                  </a:lnTo>
                  <a:lnTo>
                    <a:pt x="2549" y="2349"/>
                  </a:lnTo>
                  <a:lnTo>
                    <a:pt x="2549" y="2245"/>
                  </a:lnTo>
                  <a:lnTo>
                    <a:pt x="2550" y="2236"/>
                  </a:lnTo>
                  <a:lnTo>
                    <a:pt x="2556" y="2230"/>
                  </a:lnTo>
                  <a:lnTo>
                    <a:pt x="2562" y="2226"/>
                  </a:lnTo>
                  <a:lnTo>
                    <a:pt x="2570" y="2225"/>
                  </a:lnTo>
                  <a:lnTo>
                    <a:pt x="2576" y="2226"/>
                  </a:lnTo>
                  <a:lnTo>
                    <a:pt x="2583" y="2230"/>
                  </a:lnTo>
                  <a:lnTo>
                    <a:pt x="2588" y="2236"/>
                  </a:lnTo>
                  <a:lnTo>
                    <a:pt x="2589" y="2245"/>
                  </a:lnTo>
                  <a:close/>
                  <a:moveTo>
                    <a:pt x="2804" y="2245"/>
                  </a:moveTo>
                  <a:lnTo>
                    <a:pt x="2804" y="2349"/>
                  </a:lnTo>
                  <a:lnTo>
                    <a:pt x="2803" y="2358"/>
                  </a:lnTo>
                  <a:lnTo>
                    <a:pt x="2798" y="2364"/>
                  </a:lnTo>
                  <a:lnTo>
                    <a:pt x="2792" y="2368"/>
                  </a:lnTo>
                  <a:lnTo>
                    <a:pt x="2784" y="2369"/>
                  </a:lnTo>
                  <a:lnTo>
                    <a:pt x="2777" y="2368"/>
                  </a:lnTo>
                  <a:lnTo>
                    <a:pt x="2771" y="2364"/>
                  </a:lnTo>
                  <a:lnTo>
                    <a:pt x="2766" y="2358"/>
                  </a:lnTo>
                  <a:lnTo>
                    <a:pt x="2765" y="2349"/>
                  </a:lnTo>
                  <a:lnTo>
                    <a:pt x="2765" y="2245"/>
                  </a:lnTo>
                  <a:lnTo>
                    <a:pt x="2766" y="2236"/>
                  </a:lnTo>
                  <a:lnTo>
                    <a:pt x="2771" y="2230"/>
                  </a:lnTo>
                  <a:lnTo>
                    <a:pt x="2777" y="2226"/>
                  </a:lnTo>
                  <a:lnTo>
                    <a:pt x="2784" y="2225"/>
                  </a:lnTo>
                  <a:lnTo>
                    <a:pt x="2792" y="2226"/>
                  </a:lnTo>
                  <a:lnTo>
                    <a:pt x="2798" y="2230"/>
                  </a:lnTo>
                  <a:lnTo>
                    <a:pt x="2803" y="2236"/>
                  </a:lnTo>
                  <a:lnTo>
                    <a:pt x="2804" y="2245"/>
                  </a:lnTo>
                  <a:close/>
                  <a:moveTo>
                    <a:pt x="2375" y="2593"/>
                  </a:moveTo>
                  <a:lnTo>
                    <a:pt x="2375" y="2696"/>
                  </a:lnTo>
                  <a:lnTo>
                    <a:pt x="2372" y="2705"/>
                  </a:lnTo>
                  <a:lnTo>
                    <a:pt x="2368" y="2712"/>
                  </a:lnTo>
                  <a:lnTo>
                    <a:pt x="2362" y="2716"/>
                  </a:lnTo>
                  <a:lnTo>
                    <a:pt x="2354" y="2717"/>
                  </a:lnTo>
                  <a:lnTo>
                    <a:pt x="2347" y="2716"/>
                  </a:lnTo>
                  <a:lnTo>
                    <a:pt x="2340" y="2712"/>
                  </a:lnTo>
                  <a:lnTo>
                    <a:pt x="2336" y="2705"/>
                  </a:lnTo>
                  <a:lnTo>
                    <a:pt x="2334" y="2696"/>
                  </a:lnTo>
                  <a:lnTo>
                    <a:pt x="2334" y="2593"/>
                  </a:lnTo>
                  <a:lnTo>
                    <a:pt x="2336" y="2584"/>
                  </a:lnTo>
                  <a:lnTo>
                    <a:pt x="2340" y="2578"/>
                  </a:lnTo>
                  <a:lnTo>
                    <a:pt x="2347" y="2574"/>
                  </a:lnTo>
                  <a:lnTo>
                    <a:pt x="2354" y="2572"/>
                  </a:lnTo>
                  <a:lnTo>
                    <a:pt x="2362" y="2574"/>
                  </a:lnTo>
                  <a:lnTo>
                    <a:pt x="2368" y="2578"/>
                  </a:lnTo>
                  <a:lnTo>
                    <a:pt x="2372" y="2584"/>
                  </a:lnTo>
                  <a:lnTo>
                    <a:pt x="2375" y="2593"/>
                  </a:lnTo>
                  <a:close/>
                  <a:moveTo>
                    <a:pt x="2589" y="2593"/>
                  </a:moveTo>
                  <a:lnTo>
                    <a:pt x="2589" y="2696"/>
                  </a:lnTo>
                  <a:lnTo>
                    <a:pt x="2588" y="2705"/>
                  </a:lnTo>
                  <a:lnTo>
                    <a:pt x="2583" y="2712"/>
                  </a:lnTo>
                  <a:lnTo>
                    <a:pt x="2576" y="2716"/>
                  </a:lnTo>
                  <a:lnTo>
                    <a:pt x="2570" y="2717"/>
                  </a:lnTo>
                  <a:lnTo>
                    <a:pt x="2562" y="2716"/>
                  </a:lnTo>
                  <a:lnTo>
                    <a:pt x="2556" y="2712"/>
                  </a:lnTo>
                  <a:lnTo>
                    <a:pt x="2550" y="2705"/>
                  </a:lnTo>
                  <a:lnTo>
                    <a:pt x="2549" y="2696"/>
                  </a:lnTo>
                  <a:lnTo>
                    <a:pt x="2549" y="2593"/>
                  </a:lnTo>
                  <a:lnTo>
                    <a:pt x="2550" y="2584"/>
                  </a:lnTo>
                  <a:lnTo>
                    <a:pt x="2556" y="2578"/>
                  </a:lnTo>
                  <a:lnTo>
                    <a:pt x="2562" y="2574"/>
                  </a:lnTo>
                  <a:lnTo>
                    <a:pt x="2570" y="2572"/>
                  </a:lnTo>
                  <a:lnTo>
                    <a:pt x="2576" y="2574"/>
                  </a:lnTo>
                  <a:lnTo>
                    <a:pt x="2583" y="2578"/>
                  </a:lnTo>
                  <a:lnTo>
                    <a:pt x="2588" y="2584"/>
                  </a:lnTo>
                  <a:lnTo>
                    <a:pt x="2589" y="2593"/>
                  </a:lnTo>
                  <a:close/>
                  <a:moveTo>
                    <a:pt x="2804" y="2593"/>
                  </a:moveTo>
                  <a:lnTo>
                    <a:pt x="2804" y="2696"/>
                  </a:lnTo>
                  <a:lnTo>
                    <a:pt x="2803" y="2705"/>
                  </a:lnTo>
                  <a:lnTo>
                    <a:pt x="2798" y="2712"/>
                  </a:lnTo>
                  <a:lnTo>
                    <a:pt x="2792" y="2716"/>
                  </a:lnTo>
                  <a:lnTo>
                    <a:pt x="2784" y="2717"/>
                  </a:lnTo>
                  <a:lnTo>
                    <a:pt x="2777" y="2716"/>
                  </a:lnTo>
                  <a:lnTo>
                    <a:pt x="2771" y="2712"/>
                  </a:lnTo>
                  <a:lnTo>
                    <a:pt x="2766" y="2705"/>
                  </a:lnTo>
                  <a:lnTo>
                    <a:pt x="2765" y="2696"/>
                  </a:lnTo>
                  <a:lnTo>
                    <a:pt x="2765" y="2593"/>
                  </a:lnTo>
                  <a:lnTo>
                    <a:pt x="2766" y="2584"/>
                  </a:lnTo>
                  <a:lnTo>
                    <a:pt x="2771" y="2578"/>
                  </a:lnTo>
                  <a:lnTo>
                    <a:pt x="2777" y="2574"/>
                  </a:lnTo>
                  <a:lnTo>
                    <a:pt x="2784" y="2572"/>
                  </a:lnTo>
                  <a:lnTo>
                    <a:pt x="2792" y="2574"/>
                  </a:lnTo>
                  <a:lnTo>
                    <a:pt x="2798" y="2578"/>
                  </a:lnTo>
                  <a:lnTo>
                    <a:pt x="2803" y="2584"/>
                  </a:lnTo>
                  <a:lnTo>
                    <a:pt x="2804" y="2593"/>
                  </a:lnTo>
                  <a:close/>
                  <a:moveTo>
                    <a:pt x="2375" y="2941"/>
                  </a:moveTo>
                  <a:lnTo>
                    <a:pt x="2375" y="3044"/>
                  </a:lnTo>
                  <a:lnTo>
                    <a:pt x="2372" y="3053"/>
                  </a:lnTo>
                  <a:lnTo>
                    <a:pt x="2368" y="3060"/>
                  </a:lnTo>
                  <a:lnTo>
                    <a:pt x="2362" y="3063"/>
                  </a:lnTo>
                  <a:lnTo>
                    <a:pt x="2354" y="3065"/>
                  </a:lnTo>
                  <a:lnTo>
                    <a:pt x="2347" y="3063"/>
                  </a:lnTo>
                  <a:lnTo>
                    <a:pt x="2340" y="3060"/>
                  </a:lnTo>
                  <a:lnTo>
                    <a:pt x="2336" y="3053"/>
                  </a:lnTo>
                  <a:lnTo>
                    <a:pt x="2334" y="3044"/>
                  </a:lnTo>
                  <a:lnTo>
                    <a:pt x="2334" y="2941"/>
                  </a:lnTo>
                  <a:lnTo>
                    <a:pt x="2336" y="2932"/>
                  </a:lnTo>
                  <a:lnTo>
                    <a:pt x="2340" y="2925"/>
                  </a:lnTo>
                  <a:lnTo>
                    <a:pt x="2347" y="2922"/>
                  </a:lnTo>
                  <a:lnTo>
                    <a:pt x="2354" y="2920"/>
                  </a:lnTo>
                  <a:lnTo>
                    <a:pt x="2362" y="2922"/>
                  </a:lnTo>
                  <a:lnTo>
                    <a:pt x="2368" y="2925"/>
                  </a:lnTo>
                  <a:lnTo>
                    <a:pt x="2372" y="2932"/>
                  </a:lnTo>
                  <a:lnTo>
                    <a:pt x="2375" y="2941"/>
                  </a:lnTo>
                  <a:close/>
                  <a:moveTo>
                    <a:pt x="2589" y="2941"/>
                  </a:moveTo>
                  <a:lnTo>
                    <a:pt x="2589" y="3044"/>
                  </a:lnTo>
                  <a:lnTo>
                    <a:pt x="2588" y="3053"/>
                  </a:lnTo>
                  <a:lnTo>
                    <a:pt x="2583" y="3060"/>
                  </a:lnTo>
                  <a:lnTo>
                    <a:pt x="2576" y="3063"/>
                  </a:lnTo>
                  <a:lnTo>
                    <a:pt x="2570" y="3065"/>
                  </a:lnTo>
                  <a:lnTo>
                    <a:pt x="2562" y="3063"/>
                  </a:lnTo>
                  <a:lnTo>
                    <a:pt x="2556" y="3060"/>
                  </a:lnTo>
                  <a:lnTo>
                    <a:pt x="2550" y="3053"/>
                  </a:lnTo>
                  <a:lnTo>
                    <a:pt x="2549" y="3044"/>
                  </a:lnTo>
                  <a:lnTo>
                    <a:pt x="2549" y="2941"/>
                  </a:lnTo>
                  <a:lnTo>
                    <a:pt x="2550" y="2932"/>
                  </a:lnTo>
                  <a:lnTo>
                    <a:pt x="2556" y="2925"/>
                  </a:lnTo>
                  <a:lnTo>
                    <a:pt x="2562" y="2922"/>
                  </a:lnTo>
                  <a:lnTo>
                    <a:pt x="2570" y="2920"/>
                  </a:lnTo>
                  <a:lnTo>
                    <a:pt x="2576" y="2922"/>
                  </a:lnTo>
                  <a:lnTo>
                    <a:pt x="2583" y="2925"/>
                  </a:lnTo>
                  <a:lnTo>
                    <a:pt x="2588" y="2932"/>
                  </a:lnTo>
                  <a:lnTo>
                    <a:pt x="2589" y="2941"/>
                  </a:lnTo>
                  <a:close/>
                  <a:moveTo>
                    <a:pt x="2804" y="2941"/>
                  </a:moveTo>
                  <a:lnTo>
                    <a:pt x="2804" y="3044"/>
                  </a:lnTo>
                  <a:lnTo>
                    <a:pt x="2803" y="3053"/>
                  </a:lnTo>
                  <a:lnTo>
                    <a:pt x="2798" y="3060"/>
                  </a:lnTo>
                  <a:lnTo>
                    <a:pt x="2792" y="3063"/>
                  </a:lnTo>
                  <a:lnTo>
                    <a:pt x="2784" y="3065"/>
                  </a:lnTo>
                  <a:lnTo>
                    <a:pt x="2777" y="3063"/>
                  </a:lnTo>
                  <a:lnTo>
                    <a:pt x="2771" y="3060"/>
                  </a:lnTo>
                  <a:lnTo>
                    <a:pt x="2766" y="3053"/>
                  </a:lnTo>
                  <a:lnTo>
                    <a:pt x="2765" y="3044"/>
                  </a:lnTo>
                  <a:lnTo>
                    <a:pt x="2765" y="2941"/>
                  </a:lnTo>
                  <a:lnTo>
                    <a:pt x="2766" y="2932"/>
                  </a:lnTo>
                  <a:lnTo>
                    <a:pt x="2771" y="2925"/>
                  </a:lnTo>
                  <a:lnTo>
                    <a:pt x="2777" y="2922"/>
                  </a:lnTo>
                  <a:lnTo>
                    <a:pt x="2784" y="2920"/>
                  </a:lnTo>
                  <a:lnTo>
                    <a:pt x="2792" y="2922"/>
                  </a:lnTo>
                  <a:lnTo>
                    <a:pt x="2798" y="2925"/>
                  </a:lnTo>
                  <a:lnTo>
                    <a:pt x="2803" y="2932"/>
                  </a:lnTo>
                  <a:lnTo>
                    <a:pt x="2804" y="2941"/>
                  </a:lnTo>
                  <a:close/>
                  <a:moveTo>
                    <a:pt x="6888" y="1521"/>
                  </a:moveTo>
                  <a:lnTo>
                    <a:pt x="6778" y="1521"/>
                  </a:lnTo>
                  <a:lnTo>
                    <a:pt x="6778" y="1631"/>
                  </a:lnTo>
                  <a:lnTo>
                    <a:pt x="6888" y="1631"/>
                  </a:lnTo>
                  <a:lnTo>
                    <a:pt x="6888" y="1521"/>
                  </a:lnTo>
                  <a:close/>
                  <a:moveTo>
                    <a:pt x="7276" y="2772"/>
                  </a:moveTo>
                  <a:lnTo>
                    <a:pt x="7276" y="2585"/>
                  </a:lnTo>
                  <a:lnTo>
                    <a:pt x="7276" y="2277"/>
                  </a:lnTo>
                  <a:lnTo>
                    <a:pt x="7277" y="2271"/>
                  </a:lnTo>
                  <a:lnTo>
                    <a:pt x="7277" y="1671"/>
                  </a:lnTo>
                  <a:lnTo>
                    <a:pt x="6909" y="1671"/>
                  </a:lnTo>
                  <a:lnTo>
                    <a:pt x="6758" y="1671"/>
                  </a:lnTo>
                  <a:lnTo>
                    <a:pt x="6469" y="1671"/>
                  </a:lnTo>
                  <a:lnTo>
                    <a:pt x="6460" y="1670"/>
                  </a:lnTo>
                  <a:lnTo>
                    <a:pt x="6454" y="1665"/>
                  </a:lnTo>
                  <a:lnTo>
                    <a:pt x="6450" y="1658"/>
                  </a:lnTo>
                  <a:lnTo>
                    <a:pt x="6449" y="1652"/>
                  </a:lnTo>
                  <a:lnTo>
                    <a:pt x="6450" y="1644"/>
                  </a:lnTo>
                  <a:lnTo>
                    <a:pt x="6454" y="1638"/>
                  </a:lnTo>
                  <a:lnTo>
                    <a:pt x="6460" y="1633"/>
                  </a:lnTo>
                  <a:lnTo>
                    <a:pt x="6469" y="1631"/>
                  </a:lnTo>
                  <a:lnTo>
                    <a:pt x="6574" y="1631"/>
                  </a:lnTo>
                  <a:lnTo>
                    <a:pt x="6574" y="1488"/>
                  </a:lnTo>
                  <a:lnTo>
                    <a:pt x="6172" y="1488"/>
                  </a:lnTo>
                  <a:lnTo>
                    <a:pt x="6172" y="1631"/>
                  </a:lnTo>
                  <a:lnTo>
                    <a:pt x="6204" y="1631"/>
                  </a:lnTo>
                  <a:lnTo>
                    <a:pt x="6213" y="1633"/>
                  </a:lnTo>
                  <a:lnTo>
                    <a:pt x="6219" y="1638"/>
                  </a:lnTo>
                  <a:lnTo>
                    <a:pt x="6223" y="1644"/>
                  </a:lnTo>
                  <a:lnTo>
                    <a:pt x="6224" y="1652"/>
                  </a:lnTo>
                  <a:lnTo>
                    <a:pt x="6223" y="1658"/>
                  </a:lnTo>
                  <a:lnTo>
                    <a:pt x="6219" y="1665"/>
                  </a:lnTo>
                  <a:lnTo>
                    <a:pt x="6213" y="1670"/>
                  </a:lnTo>
                  <a:lnTo>
                    <a:pt x="6204" y="1671"/>
                  </a:lnTo>
                  <a:lnTo>
                    <a:pt x="6037" y="1671"/>
                  </a:lnTo>
                  <a:lnTo>
                    <a:pt x="6037" y="2332"/>
                  </a:lnTo>
                  <a:lnTo>
                    <a:pt x="6037" y="2993"/>
                  </a:lnTo>
                  <a:lnTo>
                    <a:pt x="6037" y="3654"/>
                  </a:lnTo>
                  <a:lnTo>
                    <a:pt x="6037" y="4317"/>
                  </a:lnTo>
                  <a:lnTo>
                    <a:pt x="6656" y="4317"/>
                  </a:lnTo>
                  <a:lnTo>
                    <a:pt x="7276" y="4317"/>
                  </a:lnTo>
                  <a:lnTo>
                    <a:pt x="7276" y="3544"/>
                  </a:lnTo>
                  <a:lnTo>
                    <a:pt x="7276" y="2772"/>
                  </a:lnTo>
                  <a:close/>
                  <a:moveTo>
                    <a:pt x="9050" y="2792"/>
                  </a:moveTo>
                  <a:lnTo>
                    <a:pt x="8182" y="2792"/>
                  </a:lnTo>
                  <a:lnTo>
                    <a:pt x="7315" y="2792"/>
                  </a:lnTo>
                  <a:lnTo>
                    <a:pt x="7315" y="3554"/>
                  </a:lnTo>
                  <a:lnTo>
                    <a:pt x="7315" y="4317"/>
                  </a:lnTo>
                  <a:lnTo>
                    <a:pt x="8182" y="4317"/>
                  </a:lnTo>
                  <a:lnTo>
                    <a:pt x="9050" y="4317"/>
                  </a:lnTo>
                  <a:lnTo>
                    <a:pt x="9050" y="3554"/>
                  </a:lnTo>
                  <a:lnTo>
                    <a:pt x="9050" y="2792"/>
                  </a:lnTo>
                  <a:close/>
                  <a:moveTo>
                    <a:pt x="8412" y="2258"/>
                  </a:moveTo>
                  <a:lnTo>
                    <a:pt x="8412" y="2135"/>
                  </a:lnTo>
                  <a:lnTo>
                    <a:pt x="8413" y="2127"/>
                  </a:lnTo>
                  <a:lnTo>
                    <a:pt x="8418" y="2121"/>
                  </a:lnTo>
                  <a:lnTo>
                    <a:pt x="8425" y="2117"/>
                  </a:lnTo>
                  <a:lnTo>
                    <a:pt x="8432" y="2116"/>
                  </a:lnTo>
                  <a:lnTo>
                    <a:pt x="8677" y="2116"/>
                  </a:lnTo>
                  <a:lnTo>
                    <a:pt x="8685" y="2117"/>
                  </a:lnTo>
                  <a:lnTo>
                    <a:pt x="8691" y="2121"/>
                  </a:lnTo>
                  <a:lnTo>
                    <a:pt x="8695" y="2127"/>
                  </a:lnTo>
                  <a:lnTo>
                    <a:pt x="8698" y="2135"/>
                  </a:lnTo>
                  <a:lnTo>
                    <a:pt x="8698" y="2258"/>
                  </a:lnTo>
                  <a:lnTo>
                    <a:pt x="8853" y="2258"/>
                  </a:lnTo>
                  <a:lnTo>
                    <a:pt x="8868" y="2266"/>
                  </a:lnTo>
                  <a:lnTo>
                    <a:pt x="9089" y="2565"/>
                  </a:lnTo>
                  <a:lnTo>
                    <a:pt x="9100" y="2565"/>
                  </a:lnTo>
                  <a:lnTo>
                    <a:pt x="9108" y="2566"/>
                  </a:lnTo>
                  <a:lnTo>
                    <a:pt x="9114" y="2571"/>
                  </a:lnTo>
                  <a:lnTo>
                    <a:pt x="9120" y="2578"/>
                  </a:lnTo>
                  <a:lnTo>
                    <a:pt x="9121" y="2585"/>
                  </a:lnTo>
                  <a:lnTo>
                    <a:pt x="9121" y="2772"/>
                  </a:lnTo>
                  <a:lnTo>
                    <a:pt x="9120" y="2780"/>
                  </a:lnTo>
                  <a:lnTo>
                    <a:pt x="9114" y="2786"/>
                  </a:lnTo>
                  <a:lnTo>
                    <a:pt x="9108" y="2791"/>
                  </a:lnTo>
                  <a:lnTo>
                    <a:pt x="9100" y="2792"/>
                  </a:lnTo>
                  <a:lnTo>
                    <a:pt x="9090" y="2792"/>
                  </a:lnTo>
                  <a:lnTo>
                    <a:pt x="9090" y="3563"/>
                  </a:lnTo>
                  <a:lnTo>
                    <a:pt x="9090" y="4336"/>
                  </a:lnTo>
                  <a:lnTo>
                    <a:pt x="9089" y="4343"/>
                  </a:lnTo>
                  <a:lnTo>
                    <a:pt x="9084" y="4350"/>
                  </a:lnTo>
                  <a:lnTo>
                    <a:pt x="9077" y="4355"/>
                  </a:lnTo>
                  <a:lnTo>
                    <a:pt x="9070" y="4356"/>
                  </a:lnTo>
                  <a:lnTo>
                    <a:pt x="8184" y="4356"/>
                  </a:lnTo>
                  <a:lnTo>
                    <a:pt x="7297" y="4356"/>
                  </a:lnTo>
                  <a:lnTo>
                    <a:pt x="7295" y="4356"/>
                  </a:lnTo>
                  <a:lnTo>
                    <a:pt x="6656" y="4356"/>
                  </a:lnTo>
                  <a:lnTo>
                    <a:pt x="6018" y="4356"/>
                  </a:lnTo>
                  <a:lnTo>
                    <a:pt x="6010" y="4355"/>
                  </a:lnTo>
                  <a:lnTo>
                    <a:pt x="6004" y="4350"/>
                  </a:lnTo>
                  <a:lnTo>
                    <a:pt x="5999" y="4343"/>
                  </a:lnTo>
                  <a:lnTo>
                    <a:pt x="5997" y="4336"/>
                  </a:lnTo>
                  <a:lnTo>
                    <a:pt x="5997" y="3664"/>
                  </a:lnTo>
                  <a:lnTo>
                    <a:pt x="5997" y="2993"/>
                  </a:lnTo>
                  <a:lnTo>
                    <a:pt x="5997" y="2322"/>
                  </a:lnTo>
                  <a:lnTo>
                    <a:pt x="5997" y="1652"/>
                  </a:lnTo>
                  <a:lnTo>
                    <a:pt x="5999" y="1644"/>
                  </a:lnTo>
                  <a:lnTo>
                    <a:pt x="6004" y="1638"/>
                  </a:lnTo>
                  <a:lnTo>
                    <a:pt x="6010" y="1633"/>
                  </a:lnTo>
                  <a:lnTo>
                    <a:pt x="6018" y="1631"/>
                  </a:lnTo>
                  <a:lnTo>
                    <a:pt x="6132" y="1631"/>
                  </a:lnTo>
                  <a:lnTo>
                    <a:pt x="6132" y="1469"/>
                  </a:lnTo>
                  <a:lnTo>
                    <a:pt x="6133" y="1461"/>
                  </a:lnTo>
                  <a:lnTo>
                    <a:pt x="6138" y="1455"/>
                  </a:lnTo>
                  <a:lnTo>
                    <a:pt x="6145" y="1451"/>
                  </a:lnTo>
                  <a:lnTo>
                    <a:pt x="6152" y="1448"/>
                  </a:lnTo>
                  <a:lnTo>
                    <a:pt x="6595" y="1448"/>
                  </a:lnTo>
                  <a:lnTo>
                    <a:pt x="6602" y="1451"/>
                  </a:lnTo>
                  <a:lnTo>
                    <a:pt x="6609" y="1455"/>
                  </a:lnTo>
                  <a:lnTo>
                    <a:pt x="6613" y="1461"/>
                  </a:lnTo>
                  <a:lnTo>
                    <a:pt x="6614" y="1469"/>
                  </a:lnTo>
                  <a:lnTo>
                    <a:pt x="6614" y="1631"/>
                  </a:lnTo>
                  <a:lnTo>
                    <a:pt x="6738" y="1631"/>
                  </a:lnTo>
                  <a:lnTo>
                    <a:pt x="6738" y="1501"/>
                  </a:lnTo>
                  <a:lnTo>
                    <a:pt x="6740" y="1493"/>
                  </a:lnTo>
                  <a:lnTo>
                    <a:pt x="6744" y="1487"/>
                  </a:lnTo>
                  <a:lnTo>
                    <a:pt x="6750" y="1483"/>
                  </a:lnTo>
                  <a:lnTo>
                    <a:pt x="6758" y="1480"/>
                  </a:lnTo>
                  <a:lnTo>
                    <a:pt x="6909" y="1480"/>
                  </a:lnTo>
                  <a:lnTo>
                    <a:pt x="6917" y="1483"/>
                  </a:lnTo>
                  <a:lnTo>
                    <a:pt x="6923" y="1487"/>
                  </a:lnTo>
                  <a:lnTo>
                    <a:pt x="6927" y="1493"/>
                  </a:lnTo>
                  <a:lnTo>
                    <a:pt x="6928" y="1501"/>
                  </a:lnTo>
                  <a:lnTo>
                    <a:pt x="6928" y="1631"/>
                  </a:lnTo>
                  <a:lnTo>
                    <a:pt x="7297" y="1631"/>
                  </a:lnTo>
                  <a:lnTo>
                    <a:pt x="7305" y="1633"/>
                  </a:lnTo>
                  <a:lnTo>
                    <a:pt x="7312" y="1638"/>
                  </a:lnTo>
                  <a:lnTo>
                    <a:pt x="7315" y="1644"/>
                  </a:lnTo>
                  <a:lnTo>
                    <a:pt x="7317" y="1652"/>
                  </a:lnTo>
                  <a:lnTo>
                    <a:pt x="7317" y="2258"/>
                  </a:lnTo>
                  <a:lnTo>
                    <a:pt x="7864" y="2258"/>
                  </a:lnTo>
                  <a:lnTo>
                    <a:pt x="8412" y="2258"/>
                  </a:lnTo>
                  <a:close/>
                  <a:moveTo>
                    <a:pt x="8657" y="2258"/>
                  </a:moveTo>
                  <a:lnTo>
                    <a:pt x="8657" y="2156"/>
                  </a:lnTo>
                  <a:lnTo>
                    <a:pt x="8452" y="2156"/>
                  </a:lnTo>
                  <a:lnTo>
                    <a:pt x="8452" y="2258"/>
                  </a:lnTo>
                  <a:lnTo>
                    <a:pt x="8482" y="2258"/>
                  </a:lnTo>
                  <a:lnTo>
                    <a:pt x="8491" y="2259"/>
                  </a:lnTo>
                  <a:lnTo>
                    <a:pt x="8496" y="2264"/>
                  </a:lnTo>
                  <a:lnTo>
                    <a:pt x="8500" y="2271"/>
                  </a:lnTo>
                  <a:lnTo>
                    <a:pt x="8502" y="2277"/>
                  </a:lnTo>
                  <a:lnTo>
                    <a:pt x="8500" y="2285"/>
                  </a:lnTo>
                  <a:lnTo>
                    <a:pt x="8496" y="2291"/>
                  </a:lnTo>
                  <a:lnTo>
                    <a:pt x="8491" y="2296"/>
                  </a:lnTo>
                  <a:lnTo>
                    <a:pt x="8482" y="2298"/>
                  </a:lnTo>
                  <a:lnTo>
                    <a:pt x="7899" y="2298"/>
                  </a:lnTo>
                  <a:lnTo>
                    <a:pt x="7315" y="2298"/>
                  </a:lnTo>
                  <a:lnTo>
                    <a:pt x="7315" y="2565"/>
                  </a:lnTo>
                  <a:lnTo>
                    <a:pt x="8177" y="2565"/>
                  </a:lnTo>
                  <a:lnTo>
                    <a:pt x="9039" y="2565"/>
                  </a:lnTo>
                  <a:lnTo>
                    <a:pt x="8843" y="2298"/>
                  </a:lnTo>
                  <a:lnTo>
                    <a:pt x="8637" y="2298"/>
                  </a:lnTo>
                  <a:lnTo>
                    <a:pt x="8630" y="2296"/>
                  </a:lnTo>
                  <a:lnTo>
                    <a:pt x="8623" y="2291"/>
                  </a:lnTo>
                  <a:lnTo>
                    <a:pt x="8619" y="2285"/>
                  </a:lnTo>
                  <a:lnTo>
                    <a:pt x="8618" y="2277"/>
                  </a:lnTo>
                  <a:lnTo>
                    <a:pt x="8619" y="2271"/>
                  </a:lnTo>
                  <a:lnTo>
                    <a:pt x="8623" y="2264"/>
                  </a:lnTo>
                  <a:lnTo>
                    <a:pt x="8630" y="2259"/>
                  </a:lnTo>
                  <a:lnTo>
                    <a:pt x="8637" y="2258"/>
                  </a:lnTo>
                  <a:lnTo>
                    <a:pt x="8657" y="2258"/>
                  </a:lnTo>
                  <a:close/>
                  <a:moveTo>
                    <a:pt x="9075" y="2604"/>
                  </a:moveTo>
                  <a:lnTo>
                    <a:pt x="8195" y="2604"/>
                  </a:lnTo>
                  <a:lnTo>
                    <a:pt x="7315" y="2604"/>
                  </a:lnTo>
                  <a:lnTo>
                    <a:pt x="7315" y="2753"/>
                  </a:lnTo>
                  <a:lnTo>
                    <a:pt x="8192" y="2753"/>
                  </a:lnTo>
                  <a:lnTo>
                    <a:pt x="9070" y="2753"/>
                  </a:lnTo>
                  <a:lnTo>
                    <a:pt x="9081" y="2753"/>
                  </a:lnTo>
                  <a:lnTo>
                    <a:pt x="9081" y="2604"/>
                  </a:lnTo>
                  <a:lnTo>
                    <a:pt x="9075" y="2604"/>
                  </a:lnTo>
                  <a:close/>
                  <a:moveTo>
                    <a:pt x="6236" y="1893"/>
                  </a:moveTo>
                  <a:lnTo>
                    <a:pt x="6369" y="1893"/>
                  </a:lnTo>
                  <a:lnTo>
                    <a:pt x="6378" y="1895"/>
                  </a:lnTo>
                  <a:lnTo>
                    <a:pt x="6384" y="1900"/>
                  </a:lnTo>
                  <a:lnTo>
                    <a:pt x="6387" y="1906"/>
                  </a:lnTo>
                  <a:lnTo>
                    <a:pt x="6388" y="1913"/>
                  </a:lnTo>
                  <a:lnTo>
                    <a:pt x="6387" y="1920"/>
                  </a:lnTo>
                  <a:lnTo>
                    <a:pt x="6384" y="1927"/>
                  </a:lnTo>
                  <a:lnTo>
                    <a:pt x="6378" y="1932"/>
                  </a:lnTo>
                  <a:lnTo>
                    <a:pt x="6369" y="1933"/>
                  </a:lnTo>
                  <a:lnTo>
                    <a:pt x="6236" y="1933"/>
                  </a:lnTo>
                  <a:lnTo>
                    <a:pt x="6227" y="1932"/>
                  </a:lnTo>
                  <a:lnTo>
                    <a:pt x="6220" y="1927"/>
                  </a:lnTo>
                  <a:lnTo>
                    <a:pt x="6216" y="1920"/>
                  </a:lnTo>
                  <a:lnTo>
                    <a:pt x="6215" y="1913"/>
                  </a:lnTo>
                  <a:lnTo>
                    <a:pt x="6216" y="1906"/>
                  </a:lnTo>
                  <a:lnTo>
                    <a:pt x="6220" y="1900"/>
                  </a:lnTo>
                  <a:lnTo>
                    <a:pt x="6227" y="1895"/>
                  </a:lnTo>
                  <a:lnTo>
                    <a:pt x="6236" y="1893"/>
                  </a:lnTo>
                  <a:close/>
                  <a:moveTo>
                    <a:pt x="6472" y="1893"/>
                  </a:moveTo>
                  <a:lnTo>
                    <a:pt x="6605" y="1893"/>
                  </a:lnTo>
                  <a:lnTo>
                    <a:pt x="6614" y="1895"/>
                  </a:lnTo>
                  <a:lnTo>
                    <a:pt x="6620" y="1900"/>
                  </a:lnTo>
                  <a:lnTo>
                    <a:pt x="6624" y="1906"/>
                  </a:lnTo>
                  <a:lnTo>
                    <a:pt x="6626" y="1913"/>
                  </a:lnTo>
                  <a:lnTo>
                    <a:pt x="6624" y="1920"/>
                  </a:lnTo>
                  <a:lnTo>
                    <a:pt x="6620" y="1927"/>
                  </a:lnTo>
                  <a:lnTo>
                    <a:pt x="6614" y="1932"/>
                  </a:lnTo>
                  <a:lnTo>
                    <a:pt x="6605" y="1933"/>
                  </a:lnTo>
                  <a:lnTo>
                    <a:pt x="6472" y="1933"/>
                  </a:lnTo>
                  <a:lnTo>
                    <a:pt x="6464" y="1932"/>
                  </a:lnTo>
                  <a:lnTo>
                    <a:pt x="6458" y="1927"/>
                  </a:lnTo>
                  <a:lnTo>
                    <a:pt x="6454" y="1920"/>
                  </a:lnTo>
                  <a:lnTo>
                    <a:pt x="6452" y="1913"/>
                  </a:lnTo>
                  <a:lnTo>
                    <a:pt x="6454" y="1906"/>
                  </a:lnTo>
                  <a:lnTo>
                    <a:pt x="6458" y="1900"/>
                  </a:lnTo>
                  <a:lnTo>
                    <a:pt x="6464" y="1895"/>
                  </a:lnTo>
                  <a:lnTo>
                    <a:pt x="6472" y="1893"/>
                  </a:lnTo>
                  <a:close/>
                  <a:moveTo>
                    <a:pt x="6709" y="1893"/>
                  </a:moveTo>
                  <a:lnTo>
                    <a:pt x="6842" y="1893"/>
                  </a:lnTo>
                  <a:lnTo>
                    <a:pt x="6851" y="1895"/>
                  </a:lnTo>
                  <a:lnTo>
                    <a:pt x="6858" y="1900"/>
                  </a:lnTo>
                  <a:lnTo>
                    <a:pt x="6861" y="1906"/>
                  </a:lnTo>
                  <a:lnTo>
                    <a:pt x="6863" y="1913"/>
                  </a:lnTo>
                  <a:lnTo>
                    <a:pt x="6861" y="1920"/>
                  </a:lnTo>
                  <a:lnTo>
                    <a:pt x="6858" y="1927"/>
                  </a:lnTo>
                  <a:lnTo>
                    <a:pt x="6851" y="1932"/>
                  </a:lnTo>
                  <a:lnTo>
                    <a:pt x="6842" y="1933"/>
                  </a:lnTo>
                  <a:lnTo>
                    <a:pt x="6709" y="1933"/>
                  </a:lnTo>
                  <a:lnTo>
                    <a:pt x="6700" y="1932"/>
                  </a:lnTo>
                  <a:lnTo>
                    <a:pt x="6693" y="1927"/>
                  </a:lnTo>
                  <a:lnTo>
                    <a:pt x="6690" y="1920"/>
                  </a:lnTo>
                  <a:lnTo>
                    <a:pt x="6688" y="1913"/>
                  </a:lnTo>
                  <a:lnTo>
                    <a:pt x="6690" y="1906"/>
                  </a:lnTo>
                  <a:lnTo>
                    <a:pt x="6693" y="1900"/>
                  </a:lnTo>
                  <a:lnTo>
                    <a:pt x="6700" y="1895"/>
                  </a:lnTo>
                  <a:lnTo>
                    <a:pt x="6709" y="1893"/>
                  </a:lnTo>
                  <a:close/>
                  <a:moveTo>
                    <a:pt x="6946" y="1893"/>
                  </a:moveTo>
                  <a:lnTo>
                    <a:pt x="7078" y="1893"/>
                  </a:lnTo>
                  <a:lnTo>
                    <a:pt x="7087" y="1895"/>
                  </a:lnTo>
                  <a:lnTo>
                    <a:pt x="7094" y="1900"/>
                  </a:lnTo>
                  <a:lnTo>
                    <a:pt x="7097" y="1906"/>
                  </a:lnTo>
                  <a:lnTo>
                    <a:pt x="7099" y="1913"/>
                  </a:lnTo>
                  <a:lnTo>
                    <a:pt x="7097" y="1920"/>
                  </a:lnTo>
                  <a:lnTo>
                    <a:pt x="7094" y="1927"/>
                  </a:lnTo>
                  <a:lnTo>
                    <a:pt x="7087" y="1932"/>
                  </a:lnTo>
                  <a:lnTo>
                    <a:pt x="7078" y="1933"/>
                  </a:lnTo>
                  <a:lnTo>
                    <a:pt x="6946" y="1933"/>
                  </a:lnTo>
                  <a:lnTo>
                    <a:pt x="6937" y="1932"/>
                  </a:lnTo>
                  <a:lnTo>
                    <a:pt x="6931" y="1927"/>
                  </a:lnTo>
                  <a:lnTo>
                    <a:pt x="6927" y="1920"/>
                  </a:lnTo>
                  <a:lnTo>
                    <a:pt x="6926" y="1913"/>
                  </a:lnTo>
                  <a:lnTo>
                    <a:pt x="6927" y="1906"/>
                  </a:lnTo>
                  <a:lnTo>
                    <a:pt x="6931" y="1900"/>
                  </a:lnTo>
                  <a:lnTo>
                    <a:pt x="6937" y="1895"/>
                  </a:lnTo>
                  <a:lnTo>
                    <a:pt x="6946" y="1893"/>
                  </a:lnTo>
                  <a:close/>
                  <a:moveTo>
                    <a:pt x="6236" y="2156"/>
                  </a:moveTo>
                  <a:lnTo>
                    <a:pt x="6369" y="2156"/>
                  </a:lnTo>
                  <a:lnTo>
                    <a:pt x="6378" y="2158"/>
                  </a:lnTo>
                  <a:lnTo>
                    <a:pt x="6384" y="2162"/>
                  </a:lnTo>
                  <a:lnTo>
                    <a:pt x="6387" y="2168"/>
                  </a:lnTo>
                  <a:lnTo>
                    <a:pt x="6388" y="2176"/>
                  </a:lnTo>
                  <a:lnTo>
                    <a:pt x="6387" y="2184"/>
                  </a:lnTo>
                  <a:lnTo>
                    <a:pt x="6384" y="2190"/>
                  </a:lnTo>
                  <a:lnTo>
                    <a:pt x="6378" y="2194"/>
                  </a:lnTo>
                  <a:lnTo>
                    <a:pt x="6369" y="2197"/>
                  </a:lnTo>
                  <a:lnTo>
                    <a:pt x="6236" y="2197"/>
                  </a:lnTo>
                  <a:lnTo>
                    <a:pt x="6227" y="2194"/>
                  </a:lnTo>
                  <a:lnTo>
                    <a:pt x="6220" y="2190"/>
                  </a:lnTo>
                  <a:lnTo>
                    <a:pt x="6216" y="2184"/>
                  </a:lnTo>
                  <a:lnTo>
                    <a:pt x="6215" y="2176"/>
                  </a:lnTo>
                  <a:lnTo>
                    <a:pt x="6216" y="2168"/>
                  </a:lnTo>
                  <a:lnTo>
                    <a:pt x="6220" y="2162"/>
                  </a:lnTo>
                  <a:lnTo>
                    <a:pt x="6227" y="2158"/>
                  </a:lnTo>
                  <a:lnTo>
                    <a:pt x="6236" y="2156"/>
                  </a:lnTo>
                  <a:close/>
                  <a:moveTo>
                    <a:pt x="6472" y="2156"/>
                  </a:moveTo>
                  <a:lnTo>
                    <a:pt x="6605" y="2156"/>
                  </a:lnTo>
                  <a:lnTo>
                    <a:pt x="6614" y="2158"/>
                  </a:lnTo>
                  <a:lnTo>
                    <a:pt x="6620" y="2162"/>
                  </a:lnTo>
                  <a:lnTo>
                    <a:pt x="6624" y="2168"/>
                  </a:lnTo>
                  <a:lnTo>
                    <a:pt x="6626" y="2176"/>
                  </a:lnTo>
                  <a:lnTo>
                    <a:pt x="6624" y="2184"/>
                  </a:lnTo>
                  <a:lnTo>
                    <a:pt x="6620" y="2190"/>
                  </a:lnTo>
                  <a:lnTo>
                    <a:pt x="6614" y="2194"/>
                  </a:lnTo>
                  <a:lnTo>
                    <a:pt x="6605" y="2197"/>
                  </a:lnTo>
                  <a:lnTo>
                    <a:pt x="6472" y="2197"/>
                  </a:lnTo>
                  <a:lnTo>
                    <a:pt x="6464" y="2194"/>
                  </a:lnTo>
                  <a:lnTo>
                    <a:pt x="6458" y="2190"/>
                  </a:lnTo>
                  <a:lnTo>
                    <a:pt x="6454" y="2184"/>
                  </a:lnTo>
                  <a:lnTo>
                    <a:pt x="6452" y="2176"/>
                  </a:lnTo>
                  <a:lnTo>
                    <a:pt x="6454" y="2168"/>
                  </a:lnTo>
                  <a:lnTo>
                    <a:pt x="6458" y="2162"/>
                  </a:lnTo>
                  <a:lnTo>
                    <a:pt x="6464" y="2158"/>
                  </a:lnTo>
                  <a:lnTo>
                    <a:pt x="6472" y="2156"/>
                  </a:lnTo>
                  <a:close/>
                  <a:moveTo>
                    <a:pt x="6709" y="2156"/>
                  </a:moveTo>
                  <a:lnTo>
                    <a:pt x="6842" y="2156"/>
                  </a:lnTo>
                  <a:lnTo>
                    <a:pt x="6851" y="2158"/>
                  </a:lnTo>
                  <a:lnTo>
                    <a:pt x="6858" y="2162"/>
                  </a:lnTo>
                  <a:lnTo>
                    <a:pt x="6861" y="2168"/>
                  </a:lnTo>
                  <a:lnTo>
                    <a:pt x="6863" y="2176"/>
                  </a:lnTo>
                  <a:lnTo>
                    <a:pt x="6861" y="2184"/>
                  </a:lnTo>
                  <a:lnTo>
                    <a:pt x="6858" y="2190"/>
                  </a:lnTo>
                  <a:lnTo>
                    <a:pt x="6851" y="2194"/>
                  </a:lnTo>
                  <a:lnTo>
                    <a:pt x="6842" y="2197"/>
                  </a:lnTo>
                  <a:lnTo>
                    <a:pt x="6709" y="2197"/>
                  </a:lnTo>
                  <a:lnTo>
                    <a:pt x="6700" y="2194"/>
                  </a:lnTo>
                  <a:lnTo>
                    <a:pt x="6693" y="2190"/>
                  </a:lnTo>
                  <a:lnTo>
                    <a:pt x="6690" y="2184"/>
                  </a:lnTo>
                  <a:lnTo>
                    <a:pt x="6688" y="2176"/>
                  </a:lnTo>
                  <a:lnTo>
                    <a:pt x="6690" y="2168"/>
                  </a:lnTo>
                  <a:lnTo>
                    <a:pt x="6693" y="2162"/>
                  </a:lnTo>
                  <a:lnTo>
                    <a:pt x="6700" y="2158"/>
                  </a:lnTo>
                  <a:lnTo>
                    <a:pt x="6709" y="2156"/>
                  </a:lnTo>
                  <a:close/>
                  <a:moveTo>
                    <a:pt x="6946" y="2156"/>
                  </a:moveTo>
                  <a:lnTo>
                    <a:pt x="7078" y="2156"/>
                  </a:lnTo>
                  <a:lnTo>
                    <a:pt x="7087" y="2158"/>
                  </a:lnTo>
                  <a:lnTo>
                    <a:pt x="7094" y="2162"/>
                  </a:lnTo>
                  <a:lnTo>
                    <a:pt x="7097" y="2168"/>
                  </a:lnTo>
                  <a:lnTo>
                    <a:pt x="7099" y="2176"/>
                  </a:lnTo>
                  <a:lnTo>
                    <a:pt x="7097" y="2184"/>
                  </a:lnTo>
                  <a:lnTo>
                    <a:pt x="7094" y="2190"/>
                  </a:lnTo>
                  <a:lnTo>
                    <a:pt x="7087" y="2194"/>
                  </a:lnTo>
                  <a:lnTo>
                    <a:pt x="7078" y="2197"/>
                  </a:lnTo>
                  <a:lnTo>
                    <a:pt x="6946" y="2197"/>
                  </a:lnTo>
                  <a:lnTo>
                    <a:pt x="6937" y="2194"/>
                  </a:lnTo>
                  <a:lnTo>
                    <a:pt x="6931" y="2190"/>
                  </a:lnTo>
                  <a:lnTo>
                    <a:pt x="6927" y="2184"/>
                  </a:lnTo>
                  <a:lnTo>
                    <a:pt x="6926" y="2176"/>
                  </a:lnTo>
                  <a:lnTo>
                    <a:pt x="6927" y="2168"/>
                  </a:lnTo>
                  <a:lnTo>
                    <a:pt x="6931" y="2162"/>
                  </a:lnTo>
                  <a:lnTo>
                    <a:pt x="6937" y="2158"/>
                  </a:lnTo>
                  <a:lnTo>
                    <a:pt x="6946" y="2156"/>
                  </a:lnTo>
                  <a:close/>
                  <a:moveTo>
                    <a:pt x="6236" y="2419"/>
                  </a:moveTo>
                  <a:lnTo>
                    <a:pt x="6369" y="2419"/>
                  </a:lnTo>
                  <a:lnTo>
                    <a:pt x="6378" y="2420"/>
                  </a:lnTo>
                  <a:lnTo>
                    <a:pt x="6384" y="2425"/>
                  </a:lnTo>
                  <a:lnTo>
                    <a:pt x="6387" y="2432"/>
                  </a:lnTo>
                  <a:lnTo>
                    <a:pt x="6388" y="2439"/>
                  </a:lnTo>
                  <a:lnTo>
                    <a:pt x="6387" y="2446"/>
                  </a:lnTo>
                  <a:lnTo>
                    <a:pt x="6384" y="2452"/>
                  </a:lnTo>
                  <a:lnTo>
                    <a:pt x="6378" y="2457"/>
                  </a:lnTo>
                  <a:lnTo>
                    <a:pt x="6369" y="2459"/>
                  </a:lnTo>
                  <a:lnTo>
                    <a:pt x="6236" y="2459"/>
                  </a:lnTo>
                  <a:lnTo>
                    <a:pt x="6227" y="2457"/>
                  </a:lnTo>
                  <a:lnTo>
                    <a:pt x="6220" y="2452"/>
                  </a:lnTo>
                  <a:lnTo>
                    <a:pt x="6216" y="2446"/>
                  </a:lnTo>
                  <a:lnTo>
                    <a:pt x="6215" y="2439"/>
                  </a:lnTo>
                  <a:lnTo>
                    <a:pt x="6216" y="2432"/>
                  </a:lnTo>
                  <a:lnTo>
                    <a:pt x="6220" y="2425"/>
                  </a:lnTo>
                  <a:lnTo>
                    <a:pt x="6227" y="2420"/>
                  </a:lnTo>
                  <a:lnTo>
                    <a:pt x="6236" y="2419"/>
                  </a:lnTo>
                  <a:close/>
                  <a:moveTo>
                    <a:pt x="6472" y="2419"/>
                  </a:moveTo>
                  <a:lnTo>
                    <a:pt x="6605" y="2419"/>
                  </a:lnTo>
                  <a:lnTo>
                    <a:pt x="6614" y="2420"/>
                  </a:lnTo>
                  <a:lnTo>
                    <a:pt x="6620" y="2425"/>
                  </a:lnTo>
                  <a:lnTo>
                    <a:pt x="6624" y="2432"/>
                  </a:lnTo>
                  <a:lnTo>
                    <a:pt x="6626" y="2439"/>
                  </a:lnTo>
                  <a:lnTo>
                    <a:pt x="6624" y="2446"/>
                  </a:lnTo>
                  <a:lnTo>
                    <a:pt x="6620" y="2452"/>
                  </a:lnTo>
                  <a:lnTo>
                    <a:pt x="6614" y="2457"/>
                  </a:lnTo>
                  <a:lnTo>
                    <a:pt x="6605" y="2459"/>
                  </a:lnTo>
                  <a:lnTo>
                    <a:pt x="6472" y="2459"/>
                  </a:lnTo>
                  <a:lnTo>
                    <a:pt x="6464" y="2457"/>
                  </a:lnTo>
                  <a:lnTo>
                    <a:pt x="6458" y="2452"/>
                  </a:lnTo>
                  <a:lnTo>
                    <a:pt x="6454" y="2446"/>
                  </a:lnTo>
                  <a:lnTo>
                    <a:pt x="6452" y="2439"/>
                  </a:lnTo>
                  <a:lnTo>
                    <a:pt x="6454" y="2432"/>
                  </a:lnTo>
                  <a:lnTo>
                    <a:pt x="6458" y="2425"/>
                  </a:lnTo>
                  <a:lnTo>
                    <a:pt x="6464" y="2420"/>
                  </a:lnTo>
                  <a:lnTo>
                    <a:pt x="6472" y="2419"/>
                  </a:lnTo>
                  <a:close/>
                  <a:moveTo>
                    <a:pt x="6709" y="2419"/>
                  </a:moveTo>
                  <a:lnTo>
                    <a:pt x="6842" y="2419"/>
                  </a:lnTo>
                  <a:lnTo>
                    <a:pt x="6851" y="2420"/>
                  </a:lnTo>
                  <a:lnTo>
                    <a:pt x="6858" y="2425"/>
                  </a:lnTo>
                  <a:lnTo>
                    <a:pt x="6861" y="2432"/>
                  </a:lnTo>
                  <a:lnTo>
                    <a:pt x="6863" y="2439"/>
                  </a:lnTo>
                  <a:lnTo>
                    <a:pt x="6861" y="2446"/>
                  </a:lnTo>
                  <a:lnTo>
                    <a:pt x="6858" y="2452"/>
                  </a:lnTo>
                  <a:lnTo>
                    <a:pt x="6851" y="2457"/>
                  </a:lnTo>
                  <a:lnTo>
                    <a:pt x="6842" y="2459"/>
                  </a:lnTo>
                  <a:lnTo>
                    <a:pt x="6709" y="2459"/>
                  </a:lnTo>
                  <a:lnTo>
                    <a:pt x="6700" y="2457"/>
                  </a:lnTo>
                  <a:lnTo>
                    <a:pt x="6693" y="2452"/>
                  </a:lnTo>
                  <a:lnTo>
                    <a:pt x="6690" y="2446"/>
                  </a:lnTo>
                  <a:lnTo>
                    <a:pt x="6688" y="2439"/>
                  </a:lnTo>
                  <a:lnTo>
                    <a:pt x="6690" y="2432"/>
                  </a:lnTo>
                  <a:lnTo>
                    <a:pt x="6693" y="2425"/>
                  </a:lnTo>
                  <a:lnTo>
                    <a:pt x="6700" y="2420"/>
                  </a:lnTo>
                  <a:lnTo>
                    <a:pt x="6709" y="2419"/>
                  </a:lnTo>
                  <a:close/>
                  <a:moveTo>
                    <a:pt x="6946" y="2419"/>
                  </a:moveTo>
                  <a:lnTo>
                    <a:pt x="7078" y="2419"/>
                  </a:lnTo>
                  <a:lnTo>
                    <a:pt x="7087" y="2420"/>
                  </a:lnTo>
                  <a:lnTo>
                    <a:pt x="7094" y="2425"/>
                  </a:lnTo>
                  <a:lnTo>
                    <a:pt x="7097" y="2432"/>
                  </a:lnTo>
                  <a:lnTo>
                    <a:pt x="7099" y="2439"/>
                  </a:lnTo>
                  <a:lnTo>
                    <a:pt x="7097" y="2446"/>
                  </a:lnTo>
                  <a:lnTo>
                    <a:pt x="7094" y="2452"/>
                  </a:lnTo>
                  <a:lnTo>
                    <a:pt x="7087" y="2457"/>
                  </a:lnTo>
                  <a:lnTo>
                    <a:pt x="7078" y="2459"/>
                  </a:lnTo>
                  <a:lnTo>
                    <a:pt x="6946" y="2459"/>
                  </a:lnTo>
                  <a:lnTo>
                    <a:pt x="6937" y="2457"/>
                  </a:lnTo>
                  <a:lnTo>
                    <a:pt x="6931" y="2452"/>
                  </a:lnTo>
                  <a:lnTo>
                    <a:pt x="6927" y="2446"/>
                  </a:lnTo>
                  <a:lnTo>
                    <a:pt x="6926" y="2439"/>
                  </a:lnTo>
                  <a:lnTo>
                    <a:pt x="6927" y="2432"/>
                  </a:lnTo>
                  <a:lnTo>
                    <a:pt x="6931" y="2425"/>
                  </a:lnTo>
                  <a:lnTo>
                    <a:pt x="6937" y="2420"/>
                  </a:lnTo>
                  <a:lnTo>
                    <a:pt x="6946" y="2419"/>
                  </a:lnTo>
                  <a:close/>
                  <a:moveTo>
                    <a:pt x="6236" y="2682"/>
                  </a:moveTo>
                  <a:lnTo>
                    <a:pt x="6369" y="2682"/>
                  </a:lnTo>
                  <a:lnTo>
                    <a:pt x="6378" y="2684"/>
                  </a:lnTo>
                  <a:lnTo>
                    <a:pt x="6384" y="2689"/>
                  </a:lnTo>
                  <a:lnTo>
                    <a:pt x="6387" y="2695"/>
                  </a:lnTo>
                  <a:lnTo>
                    <a:pt x="6388" y="2702"/>
                  </a:lnTo>
                  <a:lnTo>
                    <a:pt x="6387" y="2709"/>
                  </a:lnTo>
                  <a:lnTo>
                    <a:pt x="6384" y="2716"/>
                  </a:lnTo>
                  <a:lnTo>
                    <a:pt x="6378" y="2721"/>
                  </a:lnTo>
                  <a:lnTo>
                    <a:pt x="6369" y="2722"/>
                  </a:lnTo>
                  <a:lnTo>
                    <a:pt x="6236" y="2722"/>
                  </a:lnTo>
                  <a:lnTo>
                    <a:pt x="6227" y="2721"/>
                  </a:lnTo>
                  <a:lnTo>
                    <a:pt x="6220" y="2716"/>
                  </a:lnTo>
                  <a:lnTo>
                    <a:pt x="6216" y="2709"/>
                  </a:lnTo>
                  <a:lnTo>
                    <a:pt x="6215" y="2702"/>
                  </a:lnTo>
                  <a:lnTo>
                    <a:pt x="6216" y="2695"/>
                  </a:lnTo>
                  <a:lnTo>
                    <a:pt x="6220" y="2689"/>
                  </a:lnTo>
                  <a:lnTo>
                    <a:pt x="6227" y="2684"/>
                  </a:lnTo>
                  <a:lnTo>
                    <a:pt x="6236" y="2682"/>
                  </a:lnTo>
                  <a:close/>
                  <a:moveTo>
                    <a:pt x="6472" y="2682"/>
                  </a:moveTo>
                  <a:lnTo>
                    <a:pt x="6605" y="2682"/>
                  </a:lnTo>
                  <a:lnTo>
                    <a:pt x="6614" y="2684"/>
                  </a:lnTo>
                  <a:lnTo>
                    <a:pt x="6620" y="2689"/>
                  </a:lnTo>
                  <a:lnTo>
                    <a:pt x="6624" y="2695"/>
                  </a:lnTo>
                  <a:lnTo>
                    <a:pt x="6626" y="2702"/>
                  </a:lnTo>
                  <a:lnTo>
                    <a:pt x="6624" y="2709"/>
                  </a:lnTo>
                  <a:lnTo>
                    <a:pt x="6620" y="2716"/>
                  </a:lnTo>
                  <a:lnTo>
                    <a:pt x="6614" y="2721"/>
                  </a:lnTo>
                  <a:lnTo>
                    <a:pt x="6605" y="2722"/>
                  </a:lnTo>
                  <a:lnTo>
                    <a:pt x="6472" y="2722"/>
                  </a:lnTo>
                  <a:lnTo>
                    <a:pt x="6464" y="2721"/>
                  </a:lnTo>
                  <a:lnTo>
                    <a:pt x="6458" y="2716"/>
                  </a:lnTo>
                  <a:lnTo>
                    <a:pt x="6454" y="2709"/>
                  </a:lnTo>
                  <a:lnTo>
                    <a:pt x="6452" y="2702"/>
                  </a:lnTo>
                  <a:lnTo>
                    <a:pt x="6454" y="2695"/>
                  </a:lnTo>
                  <a:lnTo>
                    <a:pt x="6458" y="2689"/>
                  </a:lnTo>
                  <a:lnTo>
                    <a:pt x="6464" y="2684"/>
                  </a:lnTo>
                  <a:lnTo>
                    <a:pt x="6472" y="2682"/>
                  </a:lnTo>
                  <a:close/>
                  <a:moveTo>
                    <a:pt x="6709" y="2682"/>
                  </a:moveTo>
                  <a:lnTo>
                    <a:pt x="6842" y="2682"/>
                  </a:lnTo>
                  <a:lnTo>
                    <a:pt x="6851" y="2684"/>
                  </a:lnTo>
                  <a:lnTo>
                    <a:pt x="6858" y="2689"/>
                  </a:lnTo>
                  <a:lnTo>
                    <a:pt x="6861" y="2695"/>
                  </a:lnTo>
                  <a:lnTo>
                    <a:pt x="6863" y="2702"/>
                  </a:lnTo>
                  <a:lnTo>
                    <a:pt x="6861" y="2709"/>
                  </a:lnTo>
                  <a:lnTo>
                    <a:pt x="6858" y="2716"/>
                  </a:lnTo>
                  <a:lnTo>
                    <a:pt x="6851" y="2721"/>
                  </a:lnTo>
                  <a:lnTo>
                    <a:pt x="6842" y="2722"/>
                  </a:lnTo>
                  <a:lnTo>
                    <a:pt x="6709" y="2722"/>
                  </a:lnTo>
                  <a:lnTo>
                    <a:pt x="6700" y="2721"/>
                  </a:lnTo>
                  <a:lnTo>
                    <a:pt x="6693" y="2716"/>
                  </a:lnTo>
                  <a:lnTo>
                    <a:pt x="6690" y="2709"/>
                  </a:lnTo>
                  <a:lnTo>
                    <a:pt x="6688" y="2702"/>
                  </a:lnTo>
                  <a:lnTo>
                    <a:pt x="6690" y="2695"/>
                  </a:lnTo>
                  <a:lnTo>
                    <a:pt x="6693" y="2689"/>
                  </a:lnTo>
                  <a:lnTo>
                    <a:pt x="6700" y="2684"/>
                  </a:lnTo>
                  <a:lnTo>
                    <a:pt x="6709" y="2682"/>
                  </a:lnTo>
                  <a:close/>
                  <a:moveTo>
                    <a:pt x="6946" y="2682"/>
                  </a:moveTo>
                  <a:lnTo>
                    <a:pt x="7078" y="2682"/>
                  </a:lnTo>
                  <a:lnTo>
                    <a:pt x="7087" y="2684"/>
                  </a:lnTo>
                  <a:lnTo>
                    <a:pt x="7094" y="2689"/>
                  </a:lnTo>
                  <a:lnTo>
                    <a:pt x="7097" y="2695"/>
                  </a:lnTo>
                  <a:lnTo>
                    <a:pt x="7099" y="2702"/>
                  </a:lnTo>
                  <a:lnTo>
                    <a:pt x="7097" y="2709"/>
                  </a:lnTo>
                  <a:lnTo>
                    <a:pt x="7094" y="2716"/>
                  </a:lnTo>
                  <a:lnTo>
                    <a:pt x="7087" y="2721"/>
                  </a:lnTo>
                  <a:lnTo>
                    <a:pt x="7078" y="2722"/>
                  </a:lnTo>
                  <a:lnTo>
                    <a:pt x="6946" y="2722"/>
                  </a:lnTo>
                  <a:lnTo>
                    <a:pt x="6937" y="2721"/>
                  </a:lnTo>
                  <a:lnTo>
                    <a:pt x="6931" y="2716"/>
                  </a:lnTo>
                  <a:lnTo>
                    <a:pt x="6927" y="2709"/>
                  </a:lnTo>
                  <a:lnTo>
                    <a:pt x="6926" y="2702"/>
                  </a:lnTo>
                  <a:lnTo>
                    <a:pt x="6927" y="2695"/>
                  </a:lnTo>
                  <a:lnTo>
                    <a:pt x="6931" y="2689"/>
                  </a:lnTo>
                  <a:lnTo>
                    <a:pt x="6937" y="2684"/>
                  </a:lnTo>
                  <a:lnTo>
                    <a:pt x="6946" y="2682"/>
                  </a:lnTo>
                  <a:close/>
                  <a:moveTo>
                    <a:pt x="6236" y="2946"/>
                  </a:moveTo>
                  <a:lnTo>
                    <a:pt x="6369" y="2946"/>
                  </a:lnTo>
                  <a:lnTo>
                    <a:pt x="6378" y="2947"/>
                  </a:lnTo>
                  <a:lnTo>
                    <a:pt x="6384" y="2951"/>
                  </a:lnTo>
                  <a:lnTo>
                    <a:pt x="6387" y="2957"/>
                  </a:lnTo>
                  <a:lnTo>
                    <a:pt x="6388" y="2965"/>
                  </a:lnTo>
                  <a:lnTo>
                    <a:pt x="6387" y="2973"/>
                  </a:lnTo>
                  <a:lnTo>
                    <a:pt x="6384" y="2979"/>
                  </a:lnTo>
                  <a:lnTo>
                    <a:pt x="6378" y="2983"/>
                  </a:lnTo>
                  <a:lnTo>
                    <a:pt x="6369" y="2985"/>
                  </a:lnTo>
                  <a:lnTo>
                    <a:pt x="6236" y="2985"/>
                  </a:lnTo>
                  <a:lnTo>
                    <a:pt x="6227" y="2983"/>
                  </a:lnTo>
                  <a:lnTo>
                    <a:pt x="6220" y="2979"/>
                  </a:lnTo>
                  <a:lnTo>
                    <a:pt x="6216" y="2973"/>
                  </a:lnTo>
                  <a:lnTo>
                    <a:pt x="6215" y="2965"/>
                  </a:lnTo>
                  <a:lnTo>
                    <a:pt x="6216" y="2957"/>
                  </a:lnTo>
                  <a:lnTo>
                    <a:pt x="6220" y="2951"/>
                  </a:lnTo>
                  <a:lnTo>
                    <a:pt x="6227" y="2947"/>
                  </a:lnTo>
                  <a:lnTo>
                    <a:pt x="6236" y="2946"/>
                  </a:lnTo>
                  <a:close/>
                  <a:moveTo>
                    <a:pt x="6472" y="2946"/>
                  </a:moveTo>
                  <a:lnTo>
                    <a:pt x="6605" y="2946"/>
                  </a:lnTo>
                  <a:lnTo>
                    <a:pt x="6614" y="2947"/>
                  </a:lnTo>
                  <a:lnTo>
                    <a:pt x="6620" y="2951"/>
                  </a:lnTo>
                  <a:lnTo>
                    <a:pt x="6624" y="2957"/>
                  </a:lnTo>
                  <a:lnTo>
                    <a:pt x="6626" y="2965"/>
                  </a:lnTo>
                  <a:lnTo>
                    <a:pt x="6624" y="2973"/>
                  </a:lnTo>
                  <a:lnTo>
                    <a:pt x="6620" y="2979"/>
                  </a:lnTo>
                  <a:lnTo>
                    <a:pt x="6614" y="2983"/>
                  </a:lnTo>
                  <a:lnTo>
                    <a:pt x="6605" y="2985"/>
                  </a:lnTo>
                  <a:lnTo>
                    <a:pt x="6472" y="2985"/>
                  </a:lnTo>
                  <a:lnTo>
                    <a:pt x="6464" y="2983"/>
                  </a:lnTo>
                  <a:lnTo>
                    <a:pt x="6458" y="2979"/>
                  </a:lnTo>
                  <a:lnTo>
                    <a:pt x="6454" y="2973"/>
                  </a:lnTo>
                  <a:lnTo>
                    <a:pt x="6452" y="2965"/>
                  </a:lnTo>
                  <a:lnTo>
                    <a:pt x="6454" y="2957"/>
                  </a:lnTo>
                  <a:lnTo>
                    <a:pt x="6458" y="2951"/>
                  </a:lnTo>
                  <a:lnTo>
                    <a:pt x="6464" y="2947"/>
                  </a:lnTo>
                  <a:lnTo>
                    <a:pt x="6472" y="2946"/>
                  </a:lnTo>
                  <a:close/>
                  <a:moveTo>
                    <a:pt x="6709" y="2946"/>
                  </a:moveTo>
                  <a:lnTo>
                    <a:pt x="6842" y="2946"/>
                  </a:lnTo>
                  <a:lnTo>
                    <a:pt x="6851" y="2947"/>
                  </a:lnTo>
                  <a:lnTo>
                    <a:pt x="6858" y="2951"/>
                  </a:lnTo>
                  <a:lnTo>
                    <a:pt x="6861" y="2957"/>
                  </a:lnTo>
                  <a:lnTo>
                    <a:pt x="6863" y="2965"/>
                  </a:lnTo>
                  <a:lnTo>
                    <a:pt x="6861" y="2973"/>
                  </a:lnTo>
                  <a:lnTo>
                    <a:pt x="6858" y="2979"/>
                  </a:lnTo>
                  <a:lnTo>
                    <a:pt x="6851" y="2983"/>
                  </a:lnTo>
                  <a:lnTo>
                    <a:pt x="6842" y="2985"/>
                  </a:lnTo>
                  <a:lnTo>
                    <a:pt x="6709" y="2985"/>
                  </a:lnTo>
                  <a:lnTo>
                    <a:pt x="6700" y="2983"/>
                  </a:lnTo>
                  <a:lnTo>
                    <a:pt x="6693" y="2979"/>
                  </a:lnTo>
                  <a:lnTo>
                    <a:pt x="6690" y="2973"/>
                  </a:lnTo>
                  <a:lnTo>
                    <a:pt x="6688" y="2965"/>
                  </a:lnTo>
                  <a:lnTo>
                    <a:pt x="6690" y="2957"/>
                  </a:lnTo>
                  <a:lnTo>
                    <a:pt x="6693" y="2951"/>
                  </a:lnTo>
                  <a:lnTo>
                    <a:pt x="6700" y="2947"/>
                  </a:lnTo>
                  <a:lnTo>
                    <a:pt x="6709" y="2946"/>
                  </a:lnTo>
                  <a:close/>
                  <a:moveTo>
                    <a:pt x="6946" y="2946"/>
                  </a:moveTo>
                  <a:lnTo>
                    <a:pt x="7078" y="2946"/>
                  </a:lnTo>
                  <a:lnTo>
                    <a:pt x="7087" y="2947"/>
                  </a:lnTo>
                  <a:lnTo>
                    <a:pt x="7094" y="2951"/>
                  </a:lnTo>
                  <a:lnTo>
                    <a:pt x="7097" y="2957"/>
                  </a:lnTo>
                  <a:lnTo>
                    <a:pt x="7099" y="2965"/>
                  </a:lnTo>
                  <a:lnTo>
                    <a:pt x="7097" y="2973"/>
                  </a:lnTo>
                  <a:lnTo>
                    <a:pt x="7094" y="2979"/>
                  </a:lnTo>
                  <a:lnTo>
                    <a:pt x="7087" y="2983"/>
                  </a:lnTo>
                  <a:lnTo>
                    <a:pt x="7078" y="2985"/>
                  </a:lnTo>
                  <a:lnTo>
                    <a:pt x="6946" y="2985"/>
                  </a:lnTo>
                  <a:lnTo>
                    <a:pt x="6937" y="2983"/>
                  </a:lnTo>
                  <a:lnTo>
                    <a:pt x="6931" y="2979"/>
                  </a:lnTo>
                  <a:lnTo>
                    <a:pt x="6927" y="2973"/>
                  </a:lnTo>
                  <a:lnTo>
                    <a:pt x="6926" y="2965"/>
                  </a:lnTo>
                  <a:lnTo>
                    <a:pt x="6927" y="2957"/>
                  </a:lnTo>
                  <a:lnTo>
                    <a:pt x="6931" y="2951"/>
                  </a:lnTo>
                  <a:lnTo>
                    <a:pt x="6937" y="2947"/>
                  </a:lnTo>
                  <a:lnTo>
                    <a:pt x="6946" y="2946"/>
                  </a:lnTo>
                  <a:close/>
                  <a:moveTo>
                    <a:pt x="6236" y="3208"/>
                  </a:moveTo>
                  <a:lnTo>
                    <a:pt x="6369" y="3208"/>
                  </a:lnTo>
                  <a:lnTo>
                    <a:pt x="6378" y="3211"/>
                  </a:lnTo>
                  <a:lnTo>
                    <a:pt x="6384" y="3214"/>
                  </a:lnTo>
                  <a:lnTo>
                    <a:pt x="6387" y="3221"/>
                  </a:lnTo>
                  <a:lnTo>
                    <a:pt x="6388" y="3228"/>
                  </a:lnTo>
                  <a:lnTo>
                    <a:pt x="6387" y="3236"/>
                  </a:lnTo>
                  <a:lnTo>
                    <a:pt x="6384" y="3242"/>
                  </a:lnTo>
                  <a:lnTo>
                    <a:pt x="6378" y="3246"/>
                  </a:lnTo>
                  <a:lnTo>
                    <a:pt x="6369" y="3248"/>
                  </a:lnTo>
                  <a:lnTo>
                    <a:pt x="6236" y="3248"/>
                  </a:lnTo>
                  <a:lnTo>
                    <a:pt x="6227" y="3246"/>
                  </a:lnTo>
                  <a:lnTo>
                    <a:pt x="6220" y="3242"/>
                  </a:lnTo>
                  <a:lnTo>
                    <a:pt x="6216" y="3236"/>
                  </a:lnTo>
                  <a:lnTo>
                    <a:pt x="6215" y="3228"/>
                  </a:lnTo>
                  <a:lnTo>
                    <a:pt x="6216" y="3221"/>
                  </a:lnTo>
                  <a:lnTo>
                    <a:pt x="6220" y="3214"/>
                  </a:lnTo>
                  <a:lnTo>
                    <a:pt x="6227" y="3211"/>
                  </a:lnTo>
                  <a:lnTo>
                    <a:pt x="6236" y="3208"/>
                  </a:lnTo>
                  <a:close/>
                  <a:moveTo>
                    <a:pt x="6472" y="3208"/>
                  </a:moveTo>
                  <a:lnTo>
                    <a:pt x="6605" y="3208"/>
                  </a:lnTo>
                  <a:lnTo>
                    <a:pt x="6614" y="3211"/>
                  </a:lnTo>
                  <a:lnTo>
                    <a:pt x="6620" y="3214"/>
                  </a:lnTo>
                  <a:lnTo>
                    <a:pt x="6624" y="3221"/>
                  </a:lnTo>
                  <a:lnTo>
                    <a:pt x="6626" y="3228"/>
                  </a:lnTo>
                  <a:lnTo>
                    <a:pt x="6624" y="3236"/>
                  </a:lnTo>
                  <a:lnTo>
                    <a:pt x="6620" y="3242"/>
                  </a:lnTo>
                  <a:lnTo>
                    <a:pt x="6614" y="3246"/>
                  </a:lnTo>
                  <a:lnTo>
                    <a:pt x="6605" y="3248"/>
                  </a:lnTo>
                  <a:lnTo>
                    <a:pt x="6472" y="3248"/>
                  </a:lnTo>
                  <a:lnTo>
                    <a:pt x="6464" y="3246"/>
                  </a:lnTo>
                  <a:lnTo>
                    <a:pt x="6458" y="3242"/>
                  </a:lnTo>
                  <a:lnTo>
                    <a:pt x="6454" y="3236"/>
                  </a:lnTo>
                  <a:lnTo>
                    <a:pt x="6452" y="3228"/>
                  </a:lnTo>
                  <a:lnTo>
                    <a:pt x="6454" y="3221"/>
                  </a:lnTo>
                  <a:lnTo>
                    <a:pt x="6458" y="3214"/>
                  </a:lnTo>
                  <a:lnTo>
                    <a:pt x="6464" y="3211"/>
                  </a:lnTo>
                  <a:lnTo>
                    <a:pt x="6472" y="3208"/>
                  </a:lnTo>
                  <a:close/>
                  <a:moveTo>
                    <a:pt x="6709" y="3208"/>
                  </a:moveTo>
                  <a:lnTo>
                    <a:pt x="6842" y="3208"/>
                  </a:lnTo>
                  <a:lnTo>
                    <a:pt x="6851" y="3211"/>
                  </a:lnTo>
                  <a:lnTo>
                    <a:pt x="6858" y="3214"/>
                  </a:lnTo>
                  <a:lnTo>
                    <a:pt x="6861" y="3221"/>
                  </a:lnTo>
                  <a:lnTo>
                    <a:pt x="6863" y="3228"/>
                  </a:lnTo>
                  <a:lnTo>
                    <a:pt x="6861" y="3236"/>
                  </a:lnTo>
                  <a:lnTo>
                    <a:pt x="6858" y="3242"/>
                  </a:lnTo>
                  <a:lnTo>
                    <a:pt x="6851" y="3246"/>
                  </a:lnTo>
                  <a:lnTo>
                    <a:pt x="6842" y="3248"/>
                  </a:lnTo>
                  <a:lnTo>
                    <a:pt x="6709" y="3248"/>
                  </a:lnTo>
                  <a:lnTo>
                    <a:pt x="6700" y="3246"/>
                  </a:lnTo>
                  <a:lnTo>
                    <a:pt x="6693" y="3242"/>
                  </a:lnTo>
                  <a:lnTo>
                    <a:pt x="6690" y="3236"/>
                  </a:lnTo>
                  <a:lnTo>
                    <a:pt x="6688" y="3228"/>
                  </a:lnTo>
                  <a:lnTo>
                    <a:pt x="6690" y="3221"/>
                  </a:lnTo>
                  <a:lnTo>
                    <a:pt x="6693" y="3214"/>
                  </a:lnTo>
                  <a:lnTo>
                    <a:pt x="6700" y="3211"/>
                  </a:lnTo>
                  <a:lnTo>
                    <a:pt x="6709" y="3208"/>
                  </a:lnTo>
                  <a:close/>
                  <a:moveTo>
                    <a:pt x="6946" y="3208"/>
                  </a:moveTo>
                  <a:lnTo>
                    <a:pt x="7078" y="3208"/>
                  </a:lnTo>
                  <a:lnTo>
                    <a:pt x="7087" y="3211"/>
                  </a:lnTo>
                  <a:lnTo>
                    <a:pt x="7094" y="3214"/>
                  </a:lnTo>
                  <a:lnTo>
                    <a:pt x="7097" y="3221"/>
                  </a:lnTo>
                  <a:lnTo>
                    <a:pt x="7099" y="3228"/>
                  </a:lnTo>
                  <a:lnTo>
                    <a:pt x="7097" y="3236"/>
                  </a:lnTo>
                  <a:lnTo>
                    <a:pt x="7094" y="3242"/>
                  </a:lnTo>
                  <a:lnTo>
                    <a:pt x="7087" y="3246"/>
                  </a:lnTo>
                  <a:lnTo>
                    <a:pt x="7078" y="3248"/>
                  </a:lnTo>
                  <a:lnTo>
                    <a:pt x="6946" y="3248"/>
                  </a:lnTo>
                  <a:lnTo>
                    <a:pt x="6937" y="3246"/>
                  </a:lnTo>
                  <a:lnTo>
                    <a:pt x="6931" y="3242"/>
                  </a:lnTo>
                  <a:lnTo>
                    <a:pt x="6927" y="3236"/>
                  </a:lnTo>
                  <a:lnTo>
                    <a:pt x="6926" y="3228"/>
                  </a:lnTo>
                  <a:lnTo>
                    <a:pt x="6927" y="3221"/>
                  </a:lnTo>
                  <a:lnTo>
                    <a:pt x="6931" y="3214"/>
                  </a:lnTo>
                  <a:lnTo>
                    <a:pt x="6937" y="3211"/>
                  </a:lnTo>
                  <a:lnTo>
                    <a:pt x="6946" y="3208"/>
                  </a:lnTo>
                  <a:close/>
                  <a:moveTo>
                    <a:pt x="6236" y="3471"/>
                  </a:moveTo>
                  <a:lnTo>
                    <a:pt x="6369" y="3471"/>
                  </a:lnTo>
                  <a:lnTo>
                    <a:pt x="6378" y="3473"/>
                  </a:lnTo>
                  <a:lnTo>
                    <a:pt x="6384" y="3478"/>
                  </a:lnTo>
                  <a:lnTo>
                    <a:pt x="6387" y="3484"/>
                  </a:lnTo>
                  <a:lnTo>
                    <a:pt x="6388" y="3492"/>
                  </a:lnTo>
                  <a:lnTo>
                    <a:pt x="6387" y="3498"/>
                  </a:lnTo>
                  <a:lnTo>
                    <a:pt x="6384" y="3505"/>
                  </a:lnTo>
                  <a:lnTo>
                    <a:pt x="6378" y="3510"/>
                  </a:lnTo>
                  <a:lnTo>
                    <a:pt x="6369" y="3511"/>
                  </a:lnTo>
                  <a:lnTo>
                    <a:pt x="6236" y="3511"/>
                  </a:lnTo>
                  <a:lnTo>
                    <a:pt x="6227" y="3510"/>
                  </a:lnTo>
                  <a:lnTo>
                    <a:pt x="6220" y="3505"/>
                  </a:lnTo>
                  <a:lnTo>
                    <a:pt x="6216" y="3498"/>
                  </a:lnTo>
                  <a:lnTo>
                    <a:pt x="6215" y="3492"/>
                  </a:lnTo>
                  <a:lnTo>
                    <a:pt x="6216" y="3484"/>
                  </a:lnTo>
                  <a:lnTo>
                    <a:pt x="6220" y="3478"/>
                  </a:lnTo>
                  <a:lnTo>
                    <a:pt x="6227" y="3473"/>
                  </a:lnTo>
                  <a:lnTo>
                    <a:pt x="6236" y="3471"/>
                  </a:lnTo>
                  <a:close/>
                  <a:moveTo>
                    <a:pt x="6472" y="3471"/>
                  </a:moveTo>
                  <a:lnTo>
                    <a:pt x="6605" y="3471"/>
                  </a:lnTo>
                  <a:lnTo>
                    <a:pt x="6614" y="3473"/>
                  </a:lnTo>
                  <a:lnTo>
                    <a:pt x="6620" y="3478"/>
                  </a:lnTo>
                  <a:lnTo>
                    <a:pt x="6624" y="3484"/>
                  </a:lnTo>
                  <a:lnTo>
                    <a:pt x="6626" y="3492"/>
                  </a:lnTo>
                  <a:lnTo>
                    <a:pt x="6624" y="3498"/>
                  </a:lnTo>
                  <a:lnTo>
                    <a:pt x="6620" y="3505"/>
                  </a:lnTo>
                  <a:lnTo>
                    <a:pt x="6614" y="3510"/>
                  </a:lnTo>
                  <a:lnTo>
                    <a:pt x="6605" y="3511"/>
                  </a:lnTo>
                  <a:lnTo>
                    <a:pt x="6472" y="3511"/>
                  </a:lnTo>
                  <a:lnTo>
                    <a:pt x="6464" y="3510"/>
                  </a:lnTo>
                  <a:lnTo>
                    <a:pt x="6458" y="3505"/>
                  </a:lnTo>
                  <a:lnTo>
                    <a:pt x="6454" y="3498"/>
                  </a:lnTo>
                  <a:lnTo>
                    <a:pt x="6452" y="3492"/>
                  </a:lnTo>
                  <a:lnTo>
                    <a:pt x="6454" y="3484"/>
                  </a:lnTo>
                  <a:lnTo>
                    <a:pt x="6458" y="3478"/>
                  </a:lnTo>
                  <a:lnTo>
                    <a:pt x="6464" y="3473"/>
                  </a:lnTo>
                  <a:lnTo>
                    <a:pt x="6472" y="3471"/>
                  </a:lnTo>
                  <a:close/>
                  <a:moveTo>
                    <a:pt x="6709" y="3471"/>
                  </a:moveTo>
                  <a:lnTo>
                    <a:pt x="6842" y="3471"/>
                  </a:lnTo>
                  <a:lnTo>
                    <a:pt x="6851" y="3473"/>
                  </a:lnTo>
                  <a:lnTo>
                    <a:pt x="6858" y="3478"/>
                  </a:lnTo>
                  <a:lnTo>
                    <a:pt x="6861" y="3484"/>
                  </a:lnTo>
                  <a:lnTo>
                    <a:pt x="6863" y="3492"/>
                  </a:lnTo>
                  <a:lnTo>
                    <a:pt x="6861" y="3498"/>
                  </a:lnTo>
                  <a:lnTo>
                    <a:pt x="6858" y="3505"/>
                  </a:lnTo>
                  <a:lnTo>
                    <a:pt x="6851" y="3510"/>
                  </a:lnTo>
                  <a:lnTo>
                    <a:pt x="6842" y="3511"/>
                  </a:lnTo>
                  <a:lnTo>
                    <a:pt x="6709" y="3511"/>
                  </a:lnTo>
                  <a:lnTo>
                    <a:pt x="6700" y="3510"/>
                  </a:lnTo>
                  <a:lnTo>
                    <a:pt x="6693" y="3505"/>
                  </a:lnTo>
                  <a:lnTo>
                    <a:pt x="6690" y="3498"/>
                  </a:lnTo>
                  <a:lnTo>
                    <a:pt x="6688" y="3492"/>
                  </a:lnTo>
                  <a:lnTo>
                    <a:pt x="6690" y="3484"/>
                  </a:lnTo>
                  <a:lnTo>
                    <a:pt x="6693" y="3478"/>
                  </a:lnTo>
                  <a:lnTo>
                    <a:pt x="6700" y="3473"/>
                  </a:lnTo>
                  <a:lnTo>
                    <a:pt x="6709" y="3471"/>
                  </a:lnTo>
                  <a:close/>
                  <a:moveTo>
                    <a:pt x="6946" y="3471"/>
                  </a:moveTo>
                  <a:lnTo>
                    <a:pt x="7078" y="3471"/>
                  </a:lnTo>
                  <a:lnTo>
                    <a:pt x="7087" y="3473"/>
                  </a:lnTo>
                  <a:lnTo>
                    <a:pt x="7094" y="3478"/>
                  </a:lnTo>
                  <a:lnTo>
                    <a:pt x="7097" y="3484"/>
                  </a:lnTo>
                  <a:lnTo>
                    <a:pt x="7099" y="3492"/>
                  </a:lnTo>
                  <a:lnTo>
                    <a:pt x="7097" y="3498"/>
                  </a:lnTo>
                  <a:lnTo>
                    <a:pt x="7094" y="3505"/>
                  </a:lnTo>
                  <a:lnTo>
                    <a:pt x="7087" y="3510"/>
                  </a:lnTo>
                  <a:lnTo>
                    <a:pt x="7078" y="3511"/>
                  </a:lnTo>
                  <a:lnTo>
                    <a:pt x="6946" y="3511"/>
                  </a:lnTo>
                  <a:lnTo>
                    <a:pt x="6937" y="3510"/>
                  </a:lnTo>
                  <a:lnTo>
                    <a:pt x="6931" y="3505"/>
                  </a:lnTo>
                  <a:lnTo>
                    <a:pt x="6927" y="3498"/>
                  </a:lnTo>
                  <a:lnTo>
                    <a:pt x="6926" y="3492"/>
                  </a:lnTo>
                  <a:lnTo>
                    <a:pt x="6927" y="3484"/>
                  </a:lnTo>
                  <a:lnTo>
                    <a:pt x="6931" y="3478"/>
                  </a:lnTo>
                  <a:lnTo>
                    <a:pt x="6937" y="3473"/>
                  </a:lnTo>
                  <a:lnTo>
                    <a:pt x="6946" y="3471"/>
                  </a:lnTo>
                  <a:close/>
                  <a:moveTo>
                    <a:pt x="6236" y="3735"/>
                  </a:moveTo>
                  <a:lnTo>
                    <a:pt x="6369" y="3735"/>
                  </a:lnTo>
                  <a:lnTo>
                    <a:pt x="6378" y="3736"/>
                  </a:lnTo>
                  <a:lnTo>
                    <a:pt x="6384" y="3741"/>
                  </a:lnTo>
                  <a:lnTo>
                    <a:pt x="6387" y="3748"/>
                  </a:lnTo>
                  <a:lnTo>
                    <a:pt x="6388" y="3754"/>
                  </a:lnTo>
                  <a:lnTo>
                    <a:pt x="6387" y="3762"/>
                  </a:lnTo>
                  <a:lnTo>
                    <a:pt x="6384" y="3768"/>
                  </a:lnTo>
                  <a:lnTo>
                    <a:pt x="6378" y="3773"/>
                  </a:lnTo>
                  <a:lnTo>
                    <a:pt x="6369" y="3774"/>
                  </a:lnTo>
                  <a:lnTo>
                    <a:pt x="6236" y="3774"/>
                  </a:lnTo>
                  <a:lnTo>
                    <a:pt x="6227" y="3773"/>
                  </a:lnTo>
                  <a:lnTo>
                    <a:pt x="6220" y="3768"/>
                  </a:lnTo>
                  <a:lnTo>
                    <a:pt x="6216" y="3762"/>
                  </a:lnTo>
                  <a:lnTo>
                    <a:pt x="6215" y="3754"/>
                  </a:lnTo>
                  <a:lnTo>
                    <a:pt x="6216" y="3748"/>
                  </a:lnTo>
                  <a:lnTo>
                    <a:pt x="6220" y="3741"/>
                  </a:lnTo>
                  <a:lnTo>
                    <a:pt x="6227" y="3736"/>
                  </a:lnTo>
                  <a:lnTo>
                    <a:pt x="6236" y="3735"/>
                  </a:lnTo>
                  <a:close/>
                  <a:moveTo>
                    <a:pt x="6472" y="3735"/>
                  </a:moveTo>
                  <a:lnTo>
                    <a:pt x="6605" y="3735"/>
                  </a:lnTo>
                  <a:lnTo>
                    <a:pt x="6614" y="3736"/>
                  </a:lnTo>
                  <a:lnTo>
                    <a:pt x="6620" y="3741"/>
                  </a:lnTo>
                  <a:lnTo>
                    <a:pt x="6624" y="3748"/>
                  </a:lnTo>
                  <a:lnTo>
                    <a:pt x="6626" y="3754"/>
                  </a:lnTo>
                  <a:lnTo>
                    <a:pt x="6624" y="3762"/>
                  </a:lnTo>
                  <a:lnTo>
                    <a:pt x="6620" y="3768"/>
                  </a:lnTo>
                  <a:lnTo>
                    <a:pt x="6614" y="3773"/>
                  </a:lnTo>
                  <a:lnTo>
                    <a:pt x="6605" y="3774"/>
                  </a:lnTo>
                  <a:lnTo>
                    <a:pt x="6472" y="3774"/>
                  </a:lnTo>
                  <a:lnTo>
                    <a:pt x="6464" y="3773"/>
                  </a:lnTo>
                  <a:lnTo>
                    <a:pt x="6458" y="3768"/>
                  </a:lnTo>
                  <a:lnTo>
                    <a:pt x="6454" y="3762"/>
                  </a:lnTo>
                  <a:lnTo>
                    <a:pt x="6452" y="3754"/>
                  </a:lnTo>
                  <a:lnTo>
                    <a:pt x="6454" y="3748"/>
                  </a:lnTo>
                  <a:lnTo>
                    <a:pt x="6458" y="3741"/>
                  </a:lnTo>
                  <a:lnTo>
                    <a:pt x="6464" y="3736"/>
                  </a:lnTo>
                  <a:lnTo>
                    <a:pt x="6472" y="3735"/>
                  </a:lnTo>
                  <a:close/>
                  <a:moveTo>
                    <a:pt x="6709" y="3735"/>
                  </a:moveTo>
                  <a:lnTo>
                    <a:pt x="6842" y="3735"/>
                  </a:lnTo>
                  <a:lnTo>
                    <a:pt x="6851" y="3736"/>
                  </a:lnTo>
                  <a:lnTo>
                    <a:pt x="6858" y="3741"/>
                  </a:lnTo>
                  <a:lnTo>
                    <a:pt x="6861" y="3748"/>
                  </a:lnTo>
                  <a:lnTo>
                    <a:pt x="6863" y="3754"/>
                  </a:lnTo>
                  <a:lnTo>
                    <a:pt x="6861" y="3762"/>
                  </a:lnTo>
                  <a:lnTo>
                    <a:pt x="6858" y="3768"/>
                  </a:lnTo>
                  <a:lnTo>
                    <a:pt x="6851" y="3773"/>
                  </a:lnTo>
                  <a:lnTo>
                    <a:pt x="6842" y="3774"/>
                  </a:lnTo>
                  <a:lnTo>
                    <a:pt x="6709" y="3774"/>
                  </a:lnTo>
                  <a:lnTo>
                    <a:pt x="6700" y="3773"/>
                  </a:lnTo>
                  <a:lnTo>
                    <a:pt x="6693" y="3768"/>
                  </a:lnTo>
                  <a:lnTo>
                    <a:pt x="6690" y="3762"/>
                  </a:lnTo>
                  <a:lnTo>
                    <a:pt x="6688" y="3754"/>
                  </a:lnTo>
                  <a:lnTo>
                    <a:pt x="6690" y="3748"/>
                  </a:lnTo>
                  <a:lnTo>
                    <a:pt x="6693" y="3741"/>
                  </a:lnTo>
                  <a:lnTo>
                    <a:pt x="6700" y="3736"/>
                  </a:lnTo>
                  <a:lnTo>
                    <a:pt x="6709" y="3735"/>
                  </a:lnTo>
                  <a:close/>
                  <a:moveTo>
                    <a:pt x="6946" y="3735"/>
                  </a:moveTo>
                  <a:lnTo>
                    <a:pt x="7078" y="3735"/>
                  </a:lnTo>
                  <a:lnTo>
                    <a:pt x="7087" y="3736"/>
                  </a:lnTo>
                  <a:lnTo>
                    <a:pt x="7094" y="3741"/>
                  </a:lnTo>
                  <a:lnTo>
                    <a:pt x="7097" y="3748"/>
                  </a:lnTo>
                  <a:lnTo>
                    <a:pt x="7099" y="3754"/>
                  </a:lnTo>
                  <a:lnTo>
                    <a:pt x="7097" y="3762"/>
                  </a:lnTo>
                  <a:lnTo>
                    <a:pt x="7094" y="3768"/>
                  </a:lnTo>
                  <a:lnTo>
                    <a:pt x="7087" y="3773"/>
                  </a:lnTo>
                  <a:lnTo>
                    <a:pt x="7078" y="3774"/>
                  </a:lnTo>
                  <a:lnTo>
                    <a:pt x="6946" y="3774"/>
                  </a:lnTo>
                  <a:lnTo>
                    <a:pt x="6937" y="3773"/>
                  </a:lnTo>
                  <a:lnTo>
                    <a:pt x="6931" y="3768"/>
                  </a:lnTo>
                  <a:lnTo>
                    <a:pt x="6927" y="3762"/>
                  </a:lnTo>
                  <a:lnTo>
                    <a:pt x="6926" y="3754"/>
                  </a:lnTo>
                  <a:lnTo>
                    <a:pt x="6927" y="3748"/>
                  </a:lnTo>
                  <a:lnTo>
                    <a:pt x="6931" y="3741"/>
                  </a:lnTo>
                  <a:lnTo>
                    <a:pt x="6937" y="3736"/>
                  </a:lnTo>
                  <a:lnTo>
                    <a:pt x="6946" y="3735"/>
                  </a:lnTo>
                  <a:close/>
                  <a:moveTo>
                    <a:pt x="6236" y="3997"/>
                  </a:moveTo>
                  <a:lnTo>
                    <a:pt x="6369" y="3997"/>
                  </a:lnTo>
                  <a:lnTo>
                    <a:pt x="6378" y="3999"/>
                  </a:lnTo>
                  <a:lnTo>
                    <a:pt x="6384" y="4003"/>
                  </a:lnTo>
                  <a:lnTo>
                    <a:pt x="6387" y="4010"/>
                  </a:lnTo>
                  <a:lnTo>
                    <a:pt x="6388" y="4017"/>
                  </a:lnTo>
                  <a:lnTo>
                    <a:pt x="6387" y="4025"/>
                  </a:lnTo>
                  <a:lnTo>
                    <a:pt x="6384" y="4031"/>
                  </a:lnTo>
                  <a:lnTo>
                    <a:pt x="6378" y="4035"/>
                  </a:lnTo>
                  <a:lnTo>
                    <a:pt x="6369" y="4038"/>
                  </a:lnTo>
                  <a:lnTo>
                    <a:pt x="6236" y="4038"/>
                  </a:lnTo>
                  <a:lnTo>
                    <a:pt x="6227" y="4035"/>
                  </a:lnTo>
                  <a:lnTo>
                    <a:pt x="6220" y="4031"/>
                  </a:lnTo>
                  <a:lnTo>
                    <a:pt x="6216" y="4025"/>
                  </a:lnTo>
                  <a:lnTo>
                    <a:pt x="6215" y="4017"/>
                  </a:lnTo>
                  <a:lnTo>
                    <a:pt x="6216" y="4010"/>
                  </a:lnTo>
                  <a:lnTo>
                    <a:pt x="6220" y="4003"/>
                  </a:lnTo>
                  <a:lnTo>
                    <a:pt x="6227" y="3999"/>
                  </a:lnTo>
                  <a:lnTo>
                    <a:pt x="6236" y="3997"/>
                  </a:lnTo>
                  <a:close/>
                  <a:moveTo>
                    <a:pt x="6472" y="3997"/>
                  </a:moveTo>
                  <a:lnTo>
                    <a:pt x="6605" y="3997"/>
                  </a:lnTo>
                  <a:lnTo>
                    <a:pt x="6614" y="3999"/>
                  </a:lnTo>
                  <a:lnTo>
                    <a:pt x="6620" y="4003"/>
                  </a:lnTo>
                  <a:lnTo>
                    <a:pt x="6624" y="4010"/>
                  </a:lnTo>
                  <a:lnTo>
                    <a:pt x="6626" y="4017"/>
                  </a:lnTo>
                  <a:lnTo>
                    <a:pt x="6624" y="4025"/>
                  </a:lnTo>
                  <a:lnTo>
                    <a:pt x="6620" y="4031"/>
                  </a:lnTo>
                  <a:lnTo>
                    <a:pt x="6614" y="4035"/>
                  </a:lnTo>
                  <a:lnTo>
                    <a:pt x="6605" y="4038"/>
                  </a:lnTo>
                  <a:lnTo>
                    <a:pt x="6472" y="4038"/>
                  </a:lnTo>
                  <a:lnTo>
                    <a:pt x="6464" y="4035"/>
                  </a:lnTo>
                  <a:lnTo>
                    <a:pt x="6458" y="4031"/>
                  </a:lnTo>
                  <a:lnTo>
                    <a:pt x="6454" y="4025"/>
                  </a:lnTo>
                  <a:lnTo>
                    <a:pt x="6452" y="4017"/>
                  </a:lnTo>
                  <a:lnTo>
                    <a:pt x="6454" y="4010"/>
                  </a:lnTo>
                  <a:lnTo>
                    <a:pt x="6458" y="4003"/>
                  </a:lnTo>
                  <a:lnTo>
                    <a:pt x="6464" y="3999"/>
                  </a:lnTo>
                  <a:lnTo>
                    <a:pt x="6472" y="3997"/>
                  </a:lnTo>
                  <a:close/>
                  <a:moveTo>
                    <a:pt x="6709" y="3997"/>
                  </a:moveTo>
                  <a:lnTo>
                    <a:pt x="6842" y="3997"/>
                  </a:lnTo>
                  <a:lnTo>
                    <a:pt x="6851" y="3999"/>
                  </a:lnTo>
                  <a:lnTo>
                    <a:pt x="6858" y="4003"/>
                  </a:lnTo>
                  <a:lnTo>
                    <a:pt x="6861" y="4010"/>
                  </a:lnTo>
                  <a:lnTo>
                    <a:pt x="6863" y="4017"/>
                  </a:lnTo>
                  <a:lnTo>
                    <a:pt x="6861" y="4025"/>
                  </a:lnTo>
                  <a:lnTo>
                    <a:pt x="6858" y="4031"/>
                  </a:lnTo>
                  <a:lnTo>
                    <a:pt x="6851" y="4035"/>
                  </a:lnTo>
                  <a:lnTo>
                    <a:pt x="6842" y="4038"/>
                  </a:lnTo>
                  <a:lnTo>
                    <a:pt x="6709" y="4038"/>
                  </a:lnTo>
                  <a:lnTo>
                    <a:pt x="6700" y="4035"/>
                  </a:lnTo>
                  <a:lnTo>
                    <a:pt x="6693" y="4031"/>
                  </a:lnTo>
                  <a:lnTo>
                    <a:pt x="6690" y="4025"/>
                  </a:lnTo>
                  <a:lnTo>
                    <a:pt x="6688" y="4017"/>
                  </a:lnTo>
                  <a:lnTo>
                    <a:pt x="6690" y="4010"/>
                  </a:lnTo>
                  <a:lnTo>
                    <a:pt x="6693" y="4003"/>
                  </a:lnTo>
                  <a:lnTo>
                    <a:pt x="6700" y="3999"/>
                  </a:lnTo>
                  <a:lnTo>
                    <a:pt x="6709" y="3997"/>
                  </a:lnTo>
                  <a:close/>
                  <a:moveTo>
                    <a:pt x="6946" y="3997"/>
                  </a:moveTo>
                  <a:lnTo>
                    <a:pt x="7078" y="3997"/>
                  </a:lnTo>
                  <a:lnTo>
                    <a:pt x="7087" y="3999"/>
                  </a:lnTo>
                  <a:lnTo>
                    <a:pt x="7094" y="4003"/>
                  </a:lnTo>
                  <a:lnTo>
                    <a:pt x="7097" y="4010"/>
                  </a:lnTo>
                  <a:lnTo>
                    <a:pt x="7099" y="4017"/>
                  </a:lnTo>
                  <a:lnTo>
                    <a:pt x="7097" y="4025"/>
                  </a:lnTo>
                  <a:lnTo>
                    <a:pt x="7094" y="4031"/>
                  </a:lnTo>
                  <a:lnTo>
                    <a:pt x="7087" y="4035"/>
                  </a:lnTo>
                  <a:lnTo>
                    <a:pt x="7078" y="4038"/>
                  </a:lnTo>
                  <a:lnTo>
                    <a:pt x="6946" y="4038"/>
                  </a:lnTo>
                  <a:lnTo>
                    <a:pt x="6937" y="4035"/>
                  </a:lnTo>
                  <a:lnTo>
                    <a:pt x="6931" y="4031"/>
                  </a:lnTo>
                  <a:lnTo>
                    <a:pt x="6927" y="4025"/>
                  </a:lnTo>
                  <a:lnTo>
                    <a:pt x="6926" y="4017"/>
                  </a:lnTo>
                  <a:lnTo>
                    <a:pt x="6927" y="4010"/>
                  </a:lnTo>
                  <a:lnTo>
                    <a:pt x="6931" y="4003"/>
                  </a:lnTo>
                  <a:lnTo>
                    <a:pt x="6937" y="3999"/>
                  </a:lnTo>
                  <a:lnTo>
                    <a:pt x="6946" y="3997"/>
                  </a:lnTo>
                  <a:close/>
                  <a:moveTo>
                    <a:pt x="7545" y="2941"/>
                  </a:moveTo>
                  <a:lnTo>
                    <a:pt x="7545" y="3052"/>
                  </a:lnTo>
                  <a:lnTo>
                    <a:pt x="7542" y="3061"/>
                  </a:lnTo>
                  <a:lnTo>
                    <a:pt x="7539" y="3067"/>
                  </a:lnTo>
                  <a:lnTo>
                    <a:pt x="7532" y="3071"/>
                  </a:lnTo>
                  <a:lnTo>
                    <a:pt x="7524" y="3072"/>
                  </a:lnTo>
                  <a:lnTo>
                    <a:pt x="7517" y="3071"/>
                  </a:lnTo>
                  <a:lnTo>
                    <a:pt x="7510" y="3067"/>
                  </a:lnTo>
                  <a:lnTo>
                    <a:pt x="7506" y="3061"/>
                  </a:lnTo>
                  <a:lnTo>
                    <a:pt x="7505" y="3052"/>
                  </a:lnTo>
                  <a:lnTo>
                    <a:pt x="7505" y="2941"/>
                  </a:lnTo>
                  <a:lnTo>
                    <a:pt x="7506" y="2932"/>
                  </a:lnTo>
                  <a:lnTo>
                    <a:pt x="7510" y="2925"/>
                  </a:lnTo>
                  <a:lnTo>
                    <a:pt x="7517" y="2922"/>
                  </a:lnTo>
                  <a:lnTo>
                    <a:pt x="7524" y="2920"/>
                  </a:lnTo>
                  <a:lnTo>
                    <a:pt x="7532" y="2922"/>
                  </a:lnTo>
                  <a:lnTo>
                    <a:pt x="7539" y="2925"/>
                  </a:lnTo>
                  <a:lnTo>
                    <a:pt x="7542" y="2932"/>
                  </a:lnTo>
                  <a:lnTo>
                    <a:pt x="7545" y="2941"/>
                  </a:lnTo>
                  <a:close/>
                  <a:moveTo>
                    <a:pt x="7808" y="2941"/>
                  </a:moveTo>
                  <a:lnTo>
                    <a:pt x="7808" y="3052"/>
                  </a:lnTo>
                  <a:lnTo>
                    <a:pt x="7807" y="3061"/>
                  </a:lnTo>
                  <a:lnTo>
                    <a:pt x="7801" y="3067"/>
                  </a:lnTo>
                  <a:lnTo>
                    <a:pt x="7795" y="3071"/>
                  </a:lnTo>
                  <a:lnTo>
                    <a:pt x="7787" y="3072"/>
                  </a:lnTo>
                  <a:lnTo>
                    <a:pt x="7781" y="3071"/>
                  </a:lnTo>
                  <a:lnTo>
                    <a:pt x="7774" y="3067"/>
                  </a:lnTo>
                  <a:lnTo>
                    <a:pt x="7769" y="3061"/>
                  </a:lnTo>
                  <a:lnTo>
                    <a:pt x="7768" y="3052"/>
                  </a:lnTo>
                  <a:lnTo>
                    <a:pt x="7768" y="2941"/>
                  </a:lnTo>
                  <a:lnTo>
                    <a:pt x="7769" y="2932"/>
                  </a:lnTo>
                  <a:lnTo>
                    <a:pt x="7774" y="2925"/>
                  </a:lnTo>
                  <a:lnTo>
                    <a:pt x="7781" y="2922"/>
                  </a:lnTo>
                  <a:lnTo>
                    <a:pt x="7787" y="2920"/>
                  </a:lnTo>
                  <a:lnTo>
                    <a:pt x="7795" y="2922"/>
                  </a:lnTo>
                  <a:lnTo>
                    <a:pt x="7801" y="2925"/>
                  </a:lnTo>
                  <a:lnTo>
                    <a:pt x="7807" y="2932"/>
                  </a:lnTo>
                  <a:lnTo>
                    <a:pt x="7808" y="2941"/>
                  </a:lnTo>
                  <a:close/>
                  <a:moveTo>
                    <a:pt x="8071" y="2941"/>
                  </a:moveTo>
                  <a:lnTo>
                    <a:pt x="8071" y="3052"/>
                  </a:lnTo>
                  <a:lnTo>
                    <a:pt x="8069" y="3061"/>
                  </a:lnTo>
                  <a:lnTo>
                    <a:pt x="8064" y="3067"/>
                  </a:lnTo>
                  <a:lnTo>
                    <a:pt x="8058" y="3071"/>
                  </a:lnTo>
                  <a:lnTo>
                    <a:pt x="8051" y="3072"/>
                  </a:lnTo>
                  <a:lnTo>
                    <a:pt x="8044" y="3071"/>
                  </a:lnTo>
                  <a:lnTo>
                    <a:pt x="8037" y="3067"/>
                  </a:lnTo>
                  <a:lnTo>
                    <a:pt x="8032" y="3061"/>
                  </a:lnTo>
                  <a:lnTo>
                    <a:pt x="8031" y="3052"/>
                  </a:lnTo>
                  <a:lnTo>
                    <a:pt x="8031" y="2941"/>
                  </a:lnTo>
                  <a:lnTo>
                    <a:pt x="8032" y="2932"/>
                  </a:lnTo>
                  <a:lnTo>
                    <a:pt x="8037" y="2925"/>
                  </a:lnTo>
                  <a:lnTo>
                    <a:pt x="8044" y="2922"/>
                  </a:lnTo>
                  <a:lnTo>
                    <a:pt x="8051" y="2920"/>
                  </a:lnTo>
                  <a:lnTo>
                    <a:pt x="8058" y="2922"/>
                  </a:lnTo>
                  <a:lnTo>
                    <a:pt x="8064" y="2925"/>
                  </a:lnTo>
                  <a:lnTo>
                    <a:pt x="8069" y="2932"/>
                  </a:lnTo>
                  <a:lnTo>
                    <a:pt x="8071" y="2941"/>
                  </a:lnTo>
                  <a:close/>
                  <a:moveTo>
                    <a:pt x="8334" y="2941"/>
                  </a:moveTo>
                  <a:lnTo>
                    <a:pt x="8334" y="3052"/>
                  </a:lnTo>
                  <a:lnTo>
                    <a:pt x="8332" y="3061"/>
                  </a:lnTo>
                  <a:lnTo>
                    <a:pt x="8327" y="3067"/>
                  </a:lnTo>
                  <a:lnTo>
                    <a:pt x="8322" y="3071"/>
                  </a:lnTo>
                  <a:lnTo>
                    <a:pt x="8314" y="3072"/>
                  </a:lnTo>
                  <a:lnTo>
                    <a:pt x="8307" y="3071"/>
                  </a:lnTo>
                  <a:lnTo>
                    <a:pt x="8300" y="3067"/>
                  </a:lnTo>
                  <a:lnTo>
                    <a:pt x="8296" y="3061"/>
                  </a:lnTo>
                  <a:lnTo>
                    <a:pt x="8294" y="3052"/>
                  </a:lnTo>
                  <a:lnTo>
                    <a:pt x="8294" y="2941"/>
                  </a:lnTo>
                  <a:lnTo>
                    <a:pt x="8296" y="2932"/>
                  </a:lnTo>
                  <a:lnTo>
                    <a:pt x="8300" y="2925"/>
                  </a:lnTo>
                  <a:lnTo>
                    <a:pt x="8307" y="2922"/>
                  </a:lnTo>
                  <a:lnTo>
                    <a:pt x="8314" y="2920"/>
                  </a:lnTo>
                  <a:lnTo>
                    <a:pt x="8322" y="2922"/>
                  </a:lnTo>
                  <a:lnTo>
                    <a:pt x="8327" y="2925"/>
                  </a:lnTo>
                  <a:lnTo>
                    <a:pt x="8332" y="2932"/>
                  </a:lnTo>
                  <a:lnTo>
                    <a:pt x="8334" y="2941"/>
                  </a:lnTo>
                  <a:close/>
                  <a:moveTo>
                    <a:pt x="8598" y="2941"/>
                  </a:moveTo>
                  <a:lnTo>
                    <a:pt x="8598" y="3052"/>
                  </a:lnTo>
                  <a:lnTo>
                    <a:pt x="8595" y="3061"/>
                  </a:lnTo>
                  <a:lnTo>
                    <a:pt x="8591" y="3067"/>
                  </a:lnTo>
                  <a:lnTo>
                    <a:pt x="8585" y="3071"/>
                  </a:lnTo>
                  <a:lnTo>
                    <a:pt x="8577" y="3072"/>
                  </a:lnTo>
                  <a:lnTo>
                    <a:pt x="8569" y="3071"/>
                  </a:lnTo>
                  <a:lnTo>
                    <a:pt x="8563" y="3067"/>
                  </a:lnTo>
                  <a:lnTo>
                    <a:pt x="8559" y="3061"/>
                  </a:lnTo>
                  <a:lnTo>
                    <a:pt x="8557" y="3052"/>
                  </a:lnTo>
                  <a:lnTo>
                    <a:pt x="8557" y="2941"/>
                  </a:lnTo>
                  <a:lnTo>
                    <a:pt x="8559" y="2932"/>
                  </a:lnTo>
                  <a:lnTo>
                    <a:pt x="8563" y="2925"/>
                  </a:lnTo>
                  <a:lnTo>
                    <a:pt x="8569" y="2922"/>
                  </a:lnTo>
                  <a:lnTo>
                    <a:pt x="8577" y="2920"/>
                  </a:lnTo>
                  <a:lnTo>
                    <a:pt x="8585" y="2922"/>
                  </a:lnTo>
                  <a:lnTo>
                    <a:pt x="8591" y="2925"/>
                  </a:lnTo>
                  <a:lnTo>
                    <a:pt x="8595" y="2932"/>
                  </a:lnTo>
                  <a:lnTo>
                    <a:pt x="8598" y="2941"/>
                  </a:lnTo>
                  <a:close/>
                  <a:moveTo>
                    <a:pt x="8861" y="2941"/>
                  </a:moveTo>
                  <a:lnTo>
                    <a:pt x="8861" y="3052"/>
                  </a:lnTo>
                  <a:lnTo>
                    <a:pt x="8858" y="3061"/>
                  </a:lnTo>
                  <a:lnTo>
                    <a:pt x="8854" y="3067"/>
                  </a:lnTo>
                  <a:lnTo>
                    <a:pt x="8848" y="3071"/>
                  </a:lnTo>
                  <a:lnTo>
                    <a:pt x="8840" y="3072"/>
                  </a:lnTo>
                  <a:lnTo>
                    <a:pt x="8832" y="3071"/>
                  </a:lnTo>
                  <a:lnTo>
                    <a:pt x="8826" y="3067"/>
                  </a:lnTo>
                  <a:lnTo>
                    <a:pt x="8822" y="3061"/>
                  </a:lnTo>
                  <a:lnTo>
                    <a:pt x="8821" y="3052"/>
                  </a:lnTo>
                  <a:lnTo>
                    <a:pt x="8821" y="2941"/>
                  </a:lnTo>
                  <a:lnTo>
                    <a:pt x="8822" y="2932"/>
                  </a:lnTo>
                  <a:lnTo>
                    <a:pt x="8826" y="2925"/>
                  </a:lnTo>
                  <a:lnTo>
                    <a:pt x="8832" y="2922"/>
                  </a:lnTo>
                  <a:lnTo>
                    <a:pt x="8840" y="2920"/>
                  </a:lnTo>
                  <a:lnTo>
                    <a:pt x="8848" y="2922"/>
                  </a:lnTo>
                  <a:lnTo>
                    <a:pt x="8854" y="2925"/>
                  </a:lnTo>
                  <a:lnTo>
                    <a:pt x="8858" y="2932"/>
                  </a:lnTo>
                  <a:lnTo>
                    <a:pt x="8861" y="2941"/>
                  </a:lnTo>
                  <a:close/>
                  <a:moveTo>
                    <a:pt x="7545" y="3186"/>
                  </a:moveTo>
                  <a:lnTo>
                    <a:pt x="7545" y="3299"/>
                  </a:lnTo>
                  <a:lnTo>
                    <a:pt x="7542" y="3308"/>
                  </a:lnTo>
                  <a:lnTo>
                    <a:pt x="7539" y="3314"/>
                  </a:lnTo>
                  <a:lnTo>
                    <a:pt x="7532" y="3318"/>
                  </a:lnTo>
                  <a:lnTo>
                    <a:pt x="7524" y="3319"/>
                  </a:lnTo>
                  <a:lnTo>
                    <a:pt x="7517" y="3318"/>
                  </a:lnTo>
                  <a:lnTo>
                    <a:pt x="7510" y="3314"/>
                  </a:lnTo>
                  <a:lnTo>
                    <a:pt x="7506" y="3308"/>
                  </a:lnTo>
                  <a:lnTo>
                    <a:pt x="7505" y="3299"/>
                  </a:lnTo>
                  <a:lnTo>
                    <a:pt x="7505" y="3186"/>
                  </a:lnTo>
                  <a:lnTo>
                    <a:pt x="7506" y="3179"/>
                  </a:lnTo>
                  <a:lnTo>
                    <a:pt x="7510" y="3172"/>
                  </a:lnTo>
                  <a:lnTo>
                    <a:pt x="7517" y="3168"/>
                  </a:lnTo>
                  <a:lnTo>
                    <a:pt x="7524" y="3167"/>
                  </a:lnTo>
                  <a:lnTo>
                    <a:pt x="7532" y="3168"/>
                  </a:lnTo>
                  <a:lnTo>
                    <a:pt x="7539" y="3172"/>
                  </a:lnTo>
                  <a:lnTo>
                    <a:pt x="7542" y="3179"/>
                  </a:lnTo>
                  <a:lnTo>
                    <a:pt x="7545" y="3186"/>
                  </a:lnTo>
                  <a:close/>
                  <a:moveTo>
                    <a:pt x="7808" y="3186"/>
                  </a:moveTo>
                  <a:lnTo>
                    <a:pt x="7808" y="3299"/>
                  </a:lnTo>
                  <a:lnTo>
                    <a:pt x="7807" y="3308"/>
                  </a:lnTo>
                  <a:lnTo>
                    <a:pt x="7801" y="3314"/>
                  </a:lnTo>
                  <a:lnTo>
                    <a:pt x="7795" y="3318"/>
                  </a:lnTo>
                  <a:lnTo>
                    <a:pt x="7787" y="3319"/>
                  </a:lnTo>
                  <a:lnTo>
                    <a:pt x="7781" y="3318"/>
                  </a:lnTo>
                  <a:lnTo>
                    <a:pt x="7774" y="3314"/>
                  </a:lnTo>
                  <a:lnTo>
                    <a:pt x="7769" y="3308"/>
                  </a:lnTo>
                  <a:lnTo>
                    <a:pt x="7768" y="3299"/>
                  </a:lnTo>
                  <a:lnTo>
                    <a:pt x="7768" y="3186"/>
                  </a:lnTo>
                  <a:lnTo>
                    <a:pt x="7769" y="3179"/>
                  </a:lnTo>
                  <a:lnTo>
                    <a:pt x="7774" y="3172"/>
                  </a:lnTo>
                  <a:lnTo>
                    <a:pt x="7781" y="3168"/>
                  </a:lnTo>
                  <a:lnTo>
                    <a:pt x="7787" y="3167"/>
                  </a:lnTo>
                  <a:lnTo>
                    <a:pt x="7795" y="3168"/>
                  </a:lnTo>
                  <a:lnTo>
                    <a:pt x="7801" y="3172"/>
                  </a:lnTo>
                  <a:lnTo>
                    <a:pt x="7807" y="3179"/>
                  </a:lnTo>
                  <a:lnTo>
                    <a:pt x="7808" y="3186"/>
                  </a:lnTo>
                  <a:close/>
                  <a:moveTo>
                    <a:pt x="8071" y="3186"/>
                  </a:moveTo>
                  <a:lnTo>
                    <a:pt x="8071" y="3299"/>
                  </a:lnTo>
                  <a:lnTo>
                    <a:pt x="8069" y="3308"/>
                  </a:lnTo>
                  <a:lnTo>
                    <a:pt x="8064" y="3314"/>
                  </a:lnTo>
                  <a:lnTo>
                    <a:pt x="8058" y="3318"/>
                  </a:lnTo>
                  <a:lnTo>
                    <a:pt x="8051" y="3319"/>
                  </a:lnTo>
                  <a:lnTo>
                    <a:pt x="8044" y="3318"/>
                  </a:lnTo>
                  <a:lnTo>
                    <a:pt x="8037" y="3314"/>
                  </a:lnTo>
                  <a:lnTo>
                    <a:pt x="8032" y="3308"/>
                  </a:lnTo>
                  <a:lnTo>
                    <a:pt x="8031" y="3299"/>
                  </a:lnTo>
                  <a:lnTo>
                    <a:pt x="8031" y="3186"/>
                  </a:lnTo>
                  <a:lnTo>
                    <a:pt x="8032" y="3179"/>
                  </a:lnTo>
                  <a:lnTo>
                    <a:pt x="8037" y="3172"/>
                  </a:lnTo>
                  <a:lnTo>
                    <a:pt x="8044" y="3168"/>
                  </a:lnTo>
                  <a:lnTo>
                    <a:pt x="8051" y="3167"/>
                  </a:lnTo>
                  <a:lnTo>
                    <a:pt x="8058" y="3168"/>
                  </a:lnTo>
                  <a:lnTo>
                    <a:pt x="8064" y="3172"/>
                  </a:lnTo>
                  <a:lnTo>
                    <a:pt x="8069" y="3179"/>
                  </a:lnTo>
                  <a:lnTo>
                    <a:pt x="8071" y="3186"/>
                  </a:lnTo>
                  <a:close/>
                  <a:moveTo>
                    <a:pt x="8334" y="3186"/>
                  </a:moveTo>
                  <a:lnTo>
                    <a:pt x="8334" y="3299"/>
                  </a:lnTo>
                  <a:lnTo>
                    <a:pt x="8332" y="3308"/>
                  </a:lnTo>
                  <a:lnTo>
                    <a:pt x="8327" y="3314"/>
                  </a:lnTo>
                  <a:lnTo>
                    <a:pt x="8322" y="3318"/>
                  </a:lnTo>
                  <a:lnTo>
                    <a:pt x="8314" y="3319"/>
                  </a:lnTo>
                  <a:lnTo>
                    <a:pt x="8307" y="3318"/>
                  </a:lnTo>
                  <a:lnTo>
                    <a:pt x="8300" y="3314"/>
                  </a:lnTo>
                  <a:lnTo>
                    <a:pt x="8296" y="3308"/>
                  </a:lnTo>
                  <a:lnTo>
                    <a:pt x="8294" y="3299"/>
                  </a:lnTo>
                  <a:lnTo>
                    <a:pt x="8294" y="3186"/>
                  </a:lnTo>
                  <a:lnTo>
                    <a:pt x="8296" y="3179"/>
                  </a:lnTo>
                  <a:lnTo>
                    <a:pt x="8300" y="3172"/>
                  </a:lnTo>
                  <a:lnTo>
                    <a:pt x="8307" y="3168"/>
                  </a:lnTo>
                  <a:lnTo>
                    <a:pt x="8314" y="3167"/>
                  </a:lnTo>
                  <a:lnTo>
                    <a:pt x="8322" y="3168"/>
                  </a:lnTo>
                  <a:lnTo>
                    <a:pt x="8327" y="3172"/>
                  </a:lnTo>
                  <a:lnTo>
                    <a:pt x="8332" y="3179"/>
                  </a:lnTo>
                  <a:lnTo>
                    <a:pt x="8334" y="3186"/>
                  </a:lnTo>
                  <a:close/>
                  <a:moveTo>
                    <a:pt x="8598" y="3186"/>
                  </a:moveTo>
                  <a:lnTo>
                    <a:pt x="8598" y="3299"/>
                  </a:lnTo>
                  <a:lnTo>
                    <a:pt x="8595" y="3308"/>
                  </a:lnTo>
                  <a:lnTo>
                    <a:pt x="8591" y="3314"/>
                  </a:lnTo>
                  <a:lnTo>
                    <a:pt x="8585" y="3318"/>
                  </a:lnTo>
                  <a:lnTo>
                    <a:pt x="8577" y="3319"/>
                  </a:lnTo>
                  <a:lnTo>
                    <a:pt x="8569" y="3318"/>
                  </a:lnTo>
                  <a:lnTo>
                    <a:pt x="8563" y="3314"/>
                  </a:lnTo>
                  <a:lnTo>
                    <a:pt x="8559" y="3308"/>
                  </a:lnTo>
                  <a:lnTo>
                    <a:pt x="8557" y="3299"/>
                  </a:lnTo>
                  <a:lnTo>
                    <a:pt x="8557" y="3186"/>
                  </a:lnTo>
                  <a:lnTo>
                    <a:pt x="8559" y="3179"/>
                  </a:lnTo>
                  <a:lnTo>
                    <a:pt x="8563" y="3172"/>
                  </a:lnTo>
                  <a:lnTo>
                    <a:pt x="8569" y="3168"/>
                  </a:lnTo>
                  <a:lnTo>
                    <a:pt x="8577" y="3167"/>
                  </a:lnTo>
                  <a:lnTo>
                    <a:pt x="8585" y="3168"/>
                  </a:lnTo>
                  <a:lnTo>
                    <a:pt x="8591" y="3172"/>
                  </a:lnTo>
                  <a:lnTo>
                    <a:pt x="8595" y="3179"/>
                  </a:lnTo>
                  <a:lnTo>
                    <a:pt x="8598" y="3186"/>
                  </a:lnTo>
                  <a:close/>
                  <a:moveTo>
                    <a:pt x="8861" y="3186"/>
                  </a:moveTo>
                  <a:lnTo>
                    <a:pt x="8861" y="3299"/>
                  </a:lnTo>
                  <a:lnTo>
                    <a:pt x="8858" y="3308"/>
                  </a:lnTo>
                  <a:lnTo>
                    <a:pt x="8854" y="3314"/>
                  </a:lnTo>
                  <a:lnTo>
                    <a:pt x="8848" y="3318"/>
                  </a:lnTo>
                  <a:lnTo>
                    <a:pt x="8840" y="3319"/>
                  </a:lnTo>
                  <a:lnTo>
                    <a:pt x="8832" y="3318"/>
                  </a:lnTo>
                  <a:lnTo>
                    <a:pt x="8826" y="3314"/>
                  </a:lnTo>
                  <a:lnTo>
                    <a:pt x="8822" y="3308"/>
                  </a:lnTo>
                  <a:lnTo>
                    <a:pt x="8821" y="3299"/>
                  </a:lnTo>
                  <a:lnTo>
                    <a:pt x="8821" y="3186"/>
                  </a:lnTo>
                  <a:lnTo>
                    <a:pt x="8822" y="3179"/>
                  </a:lnTo>
                  <a:lnTo>
                    <a:pt x="8826" y="3172"/>
                  </a:lnTo>
                  <a:lnTo>
                    <a:pt x="8832" y="3168"/>
                  </a:lnTo>
                  <a:lnTo>
                    <a:pt x="8840" y="3167"/>
                  </a:lnTo>
                  <a:lnTo>
                    <a:pt x="8848" y="3168"/>
                  </a:lnTo>
                  <a:lnTo>
                    <a:pt x="8854" y="3172"/>
                  </a:lnTo>
                  <a:lnTo>
                    <a:pt x="8858" y="3179"/>
                  </a:lnTo>
                  <a:lnTo>
                    <a:pt x="8861" y="3186"/>
                  </a:lnTo>
                  <a:close/>
                  <a:moveTo>
                    <a:pt x="7545" y="3433"/>
                  </a:moveTo>
                  <a:lnTo>
                    <a:pt x="7545" y="3546"/>
                  </a:lnTo>
                  <a:lnTo>
                    <a:pt x="7542" y="3554"/>
                  </a:lnTo>
                  <a:lnTo>
                    <a:pt x="7539" y="3561"/>
                  </a:lnTo>
                  <a:lnTo>
                    <a:pt x="7532" y="3565"/>
                  </a:lnTo>
                  <a:lnTo>
                    <a:pt x="7524" y="3565"/>
                  </a:lnTo>
                  <a:lnTo>
                    <a:pt x="7517" y="3565"/>
                  </a:lnTo>
                  <a:lnTo>
                    <a:pt x="7510" y="3561"/>
                  </a:lnTo>
                  <a:lnTo>
                    <a:pt x="7506" y="3554"/>
                  </a:lnTo>
                  <a:lnTo>
                    <a:pt x="7505" y="3546"/>
                  </a:lnTo>
                  <a:lnTo>
                    <a:pt x="7505" y="3433"/>
                  </a:lnTo>
                  <a:lnTo>
                    <a:pt x="7506" y="3424"/>
                  </a:lnTo>
                  <a:lnTo>
                    <a:pt x="7510" y="3419"/>
                  </a:lnTo>
                  <a:lnTo>
                    <a:pt x="7517" y="3415"/>
                  </a:lnTo>
                  <a:lnTo>
                    <a:pt x="7524" y="3414"/>
                  </a:lnTo>
                  <a:lnTo>
                    <a:pt x="7532" y="3415"/>
                  </a:lnTo>
                  <a:lnTo>
                    <a:pt x="7539" y="3419"/>
                  </a:lnTo>
                  <a:lnTo>
                    <a:pt x="7542" y="3424"/>
                  </a:lnTo>
                  <a:lnTo>
                    <a:pt x="7545" y="3433"/>
                  </a:lnTo>
                  <a:close/>
                  <a:moveTo>
                    <a:pt x="7808" y="3433"/>
                  </a:moveTo>
                  <a:lnTo>
                    <a:pt x="7808" y="3546"/>
                  </a:lnTo>
                  <a:lnTo>
                    <a:pt x="7807" y="3554"/>
                  </a:lnTo>
                  <a:lnTo>
                    <a:pt x="7801" y="3561"/>
                  </a:lnTo>
                  <a:lnTo>
                    <a:pt x="7795" y="3565"/>
                  </a:lnTo>
                  <a:lnTo>
                    <a:pt x="7787" y="3565"/>
                  </a:lnTo>
                  <a:lnTo>
                    <a:pt x="7781" y="3565"/>
                  </a:lnTo>
                  <a:lnTo>
                    <a:pt x="7774" y="3561"/>
                  </a:lnTo>
                  <a:lnTo>
                    <a:pt x="7769" y="3554"/>
                  </a:lnTo>
                  <a:lnTo>
                    <a:pt x="7768" y="3546"/>
                  </a:lnTo>
                  <a:lnTo>
                    <a:pt x="7768" y="3433"/>
                  </a:lnTo>
                  <a:lnTo>
                    <a:pt x="7769" y="3424"/>
                  </a:lnTo>
                  <a:lnTo>
                    <a:pt x="7774" y="3419"/>
                  </a:lnTo>
                  <a:lnTo>
                    <a:pt x="7781" y="3415"/>
                  </a:lnTo>
                  <a:lnTo>
                    <a:pt x="7787" y="3414"/>
                  </a:lnTo>
                  <a:lnTo>
                    <a:pt x="7795" y="3415"/>
                  </a:lnTo>
                  <a:lnTo>
                    <a:pt x="7801" y="3419"/>
                  </a:lnTo>
                  <a:lnTo>
                    <a:pt x="7807" y="3424"/>
                  </a:lnTo>
                  <a:lnTo>
                    <a:pt x="7808" y="3433"/>
                  </a:lnTo>
                  <a:close/>
                  <a:moveTo>
                    <a:pt x="8071" y="3433"/>
                  </a:moveTo>
                  <a:lnTo>
                    <a:pt x="8071" y="3546"/>
                  </a:lnTo>
                  <a:lnTo>
                    <a:pt x="8069" y="3554"/>
                  </a:lnTo>
                  <a:lnTo>
                    <a:pt x="8064" y="3561"/>
                  </a:lnTo>
                  <a:lnTo>
                    <a:pt x="8058" y="3565"/>
                  </a:lnTo>
                  <a:lnTo>
                    <a:pt x="8051" y="3565"/>
                  </a:lnTo>
                  <a:lnTo>
                    <a:pt x="8044" y="3565"/>
                  </a:lnTo>
                  <a:lnTo>
                    <a:pt x="8037" y="3561"/>
                  </a:lnTo>
                  <a:lnTo>
                    <a:pt x="8032" y="3554"/>
                  </a:lnTo>
                  <a:lnTo>
                    <a:pt x="8031" y="3546"/>
                  </a:lnTo>
                  <a:lnTo>
                    <a:pt x="8031" y="3433"/>
                  </a:lnTo>
                  <a:lnTo>
                    <a:pt x="8032" y="3424"/>
                  </a:lnTo>
                  <a:lnTo>
                    <a:pt x="8037" y="3419"/>
                  </a:lnTo>
                  <a:lnTo>
                    <a:pt x="8044" y="3415"/>
                  </a:lnTo>
                  <a:lnTo>
                    <a:pt x="8051" y="3414"/>
                  </a:lnTo>
                  <a:lnTo>
                    <a:pt x="8058" y="3415"/>
                  </a:lnTo>
                  <a:lnTo>
                    <a:pt x="8064" y="3419"/>
                  </a:lnTo>
                  <a:lnTo>
                    <a:pt x="8069" y="3424"/>
                  </a:lnTo>
                  <a:lnTo>
                    <a:pt x="8071" y="3433"/>
                  </a:lnTo>
                  <a:close/>
                  <a:moveTo>
                    <a:pt x="8334" y="3433"/>
                  </a:moveTo>
                  <a:lnTo>
                    <a:pt x="8334" y="3546"/>
                  </a:lnTo>
                  <a:lnTo>
                    <a:pt x="8332" y="3554"/>
                  </a:lnTo>
                  <a:lnTo>
                    <a:pt x="8327" y="3561"/>
                  </a:lnTo>
                  <a:lnTo>
                    <a:pt x="8322" y="3565"/>
                  </a:lnTo>
                  <a:lnTo>
                    <a:pt x="8314" y="3565"/>
                  </a:lnTo>
                  <a:lnTo>
                    <a:pt x="8307" y="3565"/>
                  </a:lnTo>
                  <a:lnTo>
                    <a:pt x="8300" y="3561"/>
                  </a:lnTo>
                  <a:lnTo>
                    <a:pt x="8296" y="3554"/>
                  </a:lnTo>
                  <a:lnTo>
                    <a:pt x="8294" y="3546"/>
                  </a:lnTo>
                  <a:lnTo>
                    <a:pt x="8294" y="3433"/>
                  </a:lnTo>
                  <a:lnTo>
                    <a:pt x="8296" y="3424"/>
                  </a:lnTo>
                  <a:lnTo>
                    <a:pt x="8300" y="3419"/>
                  </a:lnTo>
                  <a:lnTo>
                    <a:pt x="8307" y="3415"/>
                  </a:lnTo>
                  <a:lnTo>
                    <a:pt x="8314" y="3414"/>
                  </a:lnTo>
                  <a:lnTo>
                    <a:pt x="8322" y="3415"/>
                  </a:lnTo>
                  <a:lnTo>
                    <a:pt x="8327" y="3419"/>
                  </a:lnTo>
                  <a:lnTo>
                    <a:pt x="8332" y="3424"/>
                  </a:lnTo>
                  <a:lnTo>
                    <a:pt x="8334" y="3433"/>
                  </a:lnTo>
                  <a:close/>
                  <a:moveTo>
                    <a:pt x="8598" y="3433"/>
                  </a:moveTo>
                  <a:lnTo>
                    <a:pt x="8598" y="3546"/>
                  </a:lnTo>
                  <a:lnTo>
                    <a:pt x="8595" y="3554"/>
                  </a:lnTo>
                  <a:lnTo>
                    <a:pt x="8591" y="3561"/>
                  </a:lnTo>
                  <a:lnTo>
                    <a:pt x="8585" y="3565"/>
                  </a:lnTo>
                  <a:lnTo>
                    <a:pt x="8577" y="3565"/>
                  </a:lnTo>
                  <a:lnTo>
                    <a:pt x="8569" y="3565"/>
                  </a:lnTo>
                  <a:lnTo>
                    <a:pt x="8563" y="3561"/>
                  </a:lnTo>
                  <a:lnTo>
                    <a:pt x="8559" y="3554"/>
                  </a:lnTo>
                  <a:lnTo>
                    <a:pt x="8557" y="3546"/>
                  </a:lnTo>
                  <a:lnTo>
                    <a:pt x="8557" y="3433"/>
                  </a:lnTo>
                  <a:lnTo>
                    <a:pt x="8559" y="3424"/>
                  </a:lnTo>
                  <a:lnTo>
                    <a:pt x="8563" y="3419"/>
                  </a:lnTo>
                  <a:lnTo>
                    <a:pt x="8569" y="3415"/>
                  </a:lnTo>
                  <a:lnTo>
                    <a:pt x="8577" y="3414"/>
                  </a:lnTo>
                  <a:lnTo>
                    <a:pt x="8585" y="3415"/>
                  </a:lnTo>
                  <a:lnTo>
                    <a:pt x="8591" y="3419"/>
                  </a:lnTo>
                  <a:lnTo>
                    <a:pt x="8595" y="3424"/>
                  </a:lnTo>
                  <a:lnTo>
                    <a:pt x="8598" y="3433"/>
                  </a:lnTo>
                  <a:close/>
                  <a:moveTo>
                    <a:pt x="8861" y="3433"/>
                  </a:moveTo>
                  <a:lnTo>
                    <a:pt x="8861" y="3546"/>
                  </a:lnTo>
                  <a:lnTo>
                    <a:pt x="8858" y="3554"/>
                  </a:lnTo>
                  <a:lnTo>
                    <a:pt x="8854" y="3561"/>
                  </a:lnTo>
                  <a:lnTo>
                    <a:pt x="8848" y="3565"/>
                  </a:lnTo>
                  <a:lnTo>
                    <a:pt x="8840" y="3565"/>
                  </a:lnTo>
                  <a:lnTo>
                    <a:pt x="8832" y="3565"/>
                  </a:lnTo>
                  <a:lnTo>
                    <a:pt x="8826" y="3561"/>
                  </a:lnTo>
                  <a:lnTo>
                    <a:pt x="8822" y="3554"/>
                  </a:lnTo>
                  <a:lnTo>
                    <a:pt x="8821" y="3546"/>
                  </a:lnTo>
                  <a:lnTo>
                    <a:pt x="8821" y="3433"/>
                  </a:lnTo>
                  <a:lnTo>
                    <a:pt x="8822" y="3424"/>
                  </a:lnTo>
                  <a:lnTo>
                    <a:pt x="8826" y="3419"/>
                  </a:lnTo>
                  <a:lnTo>
                    <a:pt x="8832" y="3415"/>
                  </a:lnTo>
                  <a:lnTo>
                    <a:pt x="8840" y="3414"/>
                  </a:lnTo>
                  <a:lnTo>
                    <a:pt x="8848" y="3415"/>
                  </a:lnTo>
                  <a:lnTo>
                    <a:pt x="8854" y="3419"/>
                  </a:lnTo>
                  <a:lnTo>
                    <a:pt x="8858" y="3424"/>
                  </a:lnTo>
                  <a:lnTo>
                    <a:pt x="8861" y="3433"/>
                  </a:lnTo>
                  <a:close/>
                  <a:moveTo>
                    <a:pt x="7545" y="3680"/>
                  </a:moveTo>
                  <a:lnTo>
                    <a:pt x="7545" y="3792"/>
                  </a:lnTo>
                  <a:lnTo>
                    <a:pt x="7542" y="3801"/>
                  </a:lnTo>
                  <a:lnTo>
                    <a:pt x="7539" y="3806"/>
                  </a:lnTo>
                  <a:lnTo>
                    <a:pt x="7532" y="3810"/>
                  </a:lnTo>
                  <a:lnTo>
                    <a:pt x="7524" y="3811"/>
                  </a:lnTo>
                  <a:lnTo>
                    <a:pt x="7517" y="3810"/>
                  </a:lnTo>
                  <a:lnTo>
                    <a:pt x="7510" y="3806"/>
                  </a:lnTo>
                  <a:lnTo>
                    <a:pt x="7506" y="3801"/>
                  </a:lnTo>
                  <a:lnTo>
                    <a:pt x="7505" y="3792"/>
                  </a:lnTo>
                  <a:lnTo>
                    <a:pt x="7505" y="3680"/>
                  </a:lnTo>
                  <a:lnTo>
                    <a:pt x="7506" y="3671"/>
                  </a:lnTo>
                  <a:lnTo>
                    <a:pt x="7510" y="3664"/>
                  </a:lnTo>
                  <a:lnTo>
                    <a:pt x="7517" y="3661"/>
                  </a:lnTo>
                  <a:lnTo>
                    <a:pt x="7524" y="3659"/>
                  </a:lnTo>
                  <a:lnTo>
                    <a:pt x="7532" y="3661"/>
                  </a:lnTo>
                  <a:lnTo>
                    <a:pt x="7539" y="3664"/>
                  </a:lnTo>
                  <a:lnTo>
                    <a:pt x="7542" y="3671"/>
                  </a:lnTo>
                  <a:lnTo>
                    <a:pt x="7545" y="3680"/>
                  </a:lnTo>
                  <a:close/>
                  <a:moveTo>
                    <a:pt x="7808" y="3680"/>
                  </a:moveTo>
                  <a:lnTo>
                    <a:pt x="7808" y="3792"/>
                  </a:lnTo>
                  <a:lnTo>
                    <a:pt x="7807" y="3801"/>
                  </a:lnTo>
                  <a:lnTo>
                    <a:pt x="7801" y="3806"/>
                  </a:lnTo>
                  <a:lnTo>
                    <a:pt x="7795" y="3810"/>
                  </a:lnTo>
                  <a:lnTo>
                    <a:pt x="7787" y="3811"/>
                  </a:lnTo>
                  <a:lnTo>
                    <a:pt x="7781" y="3810"/>
                  </a:lnTo>
                  <a:lnTo>
                    <a:pt x="7774" y="3806"/>
                  </a:lnTo>
                  <a:lnTo>
                    <a:pt x="7769" y="3801"/>
                  </a:lnTo>
                  <a:lnTo>
                    <a:pt x="7768" y="3792"/>
                  </a:lnTo>
                  <a:lnTo>
                    <a:pt x="7768" y="3680"/>
                  </a:lnTo>
                  <a:lnTo>
                    <a:pt x="7769" y="3671"/>
                  </a:lnTo>
                  <a:lnTo>
                    <a:pt x="7774" y="3664"/>
                  </a:lnTo>
                  <a:lnTo>
                    <a:pt x="7781" y="3661"/>
                  </a:lnTo>
                  <a:lnTo>
                    <a:pt x="7787" y="3659"/>
                  </a:lnTo>
                  <a:lnTo>
                    <a:pt x="7795" y="3661"/>
                  </a:lnTo>
                  <a:lnTo>
                    <a:pt x="7801" y="3664"/>
                  </a:lnTo>
                  <a:lnTo>
                    <a:pt x="7807" y="3671"/>
                  </a:lnTo>
                  <a:lnTo>
                    <a:pt x="7808" y="3680"/>
                  </a:lnTo>
                  <a:close/>
                  <a:moveTo>
                    <a:pt x="8071" y="3680"/>
                  </a:moveTo>
                  <a:lnTo>
                    <a:pt x="8071" y="3792"/>
                  </a:lnTo>
                  <a:lnTo>
                    <a:pt x="8069" y="3801"/>
                  </a:lnTo>
                  <a:lnTo>
                    <a:pt x="8064" y="3806"/>
                  </a:lnTo>
                  <a:lnTo>
                    <a:pt x="8058" y="3810"/>
                  </a:lnTo>
                  <a:lnTo>
                    <a:pt x="8051" y="3811"/>
                  </a:lnTo>
                  <a:lnTo>
                    <a:pt x="8044" y="3810"/>
                  </a:lnTo>
                  <a:lnTo>
                    <a:pt x="8037" y="3806"/>
                  </a:lnTo>
                  <a:lnTo>
                    <a:pt x="8032" y="3801"/>
                  </a:lnTo>
                  <a:lnTo>
                    <a:pt x="8031" y="3792"/>
                  </a:lnTo>
                  <a:lnTo>
                    <a:pt x="8031" y="3680"/>
                  </a:lnTo>
                  <a:lnTo>
                    <a:pt x="8032" y="3671"/>
                  </a:lnTo>
                  <a:lnTo>
                    <a:pt x="8037" y="3664"/>
                  </a:lnTo>
                  <a:lnTo>
                    <a:pt x="8044" y="3661"/>
                  </a:lnTo>
                  <a:lnTo>
                    <a:pt x="8051" y="3659"/>
                  </a:lnTo>
                  <a:lnTo>
                    <a:pt x="8058" y="3661"/>
                  </a:lnTo>
                  <a:lnTo>
                    <a:pt x="8064" y="3664"/>
                  </a:lnTo>
                  <a:lnTo>
                    <a:pt x="8069" y="3671"/>
                  </a:lnTo>
                  <a:lnTo>
                    <a:pt x="8071" y="3680"/>
                  </a:lnTo>
                  <a:close/>
                  <a:moveTo>
                    <a:pt x="8334" y="3680"/>
                  </a:moveTo>
                  <a:lnTo>
                    <a:pt x="8334" y="3792"/>
                  </a:lnTo>
                  <a:lnTo>
                    <a:pt x="8332" y="3801"/>
                  </a:lnTo>
                  <a:lnTo>
                    <a:pt x="8327" y="3806"/>
                  </a:lnTo>
                  <a:lnTo>
                    <a:pt x="8322" y="3810"/>
                  </a:lnTo>
                  <a:lnTo>
                    <a:pt x="8314" y="3811"/>
                  </a:lnTo>
                  <a:lnTo>
                    <a:pt x="8307" y="3810"/>
                  </a:lnTo>
                  <a:lnTo>
                    <a:pt x="8300" y="3806"/>
                  </a:lnTo>
                  <a:lnTo>
                    <a:pt x="8296" y="3801"/>
                  </a:lnTo>
                  <a:lnTo>
                    <a:pt x="8294" y="3792"/>
                  </a:lnTo>
                  <a:lnTo>
                    <a:pt x="8294" y="3680"/>
                  </a:lnTo>
                  <a:lnTo>
                    <a:pt x="8296" y="3671"/>
                  </a:lnTo>
                  <a:lnTo>
                    <a:pt x="8300" y="3664"/>
                  </a:lnTo>
                  <a:lnTo>
                    <a:pt x="8307" y="3661"/>
                  </a:lnTo>
                  <a:lnTo>
                    <a:pt x="8314" y="3659"/>
                  </a:lnTo>
                  <a:lnTo>
                    <a:pt x="8322" y="3661"/>
                  </a:lnTo>
                  <a:lnTo>
                    <a:pt x="8327" y="3664"/>
                  </a:lnTo>
                  <a:lnTo>
                    <a:pt x="8332" y="3671"/>
                  </a:lnTo>
                  <a:lnTo>
                    <a:pt x="8334" y="3680"/>
                  </a:lnTo>
                  <a:close/>
                  <a:moveTo>
                    <a:pt x="8598" y="3680"/>
                  </a:moveTo>
                  <a:lnTo>
                    <a:pt x="8598" y="3792"/>
                  </a:lnTo>
                  <a:lnTo>
                    <a:pt x="8595" y="3801"/>
                  </a:lnTo>
                  <a:lnTo>
                    <a:pt x="8591" y="3806"/>
                  </a:lnTo>
                  <a:lnTo>
                    <a:pt x="8585" y="3810"/>
                  </a:lnTo>
                  <a:lnTo>
                    <a:pt x="8577" y="3811"/>
                  </a:lnTo>
                  <a:lnTo>
                    <a:pt x="8569" y="3810"/>
                  </a:lnTo>
                  <a:lnTo>
                    <a:pt x="8563" y="3806"/>
                  </a:lnTo>
                  <a:lnTo>
                    <a:pt x="8559" y="3801"/>
                  </a:lnTo>
                  <a:lnTo>
                    <a:pt x="8557" y="3792"/>
                  </a:lnTo>
                  <a:lnTo>
                    <a:pt x="8557" y="3680"/>
                  </a:lnTo>
                  <a:lnTo>
                    <a:pt x="8559" y="3671"/>
                  </a:lnTo>
                  <a:lnTo>
                    <a:pt x="8563" y="3664"/>
                  </a:lnTo>
                  <a:lnTo>
                    <a:pt x="8569" y="3661"/>
                  </a:lnTo>
                  <a:lnTo>
                    <a:pt x="8577" y="3659"/>
                  </a:lnTo>
                  <a:lnTo>
                    <a:pt x="8585" y="3661"/>
                  </a:lnTo>
                  <a:lnTo>
                    <a:pt x="8591" y="3664"/>
                  </a:lnTo>
                  <a:lnTo>
                    <a:pt x="8595" y="3671"/>
                  </a:lnTo>
                  <a:lnTo>
                    <a:pt x="8598" y="3680"/>
                  </a:lnTo>
                  <a:close/>
                  <a:moveTo>
                    <a:pt x="8861" y="3680"/>
                  </a:moveTo>
                  <a:lnTo>
                    <a:pt x="8861" y="3792"/>
                  </a:lnTo>
                  <a:lnTo>
                    <a:pt x="8858" y="3801"/>
                  </a:lnTo>
                  <a:lnTo>
                    <a:pt x="8854" y="3806"/>
                  </a:lnTo>
                  <a:lnTo>
                    <a:pt x="8848" y="3810"/>
                  </a:lnTo>
                  <a:lnTo>
                    <a:pt x="8840" y="3811"/>
                  </a:lnTo>
                  <a:lnTo>
                    <a:pt x="8832" y="3810"/>
                  </a:lnTo>
                  <a:lnTo>
                    <a:pt x="8826" y="3806"/>
                  </a:lnTo>
                  <a:lnTo>
                    <a:pt x="8822" y="3801"/>
                  </a:lnTo>
                  <a:lnTo>
                    <a:pt x="8821" y="3792"/>
                  </a:lnTo>
                  <a:lnTo>
                    <a:pt x="8821" y="3680"/>
                  </a:lnTo>
                  <a:lnTo>
                    <a:pt x="8822" y="3671"/>
                  </a:lnTo>
                  <a:lnTo>
                    <a:pt x="8826" y="3664"/>
                  </a:lnTo>
                  <a:lnTo>
                    <a:pt x="8832" y="3661"/>
                  </a:lnTo>
                  <a:lnTo>
                    <a:pt x="8840" y="3659"/>
                  </a:lnTo>
                  <a:lnTo>
                    <a:pt x="8848" y="3661"/>
                  </a:lnTo>
                  <a:lnTo>
                    <a:pt x="8854" y="3664"/>
                  </a:lnTo>
                  <a:lnTo>
                    <a:pt x="8858" y="3671"/>
                  </a:lnTo>
                  <a:lnTo>
                    <a:pt x="8861" y="3680"/>
                  </a:lnTo>
                  <a:close/>
                  <a:moveTo>
                    <a:pt x="9081" y="2604"/>
                  </a:moveTo>
                  <a:lnTo>
                    <a:pt x="9075" y="2604"/>
                  </a:lnTo>
                  <a:lnTo>
                    <a:pt x="9081" y="2604"/>
                  </a:lnTo>
                  <a:close/>
                  <a:moveTo>
                    <a:pt x="5536" y="1840"/>
                  </a:moveTo>
                  <a:lnTo>
                    <a:pt x="5109" y="1840"/>
                  </a:lnTo>
                  <a:lnTo>
                    <a:pt x="5109" y="1950"/>
                  </a:lnTo>
                  <a:lnTo>
                    <a:pt x="5536" y="1950"/>
                  </a:lnTo>
                  <a:lnTo>
                    <a:pt x="5536" y="1840"/>
                  </a:lnTo>
                  <a:close/>
                  <a:moveTo>
                    <a:pt x="4446" y="3790"/>
                  </a:moveTo>
                  <a:lnTo>
                    <a:pt x="5309" y="3790"/>
                  </a:lnTo>
                  <a:lnTo>
                    <a:pt x="5318" y="3791"/>
                  </a:lnTo>
                  <a:lnTo>
                    <a:pt x="5324" y="3796"/>
                  </a:lnTo>
                  <a:lnTo>
                    <a:pt x="5328" y="3803"/>
                  </a:lnTo>
                  <a:lnTo>
                    <a:pt x="5329" y="3809"/>
                  </a:lnTo>
                  <a:lnTo>
                    <a:pt x="5328" y="3817"/>
                  </a:lnTo>
                  <a:lnTo>
                    <a:pt x="5324" y="3823"/>
                  </a:lnTo>
                  <a:lnTo>
                    <a:pt x="5318" y="3828"/>
                  </a:lnTo>
                  <a:lnTo>
                    <a:pt x="5309" y="3829"/>
                  </a:lnTo>
                  <a:lnTo>
                    <a:pt x="5215" y="3829"/>
                  </a:lnTo>
                  <a:lnTo>
                    <a:pt x="5215" y="4317"/>
                  </a:lnTo>
                  <a:lnTo>
                    <a:pt x="5754" y="4317"/>
                  </a:lnTo>
                  <a:lnTo>
                    <a:pt x="5754" y="3782"/>
                  </a:lnTo>
                  <a:lnTo>
                    <a:pt x="5754" y="3249"/>
                  </a:lnTo>
                  <a:lnTo>
                    <a:pt x="5754" y="2716"/>
                  </a:lnTo>
                  <a:lnTo>
                    <a:pt x="5754" y="2182"/>
                  </a:lnTo>
                  <a:lnTo>
                    <a:pt x="5195" y="2182"/>
                  </a:lnTo>
                  <a:lnTo>
                    <a:pt x="4637" y="2182"/>
                  </a:lnTo>
                  <a:lnTo>
                    <a:pt x="4629" y="2181"/>
                  </a:lnTo>
                  <a:lnTo>
                    <a:pt x="4623" y="2176"/>
                  </a:lnTo>
                  <a:lnTo>
                    <a:pt x="4619" y="2170"/>
                  </a:lnTo>
                  <a:lnTo>
                    <a:pt x="4617" y="2163"/>
                  </a:lnTo>
                  <a:lnTo>
                    <a:pt x="4619" y="2156"/>
                  </a:lnTo>
                  <a:lnTo>
                    <a:pt x="4623" y="2149"/>
                  </a:lnTo>
                  <a:lnTo>
                    <a:pt x="4629" y="2144"/>
                  </a:lnTo>
                  <a:lnTo>
                    <a:pt x="4637" y="2143"/>
                  </a:lnTo>
                  <a:lnTo>
                    <a:pt x="5615" y="2143"/>
                  </a:lnTo>
                  <a:lnTo>
                    <a:pt x="5615" y="1989"/>
                  </a:lnTo>
                  <a:lnTo>
                    <a:pt x="5555" y="1989"/>
                  </a:lnTo>
                  <a:lnTo>
                    <a:pt x="5089" y="1989"/>
                  </a:lnTo>
                  <a:lnTo>
                    <a:pt x="4119" y="1989"/>
                  </a:lnTo>
                  <a:lnTo>
                    <a:pt x="4119" y="2143"/>
                  </a:lnTo>
                  <a:lnTo>
                    <a:pt x="4373" y="2143"/>
                  </a:lnTo>
                  <a:lnTo>
                    <a:pt x="4382" y="2144"/>
                  </a:lnTo>
                  <a:lnTo>
                    <a:pt x="4387" y="2149"/>
                  </a:lnTo>
                  <a:lnTo>
                    <a:pt x="4391" y="2156"/>
                  </a:lnTo>
                  <a:lnTo>
                    <a:pt x="4392" y="2163"/>
                  </a:lnTo>
                  <a:lnTo>
                    <a:pt x="4391" y="2170"/>
                  </a:lnTo>
                  <a:lnTo>
                    <a:pt x="4387" y="2176"/>
                  </a:lnTo>
                  <a:lnTo>
                    <a:pt x="4382" y="2181"/>
                  </a:lnTo>
                  <a:lnTo>
                    <a:pt x="4373" y="2182"/>
                  </a:lnTo>
                  <a:lnTo>
                    <a:pt x="4001" y="2182"/>
                  </a:lnTo>
                  <a:lnTo>
                    <a:pt x="4001" y="3195"/>
                  </a:lnTo>
                  <a:lnTo>
                    <a:pt x="3999" y="3204"/>
                  </a:lnTo>
                  <a:lnTo>
                    <a:pt x="3994" y="3211"/>
                  </a:lnTo>
                  <a:lnTo>
                    <a:pt x="3988" y="3214"/>
                  </a:lnTo>
                  <a:lnTo>
                    <a:pt x="3980" y="3216"/>
                  </a:lnTo>
                  <a:lnTo>
                    <a:pt x="3974" y="3214"/>
                  </a:lnTo>
                  <a:lnTo>
                    <a:pt x="3967" y="3211"/>
                  </a:lnTo>
                  <a:lnTo>
                    <a:pt x="3962" y="3204"/>
                  </a:lnTo>
                  <a:lnTo>
                    <a:pt x="3961" y="3195"/>
                  </a:lnTo>
                  <a:lnTo>
                    <a:pt x="3961" y="2679"/>
                  </a:lnTo>
                  <a:lnTo>
                    <a:pt x="3961" y="2163"/>
                  </a:lnTo>
                  <a:lnTo>
                    <a:pt x="3962" y="2156"/>
                  </a:lnTo>
                  <a:lnTo>
                    <a:pt x="3966" y="2149"/>
                  </a:lnTo>
                  <a:lnTo>
                    <a:pt x="3973" y="2144"/>
                  </a:lnTo>
                  <a:lnTo>
                    <a:pt x="3980" y="2143"/>
                  </a:lnTo>
                  <a:lnTo>
                    <a:pt x="4079" y="2143"/>
                  </a:lnTo>
                  <a:lnTo>
                    <a:pt x="4079" y="1970"/>
                  </a:lnTo>
                  <a:lnTo>
                    <a:pt x="4080" y="1963"/>
                  </a:lnTo>
                  <a:lnTo>
                    <a:pt x="4085" y="1956"/>
                  </a:lnTo>
                  <a:lnTo>
                    <a:pt x="4092" y="1951"/>
                  </a:lnTo>
                  <a:lnTo>
                    <a:pt x="4099" y="1950"/>
                  </a:lnTo>
                  <a:lnTo>
                    <a:pt x="5069" y="1950"/>
                  </a:lnTo>
                  <a:lnTo>
                    <a:pt x="5069" y="1819"/>
                  </a:lnTo>
                  <a:lnTo>
                    <a:pt x="5070" y="1812"/>
                  </a:lnTo>
                  <a:lnTo>
                    <a:pt x="5075" y="1805"/>
                  </a:lnTo>
                  <a:lnTo>
                    <a:pt x="5082" y="1801"/>
                  </a:lnTo>
                  <a:lnTo>
                    <a:pt x="5089" y="1799"/>
                  </a:lnTo>
                  <a:lnTo>
                    <a:pt x="5555" y="1799"/>
                  </a:lnTo>
                  <a:lnTo>
                    <a:pt x="5563" y="1801"/>
                  </a:lnTo>
                  <a:lnTo>
                    <a:pt x="5569" y="1805"/>
                  </a:lnTo>
                  <a:lnTo>
                    <a:pt x="5573" y="1812"/>
                  </a:lnTo>
                  <a:lnTo>
                    <a:pt x="5575" y="1819"/>
                  </a:lnTo>
                  <a:lnTo>
                    <a:pt x="5575" y="1950"/>
                  </a:lnTo>
                  <a:lnTo>
                    <a:pt x="5636" y="1950"/>
                  </a:lnTo>
                  <a:lnTo>
                    <a:pt x="5643" y="1951"/>
                  </a:lnTo>
                  <a:lnTo>
                    <a:pt x="5650" y="1956"/>
                  </a:lnTo>
                  <a:lnTo>
                    <a:pt x="5654" y="1963"/>
                  </a:lnTo>
                  <a:lnTo>
                    <a:pt x="5656" y="1970"/>
                  </a:lnTo>
                  <a:lnTo>
                    <a:pt x="5656" y="2143"/>
                  </a:lnTo>
                  <a:lnTo>
                    <a:pt x="5773" y="2143"/>
                  </a:lnTo>
                  <a:lnTo>
                    <a:pt x="5781" y="2144"/>
                  </a:lnTo>
                  <a:lnTo>
                    <a:pt x="5787" y="2149"/>
                  </a:lnTo>
                  <a:lnTo>
                    <a:pt x="5792" y="2156"/>
                  </a:lnTo>
                  <a:lnTo>
                    <a:pt x="5793" y="2163"/>
                  </a:lnTo>
                  <a:lnTo>
                    <a:pt x="5793" y="2705"/>
                  </a:lnTo>
                  <a:lnTo>
                    <a:pt x="5793" y="3249"/>
                  </a:lnTo>
                  <a:lnTo>
                    <a:pt x="5793" y="3792"/>
                  </a:lnTo>
                  <a:lnTo>
                    <a:pt x="5793" y="4336"/>
                  </a:lnTo>
                  <a:lnTo>
                    <a:pt x="5792" y="4343"/>
                  </a:lnTo>
                  <a:lnTo>
                    <a:pt x="5787" y="4350"/>
                  </a:lnTo>
                  <a:lnTo>
                    <a:pt x="5781" y="4355"/>
                  </a:lnTo>
                  <a:lnTo>
                    <a:pt x="5773" y="4356"/>
                  </a:lnTo>
                  <a:lnTo>
                    <a:pt x="5195" y="4356"/>
                  </a:lnTo>
                  <a:lnTo>
                    <a:pt x="4560" y="4356"/>
                  </a:lnTo>
                  <a:lnTo>
                    <a:pt x="3980" y="4356"/>
                  </a:lnTo>
                  <a:lnTo>
                    <a:pt x="3973" y="4355"/>
                  </a:lnTo>
                  <a:lnTo>
                    <a:pt x="3966" y="4350"/>
                  </a:lnTo>
                  <a:lnTo>
                    <a:pt x="3962" y="4343"/>
                  </a:lnTo>
                  <a:lnTo>
                    <a:pt x="3961" y="4336"/>
                  </a:lnTo>
                  <a:lnTo>
                    <a:pt x="3961" y="4037"/>
                  </a:lnTo>
                  <a:lnTo>
                    <a:pt x="3962" y="4028"/>
                  </a:lnTo>
                  <a:lnTo>
                    <a:pt x="3967" y="4021"/>
                  </a:lnTo>
                  <a:lnTo>
                    <a:pt x="3974" y="4017"/>
                  </a:lnTo>
                  <a:lnTo>
                    <a:pt x="3980" y="4016"/>
                  </a:lnTo>
                  <a:lnTo>
                    <a:pt x="3988" y="4017"/>
                  </a:lnTo>
                  <a:lnTo>
                    <a:pt x="3994" y="4021"/>
                  </a:lnTo>
                  <a:lnTo>
                    <a:pt x="3999" y="4028"/>
                  </a:lnTo>
                  <a:lnTo>
                    <a:pt x="4001" y="4037"/>
                  </a:lnTo>
                  <a:lnTo>
                    <a:pt x="4001" y="4317"/>
                  </a:lnTo>
                  <a:lnTo>
                    <a:pt x="4539" y="4317"/>
                  </a:lnTo>
                  <a:lnTo>
                    <a:pt x="4539" y="3829"/>
                  </a:lnTo>
                  <a:lnTo>
                    <a:pt x="4446" y="3829"/>
                  </a:lnTo>
                  <a:lnTo>
                    <a:pt x="4437" y="3828"/>
                  </a:lnTo>
                  <a:lnTo>
                    <a:pt x="4430" y="3823"/>
                  </a:lnTo>
                  <a:lnTo>
                    <a:pt x="4426" y="3817"/>
                  </a:lnTo>
                  <a:lnTo>
                    <a:pt x="4425" y="3809"/>
                  </a:lnTo>
                  <a:lnTo>
                    <a:pt x="4426" y="3803"/>
                  </a:lnTo>
                  <a:lnTo>
                    <a:pt x="4430" y="3796"/>
                  </a:lnTo>
                  <a:lnTo>
                    <a:pt x="4437" y="3791"/>
                  </a:lnTo>
                  <a:lnTo>
                    <a:pt x="4446" y="3790"/>
                  </a:lnTo>
                  <a:close/>
                  <a:moveTo>
                    <a:pt x="4897" y="3950"/>
                  </a:moveTo>
                  <a:lnTo>
                    <a:pt x="4897" y="4317"/>
                  </a:lnTo>
                  <a:lnTo>
                    <a:pt x="5175" y="4317"/>
                  </a:lnTo>
                  <a:lnTo>
                    <a:pt x="5175" y="3829"/>
                  </a:lnTo>
                  <a:lnTo>
                    <a:pt x="4579" y="3829"/>
                  </a:lnTo>
                  <a:lnTo>
                    <a:pt x="4579" y="4317"/>
                  </a:lnTo>
                  <a:lnTo>
                    <a:pt x="4857" y="4317"/>
                  </a:lnTo>
                  <a:lnTo>
                    <a:pt x="4857" y="3950"/>
                  </a:lnTo>
                  <a:lnTo>
                    <a:pt x="4859" y="3941"/>
                  </a:lnTo>
                  <a:lnTo>
                    <a:pt x="4864" y="3934"/>
                  </a:lnTo>
                  <a:lnTo>
                    <a:pt x="4870" y="3930"/>
                  </a:lnTo>
                  <a:lnTo>
                    <a:pt x="4877" y="3929"/>
                  </a:lnTo>
                  <a:lnTo>
                    <a:pt x="4884" y="3930"/>
                  </a:lnTo>
                  <a:lnTo>
                    <a:pt x="4891" y="3934"/>
                  </a:lnTo>
                  <a:lnTo>
                    <a:pt x="4896" y="3941"/>
                  </a:lnTo>
                  <a:lnTo>
                    <a:pt x="4897" y="3950"/>
                  </a:lnTo>
                  <a:close/>
                  <a:moveTo>
                    <a:pt x="8349" y="481"/>
                  </a:moveTo>
                  <a:lnTo>
                    <a:pt x="8337" y="483"/>
                  </a:lnTo>
                  <a:lnTo>
                    <a:pt x="8328" y="482"/>
                  </a:lnTo>
                  <a:lnTo>
                    <a:pt x="8321" y="475"/>
                  </a:lnTo>
                  <a:lnTo>
                    <a:pt x="8318" y="464"/>
                  </a:lnTo>
                  <a:lnTo>
                    <a:pt x="8316" y="446"/>
                  </a:lnTo>
                  <a:lnTo>
                    <a:pt x="8312" y="428"/>
                  </a:lnTo>
                  <a:lnTo>
                    <a:pt x="8299" y="394"/>
                  </a:lnTo>
                  <a:lnTo>
                    <a:pt x="8280" y="364"/>
                  </a:lnTo>
                  <a:lnTo>
                    <a:pt x="8255" y="337"/>
                  </a:lnTo>
                  <a:lnTo>
                    <a:pt x="8226" y="316"/>
                  </a:lnTo>
                  <a:lnTo>
                    <a:pt x="8192" y="299"/>
                  </a:lnTo>
                  <a:lnTo>
                    <a:pt x="8175" y="293"/>
                  </a:lnTo>
                  <a:lnTo>
                    <a:pt x="8157" y="289"/>
                  </a:lnTo>
                  <a:lnTo>
                    <a:pt x="8137" y="286"/>
                  </a:lnTo>
                  <a:lnTo>
                    <a:pt x="8119" y="285"/>
                  </a:lnTo>
                  <a:lnTo>
                    <a:pt x="8080" y="289"/>
                  </a:lnTo>
                  <a:lnTo>
                    <a:pt x="8060" y="294"/>
                  </a:lnTo>
                  <a:lnTo>
                    <a:pt x="8042" y="300"/>
                  </a:lnTo>
                  <a:lnTo>
                    <a:pt x="8008" y="318"/>
                  </a:lnTo>
                  <a:lnTo>
                    <a:pt x="7978" y="341"/>
                  </a:lnTo>
                  <a:lnTo>
                    <a:pt x="7966" y="355"/>
                  </a:lnTo>
                  <a:lnTo>
                    <a:pt x="7954" y="369"/>
                  </a:lnTo>
                  <a:lnTo>
                    <a:pt x="7935" y="403"/>
                  </a:lnTo>
                  <a:lnTo>
                    <a:pt x="7928" y="420"/>
                  </a:lnTo>
                  <a:lnTo>
                    <a:pt x="7923" y="438"/>
                  </a:lnTo>
                  <a:lnTo>
                    <a:pt x="7919" y="477"/>
                  </a:lnTo>
                  <a:lnTo>
                    <a:pt x="7867" y="477"/>
                  </a:lnTo>
                  <a:lnTo>
                    <a:pt x="7836" y="474"/>
                  </a:lnTo>
                  <a:lnTo>
                    <a:pt x="7815" y="477"/>
                  </a:lnTo>
                  <a:lnTo>
                    <a:pt x="7798" y="482"/>
                  </a:lnTo>
                  <a:lnTo>
                    <a:pt x="7780" y="492"/>
                  </a:lnTo>
                  <a:lnTo>
                    <a:pt x="7765" y="504"/>
                  </a:lnTo>
                  <a:lnTo>
                    <a:pt x="7754" y="519"/>
                  </a:lnTo>
                  <a:lnTo>
                    <a:pt x="7745" y="537"/>
                  </a:lnTo>
                  <a:lnTo>
                    <a:pt x="7740" y="556"/>
                  </a:lnTo>
                  <a:lnTo>
                    <a:pt x="7737" y="576"/>
                  </a:lnTo>
                  <a:lnTo>
                    <a:pt x="7740" y="598"/>
                  </a:lnTo>
                  <a:lnTo>
                    <a:pt x="8505" y="599"/>
                  </a:lnTo>
                  <a:lnTo>
                    <a:pt x="8508" y="574"/>
                  </a:lnTo>
                  <a:lnTo>
                    <a:pt x="8505" y="552"/>
                  </a:lnTo>
                  <a:lnTo>
                    <a:pt x="8499" y="532"/>
                  </a:lnTo>
                  <a:lnTo>
                    <a:pt x="8490" y="514"/>
                  </a:lnTo>
                  <a:lnTo>
                    <a:pt x="8477" y="497"/>
                  </a:lnTo>
                  <a:lnTo>
                    <a:pt x="8460" y="484"/>
                  </a:lnTo>
                  <a:lnTo>
                    <a:pt x="8443" y="474"/>
                  </a:lnTo>
                  <a:lnTo>
                    <a:pt x="8423" y="468"/>
                  </a:lnTo>
                  <a:lnTo>
                    <a:pt x="8401" y="465"/>
                  </a:lnTo>
                  <a:lnTo>
                    <a:pt x="8373" y="469"/>
                  </a:lnTo>
                  <a:lnTo>
                    <a:pt x="8349" y="481"/>
                  </a:lnTo>
                  <a:close/>
                  <a:moveTo>
                    <a:pt x="7880" y="455"/>
                  </a:moveTo>
                  <a:lnTo>
                    <a:pt x="7883" y="433"/>
                  </a:lnTo>
                  <a:lnTo>
                    <a:pt x="7889" y="411"/>
                  </a:lnTo>
                  <a:lnTo>
                    <a:pt x="7896" y="391"/>
                  </a:lnTo>
                  <a:lnTo>
                    <a:pt x="7905" y="372"/>
                  </a:lnTo>
                  <a:lnTo>
                    <a:pt x="7917" y="354"/>
                  </a:lnTo>
                  <a:lnTo>
                    <a:pt x="7930" y="336"/>
                  </a:lnTo>
                  <a:lnTo>
                    <a:pt x="7944" y="321"/>
                  </a:lnTo>
                  <a:lnTo>
                    <a:pt x="7959" y="305"/>
                  </a:lnTo>
                  <a:lnTo>
                    <a:pt x="7994" y="280"/>
                  </a:lnTo>
                  <a:lnTo>
                    <a:pt x="8032" y="261"/>
                  </a:lnTo>
                  <a:lnTo>
                    <a:pt x="8075" y="249"/>
                  </a:lnTo>
                  <a:lnTo>
                    <a:pt x="8119" y="245"/>
                  </a:lnTo>
                  <a:lnTo>
                    <a:pt x="8160" y="249"/>
                  </a:lnTo>
                  <a:lnTo>
                    <a:pt x="8200" y="259"/>
                  </a:lnTo>
                  <a:lnTo>
                    <a:pt x="8237" y="276"/>
                  </a:lnTo>
                  <a:lnTo>
                    <a:pt x="8254" y="286"/>
                  </a:lnTo>
                  <a:lnTo>
                    <a:pt x="8271" y="299"/>
                  </a:lnTo>
                  <a:lnTo>
                    <a:pt x="8300" y="326"/>
                  </a:lnTo>
                  <a:lnTo>
                    <a:pt x="8325" y="358"/>
                  </a:lnTo>
                  <a:lnTo>
                    <a:pt x="8335" y="376"/>
                  </a:lnTo>
                  <a:lnTo>
                    <a:pt x="8343" y="395"/>
                  </a:lnTo>
                  <a:lnTo>
                    <a:pt x="8350" y="414"/>
                  </a:lnTo>
                  <a:lnTo>
                    <a:pt x="8354" y="433"/>
                  </a:lnTo>
                  <a:lnTo>
                    <a:pt x="8377" y="428"/>
                  </a:lnTo>
                  <a:lnTo>
                    <a:pt x="8401" y="426"/>
                  </a:lnTo>
                  <a:lnTo>
                    <a:pt x="8431" y="428"/>
                  </a:lnTo>
                  <a:lnTo>
                    <a:pt x="8459" y="437"/>
                  </a:lnTo>
                  <a:lnTo>
                    <a:pt x="8484" y="451"/>
                  </a:lnTo>
                  <a:lnTo>
                    <a:pt x="8505" y="470"/>
                  </a:lnTo>
                  <a:lnTo>
                    <a:pt x="8523" y="492"/>
                  </a:lnTo>
                  <a:lnTo>
                    <a:pt x="8531" y="505"/>
                  </a:lnTo>
                  <a:lnTo>
                    <a:pt x="8536" y="518"/>
                  </a:lnTo>
                  <a:lnTo>
                    <a:pt x="8545" y="544"/>
                  </a:lnTo>
                  <a:lnTo>
                    <a:pt x="8548" y="560"/>
                  </a:lnTo>
                  <a:lnTo>
                    <a:pt x="8548" y="574"/>
                  </a:lnTo>
                  <a:lnTo>
                    <a:pt x="8548" y="592"/>
                  </a:lnTo>
                  <a:lnTo>
                    <a:pt x="8544" y="613"/>
                  </a:lnTo>
                  <a:lnTo>
                    <a:pt x="8540" y="624"/>
                  </a:lnTo>
                  <a:lnTo>
                    <a:pt x="8535" y="631"/>
                  </a:lnTo>
                  <a:lnTo>
                    <a:pt x="8528" y="638"/>
                  </a:lnTo>
                  <a:lnTo>
                    <a:pt x="8521" y="640"/>
                  </a:lnTo>
                  <a:lnTo>
                    <a:pt x="7724" y="638"/>
                  </a:lnTo>
                  <a:lnTo>
                    <a:pt x="7717" y="637"/>
                  </a:lnTo>
                  <a:lnTo>
                    <a:pt x="7710" y="631"/>
                  </a:lnTo>
                  <a:lnTo>
                    <a:pt x="7705" y="622"/>
                  </a:lnTo>
                  <a:lnTo>
                    <a:pt x="7701" y="613"/>
                  </a:lnTo>
                  <a:lnTo>
                    <a:pt x="7699" y="593"/>
                  </a:lnTo>
                  <a:lnTo>
                    <a:pt x="7698" y="576"/>
                  </a:lnTo>
                  <a:lnTo>
                    <a:pt x="7700" y="548"/>
                  </a:lnTo>
                  <a:lnTo>
                    <a:pt x="7708" y="521"/>
                  </a:lnTo>
                  <a:lnTo>
                    <a:pt x="7721" y="497"/>
                  </a:lnTo>
                  <a:lnTo>
                    <a:pt x="7737" y="477"/>
                  </a:lnTo>
                  <a:lnTo>
                    <a:pt x="7757" y="459"/>
                  </a:lnTo>
                  <a:lnTo>
                    <a:pt x="7781" y="446"/>
                  </a:lnTo>
                  <a:lnTo>
                    <a:pt x="7807" y="437"/>
                  </a:lnTo>
                  <a:lnTo>
                    <a:pt x="7836" y="434"/>
                  </a:lnTo>
                  <a:lnTo>
                    <a:pt x="7851" y="436"/>
                  </a:lnTo>
                  <a:lnTo>
                    <a:pt x="7864" y="440"/>
                  </a:lnTo>
                  <a:lnTo>
                    <a:pt x="7874" y="445"/>
                  </a:lnTo>
                  <a:lnTo>
                    <a:pt x="7880" y="455"/>
                  </a:lnTo>
                  <a:close/>
                  <a:moveTo>
                    <a:pt x="4157" y="902"/>
                  </a:moveTo>
                  <a:lnTo>
                    <a:pt x="4683" y="902"/>
                  </a:lnTo>
                  <a:lnTo>
                    <a:pt x="5210" y="902"/>
                  </a:lnTo>
                  <a:lnTo>
                    <a:pt x="5210" y="892"/>
                  </a:lnTo>
                  <a:lnTo>
                    <a:pt x="5207" y="865"/>
                  </a:lnTo>
                  <a:lnTo>
                    <a:pt x="5203" y="854"/>
                  </a:lnTo>
                  <a:lnTo>
                    <a:pt x="5200" y="841"/>
                  </a:lnTo>
                  <a:lnTo>
                    <a:pt x="5187" y="819"/>
                  </a:lnTo>
                  <a:lnTo>
                    <a:pt x="5179" y="809"/>
                  </a:lnTo>
                  <a:lnTo>
                    <a:pt x="5171" y="799"/>
                  </a:lnTo>
                  <a:lnTo>
                    <a:pt x="5151" y="784"/>
                  </a:lnTo>
                  <a:lnTo>
                    <a:pt x="5141" y="777"/>
                  </a:lnTo>
                  <a:lnTo>
                    <a:pt x="5129" y="771"/>
                  </a:lnTo>
                  <a:lnTo>
                    <a:pt x="5103" y="763"/>
                  </a:lnTo>
                  <a:lnTo>
                    <a:pt x="5077" y="761"/>
                  </a:lnTo>
                  <a:lnTo>
                    <a:pt x="5052" y="763"/>
                  </a:lnTo>
                  <a:lnTo>
                    <a:pt x="5042" y="767"/>
                  </a:lnTo>
                  <a:lnTo>
                    <a:pt x="5030" y="771"/>
                  </a:lnTo>
                  <a:lnTo>
                    <a:pt x="4996" y="791"/>
                  </a:lnTo>
                  <a:lnTo>
                    <a:pt x="4982" y="799"/>
                  </a:lnTo>
                  <a:lnTo>
                    <a:pt x="4970" y="801"/>
                  </a:lnTo>
                  <a:lnTo>
                    <a:pt x="4961" y="799"/>
                  </a:lnTo>
                  <a:lnTo>
                    <a:pt x="4955" y="786"/>
                  </a:lnTo>
                  <a:lnTo>
                    <a:pt x="4944" y="758"/>
                  </a:lnTo>
                  <a:lnTo>
                    <a:pt x="4938" y="745"/>
                  </a:lnTo>
                  <a:lnTo>
                    <a:pt x="4929" y="732"/>
                  </a:lnTo>
                  <a:lnTo>
                    <a:pt x="4911" y="711"/>
                  </a:lnTo>
                  <a:lnTo>
                    <a:pt x="4900" y="700"/>
                  </a:lnTo>
                  <a:lnTo>
                    <a:pt x="4888" y="690"/>
                  </a:lnTo>
                  <a:lnTo>
                    <a:pt x="4864" y="675"/>
                  </a:lnTo>
                  <a:lnTo>
                    <a:pt x="4837" y="662"/>
                  </a:lnTo>
                  <a:lnTo>
                    <a:pt x="4821" y="658"/>
                  </a:lnTo>
                  <a:lnTo>
                    <a:pt x="4807" y="656"/>
                  </a:lnTo>
                  <a:lnTo>
                    <a:pt x="4775" y="653"/>
                  </a:lnTo>
                  <a:lnTo>
                    <a:pt x="4751" y="656"/>
                  </a:lnTo>
                  <a:lnTo>
                    <a:pt x="4725" y="661"/>
                  </a:lnTo>
                  <a:lnTo>
                    <a:pt x="4702" y="665"/>
                  </a:lnTo>
                  <a:lnTo>
                    <a:pt x="4694" y="663"/>
                  </a:lnTo>
                  <a:lnTo>
                    <a:pt x="4688" y="660"/>
                  </a:lnTo>
                  <a:lnTo>
                    <a:pt x="4671" y="643"/>
                  </a:lnTo>
                  <a:lnTo>
                    <a:pt x="4653" y="628"/>
                  </a:lnTo>
                  <a:lnTo>
                    <a:pt x="4634" y="615"/>
                  </a:lnTo>
                  <a:lnTo>
                    <a:pt x="4614" y="605"/>
                  </a:lnTo>
                  <a:lnTo>
                    <a:pt x="4592" y="596"/>
                  </a:lnTo>
                  <a:lnTo>
                    <a:pt x="4570" y="589"/>
                  </a:lnTo>
                  <a:lnTo>
                    <a:pt x="4546" y="585"/>
                  </a:lnTo>
                  <a:lnTo>
                    <a:pt x="4521" y="584"/>
                  </a:lnTo>
                  <a:lnTo>
                    <a:pt x="4480" y="587"/>
                  </a:lnTo>
                  <a:lnTo>
                    <a:pt x="4462" y="590"/>
                  </a:lnTo>
                  <a:lnTo>
                    <a:pt x="4446" y="594"/>
                  </a:lnTo>
                  <a:lnTo>
                    <a:pt x="4416" y="607"/>
                  </a:lnTo>
                  <a:lnTo>
                    <a:pt x="4393" y="622"/>
                  </a:lnTo>
                  <a:lnTo>
                    <a:pt x="4373" y="640"/>
                  </a:lnTo>
                  <a:lnTo>
                    <a:pt x="4356" y="661"/>
                  </a:lnTo>
                  <a:lnTo>
                    <a:pt x="4343" y="683"/>
                  </a:lnTo>
                  <a:lnTo>
                    <a:pt x="4333" y="704"/>
                  </a:lnTo>
                  <a:lnTo>
                    <a:pt x="4317" y="749"/>
                  </a:lnTo>
                  <a:lnTo>
                    <a:pt x="4306" y="786"/>
                  </a:lnTo>
                  <a:lnTo>
                    <a:pt x="4293" y="812"/>
                  </a:lnTo>
                  <a:lnTo>
                    <a:pt x="4287" y="818"/>
                  </a:lnTo>
                  <a:lnTo>
                    <a:pt x="4276" y="819"/>
                  </a:lnTo>
                  <a:lnTo>
                    <a:pt x="4261" y="818"/>
                  </a:lnTo>
                  <a:lnTo>
                    <a:pt x="4242" y="819"/>
                  </a:lnTo>
                  <a:lnTo>
                    <a:pt x="4224" y="824"/>
                  </a:lnTo>
                  <a:lnTo>
                    <a:pt x="4207" y="832"/>
                  </a:lnTo>
                  <a:lnTo>
                    <a:pt x="4193" y="842"/>
                  </a:lnTo>
                  <a:lnTo>
                    <a:pt x="4180" y="854"/>
                  </a:lnTo>
                  <a:lnTo>
                    <a:pt x="4170" y="868"/>
                  </a:lnTo>
                  <a:lnTo>
                    <a:pt x="4162" y="885"/>
                  </a:lnTo>
                  <a:lnTo>
                    <a:pt x="4157" y="902"/>
                  </a:lnTo>
                  <a:close/>
                  <a:moveTo>
                    <a:pt x="5248" y="923"/>
                  </a:moveTo>
                  <a:lnTo>
                    <a:pt x="5243" y="933"/>
                  </a:lnTo>
                  <a:lnTo>
                    <a:pt x="5238" y="938"/>
                  </a:lnTo>
                  <a:lnTo>
                    <a:pt x="5227" y="942"/>
                  </a:lnTo>
                  <a:lnTo>
                    <a:pt x="4680" y="942"/>
                  </a:lnTo>
                  <a:lnTo>
                    <a:pt x="4135" y="942"/>
                  </a:lnTo>
                  <a:lnTo>
                    <a:pt x="4129" y="940"/>
                  </a:lnTo>
                  <a:lnTo>
                    <a:pt x="4123" y="936"/>
                  </a:lnTo>
                  <a:lnTo>
                    <a:pt x="4117" y="928"/>
                  </a:lnTo>
                  <a:lnTo>
                    <a:pt x="4116" y="920"/>
                  </a:lnTo>
                  <a:lnTo>
                    <a:pt x="4119" y="891"/>
                  </a:lnTo>
                  <a:lnTo>
                    <a:pt x="4128" y="864"/>
                  </a:lnTo>
                  <a:lnTo>
                    <a:pt x="4140" y="840"/>
                  </a:lnTo>
                  <a:lnTo>
                    <a:pt x="4158" y="819"/>
                  </a:lnTo>
                  <a:lnTo>
                    <a:pt x="4180" y="801"/>
                  </a:lnTo>
                  <a:lnTo>
                    <a:pt x="4205" y="789"/>
                  </a:lnTo>
                  <a:lnTo>
                    <a:pt x="4232" y="781"/>
                  </a:lnTo>
                  <a:lnTo>
                    <a:pt x="4261" y="777"/>
                  </a:lnTo>
                  <a:lnTo>
                    <a:pt x="4265" y="753"/>
                  </a:lnTo>
                  <a:lnTo>
                    <a:pt x="4270" y="730"/>
                  </a:lnTo>
                  <a:lnTo>
                    <a:pt x="4279" y="707"/>
                  </a:lnTo>
                  <a:lnTo>
                    <a:pt x="4288" y="686"/>
                  </a:lnTo>
                  <a:lnTo>
                    <a:pt x="4301" y="666"/>
                  </a:lnTo>
                  <a:lnTo>
                    <a:pt x="4314" y="647"/>
                  </a:lnTo>
                  <a:lnTo>
                    <a:pt x="4329" y="629"/>
                  </a:lnTo>
                  <a:lnTo>
                    <a:pt x="4346" y="612"/>
                  </a:lnTo>
                  <a:lnTo>
                    <a:pt x="4364" y="597"/>
                  </a:lnTo>
                  <a:lnTo>
                    <a:pt x="4383" y="584"/>
                  </a:lnTo>
                  <a:lnTo>
                    <a:pt x="4425" y="562"/>
                  </a:lnTo>
                  <a:lnTo>
                    <a:pt x="4448" y="555"/>
                  </a:lnTo>
                  <a:lnTo>
                    <a:pt x="4471" y="550"/>
                  </a:lnTo>
                  <a:lnTo>
                    <a:pt x="4496" y="546"/>
                  </a:lnTo>
                  <a:lnTo>
                    <a:pt x="4521" y="544"/>
                  </a:lnTo>
                  <a:lnTo>
                    <a:pt x="4548" y="546"/>
                  </a:lnTo>
                  <a:lnTo>
                    <a:pt x="4575" y="550"/>
                  </a:lnTo>
                  <a:lnTo>
                    <a:pt x="4625" y="565"/>
                  </a:lnTo>
                  <a:lnTo>
                    <a:pt x="4648" y="576"/>
                  </a:lnTo>
                  <a:lnTo>
                    <a:pt x="4670" y="590"/>
                  </a:lnTo>
                  <a:lnTo>
                    <a:pt x="4689" y="606"/>
                  </a:lnTo>
                  <a:lnTo>
                    <a:pt x="4709" y="622"/>
                  </a:lnTo>
                  <a:lnTo>
                    <a:pt x="4741" y="615"/>
                  </a:lnTo>
                  <a:lnTo>
                    <a:pt x="4775" y="612"/>
                  </a:lnTo>
                  <a:lnTo>
                    <a:pt x="4810" y="615"/>
                  </a:lnTo>
                  <a:lnTo>
                    <a:pt x="4827" y="619"/>
                  </a:lnTo>
                  <a:lnTo>
                    <a:pt x="4842" y="622"/>
                  </a:lnTo>
                  <a:lnTo>
                    <a:pt x="4873" y="635"/>
                  </a:lnTo>
                  <a:lnTo>
                    <a:pt x="4901" y="651"/>
                  </a:lnTo>
                  <a:lnTo>
                    <a:pt x="4927" y="671"/>
                  </a:lnTo>
                  <a:lnTo>
                    <a:pt x="4950" y="694"/>
                  </a:lnTo>
                  <a:lnTo>
                    <a:pt x="4969" y="720"/>
                  </a:lnTo>
                  <a:lnTo>
                    <a:pt x="4984" y="749"/>
                  </a:lnTo>
                  <a:lnTo>
                    <a:pt x="5005" y="738"/>
                  </a:lnTo>
                  <a:lnTo>
                    <a:pt x="5028" y="729"/>
                  </a:lnTo>
                  <a:lnTo>
                    <a:pt x="5052" y="722"/>
                  </a:lnTo>
                  <a:lnTo>
                    <a:pt x="5077" y="721"/>
                  </a:lnTo>
                  <a:lnTo>
                    <a:pt x="5112" y="725"/>
                  </a:lnTo>
                  <a:lnTo>
                    <a:pt x="5128" y="729"/>
                  </a:lnTo>
                  <a:lnTo>
                    <a:pt x="5145" y="734"/>
                  </a:lnTo>
                  <a:lnTo>
                    <a:pt x="5174" y="750"/>
                  </a:lnTo>
                  <a:lnTo>
                    <a:pt x="5200" y="771"/>
                  </a:lnTo>
                  <a:lnTo>
                    <a:pt x="5210" y="784"/>
                  </a:lnTo>
                  <a:lnTo>
                    <a:pt x="5220" y="796"/>
                  </a:lnTo>
                  <a:lnTo>
                    <a:pt x="5229" y="810"/>
                  </a:lnTo>
                  <a:lnTo>
                    <a:pt x="5237" y="826"/>
                  </a:lnTo>
                  <a:lnTo>
                    <a:pt x="5247" y="858"/>
                  </a:lnTo>
                  <a:lnTo>
                    <a:pt x="5250" y="892"/>
                  </a:lnTo>
                  <a:lnTo>
                    <a:pt x="5250" y="908"/>
                  </a:lnTo>
                  <a:lnTo>
                    <a:pt x="5248" y="923"/>
                  </a:lnTo>
                  <a:close/>
                  <a:moveTo>
                    <a:pt x="4239" y="2494"/>
                  </a:moveTo>
                  <a:lnTo>
                    <a:pt x="4239" y="2607"/>
                  </a:lnTo>
                  <a:lnTo>
                    <a:pt x="4238" y="2616"/>
                  </a:lnTo>
                  <a:lnTo>
                    <a:pt x="4233" y="2622"/>
                  </a:lnTo>
                  <a:lnTo>
                    <a:pt x="4226" y="2626"/>
                  </a:lnTo>
                  <a:lnTo>
                    <a:pt x="4219" y="2627"/>
                  </a:lnTo>
                  <a:lnTo>
                    <a:pt x="4212" y="2626"/>
                  </a:lnTo>
                  <a:lnTo>
                    <a:pt x="4206" y="2622"/>
                  </a:lnTo>
                  <a:lnTo>
                    <a:pt x="4201" y="2616"/>
                  </a:lnTo>
                  <a:lnTo>
                    <a:pt x="4199" y="2607"/>
                  </a:lnTo>
                  <a:lnTo>
                    <a:pt x="4199" y="2494"/>
                  </a:lnTo>
                  <a:lnTo>
                    <a:pt x="4201" y="2487"/>
                  </a:lnTo>
                  <a:lnTo>
                    <a:pt x="4206" y="2480"/>
                  </a:lnTo>
                  <a:lnTo>
                    <a:pt x="4212" y="2477"/>
                  </a:lnTo>
                  <a:lnTo>
                    <a:pt x="4219" y="2475"/>
                  </a:lnTo>
                  <a:lnTo>
                    <a:pt x="4226" y="2477"/>
                  </a:lnTo>
                  <a:lnTo>
                    <a:pt x="4233" y="2480"/>
                  </a:lnTo>
                  <a:lnTo>
                    <a:pt x="4238" y="2487"/>
                  </a:lnTo>
                  <a:lnTo>
                    <a:pt x="4239" y="2494"/>
                  </a:lnTo>
                  <a:close/>
                  <a:moveTo>
                    <a:pt x="4502" y="2494"/>
                  </a:moveTo>
                  <a:lnTo>
                    <a:pt x="4502" y="2607"/>
                  </a:lnTo>
                  <a:lnTo>
                    <a:pt x="4501" y="2616"/>
                  </a:lnTo>
                  <a:lnTo>
                    <a:pt x="4496" y="2622"/>
                  </a:lnTo>
                  <a:lnTo>
                    <a:pt x="4489" y="2626"/>
                  </a:lnTo>
                  <a:lnTo>
                    <a:pt x="4483" y="2627"/>
                  </a:lnTo>
                  <a:lnTo>
                    <a:pt x="4475" y="2626"/>
                  </a:lnTo>
                  <a:lnTo>
                    <a:pt x="4469" y="2622"/>
                  </a:lnTo>
                  <a:lnTo>
                    <a:pt x="4464" y="2616"/>
                  </a:lnTo>
                  <a:lnTo>
                    <a:pt x="4462" y="2607"/>
                  </a:lnTo>
                  <a:lnTo>
                    <a:pt x="4462" y="2494"/>
                  </a:lnTo>
                  <a:lnTo>
                    <a:pt x="4464" y="2487"/>
                  </a:lnTo>
                  <a:lnTo>
                    <a:pt x="4469" y="2480"/>
                  </a:lnTo>
                  <a:lnTo>
                    <a:pt x="4475" y="2477"/>
                  </a:lnTo>
                  <a:lnTo>
                    <a:pt x="4483" y="2475"/>
                  </a:lnTo>
                  <a:lnTo>
                    <a:pt x="4489" y="2477"/>
                  </a:lnTo>
                  <a:lnTo>
                    <a:pt x="4496" y="2480"/>
                  </a:lnTo>
                  <a:lnTo>
                    <a:pt x="4501" y="2487"/>
                  </a:lnTo>
                  <a:lnTo>
                    <a:pt x="4502" y="2494"/>
                  </a:lnTo>
                  <a:close/>
                  <a:moveTo>
                    <a:pt x="4765" y="2494"/>
                  </a:moveTo>
                  <a:lnTo>
                    <a:pt x="4765" y="2607"/>
                  </a:lnTo>
                  <a:lnTo>
                    <a:pt x="4764" y="2616"/>
                  </a:lnTo>
                  <a:lnTo>
                    <a:pt x="4759" y="2622"/>
                  </a:lnTo>
                  <a:lnTo>
                    <a:pt x="4752" y="2626"/>
                  </a:lnTo>
                  <a:lnTo>
                    <a:pt x="4746" y="2627"/>
                  </a:lnTo>
                  <a:lnTo>
                    <a:pt x="4738" y="2626"/>
                  </a:lnTo>
                  <a:lnTo>
                    <a:pt x="4732" y="2622"/>
                  </a:lnTo>
                  <a:lnTo>
                    <a:pt x="4728" y="2616"/>
                  </a:lnTo>
                  <a:lnTo>
                    <a:pt x="4725" y="2607"/>
                  </a:lnTo>
                  <a:lnTo>
                    <a:pt x="4725" y="2494"/>
                  </a:lnTo>
                  <a:lnTo>
                    <a:pt x="4728" y="2487"/>
                  </a:lnTo>
                  <a:lnTo>
                    <a:pt x="4732" y="2480"/>
                  </a:lnTo>
                  <a:lnTo>
                    <a:pt x="4738" y="2477"/>
                  </a:lnTo>
                  <a:lnTo>
                    <a:pt x="4746" y="2475"/>
                  </a:lnTo>
                  <a:lnTo>
                    <a:pt x="4752" y="2477"/>
                  </a:lnTo>
                  <a:lnTo>
                    <a:pt x="4759" y="2480"/>
                  </a:lnTo>
                  <a:lnTo>
                    <a:pt x="4764" y="2487"/>
                  </a:lnTo>
                  <a:lnTo>
                    <a:pt x="4765" y="2494"/>
                  </a:lnTo>
                  <a:close/>
                  <a:moveTo>
                    <a:pt x="5029" y="2494"/>
                  </a:moveTo>
                  <a:lnTo>
                    <a:pt x="5029" y="2607"/>
                  </a:lnTo>
                  <a:lnTo>
                    <a:pt x="5027" y="2616"/>
                  </a:lnTo>
                  <a:lnTo>
                    <a:pt x="5023" y="2622"/>
                  </a:lnTo>
                  <a:lnTo>
                    <a:pt x="5016" y="2626"/>
                  </a:lnTo>
                  <a:lnTo>
                    <a:pt x="5009" y="2627"/>
                  </a:lnTo>
                  <a:lnTo>
                    <a:pt x="5001" y="2626"/>
                  </a:lnTo>
                  <a:lnTo>
                    <a:pt x="4994" y="2622"/>
                  </a:lnTo>
                  <a:lnTo>
                    <a:pt x="4991" y="2616"/>
                  </a:lnTo>
                  <a:lnTo>
                    <a:pt x="4988" y="2607"/>
                  </a:lnTo>
                  <a:lnTo>
                    <a:pt x="4988" y="2494"/>
                  </a:lnTo>
                  <a:lnTo>
                    <a:pt x="4991" y="2487"/>
                  </a:lnTo>
                  <a:lnTo>
                    <a:pt x="4994" y="2480"/>
                  </a:lnTo>
                  <a:lnTo>
                    <a:pt x="5001" y="2477"/>
                  </a:lnTo>
                  <a:lnTo>
                    <a:pt x="5009" y="2475"/>
                  </a:lnTo>
                  <a:lnTo>
                    <a:pt x="5016" y="2477"/>
                  </a:lnTo>
                  <a:lnTo>
                    <a:pt x="5023" y="2480"/>
                  </a:lnTo>
                  <a:lnTo>
                    <a:pt x="5027" y="2487"/>
                  </a:lnTo>
                  <a:lnTo>
                    <a:pt x="5029" y="2494"/>
                  </a:lnTo>
                  <a:close/>
                  <a:moveTo>
                    <a:pt x="5292" y="2494"/>
                  </a:moveTo>
                  <a:lnTo>
                    <a:pt x="5292" y="2607"/>
                  </a:lnTo>
                  <a:lnTo>
                    <a:pt x="5289" y="2616"/>
                  </a:lnTo>
                  <a:lnTo>
                    <a:pt x="5286" y="2622"/>
                  </a:lnTo>
                  <a:lnTo>
                    <a:pt x="5279" y="2626"/>
                  </a:lnTo>
                  <a:lnTo>
                    <a:pt x="5271" y="2627"/>
                  </a:lnTo>
                  <a:lnTo>
                    <a:pt x="5264" y="2626"/>
                  </a:lnTo>
                  <a:lnTo>
                    <a:pt x="5257" y="2622"/>
                  </a:lnTo>
                  <a:lnTo>
                    <a:pt x="5253" y="2616"/>
                  </a:lnTo>
                  <a:lnTo>
                    <a:pt x="5252" y="2607"/>
                  </a:lnTo>
                  <a:lnTo>
                    <a:pt x="5252" y="2494"/>
                  </a:lnTo>
                  <a:lnTo>
                    <a:pt x="5253" y="2487"/>
                  </a:lnTo>
                  <a:lnTo>
                    <a:pt x="5257" y="2480"/>
                  </a:lnTo>
                  <a:lnTo>
                    <a:pt x="5264" y="2477"/>
                  </a:lnTo>
                  <a:lnTo>
                    <a:pt x="5271" y="2475"/>
                  </a:lnTo>
                  <a:lnTo>
                    <a:pt x="5279" y="2477"/>
                  </a:lnTo>
                  <a:lnTo>
                    <a:pt x="5286" y="2480"/>
                  </a:lnTo>
                  <a:lnTo>
                    <a:pt x="5289" y="2487"/>
                  </a:lnTo>
                  <a:lnTo>
                    <a:pt x="5292" y="2494"/>
                  </a:lnTo>
                  <a:close/>
                  <a:moveTo>
                    <a:pt x="5555" y="2494"/>
                  </a:moveTo>
                  <a:lnTo>
                    <a:pt x="5555" y="2607"/>
                  </a:lnTo>
                  <a:lnTo>
                    <a:pt x="5554" y="2616"/>
                  </a:lnTo>
                  <a:lnTo>
                    <a:pt x="5548" y="2622"/>
                  </a:lnTo>
                  <a:lnTo>
                    <a:pt x="5542" y="2626"/>
                  </a:lnTo>
                  <a:lnTo>
                    <a:pt x="5534" y="2627"/>
                  </a:lnTo>
                  <a:lnTo>
                    <a:pt x="5528" y="2626"/>
                  </a:lnTo>
                  <a:lnTo>
                    <a:pt x="5521" y="2622"/>
                  </a:lnTo>
                  <a:lnTo>
                    <a:pt x="5516" y="2616"/>
                  </a:lnTo>
                  <a:lnTo>
                    <a:pt x="5515" y="2607"/>
                  </a:lnTo>
                  <a:lnTo>
                    <a:pt x="5515" y="2494"/>
                  </a:lnTo>
                  <a:lnTo>
                    <a:pt x="5516" y="2487"/>
                  </a:lnTo>
                  <a:lnTo>
                    <a:pt x="5521" y="2480"/>
                  </a:lnTo>
                  <a:lnTo>
                    <a:pt x="5528" y="2477"/>
                  </a:lnTo>
                  <a:lnTo>
                    <a:pt x="5534" y="2475"/>
                  </a:lnTo>
                  <a:lnTo>
                    <a:pt x="5542" y="2477"/>
                  </a:lnTo>
                  <a:lnTo>
                    <a:pt x="5548" y="2480"/>
                  </a:lnTo>
                  <a:lnTo>
                    <a:pt x="5554" y="2487"/>
                  </a:lnTo>
                  <a:lnTo>
                    <a:pt x="5555" y="2494"/>
                  </a:lnTo>
                  <a:close/>
                  <a:moveTo>
                    <a:pt x="4239" y="2741"/>
                  </a:moveTo>
                  <a:lnTo>
                    <a:pt x="4239" y="2854"/>
                  </a:lnTo>
                  <a:lnTo>
                    <a:pt x="4238" y="2863"/>
                  </a:lnTo>
                  <a:lnTo>
                    <a:pt x="4233" y="2869"/>
                  </a:lnTo>
                  <a:lnTo>
                    <a:pt x="4226" y="2873"/>
                  </a:lnTo>
                  <a:lnTo>
                    <a:pt x="4219" y="2874"/>
                  </a:lnTo>
                  <a:lnTo>
                    <a:pt x="4212" y="2873"/>
                  </a:lnTo>
                  <a:lnTo>
                    <a:pt x="4206" y="2869"/>
                  </a:lnTo>
                  <a:lnTo>
                    <a:pt x="4201" y="2863"/>
                  </a:lnTo>
                  <a:lnTo>
                    <a:pt x="4199" y="2854"/>
                  </a:lnTo>
                  <a:lnTo>
                    <a:pt x="4199" y="2741"/>
                  </a:lnTo>
                  <a:lnTo>
                    <a:pt x="4201" y="2732"/>
                  </a:lnTo>
                  <a:lnTo>
                    <a:pt x="4206" y="2727"/>
                  </a:lnTo>
                  <a:lnTo>
                    <a:pt x="4212" y="2723"/>
                  </a:lnTo>
                  <a:lnTo>
                    <a:pt x="4219" y="2722"/>
                  </a:lnTo>
                  <a:lnTo>
                    <a:pt x="4226" y="2723"/>
                  </a:lnTo>
                  <a:lnTo>
                    <a:pt x="4233" y="2727"/>
                  </a:lnTo>
                  <a:lnTo>
                    <a:pt x="4238" y="2732"/>
                  </a:lnTo>
                  <a:lnTo>
                    <a:pt x="4239" y="2741"/>
                  </a:lnTo>
                  <a:close/>
                  <a:moveTo>
                    <a:pt x="4502" y="2741"/>
                  </a:moveTo>
                  <a:lnTo>
                    <a:pt x="4502" y="2854"/>
                  </a:lnTo>
                  <a:lnTo>
                    <a:pt x="4501" y="2863"/>
                  </a:lnTo>
                  <a:lnTo>
                    <a:pt x="4496" y="2869"/>
                  </a:lnTo>
                  <a:lnTo>
                    <a:pt x="4489" y="2873"/>
                  </a:lnTo>
                  <a:lnTo>
                    <a:pt x="4483" y="2874"/>
                  </a:lnTo>
                  <a:lnTo>
                    <a:pt x="4475" y="2873"/>
                  </a:lnTo>
                  <a:lnTo>
                    <a:pt x="4469" y="2869"/>
                  </a:lnTo>
                  <a:lnTo>
                    <a:pt x="4464" y="2863"/>
                  </a:lnTo>
                  <a:lnTo>
                    <a:pt x="4462" y="2854"/>
                  </a:lnTo>
                  <a:lnTo>
                    <a:pt x="4462" y="2741"/>
                  </a:lnTo>
                  <a:lnTo>
                    <a:pt x="4464" y="2732"/>
                  </a:lnTo>
                  <a:lnTo>
                    <a:pt x="4469" y="2727"/>
                  </a:lnTo>
                  <a:lnTo>
                    <a:pt x="4475" y="2723"/>
                  </a:lnTo>
                  <a:lnTo>
                    <a:pt x="4483" y="2722"/>
                  </a:lnTo>
                  <a:lnTo>
                    <a:pt x="4489" y="2723"/>
                  </a:lnTo>
                  <a:lnTo>
                    <a:pt x="4496" y="2727"/>
                  </a:lnTo>
                  <a:lnTo>
                    <a:pt x="4501" y="2732"/>
                  </a:lnTo>
                  <a:lnTo>
                    <a:pt x="4502" y="2741"/>
                  </a:lnTo>
                  <a:close/>
                  <a:moveTo>
                    <a:pt x="4765" y="2741"/>
                  </a:moveTo>
                  <a:lnTo>
                    <a:pt x="4765" y="2854"/>
                  </a:lnTo>
                  <a:lnTo>
                    <a:pt x="4764" y="2863"/>
                  </a:lnTo>
                  <a:lnTo>
                    <a:pt x="4759" y="2869"/>
                  </a:lnTo>
                  <a:lnTo>
                    <a:pt x="4752" y="2873"/>
                  </a:lnTo>
                  <a:lnTo>
                    <a:pt x="4746" y="2874"/>
                  </a:lnTo>
                  <a:lnTo>
                    <a:pt x="4738" y="2873"/>
                  </a:lnTo>
                  <a:lnTo>
                    <a:pt x="4732" y="2869"/>
                  </a:lnTo>
                  <a:lnTo>
                    <a:pt x="4728" y="2863"/>
                  </a:lnTo>
                  <a:lnTo>
                    <a:pt x="4725" y="2854"/>
                  </a:lnTo>
                  <a:lnTo>
                    <a:pt x="4725" y="2741"/>
                  </a:lnTo>
                  <a:lnTo>
                    <a:pt x="4728" y="2732"/>
                  </a:lnTo>
                  <a:lnTo>
                    <a:pt x="4732" y="2727"/>
                  </a:lnTo>
                  <a:lnTo>
                    <a:pt x="4738" y="2723"/>
                  </a:lnTo>
                  <a:lnTo>
                    <a:pt x="4746" y="2722"/>
                  </a:lnTo>
                  <a:lnTo>
                    <a:pt x="4752" y="2723"/>
                  </a:lnTo>
                  <a:lnTo>
                    <a:pt x="4759" y="2727"/>
                  </a:lnTo>
                  <a:lnTo>
                    <a:pt x="4764" y="2732"/>
                  </a:lnTo>
                  <a:lnTo>
                    <a:pt x="4765" y="2741"/>
                  </a:lnTo>
                  <a:close/>
                  <a:moveTo>
                    <a:pt x="5029" y="2741"/>
                  </a:moveTo>
                  <a:lnTo>
                    <a:pt x="5029" y="2854"/>
                  </a:lnTo>
                  <a:lnTo>
                    <a:pt x="5027" y="2863"/>
                  </a:lnTo>
                  <a:lnTo>
                    <a:pt x="5023" y="2869"/>
                  </a:lnTo>
                  <a:lnTo>
                    <a:pt x="5016" y="2873"/>
                  </a:lnTo>
                  <a:lnTo>
                    <a:pt x="5009" y="2874"/>
                  </a:lnTo>
                  <a:lnTo>
                    <a:pt x="5001" y="2873"/>
                  </a:lnTo>
                  <a:lnTo>
                    <a:pt x="4994" y="2869"/>
                  </a:lnTo>
                  <a:lnTo>
                    <a:pt x="4991" y="2863"/>
                  </a:lnTo>
                  <a:lnTo>
                    <a:pt x="4988" y="2854"/>
                  </a:lnTo>
                  <a:lnTo>
                    <a:pt x="4988" y="2741"/>
                  </a:lnTo>
                  <a:lnTo>
                    <a:pt x="4991" y="2732"/>
                  </a:lnTo>
                  <a:lnTo>
                    <a:pt x="4994" y="2727"/>
                  </a:lnTo>
                  <a:lnTo>
                    <a:pt x="5001" y="2723"/>
                  </a:lnTo>
                  <a:lnTo>
                    <a:pt x="5009" y="2722"/>
                  </a:lnTo>
                  <a:lnTo>
                    <a:pt x="5016" y="2723"/>
                  </a:lnTo>
                  <a:lnTo>
                    <a:pt x="5023" y="2727"/>
                  </a:lnTo>
                  <a:lnTo>
                    <a:pt x="5027" y="2732"/>
                  </a:lnTo>
                  <a:lnTo>
                    <a:pt x="5029" y="2741"/>
                  </a:lnTo>
                  <a:close/>
                  <a:moveTo>
                    <a:pt x="5292" y="2741"/>
                  </a:moveTo>
                  <a:lnTo>
                    <a:pt x="5292" y="2854"/>
                  </a:lnTo>
                  <a:lnTo>
                    <a:pt x="5289" y="2863"/>
                  </a:lnTo>
                  <a:lnTo>
                    <a:pt x="5286" y="2869"/>
                  </a:lnTo>
                  <a:lnTo>
                    <a:pt x="5279" y="2873"/>
                  </a:lnTo>
                  <a:lnTo>
                    <a:pt x="5271" y="2874"/>
                  </a:lnTo>
                  <a:lnTo>
                    <a:pt x="5264" y="2873"/>
                  </a:lnTo>
                  <a:lnTo>
                    <a:pt x="5257" y="2869"/>
                  </a:lnTo>
                  <a:lnTo>
                    <a:pt x="5253" y="2863"/>
                  </a:lnTo>
                  <a:lnTo>
                    <a:pt x="5252" y="2854"/>
                  </a:lnTo>
                  <a:lnTo>
                    <a:pt x="5252" y="2741"/>
                  </a:lnTo>
                  <a:lnTo>
                    <a:pt x="5253" y="2732"/>
                  </a:lnTo>
                  <a:lnTo>
                    <a:pt x="5257" y="2727"/>
                  </a:lnTo>
                  <a:lnTo>
                    <a:pt x="5264" y="2723"/>
                  </a:lnTo>
                  <a:lnTo>
                    <a:pt x="5271" y="2722"/>
                  </a:lnTo>
                  <a:lnTo>
                    <a:pt x="5279" y="2723"/>
                  </a:lnTo>
                  <a:lnTo>
                    <a:pt x="5286" y="2727"/>
                  </a:lnTo>
                  <a:lnTo>
                    <a:pt x="5289" y="2732"/>
                  </a:lnTo>
                  <a:lnTo>
                    <a:pt x="5292" y="2741"/>
                  </a:lnTo>
                  <a:close/>
                  <a:moveTo>
                    <a:pt x="5555" y="2741"/>
                  </a:moveTo>
                  <a:lnTo>
                    <a:pt x="5555" y="2854"/>
                  </a:lnTo>
                  <a:lnTo>
                    <a:pt x="5554" y="2863"/>
                  </a:lnTo>
                  <a:lnTo>
                    <a:pt x="5548" y="2869"/>
                  </a:lnTo>
                  <a:lnTo>
                    <a:pt x="5542" y="2873"/>
                  </a:lnTo>
                  <a:lnTo>
                    <a:pt x="5534" y="2874"/>
                  </a:lnTo>
                  <a:lnTo>
                    <a:pt x="5528" y="2873"/>
                  </a:lnTo>
                  <a:lnTo>
                    <a:pt x="5521" y="2869"/>
                  </a:lnTo>
                  <a:lnTo>
                    <a:pt x="5516" y="2863"/>
                  </a:lnTo>
                  <a:lnTo>
                    <a:pt x="5515" y="2854"/>
                  </a:lnTo>
                  <a:lnTo>
                    <a:pt x="5515" y="2741"/>
                  </a:lnTo>
                  <a:lnTo>
                    <a:pt x="5516" y="2732"/>
                  </a:lnTo>
                  <a:lnTo>
                    <a:pt x="5521" y="2727"/>
                  </a:lnTo>
                  <a:lnTo>
                    <a:pt x="5528" y="2723"/>
                  </a:lnTo>
                  <a:lnTo>
                    <a:pt x="5534" y="2722"/>
                  </a:lnTo>
                  <a:lnTo>
                    <a:pt x="5542" y="2723"/>
                  </a:lnTo>
                  <a:lnTo>
                    <a:pt x="5548" y="2727"/>
                  </a:lnTo>
                  <a:lnTo>
                    <a:pt x="5554" y="2732"/>
                  </a:lnTo>
                  <a:lnTo>
                    <a:pt x="5555" y="2741"/>
                  </a:lnTo>
                  <a:close/>
                  <a:moveTo>
                    <a:pt x="4239" y="2988"/>
                  </a:moveTo>
                  <a:lnTo>
                    <a:pt x="4239" y="3101"/>
                  </a:lnTo>
                  <a:lnTo>
                    <a:pt x="4238" y="3109"/>
                  </a:lnTo>
                  <a:lnTo>
                    <a:pt x="4233" y="3115"/>
                  </a:lnTo>
                  <a:lnTo>
                    <a:pt x="4226" y="3118"/>
                  </a:lnTo>
                  <a:lnTo>
                    <a:pt x="4219" y="3120"/>
                  </a:lnTo>
                  <a:lnTo>
                    <a:pt x="4212" y="3118"/>
                  </a:lnTo>
                  <a:lnTo>
                    <a:pt x="4206" y="3115"/>
                  </a:lnTo>
                  <a:lnTo>
                    <a:pt x="4201" y="3109"/>
                  </a:lnTo>
                  <a:lnTo>
                    <a:pt x="4199" y="3101"/>
                  </a:lnTo>
                  <a:lnTo>
                    <a:pt x="4199" y="2988"/>
                  </a:lnTo>
                  <a:lnTo>
                    <a:pt x="4201" y="2979"/>
                  </a:lnTo>
                  <a:lnTo>
                    <a:pt x="4206" y="2973"/>
                  </a:lnTo>
                  <a:lnTo>
                    <a:pt x="4212" y="2970"/>
                  </a:lnTo>
                  <a:lnTo>
                    <a:pt x="4219" y="2969"/>
                  </a:lnTo>
                  <a:lnTo>
                    <a:pt x="4226" y="2970"/>
                  </a:lnTo>
                  <a:lnTo>
                    <a:pt x="4233" y="2973"/>
                  </a:lnTo>
                  <a:lnTo>
                    <a:pt x="4238" y="2979"/>
                  </a:lnTo>
                  <a:lnTo>
                    <a:pt x="4239" y="2988"/>
                  </a:lnTo>
                  <a:close/>
                  <a:moveTo>
                    <a:pt x="4502" y="2988"/>
                  </a:moveTo>
                  <a:lnTo>
                    <a:pt x="4502" y="3101"/>
                  </a:lnTo>
                  <a:lnTo>
                    <a:pt x="4501" y="3109"/>
                  </a:lnTo>
                  <a:lnTo>
                    <a:pt x="4496" y="3115"/>
                  </a:lnTo>
                  <a:lnTo>
                    <a:pt x="4489" y="3118"/>
                  </a:lnTo>
                  <a:lnTo>
                    <a:pt x="4483" y="3120"/>
                  </a:lnTo>
                  <a:lnTo>
                    <a:pt x="4475" y="3118"/>
                  </a:lnTo>
                  <a:lnTo>
                    <a:pt x="4469" y="3115"/>
                  </a:lnTo>
                  <a:lnTo>
                    <a:pt x="4464" y="3109"/>
                  </a:lnTo>
                  <a:lnTo>
                    <a:pt x="4462" y="3101"/>
                  </a:lnTo>
                  <a:lnTo>
                    <a:pt x="4462" y="2988"/>
                  </a:lnTo>
                  <a:lnTo>
                    <a:pt x="4464" y="2979"/>
                  </a:lnTo>
                  <a:lnTo>
                    <a:pt x="4469" y="2973"/>
                  </a:lnTo>
                  <a:lnTo>
                    <a:pt x="4475" y="2970"/>
                  </a:lnTo>
                  <a:lnTo>
                    <a:pt x="4483" y="2969"/>
                  </a:lnTo>
                  <a:lnTo>
                    <a:pt x="4489" y="2970"/>
                  </a:lnTo>
                  <a:lnTo>
                    <a:pt x="4496" y="2973"/>
                  </a:lnTo>
                  <a:lnTo>
                    <a:pt x="4501" y="2979"/>
                  </a:lnTo>
                  <a:lnTo>
                    <a:pt x="4502" y="2988"/>
                  </a:lnTo>
                  <a:close/>
                  <a:moveTo>
                    <a:pt x="4765" y="2988"/>
                  </a:moveTo>
                  <a:lnTo>
                    <a:pt x="4765" y="3101"/>
                  </a:lnTo>
                  <a:lnTo>
                    <a:pt x="4764" y="3109"/>
                  </a:lnTo>
                  <a:lnTo>
                    <a:pt x="4759" y="3115"/>
                  </a:lnTo>
                  <a:lnTo>
                    <a:pt x="4752" y="3118"/>
                  </a:lnTo>
                  <a:lnTo>
                    <a:pt x="4746" y="3120"/>
                  </a:lnTo>
                  <a:lnTo>
                    <a:pt x="4738" y="3118"/>
                  </a:lnTo>
                  <a:lnTo>
                    <a:pt x="4732" y="3115"/>
                  </a:lnTo>
                  <a:lnTo>
                    <a:pt x="4728" y="3109"/>
                  </a:lnTo>
                  <a:lnTo>
                    <a:pt x="4725" y="3101"/>
                  </a:lnTo>
                  <a:lnTo>
                    <a:pt x="4725" y="2988"/>
                  </a:lnTo>
                  <a:lnTo>
                    <a:pt x="4728" y="2979"/>
                  </a:lnTo>
                  <a:lnTo>
                    <a:pt x="4732" y="2973"/>
                  </a:lnTo>
                  <a:lnTo>
                    <a:pt x="4738" y="2970"/>
                  </a:lnTo>
                  <a:lnTo>
                    <a:pt x="4746" y="2969"/>
                  </a:lnTo>
                  <a:lnTo>
                    <a:pt x="4752" y="2970"/>
                  </a:lnTo>
                  <a:lnTo>
                    <a:pt x="4759" y="2973"/>
                  </a:lnTo>
                  <a:lnTo>
                    <a:pt x="4764" y="2979"/>
                  </a:lnTo>
                  <a:lnTo>
                    <a:pt x="4765" y="2988"/>
                  </a:lnTo>
                  <a:close/>
                  <a:moveTo>
                    <a:pt x="5029" y="2988"/>
                  </a:moveTo>
                  <a:lnTo>
                    <a:pt x="5029" y="3101"/>
                  </a:lnTo>
                  <a:lnTo>
                    <a:pt x="5027" y="3109"/>
                  </a:lnTo>
                  <a:lnTo>
                    <a:pt x="5023" y="3115"/>
                  </a:lnTo>
                  <a:lnTo>
                    <a:pt x="5016" y="3118"/>
                  </a:lnTo>
                  <a:lnTo>
                    <a:pt x="5009" y="3120"/>
                  </a:lnTo>
                  <a:lnTo>
                    <a:pt x="5001" y="3118"/>
                  </a:lnTo>
                  <a:lnTo>
                    <a:pt x="4994" y="3115"/>
                  </a:lnTo>
                  <a:lnTo>
                    <a:pt x="4991" y="3109"/>
                  </a:lnTo>
                  <a:lnTo>
                    <a:pt x="4988" y="3101"/>
                  </a:lnTo>
                  <a:lnTo>
                    <a:pt x="4988" y="2988"/>
                  </a:lnTo>
                  <a:lnTo>
                    <a:pt x="4991" y="2979"/>
                  </a:lnTo>
                  <a:lnTo>
                    <a:pt x="4994" y="2973"/>
                  </a:lnTo>
                  <a:lnTo>
                    <a:pt x="5001" y="2970"/>
                  </a:lnTo>
                  <a:lnTo>
                    <a:pt x="5009" y="2969"/>
                  </a:lnTo>
                  <a:lnTo>
                    <a:pt x="5016" y="2970"/>
                  </a:lnTo>
                  <a:lnTo>
                    <a:pt x="5023" y="2973"/>
                  </a:lnTo>
                  <a:lnTo>
                    <a:pt x="5027" y="2979"/>
                  </a:lnTo>
                  <a:lnTo>
                    <a:pt x="5029" y="2988"/>
                  </a:lnTo>
                  <a:close/>
                  <a:moveTo>
                    <a:pt x="5292" y="2988"/>
                  </a:moveTo>
                  <a:lnTo>
                    <a:pt x="5292" y="3101"/>
                  </a:lnTo>
                  <a:lnTo>
                    <a:pt x="5289" y="3109"/>
                  </a:lnTo>
                  <a:lnTo>
                    <a:pt x="5286" y="3115"/>
                  </a:lnTo>
                  <a:lnTo>
                    <a:pt x="5279" y="3118"/>
                  </a:lnTo>
                  <a:lnTo>
                    <a:pt x="5271" y="3120"/>
                  </a:lnTo>
                  <a:lnTo>
                    <a:pt x="5264" y="3118"/>
                  </a:lnTo>
                  <a:lnTo>
                    <a:pt x="5257" y="3115"/>
                  </a:lnTo>
                  <a:lnTo>
                    <a:pt x="5253" y="3109"/>
                  </a:lnTo>
                  <a:lnTo>
                    <a:pt x="5252" y="3101"/>
                  </a:lnTo>
                  <a:lnTo>
                    <a:pt x="5252" y="2988"/>
                  </a:lnTo>
                  <a:lnTo>
                    <a:pt x="5253" y="2979"/>
                  </a:lnTo>
                  <a:lnTo>
                    <a:pt x="5257" y="2973"/>
                  </a:lnTo>
                  <a:lnTo>
                    <a:pt x="5264" y="2970"/>
                  </a:lnTo>
                  <a:lnTo>
                    <a:pt x="5271" y="2969"/>
                  </a:lnTo>
                  <a:lnTo>
                    <a:pt x="5279" y="2970"/>
                  </a:lnTo>
                  <a:lnTo>
                    <a:pt x="5286" y="2973"/>
                  </a:lnTo>
                  <a:lnTo>
                    <a:pt x="5289" y="2979"/>
                  </a:lnTo>
                  <a:lnTo>
                    <a:pt x="5292" y="2988"/>
                  </a:lnTo>
                  <a:close/>
                  <a:moveTo>
                    <a:pt x="5555" y="2988"/>
                  </a:moveTo>
                  <a:lnTo>
                    <a:pt x="5555" y="3101"/>
                  </a:lnTo>
                  <a:lnTo>
                    <a:pt x="5554" y="3109"/>
                  </a:lnTo>
                  <a:lnTo>
                    <a:pt x="5548" y="3115"/>
                  </a:lnTo>
                  <a:lnTo>
                    <a:pt x="5542" y="3118"/>
                  </a:lnTo>
                  <a:lnTo>
                    <a:pt x="5534" y="3120"/>
                  </a:lnTo>
                  <a:lnTo>
                    <a:pt x="5528" y="3118"/>
                  </a:lnTo>
                  <a:lnTo>
                    <a:pt x="5521" y="3115"/>
                  </a:lnTo>
                  <a:lnTo>
                    <a:pt x="5516" y="3109"/>
                  </a:lnTo>
                  <a:lnTo>
                    <a:pt x="5515" y="3101"/>
                  </a:lnTo>
                  <a:lnTo>
                    <a:pt x="5515" y="2988"/>
                  </a:lnTo>
                  <a:lnTo>
                    <a:pt x="5516" y="2979"/>
                  </a:lnTo>
                  <a:lnTo>
                    <a:pt x="5521" y="2973"/>
                  </a:lnTo>
                  <a:lnTo>
                    <a:pt x="5528" y="2970"/>
                  </a:lnTo>
                  <a:lnTo>
                    <a:pt x="5534" y="2969"/>
                  </a:lnTo>
                  <a:lnTo>
                    <a:pt x="5542" y="2970"/>
                  </a:lnTo>
                  <a:lnTo>
                    <a:pt x="5548" y="2973"/>
                  </a:lnTo>
                  <a:lnTo>
                    <a:pt x="5554" y="2979"/>
                  </a:lnTo>
                  <a:lnTo>
                    <a:pt x="5555" y="2988"/>
                  </a:lnTo>
                  <a:close/>
                  <a:moveTo>
                    <a:pt x="4239" y="3235"/>
                  </a:moveTo>
                  <a:lnTo>
                    <a:pt x="4239" y="3347"/>
                  </a:lnTo>
                  <a:lnTo>
                    <a:pt x="4238" y="3355"/>
                  </a:lnTo>
                  <a:lnTo>
                    <a:pt x="4233" y="3361"/>
                  </a:lnTo>
                  <a:lnTo>
                    <a:pt x="4226" y="3365"/>
                  </a:lnTo>
                  <a:lnTo>
                    <a:pt x="4219" y="3367"/>
                  </a:lnTo>
                  <a:lnTo>
                    <a:pt x="4212" y="3365"/>
                  </a:lnTo>
                  <a:lnTo>
                    <a:pt x="4206" y="3361"/>
                  </a:lnTo>
                  <a:lnTo>
                    <a:pt x="4201" y="3355"/>
                  </a:lnTo>
                  <a:lnTo>
                    <a:pt x="4199" y="3347"/>
                  </a:lnTo>
                  <a:lnTo>
                    <a:pt x="4199" y="3235"/>
                  </a:lnTo>
                  <a:lnTo>
                    <a:pt x="4201" y="3226"/>
                  </a:lnTo>
                  <a:lnTo>
                    <a:pt x="4206" y="3219"/>
                  </a:lnTo>
                  <a:lnTo>
                    <a:pt x="4212" y="3216"/>
                  </a:lnTo>
                  <a:lnTo>
                    <a:pt x="4219" y="3214"/>
                  </a:lnTo>
                  <a:lnTo>
                    <a:pt x="4226" y="3216"/>
                  </a:lnTo>
                  <a:lnTo>
                    <a:pt x="4233" y="3219"/>
                  </a:lnTo>
                  <a:lnTo>
                    <a:pt x="4238" y="3226"/>
                  </a:lnTo>
                  <a:lnTo>
                    <a:pt x="4239" y="3235"/>
                  </a:lnTo>
                  <a:close/>
                  <a:moveTo>
                    <a:pt x="4502" y="3235"/>
                  </a:moveTo>
                  <a:lnTo>
                    <a:pt x="4502" y="3347"/>
                  </a:lnTo>
                  <a:lnTo>
                    <a:pt x="4501" y="3355"/>
                  </a:lnTo>
                  <a:lnTo>
                    <a:pt x="4496" y="3361"/>
                  </a:lnTo>
                  <a:lnTo>
                    <a:pt x="4489" y="3365"/>
                  </a:lnTo>
                  <a:lnTo>
                    <a:pt x="4483" y="3367"/>
                  </a:lnTo>
                  <a:lnTo>
                    <a:pt x="4475" y="3365"/>
                  </a:lnTo>
                  <a:lnTo>
                    <a:pt x="4469" y="3361"/>
                  </a:lnTo>
                  <a:lnTo>
                    <a:pt x="4464" y="3355"/>
                  </a:lnTo>
                  <a:lnTo>
                    <a:pt x="4462" y="3347"/>
                  </a:lnTo>
                  <a:lnTo>
                    <a:pt x="4462" y="3235"/>
                  </a:lnTo>
                  <a:lnTo>
                    <a:pt x="4464" y="3226"/>
                  </a:lnTo>
                  <a:lnTo>
                    <a:pt x="4469" y="3219"/>
                  </a:lnTo>
                  <a:lnTo>
                    <a:pt x="4475" y="3216"/>
                  </a:lnTo>
                  <a:lnTo>
                    <a:pt x="4483" y="3214"/>
                  </a:lnTo>
                  <a:lnTo>
                    <a:pt x="4489" y="3216"/>
                  </a:lnTo>
                  <a:lnTo>
                    <a:pt x="4496" y="3219"/>
                  </a:lnTo>
                  <a:lnTo>
                    <a:pt x="4501" y="3226"/>
                  </a:lnTo>
                  <a:lnTo>
                    <a:pt x="4502" y="3235"/>
                  </a:lnTo>
                  <a:close/>
                  <a:moveTo>
                    <a:pt x="4765" y="3235"/>
                  </a:moveTo>
                  <a:lnTo>
                    <a:pt x="4765" y="3347"/>
                  </a:lnTo>
                  <a:lnTo>
                    <a:pt x="4764" y="3355"/>
                  </a:lnTo>
                  <a:lnTo>
                    <a:pt x="4759" y="3361"/>
                  </a:lnTo>
                  <a:lnTo>
                    <a:pt x="4752" y="3365"/>
                  </a:lnTo>
                  <a:lnTo>
                    <a:pt x="4746" y="3367"/>
                  </a:lnTo>
                  <a:lnTo>
                    <a:pt x="4738" y="3365"/>
                  </a:lnTo>
                  <a:lnTo>
                    <a:pt x="4732" y="3361"/>
                  </a:lnTo>
                  <a:lnTo>
                    <a:pt x="4728" y="3355"/>
                  </a:lnTo>
                  <a:lnTo>
                    <a:pt x="4725" y="3347"/>
                  </a:lnTo>
                  <a:lnTo>
                    <a:pt x="4725" y="3235"/>
                  </a:lnTo>
                  <a:lnTo>
                    <a:pt x="4728" y="3226"/>
                  </a:lnTo>
                  <a:lnTo>
                    <a:pt x="4732" y="3219"/>
                  </a:lnTo>
                  <a:lnTo>
                    <a:pt x="4738" y="3216"/>
                  </a:lnTo>
                  <a:lnTo>
                    <a:pt x="4746" y="3214"/>
                  </a:lnTo>
                  <a:lnTo>
                    <a:pt x="4752" y="3216"/>
                  </a:lnTo>
                  <a:lnTo>
                    <a:pt x="4759" y="3219"/>
                  </a:lnTo>
                  <a:lnTo>
                    <a:pt x="4764" y="3226"/>
                  </a:lnTo>
                  <a:lnTo>
                    <a:pt x="4765" y="3235"/>
                  </a:lnTo>
                  <a:close/>
                  <a:moveTo>
                    <a:pt x="5029" y="3235"/>
                  </a:moveTo>
                  <a:lnTo>
                    <a:pt x="5029" y="3347"/>
                  </a:lnTo>
                  <a:lnTo>
                    <a:pt x="5027" y="3355"/>
                  </a:lnTo>
                  <a:lnTo>
                    <a:pt x="5023" y="3361"/>
                  </a:lnTo>
                  <a:lnTo>
                    <a:pt x="5016" y="3365"/>
                  </a:lnTo>
                  <a:lnTo>
                    <a:pt x="5009" y="3367"/>
                  </a:lnTo>
                  <a:lnTo>
                    <a:pt x="5001" y="3365"/>
                  </a:lnTo>
                  <a:lnTo>
                    <a:pt x="4994" y="3361"/>
                  </a:lnTo>
                  <a:lnTo>
                    <a:pt x="4991" y="3355"/>
                  </a:lnTo>
                  <a:lnTo>
                    <a:pt x="4988" y="3347"/>
                  </a:lnTo>
                  <a:lnTo>
                    <a:pt x="4988" y="3235"/>
                  </a:lnTo>
                  <a:lnTo>
                    <a:pt x="4991" y="3226"/>
                  </a:lnTo>
                  <a:lnTo>
                    <a:pt x="4994" y="3219"/>
                  </a:lnTo>
                  <a:lnTo>
                    <a:pt x="5001" y="3216"/>
                  </a:lnTo>
                  <a:lnTo>
                    <a:pt x="5009" y="3214"/>
                  </a:lnTo>
                  <a:lnTo>
                    <a:pt x="5016" y="3216"/>
                  </a:lnTo>
                  <a:lnTo>
                    <a:pt x="5023" y="3219"/>
                  </a:lnTo>
                  <a:lnTo>
                    <a:pt x="5027" y="3226"/>
                  </a:lnTo>
                  <a:lnTo>
                    <a:pt x="5029" y="3235"/>
                  </a:lnTo>
                  <a:close/>
                  <a:moveTo>
                    <a:pt x="5292" y="3235"/>
                  </a:moveTo>
                  <a:lnTo>
                    <a:pt x="5292" y="3347"/>
                  </a:lnTo>
                  <a:lnTo>
                    <a:pt x="5289" y="3355"/>
                  </a:lnTo>
                  <a:lnTo>
                    <a:pt x="5286" y="3361"/>
                  </a:lnTo>
                  <a:lnTo>
                    <a:pt x="5279" y="3365"/>
                  </a:lnTo>
                  <a:lnTo>
                    <a:pt x="5271" y="3367"/>
                  </a:lnTo>
                  <a:lnTo>
                    <a:pt x="5264" y="3365"/>
                  </a:lnTo>
                  <a:lnTo>
                    <a:pt x="5257" y="3361"/>
                  </a:lnTo>
                  <a:lnTo>
                    <a:pt x="5253" y="3355"/>
                  </a:lnTo>
                  <a:lnTo>
                    <a:pt x="5252" y="3347"/>
                  </a:lnTo>
                  <a:lnTo>
                    <a:pt x="5252" y="3235"/>
                  </a:lnTo>
                  <a:lnTo>
                    <a:pt x="5253" y="3226"/>
                  </a:lnTo>
                  <a:lnTo>
                    <a:pt x="5257" y="3219"/>
                  </a:lnTo>
                  <a:lnTo>
                    <a:pt x="5264" y="3216"/>
                  </a:lnTo>
                  <a:lnTo>
                    <a:pt x="5271" y="3214"/>
                  </a:lnTo>
                  <a:lnTo>
                    <a:pt x="5279" y="3216"/>
                  </a:lnTo>
                  <a:lnTo>
                    <a:pt x="5286" y="3219"/>
                  </a:lnTo>
                  <a:lnTo>
                    <a:pt x="5289" y="3226"/>
                  </a:lnTo>
                  <a:lnTo>
                    <a:pt x="5292" y="3235"/>
                  </a:lnTo>
                  <a:close/>
                  <a:moveTo>
                    <a:pt x="5555" y="3235"/>
                  </a:moveTo>
                  <a:lnTo>
                    <a:pt x="5555" y="3347"/>
                  </a:lnTo>
                  <a:lnTo>
                    <a:pt x="5554" y="3355"/>
                  </a:lnTo>
                  <a:lnTo>
                    <a:pt x="5548" y="3361"/>
                  </a:lnTo>
                  <a:lnTo>
                    <a:pt x="5542" y="3365"/>
                  </a:lnTo>
                  <a:lnTo>
                    <a:pt x="5534" y="3367"/>
                  </a:lnTo>
                  <a:lnTo>
                    <a:pt x="5528" y="3365"/>
                  </a:lnTo>
                  <a:lnTo>
                    <a:pt x="5521" y="3361"/>
                  </a:lnTo>
                  <a:lnTo>
                    <a:pt x="5516" y="3355"/>
                  </a:lnTo>
                  <a:lnTo>
                    <a:pt x="5515" y="3347"/>
                  </a:lnTo>
                  <a:lnTo>
                    <a:pt x="5515" y="3235"/>
                  </a:lnTo>
                  <a:lnTo>
                    <a:pt x="5516" y="3226"/>
                  </a:lnTo>
                  <a:lnTo>
                    <a:pt x="5521" y="3219"/>
                  </a:lnTo>
                  <a:lnTo>
                    <a:pt x="5528" y="3216"/>
                  </a:lnTo>
                  <a:lnTo>
                    <a:pt x="5534" y="3214"/>
                  </a:lnTo>
                  <a:lnTo>
                    <a:pt x="5542" y="3216"/>
                  </a:lnTo>
                  <a:lnTo>
                    <a:pt x="5548" y="3219"/>
                  </a:lnTo>
                  <a:lnTo>
                    <a:pt x="5554" y="3226"/>
                  </a:lnTo>
                  <a:lnTo>
                    <a:pt x="5555" y="3235"/>
                  </a:lnTo>
                  <a:close/>
                  <a:moveTo>
                    <a:pt x="3624" y="4034"/>
                  </a:moveTo>
                  <a:lnTo>
                    <a:pt x="3624" y="3864"/>
                  </a:lnTo>
                  <a:lnTo>
                    <a:pt x="3625" y="3856"/>
                  </a:lnTo>
                  <a:lnTo>
                    <a:pt x="3629" y="3851"/>
                  </a:lnTo>
                  <a:lnTo>
                    <a:pt x="3634" y="3847"/>
                  </a:lnTo>
                  <a:lnTo>
                    <a:pt x="3639" y="3845"/>
                  </a:lnTo>
                  <a:lnTo>
                    <a:pt x="3646" y="3845"/>
                  </a:lnTo>
                  <a:lnTo>
                    <a:pt x="3652" y="3846"/>
                  </a:lnTo>
                  <a:lnTo>
                    <a:pt x="3657" y="3849"/>
                  </a:lnTo>
                  <a:lnTo>
                    <a:pt x="3662" y="3854"/>
                  </a:lnTo>
                  <a:lnTo>
                    <a:pt x="3666" y="3860"/>
                  </a:lnTo>
                  <a:lnTo>
                    <a:pt x="3667" y="3869"/>
                  </a:lnTo>
                  <a:lnTo>
                    <a:pt x="3667" y="4034"/>
                  </a:lnTo>
                  <a:lnTo>
                    <a:pt x="3710" y="4029"/>
                  </a:lnTo>
                  <a:lnTo>
                    <a:pt x="3751" y="4021"/>
                  </a:lnTo>
                  <a:lnTo>
                    <a:pt x="3789" y="4010"/>
                  </a:lnTo>
                  <a:lnTo>
                    <a:pt x="3828" y="3994"/>
                  </a:lnTo>
                  <a:lnTo>
                    <a:pt x="3846" y="3985"/>
                  </a:lnTo>
                  <a:lnTo>
                    <a:pt x="3864" y="3975"/>
                  </a:lnTo>
                  <a:lnTo>
                    <a:pt x="3897" y="3953"/>
                  </a:lnTo>
                  <a:lnTo>
                    <a:pt x="3928" y="3928"/>
                  </a:lnTo>
                  <a:lnTo>
                    <a:pt x="3957" y="3901"/>
                  </a:lnTo>
                  <a:lnTo>
                    <a:pt x="3970" y="3886"/>
                  </a:lnTo>
                  <a:lnTo>
                    <a:pt x="3983" y="3870"/>
                  </a:lnTo>
                  <a:lnTo>
                    <a:pt x="4006" y="3838"/>
                  </a:lnTo>
                  <a:lnTo>
                    <a:pt x="4026" y="3804"/>
                  </a:lnTo>
                  <a:lnTo>
                    <a:pt x="4043" y="3767"/>
                  </a:lnTo>
                  <a:lnTo>
                    <a:pt x="4057" y="3728"/>
                  </a:lnTo>
                  <a:lnTo>
                    <a:pt x="4067" y="3689"/>
                  </a:lnTo>
                  <a:lnTo>
                    <a:pt x="4074" y="3648"/>
                  </a:lnTo>
                  <a:lnTo>
                    <a:pt x="4075" y="3604"/>
                  </a:lnTo>
                  <a:lnTo>
                    <a:pt x="4074" y="3569"/>
                  </a:lnTo>
                  <a:lnTo>
                    <a:pt x="4069" y="3533"/>
                  </a:lnTo>
                  <a:lnTo>
                    <a:pt x="4062" y="3498"/>
                  </a:lnTo>
                  <a:lnTo>
                    <a:pt x="4052" y="3464"/>
                  </a:lnTo>
                  <a:lnTo>
                    <a:pt x="4039" y="3432"/>
                  </a:lnTo>
                  <a:lnTo>
                    <a:pt x="4024" y="3401"/>
                  </a:lnTo>
                  <a:lnTo>
                    <a:pt x="4006" y="3372"/>
                  </a:lnTo>
                  <a:lnTo>
                    <a:pt x="3987" y="3343"/>
                  </a:lnTo>
                  <a:lnTo>
                    <a:pt x="3955" y="3308"/>
                  </a:lnTo>
                  <a:lnTo>
                    <a:pt x="3919" y="3276"/>
                  </a:lnTo>
                  <a:lnTo>
                    <a:pt x="3880" y="3248"/>
                  </a:lnTo>
                  <a:lnTo>
                    <a:pt x="3860" y="3236"/>
                  </a:lnTo>
                  <a:lnTo>
                    <a:pt x="3839" y="3225"/>
                  </a:lnTo>
                  <a:lnTo>
                    <a:pt x="3817" y="3214"/>
                  </a:lnTo>
                  <a:lnTo>
                    <a:pt x="3794" y="3205"/>
                  </a:lnTo>
                  <a:lnTo>
                    <a:pt x="3748" y="3191"/>
                  </a:lnTo>
                  <a:lnTo>
                    <a:pt x="3699" y="3184"/>
                  </a:lnTo>
                  <a:lnTo>
                    <a:pt x="3674" y="3181"/>
                  </a:lnTo>
                  <a:lnTo>
                    <a:pt x="3648" y="3180"/>
                  </a:lnTo>
                  <a:lnTo>
                    <a:pt x="3604" y="3182"/>
                  </a:lnTo>
                  <a:lnTo>
                    <a:pt x="3562" y="3189"/>
                  </a:lnTo>
                  <a:lnTo>
                    <a:pt x="3521" y="3200"/>
                  </a:lnTo>
                  <a:lnTo>
                    <a:pt x="3481" y="3214"/>
                  </a:lnTo>
                  <a:lnTo>
                    <a:pt x="3443" y="3232"/>
                  </a:lnTo>
                  <a:lnTo>
                    <a:pt x="3408" y="3254"/>
                  </a:lnTo>
                  <a:lnTo>
                    <a:pt x="3375" y="3278"/>
                  </a:lnTo>
                  <a:lnTo>
                    <a:pt x="3344" y="3306"/>
                  </a:lnTo>
                  <a:lnTo>
                    <a:pt x="3316" y="3337"/>
                  </a:lnTo>
                  <a:lnTo>
                    <a:pt x="3292" y="3369"/>
                  </a:lnTo>
                  <a:lnTo>
                    <a:pt x="3270" y="3405"/>
                  </a:lnTo>
                  <a:lnTo>
                    <a:pt x="3252" y="3443"/>
                  </a:lnTo>
                  <a:lnTo>
                    <a:pt x="3238" y="3482"/>
                  </a:lnTo>
                  <a:lnTo>
                    <a:pt x="3226" y="3524"/>
                  </a:lnTo>
                  <a:lnTo>
                    <a:pt x="3220" y="3566"/>
                  </a:lnTo>
                  <a:lnTo>
                    <a:pt x="3219" y="3609"/>
                  </a:lnTo>
                  <a:lnTo>
                    <a:pt x="3220" y="3647"/>
                  </a:lnTo>
                  <a:lnTo>
                    <a:pt x="3224" y="3682"/>
                  </a:lnTo>
                  <a:lnTo>
                    <a:pt x="3231" y="3717"/>
                  </a:lnTo>
                  <a:lnTo>
                    <a:pt x="3242" y="3750"/>
                  </a:lnTo>
                  <a:lnTo>
                    <a:pt x="3254" y="3783"/>
                  </a:lnTo>
                  <a:lnTo>
                    <a:pt x="3270" y="3814"/>
                  </a:lnTo>
                  <a:lnTo>
                    <a:pt x="3288" y="3843"/>
                  </a:lnTo>
                  <a:lnTo>
                    <a:pt x="3307" y="3872"/>
                  </a:lnTo>
                  <a:lnTo>
                    <a:pt x="3336" y="3905"/>
                  </a:lnTo>
                  <a:lnTo>
                    <a:pt x="3370" y="3936"/>
                  </a:lnTo>
                  <a:lnTo>
                    <a:pt x="3388" y="3950"/>
                  </a:lnTo>
                  <a:lnTo>
                    <a:pt x="3407" y="3962"/>
                  </a:lnTo>
                  <a:lnTo>
                    <a:pt x="3445" y="3985"/>
                  </a:lnTo>
                  <a:lnTo>
                    <a:pt x="3487" y="4005"/>
                  </a:lnTo>
                  <a:lnTo>
                    <a:pt x="3531" y="4019"/>
                  </a:lnTo>
                  <a:lnTo>
                    <a:pt x="3576" y="4029"/>
                  </a:lnTo>
                  <a:lnTo>
                    <a:pt x="3624" y="4034"/>
                  </a:lnTo>
                  <a:close/>
                  <a:moveTo>
                    <a:pt x="3628" y="4333"/>
                  </a:moveTo>
                  <a:lnTo>
                    <a:pt x="3625" y="4328"/>
                  </a:lnTo>
                  <a:lnTo>
                    <a:pt x="3624" y="4320"/>
                  </a:lnTo>
                  <a:lnTo>
                    <a:pt x="3624" y="4079"/>
                  </a:lnTo>
                  <a:lnTo>
                    <a:pt x="3571" y="4072"/>
                  </a:lnTo>
                  <a:lnTo>
                    <a:pt x="3521" y="4062"/>
                  </a:lnTo>
                  <a:lnTo>
                    <a:pt x="3472" y="4045"/>
                  </a:lnTo>
                  <a:lnTo>
                    <a:pt x="3449" y="4035"/>
                  </a:lnTo>
                  <a:lnTo>
                    <a:pt x="3428" y="4024"/>
                  </a:lnTo>
                  <a:lnTo>
                    <a:pt x="3384" y="3998"/>
                  </a:lnTo>
                  <a:lnTo>
                    <a:pt x="3363" y="3984"/>
                  </a:lnTo>
                  <a:lnTo>
                    <a:pt x="3344" y="3967"/>
                  </a:lnTo>
                  <a:lnTo>
                    <a:pt x="3326" y="3951"/>
                  </a:lnTo>
                  <a:lnTo>
                    <a:pt x="3308" y="3934"/>
                  </a:lnTo>
                  <a:lnTo>
                    <a:pt x="3292" y="3915"/>
                  </a:lnTo>
                  <a:lnTo>
                    <a:pt x="3276" y="3896"/>
                  </a:lnTo>
                  <a:lnTo>
                    <a:pt x="3253" y="3865"/>
                  </a:lnTo>
                  <a:lnTo>
                    <a:pt x="3233" y="3832"/>
                  </a:lnTo>
                  <a:lnTo>
                    <a:pt x="3216" y="3797"/>
                  </a:lnTo>
                  <a:lnTo>
                    <a:pt x="3201" y="3762"/>
                  </a:lnTo>
                  <a:lnTo>
                    <a:pt x="3189" y="3725"/>
                  </a:lnTo>
                  <a:lnTo>
                    <a:pt x="3181" y="3686"/>
                  </a:lnTo>
                  <a:lnTo>
                    <a:pt x="3176" y="3645"/>
                  </a:lnTo>
                  <a:lnTo>
                    <a:pt x="3174" y="3604"/>
                  </a:lnTo>
                  <a:lnTo>
                    <a:pt x="3176" y="3557"/>
                  </a:lnTo>
                  <a:lnTo>
                    <a:pt x="3184" y="3510"/>
                  </a:lnTo>
                  <a:lnTo>
                    <a:pt x="3189" y="3488"/>
                  </a:lnTo>
                  <a:lnTo>
                    <a:pt x="3195" y="3465"/>
                  </a:lnTo>
                  <a:lnTo>
                    <a:pt x="3211" y="3423"/>
                  </a:lnTo>
                  <a:lnTo>
                    <a:pt x="3231" y="3382"/>
                  </a:lnTo>
                  <a:lnTo>
                    <a:pt x="3254" y="3342"/>
                  </a:lnTo>
                  <a:lnTo>
                    <a:pt x="3281" y="3306"/>
                  </a:lnTo>
                  <a:lnTo>
                    <a:pt x="3297" y="3290"/>
                  </a:lnTo>
                  <a:lnTo>
                    <a:pt x="3312" y="3273"/>
                  </a:lnTo>
                  <a:lnTo>
                    <a:pt x="3345" y="3242"/>
                  </a:lnTo>
                  <a:lnTo>
                    <a:pt x="3363" y="3228"/>
                  </a:lnTo>
                  <a:lnTo>
                    <a:pt x="3381" y="3216"/>
                  </a:lnTo>
                  <a:lnTo>
                    <a:pt x="3420" y="3193"/>
                  </a:lnTo>
                  <a:lnTo>
                    <a:pt x="3440" y="3182"/>
                  </a:lnTo>
                  <a:lnTo>
                    <a:pt x="3462" y="3172"/>
                  </a:lnTo>
                  <a:lnTo>
                    <a:pt x="3483" y="3164"/>
                  </a:lnTo>
                  <a:lnTo>
                    <a:pt x="3504" y="3157"/>
                  </a:lnTo>
                  <a:lnTo>
                    <a:pt x="3528" y="3150"/>
                  </a:lnTo>
                  <a:lnTo>
                    <a:pt x="3549" y="3145"/>
                  </a:lnTo>
                  <a:lnTo>
                    <a:pt x="3597" y="3138"/>
                  </a:lnTo>
                  <a:lnTo>
                    <a:pt x="3644" y="3135"/>
                  </a:lnTo>
                  <a:lnTo>
                    <a:pt x="3701" y="3139"/>
                  </a:lnTo>
                  <a:lnTo>
                    <a:pt x="3728" y="3143"/>
                  </a:lnTo>
                  <a:lnTo>
                    <a:pt x="3755" y="3149"/>
                  </a:lnTo>
                  <a:lnTo>
                    <a:pt x="3781" y="3156"/>
                  </a:lnTo>
                  <a:lnTo>
                    <a:pt x="3807" y="3164"/>
                  </a:lnTo>
                  <a:lnTo>
                    <a:pt x="3831" y="3175"/>
                  </a:lnTo>
                  <a:lnTo>
                    <a:pt x="3856" y="3185"/>
                  </a:lnTo>
                  <a:lnTo>
                    <a:pt x="3902" y="3212"/>
                  </a:lnTo>
                  <a:lnTo>
                    <a:pt x="3944" y="3242"/>
                  </a:lnTo>
                  <a:lnTo>
                    <a:pt x="3965" y="3260"/>
                  </a:lnTo>
                  <a:lnTo>
                    <a:pt x="3983" y="3278"/>
                  </a:lnTo>
                  <a:lnTo>
                    <a:pt x="4001" y="3299"/>
                  </a:lnTo>
                  <a:lnTo>
                    <a:pt x="4017" y="3318"/>
                  </a:lnTo>
                  <a:lnTo>
                    <a:pt x="4040" y="3350"/>
                  </a:lnTo>
                  <a:lnTo>
                    <a:pt x="4060" y="3382"/>
                  </a:lnTo>
                  <a:lnTo>
                    <a:pt x="4078" y="3416"/>
                  </a:lnTo>
                  <a:lnTo>
                    <a:pt x="4092" y="3453"/>
                  </a:lnTo>
                  <a:lnTo>
                    <a:pt x="4103" y="3491"/>
                  </a:lnTo>
                  <a:lnTo>
                    <a:pt x="4112" y="3529"/>
                  </a:lnTo>
                  <a:lnTo>
                    <a:pt x="4117" y="3569"/>
                  </a:lnTo>
                  <a:lnTo>
                    <a:pt x="4119" y="3609"/>
                  </a:lnTo>
                  <a:lnTo>
                    <a:pt x="4117" y="3657"/>
                  </a:lnTo>
                  <a:lnTo>
                    <a:pt x="4110" y="3702"/>
                  </a:lnTo>
                  <a:lnTo>
                    <a:pt x="4105" y="3725"/>
                  </a:lnTo>
                  <a:lnTo>
                    <a:pt x="4099" y="3746"/>
                  </a:lnTo>
                  <a:lnTo>
                    <a:pt x="4084" y="3788"/>
                  </a:lnTo>
                  <a:lnTo>
                    <a:pt x="4075" y="3809"/>
                  </a:lnTo>
                  <a:lnTo>
                    <a:pt x="4065" y="3828"/>
                  </a:lnTo>
                  <a:lnTo>
                    <a:pt x="4043" y="3866"/>
                  </a:lnTo>
                  <a:lnTo>
                    <a:pt x="4016" y="3902"/>
                  </a:lnTo>
                  <a:lnTo>
                    <a:pt x="3988" y="3936"/>
                  </a:lnTo>
                  <a:lnTo>
                    <a:pt x="3956" y="3965"/>
                  </a:lnTo>
                  <a:lnTo>
                    <a:pt x="3921" y="3993"/>
                  </a:lnTo>
                  <a:lnTo>
                    <a:pt x="3884" y="4016"/>
                  </a:lnTo>
                  <a:lnTo>
                    <a:pt x="3844" y="4037"/>
                  </a:lnTo>
                  <a:lnTo>
                    <a:pt x="3802" y="4053"/>
                  </a:lnTo>
                  <a:lnTo>
                    <a:pt x="3760" y="4066"/>
                  </a:lnTo>
                  <a:lnTo>
                    <a:pt x="3715" y="4075"/>
                  </a:lnTo>
                  <a:lnTo>
                    <a:pt x="3667" y="4079"/>
                  </a:lnTo>
                  <a:lnTo>
                    <a:pt x="3667" y="4336"/>
                  </a:lnTo>
                  <a:lnTo>
                    <a:pt x="3666" y="4345"/>
                  </a:lnTo>
                  <a:lnTo>
                    <a:pt x="3661" y="4351"/>
                  </a:lnTo>
                  <a:lnTo>
                    <a:pt x="3654" y="4355"/>
                  </a:lnTo>
                  <a:lnTo>
                    <a:pt x="3648" y="4356"/>
                  </a:lnTo>
                  <a:lnTo>
                    <a:pt x="3640" y="4355"/>
                  </a:lnTo>
                  <a:lnTo>
                    <a:pt x="3634" y="4351"/>
                  </a:lnTo>
                  <a:lnTo>
                    <a:pt x="3629" y="4345"/>
                  </a:lnTo>
                  <a:lnTo>
                    <a:pt x="3628" y="4336"/>
                  </a:lnTo>
                  <a:lnTo>
                    <a:pt x="3628" y="4333"/>
                  </a:lnTo>
                  <a:close/>
                </a:path>
              </a:pathLst>
            </a:custGeom>
            <a:solidFill>
              <a:srgbClr val="FF6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12">
              <a:extLst>
                <a:ext uri="{FF2B5EF4-FFF2-40B4-BE49-F238E27FC236}">
                  <a16:creationId xmlns:a16="http://schemas.microsoft.com/office/drawing/2014/main" id="{14CC01FD-39A4-473B-ADB7-2676F9E144F7}"/>
                </a:ext>
              </a:extLst>
            </p:cNvPr>
            <p:cNvSpPr>
              <a:spLocks noChangeAspect="1" noEditPoints="1"/>
            </p:cNvSpPr>
            <p:nvPr userDrawn="1"/>
          </p:nvSpPr>
          <p:spPr bwMode="black">
            <a:xfrm>
              <a:off x="5610994" y="5177099"/>
              <a:ext cx="193514" cy="216000"/>
            </a:xfrm>
            <a:custGeom>
              <a:avLst/>
              <a:gdLst>
                <a:gd name="T0" fmla="*/ 2964 w 3578"/>
                <a:gd name="T1" fmla="*/ 3151 h 3996"/>
                <a:gd name="T2" fmla="*/ 2988 w 3578"/>
                <a:gd name="T3" fmla="*/ 3131 h 3996"/>
                <a:gd name="T4" fmla="*/ 3002 w 3578"/>
                <a:gd name="T5" fmla="*/ 3095 h 3996"/>
                <a:gd name="T6" fmla="*/ 2998 w 3578"/>
                <a:gd name="T7" fmla="*/ 3052 h 3996"/>
                <a:gd name="T8" fmla="*/ 2570 w 3578"/>
                <a:gd name="T9" fmla="*/ 2480 h 3996"/>
                <a:gd name="T10" fmla="*/ 2976 w 3578"/>
                <a:gd name="T11" fmla="*/ 956 h 3996"/>
                <a:gd name="T12" fmla="*/ 2988 w 3578"/>
                <a:gd name="T13" fmla="*/ 917 h 3996"/>
                <a:gd name="T14" fmla="*/ 2981 w 3578"/>
                <a:gd name="T15" fmla="*/ 878 h 3996"/>
                <a:gd name="T16" fmla="*/ 2961 w 3578"/>
                <a:gd name="T17" fmla="*/ 853 h 3996"/>
                <a:gd name="T18" fmla="*/ 2936 w 3578"/>
                <a:gd name="T19" fmla="*/ 840 h 3996"/>
                <a:gd name="T20" fmla="*/ 2275 w 3578"/>
                <a:gd name="T21" fmla="*/ 835 h 3996"/>
                <a:gd name="T22" fmla="*/ 2209 w 3578"/>
                <a:gd name="T23" fmla="*/ 845 h 3996"/>
                <a:gd name="T24" fmla="*/ 2160 w 3578"/>
                <a:gd name="T25" fmla="*/ 872 h 3996"/>
                <a:gd name="T26" fmla="*/ 2119 w 3578"/>
                <a:gd name="T27" fmla="*/ 915 h 3996"/>
                <a:gd name="T28" fmla="*/ 1365 w 3578"/>
                <a:gd name="T29" fmla="*/ 931 h 3996"/>
                <a:gd name="T30" fmla="*/ 1356 w 3578"/>
                <a:gd name="T31" fmla="*/ 884 h 3996"/>
                <a:gd name="T32" fmla="*/ 1325 w 3578"/>
                <a:gd name="T33" fmla="*/ 851 h 3996"/>
                <a:gd name="T34" fmla="*/ 1280 w 3578"/>
                <a:gd name="T35" fmla="*/ 835 h 3996"/>
                <a:gd name="T36" fmla="*/ 664 w 3578"/>
                <a:gd name="T37" fmla="*/ 840 h 3996"/>
                <a:gd name="T38" fmla="*/ 625 w 3578"/>
                <a:gd name="T39" fmla="*/ 862 h 3996"/>
                <a:gd name="T40" fmla="*/ 602 w 3578"/>
                <a:gd name="T41" fmla="*/ 902 h 3996"/>
                <a:gd name="T42" fmla="*/ 598 w 3578"/>
                <a:gd name="T43" fmla="*/ 1998 h 3996"/>
                <a:gd name="T44" fmla="*/ 602 w 3578"/>
                <a:gd name="T45" fmla="*/ 3094 h 3996"/>
                <a:gd name="T46" fmla="*/ 625 w 3578"/>
                <a:gd name="T47" fmla="*/ 3133 h 3996"/>
                <a:gd name="T48" fmla="*/ 664 w 3578"/>
                <a:gd name="T49" fmla="*/ 3156 h 3996"/>
                <a:gd name="T50" fmla="*/ 1280 w 3578"/>
                <a:gd name="T51" fmla="*/ 3160 h 3996"/>
                <a:gd name="T52" fmla="*/ 1325 w 3578"/>
                <a:gd name="T53" fmla="*/ 3144 h 3996"/>
                <a:gd name="T54" fmla="*/ 1356 w 3578"/>
                <a:gd name="T55" fmla="*/ 3111 h 3996"/>
                <a:gd name="T56" fmla="*/ 1365 w 3578"/>
                <a:gd name="T57" fmla="*/ 3064 h 3996"/>
                <a:gd name="T58" fmla="*/ 2119 w 3578"/>
                <a:gd name="T59" fmla="*/ 3080 h 3996"/>
                <a:gd name="T60" fmla="*/ 2160 w 3578"/>
                <a:gd name="T61" fmla="*/ 3123 h 3996"/>
                <a:gd name="T62" fmla="*/ 2209 w 3578"/>
                <a:gd name="T63" fmla="*/ 3151 h 3996"/>
                <a:gd name="T64" fmla="*/ 2275 w 3578"/>
                <a:gd name="T65" fmla="*/ 3160 h 3996"/>
                <a:gd name="T66" fmla="*/ 4 w 3578"/>
                <a:gd name="T67" fmla="*/ 3929 h 3996"/>
                <a:gd name="T68" fmla="*/ 27 w 3578"/>
                <a:gd name="T69" fmla="*/ 3968 h 3996"/>
                <a:gd name="T70" fmla="*/ 66 w 3578"/>
                <a:gd name="T71" fmla="*/ 3991 h 3996"/>
                <a:gd name="T72" fmla="*/ 1789 w 3578"/>
                <a:gd name="T73" fmla="*/ 3996 h 3996"/>
                <a:gd name="T74" fmla="*/ 3512 w 3578"/>
                <a:gd name="T75" fmla="*/ 3991 h 3996"/>
                <a:gd name="T76" fmla="*/ 3552 w 3578"/>
                <a:gd name="T77" fmla="*/ 3968 h 3996"/>
                <a:gd name="T78" fmla="*/ 3574 w 3578"/>
                <a:gd name="T79" fmla="*/ 3929 h 3996"/>
                <a:gd name="T80" fmla="*/ 3577 w 3578"/>
                <a:gd name="T81" fmla="*/ 3624 h 3996"/>
                <a:gd name="T82" fmla="*/ 3563 w 3578"/>
                <a:gd name="T83" fmla="*/ 3579 h 3996"/>
                <a:gd name="T84" fmla="*/ 3529 w 3578"/>
                <a:gd name="T85" fmla="*/ 3549 h 3996"/>
                <a:gd name="T86" fmla="*/ 3482 w 3578"/>
                <a:gd name="T87" fmla="*/ 3538 h 3996"/>
                <a:gd name="T88" fmla="*/ 85 w 3578"/>
                <a:gd name="T89" fmla="*/ 3538 h 3996"/>
                <a:gd name="T90" fmla="*/ 41 w 3578"/>
                <a:gd name="T91" fmla="*/ 3554 h 3996"/>
                <a:gd name="T92" fmla="*/ 11 w 3578"/>
                <a:gd name="T93" fmla="*/ 3587 h 3996"/>
                <a:gd name="T94" fmla="*/ 0 w 3578"/>
                <a:gd name="T95" fmla="*/ 3634 h 3996"/>
                <a:gd name="T96" fmla="*/ 4 w 3578"/>
                <a:gd name="T97" fmla="*/ 391 h 3996"/>
                <a:gd name="T98" fmla="*/ 27 w 3578"/>
                <a:gd name="T99" fmla="*/ 430 h 3996"/>
                <a:gd name="T100" fmla="*/ 66 w 3578"/>
                <a:gd name="T101" fmla="*/ 453 h 3996"/>
                <a:gd name="T102" fmla="*/ 1789 w 3578"/>
                <a:gd name="T103" fmla="*/ 456 h 3996"/>
                <a:gd name="T104" fmla="*/ 3512 w 3578"/>
                <a:gd name="T105" fmla="*/ 453 h 3996"/>
                <a:gd name="T106" fmla="*/ 3552 w 3578"/>
                <a:gd name="T107" fmla="*/ 430 h 3996"/>
                <a:gd name="T108" fmla="*/ 3574 w 3578"/>
                <a:gd name="T109" fmla="*/ 391 h 3996"/>
                <a:gd name="T110" fmla="*/ 3577 w 3578"/>
                <a:gd name="T111" fmla="*/ 85 h 3996"/>
                <a:gd name="T112" fmla="*/ 3563 w 3578"/>
                <a:gd name="T113" fmla="*/ 41 h 3996"/>
                <a:gd name="T114" fmla="*/ 3529 w 3578"/>
                <a:gd name="T115" fmla="*/ 11 h 3996"/>
                <a:gd name="T116" fmla="*/ 3482 w 3578"/>
                <a:gd name="T117" fmla="*/ 0 h 3996"/>
                <a:gd name="T118" fmla="*/ 85 w 3578"/>
                <a:gd name="T119" fmla="*/ 0 h 3996"/>
                <a:gd name="T120" fmla="*/ 41 w 3578"/>
                <a:gd name="T121" fmla="*/ 16 h 3996"/>
                <a:gd name="T122" fmla="*/ 11 w 3578"/>
                <a:gd name="T123" fmla="*/ 49 h 3996"/>
                <a:gd name="T124" fmla="*/ 0 w 3578"/>
                <a:gd name="T125" fmla="*/ 95 h 3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78" h="3996">
                  <a:moveTo>
                    <a:pt x="2924" y="3160"/>
                  </a:moveTo>
                  <a:lnTo>
                    <a:pt x="2936" y="3160"/>
                  </a:lnTo>
                  <a:lnTo>
                    <a:pt x="2947" y="3157"/>
                  </a:lnTo>
                  <a:lnTo>
                    <a:pt x="2958" y="3153"/>
                  </a:lnTo>
                  <a:lnTo>
                    <a:pt x="2964" y="3151"/>
                  </a:lnTo>
                  <a:lnTo>
                    <a:pt x="2968" y="3148"/>
                  </a:lnTo>
                  <a:lnTo>
                    <a:pt x="2977" y="3142"/>
                  </a:lnTo>
                  <a:lnTo>
                    <a:pt x="2981" y="3139"/>
                  </a:lnTo>
                  <a:lnTo>
                    <a:pt x="2985" y="3135"/>
                  </a:lnTo>
                  <a:lnTo>
                    <a:pt x="2988" y="3131"/>
                  </a:lnTo>
                  <a:lnTo>
                    <a:pt x="2991" y="3126"/>
                  </a:lnTo>
                  <a:lnTo>
                    <a:pt x="2996" y="3117"/>
                  </a:lnTo>
                  <a:lnTo>
                    <a:pt x="3000" y="3106"/>
                  </a:lnTo>
                  <a:lnTo>
                    <a:pt x="3001" y="3101"/>
                  </a:lnTo>
                  <a:lnTo>
                    <a:pt x="3002" y="3095"/>
                  </a:lnTo>
                  <a:lnTo>
                    <a:pt x="3003" y="3084"/>
                  </a:lnTo>
                  <a:lnTo>
                    <a:pt x="3002" y="3072"/>
                  </a:lnTo>
                  <a:lnTo>
                    <a:pt x="3001" y="3065"/>
                  </a:lnTo>
                  <a:lnTo>
                    <a:pt x="2999" y="3059"/>
                  </a:lnTo>
                  <a:lnTo>
                    <a:pt x="2998" y="3052"/>
                  </a:lnTo>
                  <a:lnTo>
                    <a:pt x="2995" y="3045"/>
                  </a:lnTo>
                  <a:lnTo>
                    <a:pt x="2988" y="3032"/>
                  </a:lnTo>
                  <a:lnTo>
                    <a:pt x="2985" y="3026"/>
                  </a:lnTo>
                  <a:lnTo>
                    <a:pt x="2980" y="3019"/>
                  </a:lnTo>
                  <a:lnTo>
                    <a:pt x="2570" y="2480"/>
                  </a:lnTo>
                  <a:lnTo>
                    <a:pt x="2162" y="1941"/>
                  </a:lnTo>
                  <a:lnTo>
                    <a:pt x="2562" y="1459"/>
                  </a:lnTo>
                  <a:lnTo>
                    <a:pt x="2962" y="976"/>
                  </a:lnTo>
                  <a:lnTo>
                    <a:pt x="2972" y="962"/>
                  </a:lnTo>
                  <a:lnTo>
                    <a:pt x="2976" y="956"/>
                  </a:lnTo>
                  <a:lnTo>
                    <a:pt x="2979" y="949"/>
                  </a:lnTo>
                  <a:lnTo>
                    <a:pt x="2985" y="936"/>
                  </a:lnTo>
                  <a:lnTo>
                    <a:pt x="2986" y="929"/>
                  </a:lnTo>
                  <a:lnTo>
                    <a:pt x="2988" y="923"/>
                  </a:lnTo>
                  <a:lnTo>
                    <a:pt x="2988" y="917"/>
                  </a:lnTo>
                  <a:lnTo>
                    <a:pt x="2989" y="910"/>
                  </a:lnTo>
                  <a:lnTo>
                    <a:pt x="2988" y="899"/>
                  </a:lnTo>
                  <a:lnTo>
                    <a:pt x="2987" y="894"/>
                  </a:lnTo>
                  <a:lnTo>
                    <a:pt x="2986" y="888"/>
                  </a:lnTo>
                  <a:lnTo>
                    <a:pt x="2981" y="878"/>
                  </a:lnTo>
                  <a:lnTo>
                    <a:pt x="2979" y="873"/>
                  </a:lnTo>
                  <a:lnTo>
                    <a:pt x="2976" y="868"/>
                  </a:lnTo>
                  <a:lnTo>
                    <a:pt x="2972" y="864"/>
                  </a:lnTo>
                  <a:lnTo>
                    <a:pt x="2969" y="861"/>
                  </a:lnTo>
                  <a:lnTo>
                    <a:pt x="2961" y="853"/>
                  </a:lnTo>
                  <a:lnTo>
                    <a:pt x="2957" y="849"/>
                  </a:lnTo>
                  <a:lnTo>
                    <a:pt x="2951" y="846"/>
                  </a:lnTo>
                  <a:lnTo>
                    <a:pt x="2947" y="844"/>
                  </a:lnTo>
                  <a:lnTo>
                    <a:pt x="2941" y="842"/>
                  </a:lnTo>
                  <a:lnTo>
                    <a:pt x="2936" y="840"/>
                  </a:lnTo>
                  <a:lnTo>
                    <a:pt x="2930" y="838"/>
                  </a:lnTo>
                  <a:lnTo>
                    <a:pt x="2925" y="836"/>
                  </a:lnTo>
                  <a:lnTo>
                    <a:pt x="2919" y="836"/>
                  </a:lnTo>
                  <a:lnTo>
                    <a:pt x="2907" y="835"/>
                  </a:lnTo>
                  <a:lnTo>
                    <a:pt x="2275" y="835"/>
                  </a:lnTo>
                  <a:lnTo>
                    <a:pt x="2260" y="835"/>
                  </a:lnTo>
                  <a:lnTo>
                    <a:pt x="2246" y="836"/>
                  </a:lnTo>
                  <a:lnTo>
                    <a:pt x="2234" y="838"/>
                  </a:lnTo>
                  <a:lnTo>
                    <a:pt x="2222" y="841"/>
                  </a:lnTo>
                  <a:lnTo>
                    <a:pt x="2209" y="845"/>
                  </a:lnTo>
                  <a:lnTo>
                    <a:pt x="2198" y="848"/>
                  </a:lnTo>
                  <a:lnTo>
                    <a:pt x="2188" y="854"/>
                  </a:lnTo>
                  <a:lnTo>
                    <a:pt x="2178" y="859"/>
                  </a:lnTo>
                  <a:lnTo>
                    <a:pt x="2168" y="865"/>
                  </a:lnTo>
                  <a:lnTo>
                    <a:pt x="2160" y="872"/>
                  </a:lnTo>
                  <a:lnTo>
                    <a:pt x="2151" y="879"/>
                  </a:lnTo>
                  <a:lnTo>
                    <a:pt x="2142" y="887"/>
                  </a:lnTo>
                  <a:lnTo>
                    <a:pt x="2134" y="896"/>
                  </a:lnTo>
                  <a:lnTo>
                    <a:pt x="2126" y="905"/>
                  </a:lnTo>
                  <a:lnTo>
                    <a:pt x="2119" y="915"/>
                  </a:lnTo>
                  <a:lnTo>
                    <a:pt x="2111" y="925"/>
                  </a:lnTo>
                  <a:lnTo>
                    <a:pt x="1738" y="1404"/>
                  </a:lnTo>
                  <a:lnTo>
                    <a:pt x="1365" y="1885"/>
                  </a:lnTo>
                  <a:lnTo>
                    <a:pt x="1365" y="1408"/>
                  </a:lnTo>
                  <a:lnTo>
                    <a:pt x="1365" y="931"/>
                  </a:lnTo>
                  <a:lnTo>
                    <a:pt x="1365" y="920"/>
                  </a:lnTo>
                  <a:lnTo>
                    <a:pt x="1364" y="910"/>
                  </a:lnTo>
                  <a:lnTo>
                    <a:pt x="1362" y="902"/>
                  </a:lnTo>
                  <a:lnTo>
                    <a:pt x="1359" y="892"/>
                  </a:lnTo>
                  <a:lnTo>
                    <a:pt x="1356" y="884"/>
                  </a:lnTo>
                  <a:lnTo>
                    <a:pt x="1350" y="876"/>
                  </a:lnTo>
                  <a:lnTo>
                    <a:pt x="1346" y="868"/>
                  </a:lnTo>
                  <a:lnTo>
                    <a:pt x="1339" y="862"/>
                  </a:lnTo>
                  <a:lnTo>
                    <a:pt x="1332" y="856"/>
                  </a:lnTo>
                  <a:lnTo>
                    <a:pt x="1325" y="851"/>
                  </a:lnTo>
                  <a:lnTo>
                    <a:pt x="1317" y="846"/>
                  </a:lnTo>
                  <a:lnTo>
                    <a:pt x="1309" y="842"/>
                  </a:lnTo>
                  <a:lnTo>
                    <a:pt x="1300" y="840"/>
                  </a:lnTo>
                  <a:lnTo>
                    <a:pt x="1290" y="837"/>
                  </a:lnTo>
                  <a:lnTo>
                    <a:pt x="1280" y="835"/>
                  </a:lnTo>
                  <a:lnTo>
                    <a:pt x="1270" y="835"/>
                  </a:lnTo>
                  <a:lnTo>
                    <a:pt x="694" y="835"/>
                  </a:lnTo>
                  <a:lnTo>
                    <a:pt x="684" y="835"/>
                  </a:lnTo>
                  <a:lnTo>
                    <a:pt x="674" y="837"/>
                  </a:lnTo>
                  <a:lnTo>
                    <a:pt x="664" y="840"/>
                  </a:lnTo>
                  <a:lnTo>
                    <a:pt x="656" y="842"/>
                  </a:lnTo>
                  <a:lnTo>
                    <a:pt x="647" y="846"/>
                  </a:lnTo>
                  <a:lnTo>
                    <a:pt x="639" y="851"/>
                  </a:lnTo>
                  <a:lnTo>
                    <a:pt x="632" y="856"/>
                  </a:lnTo>
                  <a:lnTo>
                    <a:pt x="625" y="862"/>
                  </a:lnTo>
                  <a:lnTo>
                    <a:pt x="619" y="868"/>
                  </a:lnTo>
                  <a:lnTo>
                    <a:pt x="614" y="876"/>
                  </a:lnTo>
                  <a:lnTo>
                    <a:pt x="609" y="884"/>
                  </a:lnTo>
                  <a:lnTo>
                    <a:pt x="606" y="892"/>
                  </a:lnTo>
                  <a:lnTo>
                    <a:pt x="602" y="902"/>
                  </a:lnTo>
                  <a:lnTo>
                    <a:pt x="600" y="910"/>
                  </a:lnTo>
                  <a:lnTo>
                    <a:pt x="599" y="920"/>
                  </a:lnTo>
                  <a:lnTo>
                    <a:pt x="598" y="931"/>
                  </a:lnTo>
                  <a:lnTo>
                    <a:pt x="598" y="1464"/>
                  </a:lnTo>
                  <a:lnTo>
                    <a:pt x="598" y="1998"/>
                  </a:lnTo>
                  <a:lnTo>
                    <a:pt x="598" y="2531"/>
                  </a:lnTo>
                  <a:lnTo>
                    <a:pt x="598" y="3064"/>
                  </a:lnTo>
                  <a:lnTo>
                    <a:pt x="599" y="3074"/>
                  </a:lnTo>
                  <a:lnTo>
                    <a:pt x="600" y="3084"/>
                  </a:lnTo>
                  <a:lnTo>
                    <a:pt x="602" y="3094"/>
                  </a:lnTo>
                  <a:lnTo>
                    <a:pt x="606" y="3103"/>
                  </a:lnTo>
                  <a:lnTo>
                    <a:pt x="609" y="3111"/>
                  </a:lnTo>
                  <a:lnTo>
                    <a:pt x="614" y="3120"/>
                  </a:lnTo>
                  <a:lnTo>
                    <a:pt x="619" y="3126"/>
                  </a:lnTo>
                  <a:lnTo>
                    <a:pt x="625" y="3133"/>
                  </a:lnTo>
                  <a:lnTo>
                    <a:pt x="632" y="3140"/>
                  </a:lnTo>
                  <a:lnTo>
                    <a:pt x="639" y="3144"/>
                  </a:lnTo>
                  <a:lnTo>
                    <a:pt x="647" y="3150"/>
                  </a:lnTo>
                  <a:lnTo>
                    <a:pt x="656" y="3153"/>
                  </a:lnTo>
                  <a:lnTo>
                    <a:pt x="664" y="3156"/>
                  </a:lnTo>
                  <a:lnTo>
                    <a:pt x="674" y="3158"/>
                  </a:lnTo>
                  <a:lnTo>
                    <a:pt x="684" y="3160"/>
                  </a:lnTo>
                  <a:lnTo>
                    <a:pt x="694" y="3160"/>
                  </a:lnTo>
                  <a:lnTo>
                    <a:pt x="1270" y="3160"/>
                  </a:lnTo>
                  <a:lnTo>
                    <a:pt x="1280" y="3160"/>
                  </a:lnTo>
                  <a:lnTo>
                    <a:pt x="1290" y="3158"/>
                  </a:lnTo>
                  <a:lnTo>
                    <a:pt x="1300" y="3156"/>
                  </a:lnTo>
                  <a:lnTo>
                    <a:pt x="1309" y="3153"/>
                  </a:lnTo>
                  <a:lnTo>
                    <a:pt x="1317" y="3150"/>
                  </a:lnTo>
                  <a:lnTo>
                    <a:pt x="1325" y="3144"/>
                  </a:lnTo>
                  <a:lnTo>
                    <a:pt x="1332" y="3140"/>
                  </a:lnTo>
                  <a:lnTo>
                    <a:pt x="1339" y="3133"/>
                  </a:lnTo>
                  <a:lnTo>
                    <a:pt x="1346" y="3126"/>
                  </a:lnTo>
                  <a:lnTo>
                    <a:pt x="1350" y="3120"/>
                  </a:lnTo>
                  <a:lnTo>
                    <a:pt x="1356" y="3111"/>
                  </a:lnTo>
                  <a:lnTo>
                    <a:pt x="1359" y="3103"/>
                  </a:lnTo>
                  <a:lnTo>
                    <a:pt x="1362" y="3094"/>
                  </a:lnTo>
                  <a:lnTo>
                    <a:pt x="1364" y="3084"/>
                  </a:lnTo>
                  <a:lnTo>
                    <a:pt x="1365" y="3074"/>
                  </a:lnTo>
                  <a:lnTo>
                    <a:pt x="1365" y="3064"/>
                  </a:lnTo>
                  <a:lnTo>
                    <a:pt x="1365" y="2539"/>
                  </a:lnTo>
                  <a:lnTo>
                    <a:pt x="1365" y="2014"/>
                  </a:lnTo>
                  <a:lnTo>
                    <a:pt x="1738" y="2542"/>
                  </a:lnTo>
                  <a:lnTo>
                    <a:pt x="2111" y="3070"/>
                  </a:lnTo>
                  <a:lnTo>
                    <a:pt x="2119" y="3080"/>
                  </a:lnTo>
                  <a:lnTo>
                    <a:pt x="2126" y="3090"/>
                  </a:lnTo>
                  <a:lnTo>
                    <a:pt x="2134" y="3099"/>
                  </a:lnTo>
                  <a:lnTo>
                    <a:pt x="2142" y="3108"/>
                  </a:lnTo>
                  <a:lnTo>
                    <a:pt x="2151" y="3115"/>
                  </a:lnTo>
                  <a:lnTo>
                    <a:pt x="2160" y="3123"/>
                  </a:lnTo>
                  <a:lnTo>
                    <a:pt x="2168" y="3130"/>
                  </a:lnTo>
                  <a:lnTo>
                    <a:pt x="2178" y="3136"/>
                  </a:lnTo>
                  <a:lnTo>
                    <a:pt x="2188" y="3142"/>
                  </a:lnTo>
                  <a:lnTo>
                    <a:pt x="2198" y="3146"/>
                  </a:lnTo>
                  <a:lnTo>
                    <a:pt x="2209" y="3151"/>
                  </a:lnTo>
                  <a:lnTo>
                    <a:pt x="2222" y="3154"/>
                  </a:lnTo>
                  <a:lnTo>
                    <a:pt x="2234" y="3156"/>
                  </a:lnTo>
                  <a:lnTo>
                    <a:pt x="2246" y="3158"/>
                  </a:lnTo>
                  <a:lnTo>
                    <a:pt x="2260" y="3160"/>
                  </a:lnTo>
                  <a:lnTo>
                    <a:pt x="2275" y="3160"/>
                  </a:lnTo>
                  <a:lnTo>
                    <a:pt x="2924" y="3160"/>
                  </a:lnTo>
                  <a:close/>
                  <a:moveTo>
                    <a:pt x="0" y="3899"/>
                  </a:moveTo>
                  <a:lnTo>
                    <a:pt x="1" y="3909"/>
                  </a:lnTo>
                  <a:lnTo>
                    <a:pt x="2" y="3919"/>
                  </a:lnTo>
                  <a:lnTo>
                    <a:pt x="4" y="3929"/>
                  </a:lnTo>
                  <a:lnTo>
                    <a:pt x="8" y="3938"/>
                  </a:lnTo>
                  <a:lnTo>
                    <a:pt x="11" y="3947"/>
                  </a:lnTo>
                  <a:lnTo>
                    <a:pt x="16" y="3955"/>
                  </a:lnTo>
                  <a:lnTo>
                    <a:pt x="21" y="3961"/>
                  </a:lnTo>
                  <a:lnTo>
                    <a:pt x="27" y="3968"/>
                  </a:lnTo>
                  <a:lnTo>
                    <a:pt x="33" y="3975"/>
                  </a:lnTo>
                  <a:lnTo>
                    <a:pt x="41" y="3980"/>
                  </a:lnTo>
                  <a:lnTo>
                    <a:pt x="49" y="3985"/>
                  </a:lnTo>
                  <a:lnTo>
                    <a:pt x="58" y="3988"/>
                  </a:lnTo>
                  <a:lnTo>
                    <a:pt x="66" y="3991"/>
                  </a:lnTo>
                  <a:lnTo>
                    <a:pt x="75" y="3993"/>
                  </a:lnTo>
                  <a:lnTo>
                    <a:pt x="85" y="3995"/>
                  </a:lnTo>
                  <a:lnTo>
                    <a:pt x="96" y="3996"/>
                  </a:lnTo>
                  <a:lnTo>
                    <a:pt x="942" y="3996"/>
                  </a:lnTo>
                  <a:lnTo>
                    <a:pt x="1789" y="3996"/>
                  </a:lnTo>
                  <a:lnTo>
                    <a:pt x="2635" y="3996"/>
                  </a:lnTo>
                  <a:lnTo>
                    <a:pt x="3482" y="3996"/>
                  </a:lnTo>
                  <a:lnTo>
                    <a:pt x="3493" y="3995"/>
                  </a:lnTo>
                  <a:lnTo>
                    <a:pt x="3503" y="3993"/>
                  </a:lnTo>
                  <a:lnTo>
                    <a:pt x="3512" y="3991"/>
                  </a:lnTo>
                  <a:lnTo>
                    <a:pt x="3521" y="3988"/>
                  </a:lnTo>
                  <a:lnTo>
                    <a:pt x="3529" y="3985"/>
                  </a:lnTo>
                  <a:lnTo>
                    <a:pt x="3537" y="3980"/>
                  </a:lnTo>
                  <a:lnTo>
                    <a:pt x="3545" y="3975"/>
                  </a:lnTo>
                  <a:lnTo>
                    <a:pt x="3552" y="3968"/>
                  </a:lnTo>
                  <a:lnTo>
                    <a:pt x="3557" y="3961"/>
                  </a:lnTo>
                  <a:lnTo>
                    <a:pt x="3563" y="3955"/>
                  </a:lnTo>
                  <a:lnTo>
                    <a:pt x="3567" y="3947"/>
                  </a:lnTo>
                  <a:lnTo>
                    <a:pt x="3572" y="3938"/>
                  </a:lnTo>
                  <a:lnTo>
                    <a:pt x="3574" y="3929"/>
                  </a:lnTo>
                  <a:lnTo>
                    <a:pt x="3576" y="3919"/>
                  </a:lnTo>
                  <a:lnTo>
                    <a:pt x="3577" y="3909"/>
                  </a:lnTo>
                  <a:lnTo>
                    <a:pt x="3578" y="3899"/>
                  </a:lnTo>
                  <a:lnTo>
                    <a:pt x="3578" y="3634"/>
                  </a:lnTo>
                  <a:lnTo>
                    <a:pt x="3577" y="3624"/>
                  </a:lnTo>
                  <a:lnTo>
                    <a:pt x="3576" y="3614"/>
                  </a:lnTo>
                  <a:lnTo>
                    <a:pt x="3574" y="3605"/>
                  </a:lnTo>
                  <a:lnTo>
                    <a:pt x="3572" y="3595"/>
                  </a:lnTo>
                  <a:lnTo>
                    <a:pt x="3567" y="3587"/>
                  </a:lnTo>
                  <a:lnTo>
                    <a:pt x="3563" y="3579"/>
                  </a:lnTo>
                  <a:lnTo>
                    <a:pt x="3557" y="3572"/>
                  </a:lnTo>
                  <a:lnTo>
                    <a:pt x="3552" y="3565"/>
                  </a:lnTo>
                  <a:lnTo>
                    <a:pt x="3545" y="3559"/>
                  </a:lnTo>
                  <a:lnTo>
                    <a:pt x="3537" y="3554"/>
                  </a:lnTo>
                  <a:lnTo>
                    <a:pt x="3529" y="3549"/>
                  </a:lnTo>
                  <a:lnTo>
                    <a:pt x="3521" y="3545"/>
                  </a:lnTo>
                  <a:lnTo>
                    <a:pt x="3512" y="3542"/>
                  </a:lnTo>
                  <a:lnTo>
                    <a:pt x="3503" y="3539"/>
                  </a:lnTo>
                  <a:lnTo>
                    <a:pt x="3493" y="3538"/>
                  </a:lnTo>
                  <a:lnTo>
                    <a:pt x="3482" y="3538"/>
                  </a:lnTo>
                  <a:lnTo>
                    <a:pt x="2635" y="3538"/>
                  </a:lnTo>
                  <a:lnTo>
                    <a:pt x="1789" y="3538"/>
                  </a:lnTo>
                  <a:lnTo>
                    <a:pt x="942" y="3538"/>
                  </a:lnTo>
                  <a:lnTo>
                    <a:pt x="96" y="3538"/>
                  </a:lnTo>
                  <a:lnTo>
                    <a:pt x="85" y="3538"/>
                  </a:lnTo>
                  <a:lnTo>
                    <a:pt x="75" y="3539"/>
                  </a:lnTo>
                  <a:lnTo>
                    <a:pt x="66" y="3542"/>
                  </a:lnTo>
                  <a:lnTo>
                    <a:pt x="58" y="3545"/>
                  </a:lnTo>
                  <a:lnTo>
                    <a:pt x="49" y="3549"/>
                  </a:lnTo>
                  <a:lnTo>
                    <a:pt x="41" y="3554"/>
                  </a:lnTo>
                  <a:lnTo>
                    <a:pt x="33" y="3559"/>
                  </a:lnTo>
                  <a:lnTo>
                    <a:pt x="27" y="3565"/>
                  </a:lnTo>
                  <a:lnTo>
                    <a:pt x="21" y="3572"/>
                  </a:lnTo>
                  <a:lnTo>
                    <a:pt x="16" y="3579"/>
                  </a:lnTo>
                  <a:lnTo>
                    <a:pt x="11" y="3587"/>
                  </a:lnTo>
                  <a:lnTo>
                    <a:pt x="8" y="3595"/>
                  </a:lnTo>
                  <a:lnTo>
                    <a:pt x="4" y="3605"/>
                  </a:lnTo>
                  <a:lnTo>
                    <a:pt x="2" y="3614"/>
                  </a:lnTo>
                  <a:lnTo>
                    <a:pt x="1" y="3624"/>
                  </a:lnTo>
                  <a:lnTo>
                    <a:pt x="0" y="3634"/>
                  </a:lnTo>
                  <a:lnTo>
                    <a:pt x="0" y="3899"/>
                  </a:lnTo>
                  <a:close/>
                  <a:moveTo>
                    <a:pt x="0" y="361"/>
                  </a:moveTo>
                  <a:lnTo>
                    <a:pt x="1" y="371"/>
                  </a:lnTo>
                  <a:lnTo>
                    <a:pt x="2" y="381"/>
                  </a:lnTo>
                  <a:lnTo>
                    <a:pt x="4" y="391"/>
                  </a:lnTo>
                  <a:lnTo>
                    <a:pt x="8" y="400"/>
                  </a:lnTo>
                  <a:lnTo>
                    <a:pt x="11" y="409"/>
                  </a:lnTo>
                  <a:lnTo>
                    <a:pt x="16" y="416"/>
                  </a:lnTo>
                  <a:lnTo>
                    <a:pt x="21" y="423"/>
                  </a:lnTo>
                  <a:lnTo>
                    <a:pt x="27" y="430"/>
                  </a:lnTo>
                  <a:lnTo>
                    <a:pt x="33" y="436"/>
                  </a:lnTo>
                  <a:lnTo>
                    <a:pt x="41" y="441"/>
                  </a:lnTo>
                  <a:lnTo>
                    <a:pt x="49" y="446"/>
                  </a:lnTo>
                  <a:lnTo>
                    <a:pt x="58" y="450"/>
                  </a:lnTo>
                  <a:lnTo>
                    <a:pt x="66" y="453"/>
                  </a:lnTo>
                  <a:lnTo>
                    <a:pt x="75" y="455"/>
                  </a:lnTo>
                  <a:lnTo>
                    <a:pt x="85" y="456"/>
                  </a:lnTo>
                  <a:lnTo>
                    <a:pt x="96" y="456"/>
                  </a:lnTo>
                  <a:lnTo>
                    <a:pt x="942" y="456"/>
                  </a:lnTo>
                  <a:lnTo>
                    <a:pt x="1789" y="456"/>
                  </a:lnTo>
                  <a:lnTo>
                    <a:pt x="2635" y="456"/>
                  </a:lnTo>
                  <a:lnTo>
                    <a:pt x="3482" y="456"/>
                  </a:lnTo>
                  <a:lnTo>
                    <a:pt x="3493" y="456"/>
                  </a:lnTo>
                  <a:lnTo>
                    <a:pt x="3503" y="455"/>
                  </a:lnTo>
                  <a:lnTo>
                    <a:pt x="3512" y="453"/>
                  </a:lnTo>
                  <a:lnTo>
                    <a:pt x="3521" y="450"/>
                  </a:lnTo>
                  <a:lnTo>
                    <a:pt x="3529" y="446"/>
                  </a:lnTo>
                  <a:lnTo>
                    <a:pt x="3537" y="441"/>
                  </a:lnTo>
                  <a:lnTo>
                    <a:pt x="3545" y="436"/>
                  </a:lnTo>
                  <a:lnTo>
                    <a:pt x="3552" y="430"/>
                  </a:lnTo>
                  <a:lnTo>
                    <a:pt x="3557" y="423"/>
                  </a:lnTo>
                  <a:lnTo>
                    <a:pt x="3563" y="416"/>
                  </a:lnTo>
                  <a:lnTo>
                    <a:pt x="3567" y="409"/>
                  </a:lnTo>
                  <a:lnTo>
                    <a:pt x="3572" y="400"/>
                  </a:lnTo>
                  <a:lnTo>
                    <a:pt x="3574" y="391"/>
                  </a:lnTo>
                  <a:lnTo>
                    <a:pt x="3576" y="381"/>
                  </a:lnTo>
                  <a:lnTo>
                    <a:pt x="3577" y="371"/>
                  </a:lnTo>
                  <a:lnTo>
                    <a:pt x="3578" y="361"/>
                  </a:lnTo>
                  <a:lnTo>
                    <a:pt x="3578" y="95"/>
                  </a:lnTo>
                  <a:lnTo>
                    <a:pt x="3577" y="85"/>
                  </a:lnTo>
                  <a:lnTo>
                    <a:pt x="3576" y="75"/>
                  </a:lnTo>
                  <a:lnTo>
                    <a:pt x="3574" y="65"/>
                  </a:lnTo>
                  <a:lnTo>
                    <a:pt x="3572" y="57"/>
                  </a:lnTo>
                  <a:lnTo>
                    <a:pt x="3567" y="49"/>
                  </a:lnTo>
                  <a:lnTo>
                    <a:pt x="3563" y="41"/>
                  </a:lnTo>
                  <a:lnTo>
                    <a:pt x="3557" y="33"/>
                  </a:lnTo>
                  <a:lnTo>
                    <a:pt x="3552" y="27"/>
                  </a:lnTo>
                  <a:lnTo>
                    <a:pt x="3545" y="20"/>
                  </a:lnTo>
                  <a:lnTo>
                    <a:pt x="3537" y="16"/>
                  </a:lnTo>
                  <a:lnTo>
                    <a:pt x="3529" y="11"/>
                  </a:lnTo>
                  <a:lnTo>
                    <a:pt x="3521" y="7"/>
                  </a:lnTo>
                  <a:lnTo>
                    <a:pt x="3512" y="3"/>
                  </a:lnTo>
                  <a:lnTo>
                    <a:pt x="3503" y="1"/>
                  </a:lnTo>
                  <a:lnTo>
                    <a:pt x="3493" y="0"/>
                  </a:lnTo>
                  <a:lnTo>
                    <a:pt x="3482" y="0"/>
                  </a:lnTo>
                  <a:lnTo>
                    <a:pt x="2635" y="0"/>
                  </a:lnTo>
                  <a:lnTo>
                    <a:pt x="1789" y="0"/>
                  </a:lnTo>
                  <a:lnTo>
                    <a:pt x="942" y="0"/>
                  </a:lnTo>
                  <a:lnTo>
                    <a:pt x="96" y="0"/>
                  </a:lnTo>
                  <a:lnTo>
                    <a:pt x="85" y="0"/>
                  </a:lnTo>
                  <a:lnTo>
                    <a:pt x="75" y="1"/>
                  </a:lnTo>
                  <a:lnTo>
                    <a:pt x="66" y="3"/>
                  </a:lnTo>
                  <a:lnTo>
                    <a:pt x="58" y="7"/>
                  </a:lnTo>
                  <a:lnTo>
                    <a:pt x="49" y="11"/>
                  </a:lnTo>
                  <a:lnTo>
                    <a:pt x="41" y="16"/>
                  </a:lnTo>
                  <a:lnTo>
                    <a:pt x="33" y="20"/>
                  </a:lnTo>
                  <a:lnTo>
                    <a:pt x="27" y="27"/>
                  </a:lnTo>
                  <a:lnTo>
                    <a:pt x="21" y="33"/>
                  </a:lnTo>
                  <a:lnTo>
                    <a:pt x="16" y="41"/>
                  </a:lnTo>
                  <a:lnTo>
                    <a:pt x="11" y="49"/>
                  </a:lnTo>
                  <a:lnTo>
                    <a:pt x="8" y="57"/>
                  </a:lnTo>
                  <a:lnTo>
                    <a:pt x="4" y="65"/>
                  </a:lnTo>
                  <a:lnTo>
                    <a:pt x="2" y="75"/>
                  </a:lnTo>
                  <a:lnTo>
                    <a:pt x="1" y="85"/>
                  </a:lnTo>
                  <a:lnTo>
                    <a:pt x="0" y="95"/>
                  </a:lnTo>
                  <a:lnTo>
                    <a:pt x="0" y="36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Skatta Sans Regular" pitchFamily="50" charset="0"/>
              </a:endParaRPr>
            </a:p>
          </p:txBody>
        </p:sp>
      </p:grpSp>
      <p:sp>
        <p:nvSpPr>
          <p:cNvPr id="9" name="Freeform 12">
            <a:extLst>
              <a:ext uri="{FF2B5EF4-FFF2-40B4-BE49-F238E27FC236}">
                <a16:creationId xmlns:a16="http://schemas.microsoft.com/office/drawing/2014/main" id="{93FF1D09-DF5B-4D45-A726-D54896DDF346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10488488" y="692696"/>
            <a:ext cx="1007493" cy="1124563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5423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lhue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969A245-9541-46B8-BB65-08F9C408B739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RIA - RKL yrittäjäpäivä 1.11.202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3957D1D-CDAB-407B-B091-22FA3FB0C42F}"/>
              </a:ext>
            </a:extLst>
          </p:cNvPr>
          <p:cNvGrpSpPr/>
          <p:nvPr userDrawn="1"/>
        </p:nvGrpSpPr>
        <p:grpSpPr>
          <a:xfrm>
            <a:off x="0" y="4077072"/>
            <a:ext cx="9874285" cy="1872000"/>
            <a:chOff x="0" y="4077072"/>
            <a:chExt cx="9874285" cy="1872000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0A998A7F-A659-430D-A591-F7C9634F9E5F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0" y="4077072"/>
              <a:ext cx="9874285" cy="1872000"/>
            </a:xfrm>
            <a:custGeom>
              <a:avLst/>
              <a:gdLst>
                <a:gd name="T0" fmla="*/ 10894 w 23040"/>
                <a:gd name="T1" fmla="*/ 3037 h 4369"/>
                <a:gd name="T2" fmla="*/ 10931 w 23040"/>
                <a:gd name="T3" fmla="*/ 2661 h 4369"/>
                <a:gd name="T4" fmla="*/ 13479 w 23040"/>
                <a:gd name="T5" fmla="*/ 2241 h 4369"/>
                <a:gd name="T6" fmla="*/ 12981 w 23040"/>
                <a:gd name="T7" fmla="*/ 1865 h 4369"/>
                <a:gd name="T8" fmla="*/ 13222 w 23040"/>
                <a:gd name="T9" fmla="*/ 1543 h 4369"/>
                <a:gd name="T10" fmla="*/ 13525 w 23040"/>
                <a:gd name="T11" fmla="*/ 3907 h 4369"/>
                <a:gd name="T12" fmla="*/ 12729 w 23040"/>
                <a:gd name="T13" fmla="*/ 3813 h 4369"/>
                <a:gd name="T14" fmla="*/ 10912 w 23040"/>
                <a:gd name="T15" fmla="*/ 2402 h 4369"/>
                <a:gd name="T16" fmla="*/ 16652 w 23040"/>
                <a:gd name="T17" fmla="*/ 970 h 4369"/>
                <a:gd name="T18" fmla="*/ 16232 w 23040"/>
                <a:gd name="T19" fmla="*/ 332 h 4369"/>
                <a:gd name="T20" fmla="*/ 15103 w 23040"/>
                <a:gd name="T21" fmla="*/ 2262 h 4369"/>
                <a:gd name="T22" fmla="*/ 12814 w 23040"/>
                <a:gd name="T23" fmla="*/ 2991 h 4369"/>
                <a:gd name="T24" fmla="*/ 11678 w 23040"/>
                <a:gd name="T25" fmla="*/ 3172 h 4369"/>
                <a:gd name="T26" fmla="*/ 12355 w 23040"/>
                <a:gd name="T27" fmla="*/ 2838 h 4369"/>
                <a:gd name="T28" fmla="*/ 12184 w 23040"/>
                <a:gd name="T29" fmla="*/ 4304 h 4369"/>
                <a:gd name="T30" fmla="*/ 11739 w 23040"/>
                <a:gd name="T31" fmla="*/ 2627 h 4369"/>
                <a:gd name="T32" fmla="*/ 11666 w 23040"/>
                <a:gd name="T33" fmla="*/ 2291 h 4369"/>
                <a:gd name="T34" fmla="*/ 11184 w 23040"/>
                <a:gd name="T35" fmla="*/ 3107 h 4369"/>
                <a:gd name="T36" fmla="*/ 11469 w 23040"/>
                <a:gd name="T37" fmla="*/ 1044 h 4369"/>
                <a:gd name="T38" fmla="*/ 13150 w 23040"/>
                <a:gd name="T39" fmla="*/ 754 h 4369"/>
                <a:gd name="T40" fmla="*/ 16863 w 23040"/>
                <a:gd name="T41" fmla="*/ 4331 h 4369"/>
                <a:gd name="T42" fmla="*/ 14362 w 23040"/>
                <a:gd name="T43" fmla="*/ 3771 h 4369"/>
                <a:gd name="T44" fmla="*/ 14362 w 23040"/>
                <a:gd name="T45" fmla="*/ 3373 h 4369"/>
                <a:gd name="T46" fmla="*/ 14105 w 23040"/>
                <a:gd name="T47" fmla="*/ 3277 h 4369"/>
                <a:gd name="T48" fmla="*/ 14091 w 23040"/>
                <a:gd name="T49" fmla="*/ 2881 h 4369"/>
                <a:gd name="T50" fmla="*/ 20731 w 23040"/>
                <a:gd name="T51" fmla="*/ 4008 h 4369"/>
                <a:gd name="T52" fmla="*/ 19002 w 23040"/>
                <a:gd name="T53" fmla="*/ 3795 h 4369"/>
                <a:gd name="T54" fmla="*/ 19052 w 23040"/>
                <a:gd name="T55" fmla="*/ 3549 h 4369"/>
                <a:gd name="T56" fmla="*/ 19727 w 23040"/>
                <a:gd name="T57" fmla="*/ 3547 h 4369"/>
                <a:gd name="T58" fmla="*/ 21772 w 23040"/>
                <a:gd name="T59" fmla="*/ 1759 h 4369"/>
                <a:gd name="T60" fmla="*/ 20169 w 23040"/>
                <a:gd name="T61" fmla="*/ 1874 h 4369"/>
                <a:gd name="T62" fmla="*/ 18388 w 23040"/>
                <a:gd name="T63" fmla="*/ 2546 h 4369"/>
                <a:gd name="T64" fmla="*/ 19509 w 23040"/>
                <a:gd name="T65" fmla="*/ 3625 h 4369"/>
                <a:gd name="T66" fmla="*/ 18969 w 23040"/>
                <a:gd name="T67" fmla="*/ 3381 h 4369"/>
                <a:gd name="T68" fmla="*/ 2798 w 23040"/>
                <a:gd name="T69" fmla="*/ 3193 h 4369"/>
                <a:gd name="T70" fmla="*/ 440 w 23040"/>
                <a:gd name="T71" fmla="*/ 2751 h 4369"/>
                <a:gd name="T72" fmla="*/ 2868 w 23040"/>
                <a:gd name="T73" fmla="*/ 4141 h 4369"/>
                <a:gd name="T74" fmla="*/ 837 w 23040"/>
                <a:gd name="T75" fmla="*/ 3250 h 4369"/>
                <a:gd name="T76" fmla="*/ 823 w 23040"/>
                <a:gd name="T77" fmla="*/ 3336 h 4369"/>
                <a:gd name="T78" fmla="*/ 1107 w 23040"/>
                <a:gd name="T79" fmla="*/ 3717 h 4369"/>
                <a:gd name="T80" fmla="*/ 1080 w 23040"/>
                <a:gd name="T81" fmla="*/ 3810 h 4369"/>
                <a:gd name="T82" fmla="*/ 188 w 23040"/>
                <a:gd name="T83" fmla="*/ 1799 h 4369"/>
                <a:gd name="T84" fmla="*/ 2556 w 23040"/>
                <a:gd name="T85" fmla="*/ 2016 h 4369"/>
                <a:gd name="T86" fmla="*/ 2583 w 23040"/>
                <a:gd name="T87" fmla="*/ 2578 h 4369"/>
                <a:gd name="T88" fmla="*/ 8182 w 23040"/>
                <a:gd name="T89" fmla="*/ 2792 h 4369"/>
                <a:gd name="T90" fmla="*/ 9070 w 23040"/>
                <a:gd name="T91" fmla="*/ 2753 h 4369"/>
                <a:gd name="T92" fmla="*/ 6863 w 23040"/>
                <a:gd name="T93" fmla="*/ 2176 h 4369"/>
                <a:gd name="T94" fmla="*/ 6215 w 23040"/>
                <a:gd name="T95" fmla="*/ 2702 h 4369"/>
                <a:gd name="T96" fmla="*/ 7097 w 23040"/>
                <a:gd name="T97" fmla="*/ 2957 h 4369"/>
                <a:gd name="T98" fmla="*/ 6454 w 23040"/>
                <a:gd name="T99" fmla="*/ 3498 h 4369"/>
                <a:gd name="T100" fmla="*/ 6384 w 23040"/>
                <a:gd name="T101" fmla="*/ 4003 h 4369"/>
                <a:gd name="T102" fmla="*/ 8037 w 23040"/>
                <a:gd name="T103" fmla="*/ 2925 h 4369"/>
                <a:gd name="T104" fmla="*/ 8332 w 23040"/>
                <a:gd name="T105" fmla="*/ 3308 h 4369"/>
                <a:gd name="T106" fmla="*/ 8296 w 23040"/>
                <a:gd name="T107" fmla="*/ 3424 h 4369"/>
                <a:gd name="T108" fmla="*/ 8598 w 23040"/>
                <a:gd name="T109" fmla="*/ 3792 h 4369"/>
                <a:gd name="T110" fmla="*/ 5650 w 23040"/>
                <a:gd name="T111" fmla="*/ 1956 h 4369"/>
                <a:gd name="T112" fmla="*/ 8119 w 23040"/>
                <a:gd name="T113" fmla="*/ 245 h 4369"/>
                <a:gd name="T114" fmla="*/ 4680 w 23040"/>
                <a:gd name="T115" fmla="*/ 942 h 4369"/>
                <a:gd name="T116" fmla="*/ 5027 w 23040"/>
                <a:gd name="T117" fmla="*/ 2616 h 4369"/>
                <a:gd name="T118" fmla="*/ 4991 w 23040"/>
                <a:gd name="T119" fmla="*/ 2732 h 4369"/>
                <a:gd name="T120" fmla="*/ 5292 w 23040"/>
                <a:gd name="T121" fmla="*/ 3101 h 4369"/>
                <a:gd name="T122" fmla="*/ 5252 w 23040"/>
                <a:gd name="T123" fmla="*/ 3235 h 4369"/>
                <a:gd name="T124" fmla="*/ 3326 w 23040"/>
                <a:gd name="T125" fmla="*/ 3951 h 4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040" h="4369">
                  <a:moveTo>
                    <a:pt x="10933" y="3163"/>
                  </a:moveTo>
                  <a:lnTo>
                    <a:pt x="10933" y="3274"/>
                  </a:lnTo>
                  <a:lnTo>
                    <a:pt x="10931" y="3283"/>
                  </a:lnTo>
                  <a:lnTo>
                    <a:pt x="10926" y="3290"/>
                  </a:lnTo>
                  <a:lnTo>
                    <a:pt x="10920" y="3294"/>
                  </a:lnTo>
                  <a:lnTo>
                    <a:pt x="10912" y="3295"/>
                  </a:lnTo>
                  <a:lnTo>
                    <a:pt x="10906" y="3294"/>
                  </a:lnTo>
                  <a:lnTo>
                    <a:pt x="10899" y="3290"/>
                  </a:lnTo>
                  <a:lnTo>
                    <a:pt x="10894" y="3283"/>
                  </a:lnTo>
                  <a:lnTo>
                    <a:pt x="10893" y="3274"/>
                  </a:lnTo>
                  <a:lnTo>
                    <a:pt x="10893" y="3163"/>
                  </a:lnTo>
                  <a:lnTo>
                    <a:pt x="10894" y="3154"/>
                  </a:lnTo>
                  <a:lnTo>
                    <a:pt x="10899" y="3148"/>
                  </a:lnTo>
                  <a:lnTo>
                    <a:pt x="10906" y="3144"/>
                  </a:lnTo>
                  <a:lnTo>
                    <a:pt x="10912" y="3143"/>
                  </a:lnTo>
                  <a:lnTo>
                    <a:pt x="10920" y="3144"/>
                  </a:lnTo>
                  <a:lnTo>
                    <a:pt x="10926" y="3148"/>
                  </a:lnTo>
                  <a:lnTo>
                    <a:pt x="10931" y="3154"/>
                  </a:lnTo>
                  <a:lnTo>
                    <a:pt x="10933" y="3163"/>
                  </a:lnTo>
                  <a:close/>
                  <a:moveTo>
                    <a:pt x="10670" y="3163"/>
                  </a:moveTo>
                  <a:lnTo>
                    <a:pt x="10670" y="3274"/>
                  </a:lnTo>
                  <a:lnTo>
                    <a:pt x="10669" y="3283"/>
                  </a:lnTo>
                  <a:lnTo>
                    <a:pt x="10663" y="3290"/>
                  </a:lnTo>
                  <a:lnTo>
                    <a:pt x="10657" y="3294"/>
                  </a:lnTo>
                  <a:lnTo>
                    <a:pt x="10649" y="3295"/>
                  </a:lnTo>
                  <a:lnTo>
                    <a:pt x="10643" y="3294"/>
                  </a:lnTo>
                  <a:lnTo>
                    <a:pt x="10637" y="3290"/>
                  </a:lnTo>
                  <a:lnTo>
                    <a:pt x="10631" y="3283"/>
                  </a:lnTo>
                  <a:lnTo>
                    <a:pt x="10630" y="3274"/>
                  </a:lnTo>
                  <a:lnTo>
                    <a:pt x="10630" y="3163"/>
                  </a:lnTo>
                  <a:lnTo>
                    <a:pt x="10631" y="3154"/>
                  </a:lnTo>
                  <a:lnTo>
                    <a:pt x="10637" y="3148"/>
                  </a:lnTo>
                  <a:lnTo>
                    <a:pt x="10643" y="3144"/>
                  </a:lnTo>
                  <a:lnTo>
                    <a:pt x="10649" y="3143"/>
                  </a:lnTo>
                  <a:lnTo>
                    <a:pt x="10657" y="3144"/>
                  </a:lnTo>
                  <a:lnTo>
                    <a:pt x="10663" y="3148"/>
                  </a:lnTo>
                  <a:lnTo>
                    <a:pt x="10669" y="3154"/>
                  </a:lnTo>
                  <a:lnTo>
                    <a:pt x="10670" y="3163"/>
                  </a:lnTo>
                  <a:close/>
                  <a:moveTo>
                    <a:pt x="10407" y="3163"/>
                  </a:moveTo>
                  <a:lnTo>
                    <a:pt x="10407" y="3274"/>
                  </a:lnTo>
                  <a:lnTo>
                    <a:pt x="10404" y="3283"/>
                  </a:lnTo>
                  <a:lnTo>
                    <a:pt x="10401" y="3290"/>
                  </a:lnTo>
                  <a:lnTo>
                    <a:pt x="10394" y="3294"/>
                  </a:lnTo>
                  <a:lnTo>
                    <a:pt x="10386" y="3295"/>
                  </a:lnTo>
                  <a:lnTo>
                    <a:pt x="10379" y="3294"/>
                  </a:lnTo>
                  <a:lnTo>
                    <a:pt x="10372" y="3290"/>
                  </a:lnTo>
                  <a:lnTo>
                    <a:pt x="10369" y="3283"/>
                  </a:lnTo>
                  <a:lnTo>
                    <a:pt x="10366" y="3274"/>
                  </a:lnTo>
                  <a:lnTo>
                    <a:pt x="10366" y="3163"/>
                  </a:lnTo>
                  <a:lnTo>
                    <a:pt x="10369" y="3154"/>
                  </a:lnTo>
                  <a:lnTo>
                    <a:pt x="10372" y="3148"/>
                  </a:lnTo>
                  <a:lnTo>
                    <a:pt x="10379" y="3144"/>
                  </a:lnTo>
                  <a:lnTo>
                    <a:pt x="10386" y="3143"/>
                  </a:lnTo>
                  <a:lnTo>
                    <a:pt x="10394" y="3144"/>
                  </a:lnTo>
                  <a:lnTo>
                    <a:pt x="10401" y="3148"/>
                  </a:lnTo>
                  <a:lnTo>
                    <a:pt x="10404" y="3154"/>
                  </a:lnTo>
                  <a:lnTo>
                    <a:pt x="10407" y="3163"/>
                  </a:lnTo>
                  <a:close/>
                  <a:moveTo>
                    <a:pt x="10143" y="3163"/>
                  </a:moveTo>
                  <a:lnTo>
                    <a:pt x="10143" y="3274"/>
                  </a:lnTo>
                  <a:lnTo>
                    <a:pt x="10142" y="3283"/>
                  </a:lnTo>
                  <a:lnTo>
                    <a:pt x="10138" y="3290"/>
                  </a:lnTo>
                  <a:lnTo>
                    <a:pt x="10131" y="3294"/>
                  </a:lnTo>
                  <a:lnTo>
                    <a:pt x="10124" y="3295"/>
                  </a:lnTo>
                  <a:lnTo>
                    <a:pt x="10116" y="3294"/>
                  </a:lnTo>
                  <a:lnTo>
                    <a:pt x="10109" y="3290"/>
                  </a:lnTo>
                  <a:lnTo>
                    <a:pt x="10106" y="3283"/>
                  </a:lnTo>
                  <a:lnTo>
                    <a:pt x="10103" y="3274"/>
                  </a:lnTo>
                  <a:lnTo>
                    <a:pt x="10103" y="3163"/>
                  </a:lnTo>
                  <a:lnTo>
                    <a:pt x="10106" y="3154"/>
                  </a:lnTo>
                  <a:lnTo>
                    <a:pt x="10109" y="3148"/>
                  </a:lnTo>
                  <a:lnTo>
                    <a:pt x="10116" y="3144"/>
                  </a:lnTo>
                  <a:lnTo>
                    <a:pt x="10124" y="3143"/>
                  </a:lnTo>
                  <a:lnTo>
                    <a:pt x="10131" y="3144"/>
                  </a:lnTo>
                  <a:lnTo>
                    <a:pt x="10138" y="3148"/>
                  </a:lnTo>
                  <a:lnTo>
                    <a:pt x="10142" y="3154"/>
                  </a:lnTo>
                  <a:lnTo>
                    <a:pt x="10143" y="3163"/>
                  </a:lnTo>
                  <a:close/>
                  <a:moveTo>
                    <a:pt x="9880" y="3163"/>
                  </a:moveTo>
                  <a:lnTo>
                    <a:pt x="9880" y="3274"/>
                  </a:lnTo>
                  <a:lnTo>
                    <a:pt x="9879" y="3283"/>
                  </a:lnTo>
                  <a:lnTo>
                    <a:pt x="9874" y="3290"/>
                  </a:lnTo>
                  <a:lnTo>
                    <a:pt x="9867" y="3294"/>
                  </a:lnTo>
                  <a:lnTo>
                    <a:pt x="9861" y="3295"/>
                  </a:lnTo>
                  <a:lnTo>
                    <a:pt x="9853" y="3294"/>
                  </a:lnTo>
                  <a:lnTo>
                    <a:pt x="9847" y="3290"/>
                  </a:lnTo>
                  <a:lnTo>
                    <a:pt x="9841" y="3283"/>
                  </a:lnTo>
                  <a:lnTo>
                    <a:pt x="9840" y="3274"/>
                  </a:lnTo>
                  <a:lnTo>
                    <a:pt x="9840" y="3163"/>
                  </a:lnTo>
                  <a:lnTo>
                    <a:pt x="9841" y="3154"/>
                  </a:lnTo>
                  <a:lnTo>
                    <a:pt x="9847" y="3148"/>
                  </a:lnTo>
                  <a:lnTo>
                    <a:pt x="9853" y="3144"/>
                  </a:lnTo>
                  <a:lnTo>
                    <a:pt x="9861" y="3143"/>
                  </a:lnTo>
                  <a:lnTo>
                    <a:pt x="9867" y="3144"/>
                  </a:lnTo>
                  <a:lnTo>
                    <a:pt x="9874" y="3148"/>
                  </a:lnTo>
                  <a:lnTo>
                    <a:pt x="9879" y="3154"/>
                  </a:lnTo>
                  <a:lnTo>
                    <a:pt x="9880" y="3163"/>
                  </a:lnTo>
                  <a:close/>
                  <a:moveTo>
                    <a:pt x="9617" y="3163"/>
                  </a:moveTo>
                  <a:lnTo>
                    <a:pt x="9617" y="3274"/>
                  </a:lnTo>
                  <a:lnTo>
                    <a:pt x="9616" y="3283"/>
                  </a:lnTo>
                  <a:lnTo>
                    <a:pt x="9611" y="3290"/>
                  </a:lnTo>
                  <a:lnTo>
                    <a:pt x="9604" y="3294"/>
                  </a:lnTo>
                  <a:lnTo>
                    <a:pt x="9598" y="3295"/>
                  </a:lnTo>
                  <a:lnTo>
                    <a:pt x="9590" y="3294"/>
                  </a:lnTo>
                  <a:lnTo>
                    <a:pt x="9584" y="3290"/>
                  </a:lnTo>
                  <a:lnTo>
                    <a:pt x="9579" y="3283"/>
                  </a:lnTo>
                  <a:lnTo>
                    <a:pt x="9577" y="3274"/>
                  </a:lnTo>
                  <a:lnTo>
                    <a:pt x="9577" y="3163"/>
                  </a:lnTo>
                  <a:lnTo>
                    <a:pt x="9579" y="3154"/>
                  </a:lnTo>
                  <a:lnTo>
                    <a:pt x="9584" y="3148"/>
                  </a:lnTo>
                  <a:lnTo>
                    <a:pt x="9590" y="3144"/>
                  </a:lnTo>
                  <a:lnTo>
                    <a:pt x="9598" y="3143"/>
                  </a:lnTo>
                  <a:lnTo>
                    <a:pt x="9604" y="3144"/>
                  </a:lnTo>
                  <a:lnTo>
                    <a:pt x="9611" y="3148"/>
                  </a:lnTo>
                  <a:lnTo>
                    <a:pt x="9616" y="3154"/>
                  </a:lnTo>
                  <a:lnTo>
                    <a:pt x="9617" y="3163"/>
                  </a:lnTo>
                  <a:close/>
                  <a:moveTo>
                    <a:pt x="10933" y="2916"/>
                  </a:moveTo>
                  <a:lnTo>
                    <a:pt x="10933" y="3028"/>
                  </a:lnTo>
                  <a:lnTo>
                    <a:pt x="10931" y="3037"/>
                  </a:lnTo>
                  <a:lnTo>
                    <a:pt x="10926" y="3043"/>
                  </a:lnTo>
                  <a:lnTo>
                    <a:pt x="10920" y="3047"/>
                  </a:lnTo>
                  <a:lnTo>
                    <a:pt x="10912" y="3048"/>
                  </a:lnTo>
                  <a:lnTo>
                    <a:pt x="10906" y="3047"/>
                  </a:lnTo>
                  <a:lnTo>
                    <a:pt x="10899" y="3043"/>
                  </a:lnTo>
                  <a:lnTo>
                    <a:pt x="10894" y="3037"/>
                  </a:lnTo>
                  <a:lnTo>
                    <a:pt x="10893" y="3028"/>
                  </a:lnTo>
                  <a:lnTo>
                    <a:pt x="10893" y="2916"/>
                  </a:lnTo>
                  <a:lnTo>
                    <a:pt x="10894" y="2907"/>
                  </a:lnTo>
                  <a:lnTo>
                    <a:pt x="10899" y="2901"/>
                  </a:lnTo>
                  <a:lnTo>
                    <a:pt x="10906" y="2897"/>
                  </a:lnTo>
                  <a:lnTo>
                    <a:pt x="10912" y="2896"/>
                  </a:lnTo>
                  <a:lnTo>
                    <a:pt x="10920" y="2897"/>
                  </a:lnTo>
                  <a:lnTo>
                    <a:pt x="10926" y="2901"/>
                  </a:lnTo>
                  <a:lnTo>
                    <a:pt x="10931" y="2907"/>
                  </a:lnTo>
                  <a:lnTo>
                    <a:pt x="10933" y="2916"/>
                  </a:lnTo>
                  <a:close/>
                  <a:moveTo>
                    <a:pt x="10670" y="2916"/>
                  </a:moveTo>
                  <a:lnTo>
                    <a:pt x="10670" y="3028"/>
                  </a:lnTo>
                  <a:lnTo>
                    <a:pt x="10669" y="3037"/>
                  </a:lnTo>
                  <a:lnTo>
                    <a:pt x="10663" y="3043"/>
                  </a:lnTo>
                  <a:lnTo>
                    <a:pt x="10657" y="3047"/>
                  </a:lnTo>
                  <a:lnTo>
                    <a:pt x="10649" y="3048"/>
                  </a:lnTo>
                  <a:lnTo>
                    <a:pt x="10643" y="3047"/>
                  </a:lnTo>
                  <a:lnTo>
                    <a:pt x="10637" y="3043"/>
                  </a:lnTo>
                  <a:lnTo>
                    <a:pt x="10631" y="3037"/>
                  </a:lnTo>
                  <a:lnTo>
                    <a:pt x="10630" y="3028"/>
                  </a:lnTo>
                  <a:lnTo>
                    <a:pt x="10630" y="2916"/>
                  </a:lnTo>
                  <a:lnTo>
                    <a:pt x="10631" y="2907"/>
                  </a:lnTo>
                  <a:lnTo>
                    <a:pt x="10637" y="2901"/>
                  </a:lnTo>
                  <a:lnTo>
                    <a:pt x="10643" y="2897"/>
                  </a:lnTo>
                  <a:lnTo>
                    <a:pt x="10649" y="2896"/>
                  </a:lnTo>
                  <a:lnTo>
                    <a:pt x="10657" y="2897"/>
                  </a:lnTo>
                  <a:lnTo>
                    <a:pt x="10663" y="2901"/>
                  </a:lnTo>
                  <a:lnTo>
                    <a:pt x="10669" y="2907"/>
                  </a:lnTo>
                  <a:lnTo>
                    <a:pt x="10670" y="2916"/>
                  </a:lnTo>
                  <a:close/>
                  <a:moveTo>
                    <a:pt x="10407" y="2916"/>
                  </a:moveTo>
                  <a:lnTo>
                    <a:pt x="10407" y="3028"/>
                  </a:lnTo>
                  <a:lnTo>
                    <a:pt x="10404" y="3037"/>
                  </a:lnTo>
                  <a:lnTo>
                    <a:pt x="10401" y="3043"/>
                  </a:lnTo>
                  <a:lnTo>
                    <a:pt x="10394" y="3047"/>
                  </a:lnTo>
                  <a:lnTo>
                    <a:pt x="10386" y="3048"/>
                  </a:lnTo>
                  <a:lnTo>
                    <a:pt x="10379" y="3047"/>
                  </a:lnTo>
                  <a:lnTo>
                    <a:pt x="10372" y="3043"/>
                  </a:lnTo>
                  <a:lnTo>
                    <a:pt x="10369" y="3037"/>
                  </a:lnTo>
                  <a:lnTo>
                    <a:pt x="10366" y="3028"/>
                  </a:lnTo>
                  <a:lnTo>
                    <a:pt x="10366" y="2916"/>
                  </a:lnTo>
                  <a:lnTo>
                    <a:pt x="10369" y="2907"/>
                  </a:lnTo>
                  <a:lnTo>
                    <a:pt x="10372" y="2901"/>
                  </a:lnTo>
                  <a:lnTo>
                    <a:pt x="10379" y="2897"/>
                  </a:lnTo>
                  <a:lnTo>
                    <a:pt x="10386" y="2896"/>
                  </a:lnTo>
                  <a:lnTo>
                    <a:pt x="10394" y="2897"/>
                  </a:lnTo>
                  <a:lnTo>
                    <a:pt x="10401" y="2901"/>
                  </a:lnTo>
                  <a:lnTo>
                    <a:pt x="10404" y="2907"/>
                  </a:lnTo>
                  <a:lnTo>
                    <a:pt x="10407" y="2916"/>
                  </a:lnTo>
                  <a:close/>
                  <a:moveTo>
                    <a:pt x="10143" y="2916"/>
                  </a:moveTo>
                  <a:lnTo>
                    <a:pt x="10143" y="3028"/>
                  </a:lnTo>
                  <a:lnTo>
                    <a:pt x="10142" y="3037"/>
                  </a:lnTo>
                  <a:lnTo>
                    <a:pt x="10138" y="3043"/>
                  </a:lnTo>
                  <a:lnTo>
                    <a:pt x="10131" y="3047"/>
                  </a:lnTo>
                  <a:lnTo>
                    <a:pt x="10124" y="3048"/>
                  </a:lnTo>
                  <a:lnTo>
                    <a:pt x="10116" y="3047"/>
                  </a:lnTo>
                  <a:lnTo>
                    <a:pt x="10109" y="3043"/>
                  </a:lnTo>
                  <a:lnTo>
                    <a:pt x="10106" y="3037"/>
                  </a:lnTo>
                  <a:lnTo>
                    <a:pt x="10103" y="3028"/>
                  </a:lnTo>
                  <a:lnTo>
                    <a:pt x="10103" y="2916"/>
                  </a:lnTo>
                  <a:lnTo>
                    <a:pt x="10106" y="2907"/>
                  </a:lnTo>
                  <a:lnTo>
                    <a:pt x="10109" y="2901"/>
                  </a:lnTo>
                  <a:lnTo>
                    <a:pt x="10116" y="2897"/>
                  </a:lnTo>
                  <a:lnTo>
                    <a:pt x="10124" y="2896"/>
                  </a:lnTo>
                  <a:lnTo>
                    <a:pt x="10131" y="2897"/>
                  </a:lnTo>
                  <a:lnTo>
                    <a:pt x="10138" y="2901"/>
                  </a:lnTo>
                  <a:lnTo>
                    <a:pt x="10142" y="2907"/>
                  </a:lnTo>
                  <a:lnTo>
                    <a:pt x="10143" y="2916"/>
                  </a:lnTo>
                  <a:close/>
                  <a:moveTo>
                    <a:pt x="9880" y="2916"/>
                  </a:moveTo>
                  <a:lnTo>
                    <a:pt x="9880" y="3028"/>
                  </a:lnTo>
                  <a:lnTo>
                    <a:pt x="9879" y="3037"/>
                  </a:lnTo>
                  <a:lnTo>
                    <a:pt x="9874" y="3043"/>
                  </a:lnTo>
                  <a:lnTo>
                    <a:pt x="9867" y="3047"/>
                  </a:lnTo>
                  <a:lnTo>
                    <a:pt x="9861" y="3048"/>
                  </a:lnTo>
                  <a:lnTo>
                    <a:pt x="9853" y="3047"/>
                  </a:lnTo>
                  <a:lnTo>
                    <a:pt x="9847" y="3043"/>
                  </a:lnTo>
                  <a:lnTo>
                    <a:pt x="9841" y="3037"/>
                  </a:lnTo>
                  <a:lnTo>
                    <a:pt x="9840" y="3028"/>
                  </a:lnTo>
                  <a:lnTo>
                    <a:pt x="9840" y="2916"/>
                  </a:lnTo>
                  <a:lnTo>
                    <a:pt x="9841" y="2907"/>
                  </a:lnTo>
                  <a:lnTo>
                    <a:pt x="9847" y="2901"/>
                  </a:lnTo>
                  <a:lnTo>
                    <a:pt x="9853" y="2897"/>
                  </a:lnTo>
                  <a:lnTo>
                    <a:pt x="9861" y="2896"/>
                  </a:lnTo>
                  <a:lnTo>
                    <a:pt x="9867" y="2897"/>
                  </a:lnTo>
                  <a:lnTo>
                    <a:pt x="9874" y="2901"/>
                  </a:lnTo>
                  <a:lnTo>
                    <a:pt x="9879" y="2907"/>
                  </a:lnTo>
                  <a:lnTo>
                    <a:pt x="9880" y="2916"/>
                  </a:lnTo>
                  <a:close/>
                  <a:moveTo>
                    <a:pt x="9617" y="2916"/>
                  </a:moveTo>
                  <a:lnTo>
                    <a:pt x="9617" y="3028"/>
                  </a:lnTo>
                  <a:lnTo>
                    <a:pt x="9616" y="3037"/>
                  </a:lnTo>
                  <a:lnTo>
                    <a:pt x="9611" y="3043"/>
                  </a:lnTo>
                  <a:lnTo>
                    <a:pt x="9604" y="3047"/>
                  </a:lnTo>
                  <a:lnTo>
                    <a:pt x="9598" y="3048"/>
                  </a:lnTo>
                  <a:lnTo>
                    <a:pt x="9590" y="3047"/>
                  </a:lnTo>
                  <a:lnTo>
                    <a:pt x="9584" y="3043"/>
                  </a:lnTo>
                  <a:lnTo>
                    <a:pt x="9579" y="3037"/>
                  </a:lnTo>
                  <a:lnTo>
                    <a:pt x="9577" y="3028"/>
                  </a:lnTo>
                  <a:lnTo>
                    <a:pt x="9577" y="2916"/>
                  </a:lnTo>
                  <a:lnTo>
                    <a:pt x="9579" y="2907"/>
                  </a:lnTo>
                  <a:lnTo>
                    <a:pt x="9584" y="2901"/>
                  </a:lnTo>
                  <a:lnTo>
                    <a:pt x="9590" y="2897"/>
                  </a:lnTo>
                  <a:lnTo>
                    <a:pt x="9598" y="2896"/>
                  </a:lnTo>
                  <a:lnTo>
                    <a:pt x="9604" y="2897"/>
                  </a:lnTo>
                  <a:lnTo>
                    <a:pt x="9611" y="2901"/>
                  </a:lnTo>
                  <a:lnTo>
                    <a:pt x="9616" y="2907"/>
                  </a:lnTo>
                  <a:lnTo>
                    <a:pt x="9617" y="2916"/>
                  </a:lnTo>
                  <a:close/>
                  <a:moveTo>
                    <a:pt x="10933" y="2670"/>
                  </a:moveTo>
                  <a:lnTo>
                    <a:pt x="10933" y="2782"/>
                  </a:lnTo>
                  <a:lnTo>
                    <a:pt x="10931" y="2790"/>
                  </a:lnTo>
                  <a:lnTo>
                    <a:pt x="10926" y="2796"/>
                  </a:lnTo>
                  <a:lnTo>
                    <a:pt x="10920" y="2800"/>
                  </a:lnTo>
                  <a:lnTo>
                    <a:pt x="10912" y="2801"/>
                  </a:lnTo>
                  <a:lnTo>
                    <a:pt x="10906" y="2800"/>
                  </a:lnTo>
                  <a:lnTo>
                    <a:pt x="10899" y="2796"/>
                  </a:lnTo>
                  <a:lnTo>
                    <a:pt x="10894" y="2790"/>
                  </a:lnTo>
                  <a:lnTo>
                    <a:pt x="10893" y="2782"/>
                  </a:lnTo>
                  <a:lnTo>
                    <a:pt x="10893" y="2670"/>
                  </a:lnTo>
                  <a:lnTo>
                    <a:pt x="10894" y="2661"/>
                  </a:lnTo>
                  <a:lnTo>
                    <a:pt x="10899" y="2654"/>
                  </a:lnTo>
                  <a:lnTo>
                    <a:pt x="10906" y="2650"/>
                  </a:lnTo>
                  <a:lnTo>
                    <a:pt x="10912" y="2649"/>
                  </a:lnTo>
                  <a:lnTo>
                    <a:pt x="10920" y="2650"/>
                  </a:lnTo>
                  <a:lnTo>
                    <a:pt x="10926" y="2654"/>
                  </a:lnTo>
                  <a:lnTo>
                    <a:pt x="10931" y="2661"/>
                  </a:lnTo>
                  <a:lnTo>
                    <a:pt x="10933" y="2670"/>
                  </a:lnTo>
                  <a:close/>
                  <a:moveTo>
                    <a:pt x="10670" y="2670"/>
                  </a:moveTo>
                  <a:lnTo>
                    <a:pt x="10670" y="2782"/>
                  </a:lnTo>
                  <a:lnTo>
                    <a:pt x="10669" y="2790"/>
                  </a:lnTo>
                  <a:lnTo>
                    <a:pt x="10663" y="2796"/>
                  </a:lnTo>
                  <a:lnTo>
                    <a:pt x="10657" y="2800"/>
                  </a:lnTo>
                  <a:lnTo>
                    <a:pt x="10649" y="2801"/>
                  </a:lnTo>
                  <a:lnTo>
                    <a:pt x="10643" y="2800"/>
                  </a:lnTo>
                  <a:lnTo>
                    <a:pt x="10637" y="2796"/>
                  </a:lnTo>
                  <a:lnTo>
                    <a:pt x="10631" y="2790"/>
                  </a:lnTo>
                  <a:lnTo>
                    <a:pt x="10630" y="2782"/>
                  </a:lnTo>
                  <a:lnTo>
                    <a:pt x="10630" y="2670"/>
                  </a:lnTo>
                  <a:lnTo>
                    <a:pt x="10631" y="2661"/>
                  </a:lnTo>
                  <a:lnTo>
                    <a:pt x="10637" y="2654"/>
                  </a:lnTo>
                  <a:lnTo>
                    <a:pt x="10643" y="2650"/>
                  </a:lnTo>
                  <a:lnTo>
                    <a:pt x="10649" y="2649"/>
                  </a:lnTo>
                  <a:lnTo>
                    <a:pt x="10657" y="2650"/>
                  </a:lnTo>
                  <a:lnTo>
                    <a:pt x="10663" y="2654"/>
                  </a:lnTo>
                  <a:lnTo>
                    <a:pt x="10669" y="2661"/>
                  </a:lnTo>
                  <a:lnTo>
                    <a:pt x="10670" y="2670"/>
                  </a:lnTo>
                  <a:close/>
                  <a:moveTo>
                    <a:pt x="10407" y="2670"/>
                  </a:moveTo>
                  <a:lnTo>
                    <a:pt x="10407" y="2782"/>
                  </a:lnTo>
                  <a:lnTo>
                    <a:pt x="10404" y="2790"/>
                  </a:lnTo>
                  <a:lnTo>
                    <a:pt x="10401" y="2796"/>
                  </a:lnTo>
                  <a:lnTo>
                    <a:pt x="10394" y="2800"/>
                  </a:lnTo>
                  <a:lnTo>
                    <a:pt x="10386" y="2801"/>
                  </a:lnTo>
                  <a:lnTo>
                    <a:pt x="10379" y="2800"/>
                  </a:lnTo>
                  <a:lnTo>
                    <a:pt x="10372" y="2796"/>
                  </a:lnTo>
                  <a:lnTo>
                    <a:pt x="10369" y="2790"/>
                  </a:lnTo>
                  <a:lnTo>
                    <a:pt x="10366" y="2782"/>
                  </a:lnTo>
                  <a:lnTo>
                    <a:pt x="10366" y="2670"/>
                  </a:lnTo>
                  <a:lnTo>
                    <a:pt x="10369" y="2661"/>
                  </a:lnTo>
                  <a:lnTo>
                    <a:pt x="10372" y="2654"/>
                  </a:lnTo>
                  <a:lnTo>
                    <a:pt x="10379" y="2650"/>
                  </a:lnTo>
                  <a:lnTo>
                    <a:pt x="10386" y="2649"/>
                  </a:lnTo>
                  <a:lnTo>
                    <a:pt x="10394" y="2650"/>
                  </a:lnTo>
                  <a:lnTo>
                    <a:pt x="10401" y="2654"/>
                  </a:lnTo>
                  <a:lnTo>
                    <a:pt x="10404" y="2661"/>
                  </a:lnTo>
                  <a:lnTo>
                    <a:pt x="10407" y="2670"/>
                  </a:lnTo>
                  <a:close/>
                  <a:moveTo>
                    <a:pt x="10143" y="2670"/>
                  </a:moveTo>
                  <a:lnTo>
                    <a:pt x="10143" y="2782"/>
                  </a:lnTo>
                  <a:lnTo>
                    <a:pt x="10142" y="2790"/>
                  </a:lnTo>
                  <a:lnTo>
                    <a:pt x="10138" y="2796"/>
                  </a:lnTo>
                  <a:lnTo>
                    <a:pt x="10131" y="2800"/>
                  </a:lnTo>
                  <a:lnTo>
                    <a:pt x="10124" y="2801"/>
                  </a:lnTo>
                  <a:lnTo>
                    <a:pt x="10116" y="2800"/>
                  </a:lnTo>
                  <a:lnTo>
                    <a:pt x="10109" y="2796"/>
                  </a:lnTo>
                  <a:lnTo>
                    <a:pt x="10106" y="2790"/>
                  </a:lnTo>
                  <a:lnTo>
                    <a:pt x="10103" y="2782"/>
                  </a:lnTo>
                  <a:lnTo>
                    <a:pt x="10103" y="2670"/>
                  </a:lnTo>
                  <a:lnTo>
                    <a:pt x="10106" y="2661"/>
                  </a:lnTo>
                  <a:lnTo>
                    <a:pt x="10109" y="2654"/>
                  </a:lnTo>
                  <a:lnTo>
                    <a:pt x="10116" y="2650"/>
                  </a:lnTo>
                  <a:lnTo>
                    <a:pt x="10124" y="2649"/>
                  </a:lnTo>
                  <a:lnTo>
                    <a:pt x="10131" y="2650"/>
                  </a:lnTo>
                  <a:lnTo>
                    <a:pt x="10138" y="2654"/>
                  </a:lnTo>
                  <a:lnTo>
                    <a:pt x="10142" y="2661"/>
                  </a:lnTo>
                  <a:lnTo>
                    <a:pt x="10143" y="2670"/>
                  </a:lnTo>
                  <a:close/>
                  <a:moveTo>
                    <a:pt x="9880" y="2670"/>
                  </a:moveTo>
                  <a:lnTo>
                    <a:pt x="9880" y="2782"/>
                  </a:lnTo>
                  <a:lnTo>
                    <a:pt x="9879" y="2790"/>
                  </a:lnTo>
                  <a:lnTo>
                    <a:pt x="9874" y="2796"/>
                  </a:lnTo>
                  <a:lnTo>
                    <a:pt x="9867" y="2800"/>
                  </a:lnTo>
                  <a:lnTo>
                    <a:pt x="9861" y="2801"/>
                  </a:lnTo>
                  <a:lnTo>
                    <a:pt x="9853" y="2800"/>
                  </a:lnTo>
                  <a:lnTo>
                    <a:pt x="9847" y="2796"/>
                  </a:lnTo>
                  <a:lnTo>
                    <a:pt x="9841" y="2790"/>
                  </a:lnTo>
                  <a:lnTo>
                    <a:pt x="9840" y="2782"/>
                  </a:lnTo>
                  <a:lnTo>
                    <a:pt x="9840" y="2670"/>
                  </a:lnTo>
                  <a:lnTo>
                    <a:pt x="9841" y="2661"/>
                  </a:lnTo>
                  <a:lnTo>
                    <a:pt x="9847" y="2654"/>
                  </a:lnTo>
                  <a:lnTo>
                    <a:pt x="9853" y="2650"/>
                  </a:lnTo>
                  <a:lnTo>
                    <a:pt x="9861" y="2649"/>
                  </a:lnTo>
                  <a:lnTo>
                    <a:pt x="9867" y="2650"/>
                  </a:lnTo>
                  <a:lnTo>
                    <a:pt x="9874" y="2654"/>
                  </a:lnTo>
                  <a:lnTo>
                    <a:pt x="9879" y="2661"/>
                  </a:lnTo>
                  <a:lnTo>
                    <a:pt x="9880" y="2670"/>
                  </a:lnTo>
                  <a:close/>
                  <a:moveTo>
                    <a:pt x="9617" y="2670"/>
                  </a:moveTo>
                  <a:lnTo>
                    <a:pt x="9617" y="2782"/>
                  </a:lnTo>
                  <a:lnTo>
                    <a:pt x="9616" y="2790"/>
                  </a:lnTo>
                  <a:lnTo>
                    <a:pt x="9611" y="2796"/>
                  </a:lnTo>
                  <a:lnTo>
                    <a:pt x="9604" y="2800"/>
                  </a:lnTo>
                  <a:lnTo>
                    <a:pt x="9598" y="2801"/>
                  </a:lnTo>
                  <a:lnTo>
                    <a:pt x="9590" y="2800"/>
                  </a:lnTo>
                  <a:lnTo>
                    <a:pt x="9584" y="2796"/>
                  </a:lnTo>
                  <a:lnTo>
                    <a:pt x="9579" y="2790"/>
                  </a:lnTo>
                  <a:lnTo>
                    <a:pt x="9577" y="2782"/>
                  </a:lnTo>
                  <a:lnTo>
                    <a:pt x="9577" y="2670"/>
                  </a:lnTo>
                  <a:lnTo>
                    <a:pt x="9579" y="2661"/>
                  </a:lnTo>
                  <a:lnTo>
                    <a:pt x="9584" y="2654"/>
                  </a:lnTo>
                  <a:lnTo>
                    <a:pt x="9590" y="2650"/>
                  </a:lnTo>
                  <a:lnTo>
                    <a:pt x="9598" y="2649"/>
                  </a:lnTo>
                  <a:lnTo>
                    <a:pt x="9604" y="2650"/>
                  </a:lnTo>
                  <a:lnTo>
                    <a:pt x="9611" y="2654"/>
                  </a:lnTo>
                  <a:lnTo>
                    <a:pt x="9616" y="2661"/>
                  </a:lnTo>
                  <a:lnTo>
                    <a:pt x="9617" y="2670"/>
                  </a:lnTo>
                  <a:close/>
                  <a:moveTo>
                    <a:pt x="13776" y="2113"/>
                  </a:moveTo>
                  <a:lnTo>
                    <a:pt x="13776" y="2226"/>
                  </a:lnTo>
                  <a:lnTo>
                    <a:pt x="13774" y="2235"/>
                  </a:lnTo>
                  <a:lnTo>
                    <a:pt x="13769" y="2241"/>
                  </a:lnTo>
                  <a:lnTo>
                    <a:pt x="13763" y="2245"/>
                  </a:lnTo>
                  <a:lnTo>
                    <a:pt x="13756" y="2246"/>
                  </a:lnTo>
                  <a:lnTo>
                    <a:pt x="13749" y="2245"/>
                  </a:lnTo>
                  <a:lnTo>
                    <a:pt x="13742" y="2241"/>
                  </a:lnTo>
                  <a:lnTo>
                    <a:pt x="13737" y="2235"/>
                  </a:lnTo>
                  <a:lnTo>
                    <a:pt x="13736" y="2226"/>
                  </a:lnTo>
                  <a:lnTo>
                    <a:pt x="13736" y="2113"/>
                  </a:lnTo>
                  <a:lnTo>
                    <a:pt x="13737" y="2106"/>
                  </a:lnTo>
                  <a:lnTo>
                    <a:pt x="13742" y="2099"/>
                  </a:lnTo>
                  <a:lnTo>
                    <a:pt x="13749" y="2095"/>
                  </a:lnTo>
                  <a:lnTo>
                    <a:pt x="13756" y="2094"/>
                  </a:lnTo>
                  <a:lnTo>
                    <a:pt x="13763" y="2095"/>
                  </a:lnTo>
                  <a:lnTo>
                    <a:pt x="13769" y="2099"/>
                  </a:lnTo>
                  <a:lnTo>
                    <a:pt x="13774" y="2106"/>
                  </a:lnTo>
                  <a:lnTo>
                    <a:pt x="13776" y="2113"/>
                  </a:lnTo>
                  <a:close/>
                  <a:moveTo>
                    <a:pt x="13513" y="2113"/>
                  </a:moveTo>
                  <a:lnTo>
                    <a:pt x="13513" y="2226"/>
                  </a:lnTo>
                  <a:lnTo>
                    <a:pt x="13511" y="2235"/>
                  </a:lnTo>
                  <a:lnTo>
                    <a:pt x="13506" y="2241"/>
                  </a:lnTo>
                  <a:lnTo>
                    <a:pt x="13500" y="2245"/>
                  </a:lnTo>
                  <a:lnTo>
                    <a:pt x="13492" y="2246"/>
                  </a:lnTo>
                  <a:lnTo>
                    <a:pt x="13486" y="2245"/>
                  </a:lnTo>
                  <a:lnTo>
                    <a:pt x="13479" y="2241"/>
                  </a:lnTo>
                  <a:lnTo>
                    <a:pt x="13474" y="2235"/>
                  </a:lnTo>
                  <a:lnTo>
                    <a:pt x="13473" y="2226"/>
                  </a:lnTo>
                  <a:lnTo>
                    <a:pt x="13473" y="2113"/>
                  </a:lnTo>
                  <a:lnTo>
                    <a:pt x="13474" y="2106"/>
                  </a:lnTo>
                  <a:lnTo>
                    <a:pt x="13479" y="2099"/>
                  </a:lnTo>
                  <a:lnTo>
                    <a:pt x="13486" y="2095"/>
                  </a:lnTo>
                  <a:lnTo>
                    <a:pt x="13492" y="2094"/>
                  </a:lnTo>
                  <a:lnTo>
                    <a:pt x="13500" y="2095"/>
                  </a:lnTo>
                  <a:lnTo>
                    <a:pt x="13506" y="2099"/>
                  </a:lnTo>
                  <a:lnTo>
                    <a:pt x="13511" y="2106"/>
                  </a:lnTo>
                  <a:lnTo>
                    <a:pt x="13513" y="2113"/>
                  </a:lnTo>
                  <a:close/>
                  <a:moveTo>
                    <a:pt x="13250" y="2113"/>
                  </a:moveTo>
                  <a:lnTo>
                    <a:pt x="13250" y="2226"/>
                  </a:lnTo>
                  <a:lnTo>
                    <a:pt x="13247" y="2235"/>
                  </a:lnTo>
                  <a:lnTo>
                    <a:pt x="13243" y="2241"/>
                  </a:lnTo>
                  <a:lnTo>
                    <a:pt x="13237" y="2245"/>
                  </a:lnTo>
                  <a:lnTo>
                    <a:pt x="13229" y="2246"/>
                  </a:lnTo>
                  <a:lnTo>
                    <a:pt x="13222" y="2245"/>
                  </a:lnTo>
                  <a:lnTo>
                    <a:pt x="13215" y="2241"/>
                  </a:lnTo>
                  <a:lnTo>
                    <a:pt x="13211" y="2235"/>
                  </a:lnTo>
                  <a:lnTo>
                    <a:pt x="13210" y="2226"/>
                  </a:lnTo>
                  <a:lnTo>
                    <a:pt x="13210" y="2113"/>
                  </a:lnTo>
                  <a:lnTo>
                    <a:pt x="13211" y="2106"/>
                  </a:lnTo>
                  <a:lnTo>
                    <a:pt x="13215" y="2099"/>
                  </a:lnTo>
                  <a:lnTo>
                    <a:pt x="13222" y="2095"/>
                  </a:lnTo>
                  <a:lnTo>
                    <a:pt x="13229" y="2094"/>
                  </a:lnTo>
                  <a:lnTo>
                    <a:pt x="13237" y="2095"/>
                  </a:lnTo>
                  <a:lnTo>
                    <a:pt x="13243" y="2099"/>
                  </a:lnTo>
                  <a:lnTo>
                    <a:pt x="13247" y="2106"/>
                  </a:lnTo>
                  <a:lnTo>
                    <a:pt x="13250" y="2113"/>
                  </a:lnTo>
                  <a:close/>
                  <a:moveTo>
                    <a:pt x="12987" y="2113"/>
                  </a:moveTo>
                  <a:lnTo>
                    <a:pt x="12987" y="2226"/>
                  </a:lnTo>
                  <a:lnTo>
                    <a:pt x="12984" y="2235"/>
                  </a:lnTo>
                  <a:lnTo>
                    <a:pt x="12981" y="2241"/>
                  </a:lnTo>
                  <a:lnTo>
                    <a:pt x="12974" y="2245"/>
                  </a:lnTo>
                  <a:lnTo>
                    <a:pt x="12966" y="2246"/>
                  </a:lnTo>
                  <a:lnTo>
                    <a:pt x="12959" y="2245"/>
                  </a:lnTo>
                  <a:lnTo>
                    <a:pt x="12952" y="2241"/>
                  </a:lnTo>
                  <a:lnTo>
                    <a:pt x="12948" y="2235"/>
                  </a:lnTo>
                  <a:lnTo>
                    <a:pt x="12946" y="2226"/>
                  </a:lnTo>
                  <a:lnTo>
                    <a:pt x="12946" y="2113"/>
                  </a:lnTo>
                  <a:lnTo>
                    <a:pt x="12948" y="2106"/>
                  </a:lnTo>
                  <a:lnTo>
                    <a:pt x="12952" y="2099"/>
                  </a:lnTo>
                  <a:lnTo>
                    <a:pt x="12959" y="2095"/>
                  </a:lnTo>
                  <a:lnTo>
                    <a:pt x="12966" y="2094"/>
                  </a:lnTo>
                  <a:lnTo>
                    <a:pt x="12974" y="2095"/>
                  </a:lnTo>
                  <a:lnTo>
                    <a:pt x="12981" y="2099"/>
                  </a:lnTo>
                  <a:lnTo>
                    <a:pt x="12984" y="2106"/>
                  </a:lnTo>
                  <a:lnTo>
                    <a:pt x="12987" y="2113"/>
                  </a:lnTo>
                  <a:close/>
                  <a:moveTo>
                    <a:pt x="13776" y="1879"/>
                  </a:moveTo>
                  <a:lnTo>
                    <a:pt x="13776" y="1992"/>
                  </a:lnTo>
                  <a:lnTo>
                    <a:pt x="13774" y="2001"/>
                  </a:lnTo>
                  <a:lnTo>
                    <a:pt x="13769" y="2007"/>
                  </a:lnTo>
                  <a:lnTo>
                    <a:pt x="13763" y="2011"/>
                  </a:lnTo>
                  <a:lnTo>
                    <a:pt x="13756" y="2012"/>
                  </a:lnTo>
                  <a:lnTo>
                    <a:pt x="13749" y="2011"/>
                  </a:lnTo>
                  <a:lnTo>
                    <a:pt x="13742" y="2007"/>
                  </a:lnTo>
                  <a:lnTo>
                    <a:pt x="13737" y="2001"/>
                  </a:lnTo>
                  <a:lnTo>
                    <a:pt x="13736" y="1992"/>
                  </a:lnTo>
                  <a:lnTo>
                    <a:pt x="13736" y="1879"/>
                  </a:lnTo>
                  <a:lnTo>
                    <a:pt x="13737" y="1872"/>
                  </a:lnTo>
                  <a:lnTo>
                    <a:pt x="13742" y="1865"/>
                  </a:lnTo>
                  <a:lnTo>
                    <a:pt x="13749" y="1861"/>
                  </a:lnTo>
                  <a:lnTo>
                    <a:pt x="13756" y="1860"/>
                  </a:lnTo>
                  <a:lnTo>
                    <a:pt x="13763" y="1861"/>
                  </a:lnTo>
                  <a:lnTo>
                    <a:pt x="13769" y="1865"/>
                  </a:lnTo>
                  <a:lnTo>
                    <a:pt x="13774" y="1872"/>
                  </a:lnTo>
                  <a:lnTo>
                    <a:pt x="13776" y="1879"/>
                  </a:lnTo>
                  <a:close/>
                  <a:moveTo>
                    <a:pt x="13513" y="1879"/>
                  </a:moveTo>
                  <a:lnTo>
                    <a:pt x="13513" y="1992"/>
                  </a:lnTo>
                  <a:lnTo>
                    <a:pt x="13511" y="2001"/>
                  </a:lnTo>
                  <a:lnTo>
                    <a:pt x="13506" y="2007"/>
                  </a:lnTo>
                  <a:lnTo>
                    <a:pt x="13500" y="2011"/>
                  </a:lnTo>
                  <a:lnTo>
                    <a:pt x="13492" y="2012"/>
                  </a:lnTo>
                  <a:lnTo>
                    <a:pt x="13486" y="2011"/>
                  </a:lnTo>
                  <a:lnTo>
                    <a:pt x="13479" y="2007"/>
                  </a:lnTo>
                  <a:lnTo>
                    <a:pt x="13474" y="2001"/>
                  </a:lnTo>
                  <a:lnTo>
                    <a:pt x="13473" y="1992"/>
                  </a:lnTo>
                  <a:lnTo>
                    <a:pt x="13473" y="1879"/>
                  </a:lnTo>
                  <a:lnTo>
                    <a:pt x="13474" y="1872"/>
                  </a:lnTo>
                  <a:lnTo>
                    <a:pt x="13479" y="1865"/>
                  </a:lnTo>
                  <a:lnTo>
                    <a:pt x="13486" y="1861"/>
                  </a:lnTo>
                  <a:lnTo>
                    <a:pt x="13492" y="1860"/>
                  </a:lnTo>
                  <a:lnTo>
                    <a:pt x="13500" y="1861"/>
                  </a:lnTo>
                  <a:lnTo>
                    <a:pt x="13506" y="1865"/>
                  </a:lnTo>
                  <a:lnTo>
                    <a:pt x="13511" y="1872"/>
                  </a:lnTo>
                  <a:lnTo>
                    <a:pt x="13513" y="1879"/>
                  </a:lnTo>
                  <a:close/>
                  <a:moveTo>
                    <a:pt x="13250" y="1879"/>
                  </a:moveTo>
                  <a:lnTo>
                    <a:pt x="13250" y="1992"/>
                  </a:lnTo>
                  <a:lnTo>
                    <a:pt x="13247" y="2001"/>
                  </a:lnTo>
                  <a:lnTo>
                    <a:pt x="13243" y="2007"/>
                  </a:lnTo>
                  <a:lnTo>
                    <a:pt x="13237" y="2011"/>
                  </a:lnTo>
                  <a:lnTo>
                    <a:pt x="13229" y="2012"/>
                  </a:lnTo>
                  <a:lnTo>
                    <a:pt x="13222" y="2011"/>
                  </a:lnTo>
                  <a:lnTo>
                    <a:pt x="13215" y="2007"/>
                  </a:lnTo>
                  <a:lnTo>
                    <a:pt x="13211" y="2001"/>
                  </a:lnTo>
                  <a:lnTo>
                    <a:pt x="13210" y="1992"/>
                  </a:lnTo>
                  <a:lnTo>
                    <a:pt x="13210" y="1879"/>
                  </a:lnTo>
                  <a:lnTo>
                    <a:pt x="13211" y="1872"/>
                  </a:lnTo>
                  <a:lnTo>
                    <a:pt x="13215" y="1865"/>
                  </a:lnTo>
                  <a:lnTo>
                    <a:pt x="13222" y="1861"/>
                  </a:lnTo>
                  <a:lnTo>
                    <a:pt x="13229" y="1860"/>
                  </a:lnTo>
                  <a:lnTo>
                    <a:pt x="13237" y="1861"/>
                  </a:lnTo>
                  <a:lnTo>
                    <a:pt x="13243" y="1865"/>
                  </a:lnTo>
                  <a:lnTo>
                    <a:pt x="13247" y="1872"/>
                  </a:lnTo>
                  <a:lnTo>
                    <a:pt x="13250" y="1879"/>
                  </a:lnTo>
                  <a:close/>
                  <a:moveTo>
                    <a:pt x="12987" y="1879"/>
                  </a:moveTo>
                  <a:lnTo>
                    <a:pt x="12987" y="1992"/>
                  </a:lnTo>
                  <a:lnTo>
                    <a:pt x="12984" y="2001"/>
                  </a:lnTo>
                  <a:lnTo>
                    <a:pt x="12981" y="2007"/>
                  </a:lnTo>
                  <a:lnTo>
                    <a:pt x="12974" y="2011"/>
                  </a:lnTo>
                  <a:lnTo>
                    <a:pt x="12966" y="2012"/>
                  </a:lnTo>
                  <a:lnTo>
                    <a:pt x="12959" y="2011"/>
                  </a:lnTo>
                  <a:lnTo>
                    <a:pt x="12952" y="2007"/>
                  </a:lnTo>
                  <a:lnTo>
                    <a:pt x="12948" y="2001"/>
                  </a:lnTo>
                  <a:lnTo>
                    <a:pt x="12946" y="1992"/>
                  </a:lnTo>
                  <a:lnTo>
                    <a:pt x="12946" y="1879"/>
                  </a:lnTo>
                  <a:lnTo>
                    <a:pt x="12948" y="1872"/>
                  </a:lnTo>
                  <a:lnTo>
                    <a:pt x="12952" y="1865"/>
                  </a:lnTo>
                  <a:lnTo>
                    <a:pt x="12959" y="1861"/>
                  </a:lnTo>
                  <a:lnTo>
                    <a:pt x="12966" y="1860"/>
                  </a:lnTo>
                  <a:lnTo>
                    <a:pt x="12974" y="1861"/>
                  </a:lnTo>
                  <a:lnTo>
                    <a:pt x="12981" y="1865"/>
                  </a:lnTo>
                  <a:lnTo>
                    <a:pt x="12984" y="1872"/>
                  </a:lnTo>
                  <a:lnTo>
                    <a:pt x="12987" y="1879"/>
                  </a:lnTo>
                  <a:close/>
                  <a:moveTo>
                    <a:pt x="13776" y="1645"/>
                  </a:moveTo>
                  <a:lnTo>
                    <a:pt x="13776" y="1758"/>
                  </a:lnTo>
                  <a:lnTo>
                    <a:pt x="13774" y="1767"/>
                  </a:lnTo>
                  <a:lnTo>
                    <a:pt x="13769" y="1773"/>
                  </a:lnTo>
                  <a:lnTo>
                    <a:pt x="13763" y="1777"/>
                  </a:lnTo>
                  <a:lnTo>
                    <a:pt x="13756" y="1778"/>
                  </a:lnTo>
                  <a:lnTo>
                    <a:pt x="13749" y="1777"/>
                  </a:lnTo>
                  <a:lnTo>
                    <a:pt x="13742" y="1773"/>
                  </a:lnTo>
                  <a:lnTo>
                    <a:pt x="13737" y="1767"/>
                  </a:lnTo>
                  <a:lnTo>
                    <a:pt x="13736" y="1758"/>
                  </a:lnTo>
                  <a:lnTo>
                    <a:pt x="13736" y="1645"/>
                  </a:lnTo>
                  <a:lnTo>
                    <a:pt x="13737" y="1636"/>
                  </a:lnTo>
                  <a:lnTo>
                    <a:pt x="13742" y="1631"/>
                  </a:lnTo>
                  <a:lnTo>
                    <a:pt x="13749" y="1627"/>
                  </a:lnTo>
                  <a:lnTo>
                    <a:pt x="13756" y="1626"/>
                  </a:lnTo>
                  <a:lnTo>
                    <a:pt x="13763" y="1627"/>
                  </a:lnTo>
                  <a:lnTo>
                    <a:pt x="13769" y="1631"/>
                  </a:lnTo>
                  <a:lnTo>
                    <a:pt x="13774" y="1636"/>
                  </a:lnTo>
                  <a:lnTo>
                    <a:pt x="13776" y="1645"/>
                  </a:lnTo>
                  <a:close/>
                  <a:moveTo>
                    <a:pt x="13513" y="1645"/>
                  </a:moveTo>
                  <a:lnTo>
                    <a:pt x="13513" y="1758"/>
                  </a:lnTo>
                  <a:lnTo>
                    <a:pt x="13511" y="1767"/>
                  </a:lnTo>
                  <a:lnTo>
                    <a:pt x="13506" y="1773"/>
                  </a:lnTo>
                  <a:lnTo>
                    <a:pt x="13500" y="1777"/>
                  </a:lnTo>
                  <a:lnTo>
                    <a:pt x="13492" y="1778"/>
                  </a:lnTo>
                  <a:lnTo>
                    <a:pt x="13486" y="1777"/>
                  </a:lnTo>
                  <a:lnTo>
                    <a:pt x="13479" y="1773"/>
                  </a:lnTo>
                  <a:lnTo>
                    <a:pt x="13474" y="1767"/>
                  </a:lnTo>
                  <a:lnTo>
                    <a:pt x="13473" y="1758"/>
                  </a:lnTo>
                  <a:lnTo>
                    <a:pt x="13473" y="1645"/>
                  </a:lnTo>
                  <a:lnTo>
                    <a:pt x="13474" y="1636"/>
                  </a:lnTo>
                  <a:lnTo>
                    <a:pt x="13479" y="1631"/>
                  </a:lnTo>
                  <a:lnTo>
                    <a:pt x="13486" y="1627"/>
                  </a:lnTo>
                  <a:lnTo>
                    <a:pt x="13492" y="1626"/>
                  </a:lnTo>
                  <a:lnTo>
                    <a:pt x="13500" y="1627"/>
                  </a:lnTo>
                  <a:lnTo>
                    <a:pt x="13506" y="1631"/>
                  </a:lnTo>
                  <a:lnTo>
                    <a:pt x="13511" y="1636"/>
                  </a:lnTo>
                  <a:lnTo>
                    <a:pt x="13513" y="1645"/>
                  </a:lnTo>
                  <a:close/>
                  <a:moveTo>
                    <a:pt x="13250" y="1645"/>
                  </a:moveTo>
                  <a:lnTo>
                    <a:pt x="13250" y="1758"/>
                  </a:lnTo>
                  <a:lnTo>
                    <a:pt x="13247" y="1767"/>
                  </a:lnTo>
                  <a:lnTo>
                    <a:pt x="13243" y="1773"/>
                  </a:lnTo>
                  <a:lnTo>
                    <a:pt x="13237" y="1777"/>
                  </a:lnTo>
                  <a:lnTo>
                    <a:pt x="13229" y="1778"/>
                  </a:lnTo>
                  <a:lnTo>
                    <a:pt x="13222" y="1777"/>
                  </a:lnTo>
                  <a:lnTo>
                    <a:pt x="13215" y="1773"/>
                  </a:lnTo>
                  <a:lnTo>
                    <a:pt x="13211" y="1767"/>
                  </a:lnTo>
                  <a:lnTo>
                    <a:pt x="13210" y="1758"/>
                  </a:lnTo>
                  <a:lnTo>
                    <a:pt x="13210" y="1645"/>
                  </a:lnTo>
                  <a:lnTo>
                    <a:pt x="13211" y="1636"/>
                  </a:lnTo>
                  <a:lnTo>
                    <a:pt x="13215" y="1631"/>
                  </a:lnTo>
                  <a:lnTo>
                    <a:pt x="13222" y="1627"/>
                  </a:lnTo>
                  <a:lnTo>
                    <a:pt x="13229" y="1626"/>
                  </a:lnTo>
                  <a:lnTo>
                    <a:pt x="13237" y="1627"/>
                  </a:lnTo>
                  <a:lnTo>
                    <a:pt x="13243" y="1631"/>
                  </a:lnTo>
                  <a:lnTo>
                    <a:pt x="13247" y="1636"/>
                  </a:lnTo>
                  <a:lnTo>
                    <a:pt x="13250" y="1645"/>
                  </a:lnTo>
                  <a:close/>
                  <a:moveTo>
                    <a:pt x="12987" y="1645"/>
                  </a:moveTo>
                  <a:lnTo>
                    <a:pt x="12987" y="1758"/>
                  </a:lnTo>
                  <a:lnTo>
                    <a:pt x="12984" y="1767"/>
                  </a:lnTo>
                  <a:lnTo>
                    <a:pt x="12981" y="1773"/>
                  </a:lnTo>
                  <a:lnTo>
                    <a:pt x="12974" y="1777"/>
                  </a:lnTo>
                  <a:lnTo>
                    <a:pt x="12966" y="1778"/>
                  </a:lnTo>
                  <a:lnTo>
                    <a:pt x="12959" y="1777"/>
                  </a:lnTo>
                  <a:lnTo>
                    <a:pt x="12952" y="1773"/>
                  </a:lnTo>
                  <a:lnTo>
                    <a:pt x="12948" y="1767"/>
                  </a:lnTo>
                  <a:lnTo>
                    <a:pt x="12946" y="1758"/>
                  </a:lnTo>
                  <a:lnTo>
                    <a:pt x="12946" y="1645"/>
                  </a:lnTo>
                  <a:lnTo>
                    <a:pt x="12948" y="1636"/>
                  </a:lnTo>
                  <a:lnTo>
                    <a:pt x="12952" y="1631"/>
                  </a:lnTo>
                  <a:lnTo>
                    <a:pt x="12959" y="1627"/>
                  </a:lnTo>
                  <a:lnTo>
                    <a:pt x="12966" y="1626"/>
                  </a:lnTo>
                  <a:lnTo>
                    <a:pt x="12974" y="1627"/>
                  </a:lnTo>
                  <a:lnTo>
                    <a:pt x="12981" y="1631"/>
                  </a:lnTo>
                  <a:lnTo>
                    <a:pt x="12984" y="1636"/>
                  </a:lnTo>
                  <a:lnTo>
                    <a:pt x="12987" y="1645"/>
                  </a:lnTo>
                  <a:close/>
                  <a:moveTo>
                    <a:pt x="13776" y="1411"/>
                  </a:moveTo>
                  <a:lnTo>
                    <a:pt x="13776" y="1524"/>
                  </a:lnTo>
                  <a:lnTo>
                    <a:pt x="13774" y="1533"/>
                  </a:lnTo>
                  <a:lnTo>
                    <a:pt x="13769" y="1539"/>
                  </a:lnTo>
                  <a:lnTo>
                    <a:pt x="13763" y="1543"/>
                  </a:lnTo>
                  <a:lnTo>
                    <a:pt x="13756" y="1544"/>
                  </a:lnTo>
                  <a:lnTo>
                    <a:pt x="13749" y="1543"/>
                  </a:lnTo>
                  <a:lnTo>
                    <a:pt x="13742" y="1539"/>
                  </a:lnTo>
                  <a:lnTo>
                    <a:pt x="13737" y="1533"/>
                  </a:lnTo>
                  <a:lnTo>
                    <a:pt x="13736" y="1524"/>
                  </a:lnTo>
                  <a:lnTo>
                    <a:pt x="13736" y="1411"/>
                  </a:lnTo>
                  <a:lnTo>
                    <a:pt x="13737" y="1402"/>
                  </a:lnTo>
                  <a:lnTo>
                    <a:pt x="13742" y="1397"/>
                  </a:lnTo>
                  <a:lnTo>
                    <a:pt x="13749" y="1393"/>
                  </a:lnTo>
                  <a:lnTo>
                    <a:pt x="13756" y="1392"/>
                  </a:lnTo>
                  <a:lnTo>
                    <a:pt x="13763" y="1393"/>
                  </a:lnTo>
                  <a:lnTo>
                    <a:pt x="13769" y="1397"/>
                  </a:lnTo>
                  <a:lnTo>
                    <a:pt x="13774" y="1402"/>
                  </a:lnTo>
                  <a:lnTo>
                    <a:pt x="13776" y="1411"/>
                  </a:lnTo>
                  <a:close/>
                  <a:moveTo>
                    <a:pt x="13513" y="1411"/>
                  </a:moveTo>
                  <a:lnTo>
                    <a:pt x="13513" y="1524"/>
                  </a:lnTo>
                  <a:lnTo>
                    <a:pt x="13511" y="1533"/>
                  </a:lnTo>
                  <a:lnTo>
                    <a:pt x="13506" y="1539"/>
                  </a:lnTo>
                  <a:lnTo>
                    <a:pt x="13500" y="1543"/>
                  </a:lnTo>
                  <a:lnTo>
                    <a:pt x="13492" y="1544"/>
                  </a:lnTo>
                  <a:lnTo>
                    <a:pt x="13486" y="1543"/>
                  </a:lnTo>
                  <a:lnTo>
                    <a:pt x="13479" y="1539"/>
                  </a:lnTo>
                  <a:lnTo>
                    <a:pt x="13474" y="1533"/>
                  </a:lnTo>
                  <a:lnTo>
                    <a:pt x="13473" y="1524"/>
                  </a:lnTo>
                  <a:lnTo>
                    <a:pt x="13473" y="1411"/>
                  </a:lnTo>
                  <a:lnTo>
                    <a:pt x="13474" y="1402"/>
                  </a:lnTo>
                  <a:lnTo>
                    <a:pt x="13479" y="1397"/>
                  </a:lnTo>
                  <a:lnTo>
                    <a:pt x="13486" y="1393"/>
                  </a:lnTo>
                  <a:lnTo>
                    <a:pt x="13492" y="1392"/>
                  </a:lnTo>
                  <a:lnTo>
                    <a:pt x="13500" y="1393"/>
                  </a:lnTo>
                  <a:lnTo>
                    <a:pt x="13506" y="1397"/>
                  </a:lnTo>
                  <a:lnTo>
                    <a:pt x="13511" y="1402"/>
                  </a:lnTo>
                  <a:lnTo>
                    <a:pt x="13513" y="1411"/>
                  </a:lnTo>
                  <a:close/>
                  <a:moveTo>
                    <a:pt x="13250" y="1411"/>
                  </a:moveTo>
                  <a:lnTo>
                    <a:pt x="13250" y="1524"/>
                  </a:lnTo>
                  <a:lnTo>
                    <a:pt x="13247" y="1533"/>
                  </a:lnTo>
                  <a:lnTo>
                    <a:pt x="13243" y="1539"/>
                  </a:lnTo>
                  <a:lnTo>
                    <a:pt x="13237" y="1543"/>
                  </a:lnTo>
                  <a:lnTo>
                    <a:pt x="13229" y="1544"/>
                  </a:lnTo>
                  <a:lnTo>
                    <a:pt x="13222" y="1543"/>
                  </a:lnTo>
                  <a:lnTo>
                    <a:pt x="13215" y="1539"/>
                  </a:lnTo>
                  <a:lnTo>
                    <a:pt x="13211" y="1533"/>
                  </a:lnTo>
                  <a:lnTo>
                    <a:pt x="13210" y="1524"/>
                  </a:lnTo>
                  <a:lnTo>
                    <a:pt x="13210" y="1411"/>
                  </a:lnTo>
                  <a:lnTo>
                    <a:pt x="13211" y="1402"/>
                  </a:lnTo>
                  <a:lnTo>
                    <a:pt x="13215" y="1397"/>
                  </a:lnTo>
                  <a:lnTo>
                    <a:pt x="13222" y="1393"/>
                  </a:lnTo>
                  <a:lnTo>
                    <a:pt x="13229" y="1392"/>
                  </a:lnTo>
                  <a:lnTo>
                    <a:pt x="13237" y="1393"/>
                  </a:lnTo>
                  <a:lnTo>
                    <a:pt x="13243" y="1397"/>
                  </a:lnTo>
                  <a:lnTo>
                    <a:pt x="13247" y="1402"/>
                  </a:lnTo>
                  <a:lnTo>
                    <a:pt x="13250" y="1411"/>
                  </a:lnTo>
                  <a:close/>
                  <a:moveTo>
                    <a:pt x="12987" y="1411"/>
                  </a:moveTo>
                  <a:lnTo>
                    <a:pt x="12987" y="1524"/>
                  </a:lnTo>
                  <a:lnTo>
                    <a:pt x="12984" y="1533"/>
                  </a:lnTo>
                  <a:lnTo>
                    <a:pt x="12981" y="1539"/>
                  </a:lnTo>
                  <a:lnTo>
                    <a:pt x="12974" y="1543"/>
                  </a:lnTo>
                  <a:lnTo>
                    <a:pt x="12966" y="1544"/>
                  </a:lnTo>
                  <a:lnTo>
                    <a:pt x="12959" y="1543"/>
                  </a:lnTo>
                  <a:lnTo>
                    <a:pt x="12952" y="1539"/>
                  </a:lnTo>
                  <a:lnTo>
                    <a:pt x="12948" y="1533"/>
                  </a:lnTo>
                  <a:lnTo>
                    <a:pt x="12946" y="1524"/>
                  </a:lnTo>
                  <a:lnTo>
                    <a:pt x="12946" y="1411"/>
                  </a:lnTo>
                  <a:lnTo>
                    <a:pt x="12948" y="1402"/>
                  </a:lnTo>
                  <a:lnTo>
                    <a:pt x="12952" y="1397"/>
                  </a:lnTo>
                  <a:lnTo>
                    <a:pt x="12959" y="1393"/>
                  </a:lnTo>
                  <a:lnTo>
                    <a:pt x="12966" y="1392"/>
                  </a:lnTo>
                  <a:lnTo>
                    <a:pt x="12974" y="1393"/>
                  </a:lnTo>
                  <a:lnTo>
                    <a:pt x="12981" y="1397"/>
                  </a:lnTo>
                  <a:lnTo>
                    <a:pt x="12984" y="1402"/>
                  </a:lnTo>
                  <a:lnTo>
                    <a:pt x="12987" y="1411"/>
                  </a:lnTo>
                  <a:close/>
                  <a:moveTo>
                    <a:pt x="13776" y="1177"/>
                  </a:moveTo>
                  <a:lnTo>
                    <a:pt x="13776" y="1290"/>
                  </a:lnTo>
                  <a:lnTo>
                    <a:pt x="13774" y="1299"/>
                  </a:lnTo>
                  <a:lnTo>
                    <a:pt x="13769" y="1305"/>
                  </a:lnTo>
                  <a:lnTo>
                    <a:pt x="13763" y="1309"/>
                  </a:lnTo>
                  <a:lnTo>
                    <a:pt x="13756" y="1309"/>
                  </a:lnTo>
                  <a:lnTo>
                    <a:pt x="13749" y="1309"/>
                  </a:lnTo>
                  <a:lnTo>
                    <a:pt x="13742" y="1305"/>
                  </a:lnTo>
                  <a:lnTo>
                    <a:pt x="13737" y="1299"/>
                  </a:lnTo>
                  <a:lnTo>
                    <a:pt x="13736" y="1290"/>
                  </a:lnTo>
                  <a:lnTo>
                    <a:pt x="13736" y="1177"/>
                  </a:lnTo>
                  <a:lnTo>
                    <a:pt x="13737" y="1168"/>
                  </a:lnTo>
                  <a:lnTo>
                    <a:pt x="13742" y="1163"/>
                  </a:lnTo>
                  <a:lnTo>
                    <a:pt x="13749" y="1159"/>
                  </a:lnTo>
                  <a:lnTo>
                    <a:pt x="13756" y="1158"/>
                  </a:lnTo>
                  <a:lnTo>
                    <a:pt x="13763" y="1159"/>
                  </a:lnTo>
                  <a:lnTo>
                    <a:pt x="13769" y="1163"/>
                  </a:lnTo>
                  <a:lnTo>
                    <a:pt x="13774" y="1168"/>
                  </a:lnTo>
                  <a:lnTo>
                    <a:pt x="13776" y="1177"/>
                  </a:lnTo>
                  <a:close/>
                  <a:moveTo>
                    <a:pt x="13513" y="1177"/>
                  </a:moveTo>
                  <a:lnTo>
                    <a:pt x="13513" y="1290"/>
                  </a:lnTo>
                  <a:lnTo>
                    <a:pt x="13511" y="1299"/>
                  </a:lnTo>
                  <a:lnTo>
                    <a:pt x="13506" y="1305"/>
                  </a:lnTo>
                  <a:lnTo>
                    <a:pt x="13500" y="1309"/>
                  </a:lnTo>
                  <a:lnTo>
                    <a:pt x="13492" y="1309"/>
                  </a:lnTo>
                  <a:lnTo>
                    <a:pt x="13486" y="1309"/>
                  </a:lnTo>
                  <a:lnTo>
                    <a:pt x="13479" y="1305"/>
                  </a:lnTo>
                  <a:lnTo>
                    <a:pt x="13474" y="1299"/>
                  </a:lnTo>
                  <a:lnTo>
                    <a:pt x="13473" y="1290"/>
                  </a:lnTo>
                  <a:lnTo>
                    <a:pt x="13473" y="1177"/>
                  </a:lnTo>
                  <a:lnTo>
                    <a:pt x="13474" y="1168"/>
                  </a:lnTo>
                  <a:lnTo>
                    <a:pt x="13479" y="1163"/>
                  </a:lnTo>
                  <a:lnTo>
                    <a:pt x="13486" y="1159"/>
                  </a:lnTo>
                  <a:lnTo>
                    <a:pt x="13492" y="1158"/>
                  </a:lnTo>
                  <a:lnTo>
                    <a:pt x="13500" y="1159"/>
                  </a:lnTo>
                  <a:lnTo>
                    <a:pt x="13506" y="1163"/>
                  </a:lnTo>
                  <a:lnTo>
                    <a:pt x="13511" y="1168"/>
                  </a:lnTo>
                  <a:lnTo>
                    <a:pt x="13513" y="1177"/>
                  </a:lnTo>
                  <a:close/>
                  <a:moveTo>
                    <a:pt x="13250" y="1177"/>
                  </a:moveTo>
                  <a:lnTo>
                    <a:pt x="13250" y="1290"/>
                  </a:lnTo>
                  <a:lnTo>
                    <a:pt x="13247" y="1299"/>
                  </a:lnTo>
                  <a:lnTo>
                    <a:pt x="13243" y="1305"/>
                  </a:lnTo>
                  <a:lnTo>
                    <a:pt x="13237" y="1309"/>
                  </a:lnTo>
                  <a:lnTo>
                    <a:pt x="13229" y="1309"/>
                  </a:lnTo>
                  <a:lnTo>
                    <a:pt x="13222" y="1309"/>
                  </a:lnTo>
                  <a:lnTo>
                    <a:pt x="13215" y="1305"/>
                  </a:lnTo>
                  <a:lnTo>
                    <a:pt x="13211" y="1299"/>
                  </a:lnTo>
                  <a:lnTo>
                    <a:pt x="13210" y="1290"/>
                  </a:lnTo>
                  <a:lnTo>
                    <a:pt x="13210" y="1177"/>
                  </a:lnTo>
                  <a:lnTo>
                    <a:pt x="13211" y="1168"/>
                  </a:lnTo>
                  <a:lnTo>
                    <a:pt x="13215" y="1163"/>
                  </a:lnTo>
                  <a:lnTo>
                    <a:pt x="13222" y="1159"/>
                  </a:lnTo>
                  <a:lnTo>
                    <a:pt x="13229" y="1158"/>
                  </a:lnTo>
                  <a:lnTo>
                    <a:pt x="13237" y="1159"/>
                  </a:lnTo>
                  <a:lnTo>
                    <a:pt x="13243" y="1163"/>
                  </a:lnTo>
                  <a:lnTo>
                    <a:pt x="13247" y="1168"/>
                  </a:lnTo>
                  <a:lnTo>
                    <a:pt x="13250" y="1177"/>
                  </a:lnTo>
                  <a:close/>
                  <a:moveTo>
                    <a:pt x="12987" y="1177"/>
                  </a:moveTo>
                  <a:lnTo>
                    <a:pt x="12987" y="1290"/>
                  </a:lnTo>
                  <a:lnTo>
                    <a:pt x="12984" y="1299"/>
                  </a:lnTo>
                  <a:lnTo>
                    <a:pt x="12981" y="1305"/>
                  </a:lnTo>
                  <a:lnTo>
                    <a:pt x="12974" y="1309"/>
                  </a:lnTo>
                  <a:lnTo>
                    <a:pt x="12966" y="1309"/>
                  </a:lnTo>
                  <a:lnTo>
                    <a:pt x="12959" y="1309"/>
                  </a:lnTo>
                  <a:lnTo>
                    <a:pt x="12952" y="1305"/>
                  </a:lnTo>
                  <a:lnTo>
                    <a:pt x="12948" y="1299"/>
                  </a:lnTo>
                  <a:lnTo>
                    <a:pt x="12946" y="1290"/>
                  </a:lnTo>
                  <a:lnTo>
                    <a:pt x="12946" y="1177"/>
                  </a:lnTo>
                  <a:lnTo>
                    <a:pt x="12948" y="1168"/>
                  </a:lnTo>
                  <a:lnTo>
                    <a:pt x="12952" y="1163"/>
                  </a:lnTo>
                  <a:lnTo>
                    <a:pt x="12959" y="1159"/>
                  </a:lnTo>
                  <a:lnTo>
                    <a:pt x="12966" y="1158"/>
                  </a:lnTo>
                  <a:lnTo>
                    <a:pt x="12974" y="1159"/>
                  </a:lnTo>
                  <a:lnTo>
                    <a:pt x="12981" y="1163"/>
                  </a:lnTo>
                  <a:lnTo>
                    <a:pt x="12984" y="1168"/>
                  </a:lnTo>
                  <a:lnTo>
                    <a:pt x="12987" y="1177"/>
                  </a:lnTo>
                  <a:close/>
                  <a:moveTo>
                    <a:pt x="13538" y="3927"/>
                  </a:moveTo>
                  <a:lnTo>
                    <a:pt x="13538" y="4038"/>
                  </a:lnTo>
                  <a:lnTo>
                    <a:pt x="13536" y="4047"/>
                  </a:lnTo>
                  <a:lnTo>
                    <a:pt x="13532" y="4053"/>
                  </a:lnTo>
                  <a:lnTo>
                    <a:pt x="13525" y="4057"/>
                  </a:lnTo>
                  <a:lnTo>
                    <a:pt x="13518" y="4058"/>
                  </a:lnTo>
                  <a:lnTo>
                    <a:pt x="13510" y="4057"/>
                  </a:lnTo>
                  <a:lnTo>
                    <a:pt x="13504" y="4053"/>
                  </a:lnTo>
                  <a:lnTo>
                    <a:pt x="13500" y="4047"/>
                  </a:lnTo>
                  <a:lnTo>
                    <a:pt x="13497" y="4038"/>
                  </a:lnTo>
                  <a:lnTo>
                    <a:pt x="13497" y="3927"/>
                  </a:lnTo>
                  <a:lnTo>
                    <a:pt x="13500" y="3918"/>
                  </a:lnTo>
                  <a:lnTo>
                    <a:pt x="13504" y="3911"/>
                  </a:lnTo>
                  <a:lnTo>
                    <a:pt x="13510" y="3907"/>
                  </a:lnTo>
                  <a:lnTo>
                    <a:pt x="13518" y="3906"/>
                  </a:lnTo>
                  <a:lnTo>
                    <a:pt x="13525" y="3907"/>
                  </a:lnTo>
                  <a:lnTo>
                    <a:pt x="13532" y="3911"/>
                  </a:lnTo>
                  <a:lnTo>
                    <a:pt x="13536" y="3918"/>
                  </a:lnTo>
                  <a:lnTo>
                    <a:pt x="13538" y="3927"/>
                  </a:lnTo>
                  <a:close/>
                  <a:moveTo>
                    <a:pt x="13274" y="3927"/>
                  </a:moveTo>
                  <a:lnTo>
                    <a:pt x="13274" y="4038"/>
                  </a:lnTo>
                  <a:lnTo>
                    <a:pt x="13273" y="4047"/>
                  </a:lnTo>
                  <a:lnTo>
                    <a:pt x="13269" y="4053"/>
                  </a:lnTo>
                  <a:lnTo>
                    <a:pt x="13263" y="4057"/>
                  </a:lnTo>
                  <a:lnTo>
                    <a:pt x="13255" y="4058"/>
                  </a:lnTo>
                  <a:lnTo>
                    <a:pt x="13247" y="4057"/>
                  </a:lnTo>
                  <a:lnTo>
                    <a:pt x="13241" y="4053"/>
                  </a:lnTo>
                  <a:lnTo>
                    <a:pt x="13237" y="4047"/>
                  </a:lnTo>
                  <a:lnTo>
                    <a:pt x="13234" y="4038"/>
                  </a:lnTo>
                  <a:lnTo>
                    <a:pt x="13234" y="3927"/>
                  </a:lnTo>
                  <a:lnTo>
                    <a:pt x="13237" y="3918"/>
                  </a:lnTo>
                  <a:lnTo>
                    <a:pt x="13241" y="3911"/>
                  </a:lnTo>
                  <a:lnTo>
                    <a:pt x="13247" y="3907"/>
                  </a:lnTo>
                  <a:lnTo>
                    <a:pt x="13255" y="3906"/>
                  </a:lnTo>
                  <a:lnTo>
                    <a:pt x="13263" y="3907"/>
                  </a:lnTo>
                  <a:lnTo>
                    <a:pt x="13269" y="3911"/>
                  </a:lnTo>
                  <a:lnTo>
                    <a:pt x="13273" y="3918"/>
                  </a:lnTo>
                  <a:lnTo>
                    <a:pt x="13274" y="3927"/>
                  </a:lnTo>
                  <a:close/>
                  <a:moveTo>
                    <a:pt x="13011" y="3927"/>
                  </a:moveTo>
                  <a:lnTo>
                    <a:pt x="13011" y="4038"/>
                  </a:lnTo>
                  <a:lnTo>
                    <a:pt x="13010" y="4047"/>
                  </a:lnTo>
                  <a:lnTo>
                    <a:pt x="13005" y="4053"/>
                  </a:lnTo>
                  <a:lnTo>
                    <a:pt x="12998" y="4057"/>
                  </a:lnTo>
                  <a:lnTo>
                    <a:pt x="12992" y="4058"/>
                  </a:lnTo>
                  <a:lnTo>
                    <a:pt x="12984" y="4057"/>
                  </a:lnTo>
                  <a:lnTo>
                    <a:pt x="12978" y="4053"/>
                  </a:lnTo>
                  <a:lnTo>
                    <a:pt x="12973" y="4047"/>
                  </a:lnTo>
                  <a:lnTo>
                    <a:pt x="12972" y="4038"/>
                  </a:lnTo>
                  <a:lnTo>
                    <a:pt x="12972" y="3927"/>
                  </a:lnTo>
                  <a:lnTo>
                    <a:pt x="12973" y="3918"/>
                  </a:lnTo>
                  <a:lnTo>
                    <a:pt x="12978" y="3911"/>
                  </a:lnTo>
                  <a:lnTo>
                    <a:pt x="12984" y="3907"/>
                  </a:lnTo>
                  <a:lnTo>
                    <a:pt x="12992" y="3906"/>
                  </a:lnTo>
                  <a:lnTo>
                    <a:pt x="12998" y="3907"/>
                  </a:lnTo>
                  <a:lnTo>
                    <a:pt x="13005" y="3911"/>
                  </a:lnTo>
                  <a:lnTo>
                    <a:pt x="13010" y="3918"/>
                  </a:lnTo>
                  <a:lnTo>
                    <a:pt x="13011" y="3927"/>
                  </a:lnTo>
                  <a:close/>
                  <a:moveTo>
                    <a:pt x="12748" y="3927"/>
                  </a:moveTo>
                  <a:lnTo>
                    <a:pt x="12748" y="4038"/>
                  </a:lnTo>
                  <a:lnTo>
                    <a:pt x="12747" y="4047"/>
                  </a:lnTo>
                  <a:lnTo>
                    <a:pt x="12742" y="4053"/>
                  </a:lnTo>
                  <a:lnTo>
                    <a:pt x="12736" y="4057"/>
                  </a:lnTo>
                  <a:lnTo>
                    <a:pt x="12729" y="4058"/>
                  </a:lnTo>
                  <a:lnTo>
                    <a:pt x="12721" y="4057"/>
                  </a:lnTo>
                  <a:lnTo>
                    <a:pt x="12715" y="4053"/>
                  </a:lnTo>
                  <a:lnTo>
                    <a:pt x="12710" y="4047"/>
                  </a:lnTo>
                  <a:lnTo>
                    <a:pt x="12709" y="4038"/>
                  </a:lnTo>
                  <a:lnTo>
                    <a:pt x="12709" y="3927"/>
                  </a:lnTo>
                  <a:lnTo>
                    <a:pt x="12710" y="3918"/>
                  </a:lnTo>
                  <a:lnTo>
                    <a:pt x="12715" y="3911"/>
                  </a:lnTo>
                  <a:lnTo>
                    <a:pt x="12721" y="3907"/>
                  </a:lnTo>
                  <a:lnTo>
                    <a:pt x="12729" y="3906"/>
                  </a:lnTo>
                  <a:lnTo>
                    <a:pt x="12736" y="3907"/>
                  </a:lnTo>
                  <a:lnTo>
                    <a:pt x="12742" y="3911"/>
                  </a:lnTo>
                  <a:lnTo>
                    <a:pt x="12747" y="3918"/>
                  </a:lnTo>
                  <a:lnTo>
                    <a:pt x="12748" y="3927"/>
                  </a:lnTo>
                  <a:close/>
                  <a:moveTo>
                    <a:pt x="13538" y="3681"/>
                  </a:moveTo>
                  <a:lnTo>
                    <a:pt x="13538" y="3792"/>
                  </a:lnTo>
                  <a:lnTo>
                    <a:pt x="13536" y="3801"/>
                  </a:lnTo>
                  <a:lnTo>
                    <a:pt x="13532" y="3808"/>
                  </a:lnTo>
                  <a:lnTo>
                    <a:pt x="13525" y="3811"/>
                  </a:lnTo>
                  <a:lnTo>
                    <a:pt x="13518" y="3813"/>
                  </a:lnTo>
                  <a:lnTo>
                    <a:pt x="13510" y="3811"/>
                  </a:lnTo>
                  <a:lnTo>
                    <a:pt x="13504" y="3808"/>
                  </a:lnTo>
                  <a:lnTo>
                    <a:pt x="13500" y="3801"/>
                  </a:lnTo>
                  <a:lnTo>
                    <a:pt x="13497" y="3792"/>
                  </a:lnTo>
                  <a:lnTo>
                    <a:pt x="13497" y="3681"/>
                  </a:lnTo>
                  <a:lnTo>
                    <a:pt x="13500" y="3672"/>
                  </a:lnTo>
                  <a:lnTo>
                    <a:pt x="13504" y="3666"/>
                  </a:lnTo>
                  <a:lnTo>
                    <a:pt x="13510" y="3662"/>
                  </a:lnTo>
                  <a:lnTo>
                    <a:pt x="13518" y="3661"/>
                  </a:lnTo>
                  <a:lnTo>
                    <a:pt x="13525" y="3662"/>
                  </a:lnTo>
                  <a:lnTo>
                    <a:pt x="13532" y="3666"/>
                  </a:lnTo>
                  <a:lnTo>
                    <a:pt x="13536" y="3672"/>
                  </a:lnTo>
                  <a:lnTo>
                    <a:pt x="13538" y="3681"/>
                  </a:lnTo>
                  <a:close/>
                  <a:moveTo>
                    <a:pt x="13274" y="3681"/>
                  </a:moveTo>
                  <a:lnTo>
                    <a:pt x="13274" y="3792"/>
                  </a:lnTo>
                  <a:lnTo>
                    <a:pt x="13273" y="3801"/>
                  </a:lnTo>
                  <a:lnTo>
                    <a:pt x="13269" y="3808"/>
                  </a:lnTo>
                  <a:lnTo>
                    <a:pt x="13263" y="3811"/>
                  </a:lnTo>
                  <a:lnTo>
                    <a:pt x="13255" y="3813"/>
                  </a:lnTo>
                  <a:lnTo>
                    <a:pt x="13247" y="3811"/>
                  </a:lnTo>
                  <a:lnTo>
                    <a:pt x="13241" y="3808"/>
                  </a:lnTo>
                  <a:lnTo>
                    <a:pt x="13237" y="3801"/>
                  </a:lnTo>
                  <a:lnTo>
                    <a:pt x="13234" y="3792"/>
                  </a:lnTo>
                  <a:lnTo>
                    <a:pt x="13234" y="3681"/>
                  </a:lnTo>
                  <a:lnTo>
                    <a:pt x="13237" y="3672"/>
                  </a:lnTo>
                  <a:lnTo>
                    <a:pt x="13241" y="3666"/>
                  </a:lnTo>
                  <a:lnTo>
                    <a:pt x="13247" y="3662"/>
                  </a:lnTo>
                  <a:lnTo>
                    <a:pt x="13255" y="3661"/>
                  </a:lnTo>
                  <a:lnTo>
                    <a:pt x="13263" y="3662"/>
                  </a:lnTo>
                  <a:lnTo>
                    <a:pt x="13269" y="3666"/>
                  </a:lnTo>
                  <a:lnTo>
                    <a:pt x="13273" y="3672"/>
                  </a:lnTo>
                  <a:lnTo>
                    <a:pt x="13274" y="3681"/>
                  </a:lnTo>
                  <a:close/>
                  <a:moveTo>
                    <a:pt x="13011" y="3681"/>
                  </a:moveTo>
                  <a:lnTo>
                    <a:pt x="13011" y="3792"/>
                  </a:lnTo>
                  <a:lnTo>
                    <a:pt x="13010" y="3801"/>
                  </a:lnTo>
                  <a:lnTo>
                    <a:pt x="13005" y="3808"/>
                  </a:lnTo>
                  <a:lnTo>
                    <a:pt x="12998" y="3811"/>
                  </a:lnTo>
                  <a:lnTo>
                    <a:pt x="12992" y="3813"/>
                  </a:lnTo>
                  <a:lnTo>
                    <a:pt x="12984" y="3811"/>
                  </a:lnTo>
                  <a:lnTo>
                    <a:pt x="12978" y="3808"/>
                  </a:lnTo>
                  <a:lnTo>
                    <a:pt x="12973" y="3801"/>
                  </a:lnTo>
                  <a:lnTo>
                    <a:pt x="12972" y="3792"/>
                  </a:lnTo>
                  <a:lnTo>
                    <a:pt x="12972" y="3681"/>
                  </a:lnTo>
                  <a:lnTo>
                    <a:pt x="12973" y="3672"/>
                  </a:lnTo>
                  <a:lnTo>
                    <a:pt x="12978" y="3666"/>
                  </a:lnTo>
                  <a:lnTo>
                    <a:pt x="12984" y="3662"/>
                  </a:lnTo>
                  <a:lnTo>
                    <a:pt x="12992" y="3661"/>
                  </a:lnTo>
                  <a:lnTo>
                    <a:pt x="12998" y="3662"/>
                  </a:lnTo>
                  <a:lnTo>
                    <a:pt x="13005" y="3666"/>
                  </a:lnTo>
                  <a:lnTo>
                    <a:pt x="13010" y="3672"/>
                  </a:lnTo>
                  <a:lnTo>
                    <a:pt x="13011" y="3681"/>
                  </a:lnTo>
                  <a:close/>
                  <a:moveTo>
                    <a:pt x="12748" y="3681"/>
                  </a:moveTo>
                  <a:lnTo>
                    <a:pt x="12748" y="3792"/>
                  </a:lnTo>
                  <a:lnTo>
                    <a:pt x="12747" y="3801"/>
                  </a:lnTo>
                  <a:lnTo>
                    <a:pt x="12742" y="3808"/>
                  </a:lnTo>
                  <a:lnTo>
                    <a:pt x="12736" y="3811"/>
                  </a:lnTo>
                  <a:lnTo>
                    <a:pt x="12729" y="3813"/>
                  </a:lnTo>
                  <a:lnTo>
                    <a:pt x="12721" y="3811"/>
                  </a:lnTo>
                  <a:lnTo>
                    <a:pt x="12715" y="3808"/>
                  </a:lnTo>
                  <a:lnTo>
                    <a:pt x="12710" y="3801"/>
                  </a:lnTo>
                  <a:lnTo>
                    <a:pt x="12709" y="3792"/>
                  </a:lnTo>
                  <a:lnTo>
                    <a:pt x="12709" y="3681"/>
                  </a:lnTo>
                  <a:lnTo>
                    <a:pt x="12710" y="3672"/>
                  </a:lnTo>
                  <a:lnTo>
                    <a:pt x="12715" y="3666"/>
                  </a:lnTo>
                  <a:lnTo>
                    <a:pt x="12721" y="3662"/>
                  </a:lnTo>
                  <a:lnTo>
                    <a:pt x="12729" y="3661"/>
                  </a:lnTo>
                  <a:lnTo>
                    <a:pt x="12736" y="3662"/>
                  </a:lnTo>
                  <a:lnTo>
                    <a:pt x="12742" y="3666"/>
                  </a:lnTo>
                  <a:lnTo>
                    <a:pt x="12747" y="3672"/>
                  </a:lnTo>
                  <a:lnTo>
                    <a:pt x="12748" y="3681"/>
                  </a:lnTo>
                  <a:close/>
                  <a:moveTo>
                    <a:pt x="13538" y="3436"/>
                  </a:moveTo>
                  <a:lnTo>
                    <a:pt x="13538" y="3547"/>
                  </a:lnTo>
                  <a:lnTo>
                    <a:pt x="13536" y="3556"/>
                  </a:lnTo>
                  <a:lnTo>
                    <a:pt x="13532" y="3562"/>
                  </a:lnTo>
                  <a:lnTo>
                    <a:pt x="13525" y="3566"/>
                  </a:lnTo>
                  <a:lnTo>
                    <a:pt x="13518" y="3567"/>
                  </a:lnTo>
                  <a:lnTo>
                    <a:pt x="13510" y="3566"/>
                  </a:lnTo>
                  <a:lnTo>
                    <a:pt x="13504" y="3562"/>
                  </a:lnTo>
                  <a:lnTo>
                    <a:pt x="13500" y="3556"/>
                  </a:lnTo>
                  <a:lnTo>
                    <a:pt x="13497" y="3547"/>
                  </a:lnTo>
                  <a:lnTo>
                    <a:pt x="13497" y="3436"/>
                  </a:lnTo>
                  <a:lnTo>
                    <a:pt x="13500" y="3427"/>
                  </a:lnTo>
                  <a:lnTo>
                    <a:pt x="13504" y="3420"/>
                  </a:lnTo>
                  <a:lnTo>
                    <a:pt x="13510" y="3416"/>
                  </a:lnTo>
                  <a:lnTo>
                    <a:pt x="13518" y="3415"/>
                  </a:lnTo>
                  <a:lnTo>
                    <a:pt x="13525" y="3416"/>
                  </a:lnTo>
                  <a:lnTo>
                    <a:pt x="13532" y="3420"/>
                  </a:lnTo>
                  <a:lnTo>
                    <a:pt x="13536" y="3427"/>
                  </a:lnTo>
                  <a:lnTo>
                    <a:pt x="13538" y="3436"/>
                  </a:lnTo>
                  <a:close/>
                  <a:moveTo>
                    <a:pt x="13274" y="3436"/>
                  </a:moveTo>
                  <a:lnTo>
                    <a:pt x="13274" y="3547"/>
                  </a:lnTo>
                  <a:lnTo>
                    <a:pt x="13273" y="3556"/>
                  </a:lnTo>
                  <a:lnTo>
                    <a:pt x="13269" y="3562"/>
                  </a:lnTo>
                  <a:lnTo>
                    <a:pt x="13263" y="3566"/>
                  </a:lnTo>
                  <a:lnTo>
                    <a:pt x="13255" y="3567"/>
                  </a:lnTo>
                  <a:lnTo>
                    <a:pt x="13247" y="3566"/>
                  </a:lnTo>
                  <a:lnTo>
                    <a:pt x="13241" y="3562"/>
                  </a:lnTo>
                  <a:lnTo>
                    <a:pt x="13237" y="3556"/>
                  </a:lnTo>
                  <a:lnTo>
                    <a:pt x="13234" y="3547"/>
                  </a:lnTo>
                  <a:lnTo>
                    <a:pt x="13234" y="3436"/>
                  </a:lnTo>
                  <a:lnTo>
                    <a:pt x="13237" y="3427"/>
                  </a:lnTo>
                  <a:lnTo>
                    <a:pt x="13241" y="3420"/>
                  </a:lnTo>
                  <a:lnTo>
                    <a:pt x="13247" y="3416"/>
                  </a:lnTo>
                  <a:lnTo>
                    <a:pt x="13255" y="3415"/>
                  </a:lnTo>
                  <a:lnTo>
                    <a:pt x="13263" y="3416"/>
                  </a:lnTo>
                  <a:lnTo>
                    <a:pt x="13269" y="3420"/>
                  </a:lnTo>
                  <a:lnTo>
                    <a:pt x="13273" y="3427"/>
                  </a:lnTo>
                  <a:lnTo>
                    <a:pt x="13274" y="3436"/>
                  </a:lnTo>
                  <a:close/>
                  <a:moveTo>
                    <a:pt x="13011" y="3436"/>
                  </a:moveTo>
                  <a:lnTo>
                    <a:pt x="13011" y="3547"/>
                  </a:lnTo>
                  <a:lnTo>
                    <a:pt x="13010" y="3556"/>
                  </a:lnTo>
                  <a:lnTo>
                    <a:pt x="13005" y="3562"/>
                  </a:lnTo>
                  <a:lnTo>
                    <a:pt x="12998" y="3566"/>
                  </a:lnTo>
                  <a:lnTo>
                    <a:pt x="12992" y="3567"/>
                  </a:lnTo>
                  <a:lnTo>
                    <a:pt x="12984" y="3566"/>
                  </a:lnTo>
                  <a:lnTo>
                    <a:pt x="12978" y="3562"/>
                  </a:lnTo>
                  <a:lnTo>
                    <a:pt x="12973" y="3556"/>
                  </a:lnTo>
                  <a:lnTo>
                    <a:pt x="12972" y="3547"/>
                  </a:lnTo>
                  <a:lnTo>
                    <a:pt x="12972" y="3436"/>
                  </a:lnTo>
                  <a:lnTo>
                    <a:pt x="12973" y="3427"/>
                  </a:lnTo>
                  <a:lnTo>
                    <a:pt x="12978" y="3420"/>
                  </a:lnTo>
                  <a:lnTo>
                    <a:pt x="12984" y="3416"/>
                  </a:lnTo>
                  <a:lnTo>
                    <a:pt x="12992" y="3415"/>
                  </a:lnTo>
                  <a:lnTo>
                    <a:pt x="12998" y="3416"/>
                  </a:lnTo>
                  <a:lnTo>
                    <a:pt x="13005" y="3420"/>
                  </a:lnTo>
                  <a:lnTo>
                    <a:pt x="13010" y="3427"/>
                  </a:lnTo>
                  <a:lnTo>
                    <a:pt x="13011" y="3436"/>
                  </a:lnTo>
                  <a:close/>
                  <a:moveTo>
                    <a:pt x="12748" y="3436"/>
                  </a:moveTo>
                  <a:lnTo>
                    <a:pt x="12748" y="3547"/>
                  </a:lnTo>
                  <a:lnTo>
                    <a:pt x="12747" y="3556"/>
                  </a:lnTo>
                  <a:lnTo>
                    <a:pt x="12742" y="3562"/>
                  </a:lnTo>
                  <a:lnTo>
                    <a:pt x="12736" y="3566"/>
                  </a:lnTo>
                  <a:lnTo>
                    <a:pt x="12729" y="3567"/>
                  </a:lnTo>
                  <a:lnTo>
                    <a:pt x="12721" y="3566"/>
                  </a:lnTo>
                  <a:lnTo>
                    <a:pt x="12715" y="3562"/>
                  </a:lnTo>
                  <a:lnTo>
                    <a:pt x="12710" y="3556"/>
                  </a:lnTo>
                  <a:lnTo>
                    <a:pt x="12709" y="3547"/>
                  </a:lnTo>
                  <a:lnTo>
                    <a:pt x="12709" y="3436"/>
                  </a:lnTo>
                  <a:lnTo>
                    <a:pt x="12710" y="3427"/>
                  </a:lnTo>
                  <a:lnTo>
                    <a:pt x="12715" y="3420"/>
                  </a:lnTo>
                  <a:lnTo>
                    <a:pt x="12721" y="3416"/>
                  </a:lnTo>
                  <a:lnTo>
                    <a:pt x="12729" y="3415"/>
                  </a:lnTo>
                  <a:lnTo>
                    <a:pt x="12736" y="3416"/>
                  </a:lnTo>
                  <a:lnTo>
                    <a:pt x="12742" y="3420"/>
                  </a:lnTo>
                  <a:lnTo>
                    <a:pt x="12747" y="3427"/>
                  </a:lnTo>
                  <a:lnTo>
                    <a:pt x="12748" y="3436"/>
                  </a:lnTo>
                  <a:close/>
                  <a:moveTo>
                    <a:pt x="12486" y="3436"/>
                  </a:moveTo>
                  <a:lnTo>
                    <a:pt x="12486" y="3547"/>
                  </a:lnTo>
                  <a:lnTo>
                    <a:pt x="12484" y="3556"/>
                  </a:lnTo>
                  <a:lnTo>
                    <a:pt x="12479" y="3562"/>
                  </a:lnTo>
                  <a:lnTo>
                    <a:pt x="12473" y="3566"/>
                  </a:lnTo>
                  <a:lnTo>
                    <a:pt x="12465" y="3567"/>
                  </a:lnTo>
                  <a:lnTo>
                    <a:pt x="12459" y="3566"/>
                  </a:lnTo>
                  <a:lnTo>
                    <a:pt x="12452" y="3562"/>
                  </a:lnTo>
                  <a:lnTo>
                    <a:pt x="12447" y="3556"/>
                  </a:lnTo>
                  <a:lnTo>
                    <a:pt x="12446" y="3547"/>
                  </a:lnTo>
                  <a:lnTo>
                    <a:pt x="12446" y="3436"/>
                  </a:lnTo>
                  <a:lnTo>
                    <a:pt x="12447" y="3427"/>
                  </a:lnTo>
                  <a:lnTo>
                    <a:pt x="12452" y="3420"/>
                  </a:lnTo>
                  <a:lnTo>
                    <a:pt x="12459" y="3416"/>
                  </a:lnTo>
                  <a:lnTo>
                    <a:pt x="12465" y="3415"/>
                  </a:lnTo>
                  <a:lnTo>
                    <a:pt x="12473" y="3416"/>
                  </a:lnTo>
                  <a:lnTo>
                    <a:pt x="12479" y="3420"/>
                  </a:lnTo>
                  <a:lnTo>
                    <a:pt x="12484" y="3427"/>
                  </a:lnTo>
                  <a:lnTo>
                    <a:pt x="12486" y="3436"/>
                  </a:lnTo>
                  <a:close/>
                  <a:moveTo>
                    <a:pt x="10933" y="2423"/>
                  </a:moveTo>
                  <a:lnTo>
                    <a:pt x="10933" y="2535"/>
                  </a:lnTo>
                  <a:lnTo>
                    <a:pt x="10931" y="2543"/>
                  </a:lnTo>
                  <a:lnTo>
                    <a:pt x="10926" y="2549"/>
                  </a:lnTo>
                  <a:lnTo>
                    <a:pt x="10920" y="2553"/>
                  </a:lnTo>
                  <a:lnTo>
                    <a:pt x="10912" y="2555"/>
                  </a:lnTo>
                  <a:lnTo>
                    <a:pt x="10906" y="2553"/>
                  </a:lnTo>
                  <a:lnTo>
                    <a:pt x="10899" y="2549"/>
                  </a:lnTo>
                  <a:lnTo>
                    <a:pt x="10894" y="2543"/>
                  </a:lnTo>
                  <a:lnTo>
                    <a:pt x="10893" y="2535"/>
                  </a:lnTo>
                  <a:lnTo>
                    <a:pt x="10893" y="2423"/>
                  </a:lnTo>
                  <a:lnTo>
                    <a:pt x="10894" y="2414"/>
                  </a:lnTo>
                  <a:lnTo>
                    <a:pt x="10899" y="2407"/>
                  </a:lnTo>
                  <a:lnTo>
                    <a:pt x="10906" y="2404"/>
                  </a:lnTo>
                  <a:lnTo>
                    <a:pt x="10912" y="2402"/>
                  </a:lnTo>
                  <a:lnTo>
                    <a:pt x="10920" y="2404"/>
                  </a:lnTo>
                  <a:lnTo>
                    <a:pt x="10926" y="2407"/>
                  </a:lnTo>
                  <a:lnTo>
                    <a:pt x="10931" y="2414"/>
                  </a:lnTo>
                  <a:lnTo>
                    <a:pt x="10933" y="2423"/>
                  </a:lnTo>
                  <a:close/>
                  <a:moveTo>
                    <a:pt x="10670" y="2423"/>
                  </a:moveTo>
                  <a:lnTo>
                    <a:pt x="10670" y="2535"/>
                  </a:lnTo>
                  <a:lnTo>
                    <a:pt x="10669" y="2543"/>
                  </a:lnTo>
                  <a:lnTo>
                    <a:pt x="10663" y="2549"/>
                  </a:lnTo>
                  <a:lnTo>
                    <a:pt x="10657" y="2553"/>
                  </a:lnTo>
                  <a:lnTo>
                    <a:pt x="10649" y="2555"/>
                  </a:lnTo>
                  <a:lnTo>
                    <a:pt x="10643" y="2553"/>
                  </a:lnTo>
                  <a:lnTo>
                    <a:pt x="10637" y="2549"/>
                  </a:lnTo>
                  <a:lnTo>
                    <a:pt x="10631" y="2543"/>
                  </a:lnTo>
                  <a:lnTo>
                    <a:pt x="10630" y="2535"/>
                  </a:lnTo>
                  <a:lnTo>
                    <a:pt x="10630" y="2423"/>
                  </a:lnTo>
                  <a:lnTo>
                    <a:pt x="10631" y="2414"/>
                  </a:lnTo>
                  <a:lnTo>
                    <a:pt x="10637" y="2407"/>
                  </a:lnTo>
                  <a:lnTo>
                    <a:pt x="10643" y="2404"/>
                  </a:lnTo>
                  <a:lnTo>
                    <a:pt x="10649" y="2402"/>
                  </a:lnTo>
                  <a:lnTo>
                    <a:pt x="10657" y="2404"/>
                  </a:lnTo>
                  <a:lnTo>
                    <a:pt x="10663" y="2407"/>
                  </a:lnTo>
                  <a:lnTo>
                    <a:pt x="10669" y="2414"/>
                  </a:lnTo>
                  <a:lnTo>
                    <a:pt x="10670" y="2423"/>
                  </a:lnTo>
                  <a:close/>
                  <a:moveTo>
                    <a:pt x="10407" y="2423"/>
                  </a:moveTo>
                  <a:lnTo>
                    <a:pt x="10407" y="2535"/>
                  </a:lnTo>
                  <a:lnTo>
                    <a:pt x="10404" y="2543"/>
                  </a:lnTo>
                  <a:lnTo>
                    <a:pt x="10401" y="2549"/>
                  </a:lnTo>
                  <a:lnTo>
                    <a:pt x="10394" y="2553"/>
                  </a:lnTo>
                  <a:lnTo>
                    <a:pt x="10386" y="2555"/>
                  </a:lnTo>
                  <a:lnTo>
                    <a:pt x="10379" y="2553"/>
                  </a:lnTo>
                  <a:lnTo>
                    <a:pt x="10372" y="2549"/>
                  </a:lnTo>
                  <a:lnTo>
                    <a:pt x="10369" y="2543"/>
                  </a:lnTo>
                  <a:lnTo>
                    <a:pt x="10366" y="2535"/>
                  </a:lnTo>
                  <a:lnTo>
                    <a:pt x="10366" y="2423"/>
                  </a:lnTo>
                  <a:lnTo>
                    <a:pt x="10369" y="2414"/>
                  </a:lnTo>
                  <a:lnTo>
                    <a:pt x="10372" y="2407"/>
                  </a:lnTo>
                  <a:lnTo>
                    <a:pt x="10379" y="2404"/>
                  </a:lnTo>
                  <a:lnTo>
                    <a:pt x="10386" y="2402"/>
                  </a:lnTo>
                  <a:lnTo>
                    <a:pt x="10394" y="2404"/>
                  </a:lnTo>
                  <a:lnTo>
                    <a:pt x="10401" y="2407"/>
                  </a:lnTo>
                  <a:lnTo>
                    <a:pt x="10404" y="2414"/>
                  </a:lnTo>
                  <a:lnTo>
                    <a:pt x="10407" y="2423"/>
                  </a:lnTo>
                  <a:close/>
                  <a:moveTo>
                    <a:pt x="10143" y="2423"/>
                  </a:moveTo>
                  <a:lnTo>
                    <a:pt x="10143" y="2535"/>
                  </a:lnTo>
                  <a:lnTo>
                    <a:pt x="10142" y="2543"/>
                  </a:lnTo>
                  <a:lnTo>
                    <a:pt x="10138" y="2549"/>
                  </a:lnTo>
                  <a:lnTo>
                    <a:pt x="10131" y="2553"/>
                  </a:lnTo>
                  <a:lnTo>
                    <a:pt x="10124" y="2555"/>
                  </a:lnTo>
                  <a:lnTo>
                    <a:pt x="10116" y="2553"/>
                  </a:lnTo>
                  <a:lnTo>
                    <a:pt x="10109" y="2549"/>
                  </a:lnTo>
                  <a:lnTo>
                    <a:pt x="10106" y="2543"/>
                  </a:lnTo>
                  <a:lnTo>
                    <a:pt x="10103" y="2535"/>
                  </a:lnTo>
                  <a:lnTo>
                    <a:pt x="10103" y="2423"/>
                  </a:lnTo>
                  <a:lnTo>
                    <a:pt x="10106" y="2414"/>
                  </a:lnTo>
                  <a:lnTo>
                    <a:pt x="10109" y="2407"/>
                  </a:lnTo>
                  <a:lnTo>
                    <a:pt x="10116" y="2404"/>
                  </a:lnTo>
                  <a:lnTo>
                    <a:pt x="10124" y="2402"/>
                  </a:lnTo>
                  <a:lnTo>
                    <a:pt x="10131" y="2404"/>
                  </a:lnTo>
                  <a:lnTo>
                    <a:pt x="10138" y="2407"/>
                  </a:lnTo>
                  <a:lnTo>
                    <a:pt x="10142" y="2414"/>
                  </a:lnTo>
                  <a:lnTo>
                    <a:pt x="10143" y="2423"/>
                  </a:lnTo>
                  <a:close/>
                  <a:moveTo>
                    <a:pt x="9880" y="2423"/>
                  </a:moveTo>
                  <a:lnTo>
                    <a:pt x="9880" y="2535"/>
                  </a:lnTo>
                  <a:lnTo>
                    <a:pt x="9879" y="2543"/>
                  </a:lnTo>
                  <a:lnTo>
                    <a:pt x="9874" y="2549"/>
                  </a:lnTo>
                  <a:lnTo>
                    <a:pt x="9867" y="2553"/>
                  </a:lnTo>
                  <a:lnTo>
                    <a:pt x="9861" y="2555"/>
                  </a:lnTo>
                  <a:lnTo>
                    <a:pt x="9853" y="2553"/>
                  </a:lnTo>
                  <a:lnTo>
                    <a:pt x="9847" y="2549"/>
                  </a:lnTo>
                  <a:lnTo>
                    <a:pt x="9841" y="2543"/>
                  </a:lnTo>
                  <a:lnTo>
                    <a:pt x="9840" y="2535"/>
                  </a:lnTo>
                  <a:lnTo>
                    <a:pt x="9840" y="2423"/>
                  </a:lnTo>
                  <a:lnTo>
                    <a:pt x="9841" y="2414"/>
                  </a:lnTo>
                  <a:lnTo>
                    <a:pt x="9847" y="2407"/>
                  </a:lnTo>
                  <a:lnTo>
                    <a:pt x="9853" y="2404"/>
                  </a:lnTo>
                  <a:lnTo>
                    <a:pt x="9861" y="2402"/>
                  </a:lnTo>
                  <a:lnTo>
                    <a:pt x="9867" y="2404"/>
                  </a:lnTo>
                  <a:lnTo>
                    <a:pt x="9874" y="2407"/>
                  </a:lnTo>
                  <a:lnTo>
                    <a:pt x="9879" y="2414"/>
                  </a:lnTo>
                  <a:lnTo>
                    <a:pt x="9880" y="2423"/>
                  </a:lnTo>
                  <a:close/>
                  <a:moveTo>
                    <a:pt x="9617" y="2423"/>
                  </a:moveTo>
                  <a:lnTo>
                    <a:pt x="9617" y="2535"/>
                  </a:lnTo>
                  <a:lnTo>
                    <a:pt x="9616" y="2543"/>
                  </a:lnTo>
                  <a:lnTo>
                    <a:pt x="9611" y="2549"/>
                  </a:lnTo>
                  <a:lnTo>
                    <a:pt x="9604" y="2553"/>
                  </a:lnTo>
                  <a:lnTo>
                    <a:pt x="9598" y="2555"/>
                  </a:lnTo>
                  <a:lnTo>
                    <a:pt x="9590" y="2553"/>
                  </a:lnTo>
                  <a:lnTo>
                    <a:pt x="9584" y="2549"/>
                  </a:lnTo>
                  <a:lnTo>
                    <a:pt x="9579" y="2543"/>
                  </a:lnTo>
                  <a:lnTo>
                    <a:pt x="9577" y="2535"/>
                  </a:lnTo>
                  <a:lnTo>
                    <a:pt x="9577" y="2423"/>
                  </a:lnTo>
                  <a:lnTo>
                    <a:pt x="9579" y="2414"/>
                  </a:lnTo>
                  <a:lnTo>
                    <a:pt x="9584" y="2407"/>
                  </a:lnTo>
                  <a:lnTo>
                    <a:pt x="9590" y="2404"/>
                  </a:lnTo>
                  <a:lnTo>
                    <a:pt x="9598" y="2402"/>
                  </a:lnTo>
                  <a:lnTo>
                    <a:pt x="9604" y="2404"/>
                  </a:lnTo>
                  <a:lnTo>
                    <a:pt x="9611" y="2407"/>
                  </a:lnTo>
                  <a:lnTo>
                    <a:pt x="9616" y="2414"/>
                  </a:lnTo>
                  <a:lnTo>
                    <a:pt x="9617" y="2423"/>
                  </a:lnTo>
                  <a:close/>
                  <a:moveTo>
                    <a:pt x="16589" y="796"/>
                  </a:moveTo>
                  <a:lnTo>
                    <a:pt x="16589" y="847"/>
                  </a:lnTo>
                  <a:lnTo>
                    <a:pt x="16588" y="859"/>
                  </a:lnTo>
                  <a:lnTo>
                    <a:pt x="16584" y="869"/>
                  </a:lnTo>
                  <a:lnTo>
                    <a:pt x="16576" y="878"/>
                  </a:lnTo>
                  <a:lnTo>
                    <a:pt x="16566" y="883"/>
                  </a:lnTo>
                  <a:lnTo>
                    <a:pt x="16556" y="890"/>
                  </a:lnTo>
                  <a:lnTo>
                    <a:pt x="16547" y="896"/>
                  </a:lnTo>
                  <a:lnTo>
                    <a:pt x="16534" y="913"/>
                  </a:lnTo>
                  <a:lnTo>
                    <a:pt x="16529" y="923"/>
                  </a:lnTo>
                  <a:lnTo>
                    <a:pt x="16526" y="934"/>
                  </a:lnTo>
                  <a:lnTo>
                    <a:pt x="16526" y="956"/>
                  </a:lnTo>
                  <a:lnTo>
                    <a:pt x="16530" y="968"/>
                  </a:lnTo>
                  <a:lnTo>
                    <a:pt x="16535" y="978"/>
                  </a:lnTo>
                  <a:lnTo>
                    <a:pt x="16541" y="987"/>
                  </a:lnTo>
                  <a:lnTo>
                    <a:pt x="16549" y="996"/>
                  </a:lnTo>
                  <a:lnTo>
                    <a:pt x="16568" y="1006"/>
                  </a:lnTo>
                  <a:lnTo>
                    <a:pt x="16591" y="1011"/>
                  </a:lnTo>
                  <a:lnTo>
                    <a:pt x="16604" y="1009"/>
                  </a:lnTo>
                  <a:lnTo>
                    <a:pt x="16617" y="1005"/>
                  </a:lnTo>
                  <a:lnTo>
                    <a:pt x="16629" y="1000"/>
                  </a:lnTo>
                  <a:lnTo>
                    <a:pt x="16638" y="991"/>
                  </a:lnTo>
                  <a:lnTo>
                    <a:pt x="16647" y="982"/>
                  </a:lnTo>
                  <a:lnTo>
                    <a:pt x="16652" y="970"/>
                  </a:lnTo>
                  <a:lnTo>
                    <a:pt x="16656" y="957"/>
                  </a:lnTo>
                  <a:lnTo>
                    <a:pt x="16657" y="945"/>
                  </a:lnTo>
                  <a:lnTo>
                    <a:pt x="16659" y="936"/>
                  </a:lnTo>
                  <a:lnTo>
                    <a:pt x="16663" y="929"/>
                  </a:lnTo>
                  <a:lnTo>
                    <a:pt x="16670" y="925"/>
                  </a:lnTo>
                  <a:lnTo>
                    <a:pt x="16677" y="924"/>
                  </a:lnTo>
                  <a:lnTo>
                    <a:pt x="16685" y="925"/>
                  </a:lnTo>
                  <a:lnTo>
                    <a:pt x="16691" y="929"/>
                  </a:lnTo>
                  <a:lnTo>
                    <a:pt x="16695" y="936"/>
                  </a:lnTo>
                  <a:lnTo>
                    <a:pt x="16698" y="945"/>
                  </a:lnTo>
                  <a:lnTo>
                    <a:pt x="16695" y="966"/>
                  </a:lnTo>
                  <a:lnTo>
                    <a:pt x="16689" y="986"/>
                  </a:lnTo>
                  <a:lnTo>
                    <a:pt x="16679" y="1003"/>
                  </a:lnTo>
                  <a:lnTo>
                    <a:pt x="16666" y="1020"/>
                  </a:lnTo>
                  <a:lnTo>
                    <a:pt x="16650" y="1033"/>
                  </a:lnTo>
                  <a:lnTo>
                    <a:pt x="16632" y="1042"/>
                  </a:lnTo>
                  <a:lnTo>
                    <a:pt x="16612" y="1048"/>
                  </a:lnTo>
                  <a:lnTo>
                    <a:pt x="16591" y="1051"/>
                  </a:lnTo>
                  <a:lnTo>
                    <a:pt x="16572" y="1048"/>
                  </a:lnTo>
                  <a:lnTo>
                    <a:pt x="16556" y="1044"/>
                  </a:lnTo>
                  <a:lnTo>
                    <a:pt x="16539" y="1037"/>
                  </a:lnTo>
                  <a:lnTo>
                    <a:pt x="16523" y="1025"/>
                  </a:lnTo>
                  <a:lnTo>
                    <a:pt x="16511" y="1014"/>
                  </a:lnTo>
                  <a:lnTo>
                    <a:pt x="16500" y="998"/>
                  </a:lnTo>
                  <a:lnTo>
                    <a:pt x="16495" y="991"/>
                  </a:lnTo>
                  <a:lnTo>
                    <a:pt x="16491" y="982"/>
                  </a:lnTo>
                  <a:lnTo>
                    <a:pt x="16488" y="964"/>
                  </a:lnTo>
                  <a:lnTo>
                    <a:pt x="16485" y="945"/>
                  </a:lnTo>
                  <a:lnTo>
                    <a:pt x="16486" y="928"/>
                  </a:lnTo>
                  <a:lnTo>
                    <a:pt x="16490" y="910"/>
                  </a:lnTo>
                  <a:lnTo>
                    <a:pt x="16498" y="895"/>
                  </a:lnTo>
                  <a:lnTo>
                    <a:pt x="16507" y="879"/>
                  </a:lnTo>
                  <a:lnTo>
                    <a:pt x="16518" y="867"/>
                  </a:lnTo>
                  <a:lnTo>
                    <a:pt x="16532" y="856"/>
                  </a:lnTo>
                  <a:lnTo>
                    <a:pt x="16549" y="847"/>
                  </a:lnTo>
                  <a:lnTo>
                    <a:pt x="16549" y="796"/>
                  </a:lnTo>
                  <a:lnTo>
                    <a:pt x="16550" y="787"/>
                  </a:lnTo>
                  <a:lnTo>
                    <a:pt x="16556" y="782"/>
                  </a:lnTo>
                  <a:lnTo>
                    <a:pt x="16562" y="778"/>
                  </a:lnTo>
                  <a:lnTo>
                    <a:pt x="16568" y="777"/>
                  </a:lnTo>
                  <a:lnTo>
                    <a:pt x="16576" y="778"/>
                  </a:lnTo>
                  <a:lnTo>
                    <a:pt x="16582" y="782"/>
                  </a:lnTo>
                  <a:lnTo>
                    <a:pt x="16588" y="787"/>
                  </a:lnTo>
                  <a:lnTo>
                    <a:pt x="16589" y="796"/>
                  </a:lnTo>
                  <a:close/>
                  <a:moveTo>
                    <a:pt x="17183" y="112"/>
                  </a:moveTo>
                  <a:lnTo>
                    <a:pt x="17100" y="225"/>
                  </a:lnTo>
                  <a:lnTo>
                    <a:pt x="17100" y="309"/>
                  </a:lnTo>
                  <a:lnTo>
                    <a:pt x="17183" y="309"/>
                  </a:lnTo>
                  <a:lnTo>
                    <a:pt x="17183" y="112"/>
                  </a:lnTo>
                  <a:close/>
                  <a:moveTo>
                    <a:pt x="17059" y="309"/>
                  </a:moveTo>
                  <a:lnTo>
                    <a:pt x="17059" y="218"/>
                  </a:lnTo>
                  <a:lnTo>
                    <a:pt x="17063" y="207"/>
                  </a:lnTo>
                  <a:lnTo>
                    <a:pt x="17175" y="55"/>
                  </a:lnTo>
                  <a:lnTo>
                    <a:pt x="16382" y="309"/>
                  </a:lnTo>
                  <a:lnTo>
                    <a:pt x="16906" y="309"/>
                  </a:lnTo>
                  <a:lnTo>
                    <a:pt x="17015" y="309"/>
                  </a:lnTo>
                  <a:lnTo>
                    <a:pt x="17059" y="309"/>
                  </a:lnTo>
                  <a:close/>
                  <a:moveTo>
                    <a:pt x="17222" y="309"/>
                  </a:moveTo>
                  <a:lnTo>
                    <a:pt x="17388" y="309"/>
                  </a:lnTo>
                  <a:lnTo>
                    <a:pt x="17222" y="80"/>
                  </a:lnTo>
                  <a:lnTo>
                    <a:pt x="17222" y="309"/>
                  </a:lnTo>
                  <a:close/>
                  <a:moveTo>
                    <a:pt x="17183" y="481"/>
                  </a:moveTo>
                  <a:lnTo>
                    <a:pt x="17015" y="481"/>
                  </a:lnTo>
                  <a:lnTo>
                    <a:pt x="17007" y="478"/>
                  </a:lnTo>
                  <a:lnTo>
                    <a:pt x="17000" y="474"/>
                  </a:lnTo>
                  <a:lnTo>
                    <a:pt x="16995" y="468"/>
                  </a:lnTo>
                  <a:lnTo>
                    <a:pt x="16994" y="460"/>
                  </a:lnTo>
                  <a:lnTo>
                    <a:pt x="16994" y="349"/>
                  </a:lnTo>
                  <a:lnTo>
                    <a:pt x="16926" y="349"/>
                  </a:lnTo>
                  <a:lnTo>
                    <a:pt x="16926" y="552"/>
                  </a:lnTo>
                  <a:lnTo>
                    <a:pt x="17067" y="552"/>
                  </a:lnTo>
                  <a:lnTo>
                    <a:pt x="17183" y="552"/>
                  </a:lnTo>
                  <a:lnTo>
                    <a:pt x="17183" y="481"/>
                  </a:lnTo>
                  <a:close/>
                  <a:moveTo>
                    <a:pt x="17222" y="349"/>
                  </a:moveTo>
                  <a:lnTo>
                    <a:pt x="17222" y="460"/>
                  </a:lnTo>
                  <a:lnTo>
                    <a:pt x="17222" y="573"/>
                  </a:lnTo>
                  <a:lnTo>
                    <a:pt x="17222" y="1413"/>
                  </a:lnTo>
                  <a:lnTo>
                    <a:pt x="17222" y="2253"/>
                  </a:lnTo>
                  <a:lnTo>
                    <a:pt x="17220" y="2262"/>
                  </a:lnTo>
                  <a:lnTo>
                    <a:pt x="17216" y="2268"/>
                  </a:lnTo>
                  <a:lnTo>
                    <a:pt x="17209" y="2272"/>
                  </a:lnTo>
                  <a:lnTo>
                    <a:pt x="17202" y="2273"/>
                  </a:lnTo>
                  <a:lnTo>
                    <a:pt x="17194" y="2272"/>
                  </a:lnTo>
                  <a:lnTo>
                    <a:pt x="17188" y="2268"/>
                  </a:lnTo>
                  <a:lnTo>
                    <a:pt x="17184" y="2262"/>
                  </a:lnTo>
                  <a:lnTo>
                    <a:pt x="17183" y="2253"/>
                  </a:lnTo>
                  <a:lnTo>
                    <a:pt x="17183" y="1422"/>
                  </a:lnTo>
                  <a:lnTo>
                    <a:pt x="17183" y="592"/>
                  </a:lnTo>
                  <a:lnTo>
                    <a:pt x="17088" y="592"/>
                  </a:lnTo>
                  <a:lnTo>
                    <a:pt x="17088" y="1422"/>
                  </a:lnTo>
                  <a:lnTo>
                    <a:pt x="17088" y="2253"/>
                  </a:lnTo>
                  <a:lnTo>
                    <a:pt x="17085" y="2262"/>
                  </a:lnTo>
                  <a:lnTo>
                    <a:pt x="17081" y="2268"/>
                  </a:lnTo>
                  <a:lnTo>
                    <a:pt x="17075" y="2272"/>
                  </a:lnTo>
                  <a:lnTo>
                    <a:pt x="17067" y="2273"/>
                  </a:lnTo>
                  <a:lnTo>
                    <a:pt x="17059" y="2272"/>
                  </a:lnTo>
                  <a:lnTo>
                    <a:pt x="17053" y="2268"/>
                  </a:lnTo>
                  <a:lnTo>
                    <a:pt x="17049" y="2262"/>
                  </a:lnTo>
                  <a:lnTo>
                    <a:pt x="17047" y="2253"/>
                  </a:lnTo>
                  <a:lnTo>
                    <a:pt x="17047" y="1422"/>
                  </a:lnTo>
                  <a:lnTo>
                    <a:pt x="17047" y="592"/>
                  </a:lnTo>
                  <a:lnTo>
                    <a:pt x="16906" y="592"/>
                  </a:lnTo>
                  <a:lnTo>
                    <a:pt x="16898" y="590"/>
                  </a:lnTo>
                  <a:lnTo>
                    <a:pt x="16891" y="587"/>
                  </a:lnTo>
                  <a:lnTo>
                    <a:pt x="16888" y="580"/>
                  </a:lnTo>
                  <a:lnTo>
                    <a:pt x="16886" y="573"/>
                  </a:lnTo>
                  <a:lnTo>
                    <a:pt x="16886" y="349"/>
                  </a:lnTo>
                  <a:lnTo>
                    <a:pt x="16584" y="349"/>
                  </a:lnTo>
                  <a:lnTo>
                    <a:pt x="16584" y="740"/>
                  </a:lnTo>
                  <a:lnTo>
                    <a:pt x="16581" y="749"/>
                  </a:lnTo>
                  <a:lnTo>
                    <a:pt x="16577" y="755"/>
                  </a:lnTo>
                  <a:lnTo>
                    <a:pt x="16571" y="759"/>
                  </a:lnTo>
                  <a:lnTo>
                    <a:pt x="16563" y="761"/>
                  </a:lnTo>
                  <a:lnTo>
                    <a:pt x="16556" y="759"/>
                  </a:lnTo>
                  <a:lnTo>
                    <a:pt x="16549" y="755"/>
                  </a:lnTo>
                  <a:lnTo>
                    <a:pt x="16545" y="749"/>
                  </a:lnTo>
                  <a:lnTo>
                    <a:pt x="16544" y="740"/>
                  </a:lnTo>
                  <a:lnTo>
                    <a:pt x="16544" y="349"/>
                  </a:lnTo>
                  <a:lnTo>
                    <a:pt x="16255" y="349"/>
                  </a:lnTo>
                  <a:lnTo>
                    <a:pt x="16246" y="348"/>
                  </a:lnTo>
                  <a:lnTo>
                    <a:pt x="16239" y="344"/>
                  </a:lnTo>
                  <a:lnTo>
                    <a:pt x="16235" y="339"/>
                  </a:lnTo>
                  <a:lnTo>
                    <a:pt x="16232" y="332"/>
                  </a:lnTo>
                  <a:lnTo>
                    <a:pt x="16232" y="326"/>
                  </a:lnTo>
                  <a:lnTo>
                    <a:pt x="16235" y="319"/>
                  </a:lnTo>
                  <a:lnTo>
                    <a:pt x="16241" y="314"/>
                  </a:lnTo>
                  <a:lnTo>
                    <a:pt x="16249" y="310"/>
                  </a:lnTo>
                  <a:lnTo>
                    <a:pt x="17184" y="9"/>
                  </a:lnTo>
                  <a:lnTo>
                    <a:pt x="17188" y="5"/>
                  </a:lnTo>
                  <a:lnTo>
                    <a:pt x="17192" y="2"/>
                  </a:lnTo>
                  <a:lnTo>
                    <a:pt x="17203" y="0"/>
                  </a:lnTo>
                  <a:lnTo>
                    <a:pt x="17213" y="2"/>
                  </a:lnTo>
                  <a:lnTo>
                    <a:pt x="17220" y="10"/>
                  </a:lnTo>
                  <a:lnTo>
                    <a:pt x="17443" y="317"/>
                  </a:lnTo>
                  <a:lnTo>
                    <a:pt x="17447" y="323"/>
                  </a:lnTo>
                  <a:lnTo>
                    <a:pt x="17449" y="328"/>
                  </a:lnTo>
                  <a:lnTo>
                    <a:pt x="17447" y="339"/>
                  </a:lnTo>
                  <a:lnTo>
                    <a:pt x="17440" y="346"/>
                  </a:lnTo>
                  <a:lnTo>
                    <a:pt x="17427" y="349"/>
                  </a:lnTo>
                  <a:lnTo>
                    <a:pt x="17222" y="349"/>
                  </a:lnTo>
                  <a:close/>
                  <a:moveTo>
                    <a:pt x="17183" y="349"/>
                  </a:moveTo>
                  <a:lnTo>
                    <a:pt x="17034" y="349"/>
                  </a:lnTo>
                  <a:lnTo>
                    <a:pt x="17034" y="440"/>
                  </a:lnTo>
                  <a:lnTo>
                    <a:pt x="17183" y="440"/>
                  </a:lnTo>
                  <a:lnTo>
                    <a:pt x="17183" y="349"/>
                  </a:lnTo>
                  <a:close/>
                  <a:moveTo>
                    <a:pt x="15662" y="1363"/>
                  </a:moveTo>
                  <a:lnTo>
                    <a:pt x="15676" y="1370"/>
                  </a:lnTo>
                  <a:lnTo>
                    <a:pt x="15687" y="1379"/>
                  </a:lnTo>
                  <a:lnTo>
                    <a:pt x="15696" y="1391"/>
                  </a:lnTo>
                  <a:lnTo>
                    <a:pt x="15704" y="1404"/>
                  </a:lnTo>
                  <a:lnTo>
                    <a:pt x="15709" y="1417"/>
                  </a:lnTo>
                  <a:lnTo>
                    <a:pt x="15713" y="1431"/>
                  </a:lnTo>
                  <a:lnTo>
                    <a:pt x="15713" y="1461"/>
                  </a:lnTo>
                  <a:lnTo>
                    <a:pt x="15709" y="1477"/>
                  </a:lnTo>
                  <a:lnTo>
                    <a:pt x="15702" y="1491"/>
                  </a:lnTo>
                  <a:lnTo>
                    <a:pt x="15693" y="1503"/>
                  </a:lnTo>
                  <a:lnTo>
                    <a:pt x="15681" y="1515"/>
                  </a:lnTo>
                  <a:lnTo>
                    <a:pt x="15668" y="1524"/>
                  </a:lnTo>
                  <a:lnTo>
                    <a:pt x="15654" y="1530"/>
                  </a:lnTo>
                  <a:lnTo>
                    <a:pt x="15640" y="1534"/>
                  </a:lnTo>
                  <a:lnTo>
                    <a:pt x="15623" y="1535"/>
                  </a:lnTo>
                  <a:lnTo>
                    <a:pt x="15605" y="1534"/>
                  </a:lnTo>
                  <a:lnTo>
                    <a:pt x="15589" y="1529"/>
                  </a:lnTo>
                  <a:lnTo>
                    <a:pt x="15573" y="1520"/>
                  </a:lnTo>
                  <a:lnTo>
                    <a:pt x="15559" y="1509"/>
                  </a:lnTo>
                  <a:lnTo>
                    <a:pt x="15549" y="1496"/>
                  </a:lnTo>
                  <a:lnTo>
                    <a:pt x="15540" y="1480"/>
                  </a:lnTo>
                  <a:lnTo>
                    <a:pt x="15535" y="1464"/>
                  </a:lnTo>
                  <a:lnTo>
                    <a:pt x="15532" y="1445"/>
                  </a:lnTo>
                  <a:lnTo>
                    <a:pt x="15535" y="1437"/>
                  </a:lnTo>
                  <a:lnTo>
                    <a:pt x="15539" y="1431"/>
                  </a:lnTo>
                  <a:lnTo>
                    <a:pt x="15545" y="1427"/>
                  </a:lnTo>
                  <a:lnTo>
                    <a:pt x="15553" y="1425"/>
                  </a:lnTo>
                  <a:lnTo>
                    <a:pt x="15560" y="1427"/>
                  </a:lnTo>
                  <a:lnTo>
                    <a:pt x="15567" y="1431"/>
                  </a:lnTo>
                  <a:lnTo>
                    <a:pt x="15571" y="1437"/>
                  </a:lnTo>
                  <a:lnTo>
                    <a:pt x="15573" y="1445"/>
                  </a:lnTo>
                  <a:lnTo>
                    <a:pt x="15573" y="1455"/>
                  </a:lnTo>
                  <a:lnTo>
                    <a:pt x="15577" y="1465"/>
                  </a:lnTo>
                  <a:lnTo>
                    <a:pt x="15581" y="1474"/>
                  </a:lnTo>
                  <a:lnTo>
                    <a:pt x="15587" y="1480"/>
                  </a:lnTo>
                  <a:lnTo>
                    <a:pt x="15595" y="1487"/>
                  </a:lnTo>
                  <a:lnTo>
                    <a:pt x="15604" y="1492"/>
                  </a:lnTo>
                  <a:lnTo>
                    <a:pt x="15623" y="1496"/>
                  </a:lnTo>
                  <a:lnTo>
                    <a:pt x="15641" y="1492"/>
                  </a:lnTo>
                  <a:lnTo>
                    <a:pt x="15655" y="1484"/>
                  </a:lnTo>
                  <a:lnTo>
                    <a:pt x="15662" y="1478"/>
                  </a:lnTo>
                  <a:lnTo>
                    <a:pt x="15667" y="1470"/>
                  </a:lnTo>
                  <a:lnTo>
                    <a:pt x="15673" y="1455"/>
                  </a:lnTo>
                  <a:lnTo>
                    <a:pt x="15675" y="1436"/>
                  </a:lnTo>
                  <a:lnTo>
                    <a:pt x="15669" y="1423"/>
                  </a:lnTo>
                  <a:lnTo>
                    <a:pt x="15662" y="1413"/>
                  </a:lnTo>
                  <a:lnTo>
                    <a:pt x="15652" y="1405"/>
                  </a:lnTo>
                  <a:lnTo>
                    <a:pt x="15631" y="1390"/>
                  </a:lnTo>
                  <a:lnTo>
                    <a:pt x="15625" y="1379"/>
                  </a:lnTo>
                  <a:lnTo>
                    <a:pt x="15622" y="1365"/>
                  </a:lnTo>
                  <a:lnTo>
                    <a:pt x="15622" y="1323"/>
                  </a:lnTo>
                  <a:lnTo>
                    <a:pt x="15623" y="1314"/>
                  </a:lnTo>
                  <a:lnTo>
                    <a:pt x="15628" y="1308"/>
                  </a:lnTo>
                  <a:lnTo>
                    <a:pt x="15635" y="1305"/>
                  </a:lnTo>
                  <a:lnTo>
                    <a:pt x="15643" y="1304"/>
                  </a:lnTo>
                  <a:lnTo>
                    <a:pt x="15649" y="1305"/>
                  </a:lnTo>
                  <a:lnTo>
                    <a:pt x="15655" y="1308"/>
                  </a:lnTo>
                  <a:lnTo>
                    <a:pt x="15660" y="1314"/>
                  </a:lnTo>
                  <a:lnTo>
                    <a:pt x="15662" y="1323"/>
                  </a:lnTo>
                  <a:lnTo>
                    <a:pt x="15662" y="1363"/>
                  </a:lnTo>
                  <a:close/>
                  <a:moveTo>
                    <a:pt x="15667" y="963"/>
                  </a:moveTo>
                  <a:lnTo>
                    <a:pt x="15667" y="1277"/>
                  </a:lnTo>
                  <a:lnTo>
                    <a:pt x="15664" y="1286"/>
                  </a:lnTo>
                  <a:lnTo>
                    <a:pt x="15660" y="1292"/>
                  </a:lnTo>
                  <a:lnTo>
                    <a:pt x="15654" y="1296"/>
                  </a:lnTo>
                  <a:lnTo>
                    <a:pt x="15646" y="1298"/>
                  </a:lnTo>
                  <a:lnTo>
                    <a:pt x="15639" y="1296"/>
                  </a:lnTo>
                  <a:lnTo>
                    <a:pt x="15632" y="1292"/>
                  </a:lnTo>
                  <a:lnTo>
                    <a:pt x="15628" y="1286"/>
                  </a:lnTo>
                  <a:lnTo>
                    <a:pt x="15627" y="1277"/>
                  </a:lnTo>
                  <a:lnTo>
                    <a:pt x="15627" y="963"/>
                  </a:lnTo>
                  <a:lnTo>
                    <a:pt x="15385" y="963"/>
                  </a:lnTo>
                  <a:lnTo>
                    <a:pt x="15385" y="1139"/>
                  </a:lnTo>
                  <a:lnTo>
                    <a:pt x="15384" y="1147"/>
                  </a:lnTo>
                  <a:lnTo>
                    <a:pt x="15378" y="1153"/>
                  </a:lnTo>
                  <a:lnTo>
                    <a:pt x="15372" y="1157"/>
                  </a:lnTo>
                  <a:lnTo>
                    <a:pt x="15366" y="1158"/>
                  </a:lnTo>
                  <a:lnTo>
                    <a:pt x="15253" y="1158"/>
                  </a:lnTo>
                  <a:lnTo>
                    <a:pt x="15253" y="1705"/>
                  </a:lnTo>
                  <a:lnTo>
                    <a:pt x="15253" y="2253"/>
                  </a:lnTo>
                  <a:lnTo>
                    <a:pt x="15250" y="2262"/>
                  </a:lnTo>
                  <a:lnTo>
                    <a:pt x="15246" y="2268"/>
                  </a:lnTo>
                  <a:lnTo>
                    <a:pt x="15240" y="2272"/>
                  </a:lnTo>
                  <a:lnTo>
                    <a:pt x="15232" y="2273"/>
                  </a:lnTo>
                  <a:lnTo>
                    <a:pt x="15225" y="2272"/>
                  </a:lnTo>
                  <a:lnTo>
                    <a:pt x="15218" y="2268"/>
                  </a:lnTo>
                  <a:lnTo>
                    <a:pt x="15214" y="2262"/>
                  </a:lnTo>
                  <a:lnTo>
                    <a:pt x="15213" y="2253"/>
                  </a:lnTo>
                  <a:lnTo>
                    <a:pt x="15213" y="1705"/>
                  </a:lnTo>
                  <a:lnTo>
                    <a:pt x="15213" y="1158"/>
                  </a:lnTo>
                  <a:lnTo>
                    <a:pt x="15141" y="1158"/>
                  </a:lnTo>
                  <a:lnTo>
                    <a:pt x="15141" y="1705"/>
                  </a:lnTo>
                  <a:lnTo>
                    <a:pt x="15141" y="2253"/>
                  </a:lnTo>
                  <a:lnTo>
                    <a:pt x="15140" y="2262"/>
                  </a:lnTo>
                  <a:lnTo>
                    <a:pt x="15135" y="2268"/>
                  </a:lnTo>
                  <a:lnTo>
                    <a:pt x="15128" y="2272"/>
                  </a:lnTo>
                  <a:lnTo>
                    <a:pt x="15122" y="2273"/>
                  </a:lnTo>
                  <a:lnTo>
                    <a:pt x="15114" y="2272"/>
                  </a:lnTo>
                  <a:lnTo>
                    <a:pt x="15108" y="2268"/>
                  </a:lnTo>
                  <a:lnTo>
                    <a:pt x="15103" y="2262"/>
                  </a:lnTo>
                  <a:lnTo>
                    <a:pt x="15101" y="2253"/>
                  </a:lnTo>
                  <a:lnTo>
                    <a:pt x="15101" y="1695"/>
                  </a:lnTo>
                  <a:lnTo>
                    <a:pt x="15101" y="1139"/>
                  </a:lnTo>
                  <a:lnTo>
                    <a:pt x="15101" y="1047"/>
                  </a:lnTo>
                  <a:lnTo>
                    <a:pt x="15101" y="963"/>
                  </a:lnTo>
                  <a:lnTo>
                    <a:pt x="14931" y="963"/>
                  </a:lnTo>
                  <a:lnTo>
                    <a:pt x="14918" y="960"/>
                  </a:lnTo>
                  <a:lnTo>
                    <a:pt x="14913" y="956"/>
                  </a:lnTo>
                  <a:lnTo>
                    <a:pt x="14910" y="952"/>
                  </a:lnTo>
                  <a:lnTo>
                    <a:pt x="14909" y="947"/>
                  </a:lnTo>
                  <a:lnTo>
                    <a:pt x="14909" y="942"/>
                  </a:lnTo>
                  <a:lnTo>
                    <a:pt x="14914" y="931"/>
                  </a:lnTo>
                  <a:lnTo>
                    <a:pt x="15105" y="680"/>
                  </a:lnTo>
                  <a:lnTo>
                    <a:pt x="15116" y="675"/>
                  </a:lnTo>
                  <a:lnTo>
                    <a:pt x="15127" y="674"/>
                  </a:lnTo>
                  <a:lnTo>
                    <a:pt x="15907" y="924"/>
                  </a:lnTo>
                  <a:lnTo>
                    <a:pt x="15920" y="933"/>
                  </a:lnTo>
                  <a:lnTo>
                    <a:pt x="15922" y="940"/>
                  </a:lnTo>
                  <a:lnTo>
                    <a:pt x="15923" y="946"/>
                  </a:lnTo>
                  <a:lnTo>
                    <a:pt x="15921" y="952"/>
                  </a:lnTo>
                  <a:lnTo>
                    <a:pt x="15916" y="957"/>
                  </a:lnTo>
                  <a:lnTo>
                    <a:pt x="15909" y="961"/>
                  </a:lnTo>
                  <a:lnTo>
                    <a:pt x="15900" y="963"/>
                  </a:lnTo>
                  <a:lnTo>
                    <a:pt x="15667" y="963"/>
                  </a:lnTo>
                  <a:close/>
                  <a:moveTo>
                    <a:pt x="15167" y="727"/>
                  </a:moveTo>
                  <a:lnTo>
                    <a:pt x="15240" y="828"/>
                  </a:lnTo>
                  <a:lnTo>
                    <a:pt x="15244" y="840"/>
                  </a:lnTo>
                  <a:lnTo>
                    <a:pt x="15244" y="923"/>
                  </a:lnTo>
                  <a:lnTo>
                    <a:pt x="15276" y="923"/>
                  </a:lnTo>
                  <a:lnTo>
                    <a:pt x="15366" y="923"/>
                  </a:lnTo>
                  <a:lnTo>
                    <a:pt x="15773" y="923"/>
                  </a:lnTo>
                  <a:lnTo>
                    <a:pt x="15167" y="727"/>
                  </a:lnTo>
                  <a:close/>
                  <a:moveTo>
                    <a:pt x="15203" y="923"/>
                  </a:moveTo>
                  <a:lnTo>
                    <a:pt x="15203" y="846"/>
                  </a:lnTo>
                  <a:lnTo>
                    <a:pt x="15141" y="762"/>
                  </a:lnTo>
                  <a:lnTo>
                    <a:pt x="15141" y="923"/>
                  </a:lnTo>
                  <a:lnTo>
                    <a:pt x="15203" y="923"/>
                  </a:lnTo>
                  <a:close/>
                  <a:moveTo>
                    <a:pt x="15101" y="752"/>
                  </a:moveTo>
                  <a:lnTo>
                    <a:pt x="14971" y="923"/>
                  </a:lnTo>
                  <a:lnTo>
                    <a:pt x="15101" y="923"/>
                  </a:lnTo>
                  <a:lnTo>
                    <a:pt x="15101" y="752"/>
                  </a:lnTo>
                  <a:close/>
                  <a:moveTo>
                    <a:pt x="15296" y="963"/>
                  </a:moveTo>
                  <a:lnTo>
                    <a:pt x="15296" y="1047"/>
                  </a:lnTo>
                  <a:lnTo>
                    <a:pt x="15295" y="1055"/>
                  </a:lnTo>
                  <a:lnTo>
                    <a:pt x="15290" y="1061"/>
                  </a:lnTo>
                  <a:lnTo>
                    <a:pt x="15283" y="1065"/>
                  </a:lnTo>
                  <a:lnTo>
                    <a:pt x="15276" y="1066"/>
                  </a:lnTo>
                  <a:lnTo>
                    <a:pt x="15141" y="1066"/>
                  </a:lnTo>
                  <a:lnTo>
                    <a:pt x="15141" y="1119"/>
                  </a:lnTo>
                  <a:lnTo>
                    <a:pt x="15232" y="1119"/>
                  </a:lnTo>
                  <a:lnTo>
                    <a:pt x="15345" y="1119"/>
                  </a:lnTo>
                  <a:lnTo>
                    <a:pt x="15345" y="963"/>
                  </a:lnTo>
                  <a:lnTo>
                    <a:pt x="15296" y="963"/>
                  </a:lnTo>
                  <a:close/>
                  <a:moveTo>
                    <a:pt x="15257" y="963"/>
                  </a:moveTo>
                  <a:lnTo>
                    <a:pt x="15141" y="963"/>
                  </a:lnTo>
                  <a:lnTo>
                    <a:pt x="15141" y="1027"/>
                  </a:lnTo>
                  <a:lnTo>
                    <a:pt x="15257" y="1027"/>
                  </a:lnTo>
                  <a:lnTo>
                    <a:pt x="15257" y="963"/>
                  </a:lnTo>
                  <a:close/>
                  <a:moveTo>
                    <a:pt x="12486" y="3681"/>
                  </a:moveTo>
                  <a:lnTo>
                    <a:pt x="12486" y="3792"/>
                  </a:lnTo>
                  <a:lnTo>
                    <a:pt x="12484" y="3800"/>
                  </a:lnTo>
                  <a:lnTo>
                    <a:pt x="12482" y="3805"/>
                  </a:lnTo>
                  <a:lnTo>
                    <a:pt x="12523" y="3838"/>
                  </a:lnTo>
                  <a:lnTo>
                    <a:pt x="12559" y="3875"/>
                  </a:lnTo>
                  <a:lnTo>
                    <a:pt x="12592" y="3918"/>
                  </a:lnTo>
                  <a:lnTo>
                    <a:pt x="12606" y="3939"/>
                  </a:lnTo>
                  <a:lnTo>
                    <a:pt x="12619" y="3962"/>
                  </a:lnTo>
                  <a:lnTo>
                    <a:pt x="12641" y="4011"/>
                  </a:lnTo>
                  <a:lnTo>
                    <a:pt x="12657" y="4062"/>
                  </a:lnTo>
                  <a:lnTo>
                    <a:pt x="12666" y="4116"/>
                  </a:lnTo>
                  <a:lnTo>
                    <a:pt x="12670" y="4171"/>
                  </a:lnTo>
                  <a:lnTo>
                    <a:pt x="12666" y="4226"/>
                  </a:lnTo>
                  <a:lnTo>
                    <a:pt x="12661" y="4265"/>
                  </a:lnTo>
                  <a:lnTo>
                    <a:pt x="12654" y="4304"/>
                  </a:lnTo>
                  <a:lnTo>
                    <a:pt x="13197" y="4304"/>
                  </a:lnTo>
                  <a:lnTo>
                    <a:pt x="13741" y="4304"/>
                  </a:lnTo>
                  <a:lnTo>
                    <a:pt x="13741" y="3764"/>
                  </a:lnTo>
                  <a:lnTo>
                    <a:pt x="13741" y="3225"/>
                  </a:lnTo>
                  <a:lnTo>
                    <a:pt x="13183" y="3225"/>
                  </a:lnTo>
                  <a:lnTo>
                    <a:pt x="12625" y="3225"/>
                  </a:lnTo>
                  <a:lnTo>
                    <a:pt x="12616" y="3222"/>
                  </a:lnTo>
                  <a:lnTo>
                    <a:pt x="12610" y="3218"/>
                  </a:lnTo>
                  <a:lnTo>
                    <a:pt x="12606" y="3212"/>
                  </a:lnTo>
                  <a:lnTo>
                    <a:pt x="12606" y="3204"/>
                  </a:lnTo>
                  <a:lnTo>
                    <a:pt x="12606" y="3196"/>
                  </a:lnTo>
                  <a:lnTo>
                    <a:pt x="12610" y="3190"/>
                  </a:lnTo>
                  <a:lnTo>
                    <a:pt x="12616" y="3186"/>
                  </a:lnTo>
                  <a:lnTo>
                    <a:pt x="12625" y="3184"/>
                  </a:lnTo>
                  <a:lnTo>
                    <a:pt x="12793" y="3184"/>
                  </a:lnTo>
                  <a:lnTo>
                    <a:pt x="12793" y="3031"/>
                  </a:lnTo>
                  <a:lnTo>
                    <a:pt x="12353" y="3031"/>
                  </a:lnTo>
                  <a:lnTo>
                    <a:pt x="12353" y="3184"/>
                  </a:lnTo>
                  <a:lnTo>
                    <a:pt x="12493" y="3184"/>
                  </a:lnTo>
                  <a:lnTo>
                    <a:pt x="12502" y="3186"/>
                  </a:lnTo>
                  <a:lnTo>
                    <a:pt x="12509" y="3190"/>
                  </a:lnTo>
                  <a:lnTo>
                    <a:pt x="12512" y="3196"/>
                  </a:lnTo>
                  <a:lnTo>
                    <a:pt x="12514" y="3204"/>
                  </a:lnTo>
                  <a:lnTo>
                    <a:pt x="12512" y="3212"/>
                  </a:lnTo>
                  <a:lnTo>
                    <a:pt x="12509" y="3218"/>
                  </a:lnTo>
                  <a:lnTo>
                    <a:pt x="12502" y="3222"/>
                  </a:lnTo>
                  <a:lnTo>
                    <a:pt x="12493" y="3225"/>
                  </a:lnTo>
                  <a:lnTo>
                    <a:pt x="12236" y="3225"/>
                  </a:lnTo>
                  <a:lnTo>
                    <a:pt x="12236" y="3670"/>
                  </a:lnTo>
                  <a:lnTo>
                    <a:pt x="12233" y="3679"/>
                  </a:lnTo>
                  <a:lnTo>
                    <a:pt x="12229" y="3685"/>
                  </a:lnTo>
                  <a:lnTo>
                    <a:pt x="12223" y="3689"/>
                  </a:lnTo>
                  <a:lnTo>
                    <a:pt x="12215" y="3690"/>
                  </a:lnTo>
                  <a:lnTo>
                    <a:pt x="12207" y="3689"/>
                  </a:lnTo>
                  <a:lnTo>
                    <a:pt x="12201" y="3685"/>
                  </a:lnTo>
                  <a:lnTo>
                    <a:pt x="12197" y="3679"/>
                  </a:lnTo>
                  <a:lnTo>
                    <a:pt x="12194" y="3670"/>
                  </a:lnTo>
                  <a:lnTo>
                    <a:pt x="12194" y="3204"/>
                  </a:lnTo>
                  <a:lnTo>
                    <a:pt x="12197" y="3196"/>
                  </a:lnTo>
                  <a:lnTo>
                    <a:pt x="12201" y="3190"/>
                  </a:lnTo>
                  <a:lnTo>
                    <a:pt x="12207" y="3186"/>
                  </a:lnTo>
                  <a:lnTo>
                    <a:pt x="12215" y="3184"/>
                  </a:lnTo>
                  <a:lnTo>
                    <a:pt x="12314" y="3184"/>
                  </a:lnTo>
                  <a:lnTo>
                    <a:pt x="12314" y="3011"/>
                  </a:lnTo>
                  <a:lnTo>
                    <a:pt x="12315" y="3003"/>
                  </a:lnTo>
                  <a:lnTo>
                    <a:pt x="12319" y="2997"/>
                  </a:lnTo>
                  <a:lnTo>
                    <a:pt x="12325" y="2993"/>
                  </a:lnTo>
                  <a:lnTo>
                    <a:pt x="12333" y="2991"/>
                  </a:lnTo>
                  <a:lnTo>
                    <a:pt x="12814" y="2991"/>
                  </a:lnTo>
                  <a:lnTo>
                    <a:pt x="12822" y="2993"/>
                  </a:lnTo>
                  <a:lnTo>
                    <a:pt x="12828" y="2997"/>
                  </a:lnTo>
                  <a:lnTo>
                    <a:pt x="12832" y="3003"/>
                  </a:lnTo>
                  <a:lnTo>
                    <a:pt x="12833" y="3011"/>
                  </a:lnTo>
                  <a:lnTo>
                    <a:pt x="12833" y="3184"/>
                  </a:lnTo>
                  <a:lnTo>
                    <a:pt x="13761" y="3184"/>
                  </a:lnTo>
                  <a:lnTo>
                    <a:pt x="13769" y="3186"/>
                  </a:lnTo>
                  <a:lnTo>
                    <a:pt x="13776" y="3190"/>
                  </a:lnTo>
                  <a:lnTo>
                    <a:pt x="13779" y="3196"/>
                  </a:lnTo>
                  <a:lnTo>
                    <a:pt x="13782" y="3204"/>
                  </a:lnTo>
                  <a:lnTo>
                    <a:pt x="13782" y="3764"/>
                  </a:lnTo>
                  <a:lnTo>
                    <a:pt x="13782" y="4324"/>
                  </a:lnTo>
                  <a:lnTo>
                    <a:pt x="13779" y="4332"/>
                  </a:lnTo>
                  <a:lnTo>
                    <a:pt x="13776" y="4338"/>
                  </a:lnTo>
                  <a:lnTo>
                    <a:pt x="13769" y="4342"/>
                  </a:lnTo>
                  <a:lnTo>
                    <a:pt x="13761" y="4343"/>
                  </a:lnTo>
                  <a:lnTo>
                    <a:pt x="13197" y="4343"/>
                  </a:lnTo>
                  <a:lnTo>
                    <a:pt x="12633" y="4343"/>
                  </a:lnTo>
                  <a:lnTo>
                    <a:pt x="12628" y="4347"/>
                  </a:lnTo>
                  <a:lnTo>
                    <a:pt x="12621" y="4349"/>
                  </a:lnTo>
                  <a:lnTo>
                    <a:pt x="12016" y="4349"/>
                  </a:lnTo>
                  <a:lnTo>
                    <a:pt x="11412" y="4349"/>
                  </a:lnTo>
                  <a:lnTo>
                    <a:pt x="11403" y="4346"/>
                  </a:lnTo>
                  <a:lnTo>
                    <a:pt x="11397" y="4341"/>
                  </a:lnTo>
                  <a:lnTo>
                    <a:pt x="11388" y="4334"/>
                  </a:lnTo>
                  <a:lnTo>
                    <a:pt x="11385" y="4329"/>
                  </a:lnTo>
                  <a:lnTo>
                    <a:pt x="11385" y="4323"/>
                  </a:lnTo>
                  <a:lnTo>
                    <a:pt x="11385" y="3936"/>
                  </a:lnTo>
                  <a:lnTo>
                    <a:pt x="11346" y="3930"/>
                  </a:lnTo>
                  <a:lnTo>
                    <a:pt x="11307" y="3924"/>
                  </a:lnTo>
                  <a:lnTo>
                    <a:pt x="11271" y="3913"/>
                  </a:lnTo>
                  <a:lnTo>
                    <a:pt x="11235" y="3898"/>
                  </a:lnTo>
                  <a:lnTo>
                    <a:pt x="11202" y="3881"/>
                  </a:lnTo>
                  <a:lnTo>
                    <a:pt x="11171" y="3860"/>
                  </a:lnTo>
                  <a:lnTo>
                    <a:pt x="11142" y="3837"/>
                  </a:lnTo>
                  <a:lnTo>
                    <a:pt x="11115" y="3811"/>
                  </a:lnTo>
                  <a:lnTo>
                    <a:pt x="11090" y="3783"/>
                  </a:lnTo>
                  <a:lnTo>
                    <a:pt x="11069" y="3753"/>
                  </a:lnTo>
                  <a:lnTo>
                    <a:pt x="11049" y="3721"/>
                  </a:lnTo>
                  <a:lnTo>
                    <a:pt x="11034" y="3686"/>
                  </a:lnTo>
                  <a:lnTo>
                    <a:pt x="11021" y="3650"/>
                  </a:lnTo>
                  <a:lnTo>
                    <a:pt x="11011" y="3613"/>
                  </a:lnTo>
                  <a:lnTo>
                    <a:pt x="11006" y="3575"/>
                  </a:lnTo>
                  <a:lnTo>
                    <a:pt x="11005" y="3535"/>
                  </a:lnTo>
                  <a:lnTo>
                    <a:pt x="11006" y="3494"/>
                  </a:lnTo>
                  <a:lnTo>
                    <a:pt x="11012" y="3453"/>
                  </a:lnTo>
                  <a:lnTo>
                    <a:pt x="11022" y="3415"/>
                  </a:lnTo>
                  <a:lnTo>
                    <a:pt x="11035" y="3379"/>
                  </a:lnTo>
                  <a:lnTo>
                    <a:pt x="11052" y="3343"/>
                  </a:lnTo>
                  <a:lnTo>
                    <a:pt x="11072" y="3310"/>
                  </a:lnTo>
                  <a:lnTo>
                    <a:pt x="11096" y="3280"/>
                  </a:lnTo>
                  <a:lnTo>
                    <a:pt x="11121" y="3251"/>
                  </a:lnTo>
                  <a:lnTo>
                    <a:pt x="11151" y="3226"/>
                  </a:lnTo>
                  <a:lnTo>
                    <a:pt x="11181" y="3203"/>
                  </a:lnTo>
                  <a:lnTo>
                    <a:pt x="11214" y="3182"/>
                  </a:lnTo>
                  <a:lnTo>
                    <a:pt x="11249" y="3166"/>
                  </a:lnTo>
                  <a:lnTo>
                    <a:pt x="11287" y="3152"/>
                  </a:lnTo>
                  <a:lnTo>
                    <a:pt x="11325" y="3143"/>
                  </a:lnTo>
                  <a:lnTo>
                    <a:pt x="11365" y="3136"/>
                  </a:lnTo>
                  <a:lnTo>
                    <a:pt x="11406" y="3134"/>
                  </a:lnTo>
                  <a:lnTo>
                    <a:pt x="11447" y="3136"/>
                  </a:lnTo>
                  <a:lnTo>
                    <a:pt x="11487" y="3143"/>
                  </a:lnTo>
                  <a:lnTo>
                    <a:pt x="11525" y="3152"/>
                  </a:lnTo>
                  <a:lnTo>
                    <a:pt x="11562" y="3166"/>
                  </a:lnTo>
                  <a:lnTo>
                    <a:pt x="11597" y="3182"/>
                  </a:lnTo>
                  <a:lnTo>
                    <a:pt x="11630" y="3203"/>
                  </a:lnTo>
                  <a:lnTo>
                    <a:pt x="11661" y="3226"/>
                  </a:lnTo>
                  <a:lnTo>
                    <a:pt x="11689" y="3251"/>
                  </a:lnTo>
                  <a:lnTo>
                    <a:pt x="11716" y="3280"/>
                  </a:lnTo>
                  <a:lnTo>
                    <a:pt x="11739" y="3310"/>
                  </a:lnTo>
                  <a:lnTo>
                    <a:pt x="11759" y="3343"/>
                  </a:lnTo>
                  <a:lnTo>
                    <a:pt x="11775" y="3379"/>
                  </a:lnTo>
                  <a:lnTo>
                    <a:pt x="11789" y="3415"/>
                  </a:lnTo>
                  <a:lnTo>
                    <a:pt x="11800" y="3453"/>
                  </a:lnTo>
                  <a:lnTo>
                    <a:pt x="11805" y="3494"/>
                  </a:lnTo>
                  <a:lnTo>
                    <a:pt x="11807" y="3535"/>
                  </a:lnTo>
                  <a:lnTo>
                    <a:pt x="11806" y="3575"/>
                  </a:lnTo>
                  <a:lnTo>
                    <a:pt x="11800" y="3613"/>
                  </a:lnTo>
                  <a:lnTo>
                    <a:pt x="11791" y="3650"/>
                  </a:lnTo>
                  <a:lnTo>
                    <a:pt x="11778" y="3686"/>
                  </a:lnTo>
                  <a:lnTo>
                    <a:pt x="11761" y="3721"/>
                  </a:lnTo>
                  <a:lnTo>
                    <a:pt x="11743" y="3753"/>
                  </a:lnTo>
                  <a:lnTo>
                    <a:pt x="11720" y="3783"/>
                  </a:lnTo>
                  <a:lnTo>
                    <a:pt x="11696" y="3811"/>
                  </a:lnTo>
                  <a:lnTo>
                    <a:pt x="11669" y="3837"/>
                  </a:lnTo>
                  <a:lnTo>
                    <a:pt x="11639" y="3860"/>
                  </a:lnTo>
                  <a:lnTo>
                    <a:pt x="11608" y="3881"/>
                  </a:lnTo>
                  <a:lnTo>
                    <a:pt x="11575" y="3898"/>
                  </a:lnTo>
                  <a:lnTo>
                    <a:pt x="11539" y="3913"/>
                  </a:lnTo>
                  <a:lnTo>
                    <a:pt x="11502" y="3924"/>
                  </a:lnTo>
                  <a:lnTo>
                    <a:pt x="11465" y="3932"/>
                  </a:lnTo>
                  <a:lnTo>
                    <a:pt x="11425" y="3936"/>
                  </a:lnTo>
                  <a:lnTo>
                    <a:pt x="11425" y="4205"/>
                  </a:lnTo>
                  <a:lnTo>
                    <a:pt x="11443" y="4178"/>
                  </a:lnTo>
                  <a:lnTo>
                    <a:pt x="11464" y="4153"/>
                  </a:lnTo>
                  <a:lnTo>
                    <a:pt x="11488" y="4130"/>
                  </a:lnTo>
                  <a:lnTo>
                    <a:pt x="11516" y="4108"/>
                  </a:lnTo>
                  <a:lnTo>
                    <a:pt x="11549" y="4090"/>
                  </a:lnTo>
                  <a:lnTo>
                    <a:pt x="11585" y="4076"/>
                  </a:lnTo>
                  <a:lnTo>
                    <a:pt x="11625" y="4067"/>
                  </a:lnTo>
                  <a:lnTo>
                    <a:pt x="11646" y="4065"/>
                  </a:lnTo>
                  <a:lnTo>
                    <a:pt x="11669" y="4065"/>
                  </a:lnTo>
                  <a:lnTo>
                    <a:pt x="11685" y="4066"/>
                  </a:lnTo>
                  <a:lnTo>
                    <a:pt x="11702" y="4069"/>
                  </a:lnTo>
                  <a:lnTo>
                    <a:pt x="11719" y="4074"/>
                  </a:lnTo>
                  <a:lnTo>
                    <a:pt x="11734" y="4080"/>
                  </a:lnTo>
                  <a:lnTo>
                    <a:pt x="11766" y="4092"/>
                  </a:lnTo>
                  <a:lnTo>
                    <a:pt x="11783" y="4095"/>
                  </a:lnTo>
                  <a:lnTo>
                    <a:pt x="11800" y="4097"/>
                  </a:lnTo>
                  <a:lnTo>
                    <a:pt x="11814" y="4095"/>
                  </a:lnTo>
                  <a:lnTo>
                    <a:pt x="11825" y="4090"/>
                  </a:lnTo>
                  <a:lnTo>
                    <a:pt x="11837" y="4084"/>
                  </a:lnTo>
                  <a:lnTo>
                    <a:pt x="11847" y="4076"/>
                  </a:lnTo>
                  <a:lnTo>
                    <a:pt x="11847" y="3213"/>
                  </a:lnTo>
                  <a:lnTo>
                    <a:pt x="11833" y="3208"/>
                  </a:lnTo>
                  <a:lnTo>
                    <a:pt x="11820" y="3199"/>
                  </a:lnTo>
                  <a:lnTo>
                    <a:pt x="11796" y="3182"/>
                  </a:lnTo>
                  <a:lnTo>
                    <a:pt x="11784" y="3173"/>
                  </a:lnTo>
                  <a:lnTo>
                    <a:pt x="11771" y="3167"/>
                  </a:lnTo>
                  <a:lnTo>
                    <a:pt x="11757" y="3163"/>
                  </a:lnTo>
                  <a:lnTo>
                    <a:pt x="11742" y="3163"/>
                  </a:lnTo>
                  <a:lnTo>
                    <a:pt x="11696" y="3170"/>
                  </a:lnTo>
                  <a:lnTo>
                    <a:pt x="11678" y="3172"/>
                  </a:lnTo>
                  <a:lnTo>
                    <a:pt x="11661" y="3171"/>
                  </a:lnTo>
                  <a:lnTo>
                    <a:pt x="11646" y="3166"/>
                  </a:lnTo>
                  <a:lnTo>
                    <a:pt x="11632" y="3156"/>
                  </a:lnTo>
                  <a:lnTo>
                    <a:pt x="11624" y="3148"/>
                  </a:lnTo>
                  <a:lnTo>
                    <a:pt x="11617" y="3139"/>
                  </a:lnTo>
                  <a:lnTo>
                    <a:pt x="11602" y="3115"/>
                  </a:lnTo>
                  <a:lnTo>
                    <a:pt x="11591" y="3093"/>
                  </a:lnTo>
                  <a:lnTo>
                    <a:pt x="11580" y="3079"/>
                  </a:lnTo>
                  <a:lnTo>
                    <a:pt x="11570" y="3070"/>
                  </a:lnTo>
                  <a:lnTo>
                    <a:pt x="11561" y="3065"/>
                  </a:lnTo>
                  <a:lnTo>
                    <a:pt x="11537" y="3060"/>
                  </a:lnTo>
                  <a:lnTo>
                    <a:pt x="11520" y="3055"/>
                  </a:lnTo>
                  <a:lnTo>
                    <a:pt x="11498" y="3047"/>
                  </a:lnTo>
                  <a:lnTo>
                    <a:pt x="11475" y="3033"/>
                  </a:lnTo>
                  <a:lnTo>
                    <a:pt x="11467" y="3024"/>
                  </a:lnTo>
                  <a:lnTo>
                    <a:pt x="11462" y="3015"/>
                  </a:lnTo>
                  <a:lnTo>
                    <a:pt x="11456" y="2996"/>
                  </a:lnTo>
                  <a:lnTo>
                    <a:pt x="11453" y="2974"/>
                  </a:lnTo>
                  <a:lnTo>
                    <a:pt x="11453" y="2953"/>
                  </a:lnTo>
                  <a:lnTo>
                    <a:pt x="11451" y="2933"/>
                  </a:lnTo>
                  <a:lnTo>
                    <a:pt x="11446" y="2913"/>
                  </a:lnTo>
                  <a:lnTo>
                    <a:pt x="11440" y="2904"/>
                  </a:lnTo>
                  <a:lnTo>
                    <a:pt x="11434" y="2896"/>
                  </a:lnTo>
                  <a:lnTo>
                    <a:pt x="11399" y="2864"/>
                  </a:lnTo>
                  <a:lnTo>
                    <a:pt x="11387" y="2851"/>
                  </a:lnTo>
                  <a:lnTo>
                    <a:pt x="11376" y="2837"/>
                  </a:lnTo>
                  <a:lnTo>
                    <a:pt x="11371" y="2823"/>
                  </a:lnTo>
                  <a:lnTo>
                    <a:pt x="11370" y="2805"/>
                  </a:lnTo>
                  <a:lnTo>
                    <a:pt x="11375" y="2783"/>
                  </a:lnTo>
                  <a:lnTo>
                    <a:pt x="11384" y="2757"/>
                  </a:lnTo>
                  <a:lnTo>
                    <a:pt x="11394" y="2734"/>
                  </a:lnTo>
                  <a:lnTo>
                    <a:pt x="11398" y="2722"/>
                  </a:lnTo>
                  <a:lnTo>
                    <a:pt x="11401" y="2711"/>
                  </a:lnTo>
                  <a:lnTo>
                    <a:pt x="11397" y="2689"/>
                  </a:lnTo>
                  <a:lnTo>
                    <a:pt x="11389" y="2670"/>
                  </a:lnTo>
                  <a:lnTo>
                    <a:pt x="11380" y="2650"/>
                  </a:lnTo>
                  <a:lnTo>
                    <a:pt x="11373" y="2633"/>
                  </a:lnTo>
                  <a:lnTo>
                    <a:pt x="11369" y="2613"/>
                  </a:lnTo>
                  <a:lnTo>
                    <a:pt x="11373" y="2593"/>
                  </a:lnTo>
                  <a:lnTo>
                    <a:pt x="11378" y="2581"/>
                  </a:lnTo>
                  <a:lnTo>
                    <a:pt x="11387" y="2570"/>
                  </a:lnTo>
                  <a:lnTo>
                    <a:pt x="11412" y="2543"/>
                  </a:lnTo>
                  <a:lnTo>
                    <a:pt x="11430" y="2526"/>
                  </a:lnTo>
                  <a:lnTo>
                    <a:pt x="11442" y="2512"/>
                  </a:lnTo>
                  <a:lnTo>
                    <a:pt x="11448" y="2502"/>
                  </a:lnTo>
                  <a:lnTo>
                    <a:pt x="11451" y="2492"/>
                  </a:lnTo>
                  <a:lnTo>
                    <a:pt x="11452" y="2466"/>
                  </a:lnTo>
                  <a:lnTo>
                    <a:pt x="11456" y="2427"/>
                  </a:lnTo>
                  <a:lnTo>
                    <a:pt x="11460" y="2413"/>
                  </a:lnTo>
                  <a:lnTo>
                    <a:pt x="11465" y="2401"/>
                  </a:lnTo>
                  <a:lnTo>
                    <a:pt x="11471" y="2392"/>
                  </a:lnTo>
                  <a:lnTo>
                    <a:pt x="11479" y="2384"/>
                  </a:lnTo>
                  <a:lnTo>
                    <a:pt x="11497" y="2374"/>
                  </a:lnTo>
                  <a:lnTo>
                    <a:pt x="11516" y="2368"/>
                  </a:lnTo>
                  <a:lnTo>
                    <a:pt x="11537" y="2363"/>
                  </a:lnTo>
                  <a:lnTo>
                    <a:pt x="11557" y="2356"/>
                  </a:lnTo>
                  <a:lnTo>
                    <a:pt x="11566" y="2351"/>
                  </a:lnTo>
                  <a:lnTo>
                    <a:pt x="11575" y="2346"/>
                  </a:lnTo>
                  <a:lnTo>
                    <a:pt x="11582" y="2340"/>
                  </a:lnTo>
                  <a:lnTo>
                    <a:pt x="11589" y="2331"/>
                  </a:lnTo>
                  <a:lnTo>
                    <a:pt x="11612" y="2291"/>
                  </a:lnTo>
                  <a:lnTo>
                    <a:pt x="11623" y="2275"/>
                  </a:lnTo>
                  <a:lnTo>
                    <a:pt x="11633" y="2263"/>
                  </a:lnTo>
                  <a:lnTo>
                    <a:pt x="11647" y="2254"/>
                  </a:lnTo>
                  <a:lnTo>
                    <a:pt x="11664" y="2249"/>
                  </a:lnTo>
                  <a:lnTo>
                    <a:pt x="11685" y="2248"/>
                  </a:lnTo>
                  <a:lnTo>
                    <a:pt x="11714" y="2251"/>
                  </a:lnTo>
                  <a:lnTo>
                    <a:pt x="11743" y="2257"/>
                  </a:lnTo>
                  <a:lnTo>
                    <a:pt x="11762" y="2257"/>
                  </a:lnTo>
                  <a:lnTo>
                    <a:pt x="11780" y="2249"/>
                  </a:lnTo>
                  <a:lnTo>
                    <a:pt x="11805" y="2231"/>
                  </a:lnTo>
                  <a:lnTo>
                    <a:pt x="11832" y="2213"/>
                  </a:lnTo>
                  <a:lnTo>
                    <a:pt x="11848" y="2207"/>
                  </a:lnTo>
                  <a:lnTo>
                    <a:pt x="11866" y="2204"/>
                  </a:lnTo>
                  <a:lnTo>
                    <a:pt x="11885" y="2207"/>
                  </a:lnTo>
                  <a:lnTo>
                    <a:pt x="11901" y="2213"/>
                  </a:lnTo>
                  <a:lnTo>
                    <a:pt x="11916" y="2222"/>
                  </a:lnTo>
                  <a:lnTo>
                    <a:pt x="11930" y="2232"/>
                  </a:lnTo>
                  <a:lnTo>
                    <a:pt x="11943" y="2243"/>
                  </a:lnTo>
                  <a:lnTo>
                    <a:pt x="11959" y="2251"/>
                  </a:lnTo>
                  <a:lnTo>
                    <a:pt x="11974" y="2257"/>
                  </a:lnTo>
                  <a:lnTo>
                    <a:pt x="11992" y="2257"/>
                  </a:lnTo>
                  <a:lnTo>
                    <a:pt x="12037" y="2250"/>
                  </a:lnTo>
                  <a:lnTo>
                    <a:pt x="12056" y="2248"/>
                  </a:lnTo>
                  <a:lnTo>
                    <a:pt x="12073" y="2249"/>
                  </a:lnTo>
                  <a:lnTo>
                    <a:pt x="12088" y="2254"/>
                  </a:lnTo>
                  <a:lnTo>
                    <a:pt x="12102" y="2264"/>
                  </a:lnTo>
                  <a:lnTo>
                    <a:pt x="12109" y="2272"/>
                  </a:lnTo>
                  <a:lnTo>
                    <a:pt x="12116" y="2281"/>
                  </a:lnTo>
                  <a:lnTo>
                    <a:pt x="12130" y="2305"/>
                  </a:lnTo>
                  <a:lnTo>
                    <a:pt x="12143" y="2327"/>
                  </a:lnTo>
                  <a:lnTo>
                    <a:pt x="12153" y="2341"/>
                  </a:lnTo>
                  <a:lnTo>
                    <a:pt x="12162" y="2350"/>
                  </a:lnTo>
                  <a:lnTo>
                    <a:pt x="12173" y="2355"/>
                  </a:lnTo>
                  <a:lnTo>
                    <a:pt x="12197" y="2360"/>
                  </a:lnTo>
                  <a:lnTo>
                    <a:pt x="12214" y="2365"/>
                  </a:lnTo>
                  <a:lnTo>
                    <a:pt x="12234" y="2373"/>
                  </a:lnTo>
                  <a:lnTo>
                    <a:pt x="12257" y="2388"/>
                  </a:lnTo>
                  <a:lnTo>
                    <a:pt x="12265" y="2396"/>
                  </a:lnTo>
                  <a:lnTo>
                    <a:pt x="12271" y="2405"/>
                  </a:lnTo>
                  <a:lnTo>
                    <a:pt x="12278" y="2425"/>
                  </a:lnTo>
                  <a:lnTo>
                    <a:pt x="12279" y="2446"/>
                  </a:lnTo>
                  <a:lnTo>
                    <a:pt x="12280" y="2466"/>
                  </a:lnTo>
                  <a:lnTo>
                    <a:pt x="12282" y="2488"/>
                  </a:lnTo>
                  <a:lnTo>
                    <a:pt x="12287" y="2507"/>
                  </a:lnTo>
                  <a:lnTo>
                    <a:pt x="12292" y="2516"/>
                  </a:lnTo>
                  <a:lnTo>
                    <a:pt x="12300" y="2524"/>
                  </a:lnTo>
                  <a:lnTo>
                    <a:pt x="12333" y="2556"/>
                  </a:lnTo>
                  <a:lnTo>
                    <a:pt x="12347" y="2569"/>
                  </a:lnTo>
                  <a:lnTo>
                    <a:pt x="12356" y="2583"/>
                  </a:lnTo>
                  <a:lnTo>
                    <a:pt x="12361" y="2598"/>
                  </a:lnTo>
                  <a:lnTo>
                    <a:pt x="12362" y="2615"/>
                  </a:lnTo>
                  <a:lnTo>
                    <a:pt x="12359" y="2636"/>
                  </a:lnTo>
                  <a:lnTo>
                    <a:pt x="12348" y="2663"/>
                  </a:lnTo>
                  <a:lnTo>
                    <a:pt x="12337" y="2690"/>
                  </a:lnTo>
                  <a:lnTo>
                    <a:pt x="12333" y="2711"/>
                  </a:lnTo>
                  <a:lnTo>
                    <a:pt x="12336" y="2731"/>
                  </a:lnTo>
                  <a:lnTo>
                    <a:pt x="12343" y="2750"/>
                  </a:lnTo>
                  <a:lnTo>
                    <a:pt x="12352" y="2769"/>
                  </a:lnTo>
                  <a:lnTo>
                    <a:pt x="12360" y="2787"/>
                  </a:lnTo>
                  <a:lnTo>
                    <a:pt x="12364" y="2806"/>
                  </a:lnTo>
                  <a:lnTo>
                    <a:pt x="12360" y="2828"/>
                  </a:lnTo>
                  <a:lnTo>
                    <a:pt x="12355" y="2838"/>
                  </a:lnTo>
                  <a:lnTo>
                    <a:pt x="12347" y="2851"/>
                  </a:lnTo>
                  <a:lnTo>
                    <a:pt x="12321" y="2877"/>
                  </a:lnTo>
                  <a:lnTo>
                    <a:pt x="12302" y="2893"/>
                  </a:lnTo>
                  <a:lnTo>
                    <a:pt x="12291" y="2907"/>
                  </a:lnTo>
                  <a:lnTo>
                    <a:pt x="12284" y="2918"/>
                  </a:lnTo>
                  <a:lnTo>
                    <a:pt x="12282" y="2929"/>
                  </a:lnTo>
                  <a:lnTo>
                    <a:pt x="12282" y="2953"/>
                  </a:lnTo>
                  <a:lnTo>
                    <a:pt x="12278" y="2993"/>
                  </a:lnTo>
                  <a:lnTo>
                    <a:pt x="12274" y="3007"/>
                  </a:lnTo>
                  <a:lnTo>
                    <a:pt x="12269" y="3019"/>
                  </a:lnTo>
                  <a:lnTo>
                    <a:pt x="12262" y="3028"/>
                  </a:lnTo>
                  <a:lnTo>
                    <a:pt x="12255" y="3035"/>
                  </a:lnTo>
                  <a:lnTo>
                    <a:pt x="12237" y="3046"/>
                  </a:lnTo>
                  <a:lnTo>
                    <a:pt x="12216" y="3053"/>
                  </a:lnTo>
                  <a:lnTo>
                    <a:pt x="12196" y="3058"/>
                  </a:lnTo>
                  <a:lnTo>
                    <a:pt x="12177" y="3065"/>
                  </a:lnTo>
                  <a:lnTo>
                    <a:pt x="12168" y="3069"/>
                  </a:lnTo>
                  <a:lnTo>
                    <a:pt x="12159" y="3074"/>
                  </a:lnTo>
                  <a:lnTo>
                    <a:pt x="12151" y="3081"/>
                  </a:lnTo>
                  <a:lnTo>
                    <a:pt x="12144" y="3089"/>
                  </a:lnTo>
                  <a:lnTo>
                    <a:pt x="12121" y="3130"/>
                  </a:lnTo>
                  <a:lnTo>
                    <a:pt x="12111" y="3145"/>
                  </a:lnTo>
                  <a:lnTo>
                    <a:pt x="12100" y="3158"/>
                  </a:lnTo>
                  <a:lnTo>
                    <a:pt x="12087" y="3167"/>
                  </a:lnTo>
                  <a:lnTo>
                    <a:pt x="12070" y="3171"/>
                  </a:lnTo>
                  <a:lnTo>
                    <a:pt x="12048" y="3172"/>
                  </a:lnTo>
                  <a:lnTo>
                    <a:pt x="12020" y="3168"/>
                  </a:lnTo>
                  <a:lnTo>
                    <a:pt x="11989" y="3163"/>
                  </a:lnTo>
                  <a:lnTo>
                    <a:pt x="11971" y="3163"/>
                  </a:lnTo>
                  <a:lnTo>
                    <a:pt x="11953" y="3172"/>
                  </a:lnTo>
                  <a:lnTo>
                    <a:pt x="11929" y="3189"/>
                  </a:lnTo>
                  <a:lnTo>
                    <a:pt x="11910" y="3202"/>
                  </a:lnTo>
                  <a:lnTo>
                    <a:pt x="11887" y="3213"/>
                  </a:lnTo>
                  <a:lnTo>
                    <a:pt x="11887" y="4017"/>
                  </a:lnTo>
                  <a:lnTo>
                    <a:pt x="11933" y="3925"/>
                  </a:lnTo>
                  <a:lnTo>
                    <a:pt x="11961" y="3877"/>
                  </a:lnTo>
                  <a:lnTo>
                    <a:pt x="11994" y="3829"/>
                  </a:lnTo>
                  <a:lnTo>
                    <a:pt x="12014" y="3808"/>
                  </a:lnTo>
                  <a:lnTo>
                    <a:pt x="12035" y="3787"/>
                  </a:lnTo>
                  <a:lnTo>
                    <a:pt x="12060" y="3769"/>
                  </a:lnTo>
                  <a:lnTo>
                    <a:pt x="12073" y="3762"/>
                  </a:lnTo>
                  <a:lnTo>
                    <a:pt x="12085" y="3754"/>
                  </a:lnTo>
                  <a:lnTo>
                    <a:pt x="12115" y="3741"/>
                  </a:lnTo>
                  <a:lnTo>
                    <a:pt x="12148" y="3731"/>
                  </a:lnTo>
                  <a:lnTo>
                    <a:pt x="12184" y="3725"/>
                  </a:lnTo>
                  <a:lnTo>
                    <a:pt x="12224" y="3723"/>
                  </a:lnTo>
                  <a:lnTo>
                    <a:pt x="12283" y="3727"/>
                  </a:lnTo>
                  <a:lnTo>
                    <a:pt x="12341" y="3739"/>
                  </a:lnTo>
                  <a:lnTo>
                    <a:pt x="12368" y="3748"/>
                  </a:lnTo>
                  <a:lnTo>
                    <a:pt x="12395" y="3758"/>
                  </a:lnTo>
                  <a:lnTo>
                    <a:pt x="12420" y="3769"/>
                  </a:lnTo>
                  <a:lnTo>
                    <a:pt x="12446" y="3782"/>
                  </a:lnTo>
                  <a:lnTo>
                    <a:pt x="12446" y="3681"/>
                  </a:lnTo>
                  <a:lnTo>
                    <a:pt x="12447" y="3672"/>
                  </a:lnTo>
                  <a:lnTo>
                    <a:pt x="12452" y="3666"/>
                  </a:lnTo>
                  <a:lnTo>
                    <a:pt x="12459" y="3662"/>
                  </a:lnTo>
                  <a:lnTo>
                    <a:pt x="12465" y="3661"/>
                  </a:lnTo>
                  <a:lnTo>
                    <a:pt x="12473" y="3662"/>
                  </a:lnTo>
                  <a:lnTo>
                    <a:pt x="12479" y="3666"/>
                  </a:lnTo>
                  <a:lnTo>
                    <a:pt x="12484" y="3672"/>
                  </a:lnTo>
                  <a:lnTo>
                    <a:pt x="12486" y="3681"/>
                  </a:lnTo>
                  <a:close/>
                  <a:moveTo>
                    <a:pt x="12630" y="4171"/>
                  </a:moveTo>
                  <a:lnTo>
                    <a:pt x="12628" y="4130"/>
                  </a:lnTo>
                  <a:lnTo>
                    <a:pt x="12621" y="4089"/>
                  </a:lnTo>
                  <a:lnTo>
                    <a:pt x="12613" y="4051"/>
                  </a:lnTo>
                  <a:lnTo>
                    <a:pt x="12598" y="4012"/>
                  </a:lnTo>
                  <a:lnTo>
                    <a:pt x="12582" y="3976"/>
                  </a:lnTo>
                  <a:lnTo>
                    <a:pt x="12561" y="3943"/>
                  </a:lnTo>
                  <a:lnTo>
                    <a:pt x="12537" y="3911"/>
                  </a:lnTo>
                  <a:lnTo>
                    <a:pt x="12511" y="3883"/>
                  </a:lnTo>
                  <a:lnTo>
                    <a:pt x="12482" y="3856"/>
                  </a:lnTo>
                  <a:lnTo>
                    <a:pt x="12451" y="3833"/>
                  </a:lnTo>
                  <a:lnTo>
                    <a:pt x="12418" y="3813"/>
                  </a:lnTo>
                  <a:lnTo>
                    <a:pt x="12382" y="3795"/>
                  </a:lnTo>
                  <a:lnTo>
                    <a:pt x="12345" y="3781"/>
                  </a:lnTo>
                  <a:lnTo>
                    <a:pt x="12306" y="3772"/>
                  </a:lnTo>
                  <a:lnTo>
                    <a:pt x="12265" y="3765"/>
                  </a:lnTo>
                  <a:lnTo>
                    <a:pt x="12224" y="3763"/>
                  </a:lnTo>
                  <a:lnTo>
                    <a:pt x="12197" y="3764"/>
                  </a:lnTo>
                  <a:lnTo>
                    <a:pt x="12173" y="3767"/>
                  </a:lnTo>
                  <a:lnTo>
                    <a:pt x="12150" y="3772"/>
                  </a:lnTo>
                  <a:lnTo>
                    <a:pt x="12128" y="3780"/>
                  </a:lnTo>
                  <a:lnTo>
                    <a:pt x="12089" y="3797"/>
                  </a:lnTo>
                  <a:lnTo>
                    <a:pt x="12073" y="3809"/>
                  </a:lnTo>
                  <a:lnTo>
                    <a:pt x="12057" y="3822"/>
                  </a:lnTo>
                  <a:lnTo>
                    <a:pt x="12029" y="3850"/>
                  </a:lnTo>
                  <a:lnTo>
                    <a:pt x="12005" y="3881"/>
                  </a:lnTo>
                  <a:lnTo>
                    <a:pt x="11984" y="3915"/>
                  </a:lnTo>
                  <a:lnTo>
                    <a:pt x="11965" y="3950"/>
                  </a:lnTo>
                  <a:lnTo>
                    <a:pt x="11932" y="4017"/>
                  </a:lnTo>
                  <a:lnTo>
                    <a:pt x="11915" y="4049"/>
                  </a:lnTo>
                  <a:lnTo>
                    <a:pt x="11897" y="4077"/>
                  </a:lnTo>
                  <a:lnTo>
                    <a:pt x="11878" y="4102"/>
                  </a:lnTo>
                  <a:lnTo>
                    <a:pt x="11866" y="4112"/>
                  </a:lnTo>
                  <a:lnTo>
                    <a:pt x="11855" y="4120"/>
                  </a:lnTo>
                  <a:lnTo>
                    <a:pt x="11843" y="4127"/>
                  </a:lnTo>
                  <a:lnTo>
                    <a:pt x="11830" y="4132"/>
                  </a:lnTo>
                  <a:lnTo>
                    <a:pt x="11800" y="4136"/>
                  </a:lnTo>
                  <a:lnTo>
                    <a:pt x="11783" y="4135"/>
                  </a:lnTo>
                  <a:lnTo>
                    <a:pt x="11766" y="4131"/>
                  </a:lnTo>
                  <a:lnTo>
                    <a:pt x="11750" y="4126"/>
                  </a:lnTo>
                  <a:lnTo>
                    <a:pt x="11734" y="4120"/>
                  </a:lnTo>
                  <a:lnTo>
                    <a:pt x="11702" y="4109"/>
                  </a:lnTo>
                  <a:lnTo>
                    <a:pt x="11685" y="4106"/>
                  </a:lnTo>
                  <a:lnTo>
                    <a:pt x="11669" y="4104"/>
                  </a:lnTo>
                  <a:lnTo>
                    <a:pt x="11625" y="4108"/>
                  </a:lnTo>
                  <a:lnTo>
                    <a:pt x="11603" y="4112"/>
                  </a:lnTo>
                  <a:lnTo>
                    <a:pt x="11584" y="4118"/>
                  </a:lnTo>
                  <a:lnTo>
                    <a:pt x="11565" y="4127"/>
                  </a:lnTo>
                  <a:lnTo>
                    <a:pt x="11546" y="4136"/>
                  </a:lnTo>
                  <a:lnTo>
                    <a:pt x="11529" y="4148"/>
                  </a:lnTo>
                  <a:lnTo>
                    <a:pt x="11512" y="4161"/>
                  </a:lnTo>
                  <a:lnTo>
                    <a:pt x="11498" y="4175"/>
                  </a:lnTo>
                  <a:lnTo>
                    <a:pt x="11484" y="4190"/>
                  </a:lnTo>
                  <a:lnTo>
                    <a:pt x="11471" y="4208"/>
                  </a:lnTo>
                  <a:lnTo>
                    <a:pt x="11461" y="4226"/>
                  </a:lnTo>
                  <a:lnTo>
                    <a:pt x="11452" y="4245"/>
                  </a:lnTo>
                  <a:lnTo>
                    <a:pt x="11444" y="4265"/>
                  </a:lnTo>
                  <a:lnTo>
                    <a:pt x="11438" y="4286"/>
                  </a:lnTo>
                  <a:lnTo>
                    <a:pt x="11434" y="4309"/>
                  </a:lnTo>
                  <a:lnTo>
                    <a:pt x="12171" y="4309"/>
                  </a:lnTo>
                  <a:lnTo>
                    <a:pt x="12177" y="4305"/>
                  </a:lnTo>
                  <a:lnTo>
                    <a:pt x="12184" y="4304"/>
                  </a:lnTo>
                  <a:lnTo>
                    <a:pt x="12609" y="4304"/>
                  </a:lnTo>
                  <a:lnTo>
                    <a:pt x="12618" y="4271"/>
                  </a:lnTo>
                  <a:lnTo>
                    <a:pt x="12625" y="4239"/>
                  </a:lnTo>
                  <a:lnTo>
                    <a:pt x="12629" y="4204"/>
                  </a:lnTo>
                  <a:lnTo>
                    <a:pt x="12630" y="4171"/>
                  </a:lnTo>
                  <a:close/>
                  <a:moveTo>
                    <a:pt x="11425" y="3810"/>
                  </a:moveTo>
                  <a:lnTo>
                    <a:pt x="11524" y="3712"/>
                  </a:lnTo>
                  <a:lnTo>
                    <a:pt x="11532" y="3707"/>
                  </a:lnTo>
                  <a:lnTo>
                    <a:pt x="11539" y="3705"/>
                  </a:lnTo>
                  <a:lnTo>
                    <a:pt x="11547" y="3707"/>
                  </a:lnTo>
                  <a:lnTo>
                    <a:pt x="11553" y="3712"/>
                  </a:lnTo>
                  <a:lnTo>
                    <a:pt x="11557" y="3717"/>
                  </a:lnTo>
                  <a:lnTo>
                    <a:pt x="11558" y="3725"/>
                  </a:lnTo>
                  <a:lnTo>
                    <a:pt x="11557" y="3732"/>
                  </a:lnTo>
                  <a:lnTo>
                    <a:pt x="11553" y="3740"/>
                  </a:lnTo>
                  <a:lnTo>
                    <a:pt x="11426" y="3866"/>
                  </a:lnTo>
                  <a:lnTo>
                    <a:pt x="11425" y="3895"/>
                  </a:lnTo>
                  <a:lnTo>
                    <a:pt x="11460" y="3892"/>
                  </a:lnTo>
                  <a:lnTo>
                    <a:pt x="11494" y="3884"/>
                  </a:lnTo>
                  <a:lnTo>
                    <a:pt x="11528" y="3874"/>
                  </a:lnTo>
                  <a:lnTo>
                    <a:pt x="11558" y="3861"/>
                  </a:lnTo>
                  <a:lnTo>
                    <a:pt x="11589" y="3846"/>
                  </a:lnTo>
                  <a:lnTo>
                    <a:pt x="11617" y="3828"/>
                  </a:lnTo>
                  <a:lnTo>
                    <a:pt x="11643" y="3806"/>
                  </a:lnTo>
                  <a:lnTo>
                    <a:pt x="11667" y="3783"/>
                  </a:lnTo>
                  <a:lnTo>
                    <a:pt x="11689" y="3758"/>
                  </a:lnTo>
                  <a:lnTo>
                    <a:pt x="11710" y="3731"/>
                  </a:lnTo>
                  <a:lnTo>
                    <a:pt x="11726" y="3702"/>
                  </a:lnTo>
                  <a:lnTo>
                    <a:pt x="11741" y="3671"/>
                  </a:lnTo>
                  <a:lnTo>
                    <a:pt x="11752" y="3639"/>
                  </a:lnTo>
                  <a:lnTo>
                    <a:pt x="11761" y="3606"/>
                  </a:lnTo>
                  <a:lnTo>
                    <a:pt x="11766" y="3571"/>
                  </a:lnTo>
                  <a:lnTo>
                    <a:pt x="11767" y="3535"/>
                  </a:lnTo>
                  <a:lnTo>
                    <a:pt x="11765" y="3498"/>
                  </a:lnTo>
                  <a:lnTo>
                    <a:pt x="11760" y="3462"/>
                  </a:lnTo>
                  <a:lnTo>
                    <a:pt x="11751" y="3428"/>
                  </a:lnTo>
                  <a:lnTo>
                    <a:pt x="11739" y="3395"/>
                  </a:lnTo>
                  <a:lnTo>
                    <a:pt x="11724" y="3363"/>
                  </a:lnTo>
                  <a:lnTo>
                    <a:pt x="11706" y="3333"/>
                  </a:lnTo>
                  <a:lnTo>
                    <a:pt x="11684" y="3305"/>
                  </a:lnTo>
                  <a:lnTo>
                    <a:pt x="11661" y="3280"/>
                  </a:lnTo>
                  <a:lnTo>
                    <a:pt x="11635" y="3257"/>
                  </a:lnTo>
                  <a:lnTo>
                    <a:pt x="11608" y="3236"/>
                  </a:lnTo>
                  <a:lnTo>
                    <a:pt x="11578" y="3218"/>
                  </a:lnTo>
                  <a:lnTo>
                    <a:pt x="11547" y="3203"/>
                  </a:lnTo>
                  <a:lnTo>
                    <a:pt x="11530" y="3196"/>
                  </a:lnTo>
                  <a:lnTo>
                    <a:pt x="11514" y="3190"/>
                  </a:lnTo>
                  <a:lnTo>
                    <a:pt x="11479" y="3181"/>
                  </a:lnTo>
                  <a:lnTo>
                    <a:pt x="11443" y="3176"/>
                  </a:lnTo>
                  <a:lnTo>
                    <a:pt x="11406" y="3175"/>
                  </a:lnTo>
                  <a:lnTo>
                    <a:pt x="11369" y="3176"/>
                  </a:lnTo>
                  <a:lnTo>
                    <a:pt x="11333" y="3181"/>
                  </a:lnTo>
                  <a:lnTo>
                    <a:pt x="11298" y="3190"/>
                  </a:lnTo>
                  <a:lnTo>
                    <a:pt x="11265" y="3203"/>
                  </a:lnTo>
                  <a:lnTo>
                    <a:pt x="11233" y="3218"/>
                  </a:lnTo>
                  <a:lnTo>
                    <a:pt x="11203" y="3236"/>
                  </a:lnTo>
                  <a:lnTo>
                    <a:pt x="11175" y="3257"/>
                  </a:lnTo>
                  <a:lnTo>
                    <a:pt x="11149" y="3280"/>
                  </a:lnTo>
                  <a:lnTo>
                    <a:pt x="11126" y="3305"/>
                  </a:lnTo>
                  <a:lnTo>
                    <a:pt x="11106" y="3333"/>
                  </a:lnTo>
                  <a:lnTo>
                    <a:pt x="11088" y="3363"/>
                  </a:lnTo>
                  <a:lnTo>
                    <a:pt x="11072" y="3395"/>
                  </a:lnTo>
                  <a:lnTo>
                    <a:pt x="11066" y="3411"/>
                  </a:lnTo>
                  <a:lnTo>
                    <a:pt x="11060" y="3428"/>
                  </a:lnTo>
                  <a:lnTo>
                    <a:pt x="11051" y="3462"/>
                  </a:lnTo>
                  <a:lnTo>
                    <a:pt x="11046" y="3498"/>
                  </a:lnTo>
                  <a:lnTo>
                    <a:pt x="11044" y="3535"/>
                  </a:lnTo>
                  <a:lnTo>
                    <a:pt x="11046" y="3570"/>
                  </a:lnTo>
                  <a:lnTo>
                    <a:pt x="11051" y="3606"/>
                  </a:lnTo>
                  <a:lnTo>
                    <a:pt x="11060" y="3639"/>
                  </a:lnTo>
                  <a:lnTo>
                    <a:pt x="11070" y="3671"/>
                  </a:lnTo>
                  <a:lnTo>
                    <a:pt x="11085" y="3702"/>
                  </a:lnTo>
                  <a:lnTo>
                    <a:pt x="11102" y="3731"/>
                  </a:lnTo>
                  <a:lnTo>
                    <a:pt x="11121" y="3758"/>
                  </a:lnTo>
                  <a:lnTo>
                    <a:pt x="11143" y="3783"/>
                  </a:lnTo>
                  <a:lnTo>
                    <a:pt x="11167" y="3806"/>
                  </a:lnTo>
                  <a:lnTo>
                    <a:pt x="11193" y="3827"/>
                  </a:lnTo>
                  <a:lnTo>
                    <a:pt x="11221" y="3846"/>
                  </a:lnTo>
                  <a:lnTo>
                    <a:pt x="11252" y="3861"/>
                  </a:lnTo>
                  <a:lnTo>
                    <a:pt x="11283" y="3874"/>
                  </a:lnTo>
                  <a:lnTo>
                    <a:pt x="11316" y="3884"/>
                  </a:lnTo>
                  <a:lnTo>
                    <a:pt x="11349" y="3891"/>
                  </a:lnTo>
                  <a:lnTo>
                    <a:pt x="11385" y="3895"/>
                  </a:lnTo>
                  <a:lnTo>
                    <a:pt x="11385" y="3757"/>
                  </a:lnTo>
                  <a:lnTo>
                    <a:pt x="11258" y="3631"/>
                  </a:lnTo>
                  <a:lnTo>
                    <a:pt x="11253" y="3624"/>
                  </a:lnTo>
                  <a:lnTo>
                    <a:pt x="11252" y="3616"/>
                  </a:lnTo>
                  <a:lnTo>
                    <a:pt x="11255" y="3608"/>
                  </a:lnTo>
                  <a:lnTo>
                    <a:pt x="11258" y="3602"/>
                  </a:lnTo>
                  <a:lnTo>
                    <a:pt x="11265" y="3598"/>
                  </a:lnTo>
                  <a:lnTo>
                    <a:pt x="11271" y="3597"/>
                  </a:lnTo>
                  <a:lnTo>
                    <a:pt x="11279" y="3598"/>
                  </a:lnTo>
                  <a:lnTo>
                    <a:pt x="11287" y="3602"/>
                  </a:lnTo>
                  <a:lnTo>
                    <a:pt x="11385" y="3700"/>
                  </a:lnTo>
                  <a:lnTo>
                    <a:pt x="11385" y="3589"/>
                  </a:lnTo>
                  <a:lnTo>
                    <a:pt x="11385" y="3581"/>
                  </a:lnTo>
                  <a:lnTo>
                    <a:pt x="11385" y="3447"/>
                  </a:lnTo>
                  <a:lnTo>
                    <a:pt x="11387" y="3439"/>
                  </a:lnTo>
                  <a:lnTo>
                    <a:pt x="11392" y="3433"/>
                  </a:lnTo>
                  <a:lnTo>
                    <a:pt x="11398" y="3429"/>
                  </a:lnTo>
                  <a:lnTo>
                    <a:pt x="11405" y="3428"/>
                  </a:lnTo>
                  <a:lnTo>
                    <a:pt x="11412" y="3429"/>
                  </a:lnTo>
                  <a:lnTo>
                    <a:pt x="11419" y="3433"/>
                  </a:lnTo>
                  <a:lnTo>
                    <a:pt x="11424" y="3439"/>
                  </a:lnTo>
                  <a:lnTo>
                    <a:pt x="11425" y="3447"/>
                  </a:lnTo>
                  <a:lnTo>
                    <a:pt x="11425" y="3537"/>
                  </a:lnTo>
                  <a:lnTo>
                    <a:pt x="11517" y="3445"/>
                  </a:lnTo>
                  <a:lnTo>
                    <a:pt x="11525" y="3439"/>
                  </a:lnTo>
                  <a:lnTo>
                    <a:pt x="11533" y="3438"/>
                  </a:lnTo>
                  <a:lnTo>
                    <a:pt x="11541" y="3441"/>
                  </a:lnTo>
                  <a:lnTo>
                    <a:pt x="11546" y="3445"/>
                  </a:lnTo>
                  <a:lnTo>
                    <a:pt x="11551" y="3451"/>
                  </a:lnTo>
                  <a:lnTo>
                    <a:pt x="11552" y="3457"/>
                  </a:lnTo>
                  <a:lnTo>
                    <a:pt x="11551" y="3465"/>
                  </a:lnTo>
                  <a:lnTo>
                    <a:pt x="11546" y="3473"/>
                  </a:lnTo>
                  <a:lnTo>
                    <a:pt x="11425" y="3593"/>
                  </a:lnTo>
                  <a:lnTo>
                    <a:pt x="11425" y="3810"/>
                  </a:lnTo>
                  <a:close/>
                  <a:moveTo>
                    <a:pt x="11847" y="2875"/>
                  </a:moveTo>
                  <a:lnTo>
                    <a:pt x="11847" y="2753"/>
                  </a:lnTo>
                  <a:lnTo>
                    <a:pt x="11743" y="2650"/>
                  </a:lnTo>
                  <a:lnTo>
                    <a:pt x="11738" y="2643"/>
                  </a:lnTo>
                  <a:lnTo>
                    <a:pt x="11737" y="2635"/>
                  </a:lnTo>
                  <a:lnTo>
                    <a:pt x="11739" y="2627"/>
                  </a:lnTo>
                  <a:lnTo>
                    <a:pt x="11743" y="2622"/>
                  </a:lnTo>
                  <a:lnTo>
                    <a:pt x="11750" y="2617"/>
                  </a:lnTo>
                  <a:lnTo>
                    <a:pt x="11757" y="2616"/>
                  </a:lnTo>
                  <a:lnTo>
                    <a:pt x="11764" y="2617"/>
                  </a:lnTo>
                  <a:lnTo>
                    <a:pt x="11771" y="2622"/>
                  </a:lnTo>
                  <a:lnTo>
                    <a:pt x="11847" y="2696"/>
                  </a:lnTo>
                  <a:lnTo>
                    <a:pt x="11847" y="2643"/>
                  </a:lnTo>
                  <a:lnTo>
                    <a:pt x="11848" y="2634"/>
                  </a:lnTo>
                  <a:lnTo>
                    <a:pt x="11853" y="2627"/>
                  </a:lnTo>
                  <a:lnTo>
                    <a:pt x="11860" y="2624"/>
                  </a:lnTo>
                  <a:lnTo>
                    <a:pt x="11866" y="2622"/>
                  </a:lnTo>
                  <a:lnTo>
                    <a:pt x="11874" y="2624"/>
                  </a:lnTo>
                  <a:lnTo>
                    <a:pt x="11880" y="2627"/>
                  </a:lnTo>
                  <a:lnTo>
                    <a:pt x="11885" y="2634"/>
                  </a:lnTo>
                  <a:lnTo>
                    <a:pt x="11887" y="2643"/>
                  </a:lnTo>
                  <a:lnTo>
                    <a:pt x="11887" y="2741"/>
                  </a:lnTo>
                  <a:lnTo>
                    <a:pt x="11887" y="2748"/>
                  </a:lnTo>
                  <a:lnTo>
                    <a:pt x="11887" y="2831"/>
                  </a:lnTo>
                  <a:lnTo>
                    <a:pt x="12024" y="2693"/>
                  </a:lnTo>
                  <a:lnTo>
                    <a:pt x="12032" y="2688"/>
                  </a:lnTo>
                  <a:lnTo>
                    <a:pt x="12039" y="2686"/>
                  </a:lnTo>
                  <a:lnTo>
                    <a:pt x="12047" y="2689"/>
                  </a:lnTo>
                  <a:lnTo>
                    <a:pt x="12052" y="2693"/>
                  </a:lnTo>
                  <a:lnTo>
                    <a:pt x="12057" y="2699"/>
                  </a:lnTo>
                  <a:lnTo>
                    <a:pt x="12059" y="2707"/>
                  </a:lnTo>
                  <a:lnTo>
                    <a:pt x="12057" y="2714"/>
                  </a:lnTo>
                  <a:lnTo>
                    <a:pt x="12052" y="2721"/>
                  </a:lnTo>
                  <a:lnTo>
                    <a:pt x="11887" y="2887"/>
                  </a:lnTo>
                  <a:lnTo>
                    <a:pt x="11887" y="2960"/>
                  </a:lnTo>
                  <a:lnTo>
                    <a:pt x="11887" y="2968"/>
                  </a:lnTo>
                  <a:lnTo>
                    <a:pt x="11887" y="3172"/>
                  </a:lnTo>
                  <a:lnTo>
                    <a:pt x="11897" y="3164"/>
                  </a:lnTo>
                  <a:lnTo>
                    <a:pt x="11907" y="3156"/>
                  </a:lnTo>
                  <a:lnTo>
                    <a:pt x="11919" y="3147"/>
                  </a:lnTo>
                  <a:lnTo>
                    <a:pt x="11932" y="3138"/>
                  </a:lnTo>
                  <a:lnTo>
                    <a:pt x="11947" y="3130"/>
                  </a:lnTo>
                  <a:lnTo>
                    <a:pt x="11968" y="3126"/>
                  </a:lnTo>
                  <a:lnTo>
                    <a:pt x="11993" y="3125"/>
                  </a:lnTo>
                  <a:lnTo>
                    <a:pt x="12027" y="3129"/>
                  </a:lnTo>
                  <a:lnTo>
                    <a:pt x="12043" y="3131"/>
                  </a:lnTo>
                  <a:lnTo>
                    <a:pt x="12056" y="3131"/>
                  </a:lnTo>
                  <a:lnTo>
                    <a:pt x="12066" y="3129"/>
                  </a:lnTo>
                  <a:lnTo>
                    <a:pt x="12075" y="3125"/>
                  </a:lnTo>
                  <a:lnTo>
                    <a:pt x="12088" y="3112"/>
                  </a:lnTo>
                  <a:lnTo>
                    <a:pt x="12097" y="3097"/>
                  </a:lnTo>
                  <a:lnTo>
                    <a:pt x="12106" y="3078"/>
                  </a:lnTo>
                  <a:lnTo>
                    <a:pt x="12118" y="3058"/>
                  </a:lnTo>
                  <a:lnTo>
                    <a:pt x="12135" y="3040"/>
                  </a:lnTo>
                  <a:lnTo>
                    <a:pt x="12148" y="3033"/>
                  </a:lnTo>
                  <a:lnTo>
                    <a:pt x="12162" y="3026"/>
                  </a:lnTo>
                  <a:lnTo>
                    <a:pt x="12211" y="3012"/>
                  </a:lnTo>
                  <a:lnTo>
                    <a:pt x="12224" y="3007"/>
                  </a:lnTo>
                  <a:lnTo>
                    <a:pt x="12232" y="3001"/>
                  </a:lnTo>
                  <a:lnTo>
                    <a:pt x="12237" y="2992"/>
                  </a:lnTo>
                  <a:lnTo>
                    <a:pt x="12238" y="2978"/>
                  </a:lnTo>
                  <a:lnTo>
                    <a:pt x="12242" y="2928"/>
                  </a:lnTo>
                  <a:lnTo>
                    <a:pt x="12244" y="2911"/>
                  </a:lnTo>
                  <a:lnTo>
                    <a:pt x="12250" y="2897"/>
                  </a:lnTo>
                  <a:lnTo>
                    <a:pt x="12262" y="2875"/>
                  </a:lnTo>
                  <a:lnTo>
                    <a:pt x="12270" y="2868"/>
                  </a:lnTo>
                  <a:lnTo>
                    <a:pt x="12279" y="2860"/>
                  </a:lnTo>
                  <a:lnTo>
                    <a:pt x="12296" y="2847"/>
                  </a:lnTo>
                  <a:lnTo>
                    <a:pt x="12310" y="2836"/>
                  </a:lnTo>
                  <a:lnTo>
                    <a:pt x="12315" y="2828"/>
                  </a:lnTo>
                  <a:lnTo>
                    <a:pt x="12319" y="2821"/>
                  </a:lnTo>
                  <a:lnTo>
                    <a:pt x="12320" y="2812"/>
                  </a:lnTo>
                  <a:lnTo>
                    <a:pt x="12320" y="2801"/>
                  </a:lnTo>
                  <a:lnTo>
                    <a:pt x="12312" y="2773"/>
                  </a:lnTo>
                  <a:lnTo>
                    <a:pt x="12300" y="2743"/>
                  </a:lnTo>
                  <a:lnTo>
                    <a:pt x="12294" y="2727"/>
                  </a:lnTo>
                  <a:lnTo>
                    <a:pt x="12293" y="2711"/>
                  </a:lnTo>
                  <a:lnTo>
                    <a:pt x="12294" y="2693"/>
                  </a:lnTo>
                  <a:lnTo>
                    <a:pt x="12300" y="2676"/>
                  </a:lnTo>
                  <a:lnTo>
                    <a:pt x="12318" y="2629"/>
                  </a:lnTo>
                  <a:lnTo>
                    <a:pt x="12323" y="2616"/>
                  </a:lnTo>
                  <a:lnTo>
                    <a:pt x="12323" y="2606"/>
                  </a:lnTo>
                  <a:lnTo>
                    <a:pt x="12319" y="2598"/>
                  </a:lnTo>
                  <a:lnTo>
                    <a:pt x="12309" y="2588"/>
                  </a:lnTo>
                  <a:lnTo>
                    <a:pt x="12271" y="2553"/>
                  </a:lnTo>
                  <a:lnTo>
                    <a:pt x="12261" y="2540"/>
                  </a:lnTo>
                  <a:lnTo>
                    <a:pt x="12252" y="2529"/>
                  </a:lnTo>
                  <a:lnTo>
                    <a:pt x="12247" y="2516"/>
                  </a:lnTo>
                  <a:lnTo>
                    <a:pt x="12243" y="2505"/>
                  </a:lnTo>
                  <a:lnTo>
                    <a:pt x="12242" y="2483"/>
                  </a:lnTo>
                  <a:lnTo>
                    <a:pt x="12242" y="2461"/>
                  </a:lnTo>
                  <a:lnTo>
                    <a:pt x="12241" y="2443"/>
                  </a:lnTo>
                  <a:lnTo>
                    <a:pt x="12238" y="2434"/>
                  </a:lnTo>
                  <a:lnTo>
                    <a:pt x="12236" y="2427"/>
                  </a:lnTo>
                  <a:lnTo>
                    <a:pt x="12229" y="2419"/>
                  </a:lnTo>
                  <a:lnTo>
                    <a:pt x="12220" y="2413"/>
                  </a:lnTo>
                  <a:lnTo>
                    <a:pt x="12209" y="2406"/>
                  </a:lnTo>
                  <a:lnTo>
                    <a:pt x="12193" y="2401"/>
                  </a:lnTo>
                  <a:lnTo>
                    <a:pt x="12164" y="2393"/>
                  </a:lnTo>
                  <a:lnTo>
                    <a:pt x="12143" y="2384"/>
                  </a:lnTo>
                  <a:lnTo>
                    <a:pt x="12129" y="2376"/>
                  </a:lnTo>
                  <a:lnTo>
                    <a:pt x="12120" y="2365"/>
                  </a:lnTo>
                  <a:lnTo>
                    <a:pt x="12106" y="2340"/>
                  </a:lnTo>
                  <a:lnTo>
                    <a:pt x="12096" y="2322"/>
                  </a:lnTo>
                  <a:lnTo>
                    <a:pt x="12082" y="2301"/>
                  </a:lnTo>
                  <a:lnTo>
                    <a:pt x="12077" y="2295"/>
                  </a:lnTo>
                  <a:lnTo>
                    <a:pt x="12070" y="2291"/>
                  </a:lnTo>
                  <a:lnTo>
                    <a:pt x="12055" y="2287"/>
                  </a:lnTo>
                  <a:lnTo>
                    <a:pt x="12038" y="2289"/>
                  </a:lnTo>
                  <a:lnTo>
                    <a:pt x="12020" y="2292"/>
                  </a:lnTo>
                  <a:lnTo>
                    <a:pt x="12000" y="2296"/>
                  </a:lnTo>
                  <a:lnTo>
                    <a:pt x="11978" y="2296"/>
                  </a:lnTo>
                  <a:lnTo>
                    <a:pt x="11955" y="2292"/>
                  </a:lnTo>
                  <a:lnTo>
                    <a:pt x="11930" y="2281"/>
                  </a:lnTo>
                  <a:lnTo>
                    <a:pt x="11900" y="2259"/>
                  </a:lnTo>
                  <a:lnTo>
                    <a:pt x="11882" y="2248"/>
                  </a:lnTo>
                  <a:lnTo>
                    <a:pt x="11866" y="2244"/>
                  </a:lnTo>
                  <a:lnTo>
                    <a:pt x="11851" y="2246"/>
                  </a:lnTo>
                  <a:lnTo>
                    <a:pt x="11843" y="2250"/>
                  </a:lnTo>
                  <a:lnTo>
                    <a:pt x="11837" y="2254"/>
                  </a:lnTo>
                  <a:lnTo>
                    <a:pt x="11812" y="2276"/>
                  </a:lnTo>
                  <a:lnTo>
                    <a:pt x="11796" y="2286"/>
                  </a:lnTo>
                  <a:lnTo>
                    <a:pt x="11774" y="2294"/>
                  </a:lnTo>
                  <a:lnTo>
                    <a:pt x="11744" y="2295"/>
                  </a:lnTo>
                  <a:lnTo>
                    <a:pt x="11726" y="2294"/>
                  </a:lnTo>
                  <a:lnTo>
                    <a:pt x="11706" y="2291"/>
                  </a:lnTo>
                  <a:lnTo>
                    <a:pt x="11691" y="2289"/>
                  </a:lnTo>
                  <a:lnTo>
                    <a:pt x="11676" y="2289"/>
                  </a:lnTo>
                  <a:lnTo>
                    <a:pt x="11666" y="2291"/>
                  </a:lnTo>
                  <a:lnTo>
                    <a:pt x="11658" y="2295"/>
                  </a:lnTo>
                  <a:lnTo>
                    <a:pt x="11646" y="2308"/>
                  </a:lnTo>
                  <a:lnTo>
                    <a:pt x="11637" y="2324"/>
                  </a:lnTo>
                  <a:lnTo>
                    <a:pt x="11628" y="2342"/>
                  </a:lnTo>
                  <a:lnTo>
                    <a:pt x="11616" y="2361"/>
                  </a:lnTo>
                  <a:lnTo>
                    <a:pt x="11598" y="2379"/>
                  </a:lnTo>
                  <a:lnTo>
                    <a:pt x="11585" y="2387"/>
                  </a:lnTo>
                  <a:lnTo>
                    <a:pt x="11570" y="2393"/>
                  </a:lnTo>
                  <a:lnTo>
                    <a:pt x="11521" y="2409"/>
                  </a:lnTo>
                  <a:lnTo>
                    <a:pt x="11508" y="2414"/>
                  </a:lnTo>
                  <a:lnTo>
                    <a:pt x="11501" y="2419"/>
                  </a:lnTo>
                  <a:lnTo>
                    <a:pt x="11497" y="2428"/>
                  </a:lnTo>
                  <a:lnTo>
                    <a:pt x="11494" y="2442"/>
                  </a:lnTo>
                  <a:lnTo>
                    <a:pt x="11491" y="2492"/>
                  </a:lnTo>
                  <a:lnTo>
                    <a:pt x="11488" y="2509"/>
                  </a:lnTo>
                  <a:lnTo>
                    <a:pt x="11484" y="2523"/>
                  </a:lnTo>
                  <a:lnTo>
                    <a:pt x="11470" y="2544"/>
                  </a:lnTo>
                  <a:lnTo>
                    <a:pt x="11462" y="2552"/>
                  </a:lnTo>
                  <a:lnTo>
                    <a:pt x="11455" y="2560"/>
                  </a:lnTo>
                  <a:lnTo>
                    <a:pt x="11438" y="2572"/>
                  </a:lnTo>
                  <a:lnTo>
                    <a:pt x="11424" y="2585"/>
                  </a:lnTo>
                  <a:lnTo>
                    <a:pt x="11419" y="2592"/>
                  </a:lnTo>
                  <a:lnTo>
                    <a:pt x="11415" y="2599"/>
                  </a:lnTo>
                  <a:lnTo>
                    <a:pt x="11412" y="2608"/>
                  </a:lnTo>
                  <a:lnTo>
                    <a:pt x="11412" y="2620"/>
                  </a:lnTo>
                  <a:lnTo>
                    <a:pt x="11421" y="2647"/>
                  </a:lnTo>
                  <a:lnTo>
                    <a:pt x="11434" y="2677"/>
                  </a:lnTo>
                  <a:lnTo>
                    <a:pt x="11438" y="2694"/>
                  </a:lnTo>
                  <a:lnTo>
                    <a:pt x="11440" y="2711"/>
                  </a:lnTo>
                  <a:lnTo>
                    <a:pt x="11438" y="2732"/>
                  </a:lnTo>
                  <a:lnTo>
                    <a:pt x="11432" y="2751"/>
                  </a:lnTo>
                  <a:lnTo>
                    <a:pt x="11416" y="2782"/>
                  </a:lnTo>
                  <a:lnTo>
                    <a:pt x="11411" y="2797"/>
                  </a:lnTo>
                  <a:lnTo>
                    <a:pt x="11411" y="2805"/>
                  </a:lnTo>
                  <a:lnTo>
                    <a:pt x="11412" y="2812"/>
                  </a:lnTo>
                  <a:lnTo>
                    <a:pt x="11420" y="2828"/>
                  </a:lnTo>
                  <a:lnTo>
                    <a:pt x="11438" y="2847"/>
                  </a:lnTo>
                  <a:lnTo>
                    <a:pt x="11461" y="2868"/>
                  </a:lnTo>
                  <a:lnTo>
                    <a:pt x="11476" y="2884"/>
                  </a:lnTo>
                  <a:lnTo>
                    <a:pt x="11484" y="2899"/>
                  </a:lnTo>
                  <a:lnTo>
                    <a:pt x="11488" y="2911"/>
                  </a:lnTo>
                  <a:lnTo>
                    <a:pt x="11491" y="2941"/>
                  </a:lnTo>
                  <a:lnTo>
                    <a:pt x="11491" y="2960"/>
                  </a:lnTo>
                  <a:lnTo>
                    <a:pt x="11494" y="2985"/>
                  </a:lnTo>
                  <a:lnTo>
                    <a:pt x="11502" y="3000"/>
                  </a:lnTo>
                  <a:lnTo>
                    <a:pt x="11514" y="3010"/>
                  </a:lnTo>
                  <a:lnTo>
                    <a:pt x="11529" y="3015"/>
                  </a:lnTo>
                  <a:lnTo>
                    <a:pt x="11547" y="3020"/>
                  </a:lnTo>
                  <a:lnTo>
                    <a:pt x="11567" y="3026"/>
                  </a:lnTo>
                  <a:lnTo>
                    <a:pt x="11587" y="3034"/>
                  </a:lnTo>
                  <a:lnTo>
                    <a:pt x="11606" y="3048"/>
                  </a:lnTo>
                  <a:lnTo>
                    <a:pt x="11615" y="3057"/>
                  </a:lnTo>
                  <a:lnTo>
                    <a:pt x="11623" y="3069"/>
                  </a:lnTo>
                  <a:lnTo>
                    <a:pt x="11648" y="3112"/>
                  </a:lnTo>
                  <a:lnTo>
                    <a:pt x="11656" y="3124"/>
                  </a:lnTo>
                  <a:lnTo>
                    <a:pt x="11664" y="3130"/>
                  </a:lnTo>
                  <a:lnTo>
                    <a:pt x="11673" y="3133"/>
                  </a:lnTo>
                  <a:lnTo>
                    <a:pt x="11687" y="3131"/>
                  </a:lnTo>
                  <a:lnTo>
                    <a:pt x="11737" y="3124"/>
                  </a:lnTo>
                  <a:lnTo>
                    <a:pt x="11757" y="3124"/>
                  </a:lnTo>
                  <a:lnTo>
                    <a:pt x="11774" y="3126"/>
                  </a:lnTo>
                  <a:lnTo>
                    <a:pt x="11789" y="3131"/>
                  </a:lnTo>
                  <a:lnTo>
                    <a:pt x="11803" y="3139"/>
                  </a:lnTo>
                  <a:lnTo>
                    <a:pt x="11826" y="3156"/>
                  </a:lnTo>
                  <a:lnTo>
                    <a:pt x="11847" y="3171"/>
                  </a:lnTo>
                  <a:lnTo>
                    <a:pt x="11847" y="2973"/>
                  </a:lnTo>
                  <a:lnTo>
                    <a:pt x="11769" y="2895"/>
                  </a:lnTo>
                  <a:lnTo>
                    <a:pt x="11764" y="2887"/>
                  </a:lnTo>
                  <a:lnTo>
                    <a:pt x="11762" y="2879"/>
                  </a:lnTo>
                  <a:lnTo>
                    <a:pt x="11765" y="2873"/>
                  </a:lnTo>
                  <a:lnTo>
                    <a:pt x="11769" y="2867"/>
                  </a:lnTo>
                  <a:lnTo>
                    <a:pt x="11775" y="2863"/>
                  </a:lnTo>
                  <a:lnTo>
                    <a:pt x="11782" y="2860"/>
                  </a:lnTo>
                  <a:lnTo>
                    <a:pt x="11789" y="2861"/>
                  </a:lnTo>
                  <a:lnTo>
                    <a:pt x="11797" y="2867"/>
                  </a:lnTo>
                  <a:lnTo>
                    <a:pt x="11847" y="2916"/>
                  </a:lnTo>
                  <a:lnTo>
                    <a:pt x="11847" y="2882"/>
                  </a:lnTo>
                  <a:lnTo>
                    <a:pt x="11847" y="2875"/>
                  </a:lnTo>
                  <a:close/>
                  <a:moveTo>
                    <a:pt x="11887" y="2960"/>
                  </a:moveTo>
                  <a:lnTo>
                    <a:pt x="11887" y="2968"/>
                  </a:lnTo>
                  <a:lnTo>
                    <a:pt x="11887" y="2960"/>
                  </a:lnTo>
                  <a:close/>
                  <a:moveTo>
                    <a:pt x="11887" y="2741"/>
                  </a:moveTo>
                  <a:lnTo>
                    <a:pt x="11887" y="2748"/>
                  </a:lnTo>
                  <a:lnTo>
                    <a:pt x="11887" y="2741"/>
                  </a:lnTo>
                  <a:close/>
                  <a:moveTo>
                    <a:pt x="11847" y="2882"/>
                  </a:moveTo>
                  <a:lnTo>
                    <a:pt x="11847" y="2875"/>
                  </a:lnTo>
                  <a:lnTo>
                    <a:pt x="11847" y="2882"/>
                  </a:lnTo>
                  <a:close/>
                  <a:moveTo>
                    <a:pt x="9740" y="1741"/>
                  </a:moveTo>
                  <a:lnTo>
                    <a:pt x="9740" y="1619"/>
                  </a:lnTo>
                  <a:lnTo>
                    <a:pt x="9741" y="1611"/>
                  </a:lnTo>
                  <a:lnTo>
                    <a:pt x="9747" y="1604"/>
                  </a:lnTo>
                  <a:lnTo>
                    <a:pt x="9753" y="1601"/>
                  </a:lnTo>
                  <a:lnTo>
                    <a:pt x="9761" y="1599"/>
                  </a:lnTo>
                  <a:lnTo>
                    <a:pt x="10006" y="1599"/>
                  </a:lnTo>
                  <a:lnTo>
                    <a:pt x="10013" y="1601"/>
                  </a:lnTo>
                  <a:lnTo>
                    <a:pt x="10020" y="1604"/>
                  </a:lnTo>
                  <a:lnTo>
                    <a:pt x="10024" y="1611"/>
                  </a:lnTo>
                  <a:lnTo>
                    <a:pt x="10026" y="1619"/>
                  </a:lnTo>
                  <a:lnTo>
                    <a:pt x="10026" y="1741"/>
                  </a:lnTo>
                  <a:lnTo>
                    <a:pt x="10978" y="1741"/>
                  </a:lnTo>
                  <a:lnTo>
                    <a:pt x="10987" y="1744"/>
                  </a:lnTo>
                  <a:lnTo>
                    <a:pt x="10994" y="1749"/>
                  </a:lnTo>
                  <a:lnTo>
                    <a:pt x="11211" y="2048"/>
                  </a:lnTo>
                  <a:lnTo>
                    <a:pt x="11235" y="2048"/>
                  </a:lnTo>
                  <a:lnTo>
                    <a:pt x="11242" y="2051"/>
                  </a:lnTo>
                  <a:lnTo>
                    <a:pt x="11248" y="2055"/>
                  </a:lnTo>
                  <a:lnTo>
                    <a:pt x="11253" y="2061"/>
                  </a:lnTo>
                  <a:lnTo>
                    <a:pt x="11255" y="2069"/>
                  </a:lnTo>
                  <a:lnTo>
                    <a:pt x="11255" y="2241"/>
                  </a:lnTo>
                  <a:lnTo>
                    <a:pt x="11253" y="2249"/>
                  </a:lnTo>
                  <a:lnTo>
                    <a:pt x="11248" y="2255"/>
                  </a:lnTo>
                  <a:lnTo>
                    <a:pt x="11242" y="2260"/>
                  </a:lnTo>
                  <a:lnTo>
                    <a:pt x="11235" y="2262"/>
                  </a:lnTo>
                  <a:lnTo>
                    <a:pt x="11224" y="2262"/>
                  </a:lnTo>
                  <a:lnTo>
                    <a:pt x="11224" y="3107"/>
                  </a:lnTo>
                  <a:lnTo>
                    <a:pt x="11223" y="3116"/>
                  </a:lnTo>
                  <a:lnTo>
                    <a:pt x="11217" y="3122"/>
                  </a:lnTo>
                  <a:lnTo>
                    <a:pt x="11211" y="3126"/>
                  </a:lnTo>
                  <a:lnTo>
                    <a:pt x="11205" y="3127"/>
                  </a:lnTo>
                  <a:lnTo>
                    <a:pt x="11197" y="3126"/>
                  </a:lnTo>
                  <a:lnTo>
                    <a:pt x="11190" y="3122"/>
                  </a:lnTo>
                  <a:lnTo>
                    <a:pt x="11185" y="3116"/>
                  </a:lnTo>
                  <a:lnTo>
                    <a:pt x="11184" y="3107"/>
                  </a:lnTo>
                  <a:lnTo>
                    <a:pt x="11184" y="2262"/>
                  </a:lnTo>
                  <a:lnTo>
                    <a:pt x="10285" y="2262"/>
                  </a:lnTo>
                  <a:lnTo>
                    <a:pt x="9388" y="2262"/>
                  </a:lnTo>
                  <a:lnTo>
                    <a:pt x="9388" y="3282"/>
                  </a:lnTo>
                  <a:lnTo>
                    <a:pt x="9388" y="4304"/>
                  </a:lnTo>
                  <a:lnTo>
                    <a:pt x="10285" y="4304"/>
                  </a:lnTo>
                  <a:lnTo>
                    <a:pt x="11184" y="4304"/>
                  </a:lnTo>
                  <a:lnTo>
                    <a:pt x="11184" y="3976"/>
                  </a:lnTo>
                  <a:lnTo>
                    <a:pt x="11185" y="3969"/>
                  </a:lnTo>
                  <a:lnTo>
                    <a:pt x="11190" y="3962"/>
                  </a:lnTo>
                  <a:lnTo>
                    <a:pt x="11197" y="3959"/>
                  </a:lnTo>
                  <a:lnTo>
                    <a:pt x="11205" y="3957"/>
                  </a:lnTo>
                  <a:lnTo>
                    <a:pt x="11211" y="3959"/>
                  </a:lnTo>
                  <a:lnTo>
                    <a:pt x="11217" y="3962"/>
                  </a:lnTo>
                  <a:lnTo>
                    <a:pt x="11223" y="3969"/>
                  </a:lnTo>
                  <a:lnTo>
                    <a:pt x="11224" y="3976"/>
                  </a:lnTo>
                  <a:lnTo>
                    <a:pt x="11224" y="4324"/>
                  </a:lnTo>
                  <a:lnTo>
                    <a:pt x="11223" y="4332"/>
                  </a:lnTo>
                  <a:lnTo>
                    <a:pt x="11217" y="4338"/>
                  </a:lnTo>
                  <a:lnTo>
                    <a:pt x="11211" y="4342"/>
                  </a:lnTo>
                  <a:lnTo>
                    <a:pt x="11205" y="4343"/>
                  </a:lnTo>
                  <a:lnTo>
                    <a:pt x="10285" y="4343"/>
                  </a:lnTo>
                  <a:lnTo>
                    <a:pt x="9367" y="4343"/>
                  </a:lnTo>
                  <a:lnTo>
                    <a:pt x="9361" y="4342"/>
                  </a:lnTo>
                  <a:lnTo>
                    <a:pt x="9354" y="4338"/>
                  </a:lnTo>
                  <a:lnTo>
                    <a:pt x="9349" y="4332"/>
                  </a:lnTo>
                  <a:lnTo>
                    <a:pt x="9348" y="4324"/>
                  </a:lnTo>
                  <a:lnTo>
                    <a:pt x="9348" y="3808"/>
                  </a:lnTo>
                  <a:lnTo>
                    <a:pt x="9348" y="3292"/>
                  </a:lnTo>
                  <a:lnTo>
                    <a:pt x="9348" y="2777"/>
                  </a:lnTo>
                  <a:lnTo>
                    <a:pt x="9348" y="2262"/>
                  </a:lnTo>
                  <a:lnTo>
                    <a:pt x="9336" y="2262"/>
                  </a:lnTo>
                  <a:lnTo>
                    <a:pt x="9329" y="2260"/>
                  </a:lnTo>
                  <a:lnTo>
                    <a:pt x="9322" y="2255"/>
                  </a:lnTo>
                  <a:lnTo>
                    <a:pt x="9318" y="2249"/>
                  </a:lnTo>
                  <a:lnTo>
                    <a:pt x="9317" y="2241"/>
                  </a:lnTo>
                  <a:lnTo>
                    <a:pt x="9317" y="2069"/>
                  </a:lnTo>
                  <a:lnTo>
                    <a:pt x="9318" y="2061"/>
                  </a:lnTo>
                  <a:lnTo>
                    <a:pt x="9322" y="2055"/>
                  </a:lnTo>
                  <a:lnTo>
                    <a:pt x="9329" y="2051"/>
                  </a:lnTo>
                  <a:lnTo>
                    <a:pt x="9336" y="2048"/>
                  </a:lnTo>
                  <a:lnTo>
                    <a:pt x="9364" y="2048"/>
                  </a:lnTo>
                  <a:lnTo>
                    <a:pt x="9581" y="1749"/>
                  </a:lnTo>
                  <a:lnTo>
                    <a:pt x="9589" y="1744"/>
                  </a:lnTo>
                  <a:lnTo>
                    <a:pt x="9598" y="1741"/>
                  </a:lnTo>
                  <a:lnTo>
                    <a:pt x="9740" y="1741"/>
                  </a:lnTo>
                  <a:close/>
                  <a:moveTo>
                    <a:pt x="9985" y="1741"/>
                  </a:moveTo>
                  <a:lnTo>
                    <a:pt x="9985" y="1639"/>
                  </a:lnTo>
                  <a:lnTo>
                    <a:pt x="9780" y="1639"/>
                  </a:lnTo>
                  <a:lnTo>
                    <a:pt x="9780" y="1741"/>
                  </a:lnTo>
                  <a:lnTo>
                    <a:pt x="9799" y="1741"/>
                  </a:lnTo>
                  <a:lnTo>
                    <a:pt x="9808" y="1743"/>
                  </a:lnTo>
                  <a:lnTo>
                    <a:pt x="9815" y="1748"/>
                  </a:lnTo>
                  <a:lnTo>
                    <a:pt x="9818" y="1754"/>
                  </a:lnTo>
                  <a:lnTo>
                    <a:pt x="9820" y="1762"/>
                  </a:lnTo>
                  <a:lnTo>
                    <a:pt x="9818" y="1768"/>
                  </a:lnTo>
                  <a:lnTo>
                    <a:pt x="9815" y="1775"/>
                  </a:lnTo>
                  <a:lnTo>
                    <a:pt x="9808" y="1780"/>
                  </a:lnTo>
                  <a:lnTo>
                    <a:pt x="9799" y="1781"/>
                  </a:lnTo>
                  <a:lnTo>
                    <a:pt x="9607" y="1781"/>
                  </a:lnTo>
                  <a:lnTo>
                    <a:pt x="9413" y="2048"/>
                  </a:lnTo>
                  <a:lnTo>
                    <a:pt x="10288" y="2048"/>
                  </a:lnTo>
                  <a:lnTo>
                    <a:pt x="11162" y="2048"/>
                  </a:lnTo>
                  <a:lnTo>
                    <a:pt x="10967" y="1781"/>
                  </a:lnTo>
                  <a:lnTo>
                    <a:pt x="9953" y="1781"/>
                  </a:lnTo>
                  <a:lnTo>
                    <a:pt x="9944" y="1780"/>
                  </a:lnTo>
                  <a:lnTo>
                    <a:pt x="9938" y="1775"/>
                  </a:lnTo>
                  <a:lnTo>
                    <a:pt x="9934" y="1768"/>
                  </a:lnTo>
                  <a:lnTo>
                    <a:pt x="9933" y="1762"/>
                  </a:lnTo>
                  <a:lnTo>
                    <a:pt x="9934" y="1754"/>
                  </a:lnTo>
                  <a:lnTo>
                    <a:pt x="9938" y="1748"/>
                  </a:lnTo>
                  <a:lnTo>
                    <a:pt x="9944" y="1743"/>
                  </a:lnTo>
                  <a:lnTo>
                    <a:pt x="9953" y="1741"/>
                  </a:lnTo>
                  <a:lnTo>
                    <a:pt x="9985" y="1741"/>
                  </a:lnTo>
                  <a:close/>
                  <a:moveTo>
                    <a:pt x="9372" y="2089"/>
                  </a:moveTo>
                  <a:lnTo>
                    <a:pt x="9357" y="2089"/>
                  </a:lnTo>
                  <a:lnTo>
                    <a:pt x="9357" y="2222"/>
                  </a:lnTo>
                  <a:lnTo>
                    <a:pt x="10285" y="2222"/>
                  </a:lnTo>
                  <a:lnTo>
                    <a:pt x="11215" y="2222"/>
                  </a:lnTo>
                  <a:lnTo>
                    <a:pt x="11215" y="2089"/>
                  </a:lnTo>
                  <a:lnTo>
                    <a:pt x="11205" y="2089"/>
                  </a:lnTo>
                  <a:lnTo>
                    <a:pt x="11198" y="2089"/>
                  </a:lnTo>
                  <a:lnTo>
                    <a:pt x="10288" y="2089"/>
                  </a:lnTo>
                  <a:lnTo>
                    <a:pt x="9379" y="2089"/>
                  </a:lnTo>
                  <a:lnTo>
                    <a:pt x="9372" y="2089"/>
                  </a:lnTo>
                  <a:close/>
                  <a:moveTo>
                    <a:pt x="11205" y="2089"/>
                  </a:moveTo>
                  <a:lnTo>
                    <a:pt x="11198" y="2089"/>
                  </a:lnTo>
                  <a:lnTo>
                    <a:pt x="11205" y="2089"/>
                  </a:lnTo>
                  <a:close/>
                  <a:moveTo>
                    <a:pt x="9379" y="2089"/>
                  </a:moveTo>
                  <a:lnTo>
                    <a:pt x="9372" y="2089"/>
                  </a:lnTo>
                  <a:lnTo>
                    <a:pt x="9379" y="2089"/>
                  </a:lnTo>
                  <a:close/>
                  <a:moveTo>
                    <a:pt x="11106" y="1136"/>
                  </a:moveTo>
                  <a:lnTo>
                    <a:pt x="11083" y="1126"/>
                  </a:lnTo>
                  <a:lnTo>
                    <a:pt x="11056" y="1122"/>
                  </a:lnTo>
                  <a:lnTo>
                    <a:pt x="11035" y="1125"/>
                  </a:lnTo>
                  <a:lnTo>
                    <a:pt x="11017" y="1130"/>
                  </a:lnTo>
                  <a:lnTo>
                    <a:pt x="10999" y="1140"/>
                  </a:lnTo>
                  <a:lnTo>
                    <a:pt x="10985" y="1152"/>
                  </a:lnTo>
                  <a:lnTo>
                    <a:pt x="10972" y="1167"/>
                  </a:lnTo>
                  <a:lnTo>
                    <a:pt x="10963" y="1185"/>
                  </a:lnTo>
                  <a:lnTo>
                    <a:pt x="10957" y="1204"/>
                  </a:lnTo>
                  <a:lnTo>
                    <a:pt x="10956" y="1225"/>
                  </a:lnTo>
                  <a:lnTo>
                    <a:pt x="10958" y="1246"/>
                  </a:lnTo>
                  <a:lnTo>
                    <a:pt x="11683" y="1245"/>
                  </a:lnTo>
                  <a:lnTo>
                    <a:pt x="11683" y="1227"/>
                  </a:lnTo>
                  <a:lnTo>
                    <a:pt x="11682" y="1208"/>
                  </a:lnTo>
                  <a:lnTo>
                    <a:pt x="11675" y="1190"/>
                  </a:lnTo>
                  <a:lnTo>
                    <a:pt x="11666" y="1174"/>
                  </a:lnTo>
                  <a:lnTo>
                    <a:pt x="11653" y="1159"/>
                  </a:lnTo>
                  <a:lnTo>
                    <a:pt x="11647" y="1153"/>
                  </a:lnTo>
                  <a:lnTo>
                    <a:pt x="11639" y="1148"/>
                  </a:lnTo>
                  <a:lnTo>
                    <a:pt x="11621" y="1139"/>
                  </a:lnTo>
                  <a:lnTo>
                    <a:pt x="11603" y="1133"/>
                  </a:lnTo>
                  <a:lnTo>
                    <a:pt x="11583" y="1131"/>
                  </a:lnTo>
                  <a:lnTo>
                    <a:pt x="11558" y="1134"/>
                  </a:lnTo>
                  <a:lnTo>
                    <a:pt x="11542" y="1138"/>
                  </a:lnTo>
                  <a:lnTo>
                    <a:pt x="11523" y="1139"/>
                  </a:lnTo>
                  <a:lnTo>
                    <a:pt x="11489" y="1133"/>
                  </a:lnTo>
                  <a:lnTo>
                    <a:pt x="11489" y="1113"/>
                  </a:lnTo>
                  <a:lnTo>
                    <a:pt x="11487" y="1096"/>
                  </a:lnTo>
                  <a:lnTo>
                    <a:pt x="11482" y="1078"/>
                  </a:lnTo>
                  <a:lnTo>
                    <a:pt x="11476" y="1061"/>
                  </a:lnTo>
                  <a:lnTo>
                    <a:pt x="11469" y="1044"/>
                  </a:lnTo>
                  <a:lnTo>
                    <a:pt x="11460" y="1030"/>
                  </a:lnTo>
                  <a:lnTo>
                    <a:pt x="11451" y="1016"/>
                  </a:lnTo>
                  <a:lnTo>
                    <a:pt x="11439" y="1002"/>
                  </a:lnTo>
                  <a:lnTo>
                    <a:pt x="11412" y="980"/>
                  </a:lnTo>
                  <a:lnTo>
                    <a:pt x="11383" y="964"/>
                  </a:lnTo>
                  <a:lnTo>
                    <a:pt x="11366" y="957"/>
                  </a:lnTo>
                  <a:lnTo>
                    <a:pt x="11349" y="954"/>
                  </a:lnTo>
                  <a:lnTo>
                    <a:pt x="11312" y="950"/>
                  </a:lnTo>
                  <a:lnTo>
                    <a:pt x="11278" y="954"/>
                  </a:lnTo>
                  <a:lnTo>
                    <a:pt x="11261" y="957"/>
                  </a:lnTo>
                  <a:lnTo>
                    <a:pt x="11246" y="963"/>
                  </a:lnTo>
                  <a:lnTo>
                    <a:pt x="11230" y="970"/>
                  </a:lnTo>
                  <a:lnTo>
                    <a:pt x="11216" y="978"/>
                  </a:lnTo>
                  <a:lnTo>
                    <a:pt x="11190" y="998"/>
                  </a:lnTo>
                  <a:lnTo>
                    <a:pt x="11170" y="1024"/>
                  </a:lnTo>
                  <a:lnTo>
                    <a:pt x="11153" y="1053"/>
                  </a:lnTo>
                  <a:lnTo>
                    <a:pt x="11147" y="1069"/>
                  </a:lnTo>
                  <a:lnTo>
                    <a:pt x="11142" y="1085"/>
                  </a:lnTo>
                  <a:lnTo>
                    <a:pt x="11138" y="1102"/>
                  </a:lnTo>
                  <a:lnTo>
                    <a:pt x="11137" y="1120"/>
                  </a:lnTo>
                  <a:lnTo>
                    <a:pt x="11134" y="1131"/>
                  </a:lnTo>
                  <a:lnTo>
                    <a:pt x="11126" y="1138"/>
                  </a:lnTo>
                  <a:lnTo>
                    <a:pt x="11122" y="1139"/>
                  </a:lnTo>
                  <a:lnTo>
                    <a:pt x="11117" y="1140"/>
                  </a:lnTo>
                  <a:lnTo>
                    <a:pt x="11106" y="1136"/>
                  </a:lnTo>
                  <a:close/>
                  <a:moveTo>
                    <a:pt x="11528" y="1106"/>
                  </a:moveTo>
                  <a:lnTo>
                    <a:pt x="11539" y="1098"/>
                  </a:lnTo>
                  <a:lnTo>
                    <a:pt x="11555" y="1094"/>
                  </a:lnTo>
                  <a:lnTo>
                    <a:pt x="11583" y="1090"/>
                  </a:lnTo>
                  <a:lnTo>
                    <a:pt x="11611" y="1094"/>
                  </a:lnTo>
                  <a:lnTo>
                    <a:pt x="11624" y="1097"/>
                  </a:lnTo>
                  <a:lnTo>
                    <a:pt x="11637" y="1102"/>
                  </a:lnTo>
                  <a:lnTo>
                    <a:pt x="11660" y="1115"/>
                  </a:lnTo>
                  <a:lnTo>
                    <a:pt x="11682" y="1131"/>
                  </a:lnTo>
                  <a:lnTo>
                    <a:pt x="11698" y="1151"/>
                  </a:lnTo>
                  <a:lnTo>
                    <a:pt x="11712" y="1174"/>
                  </a:lnTo>
                  <a:lnTo>
                    <a:pt x="11720" y="1199"/>
                  </a:lnTo>
                  <a:lnTo>
                    <a:pt x="11723" y="1213"/>
                  </a:lnTo>
                  <a:lnTo>
                    <a:pt x="11723" y="1227"/>
                  </a:lnTo>
                  <a:lnTo>
                    <a:pt x="11723" y="1243"/>
                  </a:lnTo>
                  <a:lnTo>
                    <a:pt x="11721" y="1262"/>
                  </a:lnTo>
                  <a:lnTo>
                    <a:pt x="11714" y="1278"/>
                  </a:lnTo>
                  <a:lnTo>
                    <a:pt x="11707" y="1284"/>
                  </a:lnTo>
                  <a:lnTo>
                    <a:pt x="11700" y="1285"/>
                  </a:lnTo>
                  <a:lnTo>
                    <a:pt x="10943" y="1286"/>
                  </a:lnTo>
                  <a:lnTo>
                    <a:pt x="10934" y="1285"/>
                  </a:lnTo>
                  <a:lnTo>
                    <a:pt x="10928" y="1280"/>
                  </a:lnTo>
                  <a:lnTo>
                    <a:pt x="10924" y="1271"/>
                  </a:lnTo>
                  <a:lnTo>
                    <a:pt x="10920" y="1262"/>
                  </a:lnTo>
                  <a:lnTo>
                    <a:pt x="10916" y="1240"/>
                  </a:lnTo>
                  <a:lnTo>
                    <a:pt x="10915" y="1225"/>
                  </a:lnTo>
                  <a:lnTo>
                    <a:pt x="10919" y="1197"/>
                  </a:lnTo>
                  <a:lnTo>
                    <a:pt x="10926" y="1170"/>
                  </a:lnTo>
                  <a:lnTo>
                    <a:pt x="10939" y="1145"/>
                  </a:lnTo>
                  <a:lnTo>
                    <a:pt x="10956" y="1125"/>
                  </a:lnTo>
                  <a:lnTo>
                    <a:pt x="10978" y="1107"/>
                  </a:lnTo>
                  <a:lnTo>
                    <a:pt x="10989" y="1099"/>
                  </a:lnTo>
                  <a:lnTo>
                    <a:pt x="11001" y="1094"/>
                  </a:lnTo>
                  <a:lnTo>
                    <a:pt x="11028" y="1085"/>
                  </a:lnTo>
                  <a:lnTo>
                    <a:pt x="11042" y="1083"/>
                  </a:lnTo>
                  <a:lnTo>
                    <a:pt x="11056" y="1083"/>
                  </a:lnTo>
                  <a:lnTo>
                    <a:pt x="11079" y="1084"/>
                  </a:lnTo>
                  <a:lnTo>
                    <a:pt x="11101" y="1089"/>
                  </a:lnTo>
                  <a:lnTo>
                    <a:pt x="11110" y="1052"/>
                  </a:lnTo>
                  <a:lnTo>
                    <a:pt x="11126" y="1019"/>
                  </a:lnTo>
                  <a:lnTo>
                    <a:pt x="11147" y="988"/>
                  </a:lnTo>
                  <a:lnTo>
                    <a:pt x="11173" y="961"/>
                  </a:lnTo>
                  <a:lnTo>
                    <a:pt x="11202" y="940"/>
                  </a:lnTo>
                  <a:lnTo>
                    <a:pt x="11237" y="923"/>
                  </a:lnTo>
                  <a:lnTo>
                    <a:pt x="11274" y="913"/>
                  </a:lnTo>
                  <a:lnTo>
                    <a:pt x="11312" y="910"/>
                  </a:lnTo>
                  <a:lnTo>
                    <a:pt x="11355" y="914"/>
                  </a:lnTo>
                  <a:lnTo>
                    <a:pt x="11374" y="918"/>
                  </a:lnTo>
                  <a:lnTo>
                    <a:pt x="11393" y="925"/>
                  </a:lnTo>
                  <a:lnTo>
                    <a:pt x="11428" y="942"/>
                  </a:lnTo>
                  <a:lnTo>
                    <a:pt x="11444" y="954"/>
                  </a:lnTo>
                  <a:lnTo>
                    <a:pt x="11458" y="966"/>
                  </a:lnTo>
                  <a:lnTo>
                    <a:pt x="11473" y="980"/>
                  </a:lnTo>
                  <a:lnTo>
                    <a:pt x="11485" y="996"/>
                  </a:lnTo>
                  <a:lnTo>
                    <a:pt x="11506" y="1029"/>
                  </a:lnTo>
                  <a:lnTo>
                    <a:pt x="11514" y="1047"/>
                  </a:lnTo>
                  <a:lnTo>
                    <a:pt x="11520" y="1066"/>
                  </a:lnTo>
                  <a:lnTo>
                    <a:pt x="11525" y="1085"/>
                  </a:lnTo>
                  <a:lnTo>
                    <a:pt x="11528" y="1106"/>
                  </a:lnTo>
                  <a:close/>
                  <a:moveTo>
                    <a:pt x="13515" y="644"/>
                  </a:moveTo>
                  <a:lnTo>
                    <a:pt x="13404" y="644"/>
                  </a:lnTo>
                  <a:lnTo>
                    <a:pt x="13404" y="754"/>
                  </a:lnTo>
                  <a:lnTo>
                    <a:pt x="13515" y="754"/>
                  </a:lnTo>
                  <a:lnTo>
                    <a:pt x="13515" y="644"/>
                  </a:lnTo>
                  <a:close/>
                  <a:moveTo>
                    <a:pt x="13534" y="605"/>
                  </a:moveTo>
                  <a:lnTo>
                    <a:pt x="13542" y="606"/>
                  </a:lnTo>
                  <a:lnTo>
                    <a:pt x="13549" y="611"/>
                  </a:lnTo>
                  <a:lnTo>
                    <a:pt x="13552" y="617"/>
                  </a:lnTo>
                  <a:lnTo>
                    <a:pt x="13555" y="624"/>
                  </a:lnTo>
                  <a:lnTo>
                    <a:pt x="13555" y="754"/>
                  </a:lnTo>
                  <a:lnTo>
                    <a:pt x="14078" y="754"/>
                  </a:lnTo>
                  <a:lnTo>
                    <a:pt x="14086" y="757"/>
                  </a:lnTo>
                  <a:lnTo>
                    <a:pt x="14092" y="761"/>
                  </a:lnTo>
                  <a:lnTo>
                    <a:pt x="14097" y="767"/>
                  </a:lnTo>
                  <a:lnTo>
                    <a:pt x="14099" y="775"/>
                  </a:lnTo>
                  <a:lnTo>
                    <a:pt x="14099" y="1471"/>
                  </a:lnTo>
                  <a:lnTo>
                    <a:pt x="14099" y="2170"/>
                  </a:lnTo>
                  <a:lnTo>
                    <a:pt x="14097" y="2177"/>
                  </a:lnTo>
                  <a:lnTo>
                    <a:pt x="14092" y="2184"/>
                  </a:lnTo>
                  <a:lnTo>
                    <a:pt x="14086" y="2188"/>
                  </a:lnTo>
                  <a:lnTo>
                    <a:pt x="14078" y="2189"/>
                  </a:lnTo>
                  <a:lnTo>
                    <a:pt x="14072" y="2188"/>
                  </a:lnTo>
                  <a:lnTo>
                    <a:pt x="14065" y="2184"/>
                  </a:lnTo>
                  <a:lnTo>
                    <a:pt x="14060" y="2177"/>
                  </a:lnTo>
                  <a:lnTo>
                    <a:pt x="14059" y="2170"/>
                  </a:lnTo>
                  <a:lnTo>
                    <a:pt x="14059" y="1482"/>
                  </a:lnTo>
                  <a:lnTo>
                    <a:pt x="14059" y="795"/>
                  </a:lnTo>
                  <a:lnTo>
                    <a:pt x="13534" y="795"/>
                  </a:lnTo>
                  <a:lnTo>
                    <a:pt x="13384" y="795"/>
                  </a:lnTo>
                  <a:lnTo>
                    <a:pt x="13150" y="795"/>
                  </a:lnTo>
                  <a:lnTo>
                    <a:pt x="13141" y="793"/>
                  </a:lnTo>
                  <a:lnTo>
                    <a:pt x="13134" y="789"/>
                  </a:lnTo>
                  <a:lnTo>
                    <a:pt x="13131" y="782"/>
                  </a:lnTo>
                  <a:lnTo>
                    <a:pt x="13129" y="775"/>
                  </a:lnTo>
                  <a:lnTo>
                    <a:pt x="13131" y="767"/>
                  </a:lnTo>
                  <a:lnTo>
                    <a:pt x="13134" y="761"/>
                  </a:lnTo>
                  <a:lnTo>
                    <a:pt x="13141" y="757"/>
                  </a:lnTo>
                  <a:lnTo>
                    <a:pt x="13150" y="754"/>
                  </a:lnTo>
                  <a:lnTo>
                    <a:pt x="13201" y="754"/>
                  </a:lnTo>
                  <a:lnTo>
                    <a:pt x="13201" y="612"/>
                  </a:lnTo>
                  <a:lnTo>
                    <a:pt x="12798" y="612"/>
                  </a:lnTo>
                  <a:lnTo>
                    <a:pt x="12798" y="754"/>
                  </a:lnTo>
                  <a:lnTo>
                    <a:pt x="12852" y="754"/>
                  </a:lnTo>
                  <a:lnTo>
                    <a:pt x="12861" y="757"/>
                  </a:lnTo>
                  <a:lnTo>
                    <a:pt x="12868" y="761"/>
                  </a:lnTo>
                  <a:lnTo>
                    <a:pt x="12872" y="767"/>
                  </a:lnTo>
                  <a:lnTo>
                    <a:pt x="12873" y="775"/>
                  </a:lnTo>
                  <a:lnTo>
                    <a:pt x="12872" y="782"/>
                  </a:lnTo>
                  <a:lnTo>
                    <a:pt x="12868" y="789"/>
                  </a:lnTo>
                  <a:lnTo>
                    <a:pt x="12861" y="793"/>
                  </a:lnTo>
                  <a:lnTo>
                    <a:pt x="12852" y="795"/>
                  </a:lnTo>
                  <a:lnTo>
                    <a:pt x="12664" y="795"/>
                  </a:lnTo>
                  <a:lnTo>
                    <a:pt x="12664" y="1810"/>
                  </a:lnTo>
                  <a:lnTo>
                    <a:pt x="12664" y="2826"/>
                  </a:lnTo>
                  <a:lnTo>
                    <a:pt x="12661" y="2835"/>
                  </a:lnTo>
                  <a:lnTo>
                    <a:pt x="12657" y="2840"/>
                  </a:lnTo>
                  <a:lnTo>
                    <a:pt x="12651" y="2844"/>
                  </a:lnTo>
                  <a:lnTo>
                    <a:pt x="12643" y="2845"/>
                  </a:lnTo>
                  <a:lnTo>
                    <a:pt x="12636" y="2844"/>
                  </a:lnTo>
                  <a:lnTo>
                    <a:pt x="12629" y="2840"/>
                  </a:lnTo>
                  <a:lnTo>
                    <a:pt x="12625" y="2835"/>
                  </a:lnTo>
                  <a:lnTo>
                    <a:pt x="12624" y="2826"/>
                  </a:lnTo>
                  <a:lnTo>
                    <a:pt x="12624" y="2313"/>
                  </a:lnTo>
                  <a:lnTo>
                    <a:pt x="12624" y="1800"/>
                  </a:lnTo>
                  <a:lnTo>
                    <a:pt x="12624" y="1287"/>
                  </a:lnTo>
                  <a:lnTo>
                    <a:pt x="12624" y="775"/>
                  </a:lnTo>
                  <a:lnTo>
                    <a:pt x="12625" y="767"/>
                  </a:lnTo>
                  <a:lnTo>
                    <a:pt x="12629" y="761"/>
                  </a:lnTo>
                  <a:lnTo>
                    <a:pt x="12636" y="757"/>
                  </a:lnTo>
                  <a:lnTo>
                    <a:pt x="12643" y="754"/>
                  </a:lnTo>
                  <a:lnTo>
                    <a:pt x="12759" y="754"/>
                  </a:lnTo>
                  <a:lnTo>
                    <a:pt x="12759" y="592"/>
                  </a:lnTo>
                  <a:lnTo>
                    <a:pt x="12760" y="584"/>
                  </a:lnTo>
                  <a:lnTo>
                    <a:pt x="12764" y="578"/>
                  </a:lnTo>
                  <a:lnTo>
                    <a:pt x="12770" y="574"/>
                  </a:lnTo>
                  <a:lnTo>
                    <a:pt x="12778" y="573"/>
                  </a:lnTo>
                  <a:lnTo>
                    <a:pt x="13220" y="573"/>
                  </a:lnTo>
                  <a:lnTo>
                    <a:pt x="13228" y="574"/>
                  </a:lnTo>
                  <a:lnTo>
                    <a:pt x="13234" y="578"/>
                  </a:lnTo>
                  <a:lnTo>
                    <a:pt x="13240" y="584"/>
                  </a:lnTo>
                  <a:lnTo>
                    <a:pt x="13241" y="592"/>
                  </a:lnTo>
                  <a:lnTo>
                    <a:pt x="13241" y="754"/>
                  </a:lnTo>
                  <a:lnTo>
                    <a:pt x="13364" y="754"/>
                  </a:lnTo>
                  <a:lnTo>
                    <a:pt x="13364" y="624"/>
                  </a:lnTo>
                  <a:lnTo>
                    <a:pt x="13365" y="617"/>
                  </a:lnTo>
                  <a:lnTo>
                    <a:pt x="13370" y="611"/>
                  </a:lnTo>
                  <a:lnTo>
                    <a:pt x="13377" y="606"/>
                  </a:lnTo>
                  <a:lnTo>
                    <a:pt x="13384" y="605"/>
                  </a:lnTo>
                  <a:lnTo>
                    <a:pt x="13534" y="605"/>
                  </a:lnTo>
                  <a:close/>
                  <a:moveTo>
                    <a:pt x="15835" y="2587"/>
                  </a:moveTo>
                  <a:lnTo>
                    <a:pt x="15677" y="2587"/>
                  </a:lnTo>
                  <a:lnTo>
                    <a:pt x="15677" y="3445"/>
                  </a:lnTo>
                  <a:lnTo>
                    <a:pt x="15677" y="4304"/>
                  </a:lnTo>
                  <a:lnTo>
                    <a:pt x="16008" y="4304"/>
                  </a:lnTo>
                  <a:lnTo>
                    <a:pt x="16008" y="3419"/>
                  </a:lnTo>
                  <a:lnTo>
                    <a:pt x="16008" y="2534"/>
                  </a:lnTo>
                  <a:lnTo>
                    <a:pt x="16009" y="2525"/>
                  </a:lnTo>
                  <a:lnTo>
                    <a:pt x="16012" y="2519"/>
                  </a:lnTo>
                  <a:lnTo>
                    <a:pt x="16016" y="2515"/>
                  </a:lnTo>
                  <a:lnTo>
                    <a:pt x="16021" y="2511"/>
                  </a:lnTo>
                  <a:lnTo>
                    <a:pt x="16027" y="2511"/>
                  </a:lnTo>
                  <a:lnTo>
                    <a:pt x="16032" y="2512"/>
                  </a:lnTo>
                  <a:lnTo>
                    <a:pt x="16039" y="2516"/>
                  </a:lnTo>
                  <a:lnTo>
                    <a:pt x="16045" y="2523"/>
                  </a:lnTo>
                  <a:lnTo>
                    <a:pt x="16536" y="3199"/>
                  </a:lnTo>
                  <a:lnTo>
                    <a:pt x="16536" y="2534"/>
                  </a:lnTo>
                  <a:lnTo>
                    <a:pt x="16538" y="2525"/>
                  </a:lnTo>
                  <a:lnTo>
                    <a:pt x="16540" y="2519"/>
                  </a:lnTo>
                  <a:lnTo>
                    <a:pt x="16544" y="2515"/>
                  </a:lnTo>
                  <a:lnTo>
                    <a:pt x="16549" y="2511"/>
                  </a:lnTo>
                  <a:lnTo>
                    <a:pt x="16556" y="2511"/>
                  </a:lnTo>
                  <a:lnTo>
                    <a:pt x="16562" y="2512"/>
                  </a:lnTo>
                  <a:lnTo>
                    <a:pt x="16567" y="2516"/>
                  </a:lnTo>
                  <a:lnTo>
                    <a:pt x="16573" y="2523"/>
                  </a:lnTo>
                  <a:lnTo>
                    <a:pt x="17076" y="3214"/>
                  </a:lnTo>
                  <a:lnTo>
                    <a:pt x="17076" y="2534"/>
                  </a:lnTo>
                  <a:lnTo>
                    <a:pt x="17077" y="2525"/>
                  </a:lnTo>
                  <a:lnTo>
                    <a:pt x="17080" y="2519"/>
                  </a:lnTo>
                  <a:lnTo>
                    <a:pt x="17084" y="2515"/>
                  </a:lnTo>
                  <a:lnTo>
                    <a:pt x="17089" y="2511"/>
                  </a:lnTo>
                  <a:lnTo>
                    <a:pt x="17094" y="2511"/>
                  </a:lnTo>
                  <a:lnTo>
                    <a:pt x="17100" y="2512"/>
                  </a:lnTo>
                  <a:lnTo>
                    <a:pt x="17107" y="2516"/>
                  </a:lnTo>
                  <a:lnTo>
                    <a:pt x="17112" y="2523"/>
                  </a:lnTo>
                  <a:lnTo>
                    <a:pt x="17640" y="3249"/>
                  </a:lnTo>
                  <a:lnTo>
                    <a:pt x="17644" y="3258"/>
                  </a:lnTo>
                  <a:lnTo>
                    <a:pt x="17644" y="3265"/>
                  </a:lnTo>
                  <a:lnTo>
                    <a:pt x="17642" y="3272"/>
                  </a:lnTo>
                  <a:lnTo>
                    <a:pt x="17636" y="3277"/>
                  </a:lnTo>
                  <a:lnTo>
                    <a:pt x="17630" y="3281"/>
                  </a:lnTo>
                  <a:lnTo>
                    <a:pt x="17622" y="3281"/>
                  </a:lnTo>
                  <a:lnTo>
                    <a:pt x="17615" y="3280"/>
                  </a:lnTo>
                  <a:lnTo>
                    <a:pt x="17608" y="3273"/>
                  </a:lnTo>
                  <a:lnTo>
                    <a:pt x="17116" y="2595"/>
                  </a:lnTo>
                  <a:lnTo>
                    <a:pt x="17116" y="3262"/>
                  </a:lnTo>
                  <a:lnTo>
                    <a:pt x="17113" y="3271"/>
                  </a:lnTo>
                  <a:lnTo>
                    <a:pt x="17108" y="3278"/>
                  </a:lnTo>
                  <a:lnTo>
                    <a:pt x="17099" y="3281"/>
                  </a:lnTo>
                  <a:lnTo>
                    <a:pt x="17090" y="3281"/>
                  </a:lnTo>
                  <a:lnTo>
                    <a:pt x="17080" y="3281"/>
                  </a:lnTo>
                  <a:lnTo>
                    <a:pt x="17074" y="3278"/>
                  </a:lnTo>
                  <a:lnTo>
                    <a:pt x="17070" y="3273"/>
                  </a:lnTo>
                  <a:lnTo>
                    <a:pt x="16577" y="2595"/>
                  </a:lnTo>
                  <a:lnTo>
                    <a:pt x="16577" y="3258"/>
                  </a:lnTo>
                  <a:lnTo>
                    <a:pt x="16577" y="3264"/>
                  </a:lnTo>
                  <a:lnTo>
                    <a:pt x="16575" y="3269"/>
                  </a:lnTo>
                  <a:lnTo>
                    <a:pt x="16571" y="3276"/>
                  </a:lnTo>
                  <a:lnTo>
                    <a:pt x="16563" y="3281"/>
                  </a:lnTo>
                  <a:lnTo>
                    <a:pt x="16554" y="3281"/>
                  </a:lnTo>
                  <a:lnTo>
                    <a:pt x="16547" y="3278"/>
                  </a:lnTo>
                  <a:lnTo>
                    <a:pt x="16541" y="3276"/>
                  </a:lnTo>
                  <a:lnTo>
                    <a:pt x="16539" y="3271"/>
                  </a:lnTo>
                  <a:lnTo>
                    <a:pt x="16049" y="2595"/>
                  </a:lnTo>
                  <a:lnTo>
                    <a:pt x="16049" y="3450"/>
                  </a:lnTo>
                  <a:lnTo>
                    <a:pt x="16049" y="4304"/>
                  </a:lnTo>
                  <a:lnTo>
                    <a:pt x="16844" y="4304"/>
                  </a:lnTo>
                  <a:lnTo>
                    <a:pt x="16853" y="4305"/>
                  </a:lnTo>
                  <a:lnTo>
                    <a:pt x="16859" y="4310"/>
                  </a:lnTo>
                  <a:lnTo>
                    <a:pt x="16863" y="4317"/>
                  </a:lnTo>
                  <a:lnTo>
                    <a:pt x="16865" y="4324"/>
                  </a:lnTo>
                  <a:lnTo>
                    <a:pt x="16863" y="4331"/>
                  </a:lnTo>
                  <a:lnTo>
                    <a:pt x="16859" y="4337"/>
                  </a:lnTo>
                  <a:lnTo>
                    <a:pt x="16853" y="4342"/>
                  </a:lnTo>
                  <a:lnTo>
                    <a:pt x="16844" y="4343"/>
                  </a:lnTo>
                  <a:lnTo>
                    <a:pt x="16250" y="4343"/>
                  </a:lnTo>
                  <a:lnTo>
                    <a:pt x="15657" y="4343"/>
                  </a:lnTo>
                  <a:lnTo>
                    <a:pt x="14760" y="4343"/>
                  </a:lnTo>
                  <a:lnTo>
                    <a:pt x="13864" y="4343"/>
                  </a:lnTo>
                  <a:lnTo>
                    <a:pt x="13856" y="4342"/>
                  </a:lnTo>
                  <a:lnTo>
                    <a:pt x="13850" y="4338"/>
                  </a:lnTo>
                  <a:lnTo>
                    <a:pt x="13846" y="4332"/>
                  </a:lnTo>
                  <a:lnTo>
                    <a:pt x="13843" y="4324"/>
                  </a:lnTo>
                  <a:lnTo>
                    <a:pt x="13843" y="3455"/>
                  </a:lnTo>
                  <a:lnTo>
                    <a:pt x="13843" y="2587"/>
                  </a:lnTo>
                  <a:lnTo>
                    <a:pt x="13686" y="2587"/>
                  </a:lnTo>
                  <a:lnTo>
                    <a:pt x="13677" y="2585"/>
                  </a:lnTo>
                  <a:lnTo>
                    <a:pt x="13670" y="2581"/>
                  </a:lnTo>
                  <a:lnTo>
                    <a:pt x="13667" y="2575"/>
                  </a:lnTo>
                  <a:lnTo>
                    <a:pt x="13665" y="2567"/>
                  </a:lnTo>
                  <a:lnTo>
                    <a:pt x="13667" y="2560"/>
                  </a:lnTo>
                  <a:lnTo>
                    <a:pt x="13670" y="2553"/>
                  </a:lnTo>
                  <a:lnTo>
                    <a:pt x="13677" y="2549"/>
                  </a:lnTo>
                  <a:lnTo>
                    <a:pt x="13686" y="2547"/>
                  </a:lnTo>
                  <a:lnTo>
                    <a:pt x="13963" y="2547"/>
                  </a:lnTo>
                  <a:lnTo>
                    <a:pt x="13963" y="2374"/>
                  </a:lnTo>
                  <a:lnTo>
                    <a:pt x="13964" y="2367"/>
                  </a:lnTo>
                  <a:lnTo>
                    <a:pt x="13968" y="2360"/>
                  </a:lnTo>
                  <a:lnTo>
                    <a:pt x="13974" y="2355"/>
                  </a:lnTo>
                  <a:lnTo>
                    <a:pt x="13982" y="2354"/>
                  </a:lnTo>
                  <a:lnTo>
                    <a:pt x="14750" y="2354"/>
                  </a:lnTo>
                  <a:lnTo>
                    <a:pt x="15519" y="2354"/>
                  </a:lnTo>
                  <a:lnTo>
                    <a:pt x="15527" y="2355"/>
                  </a:lnTo>
                  <a:lnTo>
                    <a:pt x="15534" y="2360"/>
                  </a:lnTo>
                  <a:lnTo>
                    <a:pt x="15537" y="2367"/>
                  </a:lnTo>
                  <a:lnTo>
                    <a:pt x="15539" y="2374"/>
                  </a:lnTo>
                  <a:lnTo>
                    <a:pt x="15539" y="2547"/>
                  </a:lnTo>
                  <a:lnTo>
                    <a:pt x="15835" y="2547"/>
                  </a:lnTo>
                  <a:lnTo>
                    <a:pt x="15844" y="2549"/>
                  </a:lnTo>
                  <a:lnTo>
                    <a:pt x="15850" y="2553"/>
                  </a:lnTo>
                  <a:lnTo>
                    <a:pt x="15854" y="2560"/>
                  </a:lnTo>
                  <a:lnTo>
                    <a:pt x="15855" y="2567"/>
                  </a:lnTo>
                  <a:lnTo>
                    <a:pt x="15854" y="2575"/>
                  </a:lnTo>
                  <a:lnTo>
                    <a:pt x="15850" y="2581"/>
                  </a:lnTo>
                  <a:lnTo>
                    <a:pt x="15844" y="2585"/>
                  </a:lnTo>
                  <a:lnTo>
                    <a:pt x="15835" y="2587"/>
                  </a:lnTo>
                  <a:close/>
                  <a:moveTo>
                    <a:pt x="15636" y="2587"/>
                  </a:moveTo>
                  <a:lnTo>
                    <a:pt x="14760" y="2587"/>
                  </a:lnTo>
                  <a:lnTo>
                    <a:pt x="13885" y="2587"/>
                  </a:lnTo>
                  <a:lnTo>
                    <a:pt x="13885" y="3445"/>
                  </a:lnTo>
                  <a:lnTo>
                    <a:pt x="13885" y="4304"/>
                  </a:lnTo>
                  <a:lnTo>
                    <a:pt x="14760" y="4304"/>
                  </a:lnTo>
                  <a:lnTo>
                    <a:pt x="15636" y="4304"/>
                  </a:lnTo>
                  <a:lnTo>
                    <a:pt x="15636" y="3445"/>
                  </a:lnTo>
                  <a:lnTo>
                    <a:pt x="15636" y="2587"/>
                  </a:lnTo>
                  <a:close/>
                  <a:moveTo>
                    <a:pt x="14002" y="2547"/>
                  </a:moveTo>
                  <a:lnTo>
                    <a:pt x="14750" y="2547"/>
                  </a:lnTo>
                  <a:lnTo>
                    <a:pt x="15499" y="2547"/>
                  </a:lnTo>
                  <a:lnTo>
                    <a:pt x="15499" y="2393"/>
                  </a:lnTo>
                  <a:lnTo>
                    <a:pt x="14750" y="2393"/>
                  </a:lnTo>
                  <a:lnTo>
                    <a:pt x="14002" y="2393"/>
                  </a:lnTo>
                  <a:lnTo>
                    <a:pt x="14002" y="2547"/>
                  </a:lnTo>
                  <a:close/>
                  <a:moveTo>
                    <a:pt x="15171" y="3639"/>
                  </a:moveTo>
                  <a:lnTo>
                    <a:pt x="15171" y="3751"/>
                  </a:lnTo>
                  <a:lnTo>
                    <a:pt x="15168" y="3760"/>
                  </a:lnTo>
                  <a:lnTo>
                    <a:pt x="15164" y="3765"/>
                  </a:lnTo>
                  <a:lnTo>
                    <a:pt x="15158" y="3769"/>
                  </a:lnTo>
                  <a:lnTo>
                    <a:pt x="15150" y="3771"/>
                  </a:lnTo>
                  <a:lnTo>
                    <a:pt x="15142" y="3769"/>
                  </a:lnTo>
                  <a:lnTo>
                    <a:pt x="15136" y="3765"/>
                  </a:lnTo>
                  <a:lnTo>
                    <a:pt x="15132" y="3760"/>
                  </a:lnTo>
                  <a:lnTo>
                    <a:pt x="15131" y="3751"/>
                  </a:lnTo>
                  <a:lnTo>
                    <a:pt x="15131" y="3639"/>
                  </a:lnTo>
                  <a:lnTo>
                    <a:pt x="15132" y="3630"/>
                  </a:lnTo>
                  <a:lnTo>
                    <a:pt x="15136" y="3624"/>
                  </a:lnTo>
                  <a:lnTo>
                    <a:pt x="15142" y="3620"/>
                  </a:lnTo>
                  <a:lnTo>
                    <a:pt x="15150" y="3618"/>
                  </a:lnTo>
                  <a:lnTo>
                    <a:pt x="15158" y="3620"/>
                  </a:lnTo>
                  <a:lnTo>
                    <a:pt x="15164" y="3624"/>
                  </a:lnTo>
                  <a:lnTo>
                    <a:pt x="15168" y="3630"/>
                  </a:lnTo>
                  <a:lnTo>
                    <a:pt x="15171" y="3639"/>
                  </a:lnTo>
                  <a:close/>
                  <a:moveTo>
                    <a:pt x="14908" y="3639"/>
                  </a:moveTo>
                  <a:lnTo>
                    <a:pt x="14908" y="3751"/>
                  </a:lnTo>
                  <a:lnTo>
                    <a:pt x="14905" y="3760"/>
                  </a:lnTo>
                  <a:lnTo>
                    <a:pt x="14901" y="3765"/>
                  </a:lnTo>
                  <a:lnTo>
                    <a:pt x="14895" y="3769"/>
                  </a:lnTo>
                  <a:lnTo>
                    <a:pt x="14887" y="3771"/>
                  </a:lnTo>
                  <a:lnTo>
                    <a:pt x="14880" y="3769"/>
                  </a:lnTo>
                  <a:lnTo>
                    <a:pt x="14873" y="3765"/>
                  </a:lnTo>
                  <a:lnTo>
                    <a:pt x="14869" y="3760"/>
                  </a:lnTo>
                  <a:lnTo>
                    <a:pt x="14867" y="3751"/>
                  </a:lnTo>
                  <a:lnTo>
                    <a:pt x="14867" y="3639"/>
                  </a:lnTo>
                  <a:lnTo>
                    <a:pt x="14869" y="3630"/>
                  </a:lnTo>
                  <a:lnTo>
                    <a:pt x="14873" y="3624"/>
                  </a:lnTo>
                  <a:lnTo>
                    <a:pt x="14880" y="3620"/>
                  </a:lnTo>
                  <a:lnTo>
                    <a:pt x="14887" y="3618"/>
                  </a:lnTo>
                  <a:lnTo>
                    <a:pt x="14895" y="3620"/>
                  </a:lnTo>
                  <a:lnTo>
                    <a:pt x="14901" y="3624"/>
                  </a:lnTo>
                  <a:lnTo>
                    <a:pt x="14905" y="3630"/>
                  </a:lnTo>
                  <a:lnTo>
                    <a:pt x="14908" y="3639"/>
                  </a:lnTo>
                  <a:close/>
                  <a:moveTo>
                    <a:pt x="14644" y="3639"/>
                  </a:moveTo>
                  <a:lnTo>
                    <a:pt x="14644" y="3751"/>
                  </a:lnTo>
                  <a:lnTo>
                    <a:pt x="14642" y="3760"/>
                  </a:lnTo>
                  <a:lnTo>
                    <a:pt x="14637" y="3765"/>
                  </a:lnTo>
                  <a:lnTo>
                    <a:pt x="14631" y="3769"/>
                  </a:lnTo>
                  <a:lnTo>
                    <a:pt x="14624" y="3771"/>
                  </a:lnTo>
                  <a:lnTo>
                    <a:pt x="14617" y="3769"/>
                  </a:lnTo>
                  <a:lnTo>
                    <a:pt x="14610" y="3765"/>
                  </a:lnTo>
                  <a:lnTo>
                    <a:pt x="14606" y="3760"/>
                  </a:lnTo>
                  <a:lnTo>
                    <a:pt x="14604" y="3751"/>
                  </a:lnTo>
                  <a:lnTo>
                    <a:pt x="14604" y="3639"/>
                  </a:lnTo>
                  <a:lnTo>
                    <a:pt x="14606" y="3630"/>
                  </a:lnTo>
                  <a:lnTo>
                    <a:pt x="14610" y="3624"/>
                  </a:lnTo>
                  <a:lnTo>
                    <a:pt x="14617" y="3620"/>
                  </a:lnTo>
                  <a:lnTo>
                    <a:pt x="14624" y="3618"/>
                  </a:lnTo>
                  <a:lnTo>
                    <a:pt x="14631" y="3620"/>
                  </a:lnTo>
                  <a:lnTo>
                    <a:pt x="14637" y="3624"/>
                  </a:lnTo>
                  <a:lnTo>
                    <a:pt x="14642" y="3630"/>
                  </a:lnTo>
                  <a:lnTo>
                    <a:pt x="14644" y="3639"/>
                  </a:lnTo>
                  <a:close/>
                  <a:moveTo>
                    <a:pt x="14381" y="3639"/>
                  </a:moveTo>
                  <a:lnTo>
                    <a:pt x="14381" y="3751"/>
                  </a:lnTo>
                  <a:lnTo>
                    <a:pt x="14379" y="3760"/>
                  </a:lnTo>
                  <a:lnTo>
                    <a:pt x="14374" y="3765"/>
                  </a:lnTo>
                  <a:lnTo>
                    <a:pt x="14368" y="3769"/>
                  </a:lnTo>
                  <a:lnTo>
                    <a:pt x="14362" y="3771"/>
                  </a:lnTo>
                  <a:lnTo>
                    <a:pt x="14354" y="3769"/>
                  </a:lnTo>
                  <a:lnTo>
                    <a:pt x="14347" y="3765"/>
                  </a:lnTo>
                  <a:lnTo>
                    <a:pt x="14342" y="3760"/>
                  </a:lnTo>
                  <a:lnTo>
                    <a:pt x="14341" y="3751"/>
                  </a:lnTo>
                  <a:lnTo>
                    <a:pt x="14341" y="3639"/>
                  </a:lnTo>
                  <a:lnTo>
                    <a:pt x="14342" y="3630"/>
                  </a:lnTo>
                  <a:lnTo>
                    <a:pt x="14347" y="3624"/>
                  </a:lnTo>
                  <a:lnTo>
                    <a:pt x="14354" y="3620"/>
                  </a:lnTo>
                  <a:lnTo>
                    <a:pt x="14362" y="3618"/>
                  </a:lnTo>
                  <a:lnTo>
                    <a:pt x="14368" y="3620"/>
                  </a:lnTo>
                  <a:lnTo>
                    <a:pt x="14374" y="3624"/>
                  </a:lnTo>
                  <a:lnTo>
                    <a:pt x="14379" y="3630"/>
                  </a:lnTo>
                  <a:lnTo>
                    <a:pt x="14381" y="3639"/>
                  </a:lnTo>
                  <a:close/>
                  <a:moveTo>
                    <a:pt x="14118" y="3639"/>
                  </a:moveTo>
                  <a:lnTo>
                    <a:pt x="14118" y="3751"/>
                  </a:lnTo>
                  <a:lnTo>
                    <a:pt x="14117" y="3760"/>
                  </a:lnTo>
                  <a:lnTo>
                    <a:pt x="14111" y="3765"/>
                  </a:lnTo>
                  <a:lnTo>
                    <a:pt x="14105" y="3769"/>
                  </a:lnTo>
                  <a:lnTo>
                    <a:pt x="14097" y="3771"/>
                  </a:lnTo>
                  <a:lnTo>
                    <a:pt x="14091" y="3769"/>
                  </a:lnTo>
                  <a:lnTo>
                    <a:pt x="14085" y="3765"/>
                  </a:lnTo>
                  <a:lnTo>
                    <a:pt x="14079" y="3760"/>
                  </a:lnTo>
                  <a:lnTo>
                    <a:pt x="14078" y="3751"/>
                  </a:lnTo>
                  <a:lnTo>
                    <a:pt x="14078" y="3639"/>
                  </a:lnTo>
                  <a:lnTo>
                    <a:pt x="14079" y="3630"/>
                  </a:lnTo>
                  <a:lnTo>
                    <a:pt x="14085" y="3624"/>
                  </a:lnTo>
                  <a:lnTo>
                    <a:pt x="14091" y="3620"/>
                  </a:lnTo>
                  <a:lnTo>
                    <a:pt x="14097" y="3618"/>
                  </a:lnTo>
                  <a:lnTo>
                    <a:pt x="14105" y="3620"/>
                  </a:lnTo>
                  <a:lnTo>
                    <a:pt x="14111" y="3624"/>
                  </a:lnTo>
                  <a:lnTo>
                    <a:pt x="14117" y="3630"/>
                  </a:lnTo>
                  <a:lnTo>
                    <a:pt x="14118" y="3639"/>
                  </a:lnTo>
                  <a:close/>
                  <a:moveTo>
                    <a:pt x="15434" y="3392"/>
                  </a:moveTo>
                  <a:lnTo>
                    <a:pt x="15434" y="3505"/>
                  </a:lnTo>
                  <a:lnTo>
                    <a:pt x="15432" y="3514"/>
                  </a:lnTo>
                  <a:lnTo>
                    <a:pt x="15427" y="3520"/>
                  </a:lnTo>
                  <a:lnTo>
                    <a:pt x="15421" y="3524"/>
                  </a:lnTo>
                  <a:lnTo>
                    <a:pt x="15413" y="3524"/>
                  </a:lnTo>
                  <a:lnTo>
                    <a:pt x="15407" y="3524"/>
                  </a:lnTo>
                  <a:lnTo>
                    <a:pt x="15400" y="3520"/>
                  </a:lnTo>
                  <a:lnTo>
                    <a:pt x="15395" y="3514"/>
                  </a:lnTo>
                  <a:lnTo>
                    <a:pt x="15394" y="3505"/>
                  </a:lnTo>
                  <a:lnTo>
                    <a:pt x="15394" y="3392"/>
                  </a:lnTo>
                  <a:lnTo>
                    <a:pt x="15395" y="3383"/>
                  </a:lnTo>
                  <a:lnTo>
                    <a:pt x="15400" y="3378"/>
                  </a:lnTo>
                  <a:lnTo>
                    <a:pt x="15407" y="3374"/>
                  </a:lnTo>
                  <a:lnTo>
                    <a:pt x="15413" y="3373"/>
                  </a:lnTo>
                  <a:lnTo>
                    <a:pt x="15421" y="3374"/>
                  </a:lnTo>
                  <a:lnTo>
                    <a:pt x="15427" y="3378"/>
                  </a:lnTo>
                  <a:lnTo>
                    <a:pt x="15432" y="3383"/>
                  </a:lnTo>
                  <a:lnTo>
                    <a:pt x="15434" y="3392"/>
                  </a:lnTo>
                  <a:close/>
                  <a:moveTo>
                    <a:pt x="15171" y="3392"/>
                  </a:moveTo>
                  <a:lnTo>
                    <a:pt x="15171" y="3505"/>
                  </a:lnTo>
                  <a:lnTo>
                    <a:pt x="15168" y="3514"/>
                  </a:lnTo>
                  <a:lnTo>
                    <a:pt x="15164" y="3520"/>
                  </a:lnTo>
                  <a:lnTo>
                    <a:pt x="15158" y="3524"/>
                  </a:lnTo>
                  <a:lnTo>
                    <a:pt x="15150" y="3524"/>
                  </a:lnTo>
                  <a:lnTo>
                    <a:pt x="15142" y="3524"/>
                  </a:lnTo>
                  <a:lnTo>
                    <a:pt x="15136" y="3520"/>
                  </a:lnTo>
                  <a:lnTo>
                    <a:pt x="15132" y="3514"/>
                  </a:lnTo>
                  <a:lnTo>
                    <a:pt x="15131" y="3505"/>
                  </a:lnTo>
                  <a:lnTo>
                    <a:pt x="15131" y="3392"/>
                  </a:lnTo>
                  <a:lnTo>
                    <a:pt x="15132" y="3383"/>
                  </a:lnTo>
                  <a:lnTo>
                    <a:pt x="15136" y="3378"/>
                  </a:lnTo>
                  <a:lnTo>
                    <a:pt x="15142" y="3374"/>
                  </a:lnTo>
                  <a:lnTo>
                    <a:pt x="15150" y="3373"/>
                  </a:lnTo>
                  <a:lnTo>
                    <a:pt x="15158" y="3374"/>
                  </a:lnTo>
                  <a:lnTo>
                    <a:pt x="15164" y="3378"/>
                  </a:lnTo>
                  <a:lnTo>
                    <a:pt x="15168" y="3383"/>
                  </a:lnTo>
                  <a:lnTo>
                    <a:pt x="15171" y="3392"/>
                  </a:lnTo>
                  <a:close/>
                  <a:moveTo>
                    <a:pt x="14908" y="3392"/>
                  </a:moveTo>
                  <a:lnTo>
                    <a:pt x="14908" y="3505"/>
                  </a:lnTo>
                  <a:lnTo>
                    <a:pt x="14905" y="3514"/>
                  </a:lnTo>
                  <a:lnTo>
                    <a:pt x="14901" y="3520"/>
                  </a:lnTo>
                  <a:lnTo>
                    <a:pt x="14895" y="3524"/>
                  </a:lnTo>
                  <a:lnTo>
                    <a:pt x="14887" y="3524"/>
                  </a:lnTo>
                  <a:lnTo>
                    <a:pt x="14880" y="3524"/>
                  </a:lnTo>
                  <a:lnTo>
                    <a:pt x="14873" y="3520"/>
                  </a:lnTo>
                  <a:lnTo>
                    <a:pt x="14869" y="3514"/>
                  </a:lnTo>
                  <a:lnTo>
                    <a:pt x="14867" y="3505"/>
                  </a:lnTo>
                  <a:lnTo>
                    <a:pt x="14867" y="3392"/>
                  </a:lnTo>
                  <a:lnTo>
                    <a:pt x="14869" y="3383"/>
                  </a:lnTo>
                  <a:lnTo>
                    <a:pt x="14873" y="3378"/>
                  </a:lnTo>
                  <a:lnTo>
                    <a:pt x="14880" y="3374"/>
                  </a:lnTo>
                  <a:lnTo>
                    <a:pt x="14887" y="3373"/>
                  </a:lnTo>
                  <a:lnTo>
                    <a:pt x="14895" y="3374"/>
                  </a:lnTo>
                  <a:lnTo>
                    <a:pt x="14901" y="3378"/>
                  </a:lnTo>
                  <a:lnTo>
                    <a:pt x="14905" y="3383"/>
                  </a:lnTo>
                  <a:lnTo>
                    <a:pt x="14908" y="3392"/>
                  </a:lnTo>
                  <a:close/>
                  <a:moveTo>
                    <a:pt x="14644" y="3392"/>
                  </a:moveTo>
                  <a:lnTo>
                    <a:pt x="14644" y="3505"/>
                  </a:lnTo>
                  <a:lnTo>
                    <a:pt x="14642" y="3514"/>
                  </a:lnTo>
                  <a:lnTo>
                    <a:pt x="14637" y="3520"/>
                  </a:lnTo>
                  <a:lnTo>
                    <a:pt x="14631" y="3524"/>
                  </a:lnTo>
                  <a:lnTo>
                    <a:pt x="14624" y="3524"/>
                  </a:lnTo>
                  <a:lnTo>
                    <a:pt x="14617" y="3524"/>
                  </a:lnTo>
                  <a:lnTo>
                    <a:pt x="14610" y="3520"/>
                  </a:lnTo>
                  <a:lnTo>
                    <a:pt x="14606" y="3514"/>
                  </a:lnTo>
                  <a:lnTo>
                    <a:pt x="14604" y="3505"/>
                  </a:lnTo>
                  <a:lnTo>
                    <a:pt x="14604" y="3392"/>
                  </a:lnTo>
                  <a:lnTo>
                    <a:pt x="14606" y="3383"/>
                  </a:lnTo>
                  <a:lnTo>
                    <a:pt x="14610" y="3378"/>
                  </a:lnTo>
                  <a:lnTo>
                    <a:pt x="14617" y="3374"/>
                  </a:lnTo>
                  <a:lnTo>
                    <a:pt x="14624" y="3373"/>
                  </a:lnTo>
                  <a:lnTo>
                    <a:pt x="14631" y="3374"/>
                  </a:lnTo>
                  <a:lnTo>
                    <a:pt x="14637" y="3378"/>
                  </a:lnTo>
                  <a:lnTo>
                    <a:pt x="14642" y="3383"/>
                  </a:lnTo>
                  <a:lnTo>
                    <a:pt x="14644" y="3392"/>
                  </a:lnTo>
                  <a:close/>
                  <a:moveTo>
                    <a:pt x="14381" y="3392"/>
                  </a:moveTo>
                  <a:lnTo>
                    <a:pt x="14381" y="3505"/>
                  </a:lnTo>
                  <a:lnTo>
                    <a:pt x="14379" y="3514"/>
                  </a:lnTo>
                  <a:lnTo>
                    <a:pt x="14374" y="3520"/>
                  </a:lnTo>
                  <a:lnTo>
                    <a:pt x="14368" y="3524"/>
                  </a:lnTo>
                  <a:lnTo>
                    <a:pt x="14362" y="3524"/>
                  </a:lnTo>
                  <a:lnTo>
                    <a:pt x="14354" y="3524"/>
                  </a:lnTo>
                  <a:lnTo>
                    <a:pt x="14347" y="3520"/>
                  </a:lnTo>
                  <a:lnTo>
                    <a:pt x="14342" y="3514"/>
                  </a:lnTo>
                  <a:lnTo>
                    <a:pt x="14341" y="3505"/>
                  </a:lnTo>
                  <a:lnTo>
                    <a:pt x="14341" y="3392"/>
                  </a:lnTo>
                  <a:lnTo>
                    <a:pt x="14342" y="3383"/>
                  </a:lnTo>
                  <a:lnTo>
                    <a:pt x="14347" y="3378"/>
                  </a:lnTo>
                  <a:lnTo>
                    <a:pt x="14354" y="3374"/>
                  </a:lnTo>
                  <a:lnTo>
                    <a:pt x="14362" y="3373"/>
                  </a:lnTo>
                  <a:lnTo>
                    <a:pt x="14368" y="3374"/>
                  </a:lnTo>
                  <a:lnTo>
                    <a:pt x="14374" y="3378"/>
                  </a:lnTo>
                  <a:lnTo>
                    <a:pt x="14379" y="3383"/>
                  </a:lnTo>
                  <a:lnTo>
                    <a:pt x="14381" y="3392"/>
                  </a:lnTo>
                  <a:close/>
                  <a:moveTo>
                    <a:pt x="14118" y="3392"/>
                  </a:moveTo>
                  <a:lnTo>
                    <a:pt x="14118" y="3505"/>
                  </a:lnTo>
                  <a:lnTo>
                    <a:pt x="14117" y="3514"/>
                  </a:lnTo>
                  <a:lnTo>
                    <a:pt x="14111" y="3520"/>
                  </a:lnTo>
                  <a:lnTo>
                    <a:pt x="14105" y="3524"/>
                  </a:lnTo>
                  <a:lnTo>
                    <a:pt x="14097" y="3524"/>
                  </a:lnTo>
                  <a:lnTo>
                    <a:pt x="14091" y="3524"/>
                  </a:lnTo>
                  <a:lnTo>
                    <a:pt x="14085" y="3520"/>
                  </a:lnTo>
                  <a:lnTo>
                    <a:pt x="14079" y="3514"/>
                  </a:lnTo>
                  <a:lnTo>
                    <a:pt x="14078" y="3505"/>
                  </a:lnTo>
                  <a:lnTo>
                    <a:pt x="14078" y="3392"/>
                  </a:lnTo>
                  <a:lnTo>
                    <a:pt x="14079" y="3383"/>
                  </a:lnTo>
                  <a:lnTo>
                    <a:pt x="14085" y="3378"/>
                  </a:lnTo>
                  <a:lnTo>
                    <a:pt x="14091" y="3374"/>
                  </a:lnTo>
                  <a:lnTo>
                    <a:pt x="14097" y="3373"/>
                  </a:lnTo>
                  <a:lnTo>
                    <a:pt x="14105" y="3374"/>
                  </a:lnTo>
                  <a:lnTo>
                    <a:pt x="14111" y="3378"/>
                  </a:lnTo>
                  <a:lnTo>
                    <a:pt x="14117" y="3383"/>
                  </a:lnTo>
                  <a:lnTo>
                    <a:pt x="14118" y="3392"/>
                  </a:lnTo>
                  <a:close/>
                  <a:moveTo>
                    <a:pt x="15434" y="3145"/>
                  </a:moveTo>
                  <a:lnTo>
                    <a:pt x="15434" y="3258"/>
                  </a:lnTo>
                  <a:lnTo>
                    <a:pt x="15432" y="3267"/>
                  </a:lnTo>
                  <a:lnTo>
                    <a:pt x="15427" y="3273"/>
                  </a:lnTo>
                  <a:lnTo>
                    <a:pt x="15421" y="3277"/>
                  </a:lnTo>
                  <a:lnTo>
                    <a:pt x="15413" y="3278"/>
                  </a:lnTo>
                  <a:lnTo>
                    <a:pt x="15407" y="3277"/>
                  </a:lnTo>
                  <a:lnTo>
                    <a:pt x="15400" y="3273"/>
                  </a:lnTo>
                  <a:lnTo>
                    <a:pt x="15395" y="3267"/>
                  </a:lnTo>
                  <a:lnTo>
                    <a:pt x="15394" y="3258"/>
                  </a:lnTo>
                  <a:lnTo>
                    <a:pt x="15394" y="3145"/>
                  </a:lnTo>
                  <a:lnTo>
                    <a:pt x="15395" y="3138"/>
                  </a:lnTo>
                  <a:lnTo>
                    <a:pt x="15400" y="3131"/>
                  </a:lnTo>
                  <a:lnTo>
                    <a:pt x="15407" y="3127"/>
                  </a:lnTo>
                  <a:lnTo>
                    <a:pt x="15413" y="3126"/>
                  </a:lnTo>
                  <a:lnTo>
                    <a:pt x="15421" y="3127"/>
                  </a:lnTo>
                  <a:lnTo>
                    <a:pt x="15427" y="3131"/>
                  </a:lnTo>
                  <a:lnTo>
                    <a:pt x="15432" y="3138"/>
                  </a:lnTo>
                  <a:lnTo>
                    <a:pt x="15434" y="3145"/>
                  </a:lnTo>
                  <a:close/>
                  <a:moveTo>
                    <a:pt x="15171" y="3145"/>
                  </a:moveTo>
                  <a:lnTo>
                    <a:pt x="15171" y="3258"/>
                  </a:lnTo>
                  <a:lnTo>
                    <a:pt x="15168" y="3267"/>
                  </a:lnTo>
                  <a:lnTo>
                    <a:pt x="15164" y="3273"/>
                  </a:lnTo>
                  <a:lnTo>
                    <a:pt x="15158" y="3277"/>
                  </a:lnTo>
                  <a:lnTo>
                    <a:pt x="15150" y="3278"/>
                  </a:lnTo>
                  <a:lnTo>
                    <a:pt x="15142" y="3277"/>
                  </a:lnTo>
                  <a:lnTo>
                    <a:pt x="15136" y="3273"/>
                  </a:lnTo>
                  <a:lnTo>
                    <a:pt x="15132" y="3267"/>
                  </a:lnTo>
                  <a:lnTo>
                    <a:pt x="15131" y="3258"/>
                  </a:lnTo>
                  <a:lnTo>
                    <a:pt x="15131" y="3145"/>
                  </a:lnTo>
                  <a:lnTo>
                    <a:pt x="15132" y="3138"/>
                  </a:lnTo>
                  <a:lnTo>
                    <a:pt x="15136" y="3131"/>
                  </a:lnTo>
                  <a:lnTo>
                    <a:pt x="15142" y="3127"/>
                  </a:lnTo>
                  <a:lnTo>
                    <a:pt x="15150" y="3126"/>
                  </a:lnTo>
                  <a:lnTo>
                    <a:pt x="15158" y="3127"/>
                  </a:lnTo>
                  <a:lnTo>
                    <a:pt x="15164" y="3131"/>
                  </a:lnTo>
                  <a:lnTo>
                    <a:pt x="15168" y="3138"/>
                  </a:lnTo>
                  <a:lnTo>
                    <a:pt x="15171" y="3145"/>
                  </a:lnTo>
                  <a:close/>
                  <a:moveTo>
                    <a:pt x="14908" y="3145"/>
                  </a:moveTo>
                  <a:lnTo>
                    <a:pt x="14908" y="3258"/>
                  </a:lnTo>
                  <a:lnTo>
                    <a:pt x="14905" y="3267"/>
                  </a:lnTo>
                  <a:lnTo>
                    <a:pt x="14901" y="3273"/>
                  </a:lnTo>
                  <a:lnTo>
                    <a:pt x="14895" y="3277"/>
                  </a:lnTo>
                  <a:lnTo>
                    <a:pt x="14887" y="3278"/>
                  </a:lnTo>
                  <a:lnTo>
                    <a:pt x="14880" y="3277"/>
                  </a:lnTo>
                  <a:lnTo>
                    <a:pt x="14873" y="3273"/>
                  </a:lnTo>
                  <a:lnTo>
                    <a:pt x="14869" y="3267"/>
                  </a:lnTo>
                  <a:lnTo>
                    <a:pt x="14867" y="3258"/>
                  </a:lnTo>
                  <a:lnTo>
                    <a:pt x="14867" y="3145"/>
                  </a:lnTo>
                  <a:lnTo>
                    <a:pt x="14869" y="3138"/>
                  </a:lnTo>
                  <a:lnTo>
                    <a:pt x="14873" y="3131"/>
                  </a:lnTo>
                  <a:lnTo>
                    <a:pt x="14880" y="3127"/>
                  </a:lnTo>
                  <a:lnTo>
                    <a:pt x="14887" y="3126"/>
                  </a:lnTo>
                  <a:lnTo>
                    <a:pt x="14895" y="3127"/>
                  </a:lnTo>
                  <a:lnTo>
                    <a:pt x="14901" y="3131"/>
                  </a:lnTo>
                  <a:lnTo>
                    <a:pt x="14905" y="3138"/>
                  </a:lnTo>
                  <a:lnTo>
                    <a:pt x="14908" y="3145"/>
                  </a:lnTo>
                  <a:close/>
                  <a:moveTo>
                    <a:pt x="14644" y="3145"/>
                  </a:moveTo>
                  <a:lnTo>
                    <a:pt x="14644" y="3258"/>
                  </a:lnTo>
                  <a:lnTo>
                    <a:pt x="14642" y="3267"/>
                  </a:lnTo>
                  <a:lnTo>
                    <a:pt x="14637" y="3273"/>
                  </a:lnTo>
                  <a:lnTo>
                    <a:pt x="14631" y="3277"/>
                  </a:lnTo>
                  <a:lnTo>
                    <a:pt x="14624" y="3278"/>
                  </a:lnTo>
                  <a:lnTo>
                    <a:pt x="14617" y="3277"/>
                  </a:lnTo>
                  <a:lnTo>
                    <a:pt x="14610" y="3273"/>
                  </a:lnTo>
                  <a:lnTo>
                    <a:pt x="14606" y="3267"/>
                  </a:lnTo>
                  <a:lnTo>
                    <a:pt x="14604" y="3258"/>
                  </a:lnTo>
                  <a:lnTo>
                    <a:pt x="14604" y="3145"/>
                  </a:lnTo>
                  <a:lnTo>
                    <a:pt x="14606" y="3138"/>
                  </a:lnTo>
                  <a:lnTo>
                    <a:pt x="14610" y="3131"/>
                  </a:lnTo>
                  <a:lnTo>
                    <a:pt x="14617" y="3127"/>
                  </a:lnTo>
                  <a:lnTo>
                    <a:pt x="14624" y="3126"/>
                  </a:lnTo>
                  <a:lnTo>
                    <a:pt x="14631" y="3127"/>
                  </a:lnTo>
                  <a:lnTo>
                    <a:pt x="14637" y="3131"/>
                  </a:lnTo>
                  <a:lnTo>
                    <a:pt x="14642" y="3138"/>
                  </a:lnTo>
                  <a:lnTo>
                    <a:pt x="14644" y="3145"/>
                  </a:lnTo>
                  <a:close/>
                  <a:moveTo>
                    <a:pt x="14381" y="3145"/>
                  </a:moveTo>
                  <a:lnTo>
                    <a:pt x="14381" y="3258"/>
                  </a:lnTo>
                  <a:lnTo>
                    <a:pt x="14379" y="3267"/>
                  </a:lnTo>
                  <a:lnTo>
                    <a:pt x="14374" y="3273"/>
                  </a:lnTo>
                  <a:lnTo>
                    <a:pt x="14368" y="3277"/>
                  </a:lnTo>
                  <a:lnTo>
                    <a:pt x="14362" y="3278"/>
                  </a:lnTo>
                  <a:lnTo>
                    <a:pt x="14354" y="3277"/>
                  </a:lnTo>
                  <a:lnTo>
                    <a:pt x="14347" y="3273"/>
                  </a:lnTo>
                  <a:lnTo>
                    <a:pt x="14342" y="3267"/>
                  </a:lnTo>
                  <a:lnTo>
                    <a:pt x="14341" y="3258"/>
                  </a:lnTo>
                  <a:lnTo>
                    <a:pt x="14341" y="3145"/>
                  </a:lnTo>
                  <a:lnTo>
                    <a:pt x="14342" y="3138"/>
                  </a:lnTo>
                  <a:lnTo>
                    <a:pt x="14347" y="3131"/>
                  </a:lnTo>
                  <a:lnTo>
                    <a:pt x="14354" y="3127"/>
                  </a:lnTo>
                  <a:lnTo>
                    <a:pt x="14362" y="3126"/>
                  </a:lnTo>
                  <a:lnTo>
                    <a:pt x="14368" y="3127"/>
                  </a:lnTo>
                  <a:lnTo>
                    <a:pt x="14374" y="3131"/>
                  </a:lnTo>
                  <a:lnTo>
                    <a:pt x="14379" y="3138"/>
                  </a:lnTo>
                  <a:lnTo>
                    <a:pt x="14381" y="3145"/>
                  </a:lnTo>
                  <a:close/>
                  <a:moveTo>
                    <a:pt x="14118" y="3145"/>
                  </a:moveTo>
                  <a:lnTo>
                    <a:pt x="14118" y="3258"/>
                  </a:lnTo>
                  <a:lnTo>
                    <a:pt x="14117" y="3267"/>
                  </a:lnTo>
                  <a:lnTo>
                    <a:pt x="14111" y="3273"/>
                  </a:lnTo>
                  <a:lnTo>
                    <a:pt x="14105" y="3277"/>
                  </a:lnTo>
                  <a:lnTo>
                    <a:pt x="14097" y="3278"/>
                  </a:lnTo>
                  <a:lnTo>
                    <a:pt x="14091" y="3277"/>
                  </a:lnTo>
                  <a:lnTo>
                    <a:pt x="14085" y="3273"/>
                  </a:lnTo>
                  <a:lnTo>
                    <a:pt x="14079" y="3267"/>
                  </a:lnTo>
                  <a:lnTo>
                    <a:pt x="14078" y="3258"/>
                  </a:lnTo>
                  <a:lnTo>
                    <a:pt x="14078" y="3145"/>
                  </a:lnTo>
                  <a:lnTo>
                    <a:pt x="14079" y="3138"/>
                  </a:lnTo>
                  <a:lnTo>
                    <a:pt x="14085" y="3131"/>
                  </a:lnTo>
                  <a:lnTo>
                    <a:pt x="14091" y="3127"/>
                  </a:lnTo>
                  <a:lnTo>
                    <a:pt x="14097" y="3126"/>
                  </a:lnTo>
                  <a:lnTo>
                    <a:pt x="14105" y="3127"/>
                  </a:lnTo>
                  <a:lnTo>
                    <a:pt x="14111" y="3131"/>
                  </a:lnTo>
                  <a:lnTo>
                    <a:pt x="14117" y="3138"/>
                  </a:lnTo>
                  <a:lnTo>
                    <a:pt x="14118" y="3145"/>
                  </a:lnTo>
                  <a:close/>
                  <a:moveTo>
                    <a:pt x="15434" y="2900"/>
                  </a:moveTo>
                  <a:lnTo>
                    <a:pt x="15434" y="3011"/>
                  </a:lnTo>
                  <a:lnTo>
                    <a:pt x="15432" y="3020"/>
                  </a:lnTo>
                  <a:lnTo>
                    <a:pt x="15427" y="3026"/>
                  </a:lnTo>
                  <a:lnTo>
                    <a:pt x="15421" y="3030"/>
                  </a:lnTo>
                  <a:lnTo>
                    <a:pt x="15413" y="3031"/>
                  </a:lnTo>
                  <a:lnTo>
                    <a:pt x="15407" y="3030"/>
                  </a:lnTo>
                  <a:lnTo>
                    <a:pt x="15400" y="3026"/>
                  </a:lnTo>
                  <a:lnTo>
                    <a:pt x="15395" y="3020"/>
                  </a:lnTo>
                  <a:lnTo>
                    <a:pt x="15394" y="3011"/>
                  </a:lnTo>
                  <a:lnTo>
                    <a:pt x="15394" y="2900"/>
                  </a:lnTo>
                  <a:lnTo>
                    <a:pt x="15395" y="2891"/>
                  </a:lnTo>
                  <a:lnTo>
                    <a:pt x="15400" y="2884"/>
                  </a:lnTo>
                  <a:lnTo>
                    <a:pt x="15407" y="2881"/>
                  </a:lnTo>
                  <a:lnTo>
                    <a:pt x="15413" y="2879"/>
                  </a:lnTo>
                  <a:lnTo>
                    <a:pt x="15421" y="2881"/>
                  </a:lnTo>
                  <a:lnTo>
                    <a:pt x="15427" y="2884"/>
                  </a:lnTo>
                  <a:lnTo>
                    <a:pt x="15432" y="2891"/>
                  </a:lnTo>
                  <a:lnTo>
                    <a:pt x="15434" y="2900"/>
                  </a:lnTo>
                  <a:close/>
                  <a:moveTo>
                    <a:pt x="15171" y="2900"/>
                  </a:moveTo>
                  <a:lnTo>
                    <a:pt x="15171" y="3011"/>
                  </a:lnTo>
                  <a:lnTo>
                    <a:pt x="15168" y="3020"/>
                  </a:lnTo>
                  <a:lnTo>
                    <a:pt x="15164" y="3026"/>
                  </a:lnTo>
                  <a:lnTo>
                    <a:pt x="15158" y="3030"/>
                  </a:lnTo>
                  <a:lnTo>
                    <a:pt x="15150" y="3031"/>
                  </a:lnTo>
                  <a:lnTo>
                    <a:pt x="15142" y="3030"/>
                  </a:lnTo>
                  <a:lnTo>
                    <a:pt x="15136" y="3026"/>
                  </a:lnTo>
                  <a:lnTo>
                    <a:pt x="15132" y="3020"/>
                  </a:lnTo>
                  <a:lnTo>
                    <a:pt x="15131" y="3011"/>
                  </a:lnTo>
                  <a:lnTo>
                    <a:pt x="15131" y="2900"/>
                  </a:lnTo>
                  <a:lnTo>
                    <a:pt x="15132" y="2891"/>
                  </a:lnTo>
                  <a:lnTo>
                    <a:pt x="15136" y="2884"/>
                  </a:lnTo>
                  <a:lnTo>
                    <a:pt x="15142" y="2881"/>
                  </a:lnTo>
                  <a:lnTo>
                    <a:pt x="15150" y="2879"/>
                  </a:lnTo>
                  <a:lnTo>
                    <a:pt x="15158" y="2881"/>
                  </a:lnTo>
                  <a:lnTo>
                    <a:pt x="15164" y="2884"/>
                  </a:lnTo>
                  <a:lnTo>
                    <a:pt x="15168" y="2891"/>
                  </a:lnTo>
                  <a:lnTo>
                    <a:pt x="15171" y="2900"/>
                  </a:lnTo>
                  <a:close/>
                  <a:moveTo>
                    <a:pt x="14908" y="2900"/>
                  </a:moveTo>
                  <a:lnTo>
                    <a:pt x="14908" y="3011"/>
                  </a:lnTo>
                  <a:lnTo>
                    <a:pt x="14905" y="3020"/>
                  </a:lnTo>
                  <a:lnTo>
                    <a:pt x="14901" y="3026"/>
                  </a:lnTo>
                  <a:lnTo>
                    <a:pt x="14895" y="3030"/>
                  </a:lnTo>
                  <a:lnTo>
                    <a:pt x="14887" y="3031"/>
                  </a:lnTo>
                  <a:lnTo>
                    <a:pt x="14880" y="3030"/>
                  </a:lnTo>
                  <a:lnTo>
                    <a:pt x="14873" y="3026"/>
                  </a:lnTo>
                  <a:lnTo>
                    <a:pt x="14869" y="3020"/>
                  </a:lnTo>
                  <a:lnTo>
                    <a:pt x="14867" y="3011"/>
                  </a:lnTo>
                  <a:lnTo>
                    <a:pt x="14867" y="2900"/>
                  </a:lnTo>
                  <a:lnTo>
                    <a:pt x="14869" y="2891"/>
                  </a:lnTo>
                  <a:lnTo>
                    <a:pt x="14873" y="2884"/>
                  </a:lnTo>
                  <a:lnTo>
                    <a:pt x="14880" y="2881"/>
                  </a:lnTo>
                  <a:lnTo>
                    <a:pt x="14887" y="2879"/>
                  </a:lnTo>
                  <a:lnTo>
                    <a:pt x="14895" y="2881"/>
                  </a:lnTo>
                  <a:lnTo>
                    <a:pt x="14901" y="2884"/>
                  </a:lnTo>
                  <a:lnTo>
                    <a:pt x="14905" y="2891"/>
                  </a:lnTo>
                  <a:lnTo>
                    <a:pt x="14908" y="2900"/>
                  </a:lnTo>
                  <a:close/>
                  <a:moveTo>
                    <a:pt x="14644" y="2900"/>
                  </a:moveTo>
                  <a:lnTo>
                    <a:pt x="14644" y="3011"/>
                  </a:lnTo>
                  <a:lnTo>
                    <a:pt x="14642" y="3020"/>
                  </a:lnTo>
                  <a:lnTo>
                    <a:pt x="14637" y="3026"/>
                  </a:lnTo>
                  <a:lnTo>
                    <a:pt x="14631" y="3030"/>
                  </a:lnTo>
                  <a:lnTo>
                    <a:pt x="14624" y="3031"/>
                  </a:lnTo>
                  <a:lnTo>
                    <a:pt x="14617" y="3030"/>
                  </a:lnTo>
                  <a:lnTo>
                    <a:pt x="14610" y="3026"/>
                  </a:lnTo>
                  <a:lnTo>
                    <a:pt x="14606" y="3020"/>
                  </a:lnTo>
                  <a:lnTo>
                    <a:pt x="14604" y="3011"/>
                  </a:lnTo>
                  <a:lnTo>
                    <a:pt x="14604" y="2900"/>
                  </a:lnTo>
                  <a:lnTo>
                    <a:pt x="14606" y="2891"/>
                  </a:lnTo>
                  <a:lnTo>
                    <a:pt x="14610" y="2884"/>
                  </a:lnTo>
                  <a:lnTo>
                    <a:pt x="14617" y="2881"/>
                  </a:lnTo>
                  <a:lnTo>
                    <a:pt x="14624" y="2879"/>
                  </a:lnTo>
                  <a:lnTo>
                    <a:pt x="14631" y="2881"/>
                  </a:lnTo>
                  <a:lnTo>
                    <a:pt x="14637" y="2884"/>
                  </a:lnTo>
                  <a:lnTo>
                    <a:pt x="14642" y="2891"/>
                  </a:lnTo>
                  <a:lnTo>
                    <a:pt x="14644" y="2900"/>
                  </a:lnTo>
                  <a:close/>
                  <a:moveTo>
                    <a:pt x="14381" y="2900"/>
                  </a:moveTo>
                  <a:lnTo>
                    <a:pt x="14381" y="3011"/>
                  </a:lnTo>
                  <a:lnTo>
                    <a:pt x="14379" y="3020"/>
                  </a:lnTo>
                  <a:lnTo>
                    <a:pt x="14374" y="3026"/>
                  </a:lnTo>
                  <a:lnTo>
                    <a:pt x="14368" y="3030"/>
                  </a:lnTo>
                  <a:lnTo>
                    <a:pt x="14362" y="3031"/>
                  </a:lnTo>
                  <a:lnTo>
                    <a:pt x="14354" y="3030"/>
                  </a:lnTo>
                  <a:lnTo>
                    <a:pt x="14347" y="3026"/>
                  </a:lnTo>
                  <a:lnTo>
                    <a:pt x="14342" y="3020"/>
                  </a:lnTo>
                  <a:lnTo>
                    <a:pt x="14341" y="3011"/>
                  </a:lnTo>
                  <a:lnTo>
                    <a:pt x="14341" y="2900"/>
                  </a:lnTo>
                  <a:lnTo>
                    <a:pt x="14342" y="2891"/>
                  </a:lnTo>
                  <a:lnTo>
                    <a:pt x="14347" y="2884"/>
                  </a:lnTo>
                  <a:lnTo>
                    <a:pt x="14354" y="2881"/>
                  </a:lnTo>
                  <a:lnTo>
                    <a:pt x="14362" y="2879"/>
                  </a:lnTo>
                  <a:lnTo>
                    <a:pt x="14368" y="2881"/>
                  </a:lnTo>
                  <a:lnTo>
                    <a:pt x="14374" y="2884"/>
                  </a:lnTo>
                  <a:lnTo>
                    <a:pt x="14379" y="2891"/>
                  </a:lnTo>
                  <a:lnTo>
                    <a:pt x="14381" y="2900"/>
                  </a:lnTo>
                  <a:close/>
                  <a:moveTo>
                    <a:pt x="14118" y="2900"/>
                  </a:moveTo>
                  <a:lnTo>
                    <a:pt x="14118" y="3011"/>
                  </a:lnTo>
                  <a:lnTo>
                    <a:pt x="14117" y="3020"/>
                  </a:lnTo>
                  <a:lnTo>
                    <a:pt x="14111" y="3026"/>
                  </a:lnTo>
                  <a:lnTo>
                    <a:pt x="14105" y="3030"/>
                  </a:lnTo>
                  <a:lnTo>
                    <a:pt x="14097" y="3031"/>
                  </a:lnTo>
                  <a:lnTo>
                    <a:pt x="14091" y="3030"/>
                  </a:lnTo>
                  <a:lnTo>
                    <a:pt x="14085" y="3026"/>
                  </a:lnTo>
                  <a:lnTo>
                    <a:pt x="14079" y="3020"/>
                  </a:lnTo>
                  <a:lnTo>
                    <a:pt x="14078" y="3011"/>
                  </a:lnTo>
                  <a:lnTo>
                    <a:pt x="14078" y="2900"/>
                  </a:lnTo>
                  <a:lnTo>
                    <a:pt x="14079" y="2891"/>
                  </a:lnTo>
                  <a:lnTo>
                    <a:pt x="14085" y="2884"/>
                  </a:lnTo>
                  <a:lnTo>
                    <a:pt x="14091" y="2881"/>
                  </a:lnTo>
                  <a:lnTo>
                    <a:pt x="14097" y="2879"/>
                  </a:lnTo>
                  <a:lnTo>
                    <a:pt x="14105" y="2881"/>
                  </a:lnTo>
                  <a:lnTo>
                    <a:pt x="14111" y="2884"/>
                  </a:lnTo>
                  <a:lnTo>
                    <a:pt x="14117" y="2891"/>
                  </a:lnTo>
                  <a:lnTo>
                    <a:pt x="14118" y="2900"/>
                  </a:lnTo>
                  <a:close/>
                  <a:moveTo>
                    <a:pt x="15434" y="3639"/>
                  </a:moveTo>
                  <a:lnTo>
                    <a:pt x="15434" y="3751"/>
                  </a:lnTo>
                  <a:lnTo>
                    <a:pt x="15432" y="3760"/>
                  </a:lnTo>
                  <a:lnTo>
                    <a:pt x="15427" y="3765"/>
                  </a:lnTo>
                  <a:lnTo>
                    <a:pt x="15421" y="3769"/>
                  </a:lnTo>
                  <a:lnTo>
                    <a:pt x="15413" y="3771"/>
                  </a:lnTo>
                  <a:lnTo>
                    <a:pt x="15407" y="3769"/>
                  </a:lnTo>
                  <a:lnTo>
                    <a:pt x="15400" y="3765"/>
                  </a:lnTo>
                  <a:lnTo>
                    <a:pt x="15395" y="3760"/>
                  </a:lnTo>
                  <a:lnTo>
                    <a:pt x="15394" y="3751"/>
                  </a:lnTo>
                  <a:lnTo>
                    <a:pt x="15394" y="3639"/>
                  </a:lnTo>
                  <a:lnTo>
                    <a:pt x="15395" y="3630"/>
                  </a:lnTo>
                  <a:lnTo>
                    <a:pt x="15400" y="3624"/>
                  </a:lnTo>
                  <a:lnTo>
                    <a:pt x="15407" y="3620"/>
                  </a:lnTo>
                  <a:lnTo>
                    <a:pt x="15413" y="3618"/>
                  </a:lnTo>
                  <a:lnTo>
                    <a:pt x="15421" y="3620"/>
                  </a:lnTo>
                  <a:lnTo>
                    <a:pt x="15427" y="3624"/>
                  </a:lnTo>
                  <a:lnTo>
                    <a:pt x="15432" y="3630"/>
                  </a:lnTo>
                  <a:lnTo>
                    <a:pt x="15434" y="3639"/>
                  </a:lnTo>
                  <a:close/>
                  <a:moveTo>
                    <a:pt x="18172" y="964"/>
                  </a:moveTo>
                  <a:lnTo>
                    <a:pt x="17643" y="964"/>
                  </a:lnTo>
                  <a:lnTo>
                    <a:pt x="17643" y="1019"/>
                  </a:lnTo>
                  <a:lnTo>
                    <a:pt x="18172" y="1019"/>
                  </a:lnTo>
                  <a:lnTo>
                    <a:pt x="18172" y="964"/>
                  </a:lnTo>
                  <a:close/>
                  <a:moveTo>
                    <a:pt x="17665" y="1323"/>
                  </a:moveTo>
                  <a:lnTo>
                    <a:pt x="18163" y="2010"/>
                  </a:lnTo>
                  <a:lnTo>
                    <a:pt x="18134" y="1058"/>
                  </a:lnTo>
                  <a:lnTo>
                    <a:pt x="17680" y="1058"/>
                  </a:lnTo>
                  <a:lnTo>
                    <a:pt x="17665" y="1322"/>
                  </a:lnTo>
                  <a:lnTo>
                    <a:pt x="17665" y="1323"/>
                  </a:lnTo>
                  <a:close/>
                  <a:moveTo>
                    <a:pt x="17638" y="1754"/>
                  </a:moveTo>
                  <a:lnTo>
                    <a:pt x="18179" y="2500"/>
                  </a:lnTo>
                  <a:lnTo>
                    <a:pt x="18166" y="2079"/>
                  </a:lnTo>
                  <a:lnTo>
                    <a:pt x="18161" y="2074"/>
                  </a:lnTo>
                  <a:lnTo>
                    <a:pt x="17661" y="1385"/>
                  </a:lnTo>
                  <a:lnTo>
                    <a:pt x="17638" y="1754"/>
                  </a:lnTo>
                  <a:close/>
                  <a:moveTo>
                    <a:pt x="17611" y="2186"/>
                  </a:moveTo>
                  <a:lnTo>
                    <a:pt x="18194" y="2989"/>
                  </a:lnTo>
                  <a:lnTo>
                    <a:pt x="18181" y="2571"/>
                  </a:lnTo>
                  <a:lnTo>
                    <a:pt x="17634" y="1817"/>
                  </a:lnTo>
                  <a:lnTo>
                    <a:pt x="17611" y="2186"/>
                  </a:lnTo>
                  <a:close/>
                  <a:moveTo>
                    <a:pt x="22919" y="2556"/>
                  </a:moveTo>
                  <a:lnTo>
                    <a:pt x="22895" y="2525"/>
                  </a:lnTo>
                  <a:lnTo>
                    <a:pt x="22869" y="2494"/>
                  </a:lnTo>
                  <a:lnTo>
                    <a:pt x="22841" y="2464"/>
                  </a:lnTo>
                  <a:lnTo>
                    <a:pt x="22812" y="2434"/>
                  </a:lnTo>
                  <a:lnTo>
                    <a:pt x="22748" y="2377"/>
                  </a:lnTo>
                  <a:lnTo>
                    <a:pt x="22714" y="2350"/>
                  </a:lnTo>
                  <a:lnTo>
                    <a:pt x="22678" y="2323"/>
                  </a:lnTo>
                  <a:lnTo>
                    <a:pt x="22603" y="2272"/>
                  </a:lnTo>
                  <a:lnTo>
                    <a:pt x="22522" y="2225"/>
                  </a:lnTo>
                  <a:lnTo>
                    <a:pt x="22436" y="2181"/>
                  </a:lnTo>
                  <a:lnTo>
                    <a:pt x="22346" y="2142"/>
                  </a:lnTo>
                  <a:lnTo>
                    <a:pt x="22250" y="2104"/>
                  </a:lnTo>
                  <a:lnTo>
                    <a:pt x="22151" y="2072"/>
                  </a:lnTo>
                  <a:lnTo>
                    <a:pt x="22048" y="2046"/>
                  </a:lnTo>
                  <a:lnTo>
                    <a:pt x="21995" y="2033"/>
                  </a:lnTo>
                  <a:lnTo>
                    <a:pt x="21941" y="2023"/>
                  </a:lnTo>
                  <a:lnTo>
                    <a:pt x="21831" y="2003"/>
                  </a:lnTo>
                  <a:lnTo>
                    <a:pt x="21774" y="1997"/>
                  </a:lnTo>
                  <a:lnTo>
                    <a:pt x="21718" y="1991"/>
                  </a:lnTo>
                  <a:lnTo>
                    <a:pt x="21601" y="1983"/>
                  </a:lnTo>
                  <a:lnTo>
                    <a:pt x="21483" y="1980"/>
                  </a:lnTo>
                  <a:lnTo>
                    <a:pt x="21365" y="1983"/>
                  </a:lnTo>
                  <a:lnTo>
                    <a:pt x="21249" y="1991"/>
                  </a:lnTo>
                  <a:lnTo>
                    <a:pt x="21136" y="2003"/>
                  </a:lnTo>
                  <a:lnTo>
                    <a:pt x="21026" y="2023"/>
                  </a:lnTo>
                  <a:lnTo>
                    <a:pt x="20972" y="2033"/>
                  </a:lnTo>
                  <a:lnTo>
                    <a:pt x="20919" y="2046"/>
                  </a:lnTo>
                  <a:lnTo>
                    <a:pt x="20815" y="2072"/>
                  </a:lnTo>
                  <a:lnTo>
                    <a:pt x="20717" y="2104"/>
                  </a:lnTo>
                  <a:lnTo>
                    <a:pt x="20622" y="2142"/>
                  </a:lnTo>
                  <a:lnTo>
                    <a:pt x="20531" y="2181"/>
                  </a:lnTo>
                  <a:lnTo>
                    <a:pt x="20445" y="2225"/>
                  </a:lnTo>
                  <a:lnTo>
                    <a:pt x="20364" y="2272"/>
                  </a:lnTo>
                  <a:lnTo>
                    <a:pt x="20288" y="2323"/>
                  </a:lnTo>
                  <a:lnTo>
                    <a:pt x="20219" y="2377"/>
                  </a:lnTo>
                  <a:lnTo>
                    <a:pt x="20187" y="2405"/>
                  </a:lnTo>
                  <a:lnTo>
                    <a:pt x="20155" y="2434"/>
                  </a:lnTo>
                  <a:lnTo>
                    <a:pt x="20125" y="2464"/>
                  </a:lnTo>
                  <a:lnTo>
                    <a:pt x="20098" y="2494"/>
                  </a:lnTo>
                  <a:lnTo>
                    <a:pt x="20047" y="2556"/>
                  </a:lnTo>
                  <a:lnTo>
                    <a:pt x="20765" y="2556"/>
                  </a:lnTo>
                  <a:lnTo>
                    <a:pt x="21483" y="2556"/>
                  </a:lnTo>
                  <a:lnTo>
                    <a:pt x="22201" y="2556"/>
                  </a:lnTo>
                  <a:lnTo>
                    <a:pt x="22919" y="2556"/>
                  </a:lnTo>
                  <a:close/>
                  <a:moveTo>
                    <a:pt x="21733" y="1952"/>
                  </a:moveTo>
                  <a:lnTo>
                    <a:pt x="21733" y="1794"/>
                  </a:lnTo>
                  <a:lnTo>
                    <a:pt x="21235" y="1794"/>
                  </a:lnTo>
                  <a:lnTo>
                    <a:pt x="21235" y="1952"/>
                  </a:lnTo>
                  <a:lnTo>
                    <a:pt x="21295" y="1947"/>
                  </a:lnTo>
                  <a:lnTo>
                    <a:pt x="21358" y="1943"/>
                  </a:lnTo>
                  <a:lnTo>
                    <a:pt x="21420" y="1941"/>
                  </a:lnTo>
                  <a:lnTo>
                    <a:pt x="21483" y="1939"/>
                  </a:lnTo>
                  <a:lnTo>
                    <a:pt x="21609" y="1943"/>
                  </a:lnTo>
                  <a:lnTo>
                    <a:pt x="21733" y="1952"/>
                  </a:lnTo>
                  <a:close/>
                  <a:moveTo>
                    <a:pt x="20024" y="2977"/>
                  </a:moveTo>
                  <a:lnTo>
                    <a:pt x="20754" y="2977"/>
                  </a:lnTo>
                  <a:lnTo>
                    <a:pt x="21483" y="2977"/>
                  </a:lnTo>
                  <a:lnTo>
                    <a:pt x="22213" y="2977"/>
                  </a:lnTo>
                  <a:lnTo>
                    <a:pt x="22943" y="2977"/>
                  </a:lnTo>
                  <a:lnTo>
                    <a:pt x="22943" y="2750"/>
                  </a:lnTo>
                  <a:lnTo>
                    <a:pt x="22213" y="2750"/>
                  </a:lnTo>
                  <a:lnTo>
                    <a:pt x="21483" y="2750"/>
                  </a:lnTo>
                  <a:lnTo>
                    <a:pt x="20754" y="2750"/>
                  </a:lnTo>
                  <a:lnTo>
                    <a:pt x="20024" y="2750"/>
                  </a:lnTo>
                  <a:lnTo>
                    <a:pt x="20024" y="2977"/>
                  </a:lnTo>
                  <a:close/>
                  <a:moveTo>
                    <a:pt x="20768" y="4017"/>
                  </a:moveTo>
                  <a:lnTo>
                    <a:pt x="20768" y="4324"/>
                  </a:lnTo>
                  <a:lnTo>
                    <a:pt x="20974" y="4324"/>
                  </a:lnTo>
                  <a:lnTo>
                    <a:pt x="20974" y="3670"/>
                  </a:lnTo>
                  <a:lnTo>
                    <a:pt x="20974" y="3016"/>
                  </a:lnTo>
                  <a:lnTo>
                    <a:pt x="20523" y="3016"/>
                  </a:lnTo>
                  <a:lnTo>
                    <a:pt x="20523" y="3670"/>
                  </a:lnTo>
                  <a:lnTo>
                    <a:pt x="20523" y="4324"/>
                  </a:lnTo>
                  <a:lnTo>
                    <a:pt x="20728" y="4324"/>
                  </a:lnTo>
                  <a:lnTo>
                    <a:pt x="20728" y="4017"/>
                  </a:lnTo>
                  <a:lnTo>
                    <a:pt x="20731" y="4008"/>
                  </a:lnTo>
                  <a:lnTo>
                    <a:pt x="20734" y="4002"/>
                  </a:lnTo>
                  <a:lnTo>
                    <a:pt x="20741" y="3998"/>
                  </a:lnTo>
                  <a:lnTo>
                    <a:pt x="20749" y="3997"/>
                  </a:lnTo>
                  <a:lnTo>
                    <a:pt x="20756" y="3998"/>
                  </a:lnTo>
                  <a:lnTo>
                    <a:pt x="20763" y="4002"/>
                  </a:lnTo>
                  <a:lnTo>
                    <a:pt x="20767" y="4008"/>
                  </a:lnTo>
                  <a:lnTo>
                    <a:pt x="20768" y="4017"/>
                  </a:lnTo>
                  <a:close/>
                  <a:moveTo>
                    <a:pt x="21260" y="4017"/>
                  </a:moveTo>
                  <a:lnTo>
                    <a:pt x="21260" y="4324"/>
                  </a:lnTo>
                  <a:lnTo>
                    <a:pt x="21467" y="4324"/>
                  </a:lnTo>
                  <a:lnTo>
                    <a:pt x="21467" y="3670"/>
                  </a:lnTo>
                  <a:lnTo>
                    <a:pt x="21467" y="3016"/>
                  </a:lnTo>
                  <a:lnTo>
                    <a:pt x="21014" y="3016"/>
                  </a:lnTo>
                  <a:lnTo>
                    <a:pt x="21014" y="3670"/>
                  </a:lnTo>
                  <a:lnTo>
                    <a:pt x="21014" y="4324"/>
                  </a:lnTo>
                  <a:lnTo>
                    <a:pt x="21220" y="4324"/>
                  </a:lnTo>
                  <a:lnTo>
                    <a:pt x="21220" y="4017"/>
                  </a:lnTo>
                  <a:lnTo>
                    <a:pt x="21222" y="4008"/>
                  </a:lnTo>
                  <a:lnTo>
                    <a:pt x="21227" y="4002"/>
                  </a:lnTo>
                  <a:lnTo>
                    <a:pt x="21233" y="3998"/>
                  </a:lnTo>
                  <a:lnTo>
                    <a:pt x="21241" y="3997"/>
                  </a:lnTo>
                  <a:lnTo>
                    <a:pt x="21247" y="3998"/>
                  </a:lnTo>
                  <a:lnTo>
                    <a:pt x="21254" y="4002"/>
                  </a:lnTo>
                  <a:lnTo>
                    <a:pt x="21259" y="4008"/>
                  </a:lnTo>
                  <a:lnTo>
                    <a:pt x="21260" y="4017"/>
                  </a:lnTo>
                  <a:close/>
                  <a:moveTo>
                    <a:pt x="21753" y="4017"/>
                  </a:moveTo>
                  <a:lnTo>
                    <a:pt x="21753" y="4324"/>
                  </a:lnTo>
                  <a:lnTo>
                    <a:pt x="21959" y="4324"/>
                  </a:lnTo>
                  <a:lnTo>
                    <a:pt x="21959" y="3670"/>
                  </a:lnTo>
                  <a:lnTo>
                    <a:pt x="21959" y="3016"/>
                  </a:lnTo>
                  <a:lnTo>
                    <a:pt x="21506" y="3016"/>
                  </a:lnTo>
                  <a:lnTo>
                    <a:pt x="21506" y="3670"/>
                  </a:lnTo>
                  <a:lnTo>
                    <a:pt x="21506" y="4324"/>
                  </a:lnTo>
                  <a:lnTo>
                    <a:pt x="21713" y="4324"/>
                  </a:lnTo>
                  <a:lnTo>
                    <a:pt x="21713" y="4017"/>
                  </a:lnTo>
                  <a:lnTo>
                    <a:pt x="21714" y="4008"/>
                  </a:lnTo>
                  <a:lnTo>
                    <a:pt x="21719" y="4002"/>
                  </a:lnTo>
                  <a:lnTo>
                    <a:pt x="21726" y="3998"/>
                  </a:lnTo>
                  <a:lnTo>
                    <a:pt x="21732" y="3997"/>
                  </a:lnTo>
                  <a:lnTo>
                    <a:pt x="21740" y="3998"/>
                  </a:lnTo>
                  <a:lnTo>
                    <a:pt x="21746" y="4002"/>
                  </a:lnTo>
                  <a:lnTo>
                    <a:pt x="21751" y="4008"/>
                  </a:lnTo>
                  <a:lnTo>
                    <a:pt x="21753" y="4017"/>
                  </a:lnTo>
                  <a:close/>
                  <a:moveTo>
                    <a:pt x="22245" y="4017"/>
                  </a:moveTo>
                  <a:lnTo>
                    <a:pt x="22245" y="4324"/>
                  </a:lnTo>
                  <a:lnTo>
                    <a:pt x="22450" y="4324"/>
                  </a:lnTo>
                  <a:lnTo>
                    <a:pt x="22450" y="3670"/>
                  </a:lnTo>
                  <a:lnTo>
                    <a:pt x="22450" y="3016"/>
                  </a:lnTo>
                  <a:lnTo>
                    <a:pt x="21999" y="3016"/>
                  </a:lnTo>
                  <a:lnTo>
                    <a:pt x="21999" y="3670"/>
                  </a:lnTo>
                  <a:lnTo>
                    <a:pt x="21999" y="4324"/>
                  </a:lnTo>
                  <a:lnTo>
                    <a:pt x="22205" y="4324"/>
                  </a:lnTo>
                  <a:lnTo>
                    <a:pt x="22205" y="4017"/>
                  </a:lnTo>
                  <a:lnTo>
                    <a:pt x="22207" y="4008"/>
                  </a:lnTo>
                  <a:lnTo>
                    <a:pt x="22210" y="4002"/>
                  </a:lnTo>
                  <a:lnTo>
                    <a:pt x="22217" y="3998"/>
                  </a:lnTo>
                  <a:lnTo>
                    <a:pt x="22224" y="3997"/>
                  </a:lnTo>
                  <a:lnTo>
                    <a:pt x="22232" y="3998"/>
                  </a:lnTo>
                  <a:lnTo>
                    <a:pt x="22239" y="4002"/>
                  </a:lnTo>
                  <a:lnTo>
                    <a:pt x="22242" y="4008"/>
                  </a:lnTo>
                  <a:lnTo>
                    <a:pt x="22245" y="4017"/>
                  </a:lnTo>
                  <a:close/>
                  <a:moveTo>
                    <a:pt x="22737" y="4017"/>
                  </a:moveTo>
                  <a:lnTo>
                    <a:pt x="22737" y="4324"/>
                  </a:lnTo>
                  <a:lnTo>
                    <a:pt x="22943" y="4324"/>
                  </a:lnTo>
                  <a:lnTo>
                    <a:pt x="22943" y="3670"/>
                  </a:lnTo>
                  <a:lnTo>
                    <a:pt x="22943" y="3016"/>
                  </a:lnTo>
                  <a:lnTo>
                    <a:pt x="22491" y="3016"/>
                  </a:lnTo>
                  <a:lnTo>
                    <a:pt x="22491" y="3670"/>
                  </a:lnTo>
                  <a:lnTo>
                    <a:pt x="22491" y="4324"/>
                  </a:lnTo>
                  <a:lnTo>
                    <a:pt x="22696" y="4324"/>
                  </a:lnTo>
                  <a:lnTo>
                    <a:pt x="22696" y="4017"/>
                  </a:lnTo>
                  <a:lnTo>
                    <a:pt x="22699" y="4008"/>
                  </a:lnTo>
                  <a:lnTo>
                    <a:pt x="22703" y="4002"/>
                  </a:lnTo>
                  <a:lnTo>
                    <a:pt x="22709" y="3998"/>
                  </a:lnTo>
                  <a:lnTo>
                    <a:pt x="22717" y="3997"/>
                  </a:lnTo>
                  <a:lnTo>
                    <a:pt x="22725" y="3998"/>
                  </a:lnTo>
                  <a:lnTo>
                    <a:pt x="22731" y="4002"/>
                  </a:lnTo>
                  <a:lnTo>
                    <a:pt x="22735" y="4008"/>
                  </a:lnTo>
                  <a:lnTo>
                    <a:pt x="22737" y="4017"/>
                  </a:lnTo>
                  <a:close/>
                  <a:moveTo>
                    <a:pt x="21727" y="1754"/>
                  </a:moveTo>
                  <a:lnTo>
                    <a:pt x="21714" y="1740"/>
                  </a:lnTo>
                  <a:lnTo>
                    <a:pt x="21696" y="1727"/>
                  </a:lnTo>
                  <a:lnTo>
                    <a:pt x="21673" y="1714"/>
                  </a:lnTo>
                  <a:lnTo>
                    <a:pt x="21645" y="1703"/>
                  </a:lnTo>
                  <a:lnTo>
                    <a:pt x="21612" y="1693"/>
                  </a:lnTo>
                  <a:lnTo>
                    <a:pt x="21573" y="1686"/>
                  </a:lnTo>
                  <a:lnTo>
                    <a:pt x="21531" y="1681"/>
                  </a:lnTo>
                  <a:lnTo>
                    <a:pt x="21483" y="1679"/>
                  </a:lnTo>
                  <a:lnTo>
                    <a:pt x="21437" y="1681"/>
                  </a:lnTo>
                  <a:lnTo>
                    <a:pt x="21394" y="1686"/>
                  </a:lnTo>
                  <a:lnTo>
                    <a:pt x="21356" y="1693"/>
                  </a:lnTo>
                  <a:lnTo>
                    <a:pt x="21322" y="1703"/>
                  </a:lnTo>
                  <a:lnTo>
                    <a:pt x="21294" y="1714"/>
                  </a:lnTo>
                  <a:lnTo>
                    <a:pt x="21270" y="1727"/>
                  </a:lnTo>
                  <a:lnTo>
                    <a:pt x="21253" y="1740"/>
                  </a:lnTo>
                  <a:lnTo>
                    <a:pt x="21241" y="1754"/>
                  </a:lnTo>
                  <a:lnTo>
                    <a:pt x="21727" y="1754"/>
                  </a:lnTo>
                  <a:close/>
                  <a:moveTo>
                    <a:pt x="19597" y="4131"/>
                  </a:moveTo>
                  <a:lnTo>
                    <a:pt x="19564" y="4135"/>
                  </a:lnTo>
                  <a:lnTo>
                    <a:pt x="19532" y="4145"/>
                  </a:lnTo>
                  <a:lnTo>
                    <a:pt x="19500" y="4154"/>
                  </a:lnTo>
                  <a:lnTo>
                    <a:pt x="19465" y="4159"/>
                  </a:lnTo>
                  <a:lnTo>
                    <a:pt x="19436" y="4154"/>
                  </a:lnTo>
                  <a:lnTo>
                    <a:pt x="19423" y="4149"/>
                  </a:lnTo>
                  <a:lnTo>
                    <a:pt x="19410" y="4143"/>
                  </a:lnTo>
                  <a:lnTo>
                    <a:pt x="19388" y="4125"/>
                  </a:lnTo>
                  <a:lnTo>
                    <a:pt x="19369" y="4100"/>
                  </a:lnTo>
                  <a:lnTo>
                    <a:pt x="19351" y="4072"/>
                  </a:lnTo>
                  <a:lnTo>
                    <a:pt x="19334" y="4040"/>
                  </a:lnTo>
                  <a:lnTo>
                    <a:pt x="19300" y="3973"/>
                  </a:lnTo>
                  <a:lnTo>
                    <a:pt x="19282" y="3937"/>
                  </a:lnTo>
                  <a:lnTo>
                    <a:pt x="19260" y="3904"/>
                  </a:lnTo>
                  <a:lnTo>
                    <a:pt x="19235" y="3872"/>
                  </a:lnTo>
                  <a:lnTo>
                    <a:pt x="19209" y="3843"/>
                  </a:lnTo>
                  <a:lnTo>
                    <a:pt x="19175" y="3820"/>
                  </a:lnTo>
                  <a:lnTo>
                    <a:pt x="19157" y="3810"/>
                  </a:lnTo>
                  <a:lnTo>
                    <a:pt x="19138" y="3801"/>
                  </a:lnTo>
                  <a:lnTo>
                    <a:pt x="19116" y="3795"/>
                  </a:lnTo>
                  <a:lnTo>
                    <a:pt x="19093" y="3790"/>
                  </a:lnTo>
                  <a:lnTo>
                    <a:pt x="19069" y="3787"/>
                  </a:lnTo>
                  <a:lnTo>
                    <a:pt x="19042" y="3786"/>
                  </a:lnTo>
                  <a:lnTo>
                    <a:pt x="19014" y="3790"/>
                  </a:lnTo>
                  <a:lnTo>
                    <a:pt x="19002" y="3795"/>
                  </a:lnTo>
                  <a:lnTo>
                    <a:pt x="18993" y="3801"/>
                  </a:lnTo>
                  <a:lnTo>
                    <a:pt x="18974" y="3817"/>
                  </a:lnTo>
                  <a:lnTo>
                    <a:pt x="18952" y="3836"/>
                  </a:lnTo>
                  <a:lnTo>
                    <a:pt x="18925" y="3854"/>
                  </a:lnTo>
                  <a:lnTo>
                    <a:pt x="18908" y="3863"/>
                  </a:lnTo>
                  <a:lnTo>
                    <a:pt x="18889" y="3869"/>
                  </a:lnTo>
                  <a:lnTo>
                    <a:pt x="18865" y="3875"/>
                  </a:lnTo>
                  <a:lnTo>
                    <a:pt x="18838" y="3881"/>
                  </a:lnTo>
                  <a:lnTo>
                    <a:pt x="18806" y="3884"/>
                  </a:lnTo>
                  <a:lnTo>
                    <a:pt x="18769" y="3886"/>
                  </a:lnTo>
                  <a:lnTo>
                    <a:pt x="18742" y="3883"/>
                  </a:lnTo>
                  <a:lnTo>
                    <a:pt x="18720" y="3879"/>
                  </a:lnTo>
                  <a:lnTo>
                    <a:pt x="18688" y="3868"/>
                  </a:lnTo>
                  <a:lnTo>
                    <a:pt x="18662" y="3855"/>
                  </a:lnTo>
                  <a:lnTo>
                    <a:pt x="18649" y="3851"/>
                  </a:lnTo>
                  <a:lnTo>
                    <a:pt x="18637" y="3850"/>
                  </a:lnTo>
                  <a:lnTo>
                    <a:pt x="18615" y="3851"/>
                  </a:lnTo>
                  <a:lnTo>
                    <a:pt x="18594" y="3856"/>
                  </a:lnTo>
                  <a:lnTo>
                    <a:pt x="18575" y="3864"/>
                  </a:lnTo>
                  <a:lnTo>
                    <a:pt x="18557" y="3875"/>
                  </a:lnTo>
                  <a:lnTo>
                    <a:pt x="18540" y="3888"/>
                  </a:lnTo>
                  <a:lnTo>
                    <a:pt x="18524" y="3902"/>
                  </a:lnTo>
                  <a:lnTo>
                    <a:pt x="18494" y="3936"/>
                  </a:lnTo>
                  <a:lnTo>
                    <a:pt x="18467" y="3973"/>
                  </a:lnTo>
                  <a:lnTo>
                    <a:pt x="18442" y="4011"/>
                  </a:lnTo>
                  <a:lnTo>
                    <a:pt x="18416" y="4047"/>
                  </a:lnTo>
                  <a:lnTo>
                    <a:pt x="18389" y="4077"/>
                  </a:lnTo>
                  <a:lnTo>
                    <a:pt x="18366" y="4097"/>
                  </a:lnTo>
                  <a:lnTo>
                    <a:pt x="18337" y="4116"/>
                  </a:lnTo>
                  <a:lnTo>
                    <a:pt x="18266" y="4155"/>
                  </a:lnTo>
                  <a:lnTo>
                    <a:pt x="18261" y="4161"/>
                  </a:lnTo>
                  <a:lnTo>
                    <a:pt x="18253" y="4163"/>
                  </a:lnTo>
                  <a:lnTo>
                    <a:pt x="18207" y="4191"/>
                  </a:lnTo>
                  <a:lnTo>
                    <a:pt x="18169" y="4221"/>
                  </a:lnTo>
                  <a:lnTo>
                    <a:pt x="18153" y="4236"/>
                  </a:lnTo>
                  <a:lnTo>
                    <a:pt x="18147" y="4245"/>
                  </a:lnTo>
                  <a:lnTo>
                    <a:pt x="18142" y="4253"/>
                  </a:lnTo>
                  <a:lnTo>
                    <a:pt x="18134" y="4269"/>
                  </a:lnTo>
                  <a:lnTo>
                    <a:pt x="18131" y="4287"/>
                  </a:lnTo>
                  <a:lnTo>
                    <a:pt x="18133" y="4308"/>
                  </a:lnTo>
                  <a:lnTo>
                    <a:pt x="18137" y="4329"/>
                  </a:lnTo>
                  <a:lnTo>
                    <a:pt x="18256" y="4329"/>
                  </a:lnTo>
                  <a:lnTo>
                    <a:pt x="18261" y="4329"/>
                  </a:lnTo>
                  <a:lnTo>
                    <a:pt x="19046" y="4329"/>
                  </a:lnTo>
                  <a:lnTo>
                    <a:pt x="19830" y="4329"/>
                  </a:lnTo>
                  <a:lnTo>
                    <a:pt x="19825" y="4308"/>
                  </a:lnTo>
                  <a:lnTo>
                    <a:pt x="19819" y="4286"/>
                  </a:lnTo>
                  <a:lnTo>
                    <a:pt x="19810" y="4265"/>
                  </a:lnTo>
                  <a:lnTo>
                    <a:pt x="19801" y="4248"/>
                  </a:lnTo>
                  <a:lnTo>
                    <a:pt x="19778" y="4213"/>
                  </a:lnTo>
                  <a:lnTo>
                    <a:pt x="19764" y="4198"/>
                  </a:lnTo>
                  <a:lnTo>
                    <a:pt x="19748" y="4185"/>
                  </a:lnTo>
                  <a:lnTo>
                    <a:pt x="19733" y="4172"/>
                  </a:lnTo>
                  <a:lnTo>
                    <a:pt x="19716" y="4162"/>
                  </a:lnTo>
                  <a:lnTo>
                    <a:pt x="19698" y="4153"/>
                  </a:lnTo>
                  <a:lnTo>
                    <a:pt x="19679" y="4145"/>
                  </a:lnTo>
                  <a:lnTo>
                    <a:pt x="19660" y="4139"/>
                  </a:lnTo>
                  <a:lnTo>
                    <a:pt x="19639" y="4134"/>
                  </a:lnTo>
                  <a:lnTo>
                    <a:pt x="19597" y="4131"/>
                  </a:lnTo>
                  <a:close/>
                  <a:moveTo>
                    <a:pt x="18860" y="2743"/>
                  </a:moveTo>
                  <a:lnTo>
                    <a:pt x="18742" y="2904"/>
                  </a:lnTo>
                  <a:lnTo>
                    <a:pt x="18742" y="3047"/>
                  </a:lnTo>
                  <a:lnTo>
                    <a:pt x="18794" y="3040"/>
                  </a:lnTo>
                  <a:lnTo>
                    <a:pt x="18803" y="3039"/>
                  </a:lnTo>
                  <a:lnTo>
                    <a:pt x="18811" y="3043"/>
                  </a:lnTo>
                  <a:lnTo>
                    <a:pt x="18815" y="3048"/>
                  </a:lnTo>
                  <a:lnTo>
                    <a:pt x="18819" y="3056"/>
                  </a:lnTo>
                  <a:lnTo>
                    <a:pt x="18819" y="3062"/>
                  </a:lnTo>
                  <a:lnTo>
                    <a:pt x="18816" y="3070"/>
                  </a:lnTo>
                  <a:lnTo>
                    <a:pt x="18811" y="3075"/>
                  </a:lnTo>
                  <a:lnTo>
                    <a:pt x="18802" y="3079"/>
                  </a:lnTo>
                  <a:lnTo>
                    <a:pt x="18773" y="3084"/>
                  </a:lnTo>
                  <a:lnTo>
                    <a:pt x="18742" y="3086"/>
                  </a:lnTo>
                  <a:lnTo>
                    <a:pt x="18742" y="3827"/>
                  </a:lnTo>
                  <a:lnTo>
                    <a:pt x="18741" y="3836"/>
                  </a:lnTo>
                  <a:lnTo>
                    <a:pt x="18735" y="3842"/>
                  </a:lnTo>
                  <a:lnTo>
                    <a:pt x="18751" y="3845"/>
                  </a:lnTo>
                  <a:lnTo>
                    <a:pt x="18769" y="3845"/>
                  </a:lnTo>
                  <a:lnTo>
                    <a:pt x="18798" y="3845"/>
                  </a:lnTo>
                  <a:lnTo>
                    <a:pt x="18825" y="3843"/>
                  </a:lnTo>
                  <a:lnTo>
                    <a:pt x="18850" y="3840"/>
                  </a:lnTo>
                  <a:lnTo>
                    <a:pt x="18871" y="3835"/>
                  </a:lnTo>
                  <a:lnTo>
                    <a:pt x="18892" y="3826"/>
                  </a:lnTo>
                  <a:lnTo>
                    <a:pt x="18911" y="3815"/>
                  </a:lnTo>
                  <a:lnTo>
                    <a:pt x="18952" y="3782"/>
                  </a:lnTo>
                  <a:lnTo>
                    <a:pt x="18973" y="3767"/>
                  </a:lnTo>
                  <a:lnTo>
                    <a:pt x="18982" y="3760"/>
                  </a:lnTo>
                  <a:lnTo>
                    <a:pt x="18992" y="3755"/>
                  </a:lnTo>
                  <a:lnTo>
                    <a:pt x="19015" y="3748"/>
                  </a:lnTo>
                  <a:lnTo>
                    <a:pt x="19042" y="3745"/>
                  </a:lnTo>
                  <a:lnTo>
                    <a:pt x="19075" y="3748"/>
                  </a:lnTo>
                  <a:lnTo>
                    <a:pt x="19107" y="3751"/>
                  </a:lnTo>
                  <a:lnTo>
                    <a:pt x="19135" y="3758"/>
                  </a:lnTo>
                  <a:lnTo>
                    <a:pt x="19162" y="3768"/>
                  </a:lnTo>
                  <a:lnTo>
                    <a:pt x="19187" y="3780"/>
                  </a:lnTo>
                  <a:lnTo>
                    <a:pt x="19209" y="3794"/>
                  </a:lnTo>
                  <a:lnTo>
                    <a:pt x="19229" y="3809"/>
                  </a:lnTo>
                  <a:lnTo>
                    <a:pt x="19248" y="3827"/>
                  </a:lnTo>
                  <a:lnTo>
                    <a:pt x="19282" y="3866"/>
                  </a:lnTo>
                  <a:lnTo>
                    <a:pt x="19311" y="3911"/>
                  </a:lnTo>
                  <a:lnTo>
                    <a:pt x="19338" y="3960"/>
                  </a:lnTo>
                  <a:lnTo>
                    <a:pt x="19364" y="4012"/>
                  </a:lnTo>
                  <a:lnTo>
                    <a:pt x="19369" y="4021"/>
                  </a:lnTo>
                  <a:lnTo>
                    <a:pt x="19369" y="3649"/>
                  </a:lnTo>
                  <a:lnTo>
                    <a:pt x="19334" y="3663"/>
                  </a:lnTo>
                  <a:lnTo>
                    <a:pt x="19319" y="3670"/>
                  </a:lnTo>
                  <a:lnTo>
                    <a:pt x="19302" y="3676"/>
                  </a:lnTo>
                  <a:lnTo>
                    <a:pt x="19284" y="3676"/>
                  </a:lnTo>
                  <a:lnTo>
                    <a:pt x="19275" y="3675"/>
                  </a:lnTo>
                  <a:lnTo>
                    <a:pt x="19265" y="3671"/>
                  </a:lnTo>
                  <a:lnTo>
                    <a:pt x="19255" y="3666"/>
                  </a:lnTo>
                  <a:lnTo>
                    <a:pt x="19244" y="3658"/>
                  </a:lnTo>
                  <a:lnTo>
                    <a:pt x="19221" y="3634"/>
                  </a:lnTo>
                  <a:lnTo>
                    <a:pt x="19205" y="3616"/>
                  </a:lnTo>
                  <a:lnTo>
                    <a:pt x="19191" y="3604"/>
                  </a:lnTo>
                  <a:lnTo>
                    <a:pt x="19180" y="3598"/>
                  </a:lnTo>
                  <a:lnTo>
                    <a:pt x="19169" y="3595"/>
                  </a:lnTo>
                  <a:lnTo>
                    <a:pt x="19144" y="3594"/>
                  </a:lnTo>
                  <a:lnTo>
                    <a:pt x="19105" y="3590"/>
                  </a:lnTo>
                  <a:lnTo>
                    <a:pt x="19091" y="3586"/>
                  </a:lnTo>
                  <a:lnTo>
                    <a:pt x="19079" y="3581"/>
                  </a:lnTo>
                  <a:lnTo>
                    <a:pt x="19062" y="3567"/>
                  </a:lnTo>
                  <a:lnTo>
                    <a:pt x="19052" y="3549"/>
                  </a:lnTo>
                  <a:lnTo>
                    <a:pt x="19044" y="3530"/>
                  </a:lnTo>
                  <a:lnTo>
                    <a:pt x="19039" y="3510"/>
                  </a:lnTo>
                  <a:lnTo>
                    <a:pt x="19033" y="3489"/>
                  </a:lnTo>
                  <a:lnTo>
                    <a:pt x="19029" y="3480"/>
                  </a:lnTo>
                  <a:lnTo>
                    <a:pt x="19024" y="3471"/>
                  </a:lnTo>
                  <a:lnTo>
                    <a:pt x="19016" y="3464"/>
                  </a:lnTo>
                  <a:lnTo>
                    <a:pt x="19009" y="3457"/>
                  </a:lnTo>
                  <a:lnTo>
                    <a:pt x="18967" y="3434"/>
                  </a:lnTo>
                  <a:lnTo>
                    <a:pt x="18952" y="3424"/>
                  </a:lnTo>
                  <a:lnTo>
                    <a:pt x="18939" y="3414"/>
                  </a:lnTo>
                  <a:lnTo>
                    <a:pt x="18930" y="3400"/>
                  </a:lnTo>
                  <a:lnTo>
                    <a:pt x="18926" y="3383"/>
                  </a:lnTo>
                  <a:lnTo>
                    <a:pt x="18925" y="3361"/>
                  </a:lnTo>
                  <a:lnTo>
                    <a:pt x="18929" y="3333"/>
                  </a:lnTo>
                  <a:lnTo>
                    <a:pt x="18934" y="3304"/>
                  </a:lnTo>
                  <a:lnTo>
                    <a:pt x="18934" y="3285"/>
                  </a:lnTo>
                  <a:lnTo>
                    <a:pt x="18925" y="3267"/>
                  </a:lnTo>
                  <a:lnTo>
                    <a:pt x="18908" y="3242"/>
                  </a:lnTo>
                  <a:lnTo>
                    <a:pt x="18891" y="3216"/>
                  </a:lnTo>
                  <a:lnTo>
                    <a:pt x="18884" y="3199"/>
                  </a:lnTo>
                  <a:lnTo>
                    <a:pt x="18882" y="3181"/>
                  </a:lnTo>
                  <a:lnTo>
                    <a:pt x="18884" y="3162"/>
                  </a:lnTo>
                  <a:lnTo>
                    <a:pt x="18891" y="3145"/>
                  </a:lnTo>
                  <a:lnTo>
                    <a:pt x="18908" y="3118"/>
                  </a:lnTo>
                  <a:lnTo>
                    <a:pt x="18923" y="3098"/>
                  </a:lnTo>
                  <a:lnTo>
                    <a:pt x="18930" y="3083"/>
                  </a:lnTo>
                  <a:lnTo>
                    <a:pt x="18934" y="3070"/>
                  </a:lnTo>
                  <a:lnTo>
                    <a:pt x="18935" y="3060"/>
                  </a:lnTo>
                  <a:lnTo>
                    <a:pt x="18929" y="3035"/>
                  </a:lnTo>
                  <a:lnTo>
                    <a:pt x="18925" y="2996"/>
                  </a:lnTo>
                  <a:lnTo>
                    <a:pt x="18928" y="2969"/>
                  </a:lnTo>
                  <a:lnTo>
                    <a:pt x="18932" y="2959"/>
                  </a:lnTo>
                  <a:lnTo>
                    <a:pt x="18938" y="2950"/>
                  </a:lnTo>
                  <a:lnTo>
                    <a:pt x="18944" y="2942"/>
                  </a:lnTo>
                  <a:lnTo>
                    <a:pt x="18952" y="2936"/>
                  </a:lnTo>
                  <a:lnTo>
                    <a:pt x="18970" y="2924"/>
                  </a:lnTo>
                  <a:lnTo>
                    <a:pt x="19007" y="2904"/>
                  </a:lnTo>
                  <a:lnTo>
                    <a:pt x="19023" y="2891"/>
                  </a:lnTo>
                  <a:lnTo>
                    <a:pt x="19033" y="2872"/>
                  </a:lnTo>
                  <a:lnTo>
                    <a:pt x="19047" y="2828"/>
                  </a:lnTo>
                  <a:lnTo>
                    <a:pt x="19053" y="2810"/>
                  </a:lnTo>
                  <a:lnTo>
                    <a:pt x="19061" y="2796"/>
                  </a:lnTo>
                  <a:lnTo>
                    <a:pt x="19073" y="2785"/>
                  </a:lnTo>
                  <a:lnTo>
                    <a:pt x="19088" y="2776"/>
                  </a:lnTo>
                  <a:lnTo>
                    <a:pt x="19109" y="2771"/>
                  </a:lnTo>
                  <a:lnTo>
                    <a:pt x="19138" y="2768"/>
                  </a:lnTo>
                  <a:lnTo>
                    <a:pt x="19162" y="2766"/>
                  </a:lnTo>
                  <a:lnTo>
                    <a:pt x="19180" y="2763"/>
                  </a:lnTo>
                  <a:lnTo>
                    <a:pt x="19192" y="2758"/>
                  </a:lnTo>
                  <a:lnTo>
                    <a:pt x="19201" y="2751"/>
                  </a:lnTo>
                  <a:lnTo>
                    <a:pt x="19216" y="2732"/>
                  </a:lnTo>
                  <a:lnTo>
                    <a:pt x="19228" y="2719"/>
                  </a:lnTo>
                  <a:lnTo>
                    <a:pt x="19243" y="2704"/>
                  </a:lnTo>
                  <a:lnTo>
                    <a:pt x="19265" y="2690"/>
                  </a:lnTo>
                  <a:lnTo>
                    <a:pt x="19274" y="2686"/>
                  </a:lnTo>
                  <a:lnTo>
                    <a:pt x="19284" y="2685"/>
                  </a:lnTo>
                  <a:lnTo>
                    <a:pt x="19302" y="2686"/>
                  </a:lnTo>
                  <a:lnTo>
                    <a:pt x="19319" y="2691"/>
                  </a:lnTo>
                  <a:lnTo>
                    <a:pt x="19352" y="2707"/>
                  </a:lnTo>
                  <a:lnTo>
                    <a:pt x="19370" y="2713"/>
                  </a:lnTo>
                  <a:lnTo>
                    <a:pt x="19388" y="2716"/>
                  </a:lnTo>
                  <a:lnTo>
                    <a:pt x="19410" y="2712"/>
                  </a:lnTo>
                  <a:lnTo>
                    <a:pt x="19429" y="2705"/>
                  </a:lnTo>
                  <a:lnTo>
                    <a:pt x="19448" y="2696"/>
                  </a:lnTo>
                  <a:lnTo>
                    <a:pt x="19466" y="2689"/>
                  </a:lnTo>
                  <a:lnTo>
                    <a:pt x="19486" y="2685"/>
                  </a:lnTo>
                  <a:lnTo>
                    <a:pt x="19506" y="2688"/>
                  </a:lnTo>
                  <a:lnTo>
                    <a:pt x="19518" y="2694"/>
                  </a:lnTo>
                  <a:lnTo>
                    <a:pt x="19529" y="2702"/>
                  </a:lnTo>
                  <a:lnTo>
                    <a:pt x="19556" y="2727"/>
                  </a:lnTo>
                  <a:lnTo>
                    <a:pt x="19573" y="2746"/>
                  </a:lnTo>
                  <a:lnTo>
                    <a:pt x="19586" y="2758"/>
                  </a:lnTo>
                  <a:lnTo>
                    <a:pt x="19597" y="2764"/>
                  </a:lnTo>
                  <a:lnTo>
                    <a:pt x="19607" y="2767"/>
                  </a:lnTo>
                  <a:lnTo>
                    <a:pt x="19633" y="2767"/>
                  </a:lnTo>
                  <a:lnTo>
                    <a:pt x="19673" y="2771"/>
                  </a:lnTo>
                  <a:lnTo>
                    <a:pt x="19687" y="2774"/>
                  </a:lnTo>
                  <a:lnTo>
                    <a:pt x="19698" y="2780"/>
                  </a:lnTo>
                  <a:lnTo>
                    <a:pt x="19715" y="2794"/>
                  </a:lnTo>
                  <a:lnTo>
                    <a:pt x="19725" y="2812"/>
                  </a:lnTo>
                  <a:lnTo>
                    <a:pt x="19732" y="2832"/>
                  </a:lnTo>
                  <a:lnTo>
                    <a:pt x="19737" y="2852"/>
                  </a:lnTo>
                  <a:lnTo>
                    <a:pt x="19743" y="2872"/>
                  </a:lnTo>
                  <a:lnTo>
                    <a:pt x="19748" y="2881"/>
                  </a:lnTo>
                  <a:lnTo>
                    <a:pt x="19754" y="2890"/>
                  </a:lnTo>
                  <a:lnTo>
                    <a:pt x="19760" y="2897"/>
                  </a:lnTo>
                  <a:lnTo>
                    <a:pt x="19769" y="2904"/>
                  </a:lnTo>
                  <a:lnTo>
                    <a:pt x="19809" y="2927"/>
                  </a:lnTo>
                  <a:lnTo>
                    <a:pt x="19825" y="2937"/>
                  </a:lnTo>
                  <a:lnTo>
                    <a:pt x="19837" y="2948"/>
                  </a:lnTo>
                  <a:lnTo>
                    <a:pt x="19846" y="2961"/>
                  </a:lnTo>
                  <a:lnTo>
                    <a:pt x="19851" y="2978"/>
                  </a:lnTo>
                  <a:lnTo>
                    <a:pt x="19852" y="3000"/>
                  </a:lnTo>
                  <a:lnTo>
                    <a:pt x="19848" y="3028"/>
                  </a:lnTo>
                  <a:lnTo>
                    <a:pt x="19843" y="3057"/>
                  </a:lnTo>
                  <a:lnTo>
                    <a:pt x="19843" y="3076"/>
                  </a:lnTo>
                  <a:lnTo>
                    <a:pt x="19851" y="3094"/>
                  </a:lnTo>
                  <a:lnTo>
                    <a:pt x="19869" y="3118"/>
                  </a:lnTo>
                  <a:lnTo>
                    <a:pt x="19887" y="3145"/>
                  </a:lnTo>
                  <a:lnTo>
                    <a:pt x="19893" y="3162"/>
                  </a:lnTo>
                  <a:lnTo>
                    <a:pt x="19896" y="3181"/>
                  </a:lnTo>
                  <a:lnTo>
                    <a:pt x="19893" y="3199"/>
                  </a:lnTo>
                  <a:lnTo>
                    <a:pt x="19887" y="3216"/>
                  </a:lnTo>
                  <a:lnTo>
                    <a:pt x="19878" y="3230"/>
                  </a:lnTo>
                  <a:lnTo>
                    <a:pt x="19868" y="3244"/>
                  </a:lnTo>
                  <a:lnTo>
                    <a:pt x="19857" y="3258"/>
                  </a:lnTo>
                  <a:lnTo>
                    <a:pt x="19848" y="3272"/>
                  </a:lnTo>
                  <a:lnTo>
                    <a:pt x="19843" y="3287"/>
                  </a:lnTo>
                  <a:lnTo>
                    <a:pt x="19843" y="3305"/>
                  </a:lnTo>
                  <a:lnTo>
                    <a:pt x="19850" y="3351"/>
                  </a:lnTo>
                  <a:lnTo>
                    <a:pt x="19852" y="3369"/>
                  </a:lnTo>
                  <a:lnTo>
                    <a:pt x="19851" y="3386"/>
                  </a:lnTo>
                  <a:lnTo>
                    <a:pt x="19846" y="3401"/>
                  </a:lnTo>
                  <a:lnTo>
                    <a:pt x="19836" y="3415"/>
                  </a:lnTo>
                  <a:lnTo>
                    <a:pt x="19819" y="3429"/>
                  </a:lnTo>
                  <a:lnTo>
                    <a:pt x="19795" y="3445"/>
                  </a:lnTo>
                  <a:lnTo>
                    <a:pt x="19773" y="3456"/>
                  </a:lnTo>
                  <a:lnTo>
                    <a:pt x="19759" y="3466"/>
                  </a:lnTo>
                  <a:lnTo>
                    <a:pt x="19750" y="3476"/>
                  </a:lnTo>
                  <a:lnTo>
                    <a:pt x="19745" y="3485"/>
                  </a:lnTo>
                  <a:lnTo>
                    <a:pt x="19739" y="3510"/>
                  </a:lnTo>
                  <a:lnTo>
                    <a:pt x="19734" y="3526"/>
                  </a:lnTo>
                  <a:lnTo>
                    <a:pt x="19727" y="3547"/>
                  </a:lnTo>
                  <a:lnTo>
                    <a:pt x="19711" y="3570"/>
                  </a:lnTo>
                  <a:lnTo>
                    <a:pt x="19704" y="3579"/>
                  </a:lnTo>
                  <a:lnTo>
                    <a:pt x="19695" y="3584"/>
                  </a:lnTo>
                  <a:lnTo>
                    <a:pt x="19674" y="3590"/>
                  </a:lnTo>
                  <a:lnTo>
                    <a:pt x="19653" y="3593"/>
                  </a:lnTo>
                  <a:lnTo>
                    <a:pt x="19632" y="3593"/>
                  </a:lnTo>
                  <a:lnTo>
                    <a:pt x="19611" y="3594"/>
                  </a:lnTo>
                  <a:lnTo>
                    <a:pt x="19592" y="3601"/>
                  </a:lnTo>
                  <a:lnTo>
                    <a:pt x="19583" y="3606"/>
                  </a:lnTo>
                  <a:lnTo>
                    <a:pt x="19575" y="3612"/>
                  </a:lnTo>
                  <a:lnTo>
                    <a:pt x="19543" y="3647"/>
                  </a:lnTo>
                  <a:lnTo>
                    <a:pt x="19530" y="3659"/>
                  </a:lnTo>
                  <a:lnTo>
                    <a:pt x="19516" y="3668"/>
                  </a:lnTo>
                  <a:lnTo>
                    <a:pt x="19501" y="3675"/>
                  </a:lnTo>
                  <a:lnTo>
                    <a:pt x="19484" y="3676"/>
                  </a:lnTo>
                  <a:lnTo>
                    <a:pt x="19462" y="3671"/>
                  </a:lnTo>
                  <a:lnTo>
                    <a:pt x="19436" y="3661"/>
                  </a:lnTo>
                  <a:lnTo>
                    <a:pt x="19409" y="3649"/>
                  </a:lnTo>
                  <a:lnTo>
                    <a:pt x="19409" y="4083"/>
                  </a:lnTo>
                  <a:lnTo>
                    <a:pt x="19409" y="4086"/>
                  </a:lnTo>
                  <a:lnTo>
                    <a:pt x="19420" y="4099"/>
                  </a:lnTo>
                  <a:lnTo>
                    <a:pt x="19434" y="4109"/>
                  </a:lnTo>
                  <a:lnTo>
                    <a:pt x="19448" y="4117"/>
                  </a:lnTo>
                  <a:lnTo>
                    <a:pt x="19465" y="4118"/>
                  </a:lnTo>
                  <a:lnTo>
                    <a:pt x="19498" y="4115"/>
                  </a:lnTo>
                  <a:lnTo>
                    <a:pt x="19530" y="4104"/>
                  </a:lnTo>
                  <a:lnTo>
                    <a:pt x="19564" y="4095"/>
                  </a:lnTo>
                  <a:lnTo>
                    <a:pt x="19597" y="4090"/>
                  </a:lnTo>
                  <a:lnTo>
                    <a:pt x="19629" y="4093"/>
                  </a:lnTo>
                  <a:lnTo>
                    <a:pt x="19660" y="4098"/>
                  </a:lnTo>
                  <a:lnTo>
                    <a:pt x="19688" y="4106"/>
                  </a:lnTo>
                  <a:lnTo>
                    <a:pt x="19715" y="4116"/>
                  </a:lnTo>
                  <a:lnTo>
                    <a:pt x="19739" y="4130"/>
                  </a:lnTo>
                  <a:lnTo>
                    <a:pt x="19761" y="4144"/>
                  </a:lnTo>
                  <a:lnTo>
                    <a:pt x="19782" y="4161"/>
                  </a:lnTo>
                  <a:lnTo>
                    <a:pt x="19800" y="4178"/>
                  </a:lnTo>
                  <a:lnTo>
                    <a:pt x="19830" y="4217"/>
                  </a:lnTo>
                  <a:lnTo>
                    <a:pt x="19842" y="4236"/>
                  </a:lnTo>
                  <a:lnTo>
                    <a:pt x="19852" y="4255"/>
                  </a:lnTo>
                  <a:lnTo>
                    <a:pt x="19861" y="4274"/>
                  </a:lnTo>
                  <a:lnTo>
                    <a:pt x="19866" y="4292"/>
                  </a:lnTo>
                  <a:lnTo>
                    <a:pt x="19871" y="4309"/>
                  </a:lnTo>
                  <a:lnTo>
                    <a:pt x="19874" y="4324"/>
                  </a:lnTo>
                  <a:lnTo>
                    <a:pt x="20236" y="4324"/>
                  </a:lnTo>
                  <a:lnTo>
                    <a:pt x="20236" y="4017"/>
                  </a:lnTo>
                  <a:lnTo>
                    <a:pt x="20238" y="4008"/>
                  </a:lnTo>
                  <a:lnTo>
                    <a:pt x="20242" y="4002"/>
                  </a:lnTo>
                  <a:lnTo>
                    <a:pt x="20248" y="3998"/>
                  </a:lnTo>
                  <a:lnTo>
                    <a:pt x="20256" y="3997"/>
                  </a:lnTo>
                  <a:lnTo>
                    <a:pt x="20264" y="3998"/>
                  </a:lnTo>
                  <a:lnTo>
                    <a:pt x="20270" y="4002"/>
                  </a:lnTo>
                  <a:lnTo>
                    <a:pt x="20274" y="4008"/>
                  </a:lnTo>
                  <a:lnTo>
                    <a:pt x="20277" y="4017"/>
                  </a:lnTo>
                  <a:lnTo>
                    <a:pt x="20277" y="4324"/>
                  </a:lnTo>
                  <a:lnTo>
                    <a:pt x="20482" y="4324"/>
                  </a:lnTo>
                  <a:lnTo>
                    <a:pt x="20482" y="3670"/>
                  </a:lnTo>
                  <a:lnTo>
                    <a:pt x="20482" y="3016"/>
                  </a:lnTo>
                  <a:lnTo>
                    <a:pt x="20024" y="3016"/>
                  </a:lnTo>
                  <a:lnTo>
                    <a:pt x="20024" y="3584"/>
                  </a:lnTo>
                  <a:lnTo>
                    <a:pt x="20024" y="4152"/>
                  </a:lnTo>
                  <a:lnTo>
                    <a:pt x="20023" y="4161"/>
                  </a:lnTo>
                  <a:lnTo>
                    <a:pt x="20018" y="4167"/>
                  </a:lnTo>
                  <a:lnTo>
                    <a:pt x="20011" y="4171"/>
                  </a:lnTo>
                  <a:lnTo>
                    <a:pt x="20005" y="4172"/>
                  </a:lnTo>
                  <a:lnTo>
                    <a:pt x="19997" y="4171"/>
                  </a:lnTo>
                  <a:lnTo>
                    <a:pt x="19991" y="4167"/>
                  </a:lnTo>
                  <a:lnTo>
                    <a:pt x="19986" y="4161"/>
                  </a:lnTo>
                  <a:lnTo>
                    <a:pt x="19984" y="4152"/>
                  </a:lnTo>
                  <a:lnTo>
                    <a:pt x="19984" y="3451"/>
                  </a:lnTo>
                  <a:lnTo>
                    <a:pt x="19984" y="2750"/>
                  </a:lnTo>
                  <a:lnTo>
                    <a:pt x="19946" y="2750"/>
                  </a:lnTo>
                  <a:lnTo>
                    <a:pt x="19939" y="2748"/>
                  </a:lnTo>
                  <a:lnTo>
                    <a:pt x="19933" y="2744"/>
                  </a:lnTo>
                  <a:lnTo>
                    <a:pt x="19928" y="2737"/>
                  </a:lnTo>
                  <a:lnTo>
                    <a:pt x="19927" y="2730"/>
                  </a:lnTo>
                  <a:lnTo>
                    <a:pt x="19927" y="2576"/>
                  </a:lnTo>
                  <a:lnTo>
                    <a:pt x="19928" y="2569"/>
                  </a:lnTo>
                  <a:lnTo>
                    <a:pt x="19933" y="2562"/>
                  </a:lnTo>
                  <a:lnTo>
                    <a:pt x="19939" y="2558"/>
                  </a:lnTo>
                  <a:lnTo>
                    <a:pt x="19946" y="2556"/>
                  </a:lnTo>
                  <a:lnTo>
                    <a:pt x="19998" y="2556"/>
                  </a:lnTo>
                  <a:lnTo>
                    <a:pt x="20041" y="2500"/>
                  </a:lnTo>
                  <a:lnTo>
                    <a:pt x="20089" y="2443"/>
                  </a:lnTo>
                  <a:lnTo>
                    <a:pt x="20116" y="2418"/>
                  </a:lnTo>
                  <a:lnTo>
                    <a:pt x="20143" y="2391"/>
                  </a:lnTo>
                  <a:lnTo>
                    <a:pt x="20201" y="2340"/>
                  </a:lnTo>
                  <a:lnTo>
                    <a:pt x="20264" y="2292"/>
                  </a:lnTo>
                  <a:lnTo>
                    <a:pt x="20331" y="2246"/>
                  </a:lnTo>
                  <a:lnTo>
                    <a:pt x="20402" y="2203"/>
                  </a:lnTo>
                  <a:lnTo>
                    <a:pt x="20477" y="2163"/>
                  </a:lnTo>
                  <a:lnTo>
                    <a:pt x="20556" y="2126"/>
                  </a:lnTo>
                  <a:lnTo>
                    <a:pt x="20638" y="2092"/>
                  </a:lnTo>
                  <a:lnTo>
                    <a:pt x="20681" y="2075"/>
                  </a:lnTo>
                  <a:lnTo>
                    <a:pt x="20724" y="2060"/>
                  </a:lnTo>
                  <a:lnTo>
                    <a:pt x="20813" y="2033"/>
                  </a:lnTo>
                  <a:lnTo>
                    <a:pt x="20904" y="2009"/>
                  </a:lnTo>
                  <a:lnTo>
                    <a:pt x="20999" y="1987"/>
                  </a:lnTo>
                  <a:lnTo>
                    <a:pt x="21095" y="1970"/>
                  </a:lnTo>
                  <a:lnTo>
                    <a:pt x="21194" y="1956"/>
                  </a:lnTo>
                  <a:lnTo>
                    <a:pt x="21194" y="1775"/>
                  </a:lnTo>
                  <a:lnTo>
                    <a:pt x="21196" y="1759"/>
                  </a:lnTo>
                  <a:lnTo>
                    <a:pt x="21200" y="1744"/>
                  </a:lnTo>
                  <a:lnTo>
                    <a:pt x="21209" y="1730"/>
                  </a:lnTo>
                  <a:lnTo>
                    <a:pt x="21219" y="1717"/>
                  </a:lnTo>
                  <a:lnTo>
                    <a:pt x="21232" y="1705"/>
                  </a:lnTo>
                  <a:lnTo>
                    <a:pt x="21247" y="1694"/>
                  </a:lnTo>
                  <a:lnTo>
                    <a:pt x="21265" y="1684"/>
                  </a:lnTo>
                  <a:lnTo>
                    <a:pt x="21285" y="1675"/>
                  </a:lnTo>
                  <a:lnTo>
                    <a:pt x="21329" y="1659"/>
                  </a:lnTo>
                  <a:lnTo>
                    <a:pt x="21378" y="1648"/>
                  </a:lnTo>
                  <a:lnTo>
                    <a:pt x="21429" y="1642"/>
                  </a:lnTo>
                  <a:lnTo>
                    <a:pt x="21483" y="1639"/>
                  </a:lnTo>
                  <a:lnTo>
                    <a:pt x="21537" y="1642"/>
                  </a:lnTo>
                  <a:lnTo>
                    <a:pt x="21590" y="1648"/>
                  </a:lnTo>
                  <a:lnTo>
                    <a:pt x="21614" y="1653"/>
                  </a:lnTo>
                  <a:lnTo>
                    <a:pt x="21638" y="1659"/>
                  </a:lnTo>
                  <a:lnTo>
                    <a:pt x="21660" y="1666"/>
                  </a:lnTo>
                  <a:lnTo>
                    <a:pt x="21682" y="1675"/>
                  </a:lnTo>
                  <a:lnTo>
                    <a:pt x="21719" y="1694"/>
                  </a:lnTo>
                  <a:lnTo>
                    <a:pt x="21747" y="1717"/>
                  </a:lnTo>
                  <a:lnTo>
                    <a:pt x="21759" y="1730"/>
                  </a:lnTo>
                  <a:lnTo>
                    <a:pt x="21767" y="1744"/>
                  </a:lnTo>
                  <a:lnTo>
                    <a:pt x="21772" y="1759"/>
                  </a:lnTo>
                  <a:lnTo>
                    <a:pt x="21773" y="1775"/>
                  </a:lnTo>
                  <a:lnTo>
                    <a:pt x="21773" y="1956"/>
                  </a:lnTo>
                  <a:lnTo>
                    <a:pt x="21872" y="1970"/>
                  </a:lnTo>
                  <a:lnTo>
                    <a:pt x="21969" y="1987"/>
                  </a:lnTo>
                  <a:lnTo>
                    <a:pt x="22063" y="2009"/>
                  </a:lnTo>
                  <a:lnTo>
                    <a:pt x="22155" y="2033"/>
                  </a:lnTo>
                  <a:lnTo>
                    <a:pt x="22244" y="2060"/>
                  </a:lnTo>
                  <a:lnTo>
                    <a:pt x="22328" y="2092"/>
                  </a:lnTo>
                  <a:lnTo>
                    <a:pt x="22412" y="2126"/>
                  </a:lnTo>
                  <a:lnTo>
                    <a:pt x="22490" y="2163"/>
                  </a:lnTo>
                  <a:lnTo>
                    <a:pt x="22566" y="2203"/>
                  </a:lnTo>
                  <a:lnTo>
                    <a:pt x="22601" y="2225"/>
                  </a:lnTo>
                  <a:lnTo>
                    <a:pt x="22636" y="2246"/>
                  </a:lnTo>
                  <a:lnTo>
                    <a:pt x="22703" y="2292"/>
                  </a:lnTo>
                  <a:lnTo>
                    <a:pt x="22766" y="2340"/>
                  </a:lnTo>
                  <a:lnTo>
                    <a:pt x="22795" y="2365"/>
                  </a:lnTo>
                  <a:lnTo>
                    <a:pt x="22825" y="2391"/>
                  </a:lnTo>
                  <a:lnTo>
                    <a:pt x="22877" y="2445"/>
                  </a:lnTo>
                  <a:lnTo>
                    <a:pt x="22926" y="2500"/>
                  </a:lnTo>
                  <a:lnTo>
                    <a:pt x="22969" y="2556"/>
                  </a:lnTo>
                  <a:lnTo>
                    <a:pt x="23021" y="2556"/>
                  </a:lnTo>
                  <a:lnTo>
                    <a:pt x="23028" y="2558"/>
                  </a:lnTo>
                  <a:lnTo>
                    <a:pt x="23035" y="2562"/>
                  </a:lnTo>
                  <a:lnTo>
                    <a:pt x="23039" y="2569"/>
                  </a:lnTo>
                  <a:lnTo>
                    <a:pt x="23040" y="2576"/>
                  </a:lnTo>
                  <a:lnTo>
                    <a:pt x="23040" y="2730"/>
                  </a:lnTo>
                  <a:lnTo>
                    <a:pt x="23039" y="2737"/>
                  </a:lnTo>
                  <a:lnTo>
                    <a:pt x="23035" y="2744"/>
                  </a:lnTo>
                  <a:lnTo>
                    <a:pt x="23028" y="2748"/>
                  </a:lnTo>
                  <a:lnTo>
                    <a:pt x="23021" y="2750"/>
                  </a:lnTo>
                  <a:lnTo>
                    <a:pt x="22982" y="2750"/>
                  </a:lnTo>
                  <a:lnTo>
                    <a:pt x="22982" y="3547"/>
                  </a:lnTo>
                  <a:lnTo>
                    <a:pt x="22982" y="4345"/>
                  </a:lnTo>
                  <a:lnTo>
                    <a:pt x="22981" y="4352"/>
                  </a:lnTo>
                  <a:lnTo>
                    <a:pt x="22977" y="4359"/>
                  </a:lnTo>
                  <a:lnTo>
                    <a:pt x="22971" y="4363"/>
                  </a:lnTo>
                  <a:lnTo>
                    <a:pt x="22963" y="4365"/>
                  </a:lnTo>
                  <a:lnTo>
                    <a:pt x="22717" y="4365"/>
                  </a:lnTo>
                  <a:lnTo>
                    <a:pt x="21733" y="4365"/>
                  </a:lnTo>
                  <a:lnTo>
                    <a:pt x="21241" y="4365"/>
                  </a:lnTo>
                  <a:lnTo>
                    <a:pt x="20749" y="4365"/>
                  </a:lnTo>
                  <a:lnTo>
                    <a:pt x="20257" y="4365"/>
                  </a:lnTo>
                  <a:lnTo>
                    <a:pt x="19865" y="4365"/>
                  </a:lnTo>
                  <a:lnTo>
                    <a:pt x="19859" y="4368"/>
                  </a:lnTo>
                  <a:lnTo>
                    <a:pt x="19852" y="4369"/>
                  </a:lnTo>
                  <a:lnTo>
                    <a:pt x="18987" y="4369"/>
                  </a:lnTo>
                  <a:lnTo>
                    <a:pt x="18122" y="4369"/>
                  </a:lnTo>
                  <a:lnTo>
                    <a:pt x="18119" y="4369"/>
                  </a:lnTo>
                  <a:lnTo>
                    <a:pt x="17558" y="4369"/>
                  </a:lnTo>
                  <a:lnTo>
                    <a:pt x="17549" y="4366"/>
                  </a:lnTo>
                  <a:lnTo>
                    <a:pt x="17543" y="4363"/>
                  </a:lnTo>
                  <a:lnTo>
                    <a:pt x="17540" y="4356"/>
                  </a:lnTo>
                  <a:lnTo>
                    <a:pt x="17539" y="4349"/>
                  </a:lnTo>
                  <a:lnTo>
                    <a:pt x="17540" y="4341"/>
                  </a:lnTo>
                  <a:lnTo>
                    <a:pt x="17543" y="4334"/>
                  </a:lnTo>
                  <a:lnTo>
                    <a:pt x="17549" y="4331"/>
                  </a:lnTo>
                  <a:lnTo>
                    <a:pt x="17558" y="4329"/>
                  </a:lnTo>
                  <a:lnTo>
                    <a:pt x="18096" y="4329"/>
                  </a:lnTo>
                  <a:lnTo>
                    <a:pt x="18092" y="4305"/>
                  </a:lnTo>
                  <a:lnTo>
                    <a:pt x="18090" y="4287"/>
                  </a:lnTo>
                  <a:lnTo>
                    <a:pt x="18094" y="4262"/>
                  </a:lnTo>
                  <a:lnTo>
                    <a:pt x="18103" y="4237"/>
                  </a:lnTo>
                  <a:lnTo>
                    <a:pt x="18116" y="4216"/>
                  </a:lnTo>
                  <a:lnTo>
                    <a:pt x="18134" y="4196"/>
                  </a:lnTo>
                  <a:lnTo>
                    <a:pt x="18155" y="4178"/>
                  </a:lnTo>
                  <a:lnTo>
                    <a:pt x="18178" y="4162"/>
                  </a:lnTo>
                  <a:lnTo>
                    <a:pt x="18230" y="4131"/>
                  </a:lnTo>
                  <a:lnTo>
                    <a:pt x="18213" y="3595"/>
                  </a:lnTo>
                  <a:lnTo>
                    <a:pt x="18197" y="3061"/>
                  </a:lnTo>
                  <a:lnTo>
                    <a:pt x="17607" y="2249"/>
                  </a:lnTo>
                  <a:lnTo>
                    <a:pt x="17579" y="2705"/>
                  </a:lnTo>
                  <a:lnTo>
                    <a:pt x="17576" y="2714"/>
                  </a:lnTo>
                  <a:lnTo>
                    <a:pt x="17571" y="2719"/>
                  </a:lnTo>
                  <a:lnTo>
                    <a:pt x="17557" y="2725"/>
                  </a:lnTo>
                  <a:lnTo>
                    <a:pt x="17551" y="2722"/>
                  </a:lnTo>
                  <a:lnTo>
                    <a:pt x="17544" y="2718"/>
                  </a:lnTo>
                  <a:lnTo>
                    <a:pt x="17540" y="2712"/>
                  </a:lnTo>
                  <a:lnTo>
                    <a:pt x="17539" y="2703"/>
                  </a:lnTo>
                  <a:lnTo>
                    <a:pt x="17570" y="2195"/>
                  </a:lnTo>
                  <a:lnTo>
                    <a:pt x="17571" y="2188"/>
                  </a:lnTo>
                  <a:lnTo>
                    <a:pt x="17597" y="1763"/>
                  </a:lnTo>
                  <a:lnTo>
                    <a:pt x="17597" y="1755"/>
                  </a:lnTo>
                  <a:lnTo>
                    <a:pt x="17640" y="1058"/>
                  </a:lnTo>
                  <a:lnTo>
                    <a:pt x="17622" y="1058"/>
                  </a:lnTo>
                  <a:lnTo>
                    <a:pt x="17615" y="1057"/>
                  </a:lnTo>
                  <a:lnTo>
                    <a:pt x="17608" y="1053"/>
                  </a:lnTo>
                  <a:lnTo>
                    <a:pt x="17604" y="1047"/>
                  </a:lnTo>
                  <a:lnTo>
                    <a:pt x="17603" y="1039"/>
                  </a:lnTo>
                  <a:lnTo>
                    <a:pt x="17603" y="943"/>
                  </a:lnTo>
                  <a:lnTo>
                    <a:pt x="17604" y="936"/>
                  </a:lnTo>
                  <a:lnTo>
                    <a:pt x="17608" y="929"/>
                  </a:lnTo>
                  <a:lnTo>
                    <a:pt x="17615" y="925"/>
                  </a:lnTo>
                  <a:lnTo>
                    <a:pt x="17622" y="924"/>
                  </a:lnTo>
                  <a:lnTo>
                    <a:pt x="18192" y="924"/>
                  </a:lnTo>
                  <a:lnTo>
                    <a:pt x="18199" y="925"/>
                  </a:lnTo>
                  <a:lnTo>
                    <a:pt x="18206" y="929"/>
                  </a:lnTo>
                  <a:lnTo>
                    <a:pt x="18211" y="936"/>
                  </a:lnTo>
                  <a:lnTo>
                    <a:pt x="18212" y="943"/>
                  </a:lnTo>
                  <a:lnTo>
                    <a:pt x="18212" y="1039"/>
                  </a:lnTo>
                  <a:lnTo>
                    <a:pt x="18211" y="1047"/>
                  </a:lnTo>
                  <a:lnTo>
                    <a:pt x="18206" y="1053"/>
                  </a:lnTo>
                  <a:lnTo>
                    <a:pt x="18199" y="1057"/>
                  </a:lnTo>
                  <a:lnTo>
                    <a:pt x="18192" y="1058"/>
                  </a:lnTo>
                  <a:lnTo>
                    <a:pt x="18174" y="1058"/>
                  </a:lnTo>
                  <a:lnTo>
                    <a:pt x="18201" y="1919"/>
                  </a:lnTo>
                  <a:lnTo>
                    <a:pt x="18930" y="1919"/>
                  </a:lnTo>
                  <a:lnTo>
                    <a:pt x="19661" y="1919"/>
                  </a:lnTo>
                  <a:lnTo>
                    <a:pt x="19698" y="1158"/>
                  </a:lnTo>
                  <a:lnTo>
                    <a:pt x="19736" y="399"/>
                  </a:lnTo>
                  <a:lnTo>
                    <a:pt x="19738" y="392"/>
                  </a:lnTo>
                  <a:lnTo>
                    <a:pt x="19742" y="386"/>
                  </a:lnTo>
                  <a:lnTo>
                    <a:pt x="19748" y="382"/>
                  </a:lnTo>
                  <a:lnTo>
                    <a:pt x="19756" y="381"/>
                  </a:lnTo>
                  <a:lnTo>
                    <a:pt x="20084" y="381"/>
                  </a:lnTo>
                  <a:lnTo>
                    <a:pt x="20092" y="382"/>
                  </a:lnTo>
                  <a:lnTo>
                    <a:pt x="20098" y="386"/>
                  </a:lnTo>
                  <a:lnTo>
                    <a:pt x="20102" y="392"/>
                  </a:lnTo>
                  <a:lnTo>
                    <a:pt x="20105" y="399"/>
                  </a:lnTo>
                  <a:lnTo>
                    <a:pt x="20142" y="1126"/>
                  </a:lnTo>
                  <a:lnTo>
                    <a:pt x="20181" y="1855"/>
                  </a:lnTo>
                  <a:lnTo>
                    <a:pt x="20179" y="1864"/>
                  </a:lnTo>
                  <a:lnTo>
                    <a:pt x="20175" y="1870"/>
                  </a:lnTo>
                  <a:lnTo>
                    <a:pt x="20169" y="1874"/>
                  </a:lnTo>
                  <a:lnTo>
                    <a:pt x="20161" y="1877"/>
                  </a:lnTo>
                  <a:lnTo>
                    <a:pt x="20147" y="1872"/>
                  </a:lnTo>
                  <a:lnTo>
                    <a:pt x="20143" y="1867"/>
                  </a:lnTo>
                  <a:lnTo>
                    <a:pt x="20141" y="1858"/>
                  </a:lnTo>
                  <a:lnTo>
                    <a:pt x="20102" y="1139"/>
                  </a:lnTo>
                  <a:lnTo>
                    <a:pt x="20065" y="420"/>
                  </a:lnTo>
                  <a:lnTo>
                    <a:pt x="19775" y="420"/>
                  </a:lnTo>
                  <a:lnTo>
                    <a:pt x="19737" y="1180"/>
                  </a:lnTo>
                  <a:lnTo>
                    <a:pt x="19700" y="1939"/>
                  </a:lnTo>
                  <a:lnTo>
                    <a:pt x="19700" y="1942"/>
                  </a:lnTo>
                  <a:lnTo>
                    <a:pt x="19698" y="1947"/>
                  </a:lnTo>
                  <a:lnTo>
                    <a:pt x="19695" y="1952"/>
                  </a:lnTo>
                  <a:lnTo>
                    <a:pt x="19688" y="1956"/>
                  </a:lnTo>
                  <a:lnTo>
                    <a:pt x="19682" y="1959"/>
                  </a:lnTo>
                  <a:lnTo>
                    <a:pt x="18942" y="1959"/>
                  </a:lnTo>
                  <a:lnTo>
                    <a:pt x="18202" y="1959"/>
                  </a:lnTo>
                  <a:lnTo>
                    <a:pt x="18221" y="2560"/>
                  </a:lnTo>
                  <a:lnTo>
                    <a:pt x="18221" y="2567"/>
                  </a:lnTo>
                  <a:lnTo>
                    <a:pt x="18244" y="3338"/>
                  </a:lnTo>
                  <a:lnTo>
                    <a:pt x="18269" y="4111"/>
                  </a:lnTo>
                  <a:lnTo>
                    <a:pt x="18320" y="4081"/>
                  </a:lnTo>
                  <a:lnTo>
                    <a:pt x="18342" y="4066"/>
                  </a:lnTo>
                  <a:lnTo>
                    <a:pt x="18361" y="4049"/>
                  </a:lnTo>
                  <a:lnTo>
                    <a:pt x="18392" y="4015"/>
                  </a:lnTo>
                  <a:lnTo>
                    <a:pt x="18419" y="3976"/>
                  </a:lnTo>
                  <a:lnTo>
                    <a:pt x="18447" y="3936"/>
                  </a:lnTo>
                  <a:lnTo>
                    <a:pt x="18475" y="3897"/>
                  </a:lnTo>
                  <a:lnTo>
                    <a:pt x="18506" y="3863"/>
                  </a:lnTo>
                  <a:lnTo>
                    <a:pt x="18524" y="3849"/>
                  </a:lnTo>
                  <a:lnTo>
                    <a:pt x="18542" y="3835"/>
                  </a:lnTo>
                  <a:lnTo>
                    <a:pt x="18562" y="3824"/>
                  </a:lnTo>
                  <a:lnTo>
                    <a:pt x="18585" y="3817"/>
                  </a:lnTo>
                  <a:lnTo>
                    <a:pt x="18610" y="3811"/>
                  </a:lnTo>
                  <a:lnTo>
                    <a:pt x="18637" y="3810"/>
                  </a:lnTo>
                  <a:lnTo>
                    <a:pt x="18656" y="3811"/>
                  </a:lnTo>
                  <a:lnTo>
                    <a:pt x="18673" y="3817"/>
                  </a:lnTo>
                  <a:lnTo>
                    <a:pt x="18702" y="3831"/>
                  </a:lnTo>
                  <a:lnTo>
                    <a:pt x="18702" y="3827"/>
                  </a:lnTo>
                  <a:lnTo>
                    <a:pt x="18702" y="3086"/>
                  </a:lnTo>
                  <a:lnTo>
                    <a:pt x="18664" y="3083"/>
                  </a:lnTo>
                  <a:lnTo>
                    <a:pt x="18625" y="3075"/>
                  </a:lnTo>
                  <a:lnTo>
                    <a:pt x="18588" y="3065"/>
                  </a:lnTo>
                  <a:lnTo>
                    <a:pt x="18553" y="3051"/>
                  </a:lnTo>
                  <a:lnTo>
                    <a:pt x="18519" y="3033"/>
                  </a:lnTo>
                  <a:lnTo>
                    <a:pt x="18488" y="3012"/>
                  </a:lnTo>
                  <a:lnTo>
                    <a:pt x="18458" y="2989"/>
                  </a:lnTo>
                  <a:lnTo>
                    <a:pt x="18431" y="2964"/>
                  </a:lnTo>
                  <a:lnTo>
                    <a:pt x="18407" y="2936"/>
                  </a:lnTo>
                  <a:lnTo>
                    <a:pt x="18385" y="2905"/>
                  </a:lnTo>
                  <a:lnTo>
                    <a:pt x="18366" y="2873"/>
                  </a:lnTo>
                  <a:lnTo>
                    <a:pt x="18349" y="2838"/>
                  </a:lnTo>
                  <a:lnTo>
                    <a:pt x="18337" y="2803"/>
                  </a:lnTo>
                  <a:lnTo>
                    <a:pt x="18328" y="2766"/>
                  </a:lnTo>
                  <a:lnTo>
                    <a:pt x="18322" y="2726"/>
                  </a:lnTo>
                  <a:lnTo>
                    <a:pt x="18320" y="2686"/>
                  </a:lnTo>
                  <a:lnTo>
                    <a:pt x="18322" y="2645"/>
                  </a:lnTo>
                  <a:lnTo>
                    <a:pt x="18328" y="2606"/>
                  </a:lnTo>
                  <a:lnTo>
                    <a:pt x="18338" y="2567"/>
                  </a:lnTo>
                  <a:lnTo>
                    <a:pt x="18352" y="2530"/>
                  </a:lnTo>
                  <a:lnTo>
                    <a:pt x="18369" y="2496"/>
                  </a:lnTo>
                  <a:lnTo>
                    <a:pt x="18388" y="2462"/>
                  </a:lnTo>
                  <a:lnTo>
                    <a:pt x="18412" y="2432"/>
                  </a:lnTo>
                  <a:lnTo>
                    <a:pt x="18438" y="2404"/>
                  </a:lnTo>
                  <a:lnTo>
                    <a:pt x="18466" y="2377"/>
                  </a:lnTo>
                  <a:lnTo>
                    <a:pt x="18497" y="2354"/>
                  </a:lnTo>
                  <a:lnTo>
                    <a:pt x="18530" y="2335"/>
                  </a:lnTo>
                  <a:lnTo>
                    <a:pt x="18565" y="2317"/>
                  </a:lnTo>
                  <a:lnTo>
                    <a:pt x="18602" y="2304"/>
                  </a:lnTo>
                  <a:lnTo>
                    <a:pt x="18640" y="2294"/>
                  </a:lnTo>
                  <a:lnTo>
                    <a:pt x="18680" y="2287"/>
                  </a:lnTo>
                  <a:lnTo>
                    <a:pt x="18721" y="2286"/>
                  </a:lnTo>
                  <a:lnTo>
                    <a:pt x="18764" y="2287"/>
                  </a:lnTo>
                  <a:lnTo>
                    <a:pt x="18803" y="2294"/>
                  </a:lnTo>
                  <a:lnTo>
                    <a:pt x="18842" y="2304"/>
                  </a:lnTo>
                  <a:lnTo>
                    <a:pt x="18879" y="2318"/>
                  </a:lnTo>
                  <a:lnTo>
                    <a:pt x="18914" y="2335"/>
                  </a:lnTo>
                  <a:lnTo>
                    <a:pt x="18947" y="2355"/>
                  </a:lnTo>
                  <a:lnTo>
                    <a:pt x="18978" y="2378"/>
                  </a:lnTo>
                  <a:lnTo>
                    <a:pt x="19007" y="2404"/>
                  </a:lnTo>
                  <a:lnTo>
                    <a:pt x="19033" y="2433"/>
                  </a:lnTo>
                  <a:lnTo>
                    <a:pt x="19056" y="2464"/>
                  </a:lnTo>
                  <a:lnTo>
                    <a:pt x="19075" y="2497"/>
                  </a:lnTo>
                  <a:lnTo>
                    <a:pt x="19092" y="2532"/>
                  </a:lnTo>
                  <a:lnTo>
                    <a:pt x="19106" y="2569"/>
                  </a:lnTo>
                  <a:lnTo>
                    <a:pt x="19115" y="2607"/>
                  </a:lnTo>
                  <a:lnTo>
                    <a:pt x="19121" y="2645"/>
                  </a:lnTo>
                  <a:lnTo>
                    <a:pt x="19124" y="2686"/>
                  </a:lnTo>
                  <a:lnTo>
                    <a:pt x="19121" y="2695"/>
                  </a:lnTo>
                  <a:lnTo>
                    <a:pt x="19118" y="2702"/>
                  </a:lnTo>
                  <a:lnTo>
                    <a:pt x="19111" y="2705"/>
                  </a:lnTo>
                  <a:lnTo>
                    <a:pt x="19103" y="2707"/>
                  </a:lnTo>
                  <a:lnTo>
                    <a:pt x="19096" y="2705"/>
                  </a:lnTo>
                  <a:lnTo>
                    <a:pt x="19089" y="2702"/>
                  </a:lnTo>
                  <a:lnTo>
                    <a:pt x="19085" y="2695"/>
                  </a:lnTo>
                  <a:lnTo>
                    <a:pt x="19083" y="2686"/>
                  </a:lnTo>
                  <a:lnTo>
                    <a:pt x="19082" y="2650"/>
                  </a:lnTo>
                  <a:lnTo>
                    <a:pt x="19076" y="2615"/>
                  </a:lnTo>
                  <a:lnTo>
                    <a:pt x="19067" y="2580"/>
                  </a:lnTo>
                  <a:lnTo>
                    <a:pt x="19055" y="2547"/>
                  </a:lnTo>
                  <a:lnTo>
                    <a:pt x="19041" y="2515"/>
                  </a:lnTo>
                  <a:lnTo>
                    <a:pt x="19023" y="2485"/>
                  </a:lnTo>
                  <a:lnTo>
                    <a:pt x="19002" y="2457"/>
                  </a:lnTo>
                  <a:lnTo>
                    <a:pt x="18978" y="2432"/>
                  </a:lnTo>
                  <a:lnTo>
                    <a:pt x="18952" y="2409"/>
                  </a:lnTo>
                  <a:lnTo>
                    <a:pt x="18925" y="2388"/>
                  </a:lnTo>
                  <a:lnTo>
                    <a:pt x="18894" y="2369"/>
                  </a:lnTo>
                  <a:lnTo>
                    <a:pt x="18864" y="2354"/>
                  </a:lnTo>
                  <a:lnTo>
                    <a:pt x="18830" y="2342"/>
                  </a:lnTo>
                  <a:lnTo>
                    <a:pt x="18796" y="2333"/>
                  </a:lnTo>
                  <a:lnTo>
                    <a:pt x="18758" y="2328"/>
                  </a:lnTo>
                  <a:lnTo>
                    <a:pt x="18721" y="2326"/>
                  </a:lnTo>
                  <a:lnTo>
                    <a:pt x="18684" y="2328"/>
                  </a:lnTo>
                  <a:lnTo>
                    <a:pt x="18648" y="2333"/>
                  </a:lnTo>
                  <a:lnTo>
                    <a:pt x="18614" y="2342"/>
                  </a:lnTo>
                  <a:lnTo>
                    <a:pt x="18580" y="2354"/>
                  </a:lnTo>
                  <a:lnTo>
                    <a:pt x="18549" y="2369"/>
                  </a:lnTo>
                  <a:lnTo>
                    <a:pt x="18520" y="2387"/>
                  </a:lnTo>
                  <a:lnTo>
                    <a:pt x="18492" y="2407"/>
                  </a:lnTo>
                  <a:lnTo>
                    <a:pt x="18466" y="2432"/>
                  </a:lnTo>
                  <a:lnTo>
                    <a:pt x="18443" y="2457"/>
                  </a:lnTo>
                  <a:lnTo>
                    <a:pt x="18421" y="2484"/>
                  </a:lnTo>
                  <a:lnTo>
                    <a:pt x="18403" y="2515"/>
                  </a:lnTo>
                  <a:lnTo>
                    <a:pt x="18388" y="2546"/>
                  </a:lnTo>
                  <a:lnTo>
                    <a:pt x="18381" y="2562"/>
                  </a:lnTo>
                  <a:lnTo>
                    <a:pt x="18376" y="2579"/>
                  </a:lnTo>
                  <a:lnTo>
                    <a:pt x="18367" y="2613"/>
                  </a:lnTo>
                  <a:lnTo>
                    <a:pt x="18362" y="2649"/>
                  </a:lnTo>
                  <a:lnTo>
                    <a:pt x="18360" y="2686"/>
                  </a:lnTo>
                  <a:lnTo>
                    <a:pt x="18362" y="2722"/>
                  </a:lnTo>
                  <a:lnTo>
                    <a:pt x="18367" y="2757"/>
                  </a:lnTo>
                  <a:lnTo>
                    <a:pt x="18375" y="2790"/>
                  </a:lnTo>
                  <a:lnTo>
                    <a:pt x="18387" y="2823"/>
                  </a:lnTo>
                  <a:lnTo>
                    <a:pt x="18401" y="2854"/>
                  </a:lnTo>
                  <a:lnTo>
                    <a:pt x="18417" y="2882"/>
                  </a:lnTo>
                  <a:lnTo>
                    <a:pt x="18438" y="2910"/>
                  </a:lnTo>
                  <a:lnTo>
                    <a:pt x="18460" y="2936"/>
                  </a:lnTo>
                  <a:lnTo>
                    <a:pt x="18484" y="2959"/>
                  </a:lnTo>
                  <a:lnTo>
                    <a:pt x="18510" y="2979"/>
                  </a:lnTo>
                  <a:lnTo>
                    <a:pt x="18538" y="2997"/>
                  </a:lnTo>
                  <a:lnTo>
                    <a:pt x="18569" y="3014"/>
                  </a:lnTo>
                  <a:lnTo>
                    <a:pt x="18599" y="3026"/>
                  </a:lnTo>
                  <a:lnTo>
                    <a:pt x="18633" y="3037"/>
                  </a:lnTo>
                  <a:lnTo>
                    <a:pt x="18667" y="3043"/>
                  </a:lnTo>
                  <a:lnTo>
                    <a:pt x="18702" y="3047"/>
                  </a:lnTo>
                  <a:lnTo>
                    <a:pt x="18702" y="3011"/>
                  </a:lnTo>
                  <a:lnTo>
                    <a:pt x="18701" y="3008"/>
                  </a:lnTo>
                  <a:lnTo>
                    <a:pt x="18597" y="2865"/>
                  </a:lnTo>
                  <a:lnTo>
                    <a:pt x="18593" y="2858"/>
                  </a:lnTo>
                  <a:lnTo>
                    <a:pt x="18593" y="2850"/>
                  </a:lnTo>
                  <a:lnTo>
                    <a:pt x="18596" y="2842"/>
                  </a:lnTo>
                  <a:lnTo>
                    <a:pt x="18601" y="2837"/>
                  </a:lnTo>
                  <a:lnTo>
                    <a:pt x="18607" y="2835"/>
                  </a:lnTo>
                  <a:lnTo>
                    <a:pt x="18615" y="2833"/>
                  </a:lnTo>
                  <a:lnTo>
                    <a:pt x="18623" y="2836"/>
                  </a:lnTo>
                  <a:lnTo>
                    <a:pt x="18629" y="2842"/>
                  </a:lnTo>
                  <a:lnTo>
                    <a:pt x="18702" y="2943"/>
                  </a:lnTo>
                  <a:lnTo>
                    <a:pt x="18702" y="2901"/>
                  </a:lnTo>
                  <a:lnTo>
                    <a:pt x="18702" y="2895"/>
                  </a:lnTo>
                  <a:lnTo>
                    <a:pt x="18702" y="2744"/>
                  </a:lnTo>
                  <a:lnTo>
                    <a:pt x="18606" y="2611"/>
                  </a:lnTo>
                  <a:lnTo>
                    <a:pt x="18602" y="2603"/>
                  </a:lnTo>
                  <a:lnTo>
                    <a:pt x="18602" y="2595"/>
                  </a:lnTo>
                  <a:lnTo>
                    <a:pt x="18606" y="2588"/>
                  </a:lnTo>
                  <a:lnTo>
                    <a:pt x="18611" y="2583"/>
                  </a:lnTo>
                  <a:lnTo>
                    <a:pt x="18617" y="2580"/>
                  </a:lnTo>
                  <a:lnTo>
                    <a:pt x="18625" y="2579"/>
                  </a:lnTo>
                  <a:lnTo>
                    <a:pt x="18633" y="2581"/>
                  </a:lnTo>
                  <a:lnTo>
                    <a:pt x="18639" y="2588"/>
                  </a:lnTo>
                  <a:lnTo>
                    <a:pt x="18702" y="2675"/>
                  </a:lnTo>
                  <a:lnTo>
                    <a:pt x="18702" y="2599"/>
                  </a:lnTo>
                  <a:lnTo>
                    <a:pt x="18705" y="2590"/>
                  </a:lnTo>
                  <a:lnTo>
                    <a:pt x="18708" y="2584"/>
                  </a:lnTo>
                  <a:lnTo>
                    <a:pt x="18715" y="2580"/>
                  </a:lnTo>
                  <a:lnTo>
                    <a:pt x="18723" y="2579"/>
                  </a:lnTo>
                  <a:lnTo>
                    <a:pt x="18730" y="2580"/>
                  </a:lnTo>
                  <a:lnTo>
                    <a:pt x="18737" y="2584"/>
                  </a:lnTo>
                  <a:lnTo>
                    <a:pt x="18741" y="2590"/>
                  </a:lnTo>
                  <a:lnTo>
                    <a:pt x="18742" y="2599"/>
                  </a:lnTo>
                  <a:lnTo>
                    <a:pt x="18742" y="2734"/>
                  </a:lnTo>
                  <a:lnTo>
                    <a:pt x="18742" y="2740"/>
                  </a:lnTo>
                  <a:lnTo>
                    <a:pt x="18742" y="2836"/>
                  </a:lnTo>
                  <a:lnTo>
                    <a:pt x="18828" y="2718"/>
                  </a:lnTo>
                  <a:lnTo>
                    <a:pt x="18834" y="2712"/>
                  </a:lnTo>
                  <a:lnTo>
                    <a:pt x="18842" y="2711"/>
                  </a:lnTo>
                  <a:lnTo>
                    <a:pt x="18856" y="2714"/>
                  </a:lnTo>
                  <a:lnTo>
                    <a:pt x="18861" y="2719"/>
                  </a:lnTo>
                  <a:lnTo>
                    <a:pt x="18864" y="2726"/>
                  </a:lnTo>
                  <a:lnTo>
                    <a:pt x="18864" y="2734"/>
                  </a:lnTo>
                  <a:lnTo>
                    <a:pt x="18860" y="2743"/>
                  </a:lnTo>
                  <a:close/>
                  <a:moveTo>
                    <a:pt x="20006" y="2597"/>
                  </a:moveTo>
                  <a:lnTo>
                    <a:pt x="19966" y="2597"/>
                  </a:lnTo>
                  <a:lnTo>
                    <a:pt x="19966" y="2709"/>
                  </a:lnTo>
                  <a:lnTo>
                    <a:pt x="20724" y="2709"/>
                  </a:lnTo>
                  <a:lnTo>
                    <a:pt x="21483" y="2709"/>
                  </a:lnTo>
                  <a:lnTo>
                    <a:pt x="22241" y="2709"/>
                  </a:lnTo>
                  <a:lnTo>
                    <a:pt x="23000" y="2709"/>
                  </a:lnTo>
                  <a:lnTo>
                    <a:pt x="23000" y="2597"/>
                  </a:lnTo>
                  <a:lnTo>
                    <a:pt x="22962" y="2597"/>
                  </a:lnTo>
                  <a:lnTo>
                    <a:pt x="22954" y="2597"/>
                  </a:lnTo>
                  <a:lnTo>
                    <a:pt x="22218" y="2597"/>
                  </a:lnTo>
                  <a:lnTo>
                    <a:pt x="21483" y="2597"/>
                  </a:lnTo>
                  <a:lnTo>
                    <a:pt x="20747" y="2597"/>
                  </a:lnTo>
                  <a:lnTo>
                    <a:pt x="20013" y="2597"/>
                  </a:lnTo>
                  <a:lnTo>
                    <a:pt x="20006" y="2597"/>
                  </a:lnTo>
                  <a:close/>
                  <a:moveTo>
                    <a:pt x="19369" y="3221"/>
                  </a:moveTo>
                  <a:lnTo>
                    <a:pt x="19369" y="3011"/>
                  </a:lnTo>
                  <a:lnTo>
                    <a:pt x="19370" y="3002"/>
                  </a:lnTo>
                  <a:lnTo>
                    <a:pt x="19375" y="2996"/>
                  </a:lnTo>
                  <a:lnTo>
                    <a:pt x="19382" y="2992"/>
                  </a:lnTo>
                  <a:lnTo>
                    <a:pt x="19388" y="2991"/>
                  </a:lnTo>
                  <a:lnTo>
                    <a:pt x="19396" y="2992"/>
                  </a:lnTo>
                  <a:lnTo>
                    <a:pt x="19402" y="2996"/>
                  </a:lnTo>
                  <a:lnTo>
                    <a:pt x="19407" y="3002"/>
                  </a:lnTo>
                  <a:lnTo>
                    <a:pt x="19409" y="3011"/>
                  </a:lnTo>
                  <a:lnTo>
                    <a:pt x="19409" y="3162"/>
                  </a:lnTo>
                  <a:lnTo>
                    <a:pt x="19442" y="3116"/>
                  </a:lnTo>
                  <a:lnTo>
                    <a:pt x="19448" y="3111"/>
                  </a:lnTo>
                  <a:lnTo>
                    <a:pt x="19456" y="3108"/>
                  </a:lnTo>
                  <a:lnTo>
                    <a:pt x="19470" y="3112"/>
                  </a:lnTo>
                  <a:lnTo>
                    <a:pt x="19475" y="3117"/>
                  </a:lnTo>
                  <a:lnTo>
                    <a:pt x="19478" y="3124"/>
                  </a:lnTo>
                  <a:lnTo>
                    <a:pt x="19478" y="3131"/>
                  </a:lnTo>
                  <a:lnTo>
                    <a:pt x="19474" y="3140"/>
                  </a:lnTo>
                  <a:lnTo>
                    <a:pt x="19409" y="3231"/>
                  </a:lnTo>
                  <a:lnTo>
                    <a:pt x="19409" y="3413"/>
                  </a:lnTo>
                  <a:lnTo>
                    <a:pt x="19432" y="3381"/>
                  </a:lnTo>
                  <a:lnTo>
                    <a:pt x="19438" y="3374"/>
                  </a:lnTo>
                  <a:lnTo>
                    <a:pt x="19446" y="3372"/>
                  </a:lnTo>
                  <a:lnTo>
                    <a:pt x="19460" y="3375"/>
                  </a:lnTo>
                  <a:lnTo>
                    <a:pt x="19465" y="3382"/>
                  </a:lnTo>
                  <a:lnTo>
                    <a:pt x="19468" y="3388"/>
                  </a:lnTo>
                  <a:lnTo>
                    <a:pt x="19468" y="3396"/>
                  </a:lnTo>
                  <a:lnTo>
                    <a:pt x="19464" y="3404"/>
                  </a:lnTo>
                  <a:lnTo>
                    <a:pt x="19409" y="3480"/>
                  </a:lnTo>
                  <a:lnTo>
                    <a:pt x="19409" y="3491"/>
                  </a:lnTo>
                  <a:lnTo>
                    <a:pt x="19409" y="3498"/>
                  </a:lnTo>
                  <a:lnTo>
                    <a:pt x="19409" y="3608"/>
                  </a:lnTo>
                  <a:lnTo>
                    <a:pt x="19425" y="3613"/>
                  </a:lnTo>
                  <a:lnTo>
                    <a:pt x="19441" y="3620"/>
                  </a:lnTo>
                  <a:lnTo>
                    <a:pt x="19455" y="3627"/>
                  </a:lnTo>
                  <a:lnTo>
                    <a:pt x="19468" y="3632"/>
                  </a:lnTo>
                  <a:lnTo>
                    <a:pt x="19480" y="3635"/>
                  </a:lnTo>
                  <a:lnTo>
                    <a:pt x="19488" y="3635"/>
                  </a:lnTo>
                  <a:lnTo>
                    <a:pt x="19494" y="3632"/>
                  </a:lnTo>
                  <a:lnTo>
                    <a:pt x="19501" y="3630"/>
                  </a:lnTo>
                  <a:lnTo>
                    <a:pt x="19509" y="3625"/>
                  </a:lnTo>
                  <a:lnTo>
                    <a:pt x="19525" y="3608"/>
                  </a:lnTo>
                  <a:lnTo>
                    <a:pt x="19547" y="3585"/>
                  </a:lnTo>
                  <a:lnTo>
                    <a:pt x="19562" y="3570"/>
                  </a:lnTo>
                  <a:lnTo>
                    <a:pt x="19577" y="3562"/>
                  </a:lnTo>
                  <a:lnTo>
                    <a:pt x="19591" y="3558"/>
                  </a:lnTo>
                  <a:lnTo>
                    <a:pt x="19620" y="3556"/>
                  </a:lnTo>
                  <a:lnTo>
                    <a:pt x="19639" y="3554"/>
                  </a:lnTo>
                  <a:lnTo>
                    <a:pt x="19664" y="3552"/>
                  </a:lnTo>
                  <a:lnTo>
                    <a:pt x="19679" y="3544"/>
                  </a:lnTo>
                  <a:lnTo>
                    <a:pt x="19684" y="3539"/>
                  </a:lnTo>
                  <a:lnTo>
                    <a:pt x="19688" y="3533"/>
                  </a:lnTo>
                  <a:lnTo>
                    <a:pt x="19695" y="3517"/>
                  </a:lnTo>
                  <a:lnTo>
                    <a:pt x="19700" y="3499"/>
                  </a:lnTo>
                  <a:lnTo>
                    <a:pt x="19705" y="3479"/>
                  </a:lnTo>
                  <a:lnTo>
                    <a:pt x="19714" y="3460"/>
                  </a:lnTo>
                  <a:lnTo>
                    <a:pt x="19728" y="3441"/>
                  </a:lnTo>
                  <a:lnTo>
                    <a:pt x="19737" y="3432"/>
                  </a:lnTo>
                  <a:lnTo>
                    <a:pt x="19748" y="3424"/>
                  </a:lnTo>
                  <a:lnTo>
                    <a:pt x="19792" y="3398"/>
                  </a:lnTo>
                  <a:lnTo>
                    <a:pt x="19804" y="3391"/>
                  </a:lnTo>
                  <a:lnTo>
                    <a:pt x="19810" y="3383"/>
                  </a:lnTo>
                  <a:lnTo>
                    <a:pt x="19813" y="3373"/>
                  </a:lnTo>
                  <a:lnTo>
                    <a:pt x="19811" y="3360"/>
                  </a:lnTo>
                  <a:lnTo>
                    <a:pt x="19804" y="3310"/>
                  </a:lnTo>
                  <a:lnTo>
                    <a:pt x="19804" y="3286"/>
                  </a:lnTo>
                  <a:lnTo>
                    <a:pt x="19807" y="3265"/>
                  </a:lnTo>
                  <a:lnTo>
                    <a:pt x="19816" y="3248"/>
                  </a:lnTo>
                  <a:lnTo>
                    <a:pt x="19827" y="3232"/>
                  </a:lnTo>
                  <a:lnTo>
                    <a:pt x="19847" y="3207"/>
                  </a:lnTo>
                  <a:lnTo>
                    <a:pt x="19854" y="3194"/>
                  </a:lnTo>
                  <a:lnTo>
                    <a:pt x="19856" y="3181"/>
                  </a:lnTo>
                  <a:lnTo>
                    <a:pt x="19854" y="3164"/>
                  </a:lnTo>
                  <a:lnTo>
                    <a:pt x="19850" y="3158"/>
                  </a:lnTo>
                  <a:lnTo>
                    <a:pt x="19846" y="3152"/>
                  </a:lnTo>
                  <a:lnTo>
                    <a:pt x="19824" y="3126"/>
                  </a:lnTo>
                  <a:lnTo>
                    <a:pt x="19814" y="3109"/>
                  </a:lnTo>
                  <a:lnTo>
                    <a:pt x="19806" y="3088"/>
                  </a:lnTo>
                  <a:lnTo>
                    <a:pt x="19805" y="3060"/>
                  </a:lnTo>
                  <a:lnTo>
                    <a:pt x="19806" y="3042"/>
                  </a:lnTo>
                  <a:lnTo>
                    <a:pt x="19809" y="3020"/>
                  </a:lnTo>
                  <a:lnTo>
                    <a:pt x="19811" y="3005"/>
                  </a:lnTo>
                  <a:lnTo>
                    <a:pt x="19811" y="2992"/>
                  </a:lnTo>
                  <a:lnTo>
                    <a:pt x="19809" y="2982"/>
                  </a:lnTo>
                  <a:lnTo>
                    <a:pt x="19805" y="2973"/>
                  </a:lnTo>
                  <a:lnTo>
                    <a:pt x="19792" y="2960"/>
                  </a:lnTo>
                  <a:lnTo>
                    <a:pt x="19775" y="2951"/>
                  </a:lnTo>
                  <a:lnTo>
                    <a:pt x="19757" y="2942"/>
                  </a:lnTo>
                  <a:lnTo>
                    <a:pt x="19738" y="2930"/>
                  </a:lnTo>
                  <a:lnTo>
                    <a:pt x="19720" y="2913"/>
                  </a:lnTo>
                  <a:lnTo>
                    <a:pt x="19712" y="2900"/>
                  </a:lnTo>
                  <a:lnTo>
                    <a:pt x="19706" y="2884"/>
                  </a:lnTo>
                  <a:lnTo>
                    <a:pt x="19691" y="2837"/>
                  </a:lnTo>
                  <a:lnTo>
                    <a:pt x="19686" y="2824"/>
                  </a:lnTo>
                  <a:lnTo>
                    <a:pt x="19683" y="2819"/>
                  </a:lnTo>
                  <a:lnTo>
                    <a:pt x="19680" y="2815"/>
                  </a:lnTo>
                  <a:lnTo>
                    <a:pt x="19671" y="2812"/>
                  </a:lnTo>
                  <a:lnTo>
                    <a:pt x="19657" y="2810"/>
                  </a:lnTo>
                  <a:lnTo>
                    <a:pt x="19607" y="2806"/>
                  </a:lnTo>
                  <a:lnTo>
                    <a:pt x="19591" y="2803"/>
                  </a:lnTo>
                  <a:lnTo>
                    <a:pt x="19577" y="2799"/>
                  </a:lnTo>
                  <a:lnTo>
                    <a:pt x="19555" y="2786"/>
                  </a:lnTo>
                  <a:lnTo>
                    <a:pt x="19547" y="2778"/>
                  </a:lnTo>
                  <a:lnTo>
                    <a:pt x="19539" y="2769"/>
                  </a:lnTo>
                  <a:lnTo>
                    <a:pt x="19527" y="2753"/>
                  </a:lnTo>
                  <a:lnTo>
                    <a:pt x="19514" y="2739"/>
                  </a:lnTo>
                  <a:lnTo>
                    <a:pt x="19507" y="2734"/>
                  </a:lnTo>
                  <a:lnTo>
                    <a:pt x="19500" y="2730"/>
                  </a:lnTo>
                  <a:lnTo>
                    <a:pt x="19491" y="2727"/>
                  </a:lnTo>
                  <a:lnTo>
                    <a:pt x="19479" y="2728"/>
                  </a:lnTo>
                  <a:lnTo>
                    <a:pt x="19452" y="2736"/>
                  </a:lnTo>
                  <a:lnTo>
                    <a:pt x="19421" y="2749"/>
                  </a:lnTo>
                  <a:lnTo>
                    <a:pt x="19405" y="2754"/>
                  </a:lnTo>
                  <a:lnTo>
                    <a:pt x="19388" y="2755"/>
                  </a:lnTo>
                  <a:lnTo>
                    <a:pt x="19366" y="2753"/>
                  </a:lnTo>
                  <a:lnTo>
                    <a:pt x="19347" y="2746"/>
                  </a:lnTo>
                  <a:lnTo>
                    <a:pt x="19316" y="2731"/>
                  </a:lnTo>
                  <a:lnTo>
                    <a:pt x="19301" y="2727"/>
                  </a:lnTo>
                  <a:lnTo>
                    <a:pt x="19293" y="2726"/>
                  </a:lnTo>
                  <a:lnTo>
                    <a:pt x="19287" y="2727"/>
                  </a:lnTo>
                  <a:lnTo>
                    <a:pt x="19270" y="2736"/>
                  </a:lnTo>
                  <a:lnTo>
                    <a:pt x="19251" y="2753"/>
                  </a:lnTo>
                  <a:lnTo>
                    <a:pt x="19230" y="2776"/>
                  </a:lnTo>
                  <a:lnTo>
                    <a:pt x="19214" y="2791"/>
                  </a:lnTo>
                  <a:lnTo>
                    <a:pt x="19200" y="2799"/>
                  </a:lnTo>
                  <a:lnTo>
                    <a:pt x="19187" y="2804"/>
                  </a:lnTo>
                  <a:lnTo>
                    <a:pt x="19157" y="2805"/>
                  </a:lnTo>
                  <a:lnTo>
                    <a:pt x="19138" y="2806"/>
                  </a:lnTo>
                  <a:lnTo>
                    <a:pt x="19112" y="2810"/>
                  </a:lnTo>
                  <a:lnTo>
                    <a:pt x="19098" y="2817"/>
                  </a:lnTo>
                  <a:lnTo>
                    <a:pt x="19093" y="2822"/>
                  </a:lnTo>
                  <a:lnTo>
                    <a:pt x="19088" y="2828"/>
                  </a:lnTo>
                  <a:lnTo>
                    <a:pt x="19082" y="2844"/>
                  </a:lnTo>
                  <a:lnTo>
                    <a:pt x="19078" y="2863"/>
                  </a:lnTo>
                  <a:lnTo>
                    <a:pt x="19071" y="2882"/>
                  </a:lnTo>
                  <a:lnTo>
                    <a:pt x="19064" y="2902"/>
                  </a:lnTo>
                  <a:lnTo>
                    <a:pt x="19050" y="2920"/>
                  </a:lnTo>
                  <a:lnTo>
                    <a:pt x="19041" y="2929"/>
                  </a:lnTo>
                  <a:lnTo>
                    <a:pt x="19029" y="2937"/>
                  </a:lnTo>
                  <a:lnTo>
                    <a:pt x="18985" y="2962"/>
                  </a:lnTo>
                  <a:lnTo>
                    <a:pt x="18974" y="2970"/>
                  </a:lnTo>
                  <a:lnTo>
                    <a:pt x="18967" y="2978"/>
                  </a:lnTo>
                  <a:lnTo>
                    <a:pt x="18965" y="2988"/>
                  </a:lnTo>
                  <a:lnTo>
                    <a:pt x="18966" y="3002"/>
                  </a:lnTo>
                  <a:lnTo>
                    <a:pt x="18974" y="3052"/>
                  </a:lnTo>
                  <a:lnTo>
                    <a:pt x="18974" y="3079"/>
                  </a:lnTo>
                  <a:lnTo>
                    <a:pt x="18967" y="3101"/>
                  </a:lnTo>
                  <a:lnTo>
                    <a:pt x="18956" y="3121"/>
                  </a:lnTo>
                  <a:lnTo>
                    <a:pt x="18941" y="3143"/>
                  </a:lnTo>
                  <a:lnTo>
                    <a:pt x="18926" y="3164"/>
                  </a:lnTo>
                  <a:lnTo>
                    <a:pt x="18923" y="3172"/>
                  </a:lnTo>
                  <a:lnTo>
                    <a:pt x="18921" y="3181"/>
                  </a:lnTo>
                  <a:lnTo>
                    <a:pt x="18924" y="3196"/>
                  </a:lnTo>
                  <a:lnTo>
                    <a:pt x="18928" y="3204"/>
                  </a:lnTo>
                  <a:lnTo>
                    <a:pt x="18932" y="3211"/>
                  </a:lnTo>
                  <a:lnTo>
                    <a:pt x="18953" y="3235"/>
                  </a:lnTo>
                  <a:lnTo>
                    <a:pt x="18964" y="3251"/>
                  </a:lnTo>
                  <a:lnTo>
                    <a:pt x="18970" y="3273"/>
                  </a:lnTo>
                  <a:lnTo>
                    <a:pt x="18973" y="3303"/>
                  </a:lnTo>
                  <a:lnTo>
                    <a:pt x="18971" y="3320"/>
                  </a:lnTo>
                  <a:lnTo>
                    <a:pt x="18969" y="3341"/>
                  </a:lnTo>
                  <a:lnTo>
                    <a:pt x="18966" y="3356"/>
                  </a:lnTo>
                  <a:lnTo>
                    <a:pt x="18966" y="3369"/>
                  </a:lnTo>
                  <a:lnTo>
                    <a:pt x="18969" y="3381"/>
                  </a:lnTo>
                  <a:lnTo>
                    <a:pt x="18973" y="3388"/>
                  </a:lnTo>
                  <a:lnTo>
                    <a:pt x="18984" y="3401"/>
                  </a:lnTo>
                  <a:lnTo>
                    <a:pt x="19001" y="3410"/>
                  </a:lnTo>
                  <a:lnTo>
                    <a:pt x="19020" y="3419"/>
                  </a:lnTo>
                  <a:lnTo>
                    <a:pt x="19039" y="3430"/>
                  </a:lnTo>
                  <a:lnTo>
                    <a:pt x="19057" y="3448"/>
                  </a:lnTo>
                  <a:lnTo>
                    <a:pt x="19065" y="3461"/>
                  </a:lnTo>
                  <a:lnTo>
                    <a:pt x="19071" y="3476"/>
                  </a:lnTo>
                  <a:lnTo>
                    <a:pt x="19085" y="3524"/>
                  </a:lnTo>
                  <a:lnTo>
                    <a:pt x="19091" y="3538"/>
                  </a:lnTo>
                  <a:lnTo>
                    <a:pt x="19093" y="3542"/>
                  </a:lnTo>
                  <a:lnTo>
                    <a:pt x="19097" y="3546"/>
                  </a:lnTo>
                  <a:lnTo>
                    <a:pt x="19106" y="3549"/>
                  </a:lnTo>
                  <a:lnTo>
                    <a:pt x="19120" y="3551"/>
                  </a:lnTo>
                  <a:lnTo>
                    <a:pt x="19170" y="3556"/>
                  </a:lnTo>
                  <a:lnTo>
                    <a:pt x="19187" y="3558"/>
                  </a:lnTo>
                  <a:lnTo>
                    <a:pt x="19201" y="3562"/>
                  </a:lnTo>
                  <a:lnTo>
                    <a:pt x="19221" y="3576"/>
                  </a:lnTo>
                  <a:lnTo>
                    <a:pt x="19230" y="3584"/>
                  </a:lnTo>
                  <a:lnTo>
                    <a:pt x="19238" y="3592"/>
                  </a:lnTo>
                  <a:lnTo>
                    <a:pt x="19251" y="3608"/>
                  </a:lnTo>
                  <a:lnTo>
                    <a:pt x="19262" y="3622"/>
                  </a:lnTo>
                  <a:lnTo>
                    <a:pt x="19270" y="3627"/>
                  </a:lnTo>
                  <a:lnTo>
                    <a:pt x="19278" y="3631"/>
                  </a:lnTo>
                  <a:lnTo>
                    <a:pt x="19287" y="3634"/>
                  </a:lnTo>
                  <a:lnTo>
                    <a:pt x="19297" y="3634"/>
                  </a:lnTo>
                  <a:lnTo>
                    <a:pt x="19325" y="3625"/>
                  </a:lnTo>
                  <a:lnTo>
                    <a:pt x="19347" y="3616"/>
                  </a:lnTo>
                  <a:lnTo>
                    <a:pt x="19369" y="3608"/>
                  </a:lnTo>
                  <a:lnTo>
                    <a:pt x="19369" y="3506"/>
                  </a:lnTo>
                  <a:lnTo>
                    <a:pt x="19364" y="3502"/>
                  </a:lnTo>
                  <a:lnTo>
                    <a:pt x="19360" y="3498"/>
                  </a:lnTo>
                  <a:lnTo>
                    <a:pt x="19359" y="3487"/>
                  </a:lnTo>
                  <a:lnTo>
                    <a:pt x="19264" y="3358"/>
                  </a:lnTo>
                  <a:lnTo>
                    <a:pt x="19260" y="3349"/>
                  </a:lnTo>
                  <a:lnTo>
                    <a:pt x="19260" y="3341"/>
                  </a:lnTo>
                  <a:lnTo>
                    <a:pt x="19264" y="3335"/>
                  </a:lnTo>
                  <a:lnTo>
                    <a:pt x="19269" y="3329"/>
                  </a:lnTo>
                  <a:lnTo>
                    <a:pt x="19275" y="3326"/>
                  </a:lnTo>
                  <a:lnTo>
                    <a:pt x="19283" y="3326"/>
                  </a:lnTo>
                  <a:lnTo>
                    <a:pt x="19289" y="3328"/>
                  </a:lnTo>
                  <a:lnTo>
                    <a:pt x="19297" y="3333"/>
                  </a:lnTo>
                  <a:lnTo>
                    <a:pt x="19369" y="3433"/>
                  </a:lnTo>
                  <a:lnTo>
                    <a:pt x="19369" y="3320"/>
                  </a:lnTo>
                  <a:lnTo>
                    <a:pt x="19262" y="3176"/>
                  </a:lnTo>
                  <a:lnTo>
                    <a:pt x="19259" y="3167"/>
                  </a:lnTo>
                  <a:lnTo>
                    <a:pt x="19259" y="3159"/>
                  </a:lnTo>
                  <a:lnTo>
                    <a:pt x="19262" y="3153"/>
                  </a:lnTo>
                  <a:lnTo>
                    <a:pt x="19268" y="3148"/>
                  </a:lnTo>
                  <a:lnTo>
                    <a:pt x="19274" y="3144"/>
                  </a:lnTo>
                  <a:lnTo>
                    <a:pt x="19282" y="3144"/>
                  </a:lnTo>
                  <a:lnTo>
                    <a:pt x="19289" y="3147"/>
                  </a:lnTo>
                  <a:lnTo>
                    <a:pt x="19296" y="3152"/>
                  </a:lnTo>
                  <a:lnTo>
                    <a:pt x="19369" y="3253"/>
                  </a:lnTo>
                  <a:lnTo>
                    <a:pt x="19369" y="3227"/>
                  </a:lnTo>
                  <a:lnTo>
                    <a:pt x="19369" y="3221"/>
                  </a:lnTo>
                  <a:close/>
                  <a:moveTo>
                    <a:pt x="22962" y="2597"/>
                  </a:moveTo>
                  <a:lnTo>
                    <a:pt x="22954" y="2597"/>
                  </a:lnTo>
                  <a:lnTo>
                    <a:pt x="22962" y="2597"/>
                  </a:lnTo>
                  <a:close/>
                  <a:moveTo>
                    <a:pt x="20013" y="2597"/>
                  </a:moveTo>
                  <a:lnTo>
                    <a:pt x="20006" y="2597"/>
                  </a:lnTo>
                  <a:lnTo>
                    <a:pt x="20013" y="2597"/>
                  </a:lnTo>
                  <a:close/>
                  <a:moveTo>
                    <a:pt x="19409" y="3491"/>
                  </a:moveTo>
                  <a:lnTo>
                    <a:pt x="19409" y="3498"/>
                  </a:lnTo>
                  <a:lnTo>
                    <a:pt x="19409" y="3491"/>
                  </a:lnTo>
                  <a:close/>
                  <a:moveTo>
                    <a:pt x="19369" y="3227"/>
                  </a:moveTo>
                  <a:lnTo>
                    <a:pt x="19369" y="3221"/>
                  </a:lnTo>
                  <a:lnTo>
                    <a:pt x="19369" y="3227"/>
                  </a:lnTo>
                  <a:close/>
                  <a:moveTo>
                    <a:pt x="20708" y="1885"/>
                  </a:moveTo>
                  <a:lnTo>
                    <a:pt x="20672" y="1152"/>
                  </a:lnTo>
                  <a:lnTo>
                    <a:pt x="20636" y="420"/>
                  </a:lnTo>
                  <a:lnTo>
                    <a:pt x="20345" y="420"/>
                  </a:lnTo>
                  <a:lnTo>
                    <a:pt x="20306" y="1139"/>
                  </a:lnTo>
                  <a:lnTo>
                    <a:pt x="20269" y="1858"/>
                  </a:lnTo>
                  <a:lnTo>
                    <a:pt x="20268" y="1867"/>
                  </a:lnTo>
                  <a:lnTo>
                    <a:pt x="20263" y="1872"/>
                  </a:lnTo>
                  <a:lnTo>
                    <a:pt x="20256" y="1876"/>
                  </a:lnTo>
                  <a:lnTo>
                    <a:pt x="20248" y="1877"/>
                  </a:lnTo>
                  <a:lnTo>
                    <a:pt x="20241" y="1874"/>
                  </a:lnTo>
                  <a:lnTo>
                    <a:pt x="20234" y="1870"/>
                  </a:lnTo>
                  <a:lnTo>
                    <a:pt x="20231" y="1864"/>
                  </a:lnTo>
                  <a:lnTo>
                    <a:pt x="20229" y="1855"/>
                  </a:lnTo>
                  <a:lnTo>
                    <a:pt x="20268" y="1126"/>
                  </a:lnTo>
                  <a:lnTo>
                    <a:pt x="20306" y="399"/>
                  </a:lnTo>
                  <a:lnTo>
                    <a:pt x="20307" y="392"/>
                  </a:lnTo>
                  <a:lnTo>
                    <a:pt x="20313" y="386"/>
                  </a:lnTo>
                  <a:lnTo>
                    <a:pt x="20318" y="382"/>
                  </a:lnTo>
                  <a:lnTo>
                    <a:pt x="20325" y="381"/>
                  </a:lnTo>
                  <a:lnTo>
                    <a:pt x="20655" y="381"/>
                  </a:lnTo>
                  <a:lnTo>
                    <a:pt x="20661" y="382"/>
                  </a:lnTo>
                  <a:lnTo>
                    <a:pt x="20668" y="386"/>
                  </a:lnTo>
                  <a:lnTo>
                    <a:pt x="20673" y="392"/>
                  </a:lnTo>
                  <a:lnTo>
                    <a:pt x="20674" y="399"/>
                  </a:lnTo>
                  <a:lnTo>
                    <a:pt x="20710" y="1140"/>
                  </a:lnTo>
                  <a:lnTo>
                    <a:pt x="20747" y="1882"/>
                  </a:lnTo>
                  <a:lnTo>
                    <a:pt x="20746" y="1891"/>
                  </a:lnTo>
                  <a:lnTo>
                    <a:pt x="20742" y="1897"/>
                  </a:lnTo>
                  <a:lnTo>
                    <a:pt x="20736" y="1901"/>
                  </a:lnTo>
                  <a:lnTo>
                    <a:pt x="20728" y="1902"/>
                  </a:lnTo>
                  <a:lnTo>
                    <a:pt x="20715" y="1899"/>
                  </a:lnTo>
                  <a:lnTo>
                    <a:pt x="20710" y="1892"/>
                  </a:lnTo>
                  <a:lnTo>
                    <a:pt x="20708" y="1885"/>
                  </a:lnTo>
                  <a:close/>
                  <a:moveTo>
                    <a:pt x="2868" y="3476"/>
                  </a:moveTo>
                  <a:lnTo>
                    <a:pt x="2980" y="3323"/>
                  </a:lnTo>
                  <a:lnTo>
                    <a:pt x="2953" y="3268"/>
                  </a:lnTo>
                  <a:lnTo>
                    <a:pt x="2939" y="3245"/>
                  </a:lnTo>
                  <a:lnTo>
                    <a:pt x="2925" y="3225"/>
                  </a:lnTo>
                  <a:lnTo>
                    <a:pt x="2911" y="3207"/>
                  </a:lnTo>
                  <a:lnTo>
                    <a:pt x="2897" y="3193"/>
                  </a:lnTo>
                  <a:lnTo>
                    <a:pt x="2883" y="3181"/>
                  </a:lnTo>
                  <a:lnTo>
                    <a:pt x="2868" y="3175"/>
                  </a:lnTo>
                  <a:lnTo>
                    <a:pt x="2868" y="3476"/>
                  </a:lnTo>
                  <a:close/>
                  <a:moveTo>
                    <a:pt x="2998" y="3365"/>
                  </a:moveTo>
                  <a:lnTo>
                    <a:pt x="2868" y="3544"/>
                  </a:lnTo>
                  <a:lnTo>
                    <a:pt x="2868" y="3753"/>
                  </a:lnTo>
                  <a:lnTo>
                    <a:pt x="3045" y="3507"/>
                  </a:lnTo>
                  <a:lnTo>
                    <a:pt x="3027" y="3445"/>
                  </a:lnTo>
                  <a:lnTo>
                    <a:pt x="2998" y="3365"/>
                  </a:lnTo>
                  <a:close/>
                  <a:moveTo>
                    <a:pt x="2716" y="3324"/>
                  </a:moveTo>
                  <a:lnTo>
                    <a:pt x="2829" y="3479"/>
                  </a:lnTo>
                  <a:lnTo>
                    <a:pt x="2829" y="3173"/>
                  </a:lnTo>
                  <a:lnTo>
                    <a:pt x="2813" y="3181"/>
                  </a:lnTo>
                  <a:lnTo>
                    <a:pt x="2798" y="3193"/>
                  </a:lnTo>
                  <a:lnTo>
                    <a:pt x="2790" y="3199"/>
                  </a:lnTo>
                  <a:lnTo>
                    <a:pt x="2783" y="3207"/>
                  </a:lnTo>
                  <a:lnTo>
                    <a:pt x="2768" y="3225"/>
                  </a:lnTo>
                  <a:lnTo>
                    <a:pt x="2742" y="3269"/>
                  </a:lnTo>
                  <a:lnTo>
                    <a:pt x="2715" y="3323"/>
                  </a:lnTo>
                  <a:lnTo>
                    <a:pt x="2716" y="3324"/>
                  </a:lnTo>
                  <a:close/>
                  <a:moveTo>
                    <a:pt x="3060" y="3557"/>
                  </a:moveTo>
                  <a:lnTo>
                    <a:pt x="2868" y="3820"/>
                  </a:lnTo>
                  <a:lnTo>
                    <a:pt x="2868" y="4028"/>
                  </a:lnTo>
                  <a:lnTo>
                    <a:pt x="3089" y="3725"/>
                  </a:lnTo>
                  <a:lnTo>
                    <a:pt x="3094" y="3718"/>
                  </a:lnTo>
                  <a:lnTo>
                    <a:pt x="3080" y="3640"/>
                  </a:lnTo>
                  <a:lnTo>
                    <a:pt x="3060" y="3557"/>
                  </a:lnTo>
                  <a:close/>
                  <a:moveTo>
                    <a:pt x="2654" y="3515"/>
                  </a:moveTo>
                  <a:lnTo>
                    <a:pt x="2829" y="3754"/>
                  </a:lnTo>
                  <a:lnTo>
                    <a:pt x="2829" y="3547"/>
                  </a:lnTo>
                  <a:lnTo>
                    <a:pt x="2698" y="3367"/>
                  </a:lnTo>
                  <a:lnTo>
                    <a:pt x="2672" y="3437"/>
                  </a:lnTo>
                  <a:lnTo>
                    <a:pt x="2650" y="3511"/>
                  </a:lnTo>
                  <a:lnTo>
                    <a:pt x="2654" y="3515"/>
                  </a:lnTo>
                  <a:close/>
                  <a:moveTo>
                    <a:pt x="3103" y="3773"/>
                  </a:moveTo>
                  <a:lnTo>
                    <a:pt x="2868" y="4095"/>
                  </a:lnTo>
                  <a:lnTo>
                    <a:pt x="2868" y="4102"/>
                  </a:lnTo>
                  <a:lnTo>
                    <a:pt x="2893" y="4098"/>
                  </a:lnTo>
                  <a:lnTo>
                    <a:pt x="2917" y="4093"/>
                  </a:lnTo>
                  <a:lnTo>
                    <a:pt x="2940" y="4085"/>
                  </a:lnTo>
                  <a:lnTo>
                    <a:pt x="2962" y="4076"/>
                  </a:lnTo>
                  <a:lnTo>
                    <a:pt x="2983" y="4065"/>
                  </a:lnTo>
                  <a:lnTo>
                    <a:pt x="3003" y="4051"/>
                  </a:lnTo>
                  <a:lnTo>
                    <a:pt x="3021" y="4037"/>
                  </a:lnTo>
                  <a:lnTo>
                    <a:pt x="3038" y="4020"/>
                  </a:lnTo>
                  <a:lnTo>
                    <a:pt x="3067" y="3982"/>
                  </a:lnTo>
                  <a:lnTo>
                    <a:pt x="3079" y="3961"/>
                  </a:lnTo>
                  <a:lnTo>
                    <a:pt x="3089" y="3939"/>
                  </a:lnTo>
                  <a:lnTo>
                    <a:pt x="3097" y="3916"/>
                  </a:lnTo>
                  <a:lnTo>
                    <a:pt x="3103" y="3893"/>
                  </a:lnTo>
                  <a:lnTo>
                    <a:pt x="3107" y="3868"/>
                  </a:lnTo>
                  <a:lnTo>
                    <a:pt x="3108" y="3843"/>
                  </a:lnTo>
                  <a:lnTo>
                    <a:pt x="3107" y="3811"/>
                  </a:lnTo>
                  <a:lnTo>
                    <a:pt x="3103" y="3773"/>
                  </a:lnTo>
                  <a:close/>
                  <a:moveTo>
                    <a:pt x="2603" y="3719"/>
                  </a:moveTo>
                  <a:lnTo>
                    <a:pt x="2829" y="4012"/>
                  </a:lnTo>
                  <a:lnTo>
                    <a:pt x="2829" y="3822"/>
                  </a:lnTo>
                  <a:lnTo>
                    <a:pt x="2638" y="3560"/>
                  </a:lnTo>
                  <a:lnTo>
                    <a:pt x="2618" y="3644"/>
                  </a:lnTo>
                  <a:lnTo>
                    <a:pt x="2603" y="3719"/>
                  </a:lnTo>
                  <a:close/>
                  <a:moveTo>
                    <a:pt x="2784" y="1296"/>
                  </a:moveTo>
                  <a:lnTo>
                    <a:pt x="2784" y="1465"/>
                  </a:lnTo>
                  <a:lnTo>
                    <a:pt x="2781" y="1474"/>
                  </a:lnTo>
                  <a:lnTo>
                    <a:pt x="2777" y="1480"/>
                  </a:lnTo>
                  <a:lnTo>
                    <a:pt x="2771" y="1484"/>
                  </a:lnTo>
                  <a:lnTo>
                    <a:pt x="2763" y="1486"/>
                  </a:lnTo>
                  <a:lnTo>
                    <a:pt x="2756" y="1484"/>
                  </a:lnTo>
                  <a:lnTo>
                    <a:pt x="2749" y="1480"/>
                  </a:lnTo>
                  <a:lnTo>
                    <a:pt x="2745" y="1474"/>
                  </a:lnTo>
                  <a:lnTo>
                    <a:pt x="2743" y="1465"/>
                  </a:lnTo>
                  <a:lnTo>
                    <a:pt x="2743" y="1296"/>
                  </a:lnTo>
                  <a:lnTo>
                    <a:pt x="2650" y="1296"/>
                  </a:lnTo>
                  <a:lnTo>
                    <a:pt x="2650" y="1465"/>
                  </a:lnTo>
                  <a:lnTo>
                    <a:pt x="2649" y="1474"/>
                  </a:lnTo>
                  <a:lnTo>
                    <a:pt x="2644" y="1480"/>
                  </a:lnTo>
                  <a:lnTo>
                    <a:pt x="2638" y="1484"/>
                  </a:lnTo>
                  <a:lnTo>
                    <a:pt x="2631" y="1486"/>
                  </a:lnTo>
                  <a:lnTo>
                    <a:pt x="2624" y="1484"/>
                  </a:lnTo>
                  <a:lnTo>
                    <a:pt x="2617" y="1480"/>
                  </a:lnTo>
                  <a:lnTo>
                    <a:pt x="2612" y="1474"/>
                  </a:lnTo>
                  <a:lnTo>
                    <a:pt x="2611" y="1465"/>
                  </a:lnTo>
                  <a:lnTo>
                    <a:pt x="2611" y="1296"/>
                  </a:lnTo>
                  <a:lnTo>
                    <a:pt x="2518" y="1296"/>
                  </a:lnTo>
                  <a:lnTo>
                    <a:pt x="2518" y="1465"/>
                  </a:lnTo>
                  <a:lnTo>
                    <a:pt x="2516" y="1474"/>
                  </a:lnTo>
                  <a:lnTo>
                    <a:pt x="2512" y="1480"/>
                  </a:lnTo>
                  <a:lnTo>
                    <a:pt x="2506" y="1484"/>
                  </a:lnTo>
                  <a:lnTo>
                    <a:pt x="2498" y="1486"/>
                  </a:lnTo>
                  <a:lnTo>
                    <a:pt x="2490" y="1484"/>
                  </a:lnTo>
                  <a:lnTo>
                    <a:pt x="2484" y="1480"/>
                  </a:lnTo>
                  <a:lnTo>
                    <a:pt x="2480" y="1474"/>
                  </a:lnTo>
                  <a:lnTo>
                    <a:pt x="2477" y="1465"/>
                  </a:lnTo>
                  <a:lnTo>
                    <a:pt x="2477" y="1296"/>
                  </a:lnTo>
                  <a:lnTo>
                    <a:pt x="2385" y="1296"/>
                  </a:lnTo>
                  <a:lnTo>
                    <a:pt x="2385" y="1465"/>
                  </a:lnTo>
                  <a:lnTo>
                    <a:pt x="2384" y="1474"/>
                  </a:lnTo>
                  <a:lnTo>
                    <a:pt x="2379" y="1480"/>
                  </a:lnTo>
                  <a:lnTo>
                    <a:pt x="2372" y="1484"/>
                  </a:lnTo>
                  <a:lnTo>
                    <a:pt x="2366" y="1486"/>
                  </a:lnTo>
                  <a:lnTo>
                    <a:pt x="2358" y="1484"/>
                  </a:lnTo>
                  <a:lnTo>
                    <a:pt x="2352" y="1480"/>
                  </a:lnTo>
                  <a:lnTo>
                    <a:pt x="2347" y="1474"/>
                  </a:lnTo>
                  <a:lnTo>
                    <a:pt x="2345" y="1465"/>
                  </a:lnTo>
                  <a:lnTo>
                    <a:pt x="2345" y="1296"/>
                  </a:lnTo>
                  <a:lnTo>
                    <a:pt x="2282" y="1296"/>
                  </a:lnTo>
                  <a:lnTo>
                    <a:pt x="2282" y="1634"/>
                  </a:lnTo>
                  <a:lnTo>
                    <a:pt x="2852" y="1634"/>
                  </a:lnTo>
                  <a:lnTo>
                    <a:pt x="2852" y="1296"/>
                  </a:lnTo>
                  <a:lnTo>
                    <a:pt x="2784" y="1296"/>
                  </a:lnTo>
                  <a:close/>
                  <a:moveTo>
                    <a:pt x="332" y="4356"/>
                  </a:moveTo>
                  <a:lnTo>
                    <a:pt x="322" y="4359"/>
                  </a:lnTo>
                  <a:lnTo>
                    <a:pt x="313" y="4356"/>
                  </a:lnTo>
                  <a:lnTo>
                    <a:pt x="0" y="4356"/>
                  </a:lnTo>
                  <a:lnTo>
                    <a:pt x="0" y="4317"/>
                  </a:lnTo>
                  <a:lnTo>
                    <a:pt x="64" y="4317"/>
                  </a:lnTo>
                  <a:lnTo>
                    <a:pt x="64" y="3833"/>
                  </a:lnTo>
                  <a:lnTo>
                    <a:pt x="0" y="3833"/>
                  </a:lnTo>
                  <a:lnTo>
                    <a:pt x="0" y="3792"/>
                  </a:lnTo>
                  <a:lnTo>
                    <a:pt x="197" y="3792"/>
                  </a:lnTo>
                  <a:lnTo>
                    <a:pt x="206" y="3795"/>
                  </a:lnTo>
                  <a:lnTo>
                    <a:pt x="213" y="3799"/>
                  </a:lnTo>
                  <a:lnTo>
                    <a:pt x="217" y="3805"/>
                  </a:lnTo>
                  <a:lnTo>
                    <a:pt x="218" y="3813"/>
                  </a:lnTo>
                  <a:lnTo>
                    <a:pt x="217" y="3820"/>
                  </a:lnTo>
                  <a:lnTo>
                    <a:pt x="213" y="3827"/>
                  </a:lnTo>
                  <a:lnTo>
                    <a:pt x="206" y="3831"/>
                  </a:lnTo>
                  <a:lnTo>
                    <a:pt x="197" y="3833"/>
                  </a:lnTo>
                  <a:lnTo>
                    <a:pt x="104" y="3833"/>
                  </a:lnTo>
                  <a:lnTo>
                    <a:pt x="104" y="4317"/>
                  </a:lnTo>
                  <a:lnTo>
                    <a:pt x="303" y="4317"/>
                  </a:lnTo>
                  <a:lnTo>
                    <a:pt x="303" y="3544"/>
                  </a:lnTo>
                  <a:lnTo>
                    <a:pt x="303" y="2772"/>
                  </a:lnTo>
                  <a:lnTo>
                    <a:pt x="304" y="2764"/>
                  </a:lnTo>
                  <a:lnTo>
                    <a:pt x="308" y="2758"/>
                  </a:lnTo>
                  <a:lnTo>
                    <a:pt x="314" y="2753"/>
                  </a:lnTo>
                  <a:lnTo>
                    <a:pt x="322" y="2751"/>
                  </a:lnTo>
                  <a:lnTo>
                    <a:pt x="440" y="2751"/>
                  </a:lnTo>
                  <a:lnTo>
                    <a:pt x="440" y="2579"/>
                  </a:lnTo>
                  <a:lnTo>
                    <a:pt x="441" y="2571"/>
                  </a:lnTo>
                  <a:lnTo>
                    <a:pt x="446" y="2565"/>
                  </a:lnTo>
                  <a:lnTo>
                    <a:pt x="453" y="2560"/>
                  </a:lnTo>
                  <a:lnTo>
                    <a:pt x="460" y="2558"/>
                  </a:lnTo>
                  <a:lnTo>
                    <a:pt x="541" y="2558"/>
                  </a:lnTo>
                  <a:lnTo>
                    <a:pt x="1007" y="2558"/>
                  </a:lnTo>
                  <a:lnTo>
                    <a:pt x="1997" y="2558"/>
                  </a:lnTo>
                  <a:lnTo>
                    <a:pt x="2004" y="2560"/>
                  </a:lnTo>
                  <a:lnTo>
                    <a:pt x="2011" y="2565"/>
                  </a:lnTo>
                  <a:lnTo>
                    <a:pt x="2014" y="2571"/>
                  </a:lnTo>
                  <a:lnTo>
                    <a:pt x="2017" y="2579"/>
                  </a:lnTo>
                  <a:lnTo>
                    <a:pt x="2017" y="2751"/>
                  </a:lnTo>
                  <a:lnTo>
                    <a:pt x="2098" y="2751"/>
                  </a:lnTo>
                  <a:lnTo>
                    <a:pt x="2098" y="2203"/>
                  </a:lnTo>
                  <a:lnTo>
                    <a:pt x="2098" y="1654"/>
                  </a:lnTo>
                  <a:lnTo>
                    <a:pt x="2099" y="1647"/>
                  </a:lnTo>
                  <a:lnTo>
                    <a:pt x="2103" y="1640"/>
                  </a:lnTo>
                  <a:lnTo>
                    <a:pt x="2109" y="1635"/>
                  </a:lnTo>
                  <a:lnTo>
                    <a:pt x="2117" y="1634"/>
                  </a:lnTo>
                  <a:lnTo>
                    <a:pt x="2243" y="1634"/>
                  </a:lnTo>
                  <a:lnTo>
                    <a:pt x="2243" y="1276"/>
                  </a:lnTo>
                  <a:lnTo>
                    <a:pt x="2244" y="1268"/>
                  </a:lnTo>
                  <a:lnTo>
                    <a:pt x="2249" y="1262"/>
                  </a:lnTo>
                  <a:lnTo>
                    <a:pt x="2254" y="1258"/>
                  </a:lnTo>
                  <a:lnTo>
                    <a:pt x="2262" y="1257"/>
                  </a:lnTo>
                  <a:lnTo>
                    <a:pt x="2872" y="1257"/>
                  </a:lnTo>
                  <a:lnTo>
                    <a:pt x="2880" y="1258"/>
                  </a:lnTo>
                  <a:lnTo>
                    <a:pt x="2886" y="1262"/>
                  </a:lnTo>
                  <a:lnTo>
                    <a:pt x="2890" y="1268"/>
                  </a:lnTo>
                  <a:lnTo>
                    <a:pt x="2893" y="1276"/>
                  </a:lnTo>
                  <a:lnTo>
                    <a:pt x="2893" y="1634"/>
                  </a:lnTo>
                  <a:lnTo>
                    <a:pt x="3017" y="1634"/>
                  </a:lnTo>
                  <a:lnTo>
                    <a:pt x="3025" y="1635"/>
                  </a:lnTo>
                  <a:lnTo>
                    <a:pt x="3031" y="1640"/>
                  </a:lnTo>
                  <a:lnTo>
                    <a:pt x="3035" y="1647"/>
                  </a:lnTo>
                  <a:lnTo>
                    <a:pt x="3038" y="1654"/>
                  </a:lnTo>
                  <a:lnTo>
                    <a:pt x="3038" y="2434"/>
                  </a:lnTo>
                  <a:lnTo>
                    <a:pt x="3038" y="3214"/>
                  </a:lnTo>
                  <a:lnTo>
                    <a:pt x="3035" y="3223"/>
                  </a:lnTo>
                  <a:lnTo>
                    <a:pt x="3031" y="3230"/>
                  </a:lnTo>
                  <a:lnTo>
                    <a:pt x="3025" y="3234"/>
                  </a:lnTo>
                  <a:lnTo>
                    <a:pt x="3017" y="3235"/>
                  </a:lnTo>
                  <a:lnTo>
                    <a:pt x="3010" y="3234"/>
                  </a:lnTo>
                  <a:lnTo>
                    <a:pt x="3003" y="3230"/>
                  </a:lnTo>
                  <a:lnTo>
                    <a:pt x="2999" y="3223"/>
                  </a:lnTo>
                  <a:lnTo>
                    <a:pt x="2998" y="3214"/>
                  </a:lnTo>
                  <a:lnTo>
                    <a:pt x="2998" y="2443"/>
                  </a:lnTo>
                  <a:lnTo>
                    <a:pt x="2998" y="1674"/>
                  </a:lnTo>
                  <a:lnTo>
                    <a:pt x="2138" y="1674"/>
                  </a:lnTo>
                  <a:lnTo>
                    <a:pt x="2138" y="2333"/>
                  </a:lnTo>
                  <a:lnTo>
                    <a:pt x="2138" y="2994"/>
                  </a:lnTo>
                  <a:lnTo>
                    <a:pt x="2138" y="3655"/>
                  </a:lnTo>
                  <a:lnTo>
                    <a:pt x="2138" y="4317"/>
                  </a:lnTo>
                  <a:lnTo>
                    <a:pt x="2829" y="4317"/>
                  </a:lnTo>
                  <a:lnTo>
                    <a:pt x="2829" y="4141"/>
                  </a:lnTo>
                  <a:lnTo>
                    <a:pt x="2799" y="4138"/>
                  </a:lnTo>
                  <a:lnTo>
                    <a:pt x="2771" y="4132"/>
                  </a:lnTo>
                  <a:lnTo>
                    <a:pt x="2744" y="4123"/>
                  </a:lnTo>
                  <a:lnTo>
                    <a:pt x="2731" y="4118"/>
                  </a:lnTo>
                  <a:lnTo>
                    <a:pt x="2718" y="4113"/>
                  </a:lnTo>
                  <a:lnTo>
                    <a:pt x="2694" y="4099"/>
                  </a:lnTo>
                  <a:lnTo>
                    <a:pt x="2671" y="4084"/>
                  </a:lnTo>
                  <a:lnTo>
                    <a:pt x="2649" y="4067"/>
                  </a:lnTo>
                  <a:lnTo>
                    <a:pt x="2630" y="4048"/>
                  </a:lnTo>
                  <a:lnTo>
                    <a:pt x="2612" y="4026"/>
                  </a:lnTo>
                  <a:lnTo>
                    <a:pt x="2595" y="4005"/>
                  </a:lnTo>
                  <a:lnTo>
                    <a:pt x="2581" y="3980"/>
                  </a:lnTo>
                  <a:lnTo>
                    <a:pt x="2570" y="3955"/>
                  </a:lnTo>
                  <a:lnTo>
                    <a:pt x="2561" y="3929"/>
                  </a:lnTo>
                  <a:lnTo>
                    <a:pt x="2554" y="3901"/>
                  </a:lnTo>
                  <a:lnTo>
                    <a:pt x="2549" y="3873"/>
                  </a:lnTo>
                  <a:lnTo>
                    <a:pt x="2548" y="3843"/>
                  </a:lnTo>
                  <a:lnTo>
                    <a:pt x="2549" y="3813"/>
                  </a:lnTo>
                  <a:lnTo>
                    <a:pt x="2554" y="3773"/>
                  </a:lnTo>
                  <a:lnTo>
                    <a:pt x="2570" y="3675"/>
                  </a:lnTo>
                  <a:lnTo>
                    <a:pt x="2581" y="3617"/>
                  </a:lnTo>
                  <a:lnTo>
                    <a:pt x="2595" y="3558"/>
                  </a:lnTo>
                  <a:lnTo>
                    <a:pt x="2630" y="3436"/>
                  </a:lnTo>
                  <a:lnTo>
                    <a:pt x="2650" y="3377"/>
                  </a:lnTo>
                  <a:lnTo>
                    <a:pt x="2674" y="3320"/>
                  </a:lnTo>
                  <a:lnTo>
                    <a:pt x="2698" y="3268"/>
                  </a:lnTo>
                  <a:lnTo>
                    <a:pt x="2725" y="3222"/>
                  </a:lnTo>
                  <a:lnTo>
                    <a:pt x="2753" y="3185"/>
                  </a:lnTo>
                  <a:lnTo>
                    <a:pt x="2783" y="3156"/>
                  </a:lnTo>
                  <a:lnTo>
                    <a:pt x="2799" y="3144"/>
                  </a:lnTo>
                  <a:lnTo>
                    <a:pt x="2815" y="3136"/>
                  </a:lnTo>
                  <a:lnTo>
                    <a:pt x="2831" y="3133"/>
                  </a:lnTo>
                  <a:lnTo>
                    <a:pt x="2848" y="3130"/>
                  </a:lnTo>
                  <a:lnTo>
                    <a:pt x="2866" y="3133"/>
                  </a:lnTo>
                  <a:lnTo>
                    <a:pt x="2883" y="3138"/>
                  </a:lnTo>
                  <a:lnTo>
                    <a:pt x="2899" y="3145"/>
                  </a:lnTo>
                  <a:lnTo>
                    <a:pt x="2915" y="3157"/>
                  </a:lnTo>
                  <a:lnTo>
                    <a:pt x="2945" y="3187"/>
                  </a:lnTo>
                  <a:lnTo>
                    <a:pt x="2953" y="3196"/>
                  </a:lnTo>
                  <a:lnTo>
                    <a:pt x="2960" y="3205"/>
                  </a:lnTo>
                  <a:lnTo>
                    <a:pt x="2974" y="3226"/>
                  </a:lnTo>
                  <a:lnTo>
                    <a:pt x="3001" y="3272"/>
                  </a:lnTo>
                  <a:lnTo>
                    <a:pt x="3024" y="3323"/>
                  </a:lnTo>
                  <a:lnTo>
                    <a:pt x="3045" y="3377"/>
                  </a:lnTo>
                  <a:lnTo>
                    <a:pt x="3065" y="3433"/>
                  </a:lnTo>
                  <a:lnTo>
                    <a:pt x="3083" y="3492"/>
                  </a:lnTo>
                  <a:lnTo>
                    <a:pt x="3099" y="3551"/>
                  </a:lnTo>
                  <a:lnTo>
                    <a:pt x="3113" y="3609"/>
                  </a:lnTo>
                  <a:lnTo>
                    <a:pt x="3125" y="3666"/>
                  </a:lnTo>
                  <a:lnTo>
                    <a:pt x="3135" y="3719"/>
                  </a:lnTo>
                  <a:lnTo>
                    <a:pt x="3142" y="3767"/>
                  </a:lnTo>
                  <a:lnTo>
                    <a:pt x="3147" y="3809"/>
                  </a:lnTo>
                  <a:lnTo>
                    <a:pt x="3148" y="3843"/>
                  </a:lnTo>
                  <a:lnTo>
                    <a:pt x="3147" y="3873"/>
                  </a:lnTo>
                  <a:lnTo>
                    <a:pt x="3143" y="3901"/>
                  </a:lnTo>
                  <a:lnTo>
                    <a:pt x="3135" y="3929"/>
                  </a:lnTo>
                  <a:lnTo>
                    <a:pt x="3126" y="3955"/>
                  </a:lnTo>
                  <a:lnTo>
                    <a:pt x="3115" y="3980"/>
                  </a:lnTo>
                  <a:lnTo>
                    <a:pt x="3101" y="4005"/>
                  </a:lnTo>
                  <a:lnTo>
                    <a:pt x="3067" y="4048"/>
                  </a:lnTo>
                  <a:lnTo>
                    <a:pt x="3025" y="4084"/>
                  </a:lnTo>
                  <a:lnTo>
                    <a:pt x="3002" y="4099"/>
                  </a:lnTo>
                  <a:lnTo>
                    <a:pt x="2977" y="4113"/>
                  </a:lnTo>
                  <a:lnTo>
                    <a:pt x="2952" y="4123"/>
                  </a:lnTo>
                  <a:lnTo>
                    <a:pt x="2925" y="4132"/>
                  </a:lnTo>
                  <a:lnTo>
                    <a:pt x="2897" y="4138"/>
                  </a:lnTo>
                  <a:lnTo>
                    <a:pt x="2868" y="4141"/>
                  </a:lnTo>
                  <a:lnTo>
                    <a:pt x="2868" y="4317"/>
                  </a:lnTo>
                  <a:lnTo>
                    <a:pt x="2998" y="4317"/>
                  </a:lnTo>
                  <a:lnTo>
                    <a:pt x="2998" y="4193"/>
                  </a:lnTo>
                  <a:lnTo>
                    <a:pt x="2999" y="4184"/>
                  </a:lnTo>
                  <a:lnTo>
                    <a:pt x="3003" y="4177"/>
                  </a:lnTo>
                  <a:lnTo>
                    <a:pt x="3010" y="4173"/>
                  </a:lnTo>
                  <a:lnTo>
                    <a:pt x="3017" y="4172"/>
                  </a:lnTo>
                  <a:lnTo>
                    <a:pt x="3025" y="4173"/>
                  </a:lnTo>
                  <a:lnTo>
                    <a:pt x="3031" y="4177"/>
                  </a:lnTo>
                  <a:lnTo>
                    <a:pt x="3035" y="4184"/>
                  </a:lnTo>
                  <a:lnTo>
                    <a:pt x="3038" y="4193"/>
                  </a:lnTo>
                  <a:lnTo>
                    <a:pt x="3038" y="4332"/>
                  </a:lnTo>
                  <a:lnTo>
                    <a:pt x="3036" y="4340"/>
                  </a:lnTo>
                  <a:lnTo>
                    <a:pt x="3031" y="4346"/>
                  </a:lnTo>
                  <a:lnTo>
                    <a:pt x="3025" y="4354"/>
                  </a:lnTo>
                  <a:lnTo>
                    <a:pt x="3013" y="4356"/>
                  </a:lnTo>
                  <a:lnTo>
                    <a:pt x="2343" y="4356"/>
                  </a:lnTo>
                  <a:lnTo>
                    <a:pt x="1672" y="4356"/>
                  </a:lnTo>
                  <a:lnTo>
                    <a:pt x="1001" y="4356"/>
                  </a:lnTo>
                  <a:lnTo>
                    <a:pt x="332" y="4356"/>
                  </a:lnTo>
                  <a:close/>
                  <a:moveTo>
                    <a:pt x="1458" y="2791"/>
                  </a:moveTo>
                  <a:lnTo>
                    <a:pt x="900" y="2791"/>
                  </a:lnTo>
                  <a:lnTo>
                    <a:pt x="342" y="2791"/>
                  </a:lnTo>
                  <a:lnTo>
                    <a:pt x="342" y="3553"/>
                  </a:lnTo>
                  <a:lnTo>
                    <a:pt x="342" y="4317"/>
                  </a:lnTo>
                  <a:lnTo>
                    <a:pt x="1218" y="4317"/>
                  </a:lnTo>
                  <a:lnTo>
                    <a:pt x="2095" y="4317"/>
                  </a:lnTo>
                  <a:lnTo>
                    <a:pt x="2095" y="3553"/>
                  </a:lnTo>
                  <a:lnTo>
                    <a:pt x="2095" y="2791"/>
                  </a:lnTo>
                  <a:lnTo>
                    <a:pt x="1723" y="2791"/>
                  </a:lnTo>
                  <a:lnTo>
                    <a:pt x="1714" y="2790"/>
                  </a:lnTo>
                  <a:lnTo>
                    <a:pt x="1708" y="2786"/>
                  </a:lnTo>
                  <a:lnTo>
                    <a:pt x="1704" y="2780"/>
                  </a:lnTo>
                  <a:lnTo>
                    <a:pt x="1703" y="2772"/>
                  </a:lnTo>
                  <a:lnTo>
                    <a:pt x="1704" y="2764"/>
                  </a:lnTo>
                  <a:lnTo>
                    <a:pt x="1708" y="2758"/>
                  </a:lnTo>
                  <a:lnTo>
                    <a:pt x="1714" y="2754"/>
                  </a:lnTo>
                  <a:lnTo>
                    <a:pt x="1723" y="2751"/>
                  </a:lnTo>
                  <a:lnTo>
                    <a:pt x="1976" y="2751"/>
                  </a:lnTo>
                  <a:lnTo>
                    <a:pt x="1976" y="2598"/>
                  </a:lnTo>
                  <a:lnTo>
                    <a:pt x="1025" y="2598"/>
                  </a:lnTo>
                  <a:lnTo>
                    <a:pt x="1018" y="2602"/>
                  </a:lnTo>
                  <a:lnTo>
                    <a:pt x="1010" y="2603"/>
                  </a:lnTo>
                  <a:lnTo>
                    <a:pt x="544" y="2603"/>
                  </a:lnTo>
                  <a:lnTo>
                    <a:pt x="536" y="2602"/>
                  </a:lnTo>
                  <a:lnTo>
                    <a:pt x="531" y="2598"/>
                  </a:lnTo>
                  <a:lnTo>
                    <a:pt x="480" y="2598"/>
                  </a:lnTo>
                  <a:lnTo>
                    <a:pt x="480" y="2751"/>
                  </a:lnTo>
                  <a:lnTo>
                    <a:pt x="1458" y="2751"/>
                  </a:lnTo>
                  <a:lnTo>
                    <a:pt x="1467" y="2754"/>
                  </a:lnTo>
                  <a:lnTo>
                    <a:pt x="1473" y="2758"/>
                  </a:lnTo>
                  <a:lnTo>
                    <a:pt x="1477" y="2764"/>
                  </a:lnTo>
                  <a:lnTo>
                    <a:pt x="1478" y="2772"/>
                  </a:lnTo>
                  <a:lnTo>
                    <a:pt x="1477" y="2780"/>
                  </a:lnTo>
                  <a:lnTo>
                    <a:pt x="1473" y="2786"/>
                  </a:lnTo>
                  <a:lnTo>
                    <a:pt x="1467" y="2790"/>
                  </a:lnTo>
                  <a:lnTo>
                    <a:pt x="1458" y="2791"/>
                  </a:lnTo>
                  <a:close/>
                  <a:moveTo>
                    <a:pt x="2829" y="4085"/>
                  </a:moveTo>
                  <a:lnTo>
                    <a:pt x="2829" y="4077"/>
                  </a:lnTo>
                  <a:lnTo>
                    <a:pt x="2594" y="3774"/>
                  </a:lnTo>
                  <a:lnTo>
                    <a:pt x="2590" y="3814"/>
                  </a:lnTo>
                  <a:lnTo>
                    <a:pt x="2588" y="3843"/>
                  </a:lnTo>
                  <a:lnTo>
                    <a:pt x="2589" y="3868"/>
                  </a:lnTo>
                  <a:lnTo>
                    <a:pt x="2593" y="3893"/>
                  </a:lnTo>
                  <a:lnTo>
                    <a:pt x="2599" y="3916"/>
                  </a:lnTo>
                  <a:lnTo>
                    <a:pt x="2607" y="3939"/>
                  </a:lnTo>
                  <a:lnTo>
                    <a:pt x="2617" y="3961"/>
                  </a:lnTo>
                  <a:lnTo>
                    <a:pt x="2629" y="3982"/>
                  </a:lnTo>
                  <a:lnTo>
                    <a:pt x="2643" y="4002"/>
                  </a:lnTo>
                  <a:lnTo>
                    <a:pt x="2658" y="4020"/>
                  </a:lnTo>
                  <a:lnTo>
                    <a:pt x="2675" y="4037"/>
                  </a:lnTo>
                  <a:lnTo>
                    <a:pt x="2693" y="4051"/>
                  </a:lnTo>
                  <a:lnTo>
                    <a:pt x="2713" y="4065"/>
                  </a:lnTo>
                  <a:lnTo>
                    <a:pt x="2734" y="4076"/>
                  </a:lnTo>
                  <a:lnTo>
                    <a:pt x="2756" y="4085"/>
                  </a:lnTo>
                  <a:lnTo>
                    <a:pt x="2779" y="4093"/>
                  </a:lnTo>
                  <a:lnTo>
                    <a:pt x="2803" y="4098"/>
                  </a:lnTo>
                  <a:lnTo>
                    <a:pt x="2829" y="4102"/>
                  </a:lnTo>
                  <a:lnTo>
                    <a:pt x="2829" y="4093"/>
                  </a:lnTo>
                  <a:lnTo>
                    <a:pt x="2829" y="4085"/>
                  </a:lnTo>
                  <a:close/>
                  <a:moveTo>
                    <a:pt x="1903" y="3824"/>
                  </a:moveTo>
                  <a:lnTo>
                    <a:pt x="1903" y="3937"/>
                  </a:lnTo>
                  <a:lnTo>
                    <a:pt x="1902" y="3946"/>
                  </a:lnTo>
                  <a:lnTo>
                    <a:pt x="1896" y="3952"/>
                  </a:lnTo>
                  <a:lnTo>
                    <a:pt x="1890" y="3956"/>
                  </a:lnTo>
                  <a:lnTo>
                    <a:pt x="1882" y="3957"/>
                  </a:lnTo>
                  <a:lnTo>
                    <a:pt x="1876" y="3956"/>
                  </a:lnTo>
                  <a:lnTo>
                    <a:pt x="1870" y="3952"/>
                  </a:lnTo>
                  <a:lnTo>
                    <a:pt x="1864" y="3946"/>
                  </a:lnTo>
                  <a:lnTo>
                    <a:pt x="1863" y="3937"/>
                  </a:lnTo>
                  <a:lnTo>
                    <a:pt x="1863" y="3824"/>
                  </a:lnTo>
                  <a:lnTo>
                    <a:pt x="1864" y="3817"/>
                  </a:lnTo>
                  <a:lnTo>
                    <a:pt x="1870" y="3810"/>
                  </a:lnTo>
                  <a:lnTo>
                    <a:pt x="1876" y="3806"/>
                  </a:lnTo>
                  <a:lnTo>
                    <a:pt x="1882" y="3805"/>
                  </a:lnTo>
                  <a:lnTo>
                    <a:pt x="1890" y="3806"/>
                  </a:lnTo>
                  <a:lnTo>
                    <a:pt x="1896" y="3810"/>
                  </a:lnTo>
                  <a:lnTo>
                    <a:pt x="1902" y="3817"/>
                  </a:lnTo>
                  <a:lnTo>
                    <a:pt x="1903" y="3824"/>
                  </a:lnTo>
                  <a:close/>
                  <a:moveTo>
                    <a:pt x="587" y="3118"/>
                  </a:moveTo>
                  <a:lnTo>
                    <a:pt x="587" y="3231"/>
                  </a:lnTo>
                  <a:lnTo>
                    <a:pt x="586" y="3240"/>
                  </a:lnTo>
                  <a:lnTo>
                    <a:pt x="581" y="3246"/>
                  </a:lnTo>
                  <a:lnTo>
                    <a:pt x="574" y="3250"/>
                  </a:lnTo>
                  <a:lnTo>
                    <a:pt x="567" y="3251"/>
                  </a:lnTo>
                  <a:lnTo>
                    <a:pt x="560" y="3250"/>
                  </a:lnTo>
                  <a:lnTo>
                    <a:pt x="554" y="3246"/>
                  </a:lnTo>
                  <a:lnTo>
                    <a:pt x="549" y="3240"/>
                  </a:lnTo>
                  <a:lnTo>
                    <a:pt x="548" y="3231"/>
                  </a:lnTo>
                  <a:lnTo>
                    <a:pt x="548" y="3118"/>
                  </a:lnTo>
                  <a:lnTo>
                    <a:pt x="549" y="3111"/>
                  </a:lnTo>
                  <a:lnTo>
                    <a:pt x="554" y="3104"/>
                  </a:lnTo>
                  <a:lnTo>
                    <a:pt x="560" y="3101"/>
                  </a:lnTo>
                  <a:lnTo>
                    <a:pt x="567" y="3099"/>
                  </a:lnTo>
                  <a:lnTo>
                    <a:pt x="574" y="3101"/>
                  </a:lnTo>
                  <a:lnTo>
                    <a:pt x="581" y="3104"/>
                  </a:lnTo>
                  <a:lnTo>
                    <a:pt x="586" y="3111"/>
                  </a:lnTo>
                  <a:lnTo>
                    <a:pt x="587" y="3118"/>
                  </a:lnTo>
                  <a:close/>
                  <a:moveTo>
                    <a:pt x="850" y="3118"/>
                  </a:moveTo>
                  <a:lnTo>
                    <a:pt x="850" y="3231"/>
                  </a:lnTo>
                  <a:lnTo>
                    <a:pt x="849" y="3240"/>
                  </a:lnTo>
                  <a:lnTo>
                    <a:pt x="844" y="3246"/>
                  </a:lnTo>
                  <a:lnTo>
                    <a:pt x="837" y="3250"/>
                  </a:lnTo>
                  <a:lnTo>
                    <a:pt x="831" y="3251"/>
                  </a:lnTo>
                  <a:lnTo>
                    <a:pt x="823" y="3250"/>
                  </a:lnTo>
                  <a:lnTo>
                    <a:pt x="817" y="3246"/>
                  </a:lnTo>
                  <a:lnTo>
                    <a:pt x="812" y="3240"/>
                  </a:lnTo>
                  <a:lnTo>
                    <a:pt x="810" y="3231"/>
                  </a:lnTo>
                  <a:lnTo>
                    <a:pt x="810" y="3118"/>
                  </a:lnTo>
                  <a:lnTo>
                    <a:pt x="812" y="3111"/>
                  </a:lnTo>
                  <a:lnTo>
                    <a:pt x="817" y="3104"/>
                  </a:lnTo>
                  <a:lnTo>
                    <a:pt x="823" y="3101"/>
                  </a:lnTo>
                  <a:lnTo>
                    <a:pt x="831" y="3099"/>
                  </a:lnTo>
                  <a:lnTo>
                    <a:pt x="837" y="3101"/>
                  </a:lnTo>
                  <a:lnTo>
                    <a:pt x="844" y="3104"/>
                  </a:lnTo>
                  <a:lnTo>
                    <a:pt x="849" y="3111"/>
                  </a:lnTo>
                  <a:lnTo>
                    <a:pt x="850" y="3118"/>
                  </a:lnTo>
                  <a:close/>
                  <a:moveTo>
                    <a:pt x="1113" y="3118"/>
                  </a:moveTo>
                  <a:lnTo>
                    <a:pt x="1113" y="3231"/>
                  </a:lnTo>
                  <a:lnTo>
                    <a:pt x="1112" y="3240"/>
                  </a:lnTo>
                  <a:lnTo>
                    <a:pt x="1107" y="3246"/>
                  </a:lnTo>
                  <a:lnTo>
                    <a:pt x="1100" y="3250"/>
                  </a:lnTo>
                  <a:lnTo>
                    <a:pt x="1094" y="3251"/>
                  </a:lnTo>
                  <a:lnTo>
                    <a:pt x="1086" y="3250"/>
                  </a:lnTo>
                  <a:lnTo>
                    <a:pt x="1080" y="3246"/>
                  </a:lnTo>
                  <a:lnTo>
                    <a:pt x="1076" y="3240"/>
                  </a:lnTo>
                  <a:lnTo>
                    <a:pt x="1073" y="3231"/>
                  </a:lnTo>
                  <a:lnTo>
                    <a:pt x="1073" y="3118"/>
                  </a:lnTo>
                  <a:lnTo>
                    <a:pt x="1076" y="3111"/>
                  </a:lnTo>
                  <a:lnTo>
                    <a:pt x="1080" y="3104"/>
                  </a:lnTo>
                  <a:lnTo>
                    <a:pt x="1086" y="3101"/>
                  </a:lnTo>
                  <a:lnTo>
                    <a:pt x="1094" y="3099"/>
                  </a:lnTo>
                  <a:lnTo>
                    <a:pt x="1100" y="3101"/>
                  </a:lnTo>
                  <a:lnTo>
                    <a:pt x="1107" y="3104"/>
                  </a:lnTo>
                  <a:lnTo>
                    <a:pt x="1112" y="3111"/>
                  </a:lnTo>
                  <a:lnTo>
                    <a:pt x="1113" y="3118"/>
                  </a:lnTo>
                  <a:close/>
                  <a:moveTo>
                    <a:pt x="1377" y="3118"/>
                  </a:moveTo>
                  <a:lnTo>
                    <a:pt x="1377" y="3231"/>
                  </a:lnTo>
                  <a:lnTo>
                    <a:pt x="1375" y="3240"/>
                  </a:lnTo>
                  <a:lnTo>
                    <a:pt x="1371" y="3246"/>
                  </a:lnTo>
                  <a:lnTo>
                    <a:pt x="1364" y="3250"/>
                  </a:lnTo>
                  <a:lnTo>
                    <a:pt x="1357" y="3251"/>
                  </a:lnTo>
                  <a:lnTo>
                    <a:pt x="1349" y="3250"/>
                  </a:lnTo>
                  <a:lnTo>
                    <a:pt x="1343" y="3246"/>
                  </a:lnTo>
                  <a:lnTo>
                    <a:pt x="1339" y="3240"/>
                  </a:lnTo>
                  <a:lnTo>
                    <a:pt x="1336" y="3231"/>
                  </a:lnTo>
                  <a:lnTo>
                    <a:pt x="1336" y="3118"/>
                  </a:lnTo>
                  <a:lnTo>
                    <a:pt x="1339" y="3111"/>
                  </a:lnTo>
                  <a:lnTo>
                    <a:pt x="1343" y="3104"/>
                  </a:lnTo>
                  <a:lnTo>
                    <a:pt x="1349" y="3101"/>
                  </a:lnTo>
                  <a:lnTo>
                    <a:pt x="1357" y="3099"/>
                  </a:lnTo>
                  <a:lnTo>
                    <a:pt x="1364" y="3101"/>
                  </a:lnTo>
                  <a:lnTo>
                    <a:pt x="1371" y="3104"/>
                  </a:lnTo>
                  <a:lnTo>
                    <a:pt x="1375" y="3111"/>
                  </a:lnTo>
                  <a:lnTo>
                    <a:pt x="1377" y="3118"/>
                  </a:lnTo>
                  <a:close/>
                  <a:moveTo>
                    <a:pt x="1640" y="3118"/>
                  </a:moveTo>
                  <a:lnTo>
                    <a:pt x="1640" y="3231"/>
                  </a:lnTo>
                  <a:lnTo>
                    <a:pt x="1637" y="3240"/>
                  </a:lnTo>
                  <a:lnTo>
                    <a:pt x="1634" y="3246"/>
                  </a:lnTo>
                  <a:lnTo>
                    <a:pt x="1627" y="3250"/>
                  </a:lnTo>
                  <a:lnTo>
                    <a:pt x="1620" y="3251"/>
                  </a:lnTo>
                  <a:lnTo>
                    <a:pt x="1612" y="3250"/>
                  </a:lnTo>
                  <a:lnTo>
                    <a:pt x="1605" y="3246"/>
                  </a:lnTo>
                  <a:lnTo>
                    <a:pt x="1602" y="3240"/>
                  </a:lnTo>
                  <a:lnTo>
                    <a:pt x="1600" y="3231"/>
                  </a:lnTo>
                  <a:lnTo>
                    <a:pt x="1600" y="3118"/>
                  </a:lnTo>
                  <a:lnTo>
                    <a:pt x="1602" y="3111"/>
                  </a:lnTo>
                  <a:lnTo>
                    <a:pt x="1605" y="3104"/>
                  </a:lnTo>
                  <a:lnTo>
                    <a:pt x="1612" y="3101"/>
                  </a:lnTo>
                  <a:lnTo>
                    <a:pt x="1620" y="3099"/>
                  </a:lnTo>
                  <a:lnTo>
                    <a:pt x="1627" y="3101"/>
                  </a:lnTo>
                  <a:lnTo>
                    <a:pt x="1634" y="3104"/>
                  </a:lnTo>
                  <a:lnTo>
                    <a:pt x="1637" y="3111"/>
                  </a:lnTo>
                  <a:lnTo>
                    <a:pt x="1640" y="3118"/>
                  </a:lnTo>
                  <a:close/>
                  <a:moveTo>
                    <a:pt x="1903" y="3118"/>
                  </a:moveTo>
                  <a:lnTo>
                    <a:pt x="1903" y="3231"/>
                  </a:lnTo>
                  <a:lnTo>
                    <a:pt x="1902" y="3240"/>
                  </a:lnTo>
                  <a:lnTo>
                    <a:pt x="1896" y="3246"/>
                  </a:lnTo>
                  <a:lnTo>
                    <a:pt x="1890" y="3250"/>
                  </a:lnTo>
                  <a:lnTo>
                    <a:pt x="1882" y="3251"/>
                  </a:lnTo>
                  <a:lnTo>
                    <a:pt x="1876" y="3250"/>
                  </a:lnTo>
                  <a:lnTo>
                    <a:pt x="1870" y="3246"/>
                  </a:lnTo>
                  <a:lnTo>
                    <a:pt x="1864" y="3240"/>
                  </a:lnTo>
                  <a:lnTo>
                    <a:pt x="1863" y="3231"/>
                  </a:lnTo>
                  <a:lnTo>
                    <a:pt x="1863" y="3118"/>
                  </a:lnTo>
                  <a:lnTo>
                    <a:pt x="1864" y="3111"/>
                  </a:lnTo>
                  <a:lnTo>
                    <a:pt x="1870" y="3104"/>
                  </a:lnTo>
                  <a:lnTo>
                    <a:pt x="1876" y="3101"/>
                  </a:lnTo>
                  <a:lnTo>
                    <a:pt x="1882" y="3099"/>
                  </a:lnTo>
                  <a:lnTo>
                    <a:pt x="1890" y="3101"/>
                  </a:lnTo>
                  <a:lnTo>
                    <a:pt x="1896" y="3104"/>
                  </a:lnTo>
                  <a:lnTo>
                    <a:pt x="1902" y="3111"/>
                  </a:lnTo>
                  <a:lnTo>
                    <a:pt x="1903" y="3118"/>
                  </a:lnTo>
                  <a:close/>
                  <a:moveTo>
                    <a:pt x="587" y="3354"/>
                  </a:moveTo>
                  <a:lnTo>
                    <a:pt x="587" y="3466"/>
                  </a:lnTo>
                  <a:lnTo>
                    <a:pt x="586" y="3475"/>
                  </a:lnTo>
                  <a:lnTo>
                    <a:pt x="581" y="3482"/>
                  </a:lnTo>
                  <a:lnTo>
                    <a:pt x="574" y="3485"/>
                  </a:lnTo>
                  <a:lnTo>
                    <a:pt x="567" y="3487"/>
                  </a:lnTo>
                  <a:lnTo>
                    <a:pt x="560" y="3485"/>
                  </a:lnTo>
                  <a:lnTo>
                    <a:pt x="554" y="3482"/>
                  </a:lnTo>
                  <a:lnTo>
                    <a:pt x="549" y="3475"/>
                  </a:lnTo>
                  <a:lnTo>
                    <a:pt x="548" y="3466"/>
                  </a:lnTo>
                  <a:lnTo>
                    <a:pt x="548" y="3354"/>
                  </a:lnTo>
                  <a:lnTo>
                    <a:pt x="549" y="3346"/>
                  </a:lnTo>
                  <a:lnTo>
                    <a:pt x="554" y="3340"/>
                  </a:lnTo>
                  <a:lnTo>
                    <a:pt x="560" y="3336"/>
                  </a:lnTo>
                  <a:lnTo>
                    <a:pt x="567" y="3335"/>
                  </a:lnTo>
                  <a:lnTo>
                    <a:pt x="574" y="3336"/>
                  </a:lnTo>
                  <a:lnTo>
                    <a:pt x="581" y="3340"/>
                  </a:lnTo>
                  <a:lnTo>
                    <a:pt x="586" y="3346"/>
                  </a:lnTo>
                  <a:lnTo>
                    <a:pt x="587" y="3354"/>
                  </a:lnTo>
                  <a:close/>
                  <a:moveTo>
                    <a:pt x="850" y="3354"/>
                  </a:moveTo>
                  <a:lnTo>
                    <a:pt x="850" y="3466"/>
                  </a:lnTo>
                  <a:lnTo>
                    <a:pt x="849" y="3475"/>
                  </a:lnTo>
                  <a:lnTo>
                    <a:pt x="844" y="3482"/>
                  </a:lnTo>
                  <a:lnTo>
                    <a:pt x="837" y="3485"/>
                  </a:lnTo>
                  <a:lnTo>
                    <a:pt x="831" y="3487"/>
                  </a:lnTo>
                  <a:lnTo>
                    <a:pt x="823" y="3485"/>
                  </a:lnTo>
                  <a:lnTo>
                    <a:pt x="817" y="3482"/>
                  </a:lnTo>
                  <a:lnTo>
                    <a:pt x="812" y="3475"/>
                  </a:lnTo>
                  <a:lnTo>
                    <a:pt x="810" y="3466"/>
                  </a:lnTo>
                  <a:lnTo>
                    <a:pt x="810" y="3354"/>
                  </a:lnTo>
                  <a:lnTo>
                    <a:pt x="812" y="3346"/>
                  </a:lnTo>
                  <a:lnTo>
                    <a:pt x="817" y="3340"/>
                  </a:lnTo>
                  <a:lnTo>
                    <a:pt x="823" y="3336"/>
                  </a:lnTo>
                  <a:lnTo>
                    <a:pt x="831" y="3335"/>
                  </a:lnTo>
                  <a:lnTo>
                    <a:pt x="837" y="3336"/>
                  </a:lnTo>
                  <a:lnTo>
                    <a:pt x="844" y="3340"/>
                  </a:lnTo>
                  <a:lnTo>
                    <a:pt x="849" y="3346"/>
                  </a:lnTo>
                  <a:lnTo>
                    <a:pt x="850" y="3354"/>
                  </a:lnTo>
                  <a:close/>
                  <a:moveTo>
                    <a:pt x="1113" y="3354"/>
                  </a:moveTo>
                  <a:lnTo>
                    <a:pt x="1113" y="3466"/>
                  </a:lnTo>
                  <a:lnTo>
                    <a:pt x="1112" y="3475"/>
                  </a:lnTo>
                  <a:lnTo>
                    <a:pt x="1107" y="3482"/>
                  </a:lnTo>
                  <a:lnTo>
                    <a:pt x="1100" y="3485"/>
                  </a:lnTo>
                  <a:lnTo>
                    <a:pt x="1094" y="3487"/>
                  </a:lnTo>
                  <a:lnTo>
                    <a:pt x="1086" y="3485"/>
                  </a:lnTo>
                  <a:lnTo>
                    <a:pt x="1080" y="3482"/>
                  </a:lnTo>
                  <a:lnTo>
                    <a:pt x="1076" y="3475"/>
                  </a:lnTo>
                  <a:lnTo>
                    <a:pt x="1073" y="3466"/>
                  </a:lnTo>
                  <a:lnTo>
                    <a:pt x="1073" y="3354"/>
                  </a:lnTo>
                  <a:lnTo>
                    <a:pt x="1076" y="3346"/>
                  </a:lnTo>
                  <a:lnTo>
                    <a:pt x="1080" y="3340"/>
                  </a:lnTo>
                  <a:lnTo>
                    <a:pt x="1086" y="3336"/>
                  </a:lnTo>
                  <a:lnTo>
                    <a:pt x="1094" y="3335"/>
                  </a:lnTo>
                  <a:lnTo>
                    <a:pt x="1100" y="3336"/>
                  </a:lnTo>
                  <a:lnTo>
                    <a:pt x="1107" y="3340"/>
                  </a:lnTo>
                  <a:lnTo>
                    <a:pt x="1112" y="3346"/>
                  </a:lnTo>
                  <a:lnTo>
                    <a:pt x="1113" y="3354"/>
                  </a:lnTo>
                  <a:close/>
                  <a:moveTo>
                    <a:pt x="1377" y="3354"/>
                  </a:moveTo>
                  <a:lnTo>
                    <a:pt x="1377" y="3466"/>
                  </a:lnTo>
                  <a:lnTo>
                    <a:pt x="1375" y="3475"/>
                  </a:lnTo>
                  <a:lnTo>
                    <a:pt x="1371" y="3482"/>
                  </a:lnTo>
                  <a:lnTo>
                    <a:pt x="1364" y="3485"/>
                  </a:lnTo>
                  <a:lnTo>
                    <a:pt x="1357" y="3487"/>
                  </a:lnTo>
                  <a:lnTo>
                    <a:pt x="1349" y="3485"/>
                  </a:lnTo>
                  <a:lnTo>
                    <a:pt x="1343" y="3482"/>
                  </a:lnTo>
                  <a:lnTo>
                    <a:pt x="1339" y="3475"/>
                  </a:lnTo>
                  <a:lnTo>
                    <a:pt x="1336" y="3466"/>
                  </a:lnTo>
                  <a:lnTo>
                    <a:pt x="1336" y="3354"/>
                  </a:lnTo>
                  <a:lnTo>
                    <a:pt x="1339" y="3346"/>
                  </a:lnTo>
                  <a:lnTo>
                    <a:pt x="1343" y="3340"/>
                  </a:lnTo>
                  <a:lnTo>
                    <a:pt x="1349" y="3336"/>
                  </a:lnTo>
                  <a:lnTo>
                    <a:pt x="1357" y="3335"/>
                  </a:lnTo>
                  <a:lnTo>
                    <a:pt x="1364" y="3336"/>
                  </a:lnTo>
                  <a:lnTo>
                    <a:pt x="1371" y="3340"/>
                  </a:lnTo>
                  <a:lnTo>
                    <a:pt x="1375" y="3346"/>
                  </a:lnTo>
                  <a:lnTo>
                    <a:pt x="1377" y="3354"/>
                  </a:lnTo>
                  <a:close/>
                  <a:moveTo>
                    <a:pt x="1640" y="3354"/>
                  </a:moveTo>
                  <a:lnTo>
                    <a:pt x="1640" y="3466"/>
                  </a:lnTo>
                  <a:lnTo>
                    <a:pt x="1637" y="3475"/>
                  </a:lnTo>
                  <a:lnTo>
                    <a:pt x="1634" y="3482"/>
                  </a:lnTo>
                  <a:lnTo>
                    <a:pt x="1627" y="3485"/>
                  </a:lnTo>
                  <a:lnTo>
                    <a:pt x="1620" y="3487"/>
                  </a:lnTo>
                  <a:lnTo>
                    <a:pt x="1612" y="3485"/>
                  </a:lnTo>
                  <a:lnTo>
                    <a:pt x="1605" y="3482"/>
                  </a:lnTo>
                  <a:lnTo>
                    <a:pt x="1602" y="3475"/>
                  </a:lnTo>
                  <a:lnTo>
                    <a:pt x="1600" y="3466"/>
                  </a:lnTo>
                  <a:lnTo>
                    <a:pt x="1600" y="3354"/>
                  </a:lnTo>
                  <a:lnTo>
                    <a:pt x="1602" y="3346"/>
                  </a:lnTo>
                  <a:lnTo>
                    <a:pt x="1605" y="3340"/>
                  </a:lnTo>
                  <a:lnTo>
                    <a:pt x="1612" y="3336"/>
                  </a:lnTo>
                  <a:lnTo>
                    <a:pt x="1620" y="3335"/>
                  </a:lnTo>
                  <a:lnTo>
                    <a:pt x="1627" y="3336"/>
                  </a:lnTo>
                  <a:lnTo>
                    <a:pt x="1634" y="3340"/>
                  </a:lnTo>
                  <a:lnTo>
                    <a:pt x="1637" y="3346"/>
                  </a:lnTo>
                  <a:lnTo>
                    <a:pt x="1640" y="3354"/>
                  </a:lnTo>
                  <a:close/>
                  <a:moveTo>
                    <a:pt x="1903" y="3354"/>
                  </a:moveTo>
                  <a:lnTo>
                    <a:pt x="1903" y="3466"/>
                  </a:lnTo>
                  <a:lnTo>
                    <a:pt x="1902" y="3475"/>
                  </a:lnTo>
                  <a:lnTo>
                    <a:pt x="1896" y="3482"/>
                  </a:lnTo>
                  <a:lnTo>
                    <a:pt x="1890" y="3485"/>
                  </a:lnTo>
                  <a:lnTo>
                    <a:pt x="1882" y="3487"/>
                  </a:lnTo>
                  <a:lnTo>
                    <a:pt x="1876" y="3485"/>
                  </a:lnTo>
                  <a:lnTo>
                    <a:pt x="1870" y="3482"/>
                  </a:lnTo>
                  <a:lnTo>
                    <a:pt x="1864" y="3475"/>
                  </a:lnTo>
                  <a:lnTo>
                    <a:pt x="1863" y="3466"/>
                  </a:lnTo>
                  <a:lnTo>
                    <a:pt x="1863" y="3354"/>
                  </a:lnTo>
                  <a:lnTo>
                    <a:pt x="1864" y="3346"/>
                  </a:lnTo>
                  <a:lnTo>
                    <a:pt x="1870" y="3340"/>
                  </a:lnTo>
                  <a:lnTo>
                    <a:pt x="1876" y="3336"/>
                  </a:lnTo>
                  <a:lnTo>
                    <a:pt x="1882" y="3335"/>
                  </a:lnTo>
                  <a:lnTo>
                    <a:pt x="1890" y="3336"/>
                  </a:lnTo>
                  <a:lnTo>
                    <a:pt x="1896" y="3340"/>
                  </a:lnTo>
                  <a:lnTo>
                    <a:pt x="1902" y="3346"/>
                  </a:lnTo>
                  <a:lnTo>
                    <a:pt x="1903" y="3354"/>
                  </a:lnTo>
                  <a:close/>
                  <a:moveTo>
                    <a:pt x="587" y="3589"/>
                  </a:moveTo>
                  <a:lnTo>
                    <a:pt x="587" y="3702"/>
                  </a:lnTo>
                  <a:lnTo>
                    <a:pt x="586" y="3710"/>
                  </a:lnTo>
                  <a:lnTo>
                    <a:pt x="581" y="3717"/>
                  </a:lnTo>
                  <a:lnTo>
                    <a:pt x="574" y="3721"/>
                  </a:lnTo>
                  <a:lnTo>
                    <a:pt x="567" y="3722"/>
                  </a:lnTo>
                  <a:lnTo>
                    <a:pt x="560" y="3721"/>
                  </a:lnTo>
                  <a:lnTo>
                    <a:pt x="554" y="3717"/>
                  </a:lnTo>
                  <a:lnTo>
                    <a:pt x="549" y="3710"/>
                  </a:lnTo>
                  <a:lnTo>
                    <a:pt x="548" y="3702"/>
                  </a:lnTo>
                  <a:lnTo>
                    <a:pt x="548" y="3589"/>
                  </a:lnTo>
                  <a:lnTo>
                    <a:pt x="549" y="3581"/>
                  </a:lnTo>
                  <a:lnTo>
                    <a:pt x="554" y="3575"/>
                  </a:lnTo>
                  <a:lnTo>
                    <a:pt x="560" y="3571"/>
                  </a:lnTo>
                  <a:lnTo>
                    <a:pt x="567" y="3570"/>
                  </a:lnTo>
                  <a:lnTo>
                    <a:pt x="574" y="3571"/>
                  </a:lnTo>
                  <a:lnTo>
                    <a:pt x="581" y="3575"/>
                  </a:lnTo>
                  <a:lnTo>
                    <a:pt x="586" y="3581"/>
                  </a:lnTo>
                  <a:lnTo>
                    <a:pt x="587" y="3589"/>
                  </a:lnTo>
                  <a:close/>
                  <a:moveTo>
                    <a:pt x="850" y="3589"/>
                  </a:moveTo>
                  <a:lnTo>
                    <a:pt x="850" y="3702"/>
                  </a:lnTo>
                  <a:lnTo>
                    <a:pt x="849" y="3710"/>
                  </a:lnTo>
                  <a:lnTo>
                    <a:pt x="844" y="3717"/>
                  </a:lnTo>
                  <a:lnTo>
                    <a:pt x="837" y="3721"/>
                  </a:lnTo>
                  <a:lnTo>
                    <a:pt x="831" y="3722"/>
                  </a:lnTo>
                  <a:lnTo>
                    <a:pt x="823" y="3721"/>
                  </a:lnTo>
                  <a:lnTo>
                    <a:pt x="817" y="3717"/>
                  </a:lnTo>
                  <a:lnTo>
                    <a:pt x="812" y="3710"/>
                  </a:lnTo>
                  <a:lnTo>
                    <a:pt x="810" y="3702"/>
                  </a:lnTo>
                  <a:lnTo>
                    <a:pt x="810" y="3589"/>
                  </a:lnTo>
                  <a:lnTo>
                    <a:pt x="812" y="3581"/>
                  </a:lnTo>
                  <a:lnTo>
                    <a:pt x="817" y="3575"/>
                  </a:lnTo>
                  <a:lnTo>
                    <a:pt x="823" y="3571"/>
                  </a:lnTo>
                  <a:lnTo>
                    <a:pt x="831" y="3570"/>
                  </a:lnTo>
                  <a:lnTo>
                    <a:pt x="837" y="3571"/>
                  </a:lnTo>
                  <a:lnTo>
                    <a:pt x="844" y="3575"/>
                  </a:lnTo>
                  <a:lnTo>
                    <a:pt x="849" y="3581"/>
                  </a:lnTo>
                  <a:lnTo>
                    <a:pt x="850" y="3589"/>
                  </a:lnTo>
                  <a:close/>
                  <a:moveTo>
                    <a:pt x="1113" y="3589"/>
                  </a:moveTo>
                  <a:lnTo>
                    <a:pt x="1113" y="3702"/>
                  </a:lnTo>
                  <a:lnTo>
                    <a:pt x="1112" y="3710"/>
                  </a:lnTo>
                  <a:lnTo>
                    <a:pt x="1107" y="3717"/>
                  </a:lnTo>
                  <a:lnTo>
                    <a:pt x="1100" y="3721"/>
                  </a:lnTo>
                  <a:lnTo>
                    <a:pt x="1094" y="3722"/>
                  </a:lnTo>
                  <a:lnTo>
                    <a:pt x="1086" y="3721"/>
                  </a:lnTo>
                  <a:lnTo>
                    <a:pt x="1080" y="3717"/>
                  </a:lnTo>
                  <a:lnTo>
                    <a:pt x="1076" y="3710"/>
                  </a:lnTo>
                  <a:lnTo>
                    <a:pt x="1073" y="3702"/>
                  </a:lnTo>
                  <a:lnTo>
                    <a:pt x="1073" y="3589"/>
                  </a:lnTo>
                  <a:lnTo>
                    <a:pt x="1076" y="3581"/>
                  </a:lnTo>
                  <a:lnTo>
                    <a:pt x="1080" y="3575"/>
                  </a:lnTo>
                  <a:lnTo>
                    <a:pt x="1086" y="3571"/>
                  </a:lnTo>
                  <a:lnTo>
                    <a:pt x="1094" y="3570"/>
                  </a:lnTo>
                  <a:lnTo>
                    <a:pt x="1100" y="3571"/>
                  </a:lnTo>
                  <a:lnTo>
                    <a:pt x="1107" y="3575"/>
                  </a:lnTo>
                  <a:lnTo>
                    <a:pt x="1112" y="3581"/>
                  </a:lnTo>
                  <a:lnTo>
                    <a:pt x="1113" y="3589"/>
                  </a:lnTo>
                  <a:close/>
                  <a:moveTo>
                    <a:pt x="1377" y="3589"/>
                  </a:moveTo>
                  <a:lnTo>
                    <a:pt x="1377" y="3702"/>
                  </a:lnTo>
                  <a:lnTo>
                    <a:pt x="1375" y="3710"/>
                  </a:lnTo>
                  <a:lnTo>
                    <a:pt x="1371" y="3717"/>
                  </a:lnTo>
                  <a:lnTo>
                    <a:pt x="1364" y="3721"/>
                  </a:lnTo>
                  <a:lnTo>
                    <a:pt x="1357" y="3722"/>
                  </a:lnTo>
                  <a:lnTo>
                    <a:pt x="1349" y="3721"/>
                  </a:lnTo>
                  <a:lnTo>
                    <a:pt x="1343" y="3717"/>
                  </a:lnTo>
                  <a:lnTo>
                    <a:pt x="1339" y="3710"/>
                  </a:lnTo>
                  <a:lnTo>
                    <a:pt x="1336" y="3702"/>
                  </a:lnTo>
                  <a:lnTo>
                    <a:pt x="1336" y="3589"/>
                  </a:lnTo>
                  <a:lnTo>
                    <a:pt x="1339" y="3581"/>
                  </a:lnTo>
                  <a:lnTo>
                    <a:pt x="1343" y="3575"/>
                  </a:lnTo>
                  <a:lnTo>
                    <a:pt x="1349" y="3571"/>
                  </a:lnTo>
                  <a:lnTo>
                    <a:pt x="1357" y="3570"/>
                  </a:lnTo>
                  <a:lnTo>
                    <a:pt x="1364" y="3571"/>
                  </a:lnTo>
                  <a:lnTo>
                    <a:pt x="1371" y="3575"/>
                  </a:lnTo>
                  <a:lnTo>
                    <a:pt x="1375" y="3581"/>
                  </a:lnTo>
                  <a:lnTo>
                    <a:pt x="1377" y="3589"/>
                  </a:lnTo>
                  <a:close/>
                  <a:moveTo>
                    <a:pt x="1640" y="3589"/>
                  </a:moveTo>
                  <a:lnTo>
                    <a:pt x="1640" y="3702"/>
                  </a:lnTo>
                  <a:lnTo>
                    <a:pt x="1637" y="3710"/>
                  </a:lnTo>
                  <a:lnTo>
                    <a:pt x="1634" y="3717"/>
                  </a:lnTo>
                  <a:lnTo>
                    <a:pt x="1627" y="3721"/>
                  </a:lnTo>
                  <a:lnTo>
                    <a:pt x="1620" y="3722"/>
                  </a:lnTo>
                  <a:lnTo>
                    <a:pt x="1612" y="3721"/>
                  </a:lnTo>
                  <a:lnTo>
                    <a:pt x="1605" y="3717"/>
                  </a:lnTo>
                  <a:lnTo>
                    <a:pt x="1602" y="3710"/>
                  </a:lnTo>
                  <a:lnTo>
                    <a:pt x="1600" y="3702"/>
                  </a:lnTo>
                  <a:lnTo>
                    <a:pt x="1600" y="3589"/>
                  </a:lnTo>
                  <a:lnTo>
                    <a:pt x="1602" y="3581"/>
                  </a:lnTo>
                  <a:lnTo>
                    <a:pt x="1605" y="3575"/>
                  </a:lnTo>
                  <a:lnTo>
                    <a:pt x="1612" y="3571"/>
                  </a:lnTo>
                  <a:lnTo>
                    <a:pt x="1620" y="3570"/>
                  </a:lnTo>
                  <a:lnTo>
                    <a:pt x="1627" y="3571"/>
                  </a:lnTo>
                  <a:lnTo>
                    <a:pt x="1634" y="3575"/>
                  </a:lnTo>
                  <a:lnTo>
                    <a:pt x="1637" y="3581"/>
                  </a:lnTo>
                  <a:lnTo>
                    <a:pt x="1640" y="3589"/>
                  </a:lnTo>
                  <a:close/>
                  <a:moveTo>
                    <a:pt x="1903" y="3589"/>
                  </a:moveTo>
                  <a:lnTo>
                    <a:pt x="1903" y="3702"/>
                  </a:lnTo>
                  <a:lnTo>
                    <a:pt x="1902" y="3710"/>
                  </a:lnTo>
                  <a:lnTo>
                    <a:pt x="1896" y="3717"/>
                  </a:lnTo>
                  <a:lnTo>
                    <a:pt x="1890" y="3721"/>
                  </a:lnTo>
                  <a:lnTo>
                    <a:pt x="1882" y="3722"/>
                  </a:lnTo>
                  <a:lnTo>
                    <a:pt x="1876" y="3721"/>
                  </a:lnTo>
                  <a:lnTo>
                    <a:pt x="1870" y="3717"/>
                  </a:lnTo>
                  <a:lnTo>
                    <a:pt x="1864" y="3710"/>
                  </a:lnTo>
                  <a:lnTo>
                    <a:pt x="1863" y="3702"/>
                  </a:lnTo>
                  <a:lnTo>
                    <a:pt x="1863" y="3589"/>
                  </a:lnTo>
                  <a:lnTo>
                    <a:pt x="1864" y="3581"/>
                  </a:lnTo>
                  <a:lnTo>
                    <a:pt x="1870" y="3575"/>
                  </a:lnTo>
                  <a:lnTo>
                    <a:pt x="1876" y="3571"/>
                  </a:lnTo>
                  <a:lnTo>
                    <a:pt x="1882" y="3570"/>
                  </a:lnTo>
                  <a:lnTo>
                    <a:pt x="1890" y="3571"/>
                  </a:lnTo>
                  <a:lnTo>
                    <a:pt x="1896" y="3575"/>
                  </a:lnTo>
                  <a:lnTo>
                    <a:pt x="1902" y="3581"/>
                  </a:lnTo>
                  <a:lnTo>
                    <a:pt x="1903" y="3589"/>
                  </a:lnTo>
                  <a:close/>
                  <a:moveTo>
                    <a:pt x="587" y="3824"/>
                  </a:moveTo>
                  <a:lnTo>
                    <a:pt x="587" y="3937"/>
                  </a:lnTo>
                  <a:lnTo>
                    <a:pt x="586" y="3946"/>
                  </a:lnTo>
                  <a:lnTo>
                    <a:pt x="581" y="3952"/>
                  </a:lnTo>
                  <a:lnTo>
                    <a:pt x="574" y="3956"/>
                  </a:lnTo>
                  <a:lnTo>
                    <a:pt x="567" y="3957"/>
                  </a:lnTo>
                  <a:lnTo>
                    <a:pt x="560" y="3956"/>
                  </a:lnTo>
                  <a:lnTo>
                    <a:pt x="554" y="3952"/>
                  </a:lnTo>
                  <a:lnTo>
                    <a:pt x="549" y="3946"/>
                  </a:lnTo>
                  <a:lnTo>
                    <a:pt x="548" y="3937"/>
                  </a:lnTo>
                  <a:lnTo>
                    <a:pt x="548" y="3824"/>
                  </a:lnTo>
                  <a:lnTo>
                    <a:pt x="549" y="3817"/>
                  </a:lnTo>
                  <a:lnTo>
                    <a:pt x="554" y="3810"/>
                  </a:lnTo>
                  <a:lnTo>
                    <a:pt x="560" y="3806"/>
                  </a:lnTo>
                  <a:lnTo>
                    <a:pt x="567" y="3805"/>
                  </a:lnTo>
                  <a:lnTo>
                    <a:pt x="574" y="3806"/>
                  </a:lnTo>
                  <a:lnTo>
                    <a:pt x="581" y="3810"/>
                  </a:lnTo>
                  <a:lnTo>
                    <a:pt x="586" y="3817"/>
                  </a:lnTo>
                  <a:lnTo>
                    <a:pt x="587" y="3824"/>
                  </a:lnTo>
                  <a:close/>
                  <a:moveTo>
                    <a:pt x="850" y="3824"/>
                  </a:moveTo>
                  <a:lnTo>
                    <a:pt x="850" y="3937"/>
                  </a:lnTo>
                  <a:lnTo>
                    <a:pt x="849" y="3946"/>
                  </a:lnTo>
                  <a:lnTo>
                    <a:pt x="844" y="3952"/>
                  </a:lnTo>
                  <a:lnTo>
                    <a:pt x="837" y="3956"/>
                  </a:lnTo>
                  <a:lnTo>
                    <a:pt x="831" y="3957"/>
                  </a:lnTo>
                  <a:lnTo>
                    <a:pt x="823" y="3956"/>
                  </a:lnTo>
                  <a:lnTo>
                    <a:pt x="817" y="3952"/>
                  </a:lnTo>
                  <a:lnTo>
                    <a:pt x="812" y="3946"/>
                  </a:lnTo>
                  <a:lnTo>
                    <a:pt x="810" y="3937"/>
                  </a:lnTo>
                  <a:lnTo>
                    <a:pt x="810" y="3824"/>
                  </a:lnTo>
                  <a:lnTo>
                    <a:pt x="812" y="3817"/>
                  </a:lnTo>
                  <a:lnTo>
                    <a:pt x="817" y="3810"/>
                  </a:lnTo>
                  <a:lnTo>
                    <a:pt x="823" y="3806"/>
                  </a:lnTo>
                  <a:lnTo>
                    <a:pt x="831" y="3805"/>
                  </a:lnTo>
                  <a:lnTo>
                    <a:pt x="837" y="3806"/>
                  </a:lnTo>
                  <a:lnTo>
                    <a:pt x="844" y="3810"/>
                  </a:lnTo>
                  <a:lnTo>
                    <a:pt x="849" y="3817"/>
                  </a:lnTo>
                  <a:lnTo>
                    <a:pt x="850" y="3824"/>
                  </a:lnTo>
                  <a:close/>
                  <a:moveTo>
                    <a:pt x="1113" y="3824"/>
                  </a:moveTo>
                  <a:lnTo>
                    <a:pt x="1113" y="3937"/>
                  </a:lnTo>
                  <a:lnTo>
                    <a:pt x="1112" y="3946"/>
                  </a:lnTo>
                  <a:lnTo>
                    <a:pt x="1107" y="3952"/>
                  </a:lnTo>
                  <a:lnTo>
                    <a:pt x="1100" y="3956"/>
                  </a:lnTo>
                  <a:lnTo>
                    <a:pt x="1094" y="3957"/>
                  </a:lnTo>
                  <a:lnTo>
                    <a:pt x="1086" y="3956"/>
                  </a:lnTo>
                  <a:lnTo>
                    <a:pt x="1080" y="3952"/>
                  </a:lnTo>
                  <a:lnTo>
                    <a:pt x="1076" y="3946"/>
                  </a:lnTo>
                  <a:lnTo>
                    <a:pt x="1073" y="3937"/>
                  </a:lnTo>
                  <a:lnTo>
                    <a:pt x="1073" y="3824"/>
                  </a:lnTo>
                  <a:lnTo>
                    <a:pt x="1076" y="3817"/>
                  </a:lnTo>
                  <a:lnTo>
                    <a:pt x="1080" y="3810"/>
                  </a:lnTo>
                  <a:lnTo>
                    <a:pt x="1086" y="3806"/>
                  </a:lnTo>
                  <a:lnTo>
                    <a:pt x="1094" y="3805"/>
                  </a:lnTo>
                  <a:lnTo>
                    <a:pt x="1100" y="3806"/>
                  </a:lnTo>
                  <a:lnTo>
                    <a:pt x="1107" y="3810"/>
                  </a:lnTo>
                  <a:lnTo>
                    <a:pt x="1112" y="3817"/>
                  </a:lnTo>
                  <a:lnTo>
                    <a:pt x="1113" y="3824"/>
                  </a:lnTo>
                  <a:close/>
                  <a:moveTo>
                    <a:pt x="1377" y="3824"/>
                  </a:moveTo>
                  <a:lnTo>
                    <a:pt x="1377" y="3937"/>
                  </a:lnTo>
                  <a:lnTo>
                    <a:pt x="1375" y="3946"/>
                  </a:lnTo>
                  <a:lnTo>
                    <a:pt x="1371" y="3952"/>
                  </a:lnTo>
                  <a:lnTo>
                    <a:pt x="1364" y="3956"/>
                  </a:lnTo>
                  <a:lnTo>
                    <a:pt x="1357" y="3957"/>
                  </a:lnTo>
                  <a:lnTo>
                    <a:pt x="1349" y="3956"/>
                  </a:lnTo>
                  <a:lnTo>
                    <a:pt x="1343" y="3952"/>
                  </a:lnTo>
                  <a:lnTo>
                    <a:pt x="1339" y="3946"/>
                  </a:lnTo>
                  <a:lnTo>
                    <a:pt x="1336" y="3937"/>
                  </a:lnTo>
                  <a:lnTo>
                    <a:pt x="1336" y="3824"/>
                  </a:lnTo>
                  <a:lnTo>
                    <a:pt x="1339" y="3817"/>
                  </a:lnTo>
                  <a:lnTo>
                    <a:pt x="1343" y="3810"/>
                  </a:lnTo>
                  <a:lnTo>
                    <a:pt x="1349" y="3806"/>
                  </a:lnTo>
                  <a:lnTo>
                    <a:pt x="1357" y="3805"/>
                  </a:lnTo>
                  <a:lnTo>
                    <a:pt x="1364" y="3806"/>
                  </a:lnTo>
                  <a:lnTo>
                    <a:pt x="1371" y="3810"/>
                  </a:lnTo>
                  <a:lnTo>
                    <a:pt x="1375" y="3817"/>
                  </a:lnTo>
                  <a:lnTo>
                    <a:pt x="1377" y="3824"/>
                  </a:lnTo>
                  <a:close/>
                  <a:moveTo>
                    <a:pt x="1640" y="3824"/>
                  </a:moveTo>
                  <a:lnTo>
                    <a:pt x="1640" y="3937"/>
                  </a:lnTo>
                  <a:lnTo>
                    <a:pt x="1637" y="3946"/>
                  </a:lnTo>
                  <a:lnTo>
                    <a:pt x="1634" y="3952"/>
                  </a:lnTo>
                  <a:lnTo>
                    <a:pt x="1627" y="3956"/>
                  </a:lnTo>
                  <a:lnTo>
                    <a:pt x="1620" y="3957"/>
                  </a:lnTo>
                  <a:lnTo>
                    <a:pt x="1612" y="3956"/>
                  </a:lnTo>
                  <a:lnTo>
                    <a:pt x="1605" y="3952"/>
                  </a:lnTo>
                  <a:lnTo>
                    <a:pt x="1602" y="3946"/>
                  </a:lnTo>
                  <a:lnTo>
                    <a:pt x="1600" y="3937"/>
                  </a:lnTo>
                  <a:lnTo>
                    <a:pt x="1600" y="3824"/>
                  </a:lnTo>
                  <a:lnTo>
                    <a:pt x="1602" y="3817"/>
                  </a:lnTo>
                  <a:lnTo>
                    <a:pt x="1605" y="3810"/>
                  </a:lnTo>
                  <a:lnTo>
                    <a:pt x="1612" y="3806"/>
                  </a:lnTo>
                  <a:lnTo>
                    <a:pt x="1620" y="3805"/>
                  </a:lnTo>
                  <a:lnTo>
                    <a:pt x="1627" y="3806"/>
                  </a:lnTo>
                  <a:lnTo>
                    <a:pt x="1634" y="3810"/>
                  </a:lnTo>
                  <a:lnTo>
                    <a:pt x="1637" y="3817"/>
                  </a:lnTo>
                  <a:lnTo>
                    <a:pt x="1640" y="3824"/>
                  </a:lnTo>
                  <a:close/>
                  <a:moveTo>
                    <a:pt x="2829" y="4093"/>
                  </a:moveTo>
                  <a:lnTo>
                    <a:pt x="2829" y="4085"/>
                  </a:lnTo>
                  <a:lnTo>
                    <a:pt x="2829" y="4093"/>
                  </a:lnTo>
                  <a:close/>
                  <a:moveTo>
                    <a:pt x="0" y="915"/>
                  </a:moveTo>
                  <a:lnTo>
                    <a:pt x="492" y="915"/>
                  </a:lnTo>
                  <a:lnTo>
                    <a:pt x="500" y="917"/>
                  </a:lnTo>
                  <a:lnTo>
                    <a:pt x="507" y="922"/>
                  </a:lnTo>
                  <a:lnTo>
                    <a:pt x="512" y="928"/>
                  </a:lnTo>
                  <a:lnTo>
                    <a:pt x="513" y="936"/>
                  </a:lnTo>
                  <a:lnTo>
                    <a:pt x="513" y="1633"/>
                  </a:lnTo>
                  <a:lnTo>
                    <a:pt x="513" y="2329"/>
                  </a:lnTo>
                  <a:lnTo>
                    <a:pt x="512" y="2338"/>
                  </a:lnTo>
                  <a:lnTo>
                    <a:pt x="507" y="2345"/>
                  </a:lnTo>
                  <a:lnTo>
                    <a:pt x="500" y="2349"/>
                  </a:lnTo>
                  <a:lnTo>
                    <a:pt x="492" y="2350"/>
                  </a:lnTo>
                  <a:lnTo>
                    <a:pt x="486" y="2349"/>
                  </a:lnTo>
                  <a:lnTo>
                    <a:pt x="480" y="2345"/>
                  </a:lnTo>
                  <a:lnTo>
                    <a:pt x="474" y="2338"/>
                  </a:lnTo>
                  <a:lnTo>
                    <a:pt x="473" y="2329"/>
                  </a:lnTo>
                  <a:lnTo>
                    <a:pt x="473" y="1642"/>
                  </a:lnTo>
                  <a:lnTo>
                    <a:pt x="473" y="955"/>
                  </a:lnTo>
                  <a:lnTo>
                    <a:pt x="0" y="955"/>
                  </a:lnTo>
                  <a:lnTo>
                    <a:pt x="0" y="915"/>
                  </a:lnTo>
                  <a:close/>
                  <a:moveTo>
                    <a:pt x="190" y="1345"/>
                  </a:moveTo>
                  <a:lnTo>
                    <a:pt x="190" y="1450"/>
                  </a:lnTo>
                  <a:lnTo>
                    <a:pt x="188" y="1457"/>
                  </a:lnTo>
                  <a:lnTo>
                    <a:pt x="183" y="1464"/>
                  </a:lnTo>
                  <a:lnTo>
                    <a:pt x="177" y="1468"/>
                  </a:lnTo>
                  <a:lnTo>
                    <a:pt x="171" y="1469"/>
                  </a:lnTo>
                  <a:lnTo>
                    <a:pt x="163" y="1468"/>
                  </a:lnTo>
                  <a:lnTo>
                    <a:pt x="156" y="1464"/>
                  </a:lnTo>
                  <a:lnTo>
                    <a:pt x="151" y="1457"/>
                  </a:lnTo>
                  <a:lnTo>
                    <a:pt x="150" y="1450"/>
                  </a:lnTo>
                  <a:lnTo>
                    <a:pt x="150" y="1345"/>
                  </a:lnTo>
                  <a:lnTo>
                    <a:pt x="151" y="1337"/>
                  </a:lnTo>
                  <a:lnTo>
                    <a:pt x="156" y="1331"/>
                  </a:lnTo>
                  <a:lnTo>
                    <a:pt x="163" y="1327"/>
                  </a:lnTo>
                  <a:lnTo>
                    <a:pt x="171" y="1326"/>
                  </a:lnTo>
                  <a:lnTo>
                    <a:pt x="177" y="1327"/>
                  </a:lnTo>
                  <a:lnTo>
                    <a:pt x="183" y="1331"/>
                  </a:lnTo>
                  <a:lnTo>
                    <a:pt x="188" y="1337"/>
                  </a:lnTo>
                  <a:lnTo>
                    <a:pt x="190" y="1345"/>
                  </a:lnTo>
                  <a:close/>
                  <a:moveTo>
                    <a:pt x="190" y="1576"/>
                  </a:moveTo>
                  <a:lnTo>
                    <a:pt x="190" y="1680"/>
                  </a:lnTo>
                  <a:lnTo>
                    <a:pt x="188" y="1689"/>
                  </a:lnTo>
                  <a:lnTo>
                    <a:pt x="183" y="1695"/>
                  </a:lnTo>
                  <a:lnTo>
                    <a:pt x="177" y="1699"/>
                  </a:lnTo>
                  <a:lnTo>
                    <a:pt x="171" y="1700"/>
                  </a:lnTo>
                  <a:lnTo>
                    <a:pt x="163" y="1699"/>
                  </a:lnTo>
                  <a:lnTo>
                    <a:pt x="156" y="1695"/>
                  </a:lnTo>
                  <a:lnTo>
                    <a:pt x="151" y="1689"/>
                  </a:lnTo>
                  <a:lnTo>
                    <a:pt x="150" y="1680"/>
                  </a:lnTo>
                  <a:lnTo>
                    <a:pt x="150" y="1576"/>
                  </a:lnTo>
                  <a:lnTo>
                    <a:pt x="151" y="1567"/>
                  </a:lnTo>
                  <a:lnTo>
                    <a:pt x="156" y="1561"/>
                  </a:lnTo>
                  <a:lnTo>
                    <a:pt x="163" y="1558"/>
                  </a:lnTo>
                  <a:lnTo>
                    <a:pt x="171" y="1557"/>
                  </a:lnTo>
                  <a:lnTo>
                    <a:pt x="177" y="1558"/>
                  </a:lnTo>
                  <a:lnTo>
                    <a:pt x="183" y="1561"/>
                  </a:lnTo>
                  <a:lnTo>
                    <a:pt x="188" y="1567"/>
                  </a:lnTo>
                  <a:lnTo>
                    <a:pt x="190" y="1576"/>
                  </a:lnTo>
                  <a:close/>
                  <a:moveTo>
                    <a:pt x="190" y="1808"/>
                  </a:moveTo>
                  <a:lnTo>
                    <a:pt x="190" y="1911"/>
                  </a:lnTo>
                  <a:lnTo>
                    <a:pt x="188" y="1920"/>
                  </a:lnTo>
                  <a:lnTo>
                    <a:pt x="183" y="1927"/>
                  </a:lnTo>
                  <a:lnTo>
                    <a:pt x="177" y="1931"/>
                  </a:lnTo>
                  <a:lnTo>
                    <a:pt x="171" y="1932"/>
                  </a:lnTo>
                  <a:lnTo>
                    <a:pt x="163" y="1931"/>
                  </a:lnTo>
                  <a:lnTo>
                    <a:pt x="156" y="1927"/>
                  </a:lnTo>
                  <a:lnTo>
                    <a:pt x="151" y="1920"/>
                  </a:lnTo>
                  <a:lnTo>
                    <a:pt x="150" y="1911"/>
                  </a:lnTo>
                  <a:lnTo>
                    <a:pt x="150" y="1808"/>
                  </a:lnTo>
                  <a:lnTo>
                    <a:pt x="151" y="1799"/>
                  </a:lnTo>
                  <a:lnTo>
                    <a:pt x="156" y="1792"/>
                  </a:lnTo>
                  <a:lnTo>
                    <a:pt x="163" y="1789"/>
                  </a:lnTo>
                  <a:lnTo>
                    <a:pt x="171" y="1787"/>
                  </a:lnTo>
                  <a:lnTo>
                    <a:pt x="177" y="1789"/>
                  </a:lnTo>
                  <a:lnTo>
                    <a:pt x="183" y="1792"/>
                  </a:lnTo>
                  <a:lnTo>
                    <a:pt x="188" y="1799"/>
                  </a:lnTo>
                  <a:lnTo>
                    <a:pt x="190" y="1808"/>
                  </a:lnTo>
                  <a:close/>
                  <a:moveTo>
                    <a:pt x="190" y="2039"/>
                  </a:moveTo>
                  <a:lnTo>
                    <a:pt x="190" y="2143"/>
                  </a:lnTo>
                  <a:lnTo>
                    <a:pt x="188" y="2150"/>
                  </a:lnTo>
                  <a:lnTo>
                    <a:pt x="183" y="2157"/>
                  </a:lnTo>
                  <a:lnTo>
                    <a:pt x="177" y="2161"/>
                  </a:lnTo>
                  <a:lnTo>
                    <a:pt x="171" y="2162"/>
                  </a:lnTo>
                  <a:lnTo>
                    <a:pt x="163" y="2161"/>
                  </a:lnTo>
                  <a:lnTo>
                    <a:pt x="156" y="2157"/>
                  </a:lnTo>
                  <a:lnTo>
                    <a:pt x="151" y="2150"/>
                  </a:lnTo>
                  <a:lnTo>
                    <a:pt x="150" y="2143"/>
                  </a:lnTo>
                  <a:lnTo>
                    <a:pt x="150" y="2039"/>
                  </a:lnTo>
                  <a:lnTo>
                    <a:pt x="151" y="2030"/>
                  </a:lnTo>
                  <a:lnTo>
                    <a:pt x="156" y="2024"/>
                  </a:lnTo>
                  <a:lnTo>
                    <a:pt x="163" y="2020"/>
                  </a:lnTo>
                  <a:lnTo>
                    <a:pt x="171" y="2019"/>
                  </a:lnTo>
                  <a:lnTo>
                    <a:pt x="177" y="2020"/>
                  </a:lnTo>
                  <a:lnTo>
                    <a:pt x="183" y="2024"/>
                  </a:lnTo>
                  <a:lnTo>
                    <a:pt x="188" y="2030"/>
                  </a:lnTo>
                  <a:lnTo>
                    <a:pt x="190" y="2039"/>
                  </a:lnTo>
                  <a:close/>
                  <a:moveTo>
                    <a:pt x="190" y="2269"/>
                  </a:moveTo>
                  <a:lnTo>
                    <a:pt x="190" y="2373"/>
                  </a:lnTo>
                  <a:lnTo>
                    <a:pt x="188" y="2382"/>
                  </a:lnTo>
                  <a:lnTo>
                    <a:pt x="183" y="2388"/>
                  </a:lnTo>
                  <a:lnTo>
                    <a:pt x="177" y="2392"/>
                  </a:lnTo>
                  <a:lnTo>
                    <a:pt x="171" y="2393"/>
                  </a:lnTo>
                  <a:lnTo>
                    <a:pt x="163" y="2392"/>
                  </a:lnTo>
                  <a:lnTo>
                    <a:pt x="156" y="2388"/>
                  </a:lnTo>
                  <a:lnTo>
                    <a:pt x="151" y="2382"/>
                  </a:lnTo>
                  <a:lnTo>
                    <a:pt x="150" y="2373"/>
                  </a:lnTo>
                  <a:lnTo>
                    <a:pt x="150" y="2269"/>
                  </a:lnTo>
                  <a:lnTo>
                    <a:pt x="151" y="2260"/>
                  </a:lnTo>
                  <a:lnTo>
                    <a:pt x="156" y="2255"/>
                  </a:lnTo>
                  <a:lnTo>
                    <a:pt x="163" y="2251"/>
                  </a:lnTo>
                  <a:lnTo>
                    <a:pt x="171" y="2250"/>
                  </a:lnTo>
                  <a:lnTo>
                    <a:pt x="177" y="2251"/>
                  </a:lnTo>
                  <a:lnTo>
                    <a:pt x="183" y="2255"/>
                  </a:lnTo>
                  <a:lnTo>
                    <a:pt x="188" y="2260"/>
                  </a:lnTo>
                  <a:lnTo>
                    <a:pt x="190" y="2269"/>
                  </a:lnTo>
                  <a:close/>
                  <a:moveTo>
                    <a:pt x="190" y="2501"/>
                  </a:moveTo>
                  <a:lnTo>
                    <a:pt x="190" y="2604"/>
                  </a:lnTo>
                  <a:lnTo>
                    <a:pt x="188" y="2613"/>
                  </a:lnTo>
                  <a:lnTo>
                    <a:pt x="183" y="2620"/>
                  </a:lnTo>
                  <a:lnTo>
                    <a:pt x="177" y="2624"/>
                  </a:lnTo>
                  <a:lnTo>
                    <a:pt x="171" y="2625"/>
                  </a:lnTo>
                  <a:lnTo>
                    <a:pt x="163" y="2624"/>
                  </a:lnTo>
                  <a:lnTo>
                    <a:pt x="156" y="2620"/>
                  </a:lnTo>
                  <a:lnTo>
                    <a:pt x="151" y="2613"/>
                  </a:lnTo>
                  <a:lnTo>
                    <a:pt x="150" y="2604"/>
                  </a:lnTo>
                  <a:lnTo>
                    <a:pt x="150" y="2501"/>
                  </a:lnTo>
                  <a:lnTo>
                    <a:pt x="151" y="2492"/>
                  </a:lnTo>
                  <a:lnTo>
                    <a:pt x="156" y="2485"/>
                  </a:lnTo>
                  <a:lnTo>
                    <a:pt x="163" y="2482"/>
                  </a:lnTo>
                  <a:lnTo>
                    <a:pt x="171" y="2480"/>
                  </a:lnTo>
                  <a:lnTo>
                    <a:pt x="177" y="2482"/>
                  </a:lnTo>
                  <a:lnTo>
                    <a:pt x="183" y="2485"/>
                  </a:lnTo>
                  <a:lnTo>
                    <a:pt x="188" y="2492"/>
                  </a:lnTo>
                  <a:lnTo>
                    <a:pt x="190" y="2501"/>
                  </a:lnTo>
                  <a:close/>
                  <a:moveTo>
                    <a:pt x="190" y="2732"/>
                  </a:moveTo>
                  <a:lnTo>
                    <a:pt x="190" y="2836"/>
                  </a:lnTo>
                  <a:lnTo>
                    <a:pt x="188" y="2845"/>
                  </a:lnTo>
                  <a:lnTo>
                    <a:pt x="183" y="2850"/>
                  </a:lnTo>
                  <a:lnTo>
                    <a:pt x="177" y="2854"/>
                  </a:lnTo>
                  <a:lnTo>
                    <a:pt x="171" y="2855"/>
                  </a:lnTo>
                  <a:lnTo>
                    <a:pt x="163" y="2854"/>
                  </a:lnTo>
                  <a:lnTo>
                    <a:pt x="156" y="2850"/>
                  </a:lnTo>
                  <a:lnTo>
                    <a:pt x="151" y="2845"/>
                  </a:lnTo>
                  <a:lnTo>
                    <a:pt x="150" y="2836"/>
                  </a:lnTo>
                  <a:lnTo>
                    <a:pt x="150" y="2732"/>
                  </a:lnTo>
                  <a:lnTo>
                    <a:pt x="151" y="2723"/>
                  </a:lnTo>
                  <a:lnTo>
                    <a:pt x="156" y="2717"/>
                  </a:lnTo>
                  <a:lnTo>
                    <a:pt x="163" y="2713"/>
                  </a:lnTo>
                  <a:lnTo>
                    <a:pt x="171" y="2712"/>
                  </a:lnTo>
                  <a:lnTo>
                    <a:pt x="177" y="2713"/>
                  </a:lnTo>
                  <a:lnTo>
                    <a:pt x="183" y="2717"/>
                  </a:lnTo>
                  <a:lnTo>
                    <a:pt x="188" y="2723"/>
                  </a:lnTo>
                  <a:lnTo>
                    <a:pt x="190" y="2732"/>
                  </a:lnTo>
                  <a:close/>
                  <a:moveTo>
                    <a:pt x="190" y="2962"/>
                  </a:moveTo>
                  <a:lnTo>
                    <a:pt x="190" y="3066"/>
                  </a:lnTo>
                  <a:lnTo>
                    <a:pt x="188" y="3075"/>
                  </a:lnTo>
                  <a:lnTo>
                    <a:pt x="183" y="3081"/>
                  </a:lnTo>
                  <a:lnTo>
                    <a:pt x="177" y="3085"/>
                  </a:lnTo>
                  <a:lnTo>
                    <a:pt x="171" y="3086"/>
                  </a:lnTo>
                  <a:lnTo>
                    <a:pt x="163" y="3085"/>
                  </a:lnTo>
                  <a:lnTo>
                    <a:pt x="156" y="3081"/>
                  </a:lnTo>
                  <a:lnTo>
                    <a:pt x="151" y="3075"/>
                  </a:lnTo>
                  <a:lnTo>
                    <a:pt x="150" y="3066"/>
                  </a:lnTo>
                  <a:lnTo>
                    <a:pt x="150" y="2962"/>
                  </a:lnTo>
                  <a:lnTo>
                    <a:pt x="151" y="2953"/>
                  </a:lnTo>
                  <a:lnTo>
                    <a:pt x="156" y="2948"/>
                  </a:lnTo>
                  <a:lnTo>
                    <a:pt x="163" y="2945"/>
                  </a:lnTo>
                  <a:lnTo>
                    <a:pt x="171" y="2943"/>
                  </a:lnTo>
                  <a:lnTo>
                    <a:pt x="177" y="2945"/>
                  </a:lnTo>
                  <a:lnTo>
                    <a:pt x="183" y="2948"/>
                  </a:lnTo>
                  <a:lnTo>
                    <a:pt x="188" y="2953"/>
                  </a:lnTo>
                  <a:lnTo>
                    <a:pt x="190" y="2962"/>
                  </a:lnTo>
                  <a:close/>
                  <a:moveTo>
                    <a:pt x="2375" y="1897"/>
                  </a:moveTo>
                  <a:lnTo>
                    <a:pt x="2375" y="2001"/>
                  </a:lnTo>
                  <a:lnTo>
                    <a:pt x="2372" y="2010"/>
                  </a:lnTo>
                  <a:lnTo>
                    <a:pt x="2368" y="2016"/>
                  </a:lnTo>
                  <a:lnTo>
                    <a:pt x="2362" y="2020"/>
                  </a:lnTo>
                  <a:lnTo>
                    <a:pt x="2354" y="2021"/>
                  </a:lnTo>
                  <a:lnTo>
                    <a:pt x="2347" y="2020"/>
                  </a:lnTo>
                  <a:lnTo>
                    <a:pt x="2340" y="2016"/>
                  </a:lnTo>
                  <a:lnTo>
                    <a:pt x="2336" y="2010"/>
                  </a:lnTo>
                  <a:lnTo>
                    <a:pt x="2334" y="2001"/>
                  </a:lnTo>
                  <a:lnTo>
                    <a:pt x="2334" y="1897"/>
                  </a:lnTo>
                  <a:lnTo>
                    <a:pt x="2336" y="1888"/>
                  </a:lnTo>
                  <a:lnTo>
                    <a:pt x="2340" y="1882"/>
                  </a:lnTo>
                  <a:lnTo>
                    <a:pt x="2347" y="1878"/>
                  </a:lnTo>
                  <a:lnTo>
                    <a:pt x="2354" y="1877"/>
                  </a:lnTo>
                  <a:lnTo>
                    <a:pt x="2362" y="1878"/>
                  </a:lnTo>
                  <a:lnTo>
                    <a:pt x="2368" y="1882"/>
                  </a:lnTo>
                  <a:lnTo>
                    <a:pt x="2372" y="1888"/>
                  </a:lnTo>
                  <a:lnTo>
                    <a:pt x="2375" y="1897"/>
                  </a:lnTo>
                  <a:close/>
                  <a:moveTo>
                    <a:pt x="2589" y="1897"/>
                  </a:moveTo>
                  <a:lnTo>
                    <a:pt x="2589" y="2001"/>
                  </a:lnTo>
                  <a:lnTo>
                    <a:pt x="2588" y="2010"/>
                  </a:lnTo>
                  <a:lnTo>
                    <a:pt x="2583" y="2016"/>
                  </a:lnTo>
                  <a:lnTo>
                    <a:pt x="2576" y="2020"/>
                  </a:lnTo>
                  <a:lnTo>
                    <a:pt x="2570" y="2021"/>
                  </a:lnTo>
                  <a:lnTo>
                    <a:pt x="2562" y="2020"/>
                  </a:lnTo>
                  <a:lnTo>
                    <a:pt x="2556" y="2016"/>
                  </a:lnTo>
                  <a:lnTo>
                    <a:pt x="2550" y="2010"/>
                  </a:lnTo>
                  <a:lnTo>
                    <a:pt x="2549" y="2001"/>
                  </a:lnTo>
                  <a:lnTo>
                    <a:pt x="2549" y="1897"/>
                  </a:lnTo>
                  <a:lnTo>
                    <a:pt x="2550" y="1888"/>
                  </a:lnTo>
                  <a:lnTo>
                    <a:pt x="2556" y="1882"/>
                  </a:lnTo>
                  <a:lnTo>
                    <a:pt x="2562" y="1878"/>
                  </a:lnTo>
                  <a:lnTo>
                    <a:pt x="2570" y="1877"/>
                  </a:lnTo>
                  <a:lnTo>
                    <a:pt x="2576" y="1878"/>
                  </a:lnTo>
                  <a:lnTo>
                    <a:pt x="2583" y="1882"/>
                  </a:lnTo>
                  <a:lnTo>
                    <a:pt x="2588" y="1888"/>
                  </a:lnTo>
                  <a:lnTo>
                    <a:pt x="2589" y="1897"/>
                  </a:lnTo>
                  <a:close/>
                  <a:moveTo>
                    <a:pt x="2804" y="1897"/>
                  </a:moveTo>
                  <a:lnTo>
                    <a:pt x="2804" y="2001"/>
                  </a:lnTo>
                  <a:lnTo>
                    <a:pt x="2803" y="2010"/>
                  </a:lnTo>
                  <a:lnTo>
                    <a:pt x="2798" y="2016"/>
                  </a:lnTo>
                  <a:lnTo>
                    <a:pt x="2792" y="2020"/>
                  </a:lnTo>
                  <a:lnTo>
                    <a:pt x="2784" y="2021"/>
                  </a:lnTo>
                  <a:lnTo>
                    <a:pt x="2777" y="2020"/>
                  </a:lnTo>
                  <a:lnTo>
                    <a:pt x="2771" y="2016"/>
                  </a:lnTo>
                  <a:lnTo>
                    <a:pt x="2766" y="2010"/>
                  </a:lnTo>
                  <a:lnTo>
                    <a:pt x="2765" y="2001"/>
                  </a:lnTo>
                  <a:lnTo>
                    <a:pt x="2765" y="1897"/>
                  </a:lnTo>
                  <a:lnTo>
                    <a:pt x="2766" y="1888"/>
                  </a:lnTo>
                  <a:lnTo>
                    <a:pt x="2771" y="1882"/>
                  </a:lnTo>
                  <a:lnTo>
                    <a:pt x="2777" y="1878"/>
                  </a:lnTo>
                  <a:lnTo>
                    <a:pt x="2784" y="1877"/>
                  </a:lnTo>
                  <a:lnTo>
                    <a:pt x="2792" y="1878"/>
                  </a:lnTo>
                  <a:lnTo>
                    <a:pt x="2798" y="1882"/>
                  </a:lnTo>
                  <a:lnTo>
                    <a:pt x="2803" y="1888"/>
                  </a:lnTo>
                  <a:lnTo>
                    <a:pt x="2804" y="1897"/>
                  </a:lnTo>
                  <a:close/>
                  <a:moveTo>
                    <a:pt x="2375" y="2245"/>
                  </a:moveTo>
                  <a:lnTo>
                    <a:pt x="2375" y="2349"/>
                  </a:lnTo>
                  <a:lnTo>
                    <a:pt x="2372" y="2358"/>
                  </a:lnTo>
                  <a:lnTo>
                    <a:pt x="2368" y="2364"/>
                  </a:lnTo>
                  <a:lnTo>
                    <a:pt x="2362" y="2368"/>
                  </a:lnTo>
                  <a:lnTo>
                    <a:pt x="2354" y="2369"/>
                  </a:lnTo>
                  <a:lnTo>
                    <a:pt x="2347" y="2368"/>
                  </a:lnTo>
                  <a:lnTo>
                    <a:pt x="2340" y="2364"/>
                  </a:lnTo>
                  <a:lnTo>
                    <a:pt x="2336" y="2358"/>
                  </a:lnTo>
                  <a:lnTo>
                    <a:pt x="2334" y="2349"/>
                  </a:lnTo>
                  <a:lnTo>
                    <a:pt x="2334" y="2245"/>
                  </a:lnTo>
                  <a:lnTo>
                    <a:pt x="2336" y="2236"/>
                  </a:lnTo>
                  <a:lnTo>
                    <a:pt x="2340" y="2230"/>
                  </a:lnTo>
                  <a:lnTo>
                    <a:pt x="2347" y="2226"/>
                  </a:lnTo>
                  <a:lnTo>
                    <a:pt x="2354" y="2225"/>
                  </a:lnTo>
                  <a:lnTo>
                    <a:pt x="2362" y="2226"/>
                  </a:lnTo>
                  <a:lnTo>
                    <a:pt x="2368" y="2230"/>
                  </a:lnTo>
                  <a:lnTo>
                    <a:pt x="2372" y="2236"/>
                  </a:lnTo>
                  <a:lnTo>
                    <a:pt x="2375" y="2245"/>
                  </a:lnTo>
                  <a:close/>
                  <a:moveTo>
                    <a:pt x="2589" y="2245"/>
                  </a:moveTo>
                  <a:lnTo>
                    <a:pt x="2589" y="2349"/>
                  </a:lnTo>
                  <a:lnTo>
                    <a:pt x="2588" y="2358"/>
                  </a:lnTo>
                  <a:lnTo>
                    <a:pt x="2583" y="2364"/>
                  </a:lnTo>
                  <a:lnTo>
                    <a:pt x="2576" y="2368"/>
                  </a:lnTo>
                  <a:lnTo>
                    <a:pt x="2570" y="2369"/>
                  </a:lnTo>
                  <a:lnTo>
                    <a:pt x="2562" y="2368"/>
                  </a:lnTo>
                  <a:lnTo>
                    <a:pt x="2556" y="2364"/>
                  </a:lnTo>
                  <a:lnTo>
                    <a:pt x="2550" y="2358"/>
                  </a:lnTo>
                  <a:lnTo>
                    <a:pt x="2549" y="2349"/>
                  </a:lnTo>
                  <a:lnTo>
                    <a:pt x="2549" y="2245"/>
                  </a:lnTo>
                  <a:lnTo>
                    <a:pt x="2550" y="2236"/>
                  </a:lnTo>
                  <a:lnTo>
                    <a:pt x="2556" y="2230"/>
                  </a:lnTo>
                  <a:lnTo>
                    <a:pt x="2562" y="2226"/>
                  </a:lnTo>
                  <a:lnTo>
                    <a:pt x="2570" y="2225"/>
                  </a:lnTo>
                  <a:lnTo>
                    <a:pt x="2576" y="2226"/>
                  </a:lnTo>
                  <a:lnTo>
                    <a:pt x="2583" y="2230"/>
                  </a:lnTo>
                  <a:lnTo>
                    <a:pt x="2588" y="2236"/>
                  </a:lnTo>
                  <a:lnTo>
                    <a:pt x="2589" y="2245"/>
                  </a:lnTo>
                  <a:close/>
                  <a:moveTo>
                    <a:pt x="2804" y="2245"/>
                  </a:moveTo>
                  <a:lnTo>
                    <a:pt x="2804" y="2349"/>
                  </a:lnTo>
                  <a:lnTo>
                    <a:pt x="2803" y="2358"/>
                  </a:lnTo>
                  <a:lnTo>
                    <a:pt x="2798" y="2364"/>
                  </a:lnTo>
                  <a:lnTo>
                    <a:pt x="2792" y="2368"/>
                  </a:lnTo>
                  <a:lnTo>
                    <a:pt x="2784" y="2369"/>
                  </a:lnTo>
                  <a:lnTo>
                    <a:pt x="2777" y="2368"/>
                  </a:lnTo>
                  <a:lnTo>
                    <a:pt x="2771" y="2364"/>
                  </a:lnTo>
                  <a:lnTo>
                    <a:pt x="2766" y="2358"/>
                  </a:lnTo>
                  <a:lnTo>
                    <a:pt x="2765" y="2349"/>
                  </a:lnTo>
                  <a:lnTo>
                    <a:pt x="2765" y="2245"/>
                  </a:lnTo>
                  <a:lnTo>
                    <a:pt x="2766" y="2236"/>
                  </a:lnTo>
                  <a:lnTo>
                    <a:pt x="2771" y="2230"/>
                  </a:lnTo>
                  <a:lnTo>
                    <a:pt x="2777" y="2226"/>
                  </a:lnTo>
                  <a:lnTo>
                    <a:pt x="2784" y="2225"/>
                  </a:lnTo>
                  <a:lnTo>
                    <a:pt x="2792" y="2226"/>
                  </a:lnTo>
                  <a:lnTo>
                    <a:pt x="2798" y="2230"/>
                  </a:lnTo>
                  <a:lnTo>
                    <a:pt x="2803" y="2236"/>
                  </a:lnTo>
                  <a:lnTo>
                    <a:pt x="2804" y="2245"/>
                  </a:lnTo>
                  <a:close/>
                  <a:moveTo>
                    <a:pt x="2375" y="2593"/>
                  </a:moveTo>
                  <a:lnTo>
                    <a:pt x="2375" y="2696"/>
                  </a:lnTo>
                  <a:lnTo>
                    <a:pt x="2372" y="2705"/>
                  </a:lnTo>
                  <a:lnTo>
                    <a:pt x="2368" y="2712"/>
                  </a:lnTo>
                  <a:lnTo>
                    <a:pt x="2362" y="2716"/>
                  </a:lnTo>
                  <a:lnTo>
                    <a:pt x="2354" y="2717"/>
                  </a:lnTo>
                  <a:lnTo>
                    <a:pt x="2347" y="2716"/>
                  </a:lnTo>
                  <a:lnTo>
                    <a:pt x="2340" y="2712"/>
                  </a:lnTo>
                  <a:lnTo>
                    <a:pt x="2336" y="2705"/>
                  </a:lnTo>
                  <a:lnTo>
                    <a:pt x="2334" y="2696"/>
                  </a:lnTo>
                  <a:lnTo>
                    <a:pt x="2334" y="2593"/>
                  </a:lnTo>
                  <a:lnTo>
                    <a:pt x="2336" y="2584"/>
                  </a:lnTo>
                  <a:lnTo>
                    <a:pt x="2340" y="2578"/>
                  </a:lnTo>
                  <a:lnTo>
                    <a:pt x="2347" y="2574"/>
                  </a:lnTo>
                  <a:lnTo>
                    <a:pt x="2354" y="2572"/>
                  </a:lnTo>
                  <a:lnTo>
                    <a:pt x="2362" y="2574"/>
                  </a:lnTo>
                  <a:lnTo>
                    <a:pt x="2368" y="2578"/>
                  </a:lnTo>
                  <a:lnTo>
                    <a:pt x="2372" y="2584"/>
                  </a:lnTo>
                  <a:lnTo>
                    <a:pt x="2375" y="2593"/>
                  </a:lnTo>
                  <a:close/>
                  <a:moveTo>
                    <a:pt x="2589" y="2593"/>
                  </a:moveTo>
                  <a:lnTo>
                    <a:pt x="2589" y="2696"/>
                  </a:lnTo>
                  <a:lnTo>
                    <a:pt x="2588" y="2705"/>
                  </a:lnTo>
                  <a:lnTo>
                    <a:pt x="2583" y="2712"/>
                  </a:lnTo>
                  <a:lnTo>
                    <a:pt x="2576" y="2716"/>
                  </a:lnTo>
                  <a:lnTo>
                    <a:pt x="2570" y="2717"/>
                  </a:lnTo>
                  <a:lnTo>
                    <a:pt x="2562" y="2716"/>
                  </a:lnTo>
                  <a:lnTo>
                    <a:pt x="2556" y="2712"/>
                  </a:lnTo>
                  <a:lnTo>
                    <a:pt x="2550" y="2705"/>
                  </a:lnTo>
                  <a:lnTo>
                    <a:pt x="2549" y="2696"/>
                  </a:lnTo>
                  <a:lnTo>
                    <a:pt x="2549" y="2593"/>
                  </a:lnTo>
                  <a:lnTo>
                    <a:pt x="2550" y="2584"/>
                  </a:lnTo>
                  <a:lnTo>
                    <a:pt x="2556" y="2578"/>
                  </a:lnTo>
                  <a:lnTo>
                    <a:pt x="2562" y="2574"/>
                  </a:lnTo>
                  <a:lnTo>
                    <a:pt x="2570" y="2572"/>
                  </a:lnTo>
                  <a:lnTo>
                    <a:pt x="2576" y="2574"/>
                  </a:lnTo>
                  <a:lnTo>
                    <a:pt x="2583" y="2578"/>
                  </a:lnTo>
                  <a:lnTo>
                    <a:pt x="2588" y="2584"/>
                  </a:lnTo>
                  <a:lnTo>
                    <a:pt x="2589" y="2593"/>
                  </a:lnTo>
                  <a:close/>
                  <a:moveTo>
                    <a:pt x="2804" y="2593"/>
                  </a:moveTo>
                  <a:lnTo>
                    <a:pt x="2804" y="2696"/>
                  </a:lnTo>
                  <a:lnTo>
                    <a:pt x="2803" y="2705"/>
                  </a:lnTo>
                  <a:lnTo>
                    <a:pt x="2798" y="2712"/>
                  </a:lnTo>
                  <a:lnTo>
                    <a:pt x="2792" y="2716"/>
                  </a:lnTo>
                  <a:lnTo>
                    <a:pt x="2784" y="2717"/>
                  </a:lnTo>
                  <a:lnTo>
                    <a:pt x="2777" y="2716"/>
                  </a:lnTo>
                  <a:lnTo>
                    <a:pt x="2771" y="2712"/>
                  </a:lnTo>
                  <a:lnTo>
                    <a:pt x="2766" y="2705"/>
                  </a:lnTo>
                  <a:lnTo>
                    <a:pt x="2765" y="2696"/>
                  </a:lnTo>
                  <a:lnTo>
                    <a:pt x="2765" y="2593"/>
                  </a:lnTo>
                  <a:lnTo>
                    <a:pt x="2766" y="2584"/>
                  </a:lnTo>
                  <a:lnTo>
                    <a:pt x="2771" y="2578"/>
                  </a:lnTo>
                  <a:lnTo>
                    <a:pt x="2777" y="2574"/>
                  </a:lnTo>
                  <a:lnTo>
                    <a:pt x="2784" y="2572"/>
                  </a:lnTo>
                  <a:lnTo>
                    <a:pt x="2792" y="2574"/>
                  </a:lnTo>
                  <a:lnTo>
                    <a:pt x="2798" y="2578"/>
                  </a:lnTo>
                  <a:lnTo>
                    <a:pt x="2803" y="2584"/>
                  </a:lnTo>
                  <a:lnTo>
                    <a:pt x="2804" y="2593"/>
                  </a:lnTo>
                  <a:close/>
                  <a:moveTo>
                    <a:pt x="2375" y="2941"/>
                  </a:moveTo>
                  <a:lnTo>
                    <a:pt x="2375" y="3044"/>
                  </a:lnTo>
                  <a:lnTo>
                    <a:pt x="2372" y="3053"/>
                  </a:lnTo>
                  <a:lnTo>
                    <a:pt x="2368" y="3060"/>
                  </a:lnTo>
                  <a:lnTo>
                    <a:pt x="2362" y="3063"/>
                  </a:lnTo>
                  <a:lnTo>
                    <a:pt x="2354" y="3065"/>
                  </a:lnTo>
                  <a:lnTo>
                    <a:pt x="2347" y="3063"/>
                  </a:lnTo>
                  <a:lnTo>
                    <a:pt x="2340" y="3060"/>
                  </a:lnTo>
                  <a:lnTo>
                    <a:pt x="2336" y="3053"/>
                  </a:lnTo>
                  <a:lnTo>
                    <a:pt x="2334" y="3044"/>
                  </a:lnTo>
                  <a:lnTo>
                    <a:pt x="2334" y="2941"/>
                  </a:lnTo>
                  <a:lnTo>
                    <a:pt x="2336" y="2932"/>
                  </a:lnTo>
                  <a:lnTo>
                    <a:pt x="2340" y="2925"/>
                  </a:lnTo>
                  <a:lnTo>
                    <a:pt x="2347" y="2922"/>
                  </a:lnTo>
                  <a:lnTo>
                    <a:pt x="2354" y="2920"/>
                  </a:lnTo>
                  <a:lnTo>
                    <a:pt x="2362" y="2922"/>
                  </a:lnTo>
                  <a:lnTo>
                    <a:pt x="2368" y="2925"/>
                  </a:lnTo>
                  <a:lnTo>
                    <a:pt x="2372" y="2932"/>
                  </a:lnTo>
                  <a:lnTo>
                    <a:pt x="2375" y="2941"/>
                  </a:lnTo>
                  <a:close/>
                  <a:moveTo>
                    <a:pt x="2589" y="2941"/>
                  </a:moveTo>
                  <a:lnTo>
                    <a:pt x="2589" y="3044"/>
                  </a:lnTo>
                  <a:lnTo>
                    <a:pt x="2588" y="3053"/>
                  </a:lnTo>
                  <a:lnTo>
                    <a:pt x="2583" y="3060"/>
                  </a:lnTo>
                  <a:lnTo>
                    <a:pt x="2576" y="3063"/>
                  </a:lnTo>
                  <a:lnTo>
                    <a:pt x="2570" y="3065"/>
                  </a:lnTo>
                  <a:lnTo>
                    <a:pt x="2562" y="3063"/>
                  </a:lnTo>
                  <a:lnTo>
                    <a:pt x="2556" y="3060"/>
                  </a:lnTo>
                  <a:lnTo>
                    <a:pt x="2550" y="3053"/>
                  </a:lnTo>
                  <a:lnTo>
                    <a:pt x="2549" y="3044"/>
                  </a:lnTo>
                  <a:lnTo>
                    <a:pt x="2549" y="2941"/>
                  </a:lnTo>
                  <a:lnTo>
                    <a:pt x="2550" y="2932"/>
                  </a:lnTo>
                  <a:lnTo>
                    <a:pt x="2556" y="2925"/>
                  </a:lnTo>
                  <a:lnTo>
                    <a:pt x="2562" y="2922"/>
                  </a:lnTo>
                  <a:lnTo>
                    <a:pt x="2570" y="2920"/>
                  </a:lnTo>
                  <a:lnTo>
                    <a:pt x="2576" y="2922"/>
                  </a:lnTo>
                  <a:lnTo>
                    <a:pt x="2583" y="2925"/>
                  </a:lnTo>
                  <a:lnTo>
                    <a:pt x="2588" y="2932"/>
                  </a:lnTo>
                  <a:lnTo>
                    <a:pt x="2589" y="2941"/>
                  </a:lnTo>
                  <a:close/>
                  <a:moveTo>
                    <a:pt x="2804" y="2941"/>
                  </a:moveTo>
                  <a:lnTo>
                    <a:pt x="2804" y="3044"/>
                  </a:lnTo>
                  <a:lnTo>
                    <a:pt x="2803" y="3053"/>
                  </a:lnTo>
                  <a:lnTo>
                    <a:pt x="2798" y="3060"/>
                  </a:lnTo>
                  <a:lnTo>
                    <a:pt x="2792" y="3063"/>
                  </a:lnTo>
                  <a:lnTo>
                    <a:pt x="2784" y="3065"/>
                  </a:lnTo>
                  <a:lnTo>
                    <a:pt x="2777" y="3063"/>
                  </a:lnTo>
                  <a:lnTo>
                    <a:pt x="2771" y="3060"/>
                  </a:lnTo>
                  <a:lnTo>
                    <a:pt x="2766" y="3053"/>
                  </a:lnTo>
                  <a:lnTo>
                    <a:pt x="2765" y="3044"/>
                  </a:lnTo>
                  <a:lnTo>
                    <a:pt x="2765" y="2941"/>
                  </a:lnTo>
                  <a:lnTo>
                    <a:pt x="2766" y="2932"/>
                  </a:lnTo>
                  <a:lnTo>
                    <a:pt x="2771" y="2925"/>
                  </a:lnTo>
                  <a:lnTo>
                    <a:pt x="2777" y="2922"/>
                  </a:lnTo>
                  <a:lnTo>
                    <a:pt x="2784" y="2920"/>
                  </a:lnTo>
                  <a:lnTo>
                    <a:pt x="2792" y="2922"/>
                  </a:lnTo>
                  <a:lnTo>
                    <a:pt x="2798" y="2925"/>
                  </a:lnTo>
                  <a:lnTo>
                    <a:pt x="2803" y="2932"/>
                  </a:lnTo>
                  <a:lnTo>
                    <a:pt x="2804" y="2941"/>
                  </a:lnTo>
                  <a:close/>
                  <a:moveTo>
                    <a:pt x="6888" y="1521"/>
                  </a:moveTo>
                  <a:lnTo>
                    <a:pt x="6778" y="1521"/>
                  </a:lnTo>
                  <a:lnTo>
                    <a:pt x="6778" y="1631"/>
                  </a:lnTo>
                  <a:lnTo>
                    <a:pt x="6888" y="1631"/>
                  </a:lnTo>
                  <a:lnTo>
                    <a:pt x="6888" y="1521"/>
                  </a:lnTo>
                  <a:close/>
                  <a:moveTo>
                    <a:pt x="7276" y="2772"/>
                  </a:moveTo>
                  <a:lnTo>
                    <a:pt x="7276" y="2585"/>
                  </a:lnTo>
                  <a:lnTo>
                    <a:pt x="7276" y="2277"/>
                  </a:lnTo>
                  <a:lnTo>
                    <a:pt x="7277" y="2271"/>
                  </a:lnTo>
                  <a:lnTo>
                    <a:pt x="7277" y="1671"/>
                  </a:lnTo>
                  <a:lnTo>
                    <a:pt x="6909" y="1671"/>
                  </a:lnTo>
                  <a:lnTo>
                    <a:pt x="6758" y="1671"/>
                  </a:lnTo>
                  <a:lnTo>
                    <a:pt x="6469" y="1671"/>
                  </a:lnTo>
                  <a:lnTo>
                    <a:pt x="6460" y="1670"/>
                  </a:lnTo>
                  <a:lnTo>
                    <a:pt x="6454" y="1665"/>
                  </a:lnTo>
                  <a:lnTo>
                    <a:pt x="6450" y="1658"/>
                  </a:lnTo>
                  <a:lnTo>
                    <a:pt x="6449" y="1652"/>
                  </a:lnTo>
                  <a:lnTo>
                    <a:pt x="6450" y="1644"/>
                  </a:lnTo>
                  <a:lnTo>
                    <a:pt x="6454" y="1638"/>
                  </a:lnTo>
                  <a:lnTo>
                    <a:pt x="6460" y="1633"/>
                  </a:lnTo>
                  <a:lnTo>
                    <a:pt x="6469" y="1631"/>
                  </a:lnTo>
                  <a:lnTo>
                    <a:pt x="6574" y="1631"/>
                  </a:lnTo>
                  <a:lnTo>
                    <a:pt x="6574" y="1488"/>
                  </a:lnTo>
                  <a:lnTo>
                    <a:pt x="6172" y="1488"/>
                  </a:lnTo>
                  <a:lnTo>
                    <a:pt x="6172" y="1631"/>
                  </a:lnTo>
                  <a:lnTo>
                    <a:pt x="6204" y="1631"/>
                  </a:lnTo>
                  <a:lnTo>
                    <a:pt x="6213" y="1633"/>
                  </a:lnTo>
                  <a:lnTo>
                    <a:pt x="6219" y="1638"/>
                  </a:lnTo>
                  <a:lnTo>
                    <a:pt x="6223" y="1644"/>
                  </a:lnTo>
                  <a:lnTo>
                    <a:pt x="6224" y="1652"/>
                  </a:lnTo>
                  <a:lnTo>
                    <a:pt x="6223" y="1658"/>
                  </a:lnTo>
                  <a:lnTo>
                    <a:pt x="6219" y="1665"/>
                  </a:lnTo>
                  <a:lnTo>
                    <a:pt x="6213" y="1670"/>
                  </a:lnTo>
                  <a:lnTo>
                    <a:pt x="6204" y="1671"/>
                  </a:lnTo>
                  <a:lnTo>
                    <a:pt x="6037" y="1671"/>
                  </a:lnTo>
                  <a:lnTo>
                    <a:pt x="6037" y="2332"/>
                  </a:lnTo>
                  <a:lnTo>
                    <a:pt x="6037" y="2993"/>
                  </a:lnTo>
                  <a:lnTo>
                    <a:pt x="6037" y="3654"/>
                  </a:lnTo>
                  <a:lnTo>
                    <a:pt x="6037" y="4317"/>
                  </a:lnTo>
                  <a:lnTo>
                    <a:pt x="6656" y="4317"/>
                  </a:lnTo>
                  <a:lnTo>
                    <a:pt x="7276" y="4317"/>
                  </a:lnTo>
                  <a:lnTo>
                    <a:pt x="7276" y="3544"/>
                  </a:lnTo>
                  <a:lnTo>
                    <a:pt x="7276" y="2772"/>
                  </a:lnTo>
                  <a:close/>
                  <a:moveTo>
                    <a:pt x="9050" y="2792"/>
                  </a:moveTo>
                  <a:lnTo>
                    <a:pt x="8182" y="2792"/>
                  </a:lnTo>
                  <a:lnTo>
                    <a:pt x="7315" y="2792"/>
                  </a:lnTo>
                  <a:lnTo>
                    <a:pt x="7315" y="3554"/>
                  </a:lnTo>
                  <a:lnTo>
                    <a:pt x="7315" y="4317"/>
                  </a:lnTo>
                  <a:lnTo>
                    <a:pt x="8182" y="4317"/>
                  </a:lnTo>
                  <a:lnTo>
                    <a:pt x="9050" y="4317"/>
                  </a:lnTo>
                  <a:lnTo>
                    <a:pt x="9050" y="3554"/>
                  </a:lnTo>
                  <a:lnTo>
                    <a:pt x="9050" y="2792"/>
                  </a:lnTo>
                  <a:close/>
                  <a:moveTo>
                    <a:pt x="8412" y="2258"/>
                  </a:moveTo>
                  <a:lnTo>
                    <a:pt x="8412" y="2135"/>
                  </a:lnTo>
                  <a:lnTo>
                    <a:pt x="8413" y="2127"/>
                  </a:lnTo>
                  <a:lnTo>
                    <a:pt x="8418" y="2121"/>
                  </a:lnTo>
                  <a:lnTo>
                    <a:pt x="8425" y="2117"/>
                  </a:lnTo>
                  <a:lnTo>
                    <a:pt x="8432" y="2116"/>
                  </a:lnTo>
                  <a:lnTo>
                    <a:pt x="8677" y="2116"/>
                  </a:lnTo>
                  <a:lnTo>
                    <a:pt x="8685" y="2117"/>
                  </a:lnTo>
                  <a:lnTo>
                    <a:pt x="8691" y="2121"/>
                  </a:lnTo>
                  <a:lnTo>
                    <a:pt x="8695" y="2127"/>
                  </a:lnTo>
                  <a:lnTo>
                    <a:pt x="8698" y="2135"/>
                  </a:lnTo>
                  <a:lnTo>
                    <a:pt x="8698" y="2258"/>
                  </a:lnTo>
                  <a:lnTo>
                    <a:pt x="8853" y="2258"/>
                  </a:lnTo>
                  <a:lnTo>
                    <a:pt x="8868" y="2266"/>
                  </a:lnTo>
                  <a:lnTo>
                    <a:pt x="9089" y="2565"/>
                  </a:lnTo>
                  <a:lnTo>
                    <a:pt x="9100" y="2565"/>
                  </a:lnTo>
                  <a:lnTo>
                    <a:pt x="9108" y="2566"/>
                  </a:lnTo>
                  <a:lnTo>
                    <a:pt x="9114" y="2571"/>
                  </a:lnTo>
                  <a:lnTo>
                    <a:pt x="9120" y="2578"/>
                  </a:lnTo>
                  <a:lnTo>
                    <a:pt x="9121" y="2585"/>
                  </a:lnTo>
                  <a:lnTo>
                    <a:pt x="9121" y="2772"/>
                  </a:lnTo>
                  <a:lnTo>
                    <a:pt x="9120" y="2780"/>
                  </a:lnTo>
                  <a:lnTo>
                    <a:pt x="9114" y="2786"/>
                  </a:lnTo>
                  <a:lnTo>
                    <a:pt x="9108" y="2791"/>
                  </a:lnTo>
                  <a:lnTo>
                    <a:pt x="9100" y="2792"/>
                  </a:lnTo>
                  <a:lnTo>
                    <a:pt x="9090" y="2792"/>
                  </a:lnTo>
                  <a:lnTo>
                    <a:pt x="9090" y="3563"/>
                  </a:lnTo>
                  <a:lnTo>
                    <a:pt x="9090" y="4336"/>
                  </a:lnTo>
                  <a:lnTo>
                    <a:pt x="9089" y="4343"/>
                  </a:lnTo>
                  <a:lnTo>
                    <a:pt x="9084" y="4350"/>
                  </a:lnTo>
                  <a:lnTo>
                    <a:pt x="9077" y="4355"/>
                  </a:lnTo>
                  <a:lnTo>
                    <a:pt x="9070" y="4356"/>
                  </a:lnTo>
                  <a:lnTo>
                    <a:pt x="8184" y="4356"/>
                  </a:lnTo>
                  <a:lnTo>
                    <a:pt x="7297" y="4356"/>
                  </a:lnTo>
                  <a:lnTo>
                    <a:pt x="7295" y="4356"/>
                  </a:lnTo>
                  <a:lnTo>
                    <a:pt x="6656" y="4356"/>
                  </a:lnTo>
                  <a:lnTo>
                    <a:pt x="6018" y="4356"/>
                  </a:lnTo>
                  <a:lnTo>
                    <a:pt x="6010" y="4355"/>
                  </a:lnTo>
                  <a:lnTo>
                    <a:pt x="6004" y="4350"/>
                  </a:lnTo>
                  <a:lnTo>
                    <a:pt x="5999" y="4343"/>
                  </a:lnTo>
                  <a:lnTo>
                    <a:pt x="5997" y="4336"/>
                  </a:lnTo>
                  <a:lnTo>
                    <a:pt x="5997" y="3664"/>
                  </a:lnTo>
                  <a:lnTo>
                    <a:pt x="5997" y="2993"/>
                  </a:lnTo>
                  <a:lnTo>
                    <a:pt x="5997" y="2322"/>
                  </a:lnTo>
                  <a:lnTo>
                    <a:pt x="5997" y="1652"/>
                  </a:lnTo>
                  <a:lnTo>
                    <a:pt x="5999" y="1644"/>
                  </a:lnTo>
                  <a:lnTo>
                    <a:pt x="6004" y="1638"/>
                  </a:lnTo>
                  <a:lnTo>
                    <a:pt x="6010" y="1633"/>
                  </a:lnTo>
                  <a:lnTo>
                    <a:pt x="6018" y="1631"/>
                  </a:lnTo>
                  <a:lnTo>
                    <a:pt x="6132" y="1631"/>
                  </a:lnTo>
                  <a:lnTo>
                    <a:pt x="6132" y="1469"/>
                  </a:lnTo>
                  <a:lnTo>
                    <a:pt x="6133" y="1461"/>
                  </a:lnTo>
                  <a:lnTo>
                    <a:pt x="6138" y="1455"/>
                  </a:lnTo>
                  <a:lnTo>
                    <a:pt x="6145" y="1451"/>
                  </a:lnTo>
                  <a:lnTo>
                    <a:pt x="6152" y="1448"/>
                  </a:lnTo>
                  <a:lnTo>
                    <a:pt x="6595" y="1448"/>
                  </a:lnTo>
                  <a:lnTo>
                    <a:pt x="6602" y="1451"/>
                  </a:lnTo>
                  <a:lnTo>
                    <a:pt x="6609" y="1455"/>
                  </a:lnTo>
                  <a:lnTo>
                    <a:pt x="6613" y="1461"/>
                  </a:lnTo>
                  <a:lnTo>
                    <a:pt x="6614" y="1469"/>
                  </a:lnTo>
                  <a:lnTo>
                    <a:pt x="6614" y="1631"/>
                  </a:lnTo>
                  <a:lnTo>
                    <a:pt x="6738" y="1631"/>
                  </a:lnTo>
                  <a:lnTo>
                    <a:pt x="6738" y="1501"/>
                  </a:lnTo>
                  <a:lnTo>
                    <a:pt x="6740" y="1493"/>
                  </a:lnTo>
                  <a:lnTo>
                    <a:pt x="6744" y="1487"/>
                  </a:lnTo>
                  <a:lnTo>
                    <a:pt x="6750" y="1483"/>
                  </a:lnTo>
                  <a:lnTo>
                    <a:pt x="6758" y="1480"/>
                  </a:lnTo>
                  <a:lnTo>
                    <a:pt x="6909" y="1480"/>
                  </a:lnTo>
                  <a:lnTo>
                    <a:pt x="6917" y="1483"/>
                  </a:lnTo>
                  <a:lnTo>
                    <a:pt x="6923" y="1487"/>
                  </a:lnTo>
                  <a:lnTo>
                    <a:pt x="6927" y="1493"/>
                  </a:lnTo>
                  <a:lnTo>
                    <a:pt x="6928" y="1501"/>
                  </a:lnTo>
                  <a:lnTo>
                    <a:pt x="6928" y="1631"/>
                  </a:lnTo>
                  <a:lnTo>
                    <a:pt x="7297" y="1631"/>
                  </a:lnTo>
                  <a:lnTo>
                    <a:pt x="7305" y="1633"/>
                  </a:lnTo>
                  <a:lnTo>
                    <a:pt x="7312" y="1638"/>
                  </a:lnTo>
                  <a:lnTo>
                    <a:pt x="7315" y="1644"/>
                  </a:lnTo>
                  <a:lnTo>
                    <a:pt x="7317" y="1652"/>
                  </a:lnTo>
                  <a:lnTo>
                    <a:pt x="7317" y="2258"/>
                  </a:lnTo>
                  <a:lnTo>
                    <a:pt x="7864" y="2258"/>
                  </a:lnTo>
                  <a:lnTo>
                    <a:pt x="8412" y="2258"/>
                  </a:lnTo>
                  <a:close/>
                  <a:moveTo>
                    <a:pt x="8657" y="2258"/>
                  </a:moveTo>
                  <a:lnTo>
                    <a:pt x="8657" y="2156"/>
                  </a:lnTo>
                  <a:lnTo>
                    <a:pt x="8452" y="2156"/>
                  </a:lnTo>
                  <a:lnTo>
                    <a:pt x="8452" y="2258"/>
                  </a:lnTo>
                  <a:lnTo>
                    <a:pt x="8482" y="2258"/>
                  </a:lnTo>
                  <a:lnTo>
                    <a:pt x="8491" y="2259"/>
                  </a:lnTo>
                  <a:lnTo>
                    <a:pt x="8496" y="2264"/>
                  </a:lnTo>
                  <a:lnTo>
                    <a:pt x="8500" y="2271"/>
                  </a:lnTo>
                  <a:lnTo>
                    <a:pt x="8502" y="2277"/>
                  </a:lnTo>
                  <a:lnTo>
                    <a:pt x="8500" y="2285"/>
                  </a:lnTo>
                  <a:lnTo>
                    <a:pt x="8496" y="2291"/>
                  </a:lnTo>
                  <a:lnTo>
                    <a:pt x="8491" y="2296"/>
                  </a:lnTo>
                  <a:lnTo>
                    <a:pt x="8482" y="2298"/>
                  </a:lnTo>
                  <a:lnTo>
                    <a:pt x="7899" y="2298"/>
                  </a:lnTo>
                  <a:lnTo>
                    <a:pt x="7315" y="2298"/>
                  </a:lnTo>
                  <a:lnTo>
                    <a:pt x="7315" y="2565"/>
                  </a:lnTo>
                  <a:lnTo>
                    <a:pt x="8177" y="2565"/>
                  </a:lnTo>
                  <a:lnTo>
                    <a:pt x="9039" y="2565"/>
                  </a:lnTo>
                  <a:lnTo>
                    <a:pt x="8843" y="2298"/>
                  </a:lnTo>
                  <a:lnTo>
                    <a:pt x="8637" y="2298"/>
                  </a:lnTo>
                  <a:lnTo>
                    <a:pt x="8630" y="2296"/>
                  </a:lnTo>
                  <a:lnTo>
                    <a:pt x="8623" y="2291"/>
                  </a:lnTo>
                  <a:lnTo>
                    <a:pt x="8619" y="2285"/>
                  </a:lnTo>
                  <a:lnTo>
                    <a:pt x="8618" y="2277"/>
                  </a:lnTo>
                  <a:lnTo>
                    <a:pt x="8619" y="2271"/>
                  </a:lnTo>
                  <a:lnTo>
                    <a:pt x="8623" y="2264"/>
                  </a:lnTo>
                  <a:lnTo>
                    <a:pt x="8630" y="2259"/>
                  </a:lnTo>
                  <a:lnTo>
                    <a:pt x="8637" y="2258"/>
                  </a:lnTo>
                  <a:lnTo>
                    <a:pt x="8657" y="2258"/>
                  </a:lnTo>
                  <a:close/>
                  <a:moveTo>
                    <a:pt x="9075" y="2604"/>
                  </a:moveTo>
                  <a:lnTo>
                    <a:pt x="8195" y="2604"/>
                  </a:lnTo>
                  <a:lnTo>
                    <a:pt x="7315" y="2604"/>
                  </a:lnTo>
                  <a:lnTo>
                    <a:pt x="7315" y="2753"/>
                  </a:lnTo>
                  <a:lnTo>
                    <a:pt x="8192" y="2753"/>
                  </a:lnTo>
                  <a:lnTo>
                    <a:pt x="9070" y="2753"/>
                  </a:lnTo>
                  <a:lnTo>
                    <a:pt x="9081" y="2753"/>
                  </a:lnTo>
                  <a:lnTo>
                    <a:pt x="9081" y="2604"/>
                  </a:lnTo>
                  <a:lnTo>
                    <a:pt x="9075" y="2604"/>
                  </a:lnTo>
                  <a:close/>
                  <a:moveTo>
                    <a:pt x="6236" y="1893"/>
                  </a:moveTo>
                  <a:lnTo>
                    <a:pt x="6369" y="1893"/>
                  </a:lnTo>
                  <a:lnTo>
                    <a:pt x="6378" y="1895"/>
                  </a:lnTo>
                  <a:lnTo>
                    <a:pt x="6384" y="1900"/>
                  </a:lnTo>
                  <a:lnTo>
                    <a:pt x="6387" y="1906"/>
                  </a:lnTo>
                  <a:lnTo>
                    <a:pt x="6388" y="1913"/>
                  </a:lnTo>
                  <a:lnTo>
                    <a:pt x="6387" y="1920"/>
                  </a:lnTo>
                  <a:lnTo>
                    <a:pt x="6384" y="1927"/>
                  </a:lnTo>
                  <a:lnTo>
                    <a:pt x="6378" y="1932"/>
                  </a:lnTo>
                  <a:lnTo>
                    <a:pt x="6369" y="1933"/>
                  </a:lnTo>
                  <a:lnTo>
                    <a:pt x="6236" y="1933"/>
                  </a:lnTo>
                  <a:lnTo>
                    <a:pt x="6227" y="1932"/>
                  </a:lnTo>
                  <a:lnTo>
                    <a:pt x="6220" y="1927"/>
                  </a:lnTo>
                  <a:lnTo>
                    <a:pt x="6216" y="1920"/>
                  </a:lnTo>
                  <a:lnTo>
                    <a:pt x="6215" y="1913"/>
                  </a:lnTo>
                  <a:lnTo>
                    <a:pt x="6216" y="1906"/>
                  </a:lnTo>
                  <a:lnTo>
                    <a:pt x="6220" y="1900"/>
                  </a:lnTo>
                  <a:lnTo>
                    <a:pt x="6227" y="1895"/>
                  </a:lnTo>
                  <a:lnTo>
                    <a:pt x="6236" y="1893"/>
                  </a:lnTo>
                  <a:close/>
                  <a:moveTo>
                    <a:pt x="6472" y="1893"/>
                  </a:moveTo>
                  <a:lnTo>
                    <a:pt x="6605" y="1893"/>
                  </a:lnTo>
                  <a:lnTo>
                    <a:pt x="6614" y="1895"/>
                  </a:lnTo>
                  <a:lnTo>
                    <a:pt x="6620" y="1900"/>
                  </a:lnTo>
                  <a:lnTo>
                    <a:pt x="6624" y="1906"/>
                  </a:lnTo>
                  <a:lnTo>
                    <a:pt x="6626" y="1913"/>
                  </a:lnTo>
                  <a:lnTo>
                    <a:pt x="6624" y="1920"/>
                  </a:lnTo>
                  <a:lnTo>
                    <a:pt x="6620" y="1927"/>
                  </a:lnTo>
                  <a:lnTo>
                    <a:pt x="6614" y="1932"/>
                  </a:lnTo>
                  <a:lnTo>
                    <a:pt x="6605" y="1933"/>
                  </a:lnTo>
                  <a:lnTo>
                    <a:pt x="6472" y="1933"/>
                  </a:lnTo>
                  <a:lnTo>
                    <a:pt x="6464" y="1932"/>
                  </a:lnTo>
                  <a:lnTo>
                    <a:pt x="6458" y="1927"/>
                  </a:lnTo>
                  <a:lnTo>
                    <a:pt x="6454" y="1920"/>
                  </a:lnTo>
                  <a:lnTo>
                    <a:pt x="6452" y="1913"/>
                  </a:lnTo>
                  <a:lnTo>
                    <a:pt x="6454" y="1906"/>
                  </a:lnTo>
                  <a:lnTo>
                    <a:pt x="6458" y="1900"/>
                  </a:lnTo>
                  <a:lnTo>
                    <a:pt x="6464" y="1895"/>
                  </a:lnTo>
                  <a:lnTo>
                    <a:pt x="6472" y="1893"/>
                  </a:lnTo>
                  <a:close/>
                  <a:moveTo>
                    <a:pt x="6709" y="1893"/>
                  </a:moveTo>
                  <a:lnTo>
                    <a:pt x="6842" y="1893"/>
                  </a:lnTo>
                  <a:lnTo>
                    <a:pt x="6851" y="1895"/>
                  </a:lnTo>
                  <a:lnTo>
                    <a:pt x="6858" y="1900"/>
                  </a:lnTo>
                  <a:lnTo>
                    <a:pt x="6861" y="1906"/>
                  </a:lnTo>
                  <a:lnTo>
                    <a:pt x="6863" y="1913"/>
                  </a:lnTo>
                  <a:lnTo>
                    <a:pt x="6861" y="1920"/>
                  </a:lnTo>
                  <a:lnTo>
                    <a:pt x="6858" y="1927"/>
                  </a:lnTo>
                  <a:lnTo>
                    <a:pt x="6851" y="1932"/>
                  </a:lnTo>
                  <a:lnTo>
                    <a:pt x="6842" y="1933"/>
                  </a:lnTo>
                  <a:lnTo>
                    <a:pt x="6709" y="1933"/>
                  </a:lnTo>
                  <a:lnTo>
                    <a:pt x="6700" y="1932"/>
                  </a:lnTo>
                  <a:lnTo>
                    <a:pt x="6693" y="1927"/>
                  </a:lnTo>
                  <a:lnTo>
                    <a:pt x="6690" y="1920"/>
                  </a:lnTo>
                  <a:lnTo>
                    <a:pt x="6688" y="1913"/>
                  </a:lnTo>
                  <a:lnTo>
                    <a:pt x="6690" y="1906"/>
                  </a:lnTo>
                  <a:lnTo>
                    <a:pt x="6693" y="1900"/>
                  </a:lnTo>
                  <a:lnTo>
                    <a:pt x="6700" y="1895"/>
                  </a:lnTo>
                  <a:lnTo>
                    <a:pt x="6709" y="1893"/>
                  </a:lnTo>
                  <a:close/>
                  <a:moveTo>
                    <a:pt x="6946" y="1893"/>
                  </a:moveTo>
                  <a:lnTo>
                    <a:pt x="7078" y="1893"/>
                  </a:lnTo>
                  <a:lnTo>
                    <a:pt x="7087" y="1895"/>
                  </a:lnTo>
                  <a:lnTo>
                    <a:pt x="7094" y="1900"/>
                  </a:lnTo>
                  <a:lnTo>
                    <a:pt x="7097" y="1906"/>
                  </a:lnTo>
                  <a:lnTo>
                    <a:pt x="7099" y="1913"/>
                  </a:lnTo>
                  <a:lnTo>
                    <a:pt x="7097" y="1920"/>
                  </a:lnTo>
                  <a:lnTo>
                    <a:pt x="7094" y="1927"/>
                  </a:lnTo>
                  <a:lnTo>
                    <a:pt x="7087" y="1932"/>
                  </a:lnTo>
                  <a:lnTo>
                    <a:pt x="7078" y="1933"/>
                  </a:lnTo>
                  <a:lnTo>
                    <a:pt x="6946" y="1933"/>
                  </a:lnTo>
                  <a:lnTo>
                    <a:pt x="6937" y="1932"/>
                  </a:lnTo>
                  <a:lnTo>
                    <a:pt x="6931" y="1927"/>
                  </a:lnTo>
                  <a:lnTo>
                    <a:pt x="6927" y="1920"/>
                  </a:lnTo>
                  <a:lnTo>
                    <a:pt x="6926" y="1913"/>
                  </a:lnTo>
                  <a:lnTo>
                    <a:pt x="6927" y="1906"/>
                  </a:lnTo>
                  <a:lnTo>
                    <a:pt x="6931" y="1900"/>
                  </a:lnTo>
                  <a:lnTo>
                    <a:pt x="6937" y="1895"/>
                  </a:lnTo>
                  <a:lnTo>
                    <a:pt x="6946" y="1893"/>
                  </a:lnTo>
                  <a:close/>
                  <a:moveTo>
                    <a:pt x="6236" y="2156"/>
                  </a:moveTo>
                  <a:lnTo>
                    <a:pt x="6369" y="2156"/>
                  </a:lnTo>
                  <a:lnTo>
                    <a:pt x="6378" y="2158"/>
                  </a:lnTo>
                  <a:lnTo>
                    <a:pt x="6384" y="2162"/>
                  </a:lnTo>
                  <a:lnTo>
                    <a:pt x="6387" y="2168"/>
                  </a:lnTo>
                  <a:lnTo>
                    <a:pt x="6388" y="2176"/>
                  </a:lnTo>
                  <a:lnTo>
                    <a:pt x="6387" y="2184"/>
                  </a:lnTo>
                  <a:lnTo>
                    <a:pt x="6384" y="2190"/>
                  </a:lnTo>
                  <a:lnTo>
                    <a:pt x="6378" y="2194"/>
                  </a:lnTo>
                  <a:lnTo>
                    <a:pt x="6369" y="2197"/>
                  </a:lnTo>
                  <a:lnTo>
                    <a:pt x="6236" y="2197"/>
                  </a:lnTo>
                  <a:lnTo>
                    <a:pt x="6227" y="2194"/>
                  </a:lnTo>
                  <a:lnTo>
                    <a:pt x="6220" y="2190"/>
                  </a:lnTo>
                  <a:lnTo>
                    <a:pt x="6216" y="2184"/>
                  </a:lnTo>
                  <a:lnTo>
                    <a:pt x="6215" y="2176"/>
                  </a:lnTo>
                  <a:lnTo>
                    <a:pt x="6216" y="2168"/>
                  </a:lnTo>
                  <a:lnTo>
                    <a:pt x="6220" y="2162"/>
                  </a:lnTo>
                  <a:lnTo>
                    <a:pt x="6227" y="2158"/>
                  </a:lnTo>
                  <a:lnTo>
                    <a:pt x="6236" y="2156"/>
                  </a:lnTo>
                  <a:close/>
                  <a:moveTo>
                    <a:pt x="6472" y="2156"/>
                  </a:moveTo>
                  <a:lnTo>
                    <a:pt x="6605" y="2156"/>
                  </a:lnTo>
                  <a:lnTo>
                    <a:pt x="6614" y="2158"/>
                  </a:lnTo>
                  <a:lnTo>
                    <a:pt x="6620" y="2162"/>
                  </a:lnTo>
                  <a:lnTo>
                    <a:pt x="6624" y="2168"/>
                  </a:lnTo>
                  <a:lnTo>
                    <a:pt x="6626" y="2176"/>
                  </a:lnTo>
                  <a:lnTo>
                    <a:pt x="6624" y="2184"/>
                  </a:lnTo>
                  <a:lnTo>
                    <a:pt x="6620" y="2190"/>
                  </a:lnTo>
                  <a:lnTo>
                    <a:pt x="6614" y="2194"/>
                  </a:lnTo>
                  <a:lnTo>
                    <a:pt x="6605" y="2197"/>
                  </a:lnTo>
                  <a:lnTo>
                    <a:pt x="6472" y="2197"/>
                  </a:lnTo>
                  <a:lnTo>
                    <a:pt x="6464" y="2194"/>
                  </a:lnTo>
                  <a:lnTo>
                    <a:pt x="6458" y="2190"/>
                  </a:lnTo>
                  <a:lnTo>
                    <a:pt x="6454" y="2184"/>
                  </a:lnTo>
                  <a:lnTo>
                    <a:pt x="6452" y="2176"/>
                  </a:lnTo>
                  <a:lnTo>
                    <a:pt x="6454" y="2168"/>
                  </a:lnTo>
                  <a:lnTo>
                    <a:pt x="6458" y="2162"/>
                  </a:lnTo>
                  <a:lnTo>
                    <a:pt x="6464" y="2158"/>
                  </a:lnTo>
                  <a:lnTo>
                    <a:pt x="6472" y="2156"/>
                  </a:lnTo>
                  <a:close/>
                  <a:moveTo>
                    <a:pt x="6709" y="2156"/>
                  </a:moveTo>
                  <a:lnTo>
                    <a:pt x="6842" y="2156"/>
                  </a:lnTo>
                  <a:lnTo>
                    <a:pt x="6851" y="2158"/>
                  </a:lnTo>
                  <a:lnTo>
                    <a:pt x="6858" y="2162"/>
                  </a:lnTo>
                  <a:lnTo>
                    <a:pt x="6861" y="2168"/>
                  </a:lnTo>
                  <a:lnTo>
                    <a:pt x="6863" y="2176"/>
                  </a:lnTo>
                  <a:lnTo>
                    <a:pt x="6861" y="2184"/>
                  </a:lnTo>
                  <a:lnTo>
                    <a:pt x="6858" y="2190"/>
                  </a:lnTo>
                  <a:lnTo>
                    <a:pt x="6851" y="2194"/>
                  </a:lnTo>
                  <a:lnTo>
                    <a:pt x="6842" y="2197"/>
                  </a:lnTo>
                  <a:lnTo>
                    <a:pt x="6709" y="2197"/>
                  </a:lnTo>
                  <a:lnTo>
                    <a:pt x="6700" y="2194"/>
                  </a:lnTo>
                  <a:lnTo>
                    <a:pt x="6693" y="2190"/>
                  </a:lnTo>
                  <a:lnTo>
                    <a:pt x="6690" y="2184"/>
                  </a:lnTo>
                  <a:lnTo>
                    <a:pt x="6688" y="2176"/>
                  </a:lnTo>
                  <a:lnTo>
                    <a:pt x="6690" y="2168"/>
                  </a:lnTo>
                  <a:lnTo>
                    <a:pt x="6693" y="2162"/>
                  </a:lnTo>
                  <a:lnTo>
                    <a:pt x="6700" y="2158"/>
                  </a:lnTo>
                  <a:lnTo>
                    <a:pt x="6709" y="2156"/>
                  </a:lnTo>
                  <a:close/>
                  <a:moveTo>
                    <a:pt x="6946" y="2156"/>
                  </a:moveTo>
                  <a:lnTo>
                    <a:pt x="7078" y="2156"/>
                  </a:lnTo>
                  <a:lnTo>
                    <a:pt x="7087" y="2158"/>
                  </a:lnTo>
                  <a:lnTo>
                    <a:pt x="7094" y="2162"/>
                  </a:lnTo>
                  <a:lnTo>
                    <a:pt x="7097" y="2168"/>
                  </a:lnTo>
                  <a:lnTo>
                    <a:pt x="7099" y="2176"/>
                  </a:lnTo>
                  <a:lnTo>
                    <a:pt x="7097" y="2184"/>
                  </a:lnTo>
                  <a:lnTo>
                    <a:pt x="7094" y="2190"/>
                  </a:lnTo>
                  <a:lnTo>
                    <a:pt x="7087" y="2194"/>
                  </a:lnTo>
                  <a:lnTo>
                    <a:pt x="7078" y="2197"/>
                  </a:lnTo>
                  <a:lnTo>
                    <a:pt x="6946" y="2197"/>
                  </a:lnTo>
                  <a:lnTo>
                    <a:pt x="6937" y="2194"/>
                  </a:lnTo>
                  <a:lnTo>
                    <a:pt x="6931" y="2190"/>
                  </a:lnTo>
                  <a:lnTo>
                    <a:pt x="6927" y="2184"/>
                  </a:lnTo>
                  <a:lnTo>
                    <a:pt x="6926" y="2176"/>
                  </a:lnTo>
                  <a:lnTo>
                    <a:pt x="6927" y="2168"/>
                  </a:lnTo>
                  <a:lnTo>
                    <a:pt x="6931" y="2162"/>
                  </a:lnTo>
                  <a:lnTo>
                    <a:pt x="6937" y="2158"/>
                  </a:lnTo>
                  <a:lnTo>
                    <a:pt x="6946" y="2156"/>
                  </a:lnTo>
                  <a:close/>
                  <a:moveTo>
                    <a:pt x="6236" y="2419"/>
                  </a:moveTo>
                  <a:lnTo>
                    <a:pt x="6369" y="2419"/>
                  </a:lnTo>
                  <a:lnTo>
                    <a:pt x="6378" y="2420"/>
                  </a:lnTo>
                  <a:lnTo>
                    <a:pt x="6384" y="2425"/>
                  </a:lnTo>
                  <a:lnTo>
                    <a:pt x="6387" y="2432"/>
                  </a:lnTo>
                  <a:lnTo>
                    <a:pt x="6388" y="2439"/>
                  </a:lnTo>
                  <a:lnTo>
                    <a:pt x="6387" y="2446"/>
                  </a:lnTo>
                  <a:lnTo>
                    <a:pt x="6384" y="2452"/>
                  </a:lnTo>
                  <a:lnTo>
                    <a:pt x="6378" y="2457"/>
                  </a:lnTo>
                  <a:lnTo>
                    <a:pt x="6369" y="2459"/>
                  </a:lnTo>
                  <a:lnTo>
                    <a:pt x="6236" y="2459"/>
                  </a:lnTo>
                  <a:lnTo>
                    <a:pt x="6227" y="2457"/>
                  </a:lnTo>
                  <a:lnTo>
                    <a:pt x="6220" y="2452"/>
                  </a:lnTo>
                  <a:lnTo>
                    <a:pt x="6216" y="2446"/>
                  </a:lnTo>
                  <a:lnTo>
                    <a:pt x="6215" y="2439"/>
                  </a:lnTo>
                  <a:lnTo>
                    <a:pt x="6216" y="2432"/>
                  </a:lnTo>
                  <a:lnTo>
                    <a:pt x="6220" y="2425"/>
                  </a:lnTo>
                  <a:lnTo>
                    <a:pt x="6227" y="2420"/>
                  </a:lnTo>
                  <a:lnTo>
                    <a:pt x="6236" y="2419"/>
                  </a:lnTo>
                  <a:close/>
                  <a:moveTo>
                    <a:pt x="6472" y="2419"/>
                  </a:moveTo>
                  <a:lnTo>
                    <a:pt x="6605" y="2419"/>
                  </a:lnTo>
                  <a:lnTo>
                    <a:pt x="6614" y="2420"/>
                  </a:lnTo>
                  <a:lnTo>
                    <a:pt x="6620" y="2425"/>
                  </a:lnTo>
                  <a:lnTo>
                    <a:pt x="6624" y="2432"/>
                  </a:lnTo>
                  <a:lnTo>
                    <a:pt x="6626" y="2439"/>
                  </a:lnTo>
                  <a:lnTo>
                    <a:pt x="6624" y="2446"/>
                  </a:lnTo>
                  <a:lnTo>
                    <a:pt x="6620" y="2452"/>
                  </a:lnTo>
                  <a:lnTo>
                    <a:pt x="6614" y="2457"/>
                  </a:lnTo>
                  <a:lnTo>
                    <a:pt x="6605" y="2459"/>
                  </a:lnTo>
                  <a:lnTo>
                    <a:pt x="6472" y="2459"/>
                  </a:lnTo>
                  <a:lnTo>
                    <a:pt x="6464" y="2457"/>
                  </a:lnTo>
                  <a:lnTo>
                    <a:pt x="6458" y="2452"/>
                  </a:lnTo>
                  <a:lnTo>
                    <a:pt x="6454" y="2446"/>
                  </a:lnTo>
                  <a:lnTo>
                    <a:pt x="6452" y="2439"/>
                  </a:lnTo>
                  <a:lnTo>
                    <a:pt x="6454" y="2432"/>
                  </a:lnTo>
                  <a:lnTo>
                    <a:pt x="6458" y="2425"/>
                  </a:lnTo>
                  <a:lnTo>
                    <a:pt x="6464" y="2420"/>
                  </a:lnTo>
                  <a:lnTo>
                    <a:pt x="6472" y="2419"/>
                  </a:lnTo>
                  <a:close/>
                  <a:moveTo>
                    <a:pt x="6709" y="2419"/>
                  </a:moveTo>
                  <a:lnTo>
                    <a:pt x="6842" y="2419"/>
                  </a:lnTo>
                  <a:lnTo>
                    <a:pt x="6851" y="2420"/>
                  </a:lnTo>
                  <a:lnTo>
                    <a:pt x="6858" y="2425"/>
                  </a:lnTo>
                  <a:lnTo>
                    <a:pt x="6861" y="2432"/>
                  </a:lnTo>
                  <a:lnTo>
                    <a:pt x="6863" y="2439"/>
                  </a:lnTo>
                  <a:lnTo>
                    <a:pt x="6861" y="2446"/>
                  </a:lnTo>
                  <a:lnTo>
                    <a:pt x="6858" y="2452"/>
                  </a:lnTo>
                  <a:lnTo>
                    <a:pt x="6851" y="2457"/>
                  </a:lnTo>
                  <a:lnTo>
                    <a:pt x="6842" y="2459"/>
                  </a:lnTo>
                  <a:lnTo>
                    <a:pt x="6709" y="2459"/>
                  </a:lnTo>
                  <a:lnTo>
                    <a:pt x="6700" y="2457"/>
                  </a:lnTo>
                  <a:lnTo>
                    <a:pt x="6693" y="2452"/>
                  </a:lnTo>
                  <a:lnTo>
                    <a:pt x="6690" y="2446"/>
                  </a:lnTo>
                  <a:lnTo>
                    <a:pt x="6688" y="2439"/>
                  </a:lnTo>
                  <a:lnTo>
                    <a:pt x="6690" y="2432"/>
                  </a:lnTo>
                  <a:lnTo>
                    <a:pt x="6693" y="2425"/>
                  </a:lnTo>
                  <a:lnTo>
                    <a:pt x="6700" y="2420"/>
                  </a:lnTo>
                  <a:lnTo>
                    <a:pt x="6709" y="2419"/>
                  </a:lnTo>
                  <a:close/>
                  <a:moveTo>
                    <a:pt x="6946" y="2419"/>
                  </a:moveTo>
                  <a:lnTo>
                    <a:pt x="7078" y="2419"/>
                  </a:lnTo>
                  <a:lnTo>
                    <a:pt x="7087" y="2420"/>
                  </a:lnTo>
                  <a:lnTo>
                    <a:pt x="7094" y="2425"/>
                  </a:lnTo>
                  <a:lnTo>
                    <a:pt x="7097" y="2432"/>
                  </a:lnTo>
                  <a:lnTo>
                    <a:pt x="7099" y="2439"/>
                  </a:lnTo>
                  <a:lnTo>
                    <a:pt x="7097" y="2446"/>
                  </a:lnTo>
                  <a:lnTo>
                    <a:pt x="7094" y="2452"/>
                  </a:lnTo>
                  <a:lnTo>
                    <a:pt x="7087" y="2457"/>
                  </a:lnTo>
                  <a:lnTo>
                    <a:pt x="7078" y="2459"/>
                  </a:lnTo>
                  <a:lnTo>
                    <a:pt x="6946" y="2459"/>
                  </a:lnTo>
                  <a:lnTo>
                    <a:pt x="6937" y="2457"/>
                  </a:lnTo>
                  <a:lnTo>
                    <a:pt x="6931" y="2452"/>
                  </a:lnTo>
                  <a:lnTo>
                    <a:pt x="6927" y="2446"/>
                  </a:lnTo>
                  <a:lnTo>
                    <a:pt x="6926" y="2439"/>
                  </a:lnTo>
                  <a:lnTo>
                    <a:pt x="6927" y="2432"/>
                  </a:lnTo>
                  <a:lnTo>
                    <a:pt x="6931" y="2425"/>
                  </a:lnTo>
                  <a:lnTo>
                    <a:pt x="6937" y="2420"/>
                  </a:lnTo>
                  <a:lnTo>
                    <a:pt x="6946" y="2419"/>
                  </a:lnTo>
                  <a:close/>
                  <a:moveTo>
                    <a:pt x="6236" y="2682"/>
                  </a:moveTo>
                  <a:lnTo>
                    <a:pt x="6369" y="2682"/>
                  </a:lnTo>
                  <a:lnTo>
                    <a:pt x="6378" y="2684"/>
                  </a:lnTo>
                  <a:lnTo>
                    <a:pt x="6384" y="2689"/>
                  </a:lnTo>
                  <a:lnTo>
                    <a:pt x="6387" y="2695"/>
                  </a:lnTo>
                  <a:lnTo>
                    <a:pt x="6388" y="2702"/>
                  </a:lnTo>
                  <a:lnTo>
                    <a:pt x="6387" y="2709"/>
                  </a:lnTo>
                  <a:lnTo>
                    <a:pt x="6384" y="2716"/>
                  </a:lnTo>
                  <a:lnTo>
                    <a:pt x="6378" y="2721"/>
                  </a:lnTo>
                  <a:lnTo>
                    <a:pt x="6369" y="2722"/>
                  </a:lnTo>
                  <a:lnTo>
                    <a:pt x="6236" y="2722"/>
                  </a:lnTo>
                  <a:lnTo>
                    <a:pt x="6227" y="2721"/>
                  </a:lnTo>
                  <a:lnTo>
                    <a:pt x="6220" y="2716"/>
                  </a:lnTo>
                  <a:lnTo>
                    <a:pt x="6216" y="2709"/>
                  </a:lnTo>
                  <a:lnTo>
                    <a:pt x="6215" y="2702"/>
                  </a:lnTo>
                  <a:lnTo>
                    <a:pt x="6216" y="2695"/>
                  </a:lnTo>
                  <a:lnTo>
                    <a:pt x="6220" y="2689"/>
                  </a:lnTo>
                  <a:lnTo>
                    <a:pt x="6227" y="2684"/>
                  </a:lnTo>
                  <a:lnTo>
                    <a:pt x="6236" y="2682"/>
                  </a:lnTo>
                  <a:close/>
                  <a:moveTo>
                    <a:pt x="6472" y="2682"/>
                  </a:moveTo>
                  <a:lnTo>
                    <a:pt x="6605" y="2682"/>
                  </a:lnTo>
                  <a:lnTo>
                    <a:pt x="6614" y="2684"/>
                  </a:lnTo>
                  <a:lnTo>
                    <a:pt x="6620" y="2689"/>
                  </a:lnTo>
                  <a:lnTo>
                    <a:pt x="6624" y="2695"/>
                  </a:lnTo>
                  <a:lnTo>
                    <a:pt x="6626" y="2702"/>
                  </a:lnTo>
                  <a:lnTo>
                    <a:pt x="6624" y="2709"/>
                  </a:lnTo>
                  <a:lnTo>
                    <a:pt x="6620" y="2716"/>
                  </a:lnTo>
                  <a:lnTo>
                    <a:pt x="6614" y="2721"/>
                  </a:lnTo>
                  <a:lnTo>
                    <a:pt x="6605" y="2722"/>
                  </a:lnTo>
                  <a:lnTo>
                    <a:pt x="6472" y="2722"/>
                  </a:lnTo>
                  <a:lnTo>
                    <a:pt x="6464" y="2721"/>
                  </a:lnTo>
                  <a:lnTo>
                    <a:pt x="6458" y="2716"/>
                  </a:lnTo>
                  <a:lnTo>
                    <a:pt x="6454" y="2709"/>
                  </a:lnTo>
                  <a:lnTo>
                    <a:pt x="6452" y="2702"/>
                  </a:lnTo>
                  <a:lnTo>
                    <a:pt x="6454" y="2695"/>
                  </a:lnTo>
                  <a:lnTo>
                    <a:pt x="6458" y="2689"/>
                  </a:lnTo>
                  <a:lnTo>
                    <a:pt x="6464" y="2684"/>
                  </a:lnTo>
                  <a:lnTo>
                    <a:pt x="6472" y="2682"/>
                  </a:lnTo>
                  <a:close/>
                  <a:moveTo>
                    <a:pt x="6709" y="2682"/>
                  </a:moveTo>
                  <a:lnTo>
                    <a:pt x="6842" y="2682"/>
                  </a:lnTo>
                  <a:lnTo>
                    <a:pt x="6851" y="2684"/>
                  </a:lnTo>
                  <a:lnTo>
                    <a:pt x="6858" y="2689"/>
                  </a:lnTo>
                  <a:lnTo>
                    <a:pt x="6861" y="2695"/>
                  </a:lnTo>
                  <a:lnTo>
                    <a:pt x="6863" y="2702"/>
                  </a:lnTo>
                  <a:lnTo>
                    <a:pt x="6861" y="2709"/>
                  </a:lnTo>
                  <a:lnTo>
                    <a:pt x="6858" y="2716"/>
                  </a:lnTo>
                  <a:lnTo>
                    <a:pt x="6851" y="2721"/>
                  </a:lnTo>
                  <a:lnTo>
                    <a:pt x="6842" y="2722"/>
                  </a:lnTo>
                  <a:lnTo>
                    <a:pt x="6709" y="2722"/>
                  </a:lnTo>
                  <a:lnTo>
                    <a:pt x="6700" y="2721"/>
                  </a:lnTo>
                  <a:lnTo>
                    <a:pt x="6693" y="2716"/>
                  </a:lnTo>
                  <a:lnTo>
                    <a:pt x="6690" y="2709"/>
                  </a:lnTo>
                  <a:lnTo>
                    <a:pt x="6688" y="2702"/>
                  </a:lnTo>
                  <a:lnTo>
                    <a:pt x="6690" y="2695"/>
                  </a:lnTo>
                  <a:lnTo>
                    <a:pt x="6693" y="2689"/>
                  </a:lnTo>
                  <a:lnTo>
                    <a:pt x="6700" y="2684"/>
                  </a:lnTo>
                  <a:lnTo>
                    <a:pt x="6709" y="2682"/>
                  </a:lnTo>
                  <a:close/>
                  <a:moveTo>
                    <a:pt x="6946" y="2682"/>
                  </a:moveTo>
                  <a:lnTo>
                    <a:pt x="7078" y="2682"/>
                  </a:lnTo>
                  <a:lnTo>
                    <a:pt x="7087" y="2684"/>
                  </a:lnTo>
                  <a:lnTo>
                    <a:pt x="7094" y="2689"/>
                  </a:lnTo>
                  <a:lnTo>
                    <a:pt x="7097" y="2695"/>
                  </a:lnTo>
                  <a:lnTo>
                    <a:pt x="7099" y="2702"/>
                  </a:lnTo>
                  <a:lnTo>
                    <a:pt x="7097" y="2709"/>
                  </a:lnTo>
                  <a:lnTo>
                    <a:pt x="7094" y="2716"/>
                  </a:lnTo>
                  <a:lnTo>
                    <a:pt x="7087" y="2721"/>
                  </a:lnTo>
                  <a:lnTo>
                    <a:pt x="7078" y="2722"/>
                  </a:lnTo>
                  <a:lnTo>
                    <a:pt x="6946" y="2722"/>
                  </a:lnTo>
                  <a:lnTo>
                    <a:pt x="6937" y="2721"/>
                  </a:lnTo>
                  <a:lnTo>
                    <a:pt x="6931" y="2716"/>
                  </a:lnTo>
                  <a:lnTo>
                    <a:pt x="6927" y="2709"/>
                  </a:lnTo>
                  <a:lnTo>
                    <a:pt x="6926" y="2702"/>
                  </a:lnTo>
                  <a:lnTo>
                    <a:pt x="6927" y="2695"/>
                  </a:lnTo>
                  <a:lnTo>
                    <a:pt x="6931" y="2689"/>
                  </a:lnTo>
                  <a:lnTo>
                    <a:pt x="6937" y="2684"/>
                  </a:lnTo>
                  <a:lnTo>
                    <a:pt x="6946" y="2682"/>
                  </a:lnTo>
                  <a:close/>
                  <a:moveTo>
                    <a:pt x="6236" y="2946"/>
                  </a:moveTo>
                  <a:lnTo>
                    <a:pt x="6369" y="2946"/>
                  </a:lnTo>
                  <a:lnTo>
                    <a:pt x="6378" y="2947"/>
                  </a:lnTo>
                  <a:lnTo>
                    <a:pt x="6384" y="2951"/>
                  </a:lnTo>
                  <a:lnTo>
                    <a:pt x="6387" y="2957"/>
                  </a:lnTo>
                  <a:lnTo>
                    <a:pt x="6388" y="2965"/>
                  </a:lnTo>
                  <a:lnTo>
                    <a:pt x="6387" y="2973"/>
                  </a:lnTo>
                  <a:lnTo>
                    <a:pt x="6384" y="2979"/>
                  </a:lnTo>
                  <a:lnTo>
                    <a:pt x="6378" y="2983"/>
                  </a:lnTo>
                  <a:lnTo>
                    <a:pt x="6369" y="2985"/>
                  </a:lnTo>
                  <a:lnTo>
                    <a:pt x="6236" y="2985"/>
                  </a:lnTo>
                  <a:lnTo>
                    <a:pt x="6227" y="2983"/>
                  </a:lnTo>
                  <a:lnTo>
                    <a:pt x="6220" y="2979"/>
                  </a:lnTo>
                  <a:lnTo>
                    <a:pt x="6216" y="2973"/>
                  </a:lnTo>
                  <a:lnTo>
                    <a:pt x="6215" y="2965"/>
                  </a:lnTo>
                  <a:lnTo>
                    <a:pt x="6216" y="2957"/>
                  </a:lnTo>
                  <a:lnTo>
                    <a:pt x="6220" y="2951"/>
                  </a:lnTo>
                  <a:lnTo>
                    <a:pt x="6227" y="2947"/>
                  </a:lnTo>
                  <a:lnTo>
                    <a:pt x="6236" y="2946"/>
                  </a:lnTo>
                  <a:close/>
                  <a:moveTo>
                    <a:pt x="6472" y="2946"/>
                  </a:moveTo>
                  <a:lnTo>
                    <a:pt x="6605" y="2946"/>
                  </a:lnTo>
                  <a:lnTo>
                    <a:pt x="6614" y="2947"/>
                  </a:lnTo>
                  <a:lnTo>
                    <a:pt x="6620" y="2951"/>
                  </a:lnTo>
                  <a:lnTo>
                    <a:pt x="6624" y="2957"/>
                  </a:lnTo>
                  <a:lnTo>
                    <a:pt x="6626" y="2965"/>
                  </a:lnTo>
                  <a:lnTo>
                    <a:pt x="6624" y="2973"/>
                  </a:lnTo>
                  <a:lnTo>
                    <a:pt x="6620" y="2979"/>
                  </a:lnTo>
                  <a:lnTo>
                    <a:pt x="6614" y="2983"/>
                  </a:lnTo>
                  <a:lnTo>
                    <a:pt x="6605" y="2985"/>
                  </a:lnTo>
                  <a:lnTo>
                    <a:pt x="6472" y="2985"/>
                  </a:lnTo>
                  <a:lnTo>
                    <a:pt x="6464" y="2983"/>
                  </a:lnTo>
                  <a:lnTo>
                    <a:pt x="6458" y="2979"/>
                  </a:lnTo>
                  <a:lnTo>
                    <a:pt x="6454" y="2973"/>
                  </a:lnTo>
                  <a:lnTo>
                    <a:pt x="6452" y="2965"/>
                  </a:lnTo>
                  <a:lnTo>
                    <a:pt x="6454" y="2957"/>
                  </a:lnTo>
                  <a:lnTo>
                    <a:pt x="6458" y="2951"/>
                  </a:lnTo>
                  <a:lnTo>
                    <a:pt x="6464" y="2947"/>
                  </a:lnTo>
                  <a:lnTo>
                    <a:pt x="6472" y="2946"/>
                  </a:lnTo>
                  <a:close/>
                  <a:moveTo>
                    <a:pt x="6709" y="2946"/>
                  </a:moveTo>
                  <a:lnTo>
                    <a:pt x="6842" y="2946"/>
                  </a:lnTo>
                  <a:lnTo>
                    <a:pt x="6851" y="2947"/>
                  </a:lnTo>
                  <a:lnTo>
                    <a:pt x="6858" y="2951"/>
                  </a:lnTo>
                  <a:lnTo>
                    <a:pt x="6861" y="2957"/>
                  </a:lnTo>
                  <a:lnTo>
                    <a:pt x="6863" y="2965"/>
                  </a:lnTo>
                  <a:lnTo>
                    <a:pt x="6861" y="2973"/>
                  </a:lnTo>
                  <a:lnTo>
                    <a:pt x="6858" y="2979"/>
                  </a:lnTo>
                  <a:lnTo>
                    <a:pt x="6851" y="2983"/>
                  </a:lnTo>
                  <a:lnTo>
                    <a:pt x="6842" y="2985"/>
                  </a:lnTo>
                  <a:lnTo>
                    <a:pt x="6709" y="2985"/>
                  </a:lnTo>
                  <a:lnTo>
                    <a:pt x="6700" y="2983"/>
                  </a:lnTo>
                  <a:lnTo>
                    <a:pt x="6693" y="2979"/>
                  </a:lnTo>
                  <a:lnTo>
                    <a:pt x="6690" y="2973"/>
                  </a:lnTo>
                  <a:lnTo>
                    <a:pt x="6688" y="2965"/>
                  </a:lnTo>
                  <a:lnTo>
                    <a:pt x="6690" y="2957"/>
                  </a:lnTo>
                  <a:lnTo>
                    <a:pt x="6693" y="2951"/>
                  </a:lnTo>
                  <a:lnTo>
                    <a:pt x="6700" y="2947"/>
                  </a:lnTo>
                  <a:lnTo>
                    <a:pt x="6709" y="2946"/>
                  </a:lnTo>
                  <a:close/>
                  <a:moveTo>
                    <a:pt x="6946" y="2946"/>
                  </a:moveTo>
                  <a:lnTo>
                    <a:pt x="7078" y="2946"/>
                  </a:lnTo>
                  <a:lnTo>
                    <a:pt x="7087" y="2947"/>
                  </a:lnTo>
                  <a:lnTo>
                    <a:pt x="7094" y="2951"/>
                  </a:lnTo>
                  <a:lnTo>
                    <a:pt x="7097" y="2957"/>
                  </a:lnTo>
                  <a:lnTo>
                    <a:pt x="7099" y="2965"/>
                  </a:lnTo>
                  <a:lnTo>
                    <a:pt x="7097" y="2973"/>
                  </a:lnTo>
                  <a:lnTo>
                    <a:pt x="7094" y="2979"/>
                  </a:lnTo>
                  <a:lnTo>
                    <a:pt x="7087" y="2983"/>
                  </a:lnTo>
                  <a:lnTo>
                    <a:pt x="7078" y="2985"/>
                  </a:lnTo>
                  <a:lnTo>
                    <a:pt x="6946" y="2985"/>
                  </a:lnTo>
                  <a:lnTo>
                    <a:pt x="6937" y="2983"/>
                  </a:lnTo>
                  <a:lnTo>
                    <a:pt x="6931" y="2979"/>
                  </a:lnTo>
                  <a:lnTo>
                    <a:pt x="6927" y="2973"/>
                  </a:lnTo>
                  <a:lnTo>
                    <a:pt x="6926" y="2965"/>
                  </a:lnTo>
                  <a:lnTo>
                    <a:pt x="6927" y="2957"/>
                  </a:lnTo>
                  <a:lnTo>
                    <a:pt x="6931" y="2951"/>
                  </a:lnTo>
                  <a:lnTo>
                    <a:pt x="6937" y="2947"/>
                  </a:lnTo>
                  <a:lnTo>
                    <a:pt x="6946" y="2946"/>
                  </a:lnTo>
                  <a:close/>
                  <a:moveTo>
                    <a:pt x="6236" y="3208"/>
                  </a:moveTo>
                  <a:lnTo>
                    <a:pt x="6369" y="3208"/>
                  </a:lnTo>
                  <a:lnTo>
                    <a:pt x="6378" y="3211"/>
                  </a:lnTo>
                  <a:lnTo>
                    <a:pt x="6384" y="3214"/>
                  </a:lnTo>
                  <a:lnTo>
                    <a:pt x="6387" y="3221"/>
                  </a:lnTo>
                  <a:lnTo>
                    <a:pt x="6388" y="3228"/>
                  </a:lnTo>
                  <a:lnTo>
                    <a:pt x="6387" y="3236"/>
                  </a:lnTo>
                  <a:lnTo>
                    <a:pt x="6384" y="3242"/>
                  </a:lnTo>
                  <a:lnTo>
                    <a:pt x="6378" y="3246"/>
                  </a:lnTo>
                  <a:lnTo>
                    <a:pt x="6369" y="3248"/>
                  </a:lnTo>
                  <a:lnTo>
                    <a:pt x="6236" y="3248"/>
                  </a:lnTo>
                  <a:lnTo>
                    <a:pt x="6227" y="3246"/>
                  </a:lnTo>
                  <a:lnTo>
                    <a:pt x="6220" y="3242"/>
                  </a:lnTo>
                  <a:lnTo>
                    <a:pt x="6216" y="3236"/>
                  </a:lnTo>
                  <a:lnTo>
                    <a:pt x="6215" y="3228"/>
                  </a:lnTo>
                  <a:lnTo>
                    <a:pt x="6216" y="3221"/>
                  </a:lnTo>
                  <a:lnTo>
                    <a:pt x="6220" y="3214"/>
                  </a:lnTo>
                  <a:lnTo>
                    <a:pt x="6227" y="3211"/>
                  </a:lnTo>
                  <a:lnTo>
                    <a:pt x="6236" y="3208"/>
                  </a:lnTo>
                  <a:close/>
                  <a:moveTo>
                    <a:pt x="6472" y="3208"/>
                  </a:moveTo>
                  <a:lnTo>
                    <a:pt x="6605" y="3208"/>
                  </a:lnTo>
                  <a:lnTo>
                    <a:pt x="6614" y="3211"/>
                  </a:lnTo>
                  <a:lnTo>
                    <a:pt x="6620" y="3214"/>
                  </a:lnTo>
                  <a:lnTo>
                    <a:pt x="6624" y="3221"/>
                  </a:lnTo>
                  <a:lnTo>
                    <a:pt x="6626" y="3228"/>
                  </a:lnTo>
                  <a:lnTo>
                    <a:pt x="6624" y="3236"/>
                  </a:lnTo>
                  <a:lnTo>
                    <a:pt x="6620" y="3242"/>
                  </a:lnTo>
                  <a:lnTo>
                    <a:pt x="6614" y="3246"/>
                  </a:lnTo>
                  <a:lnTo>
                    <a:pt x="6605" y="3248"/>
                  </a:lnTo>
                  <a:lnTo>
                    <a:pt x="6472" y="3248"/>
                  </a:lnTo>
                  <a:lnTo>
                    <a:pt x="6464" y="3246"/>
                  </a:lnTo>
                  <a:lnTo>
                    <a:pt x="6458" y="3242"/>
                  </a:lnTo>
                  <a:lnTo>
                    <a:pt x="6454" y="3236"/>
                  </a:lnTo>
                  <a:lnTo>
                    <a:pt x="6452" y="3228"/>
                  </a:lnTo>
                  <a:lnTo>
                    <a:pt x="6454" y="3221"/>
                  </a:lnTo>
                  <a:lnTo>
                    <a:pt x="6458" y="3214"/>
                  </a:lnTo>
                  <a:lnTo>
                    <a:pt x="6464" y="3211"/>
                  </a:lnTo>
                  <a:lnTo>
                    <a:pt x="6472" y="3208"/>
                  </a:lnTo>
                  <a:close/>
                  <a:moveTo>
                    <a:pt x="6709" y="3208"/>
                  </a:moveTo>
                  <a:lnTo>
                    <a:pt x="6842" y="3208"/>
                  </a:lnTo>
                  <a:lnTo>
                    <a:pt x="6851" y="3211"/>
                  </a:lnTo>
                  <a:lnTo>
                    <a:pt x="6858" y="3214"/>
                  </a:lnTo>
                  <a:lnTo>
                    <a:pt x="6861" y="3221"/>
                  </a:lnTo>
                  <a:lnTo>
                    <a:pt x="6863" y="3228"/>
                  </a:lnTo>
                  <a:lnTo>
                    <a:pt x="6861" y="3236"/>
                  </a:lnTo>
                  <a:lnTo>
                    <a:pt x="6858" y="3242"/>
                  </a:lnTo>
                  <a:lnTo>
                    <a:pt x="6851" y="3246"/>
                  </a:lnTo>
                  <a:lnTo>
                    <a:pt x="6842" y="3248"/>
                  </a:lnTo>
                  <a:lnTo>
                    <a:pt x="6709" y="3248"/>
                  </a:lnTo>
                  <a:lnTo>
                    <a:pt x="6700" y="3246"/>
                  </a:lnTo>
                  <a:lnTo>
                    <a:pt x="6693" y="3242"/>
                  </a:lnTo>
                  <a:lnTo>
                    <a:pt x="6690" y="3236"/>
                  </a:lnTo>
                  <a:lnTo>
                    <a:pt x="6688" y="3228"/>
                  </a:lnTo>
                  <a:lnTo>
                    <a:pt x="6690" y="3221"/>
                  </a:lnTo>
                  <a:lnTo>
                    <a:pt x="6693" y="3214"/>
                  </a:lnTo>
                  <a:lnTo>
                    <a:pt x="6700" y="3211"/>
                  </a:lnTo>
                  <a:lnTo>
                    <a:pt x="6709" y="3208"/>
                  </a:lnTo>
                  <a:close/>
                  <a:moveTo>
                    <a:pt x="6946" y="3208"/>
                  </a:moveTo>
                  <a:lnTo>
                    <a:pt x="7078" y="3208"/>
                  </a:lnTo>
                  <a:lnTo>
                    <a:pt x="7087" y="3211"/>
                  </a:lnTo>
                  <a:lnTo>
                    <a:pt x="7094" y="3214"/>
                  </a:lnTo>
                  <a:lnTo>
                    <a:pt x="7097" y="3221"/>
                  </a:lnTo>
                  <a:lnTo>
                    <a:pt x="7099" y="3228"/>
                  </a:lnTo>
                  <a:lnTo>
                    <a:pt x="7097" y="3236"/>
                  </a:lnTo>
                  <a:lnTo>
                    <a:pt x="7094" y="3242"/>
                  </a:lnTo>
                  <a:lnTo>
                    <a:pt x="7087" y="3246"/>
                  </a:lnTo>
                  <a:lnTo>
                    <a:pt x="7078" y="3248"/>
                  </a:lnTo>
                  <a:lnTo>
                    <a:pt x="6946" y="3248"/>
                  </a:lnTo>
                  <a:lnTo>
                    <a:pt x="6937" y="3246"/>
                  </a:lnTo>
                  <a:lnTo>
                    <a:pt x="6931" y="3242"/>
                  </a:lnTo>
                  <a:lnTo>
                    <a:pt x="6927" y="3236"/>
                  </a:lnTo>
                  <a:lnTo>
                    <a:pt x="6926" y="3228"/>
                  </a:lnTo>
                  <a:lnTo>
                    <a:pt x="6927" y="3221"/>
                  </a:lnTo>
                  <a:lnTo>
                    <a:pt x="6931" y="3214"/>
                  </a:lnTo>
                  <a:lnTo>
                    <a:pt x="6937" y="3211"/>
                  </a:lnTo>
                  <a:lnTo>
                    <a:pt x="6946" y="3208"/>
                  </a:lnTo>
                  <a:close/>
                  <a:moveTo>
                    <a:pt x="6236" y="3471"/>
                  </a:moveTo>
                  <a:lnTo>
                    <a:pt x="6369" y="3471"/>
                  </a:lnTo>
                  <a:lnTo>
                    <a:pt x="6378" y="3473"/>
                  </a:lnTo>
                  <a:lnTo>
                    <a:pt x="6384" y="3478"/>
                  </a:lnTo>
                  <a:lnTo>
                    <a:pt x="6387" y="3484"/>
                  </a:lnTo>
                  <a:lnTo>
                    <a:pt x="6388" y="3492"/>
                  </a:lnTo>
                  <a:lnTo>
                    <a:pt x="6387" y="3498"/>
                  </a:lnTo>
                  <a:lnTo>
                    <a:pt x="6384" y="3505"/>
                  </a:lnTo>
                  <a:lnTo>
                    <a:pt x="6378" y="3510"/>
                  </a:lnTo>
                  <a:lnTo>
                    <a:pt x="6369" y="3511"/>
                  </a:lnTo>
                  <a:lnTo>
                    <a:pt x="6236" y="3511"/>
                  </a:lnTo>
                  <a:lnTo>
                    <a:pt x="6227" y="3510"/>
                  </a:lnTo>
                  <a:lnTo>
                    <a:pt x="6220" y="3505"/>
                  </a:lnTo>
                  <a:lnTo>
                    <a:pt x="6216" y="3498"/>
                  </a:lnTo>
                  <a:lnTo>
                    <a:pt x="6215" y="3492"/>
                  </a:lnTo>
                  <a:lnTo>
                    <a:pt x="6216" y="3484"/>
                  </a:lnTo>
                  <a:lnTo>
                    <a:pt x="6220" y="3478"/>
                  </a:lnTo>
                  <a:lnTo>
                    <a:pt x="6227" y="3473"/>
                  </a:lnTo>
                  <a:lnTo>
                    <a:pt x="6236" y="3471"/>
                  </a:lnTo>
                  <a:close/>
                  <a:moveTo>
                    <a:pt x="6472" y="3471"/>
                  </a:moveTo>
                  <a:lnTo>
                    <a:pt x="6605" y="3471"/>
                  </a:lnTo>
                  <a:lnTo>
                    <a:pt x="6614" y="3473"/>
                  </a:lnTo>
                  <a:lnTo>
                    <a:pt x="6620" y="3478"/>
                  </a:lnTo>
                  <a:lnTo>
                    <a:pt x="6624" y="3484"/>
                  </a:lnTo>
                  <a:lnTo>
                    <a:pt x="6626" y="3492"/>
                  </a:lnTo>
                  <a:lnTo>
                    <a:pt x="6624" y="3498"/>
                  </a:lnTo>
                  <a:lnTo>
                    <a:pt x="6620" y="3505"/>
                  </a:lnTo>
                  <a:lnTo>
                    <a:pt x="6614" y="3510"/>
                  </a:lnTo>
                  <a:lnTo>
                    <a:pt x="6605" y="3511"/>
                  </a:lnTo>
                  <a:lnTo>
                    <a:pt x="6472" y="3511"/>
                  </a:lnTo>
                  <a:lnTo>
                    <a:pt x="6464" y="3510"/>
                  </a:lnTo>
                  <a:lnTo>
                    <a:pt x="6458" y="3505"/>
                  </a:lnTo>
                  <a:lnTo>
                    <a:pt x="6454" y="3498"/>
                  </a:lnTo>
                  <a:lnTo>
                    <a:pt x="6452" y="3492"/>
                  </a:lnTo>
                  <a:lnTo>
                    <a:pt x="6454" y="3484"/>
                  </a:lnTo>
                  <a:lnTo>
                    <a:pt x="6458" y="3478"/>
                  </a:lnTo>
                  <a:lnTo>
                    <a:pt x="6464" y="3473"/>
                  </a:lnTo>
                  <a:lnTo>
                    <a:pt x="6472" y="3471"/>
                  </a:lnTo>
                  <a:close/>
                  <a:moveTo>
                    <a:pt x="6709" y="3471"/>
                  </a:moveTo>
                  <a:lnTo>
                    <a:pt x="6842" y="3471"/>
                  </a:lnTo>
                  <a:lnTo>
                    <a:pt x="6851" y="3473"/>
                  </a:lnTo>
                  <a:lnTo>
                    <a:pt x="6858" y="3478"/>
                  </a:lnTo>
                  <a:lnTo>
                    <a:pt x="6861" y="3484"/>
                  </a:lnTo>
                  <a:lnTo>
                    <a:pt x="6863" y="3492"/>
                  </a:lnTo>
                  <a:lnTo>
                    <a:pt x="6861" y="3498"/>
                  </a:lnTo>
                  <a:lnTo>
                    <a:pt x="6858" y="3505"/>
                  </a:lnTo>
                  <a:lnTo>
                    <a:pt x="6851" y="3510"/>
                  </a:lnTo>
                  <a:lnTo>
                    <a:pt x="6842" y="3511"/>
                  </a:lnTo>
                  <a:lnTo>
                    <a:pt x="6709" y="3511"/>
                  </a:lnTo>
                  <a:lnTo>
                    <a:pt x="6700" y="3510"/>
                  </a:lnTo>
                  <a:lnTo>
                    <a:pt x="6693" y="3505"/>
                  </a:lnTo>
                  <a:lnTo>
                    <a:pt x="6690" y="3498"/>
                  </a:lnTo>
                  <a:lnTo>
                    <a:pt x="6688" y="3492"/>
                  </a:lnTo>
                  <a:lnTo>
                    <a:pt x="6690" y="3484"/>
                  </a:lnTo>
                  <a:lnTo>
                    <a:pt x="6693" y="3478"/>
                  </a:lnTo>
                  <a:lnTo>
                    <a:pt x="6700" y="3473"/>
                  </a:lnTo>
                  <a:lnTo>
                    <a:pt x="6709" y="3471"/>
                  </a:lnTo>
                  <a:close/>
                  <a:moveTo>
                    <a:pt x="6946" y="3471"/>
                  </a:moveTo>
                  <a:lnTo>
                    <a:pt x="7078" y="3471"/>
                  </a:lnTo>
                  <a:lnTo>
                    <a:pt x="7087" y="3473"/>
                  </a:lnTo>
                  <a:lnTo>
                    <a:pt x="7094" y="3478"/>
                  </a:lnTo>
                  <a:lnTo>
                    <a:pt x="7097" y="3484"/>
                  </a:lnTo>
                  <a:lnTo>
                    <a:pt x="7099" y="3492"/>
                  </a:lnTo>
                  <a:lnTo>
                    <a:pt x="7097" y="3498"/>
                  </a:lnTo>
                  <a:lnTo>
                    <a:pt x="7094" y="3505"/>
                  </a:lnTo>
                  <a:lnTo>
                    <a:pt x="7087" y="3510"/>
                  </a:lnTo>
                  <a:lnTo>
                    <a:pt x="7078" y="3511"/>
                  </a:lnTo>
                  <a:lnTo>
                    <a:pt x="6946" y="3511"/>
                  </a:lnTo>
                  <a:lnTo>
                    <a:pt x="6937" y="3510"/>
                  </a:lnTo>
                  <a:lnTo>
                    <a:pt x="6931" y="3505"/>
                  </a:lnTo>
                  <a:lnTo>
                    <a:pt x="6927" y="3498"/>
                  </a:lnTo>
                  <a:lnTo>
                    <a:pt x="6926" y="3492"/>
                  </a:lnTo>
                  <a:lnTo>
                    <a:pt x="6927" y="3484"/>
                  </a:lnTo>
                  <a:lnTo>
                    <a:pt x="6931" y="3478"/>
                  </a:lnTo>
                  <a:lnTo>
                    <a:pt x="6937" y="3473"/>
                  </a:lnTo>
                  <a:lnTo>
                    <a:pt x="6946" y="3471"/>
                  </a:lnTo>
                  <a:close/>
                  <a:moveTo>
                    <a:pt x="6236" y="3735"/>
                  </a:moveTo>
                  <a:lnTo>
                    <a:pt x="6369" y="3735"/>
                  </a:lnTo>
                  <a:lnTo>
                    <a:pt x="6378" y="3736"/>
                  </a:lnTo>
                  <a:lnTo>
                    <a:pt x="6384" y="3741"/>
                  </a:lnTo>
                  <a:lnTo>
                    <a:pt x="6387" y="3748"/>
                  </a:lnTo>
                  <a:lnTo>
                    <a:pt x="6388" y="3754"/>
                  </a:lnTo>
                  <a:lnTo>
                    <a:pt x="6387" y="3762"/>
                  </a:lnTo>
                  <a:lnTo>
                    <a:pt x="6384" y="3768"/>
                  </a:lnTo>
                  <a:lnTo>
                    <a:pt x="6378" y="3773"/>
                  </a:lnTo>
                  <a:lnTo>
                    <a:pt x="6369" y="3774"/>
                  </a:lnTo>
                  <a:lnTo>
                    <a:pt x="6236" y="3774"/>
                  </a:lnTo>
                  <a:lnTo>
                    <a:pt x="6227" y="3773"/>
                  </a:lnTo>
                  <a:lnTo>
                    <a:pt x="6220" y="3768"/>
                  </a:lnTo>
                  <a:lnTo>
                    <a:pt x="6216" y="3762"/>
                  </a:lnTo>
                  <a:lnTo>
                    <a:pt x="6215" y="3754"/>
                  </a:lnTo>
                  <a:lnTo>
                    <a:pt x="6216" y="3748"/>
                  </a:lnTo>
                  <a:lnTo>
                    <a:pt x="6220" y="3741"/>
                  </a:lnTo>
                  <a:lnTo>
                    <a:pt x="6227" y="3736"/>
                  </a:lnTo>
                  <a:lnTo>
                    <a:pt x="6236" y="3735"/>
                  </a:lnTo>
                  <a:close/>
                  <a:moveTo>
                    <a:pt x="6472" y="3735"/>
                  </a:moveTo>
                  <a:lnTo>
                    <a:pt x="6605" y="3735"/>
                  </a:lnTo>
                  <a:lnTo>
                    <a:pt x="6614" y="3736"/>
                  </a:lnTo>
                  <a:lnTo>
                    <a:pt x="6620" y="3741"/>
                  </a:lnTo>
                  <a:lnTo>
                    <a:pt x="6624" y="3748"/>
                  </a:lnTo>
                  <a:lnTo>
                    <a:pt x="6626" y="3754"/>
                  </a:lnTo>
                  <a:lnTo>
                    <a:pt x="6624" y="3762"/>
                  </a:lnTo>
                  <a:lnTo>
                    <a:pt x="6620" y="3768"/>
                  </a:lnTo>
                  <a:lnTo>
                    <a:pt x="6614" y="3773"/>
                  </a:lnTo>
                  <a:lnTo>
                    <a:pt x="6605" y="3774"/>
                  </a:lnTo>
                  <a:lnTo>
                    <a:pt x="6472" y="3774"/>
                  </a:lnTo>
                  <a:lnTo>
                    <a:pt x="6464" y="3773"/>
                  </a:lnTo>
                  <a:lnTo>
                    <a:pt x="6458" y="3768"/>
                  </a:lnTo>
                  <a:lnTo>
                    <a:pt x="6454" y="3762"/>
                  </a:lnTo>
                  <a:lnTo>
                    <a:pt x="6452" y="3754"/>
                  </a:lnTo>
                  <a:lnTo>
                    <a:pt x="6454" y="3748"/>
                  </a:lnTo>
                  <a:lnTo>
                    <a:pt x="6458" y="3741"/>
                  </a:lnTo>
                  <a:lnTo>
                    <a:pt x="6464" y="3736"/>
                  </a:lnTo>
                  <a:lnTo>
                    <a:pt x="6472" y="3735"/>
                  </a:lnTo>
                  <a:close/>
                  <a:moveTo>
                    <a:pt x="6709" y="3735"/>
                  </a:moveTo>
                  <a:lnTo>
                    <a:pt x="6842" y="3735"/>
                  </a:lnTo>
                  <a:lnTo>
                    <a:pt x="6851" y="3736"/>
                  </a:lnTo>
                  <a:lnTo>
                    <a:pt x="6858" y="3741"/>
                  </a:lnTo>
                  <a:lnTo>
                    <a:pt x="6861" y="3748"/>
                  </a:lnTo>
                  <a:lnTo>
                    <a:pt x="6863" y="3754"/>
                  </a:lnTo>
                  <a:lnTo>
                    <a:pt x="6861" y="3762"/>
                  </a:lnTo>
                  <a:lnTo>
                    <a:pt x="6858" y="3768"/>
                  </a:lnTo>
                  <a:lnTo>
                    <a:pt x="6851" y="3773"/>
                  </a:lnTo>
                  <a:lnTo>
                    <a:pt x="6842" y="3774"/>
                  </a:lnTo>
                  <a:lnTo>
                    <a:pt x="6709" y="3774"/>
                  </a:lnTo>
                  <a:lnTo>
                    <a:pt x="6700" y="3773"/>
                  </a:lnTo>
                  <a:lnTo>
                    <a:pt x="6693" y="3768"/>
                  </a:lnTo>
                  <a:lnTo>
                    <a:pt x="6690" y="3762"/>
                  </a:lnTo>
                  <a:lnTo>
                    <a:pt x="6688" y="3754"/>
                  </a:lnTo>
                  <a:lnTo>
                    <a:pt x="6690" y="3748"/>
                  </a:lnTo>
                  <a:lnTo>
                    <a:pt x="6693" y="3741"/>
                  </a:lnTo>
                  <a:lnTo>
                    <a:pt x="6700" y="3736"/>
                  </a:lnTo>
                  <a:lnTo>
                    <a:pt x="6709" y="3735"/>
                  </a:lnTo>
                  <a:close/>
                  <a:moveTo>
                    <a:pt x="6946" y="3735"/>
                  </a:moveTo>
                  <a:lnTo>
                    <a:pt x="7078" y="3735"/>
                  </a:lnTo>
                  <a:lnTo>
                    <a:pt x="7087" y="3736"/>
                  </a:lnTo>
                  <a:lnTo>
                    <a:pt x="7094" y="3741"/>
                  </a:lnTo>
                  <a:lnTo>
                    <a:pt x="7097" y="3748"/>
                  </a:lnTo>
                  <a:lnTo>
                    <a:pt x="7099" y="3754"/>
                  </a:lnTo>
                  <a:lnTo>
                    <a:pt x="7097" y="3762"/>
                  </a:lnTo>
                  <a:lnTo>
                    <a:pt x="7094" y="3768"/>
                  </a:lnTo>
                  <a:lnTo>
                    <a:pt x="7087" y="3773"/>
                  </a:lnTo>
                  <a:lnTo>
                    <a:pt x="7078" y="3774"/>
                  </a:lnTo>
                  <a:lnTo>
                    <a:pt x="6946" y="3774"/>
                  </a:lnTo>
                  <a:lnTo>
                    <a:pt x="6937" y="3773"/>
                  </a:lnTo>
                  <a:lnTo>
                    <a:pt x="6931" y="3768"/>
                  </a:lnTo>
                  <a:lnTo>
                    <a:pt x="6927" y="3762"/>
                  </a:lnTo>
                  <a:lnTo>
                    <a:pt x="6926" y="3754"/>
                  </a:lnTo>
                  <a:lnTo>
                    <a:pt x="6927" y="3748"/>
                  </a:lnTo>
                  <a:lnTo>
                    <a:pt x="6931" y="3741"/>
                  </a:lnTo>
                  <a:lnTo>
                    <a:pt x="6937" y="3736"/>
                  </a:lnTo>
                  <a:lnTo>
                    <a:pt x="6946" y="3735"/>
                  </a:lnTo>
                  <a:close/>
                  <a:moveTo>
                    <a:pt x="6236" y="3997"/>
                  </a:moveTo>
                  <a:lnTo>
                    <a:pt x="6369" y="3997"/>
                  </a:lnTo>
                  <a:lnTo>
                    <a:pt x="6378" y="3999"/>
                  </a:lnTo>
                  <a:lnTo>
                    <a:pt x="6384" y="4003"/>
                  </a:lnTo>
                  <a:lnTo>
                    <a:pt x="6387" y="4010"/>
                  </a:lnTo>
                  <a:lnTo>
                    <a:pt x="6388" y="4017"/>
                  </a:lnTo>
                  <a:lnTo>
                    <a:pt x="6387" y="4025"/>
                  </a:lnTo>
                  <a:lnTo>
                    <a:pt x="6384" y="4031"/>
                  </a:lnTo>
                  <a:lnTo>
                    <a:pt x="6378" y="4035"/>
                  </a:lnTo>
                  <a:lnTo>
                    <a:pt x="6369" y="4038"/>
                  </a:lnTo>
                  <a:lnTo>
                    <a:pt x="6236" y="4038"/>
                  </a:lnTo>
                  <a:lnTo>
                    <a:pt x="6227" y="4035"/>
                  </a:lnTo>
                  <a:lnTo>
                    <a:pt x="6220" y="4031"/>
                  </a:lnTo>
                  <a:lnTo>
                    <a:pt x="6216" y="4025"/>
                  </a:lnTo>
                  <a:lnTo>
                    <a:pt x="6215" y="4017"/>
                  </a:lnTo>
                  <a:lnTo>
                    <a:pt x="6216" y="4010"/>
                  </a:lnTo>
                  <a:lnTo>
                    <a:pt x="6220" y="4003"/>
                  </a:lnTo>
                  <a:lnTo>
                    <a:pt x="6227" y="3999"/>
                  </a:lnTo>
                  <a:lnTo>
                    <a:pt x="6236" y="3997"/>
                  </a:lnTo>
                  <a:close/>
                  <a:moveTo>
                    <a:pt x="6472" y="3997"/>
                  </a:moveTo>
                  <a:lnTo>
                    <a:pt x="6605" y="3997"/>
                  </a:lnTo>
                  <a:lnTo>
                    <a:pt x="6614" y="3999"/>
                  </a:lnTo>
                  <a:lnTo>
                    <a:pt x="6620" y="4003"/>
                  </a:lnTo>
                  <a:lnTo>
                    <a:pt x="6624" y="4010"/>
                  </a:lnTo>
                  <a:lnTo>
                    <a:pt x="6626" y="4017"/>
                  </a:lnTo>
                  <a:lnTo>
                    <a:pt x="6624" y="4025"/>
                  </a:lnTo>
                  <a:lnTo>
                    <a:pt x="6620" y="4031"/>
                  </a:lnTo>
                  <a:lnTo>
                    <a:pt x="6614" y="4035"/>
                  </a:lnTo>
                  <a:lnTo>
                    <a:pt x="6605" y="4038"/>
                  </a:lnTo>
                  <a:lnTo>
                    <a:pt x="6472" y="4038"/>
                  </a:lnTo>
                  <a:lnTo>
                    <a:pt x="6464" y="4035"/>
                  </a:lnTo>
                  <a:lnTo>
                    <a:pt x="6458" y="4031"/>
                  </a:lnTo>
                  <a:lnTo>
                    <a:pt x="6454" y="4025"/>
                  </a:lnTo>
                  <a:lnTo>
                    <a:pt x="6452" y="4017"/>
                  </a:lnTo>
                  <a:lnTo>
                    <a:pt x="6454" y="4010"/>
                  </a:lnTo>
                  <a:lnTo>
                    <a:pt x="6458" y="4003"/>
                  </a:lnTo>
                  <a:lnTo>
                    <a:pt x="6464" y="3999"/>
                  </a:lnTo>
                  <a:lnTo>
                    <a:pt x="6472" y="3997"/>
                  </a:lnTo>
                  <a:close/>
                  <a:moveTo>
                    <a:pt x="6709" y="3997"/>
                  </a:moveTo>
                  <a:lnTo>
                    <a:pt x="6842" y="3997"/>
                  </a:lnTo>
                  <a:lnTo>
                    <a:pt x="6851" y="3999"/>
                  </a:lnTo>
                  <a:lnTo>
                    <a:pt x="6858" y="4003"/>
                  </a:lnTo>
                  <a:lnTo>
                    <a:pt x="6861" y="4010"/>
                  </a:lnTo>
                  <a:lnTo>
                    <a:pt x="6863" y="4017"/>
                  </a:lnTo>
                  <a:lnTo>
                    <a:pt x="6861" y="4025"/>
                  </a:lnTo>
                  <a:lnTo>
                    <a:pt x="6858" y="4031"/>
                  </a:lnTo>
                  <a:lnTo>
                    <a:pt x="6851" y="4035"/>
                  </a:lnTo>
                  <a:lnTo>
                    <a:pt x="6842" y="4038"/>
                  </a:lnTo>
                  <a:lnTo>
                    <a:pt x="6709" y="4038"/>
                  </a:lnTo>
                  <a:lnTo>
                    <a:pt x="6700" y="4035"/>
                  </a:lnTo>
                  <a:lnTo>
                    <a:pt x="6693" y="4031"/>
                  </a:lnTo>
                  <a:lnTo>
                    <a:pt x="6690" y="4025"/>
                  </a:lnTo>
                  <a:lnTo>
                    <a:pt x="6688" y="4017"/>
                  </a:lnTo>
                  <a:lnTo>
                    <a:pt x="6690" y="4010"/>
                  </a:lnTo>
                  <a:lnTo>
                    <a:pt x="6693" y="4003"/>
                  </a:lnTo>
                  <a:lnTo>
                    <a:pt x="6700" y="3999"/>
                  </a:lnTo>
                  <a:lnTo>
                    <a:pt x="6709" y="3997"/>
                  </a:lnTo>
                  <a:close/>
                  <a:moveTo>
                    <a:pt x="6946" y="3997"/>
                  </a:moveTo>
                  <a:lnTo>
                    <a:pt x="7078" y="3997"/>
                  </a:lnTo>
                  <a:lnTo>
                    <a:pt x="7087" y="3999"/>
                  </a:lnTo>
                  <a:lnTo>
                    <a:pt x="7094" y="4003"/>
                  </a:lnTo>
                  <a:lnTo>
                    <a:pt x="7097" y="4010"/>
                  </a:lnTo>
                  <a:lnTo>
                    <a:pt x="7099" y="4017"/>
                  </a:lnTo>
                  <a:lnTo>
                    <a:pt x="7097" y="4025"/>
                  </a:lnTo>
                  <a:lnTo>
                    <a:pt x="7094" y="4031"/>
                  </a:lnTo>
                  <a:lnTo>
                    <a:pt x="7087" y="4035"/>
                  </a:lnTo>
                  <a:lnTo>
                    <a:pt x="7078" y="4038"/>
                  </a:lnTo>
                  <a:lnTo>
                    <a:pt x="6946" y="4038"/>
                  </a:lnTo>
                  <a:lnTo>
                    <a:pt x="6937" y="4035"/>
                  </a:lnTo>
                  <a:lnTo>
                    <a:pt x="6931" y="4031"/>
                  </a:lnTo>
                  <a:lnTo>
                    <a:pt x="6927" y="4025"/>
                  </a:lnTo>
                  <a:lnTo>
                    <a:pt x="6926" y="4017"/>
                  </a:lnTo>
                  <a:lnTo>
                    <a:pt x="6927" y="4010"/>
                  </a:lnTo>
                  <a:lnTo>
                    <a:pt x="6931" y="4003"/>
                  </a:lnTo>
                  <a:lnTo>
                    <a:pt x="6937" y="3999"/>
                  </a:lnTo>
                  <a:lnTo>
                    <a:pt x="6946" y="3997"/>
                  </a:lnTo>
                  <a:close/>
                  <a:moveTo>
                    <a:pt x="7545" y="2941"/>
                  </a:moveTo>
                  <a:lnTo>
                    <a:pt x="7545" y="3052"/>
                  </a:lnTo>
                  <a:lnTo>
                    <a:pt x="7542" y="3061"/>
                  </a:lnTo>
                  <a:lnTo>
                    <a:pt x="7539" y="3067"/>
                  </a:lnTo>
                  <a:lnTo>
                    <a:pt x="7532" y="3071"/>
                  </a:lnTo>
                  <a:lnTo>
                    <a:pt x="7524" y="3072"/>
                  </a:lnTo>
                  <a:lnTo>
                    <a:pt x="7517" y="3071"/>
                  </a:lnTo>
                  <a:lnTo>
                    <a:pt x="7510" y="3067"/>
                  </a:lnTo>
                  <a:lnTo>
                    <a:pt x="7506" y="3061"/>
                  </a:lnTo>
                  <a:lnTo>
                    <a:pt x="7505" y="3052"/>
                  </a:lnTo>
                  <a:lnTo>
                    <a:pt x="7505" y="2941"/>
                  </a:lnTo>
                  <a:lnTo>
                    <a:pt x="7506" y="2932"/>
                  </a:lnTo>
                  <a:lnTo>
                    <a:pt x="7510" y="2925"/>
                  </a:lnTo>
                  <a:lnTo>
                    <a:pt x="7517" y="2922"/>
                  </a:lnTo>
                  <a:lnTo>
                    <a:pt x="7524" y="2920"/>
                  </a:lnTo>
                  <a:lnTo>
                    <a:pt x="7532" y="2922"/>
                  </a:lnTo>
                  <a:lnTo>
                    <a:pt x="7539" y="2925"/>
                  </a:lnTo>
                  <a:lnTo>
                    <a:pt x="7542" y="2932"/>
                  </a:lnTo>
                  <a:lnTo>
                    <a:pt x="7545" y="2941"/>
                  </a:lnTo>
                  <a:close/>
                  <a:moveTo>
                    <a:pt x="7808" y="2941"/>
                  </a:moveTo>
                  <a:lnTo>
                    <a:pt x="7808" y="3052"/>
                  </a:lnTo>
                  <a:lnTo>
                    <a:pt x="7807" y="3061"/>
                  </a:lnTo>
                  <a:lnTo>
                    <a:pt x="7801" y="3067"/>
                  </a:lnTo>
                  <a:lnTo>
                    <a:pt x="7795" y="3071"/>
                  </a:lnTo>
                  <a:lnTo>
                    <a:pt x="7787" y="3072"/>
                  </a:lnTo>
                  <a:lnTo>
                    <a:pt x="7781" y="3071"/>
                  </a:lnTo>
                  <a:lnTo>
                    <a:pt x="7774" y="3067"/>
                  </a:lnTo>
                  <a:lnTo>
                    <a:pt x="7769" y="3061"/>
                  </a:lnTo>
                  <a:lnTo>
                    <a:pt x="7768" y="3052"/>
                  </a:lnTo>
                  <a:lnTo>
                    <a:pt x="7768" y="2941"/>
                  </a:lnTo>
                  <a:lnTo>
                    <a:pt x="7769" y="2932"/>
                  </a:lnTo>
                  <a:lnTo>
                    <a:pt x="7774" y="2925"/>
                  </a:lnTo>
                  <a:lnTo>
                    <a:pt x="7781" y="2922"/>
                  </a:lnTo>
                  <a:lnTo>
                    <a:pt x="7787" y="2920"/>
                  </a:lnTo>
                  <a:lnTo>
                    <a:pt x="7795" y="2922"/>
                  </a:lnTo>
                  <a:lnTo>
                    <a:pt x="7801" y="2925"/>
                  </a:lnTo>
                  <a:lnTo>
                    <a:pt x="7807" y="2932"/>
                  </a:lnTo>
                  <a:lnTo>
                    <a:pt x="7808" y="2941"/>
                  </a:lnTo>
                  <a:close/>
                  <a:moveTo>
                    <a:pt x="8071" y="2941"/>
                  </a:moveTo>
                  <a:lnTo>
                    <a:pt x="8071" y="3052"/>
                  </a:lnTo>
                  <a:lnTo>
                    <a:pt x="8069" y="3061"/>
                  </a:lnTo>
                  <a:lnTo>
                    <a:pt x="8064" y="3067"/>
                  </a:lnTo>
                  <a:lnTo>
                    <a:pt x="8058" y="3071"/>
                  </a:lnTo>
                  <a:lnTo>
                    <a:pt x="8051" y="3072"/>
                  </a:lnTo>
                  <a:lnTo>
                    <a:pt x="8044" y="3071"/>
                  </a:lnTo>
                  <a:lnTo>
                    <a:pt x="8037" y="3067"/>
                  </a:lnTo>
                  <a:lnTo>
                    <a:pt x="8032" y="3061"/>
                  </a:lnTo>
                  <a:lnTo>
                    <a:pt x="8031" y="3052"/>
                  </a:lnTo>
                  <a:lnTo>
                    <a:pt x="8031" y="2941"/>
                  </a:lnTo>
                  <a:lnTo>
                    <a:pt x="8032" y="2932"/>
                  </a:lnTo>
                  <a:lnTo>
                    <a:pt x="8037" y="2925"/>
                  </a:lnTo>
                  <a:lnTo>
                    <a:pt x="8044" y="2922"/>
                  </a:lnTo>
                  <a:lnTo>
                    <a:pt x="8051" y="2920"/>
                  </a:lnTo>
                  <a:lnTo>
                    <a:pt x="8058" y="2922"/>
                  </a:lnTo>
                  <a:lnTo>
                    <a:pt x="8064" y="2925"/>
                  </a:lnTo>
                  <a:lnTo>
                    <a:pt x="8069" y="2932"/>
                  </a:lnTo>
                  <a:lnTo>
                    <a:pt x="8071" y="2941"/>
                  </a:lnTo>
                  <a:close/>
                  <a:moveTo>
                    <a:pt x="8334" y="2941"/>
                  </a:moveTo>
                  <a:lnTo>
                    <a:pt x="8334" y="3052"/>
                  </a:lnTo>
                  <a:lnTo>
                    <a:pt x="8332" y="3061"/>
                  </a:lnTo>
                  <a:lnTo>
                    <a:pt x="8327" y="3067"/>
                  </a:lnTo>
                  <a:lnTo>
                    <a:pt x="8322" y="3071"/>
                  </a:lnTo>
                  <a:lnTo>
                    <a:pt x="8314" y="3072"/>
                  </a:lnTo>
                  <a:lnTo>
                    <a:pt x="8307" y="3071"/>
                  </a:lnTo>
                  <a:lnTo>
                    <a:pt x="8300" y="3067"/>
                  </a:lnTo>
                  <a:lnTo>
                    <a:pt x="8296" y="3061"/>
                  </a:lnTo>
                  <a:lnTo>
                    <a:pt x="8294" y="3052"/>
                  </a:lnTo>
                  <a:lnTo>
                    <a:pt x="8294" y="2941"/>
                  </a:lnTo>
                  <a:lnTo>
                    <a:pt x="8296" y="2932"/>
                  </a:lnTo>
                  <a:lnTo>
                    <a:pt x="8300" y="2925"/>
                  </a:lnTo>
                  <a:lnTo>
                    <a:pt x="8307" y="2922"/>
                  </a:lnTo>
                  <a:lnTo>
                    <a:pt x="8314" y="2920"/>
                  </a:lnTo>
                  <a:lnTo>
                    <a:pt x="8322" y="2922"/>
                  </a:lnTo>
                  <a:lnTo>
                    <a:pt x="8327" y="2925"/>
                  </a:lnTo>
                  <a:lnTo>
                    <a:pt x="8332" y="2932"/>
                  </a:lnTo>
                  <a:lnTo>
                    <a:pt x="8334" y="2941"/>
                  </a:lnTo>
                  <a:close/>
                  <a:moveTo>
                    <a:pt x="8598" y="2941"/>
                  </a:moveTo>
                  <a:lnTo>
                    <a:pt x="8598" y="3052"/>
                  </a:lnTo>
                  <a:lnTo>
                    <a:pt x="8595" y="3061"/>
                  </a:lnTo>
                  <a:lnTo>
                    <a:pt x="8591" y="3067"/>
                  </a:lnTo>
                  <a:lnTo>
                    <a:pt x="8585" y="3071"/>
                  </a:lnTo>
                  <a:lnTo>
                    <a:pt x="8577" y="3072"/>
                  </a:lnTo>
                  <a:lnTo>
                    <a:pt x="8569" y="3071"/>
                  </a:lnTo>
                  <a:lnTo>
                    <a:pt x="8563" y="3067"/>
                  </a:lnTo>
                  <a:lnTo>
                    <a:pt x="8559" y="3061"/>
                  </a:lnTo>
                  <a:lnTo>
                    <a:pt x="8557" y="3052"/>
                  </a:lnTo>
                  <a:lnTo>
                    <a:pt x="8557" y="2941"/>
                  </a:lnTo>
                  <a:lnTo>
                    <a:pt x="8559" y="2932"/>
                  </a:lnTo>
                  <a:lnTo>
                    <a:pt x="8563" y="2925"/>
                  </a:lnTo>
                  <a:lnTo>
                    <a:pt x="8569" y="2922"/>
                  </a:lnTo>
                  <a:lnTo>
                    <a:pt x="8577" y="2920"/>
                  </a:lnTo>
                  <a:lnTo>
                    <a:pt x="8585" y="2922"/>
                  </a:lnTo>
                  <a:lnTo>
                    <a:pt x="8591" y="2925"/>
                  </a:lnTo>
                  <a:lnTo>
                    <a:pt x="8595" y="2932"/>
                  </a:lnTo>
                  <a:lnTo>
                    <a:pt x="8598" y="2941"/>
                  </a:lnTo>
                  <a:close/>
                  <a:moveTo>
                    <a:pt x="8861" y="2941"/>
                  </a:moveTo>
                  <a:lnTo>
                    <a:pt x="8861" y="3052"/>
                  </a:lnTo>
                  <a:lnTo>
                    <a:pt x="8858" y="3061"/>
                  </a:lnTo>
                  <a:lnTo>
                    <a:pt x="8854" y="3067"/>
                  </a:lnTo>
                  <a:lnTo>
                    <a:pt x="8848" y="3071"/>
                  </a:lnTo>
                  <a:lnTo>
                    <a:pt x="8840" y="3072"/>
                  </a:lnTo>
                  <a:lnTo>
                    <a:pt x="8832" y="3071"/>
                  </a:lnTo>
                  <a:lnTo>
                    <a:pt x="8826" y="3067"/>
                  </a:lnTo>
                  <a:lnTo>
                    <a:pt x="8822" y="3061"/>
                  </a:lnTo>
                  <a:lnTo>
                    <a:pt x="8821" y="3052"/>
                  </a:lnTo>
                  <a:lnTo>
                    <a:pt x="8821" y="2941"/>
                  </a:lnTo>
                  <a:lnTo>
                    <a:pt x="8822" y="2932"/>
                  </a:lnTo>
                  <a:lnTo>
                    <a:pt x="8826" y="2925"/>
                  </a:lnTo>
                  <a:lnTo>
                    <a:pt x="8832" y="2922"/>
                  </a:lnTo>
                  <a:lnTo>
                    <a:pt x="8840" y="2920"/>
                  </a:lnTo>
                  <a:lnTo>
                    <a:pt x="8848" y="2922"/>
                  </a:lnTo>
                  <a:lnTo>
                    <a:pt x="8854" y="2925"/>
                  </a:lnTo>
                  <a:lnTo>
                    <a:pt x="8858" y="2932"/>
                  </a:lnTo>
                  <a:lnTo>
                    <a:pt x="8861" y="2941"/>
                  </a:lnTo>
                  <a:close/>
                  <a:moveTo>
                    <a:pt x="7545" y="3186"/>
                  </a:moveTo>
                  <a:lnTo>
                    <a:pt x="7545" y="3299"/>
                  </a:lnTo>
                  <a:lnTo>
                    <a:pt x="7542" y="3308"/>
                  </a:lnTo>
                  <a:lnTo>
                    <a:pt x="7539" y="3314"/>
                  </a:lnTo>
                  <a:lnTo>
                    <a:pt x="7532" y="3318"/>
                  </a:lnTo>
                  <a:lnTo>
                    <a:pt x="7524" y="3319"/>
                  </a:lnTo>
                  <a:lnTo>
                    <a:pt x="7517" y="3318"/>
                  </a:lnTo>
                  <a:lnTo>
                    <a:pt x="7510" y="3314"/>
                  </a:lnTo>
                  <a:lnTo>
                    <a:pt x="7506" y="3308"/>
                  </a:lnTo>
                  <a:lnTo>
                    <a:pt x="7505" y="3299"/>
                  </a:lnTo>
                  <a:lnTo>
                    <a:pt x="7505" y="3186"/>
                  </a:lnTo>
                  <a:lnTo>
                    <a:pt x="7506" y="3179"/>
                  </a:lnTo>
                  <a:lnTo>
                    <a:pt x="7510" y="3172"/>
                  </a:lnTo>
                  <a:lnTo>
                    <a:pt x="7517" y="3168"/>
                  </a:lnTo>
                  <a:lnTo>
                    <a:pt x="7524" y="3167"/>
                  </a:lnTo>
                  <a:lnTo>
                    <a:pt x="7532" y="3168"/>
                  </a:lnTo>
                  <a:lnTo>
                    <a:pt x="7539" y="3172"/>
                  </a:lnTo>
                  <a:lnTo>
                    <a:pt x="7542" y="3179"/>
                  </a:lnTo>
                  <a:lnTo>
                    <a:pt x="7545" y="3186"/>
                  </a:lnTo>
                  <a:close/>
                  <a:moveTo>
                    <a:pt x="7808" y="3186"/>
                  </a:moveTo>
                  <a:lnTo>
                    <a:pt x="7808" y="3299"/>
                  </a:lnTo>
                  <a:lnTo>
                    <a:pt x="7807" y="3308"/>
                  </a:lnTo>
                  <a:lnTo>
                    <a:pt x="7801" y="3314"/>
                  </a:lnTo>
                  <a:lnTo>
                    <a:pt x="7795" y="3318"/>
                  </a:lnTo>
                  <a:lnTo>
                    <a:pt x="7787" y="3319"/>
                  </a:lnTo>
                  <a:lnTo>
                    <a:pt x="7781" y="3318"/>
                  </a:lnTo>
                  <a:lnTo>
                    <a:pt x="7774" y="3314"/>
                  </a:lnTo>
                  <a:lnTo>
                    <a:pt x="7769" y="3308"/>
                  </a:lnTo>
                  <a:lnTo>
                    <a:pt x="7768" y="3299"/>
                  </a:lnTo>
                  <a:lnTo>
                    <a:pt x="7768" y="3186"/>
                  </a:lnTo>
                  <a:lnTo>
                    <a:pt x="7769" y="3179"/>
                  </a:lnTo>
                  <a:lnTo>
                    <a:pt x="7774" y="3172"/>
                  </a:lnTo>
                  <a:lnTo>
                    <a:pt x="7781" y="3168"/>
                  </a:lnTo>
                  <a:lnTo>
                    <a:pt x="7787" y="3167"/>
                  </a:lnTo>
                  <a:lnTo>
                    <a:pt x="7795" y="3168"/>
                  </a:lnTo>
                  <a:lnTo>
                    <a:pt x="7801" y="3172"/>
                  </a:lnTo>
                  <a:lnTo>
                    <a:pt x="7807" y="3179"/>
                  </a:lnTo>
                  <a:lnTo>
                    <a:pt x="7808" y="3186"/>
                  </a:lnTo>
                  <a:close/>
                  <a:moveTo>
                    <a:pt x="8071" y="3186"/>
                  </a:moveTo>
                  <a:lnTo>
                    <a:pt x="8071" y="3299"/>
                  </a:lnTo>
                  <a:lnTo>
                    <a:pt x="8069" y="3308"/>
                  </a:lnTo>
                  <a:lnTo>
                    <a:pt x="8064" y="3314"/>
                  </a:lnTo>
                  <a:lnTo>
                    <a:pt x="8058" y="3318"/>
                  </a:lnTo>
                  <a:lnTo>
                    <a:pt x="8051" y="3319"/>
                  </a:lnTo>
                  <a:lnTo>
                    <a:pt x="8044" y="3318"/>
                  </a:lnTo>
                  <a:lnTo>
                    <a:pt x="8037" y="3314"/>
                  </a:lnTo>
                  <a:lnTo>
                    <a:pt x="8032" y="3308"/>
                  </a:lnTo>
                  <a:lnTo>
                    <a:pt x="8031" y="3299"/>
                  </a:lnTo>
                  <a:lnTo>
                    <a:pt x="8031" y="3186"/>
                  </a:lnTo>
                  <a:lnTo>
                    <a:pt x="8032" y="3179"/>
                  </a:lnTo>
                  <a:lnTo>
                    <a:pt x="8037" y="3172"/>
                  </a:lnTo>
                  <a:lnTo>
                    <a:pt x="8044" y="3168"/>
                  </a:lnTo>
                  <a:lnTo>
                    <a:pt x="8051" y="3167"/>
                  </a:lnTo>
                  <a:lnTo>
                    <a:pt x="8058" y="3168"/>
                  </a:lnTo>
                  <a:lnTo>
                    <a:pt x="8064" y="3172"/>
                  </a:lnTo>
                  <a:lnTo>
                    <a:pt x="8069" y="3179"/>
                  </a:lnTo>
                  <a:lnTo>
                    <a:pt x="8071" y="3186"/>
                  </a:lnTo>
                  <a:close/>
                  <a:moveTo>
                    <a:pt x="8334" y="3186"/>
                  </a:moveTo>
                  <a:lnTo>
                    <a:pt x="8334" y="3299"/>
                  </a:lnTo>
                  <a:lnTo>
                    <a:pt x="8332" y="3308"/>
                  </a:lnTo>
                  <a:lnTo>
                    <a:pt x="8327" y="3314"/>
                  </a:lnTo>
                  <a:lnTo>
                    <a:pt x="8322" y="3318"/>
                  </a:lnTo>
                  <a:lnTo>
                    <a:pt x="8314" y="3319"/>
                  </a:lnTo>
                  <a:lnTo>
                    <a:pt x="8307" y="3318"/>
                  </a:lnTo>
                  <a:lnTo>
                    <a:pt x="8300" y="3314"/>
                  </a:lnTo>
                  <a:lnTo>
                    <a:pt x="8296" y="3308"/>
                  </a:lnTo>
                  <a:lnTo>
                    <a:pt x="8294" y="3299"/>
                  </a:lnTo>
                  <a:lnTo>
                    <a:pt x="8294" y="3186"/>
                  </a:lnTo>
                  <a:lnTo>
                    <a:pt x="8296" y="3179"/>
                  </a:lnTo>
                  <a:lnTo>
                    <a:pt x="8300" y="3172"/>
                  </a:lnTo>
                  <a:lnTo>
                    <a:pt x="8307" y="3168"/>
                  </a:lnTo>
                  <a:lnTo>
                    <a:pt x="8314" y="3167"/>
                  </a:lnTo>
                  <a:lnTo>
                    <a:pt x="8322" y="3168"/>
                  </a:lnTo>
                  <a:lnTo>
                    <a:pt x="8327" y="3172"/>
                  </a:lnTo>
                  <a:lnTo>
                    <a:pt x="8332" y="3179"/>
                  </a:lnTo>
                  <a:lnTo>
                    <a:pt x="8334" y="3186"/>
                  </a:lnTo>
                  <a:close/>
                  <a:moveTo>
                    <a:pt x="8598" y="3186"/>
                  </a:moveTo>
                  <a:lnTo>
                    <a:pt x="8598" y="3299"/>
                  </a:lnTo>
                  <a:lnTo>
                    <a:pt x="8595" y="3308"/>
                  </a:lnTo>
                  <a:lnTo>
                    <a:pt x="8591" y="3314"/>
                  </a:lnTo>
                  <a:lnTo>
                    <a:pt x="8585" y="3318"/>
                  </a:lnTo>
                  <a:lnTo>
                    <a:pt x="8577" y="3319"/>
                  </a:lnTo>
                  <a:lnTo>
                    <a:pt x="8569" y="3318"/>
                  </a:lnTo>
                  <a:lnTo>
                    <a:pt x="8563" y="3314"/>
                  </a:lnTo>
                  <a:lnTo>
                    <a:pt x="8559" y="3308"/>
                  </a:lnTo>
                  <a:lnTo>
                    <a:pt x="8557" y="3299"/>
                  </a:lnTo>
                  <a:lnTo>
                    <a:pt x="8557" y="3186"/>
                  </a:lnTo>
                  <a:lnTo>
                    <a:pt x="8559" y="3179"/>
                  </a:lnTo>
                  <a:lnTo>
                    <a:pt x="8563" y="3172"/>
                  </a:lnTo>
                  <a:lnTo>
                    <a:pt x="8569" y="3168"/>
                  </a:lnTo>
                  <a:lnTo>
                    <a:pt x="8577" y="3167"/>
                  </a:lnTo>
                  <a:lnTo>
                    <a:pt x="8585" y="3168"/>
                  </a:lnTo>
                  <a:lnTo>
                    <a:pt x="8591" y="3172"/>
                  </a:lnTo>
                  <a:lnTo>
                    <a:pt x="8595" y="3179"/>
                  </a:lnTo>
                  <a:lnTo>
                    <a:pt x="8598" y="3186"/>
                  </a:lnTo>
                  <a:close/>
                  <a:moveTo>
                    <a:pt x="8861" y="3186"/>
                  </a:moveTo>
                  <a:lnTo>
                    <a:pt x="8861" y="3299"/>
                  </a:lnTo>
                  <a:lnTo>
                    <a:pt x="8858" y="3308"/>
                  </a:lnTo>
                  <a:lnTo>
                    <a:pt x="8854" y="3314"/>
                  </a:lnTo>
                  <a:lnTo>
                    <a:pt x="8848" y="3318"/>
                  </a:lnTo>
                  <a:lnTo>
                    <a:pt x="8840" y="3319"/>
                  </a:lnTo>
                  <a:lnTo>
                    <a:pt x="8832" y="3318"/>
                  </a:lnTo>
                  <a:lnTo>
                    <a:pt x="8826" y="3314"/>
                  </a:lnTo>
                  <a:lnTo>
                    <a:pt x="8822" y="3308"/>
                  </a:lnTo>
                  <a:lnTo>
                    <a:pt x="8821" y="3299"/>
                  </a:lnTo>
                  <a:lnTo>
                    <a:pt x="8821" y="3186"/>
                  </a:lnTo>
                  <a:lnTo>
                    <a:pt x="8822" y="3179"/>
                  </a:lnTo>
                  <a:lnTo>
                    <a:pt x="8826" y="3172"/>
                  </a:lnTo>
                  <a:lnTo>
                    <a:pt x="8832" y="3168"/>
                  </a:lnTo>
                  <a:lnTo>
                    <a:pt x="8840" y="3167"/>
                  </a:lnTo>
                  <a:lnTo>
                    <a:pt x="8848" y="3168"/>
                  </a:lnTo>
                  <a:lnTo>
                    <a:pt x="8854" y="3172"/>
                  </a:lnTo>
                  <a:lnTo>
                    <a:pt x="8858" y="3179"/>
                  </a:lnTo>
                  <a:lnTo>
                    <a:pt x="8861" y="3186"/>
                  </a:lnTo>
                  <a:close/>
                  <a:moveTo>
                    <a:pt x="7545" y="3433"/>
                  </a:moveTo>
                  <a:lnTo>
                    <a:pt x="7545" y="3546"/>
                  </a:lnTo>
                  <a:lnTo>
                    <a:pt x="7542" y="3554"/>
                  </a:lnTo>
                  <a:lnTo>
                    <a:pt x="7539" y="3561"/>
                  </a:lnTo>
                  <a:lnTo>
                    <a:pt x="7532" y="3565"/>
                  </a:lnTo>
                  <a:lnTo>
                    <a:pt x="7524" y="3565"/>
                  </a:lnTo>
                  <a:lnTo>
                    <a:pt x="7517" y="3565"/>
                  </a:lnTo>
                  <a:lnTo>
                    <a:pt x="7510" y="3561"/>
                  </a:lnTo>
                  <a:lnTo>
                    <a:pt x="7506" y="3554"/>
                  </a:lnTo>
                  <a:lnTo>
                    <a:pt x="7505" y="3546"/>
                  </a:lnTo>
                  <a:lnTo>
                    <a:pt x="7505" y="3433"/>
                  </a:lnTo>
                  <a:lnTo>
                    <a:pt x="7506" y="3424"/>
                  </a:lnTo>
                  <a:lnTo>
                    <a:pt x="7510" y="3419"/>
                  </a:lnTo>
                  <a:lnTo>
                    <a:pt x="7517" y="3415"/>
                  </a:lnTo>
                  <a:lnTo>
                    <a:pt x="7524" y="3414"/>
                  </a:lnTo>
                  <a:lnTo>
                    <a:pt x="7532" y="3415"/>
                  </a:lnTo>
                  <a:lnTo>
                    <a:pt x="7539" y="3419"/>
                  </a:lnTo>
                  <a:lnTo>
                    <a:pt x="7542" y="3424"/>
                  </a:lnTo>
                  <a:lnTo>
                    <a:pt x="7545" y="3433"/>
                  </a:lnTo>
                  <a:close/>
                  <a:moveTo>
                    <a:pt x="7808" y="3433"/>
                  </a:moveTo>
                  <a:lnTo>
                    <a:pt x="7808" y="3546"/>
                  </a:lnTo>
                  <a:lnTo>
                    <a:pt x="7807" y="3554"/>
                  </a:lnTo>
                  <a:lnTo>
                    <a:pt x="7801" y="3561"/>
                  </a:lnTo>
                  <a:lnTo>
                    <a:pt x="7795" y="3565"/>
                  </a:lnTo>
                  <a:lnTo>
                    <a:pt x="7787" y="3565"/>
                  </a:lnTo>
                  <a:lnTo>
                    <a:pt x="7781" y="3565"/>
                  </a:lnTo>
                  <a:lnTo>
                    <a:pt x="7774" y="3561"/>
                  </a:lnTo>
                  <a:lnTo>
                    <a:pt x="7769" y="3554"/>
                  </a:lnTo>
                  <a:lnTo>
                    <a:pt x="7768" y="3546"/>
                  </a:lnTo>
                  <a:lnTo>
                    <a:pt x="7768" y="3433"/>
                  </a:lnTo>
                  <a:lnTo>
                    <a:pt x="7769" y="3424"/>
                  </a:lnTo>
                  <a:lnTo>
                    <a:pt x="7774" y="3419"/>
                  </a:lnTo>
                  <a:lnTo>
                    <a:pt x="7781" y="3415"/>
                  </a:lnTo>
                  <a:lnTo>
                    <a:pt x="7787" y="3414"/>
                  </a:lnTo>
                  <a:lnTo>
                    <a:pt x="7795" y="3415"/>
                  </a:lnTo>
                  <a:lnTo>
                    <a:pt x="7801" y="3419"/>
                  </a:lnTo>
                  <a:lnTo>
                    <a:pt x="7807" y="3424"/>
                  </a:lnTo>
                  <a:lnTo>
                    <a:pt x="7808" y="3433"/>
                  </a:lnTo>
                  <a:close/>
                  <a:moveTo>
                    <a:pt x="8071" y="3433"/>
                  </a:moveTo>
                  <a:lnTo>
                    <a:pt x="8071" y="3546"/>
                  </a:lnTo>
                  <a:lnTo>
                    <a:pt x="8069" y="3554"/>
                  </a:lnTo>
                  <a:lnTo>
                    <a:pt x="8064" y="3561"/>
                  </a:lnTo>
                  <a:lnTo>
                    <a:pt x="8058" y="3565"/>
                  </a:lnTo>
                  <a:lnTo>
                    <a:pt x="8051" y="3565"/>
                  </a:lnTo>
                  <a:lnTo>
                    <a:pt x="8044" y="3565"/>
                  </a:lnTo>
                  <a:lnTo>
                    <a:pt x="8037" y="3561"/>
                  </a:lnTo>
                  <a:lnTo>
                    <a:pt x="8032" y="3554"/>
                  </a:lnTo>
                  <a:lnTo>
                    <a:pt x="8031" y="3546"/>
                  </a:lnTo>
                  <a:lnTo>
                    <a:pt x="8031" y="3433"/>
                  </a:lnTo>
                  <a:lnTo>
                    <a:pt x="8032" y="3424"/>
                  </a:lnTo>
                  <a:lnTo>
                    <a:pt x="8037" y="3419"/>
                  </a:lnTo>
                  <a:lnTo>
                    <a:pt x="8044" y="3415"/>
                  </a:lnTo>
                  <a:lnTo>
                    <a:pt x="8051" y="3414"/>
                  </a:lnTo>
                  <a:lnTo>
                    <a:pt x="8058" y="3415"/>
                  </a:lnTo>
                  <a:lnTo>
                    <a:pt x="8064" y="3419"/>
                  </a:lnTo>
                  <a:lnTo>
                    <a:pt x="8069" y="3424"/>
                  </a:lnTo>
                  <a:lnTo>
                    <a:pt x="8071" y="3433"/>
                  </a:lnTo>
                  <a:close/>
                  <a:moveTo>
                    <a:pt x="8334" y="3433"/>
                  </a:moveTo>
                  <a:lnTo>
                    <a:pt x="8334" y="3546"/>
                  </a:lnTo>
                  <a:lnTo>
                    <a:pt x="8332" y="3554"/>
                  </a:lnTo>
                  <a:lnTo>
                    <a:pt x="8327" y="3561"/>
                  </a:lnTo>
                  <a:lnTo>
                    <a:pt x="8322" y="3565"/>
                  </a:lnTo>
                  <a:lnTo>
                    <a:pt x="8314" y="3565"/>
                  </a:lnTo>
                  <a:lnTo>
                    <a:pt x="8307" y="3565"/>
                  </a:lnTo>
                  <a:lnTo>
                    <a:pt x="8300" y="3561"/>
                  </a:lnTo>
                  <a:lnTo>
                    <a:pt x="8296" y="3554"/>
                  </a:lnTo>
                  <a:lnTo>
                    <a:pt x="8294" y="3546"/>
                  </a:lnTo>
                  <a:lnTo>
                    <a:pt x="8294" y="3433"/>
                  </a:lnTo>
                  <a:lnTo>
                    <a:pt x="8296" y="3424"/>
                  </a:lnTo>
                  <a:lnTo>
                    <a:pt x="8300" y="3419"/>
                  </a:lnTo>
                  <a:lnTo>
                    <a:pt x="8307" y="3415"/>
                  </a:lnTo>
                  <a:lnTo>
                    <a:pt x="8314" y="3414"/>
                  </a:lnTo>
                  <a:lnTo>
                    <a:pt x="8322" y="3415"/>
                  </a:lnTo>
                  <a:lnTo>
                    <a:pt x="8327" y="3419"/>
                  </a:lnTo>
                  <a:lnTo>
                    <a:pt x="8332" y="3424"/>
                  </a:lnTo>
                  <a:lnTo>
                    <a:pt x="8334" y="3433"/>
                  </a:lnTo>
                  <a:close/>
                  <a:moveTo>
                    <a:pt x="8598" y="3433"/>
                  </a:moveTo>
                  <a:lnTo>
                    <a:pt x="8598" y="3546"/>
                  </a:lnTo>
                  <a:lnTo>
                    <a:pt x="8595" y="3554"/>
                  </a:lnTo>
                  <a:lnTo>
                    <a:pt x="8591" y="3561"/>
                  </a:lnTo>
                  <a:lnTo>
                    <a:pt x="8585" y="3565"/>
                  </a:lnTo>
                  <a:lnTo>
                    <a:pt x="8577" y="3565"/>
                  </a:lnTo>
                  <a:lnTo>
                    <a:pt x="8569" y="3565"/>
                  </a:lnTo>
                  <a:lnTo>
                    <a:pt x="8563" y="3561"/>
                  </a:lnTo>
                  <a:lnTo>
                    <a:pt x="8559" y="3554"/>
                  </a:lnTo>
                  <a:lnTo>
                    <a:pt x="8557" y="3546"/>
                  </a:lnTo>
                  <a:lnTo>
                    <a:pt x="8557" y="3433"/>
                  </a:lnTo>
                  <a:lnTo>
                    <a:pt x="8559" y="3424"/>
                  </a:lnTo>
                  <a:lnTo>
                    <a:pt x="8563" y="3419"/>
                  </a:lnTo>
                  <a:lnTo>
                    <a:pt x="8569" y="3415"/>
                  </a:lnTo>
                  <a:lnTo>
                    <a:pt x="8577" y="3414"/>
                  </a:lnTo>
                  <a:lnTo>
                    <a:pt x="8585" y="3415"/>
                  </a:lnTo>
                  <a:lnTo>
                    <a:pt x="8591" y="3419"/>
                  </a:lnTo>
                  <a:lnTo>
                    <a:pt x="8595" y="3424"/>
                  </a:lnTo>
                  <a:lnTo>
                    <a:pt x="8598" y="3433"/>
                  </a:lnTo>
                  <a:close/>
                  <a:moveTo>
                    <a:pt x="8861" y="3433"/>
                  </a:moveTo>
                  <a:lnTo>
                    <a:pt x="8861" y="3546"/>
                  </a:lnTo>
                  <a:lnTo>
                    <a:pt x="8858" y="3554"/>
                  </a:lnTo>
                  <a:lnTo>
                    <a:pt x="8854" y="3561"/>
                  </a:lnTo>
                  <a:lnTo>
                    <a:pt x="8848" y="3565"/>
                  </a:lnTo>
                  <a:lnTo>
                    <a:pt x="8840" y="3565"/>
                  </a:lnTo>
                  <a:lnTo>
                    <a:pt x="8832" y="3565"/>
                  </a:lnTo>
                  <a:lnTo>
                    <a:pt x="8826" y="3561"/>
                  </a:lnTo>
                  <a:lnTo>
                    <a:pt x="8822" y="3554"/>
                  </a:lnTo>
                  <a:lnTo>
                    <a:pt x="8821" y="3546"/>
                  </a:lnTo>
                  <a:lnTo>
                    <a:pt x="8821" y="3433"/>
                  </a:lnTo>
                  <a:lnTo>
                    <a:pt x="8822" y="3424"/>
                  </a:lnTo>
                  <a:lnTo>
                    <a:pt x="8826" y="3419"/>
                  </a:lnTo>
                  <a:lnTo>
                    <a:pt x="8832" y="3415"/>
                  </a:lnTo>
                  <a:lnTo>
                    <a:pt x="8840" y="3414"/>
                  </a:lnTo>
                  <a:lnTo>
                    <a:pt x="8848" y="3415"/>
                  </a:lnTo>
                  <a:lnTo>
                    <a:pt x="8854" y="3419"/>
                  </a:lnTo>
                  <a:lnTo>
                    <a:pt x="8858" y="3424"/>
                  </a:lnTo>
                  <a:lnTo>
                    <a:pt x="8861" y="3433"/>
                  </a:lnTo>
                  <a:close/>
                  <a:moveTo>
                    <a:pt x="7545" y="3680"/>
                  </a:moveTo>
                  <a:lnTo>
                    <a:pt x="7545" y="3792"/>
                  </a:lnTo>
                  <a:lnTo>
                    <a:pt x="7542" y="3801"/>
                  </a:lnTo>
                  <a:lnTo>
                    <a:pt x="7539" y="3806"/>
                  </a:lnTo>
                  <a:lnTo>
                    <a:pt x="7532" y="3810"/>
                  </a:lnTo>
                  <a:lnTo>
                    <a:pt x="7524" y="3811"/>
                  </a:lnTo>
                  <a:lnTo>
                    <a:pt x="7517" y="3810"/>
                  </a:lnTo>
                  <a:lnTo>
                    <a:pt x="7510" y="3806"/>
                  </a:lnTo>
                  <a:lnTo>
                    <a:pt x="7506" y="3801"/>
                  </a:lnTo>
                  <a:lnTo>
                    <a:pt x="7505" y="3792"/>
                  </a:lnTo>
                  <a:lnTo>
                    <a:pt x="7505" y="3680"/>
                  </a:lnTo>
                  <a:lnTo>
                    <a:pt x="7506" y="3671"/>
                  </a:lnTo>
                  <a:lnTo>
                    <a:pt x="7510" y="3664"/>
                  </a:lnTo>
                  <a:lnTo>
                    <a:pt x="7517" y="3661"/>
                  </a:lnTo>
                  <a:lnTo>
                    <a:pt x="7524" y="3659"/>
                  </a:lnTo>
                  <a:lnTo>
                    <a:pt x="7532" y="3661"/>
                  </a:lnTo>
                  <a:lnTo>
                    <a:pt x="7539" y="3664"/>
                  </a:lnTo>
                  <a:lnTo>
                    <a:pt x="7542" y="3671"/>
                  </a:lnTo>
                  <a:lnTo>
                    <a:pt x="7545" y="3680"/>
                  </a:lnTo>
                  <a:close/>
                  <a:moveTo>
                    <a:pt x="7808" y="3680"/>
                  </a:moveTo>
                  <a:lnTo>
                    <a:pt x="7808" y="3792"/>
                  </a:lnTo>
                  <a:lnTo>
                    <a:pt x="7807" y="3801"/>
                  </a:lnTo>
                  <a:lnTo>
                    <a:pt x="7801" y="3806"/>
                  </a:lnTo>
                  <a:lnTo>
                    <a:pt x="7795" y="3810"/>
                  </a:lnTo>
                  <a:lnTo>
                    <a:pt x="7787" y="3811"/>
                  </a:lnTo>
                  <a:lnTo>
                    <a:pt x="7781" y="3810"/>
                  </a:lnTo>
                  <a:lnTo>
                    <a:pt x="7774" y="3806"/>
                  </a:lnTo>
                  <a:lnTo>
                    <a:pt x="7769" y="3801"/>
                  </a:lnTo>
                  <a:lnTo>
                    <a:pt x="7768" y="3792"/>
                  </a:lnTo>
                  <a:lnTo>
                    <a:pt x="7768" y="3680"/>
                  </a:lnTo>
                  <a:lnTo>
                    <a:pt x="7769" y="3671"/>
                  </a:lnTo>
                  <a:lnTo>
                    <a:pt x="7774" y="3664"/>
                  </a:lnTo>
                  <a:lnTo>
                    <a:pt x="7781" y="3661"/>
                  </a:lnTo>
                  <a:lnTo>
                    <a:pt x="7787" y="3659"/>
                  </a:lnTo>
                  <a:lnTo>
                    <a:pt x="7795" y="3661"/>
                  </a:lnTo>
                  <a:lnTo>
                    <a:pt x="7801" y="3664"/>
                  </a:lnTo>
                  <a:lnTo>
                    <a:pt x="7807" y="3671"/>
                  </a:lnTo>
                  <a:lnTo>
                    <a:pt x="7808" y="3680"/>
                  </a:lnTo>
                  <a:close/>
                  <a:moveTo>
                    <a:pt x="8071" y="3680"/>
                  </a:moveTo>
                  <a:lnTo>
                    <a:pt x="8071" y="3792"/>
                  </a:lnTo>
                  <a:lnTo>
                    <a:pt x="8069" y="3801"/>
                  </a:lnTo>
                  <a:lnTo>
                    <a:pt x="8064" y="3806"/>
                  </a:lnTo>
                  <a:lnTo>
                    <a:pt x="8058" y="3810"/>
                  </a:lnTo>
                  <a:lnTo>
                    <a:pt x="8051" y="3811"/>
                  </a:lnTo>
                  <a:lnTo>
                    <a:pt x="8044" y="3810"/>
                  </a:lnTo>
                  <a:lnTo>
                    <a:pt x="8037" y="3806"/>
                  </a:lnTo>
                  <a:lnTo>
                    <a:pt x="8032" y="3801"/>
                  </a:lnTo>
                  <a:lnTo>
                    <a:pt x="8031" y="3792"/>
                  </a:lnTo>
                  <a:lnTo>
                    <a:pt x="8031" y="3680"/>
                  </a:lnTo>
                  <a:lnTo>
                    <a:pt x="8032" y="3671"/>
                  </a:lnTo>
                  <a:lnTo>
                    <a:pt x="8037" y="3664"/>
                  </a:lnTo>
                  <a:lnTo>
                    <a:pt x="8044" y="3661"/>
                  </a:lnTo>
                  <a:lnTo>
                    <a:pt x="8051" y="3659"/>
                  </a:lnTo>
                  <a:lnTo>
                    <a:pt x="8058" y="3661"/>
                  </a:lnTo>
                  <a:lnTo>
                    <a:pt x="8064" y="3664"/>
                  </a:lnTo>
                  <a:lnTo>
                    <a:pt x="8069" y="3671"/>
                  </a:lnTo>
                  <a:lnTo>
                    <a:pt x="8071" y="3680"/>
                  </a:lnTo>
                  <a:close/>
                  <a:moveTo>
                    <a:pt x="8334" y="3680"/>
                  </a:moveTo>
                  <a:lnTo>
                    <a:pt x="8334" y="3792"/>
                  </a:lnTo>
                  <a:lnTo>
                    <a:pt x="8332" y="3801"/>
                  </a:lnTo>
                  <a:lnTo>
                    <a:pt x="8327" y="3806"/>
                  </a:lnTo>
                  <a:lnTo>
                    <a:pt x="8322" y="3810"/>
                  </a:lnTo>
                  <a:lnTo>
                    <a:pt x="8314" y="3811"/>
                  </a:lnTo>
                  <a:lnTo>
                    <a:pt x="8307" y="3810"/>
                  </a:lnTo>
                  <a:lnTo>
                    <a:pt x="8300" y="3806"/>
                  </a:lnTo>
                  <a:lnTo>
                    <a:pt x="8296" y="3801"/>
                  </a:lnTo>
                  <a:lnTo>
                    <a:pt x="8294" y="3792"/>
                  </a:lnTo>
                  <a:lnTo>
                    <a:pt x="8294" y="3680"/>
                  </a:lnTo>
                  <a:lnTo>
                    <a:pt x="8296" y="3671"/>
                  </a:lnTo>
                  <a:lnTo>
                    <a:pt x="8300" y="3664"/>
                  </a:lnTo>
                  <a:lnTo>
                    <a:pt x="8307" y="3661"/>
                  </a:lnTo>
                  <a:lnTo>
                    <a:pt x="8314" y="3659"/>
                  </a:lnTo>
                  <a:lnTo>
                    <a:pt x="8322" y="3661"/>
                  </a:lnTo>
                  <a:lnTo>
                    <a:pt x="8327" y="3664"/>
                  </a:lnTo>
                  <a:lnTo>
                    <a:pt x="8332" y="3671"/>
                  </a:lnTo>
                  <a:lnTo>
                    <a:pt x="8334" y="3680"/>
                  </a:lnTo>
                  <a:close/>
                  <a:moveTo>
                    <a:pt x="8598" y="3680"/>
                  </a:moveTo>
                  <a:lnTo>
                    <a:pt x="8598" y="3792"/>
                  </a:lnTo>
                  <a:lnTo>
                    <a:pt x="8595" y="3801"/>
                  </a:lnTo>
                  <a:lnTo>
                    <a:pt x="8591" y="3806"/>
                  </a:lnTo>
                  <a:lnTo>
                    <a:pt x="8585" y="3810"/>
                  </a:lnTo>
                  <a:lnTo>
                    <a:pt x="8577" y="3811"/>
                  </a:lnTo>
                  <a:lnTo>
                    <a:pt x="8569" y="3810"/>
                  </a:lnTo>
                  <a:lnTo>
                    <a:pt x="8563" y="3806"/>
                  </a:lnTo>
                  <a:lnTo>
                    <a:pt x="8559" y="3801"/>
                  </a:lnTo>
                  <a:lnTo>
                    <a:pt x="8557" y="3792"/>
                  </a:lnTo>
                  <a:lnTo>
                    <a:pt x="8557" y="3680"/>
                  </a:lnTo>
                  <a:lnTo>
                    <a:pt x="8559" y="3671"/>
                  </a:lnTo>
                  <a:lnTo>
                    <a:pt x="8563" y="3664"/>
                  </a:lnTo>
                  <a:lnTo>
                    <a:pt x="8569" y="3661"/>
                  </a:lnTo>
                  <a:lnTo>
                    <a:pt x="8577" y="3659"/>
                  </a:lnTo>
                  <a:lnTo>
                    <a:pt x="8585" y="3661"/>
                  </a:lnTo>
                  <a:lnTo>
                    <a:pt x="8591" y="3664"/>
                  </a:lnTo>
                  <a:lnTo>
                    <a:pt x="8595" y="3671"/>
                  </a:lnTo>
                  <a:lnTo>
                    <a:pt x="8598" y="3680"/>
                  </a:lnTo>
                  <a:close/>
                  <a:moveTo>
                    <a:pt x="8861" y="3680"/>
                  </a:moveTo>
                  <a:lnTo>
                    <a:pt x="8861" y="3792"/>
                  </a:lnTo>
                  <a:lnTo>
                    <a:pt x="8858" y="3801"/>
                  </a:lnTo>
                  <a:lnTo>
                    <a:pt x="8854" y="3806"/>
                  </a:lnTo>
                  <a:lnTo>
                    <a:pt x="8848" y="3810"/>
                  </a:lnTo>
                  <a:lnTo>
                    <a:pt x="8840" y="3811"/>
                  </a:lnTo>
                  <a:lnTo>
                    <a:pt x="8832" y="3810"/>
                  </a:lnTo>
                  <a:lnTo>
                    <a:pt x="8826" y="3806"/>
                  </a:lnTo>
                  <a:lnTo>
                    <a:pt x="8822" y="3801"/>
                  </a:lnTo>
                  <a:lnTo>
                    <a:pt x="8821" y="3792"/>
                  </a:lnTo>
                  <a:lnTo>
                    <a:pt x="8821" y="3680"/>
                  </a:lnTo>
                  <a:lnTo>
                    <a:pt x="8822" y="3671"/>
                  </a:lnTo>
                  <a:lnTo>
                    <a:pt x="8826" y="3664"/>
                  </a:lnTo>
                  <a:lnTo>
                    <a:pt x="8832" y="3661"/>
                  </a:lnTo>
                  <a:lnTo>
                    <a:pt x="8840" y="3659"/>
                  </a:lnTo>
                  <a:lnTo>
                    <a:pt x="8848" y="3661"/>
                  </a:lnTo>
                  <a:lnTo>
                    <a:pt x="8854" y="3664"/>
                  </a:lnTo>
                  <a:lnTo>
                    <a:pt x="8858" y="3671"/>
                  </a:lnTo>
                  <a:lnTo>
                    <a:pt x="8861" y="3680"/>
                  </a:lnTo>
                  <a:close/>
                  <a:moveTo>
                    <a:pt x="9081" y="2604"/>
                  </a:moveTo>
                  <a:lnTo>
                    <a:pt x="9075" y="2604"/>
                  </a:lnTo>
                  <a:lnTo>
                    <a:pt x="9081" y="2604"/>
                  </a:lnTo>
                  <a:close/>
                  <a:moveTo>
                    <a:pt x="5536" y="1840"/>
                  </a:moveTo>
                  <a:lnTo>
                    <a:pt x="5109" y="1840"/>
                  </a:lnTo>
                  <a:lnTo>
                    <a:pt x="5109" y="1950"/>
                  </a:lnTo>
                  <a:lnTo>
                    <a:pt x="5536" y="1950"/>
                  </a:lnTo>
                  <a:lnTo>
                    <a:pt x="5536" y="1840"/>
                  </a:lnTo>
                  <a:close/>
                  <a:moveTo>
                    <a:pt x="4446" y="3790"/>
                  </a:moveTo>
                  <a:lnTo>
                    <a:pt x="5309" y="3790"/>
                  </a:lnTo>
                  <a:lnTo>
                    <a:pt x="5318" y="3791"/>
                  </a:lnTo>
                  <a:lnTo>
                    <a:pt x="5324" y="3796"/>
                  </a:lnTo>
                  <a:lnTo>
                    <a:pt x="5328" y="3803"/>
                  </a:lnTo>
                  <a:lnTo>
                    <a:pt x="5329" y="3809"/>
                  </a:lnTo>
                  <a:lnTo>
                    <a:pt x="5328" y="3817"/>
                  </a:lnTo>
                  <a:lnTo>
                    <a:pt x="5324" y="3823"/>
                  </a:lnTo>
                  <a:lnTo>
                    <a:pt x="5318" y="3828"/>
                  </a:lnTo>
                  <a:lnTo>
                    <a:pt x="5309" y="3829"/>
                  </a:lnTo>
                  <a:lnTo>
                    <a:pt x="5215" y="3829"/>
                  </a:lnTo>
                  <a:lnTo>
                    <a:pt x="5215" y="4317"/>
                  </a:lnTo>
                  <a:lnTo>
                    <a:pt x="5754" y="4317"/>
                  </a:lnTo>
                  <a:lnTo>
                    <a:pt x="5754" y="3782"/>
                  </a:lnTo>
                  <a:lnTo>
                    <a:pt x="5754" y="3249"/>
                  </a:lnTo>
                  <a:lnTo>
                    <a:pt x="5754" y="2716"/>
                  </a:lnTo>
                  <a:lnTo>
                    <a:pt x="5754" y="2182"/>
                  </a:lnTo>
                  <a:lnTo>
                    <a:pt x="5195" y="2182"/>
                  </a:lnTo>
                  <a:lnTo>
                    <a:pt x="4637" y="2182"/>
                  </a:lnTo>
                  <a:lnTo>
                    <a:pt x="4629" y="2181"/>
                  </a:lnTo>
                  <a:lnTo>
                    <a:pt x="4623" y="2176"/>
                  </a:lnTo>
                  <a:lnTo>
                    <a:pt x="4619" y="2170"/>
                  </a:lnTo>
                  <a:lnTo>
                    <a:pt x="4617" y="2163"/>
                  </a:lnTo>
                  <a:lnTo>
                    <a:pt x="4619" y="2156"/>
                  </a:lnTo>
                  <a:lnTo>
                    <a:pt x="4623" y="2149"/>
                  </a:lnTo>
                  <a:lnTo>
                    <a:pt x="4629" y="2144"/>
                  </a:lnTo>
                  <a:lnTo>
                    <a:pt x="4637" y="2143"/>
                  </a:lnTo>
                  <a:lnTo>
                    <a:pt x="5615" y="2143"/>
                  </a:lnTo>
                  <a:lnTo>
                    <a:pt x="5615" y="1989"/>
                  </a:lnTo>
                  <a:lnTo>
                    <a:pt x="5555" y="1989"/>
                  </a:lnTo>
                  <a:lnTo>
                    <a:pt x="5089" y="1989"/>
                  </a:lnTo>
                  <a:lnTo>
                    <a:pt x="4119" y="1989"/>
                  </a:lnTo>
                  <a:lnTo>
                    <a:pt x="4119" y="2143"/>
                  </a:lnTo>
                  <a:lnTo>
                    <a:pt x="4373" y="2143"/>
                  </a:lnTo>
                  <a:lnTo>
                    <a:pt x="4382" y="2144"/>
                  </a:lnTo>
                  <a:lnTo>
                    <a:pt x="4387" y="2149"/>
                  </a:lnTo>
                  <a:lnTo>
                    <a:pt x="4391" y="2156"/>
                  </a:lnTo>
                  <a:lnTo>
                    <a:pt x="4392" y="2163"/>
                  </a:lnTo>
                  <a:lnTo>
                    <a:pt x="4391" y="2170"/>
                  </a:lnTo>
                  <a:lnTo>
                    <a:pt x="4387" y="2176"/>
                  </a:lnTo>
                  <a:lnTo>
                    <a:pt x="4382" y="2181"/>
                  </a:lnTo>
                  <a:lnTo>
                    <a:pt x="4373" y="2182"/>
                  </a:lnTo>
                  <a:lnTo>
                    <a:pt x="4001" y="2182"/>
                  </a:lnTo>
                  <a:lnTo>
                    <a:pt x="4001" y="3195"/>
                  </a:lnTo>
                  <a:lnTo>
                    <a:pt x="3999" y="3204"/>
                  </a:lnTo>
                  <a:lnTo>
                    <a:pt x="3994" y="3211"/>
                  </a:lnTo>
                  <a:lnTo>
                    <a:pt x="3988" y="3214"/>
                  </a:lnTo>
                  <a:lnTo>
                    <a:pt x="3980" y="3216"/>
                  </a:lnTo>
                  <a:lnTo>
                    <a:pt x="3974" y="3214"/>
                  </a:lnTo>
                  <a:lnTo>
                    <a:pt x="3967" y="3211"/>
                  </a:lnTo>
                  <a:lnTo>
                    <a:pt x="3962" y="3204"/>
                  </a:lnTo>
                  <a:lnTo>
                    <a:pt x="3961" y="3195"/>
                  </a:lnTo>
                  <a:lnTo>
                    <a:pt x="3961" y="2679"/>
                  </a:lnTo>
                  <a:lnTo>
                    <a:pt x="3961" y="2163"/>
                  </a:lnTo>
                  <a:lnTo>
                    <a:pt x="3962" y="2156"/>
                  </a:lnTo>
                  <a:lnTo>
                    <a:pt x="3966" y="2149"/>
                  </a:lnTo>
                  <a:lnTo>
                    <a:pt x="3973" y="2144"/>
                  </a:lnTo>
                  <a:lnTo>
                    <a:pt x="3980" y="2143"/>
                  </a:lnTo>
                  <a:lnTo>
                    <a:pt x="4079" y="2143"/>
                  </a:lnTo>
                  <a:lnTo>
                    <a:pt x="4079" y="1970"/>
                  </a:lnTo>
                  <a:lnTo>
                    <a:pt x="4080" y="1963"/>
                  </a:lnTo>
                  <a:lnTo>
                    <a:pt x="4085" y="1956"/>
                  </a:lnTo>
                  <a:lnTo>
                    <a:pt x="4092" y="1951"/>
                  </a:lnTo>
                  <a:lnTo>
                    <a:pt x="4099" y="1950"/>
                  </a:lnTo>
                  <a:lnTo>
                    <a:pt x="5069" y="1950"/>
                  </a:lnTo>
                  <a:lnTo>
                    <a:pt x="5069" y="1819"/>
                  </a:lnTo>
                  <a:lnTo>
                    <a:pt x="5070" y="1812"/>
                  </a:lnTo>
                  <a:lnTo>
                    <a:pt x="5075" y="1805"/>
                  </a:lnTo>
                  <a:lnTo>
                    <a:pt x="5082" y="1801"/>
                  </a:lnTo>
                  <a:lnTo>
                    <a:pt x="5089" y="1799"/>
                  </a:lnTo>
                  <a:lnTo>
                    <a:pt x="5555" y="1799"/>
                  </a:lnTo>
                  <a:lnTo>
                    <a:pt x="5563" y="1801"/>
                  </a:lnTo>
                  <a:lnTo>
                    <a:pt x="5569" y="1805"/>
                  </a:lnTo>
                  <a:lnTo>
                    <a:pt x="5573" y="1812"/>
                  </a:lnTo>
                  <a:lnTo>
                    <a:pt x="5575" y="1819"/>
                  </a:lnTo>
                  <a:lnTo>
                    <a:pt x="5575" y="1950"/>
                  </a:lnTo>
                  <a:lnTo>
                    <a:pt x="5636" y="1950"/>
                  </a:lnTo>
                  <a:lnTo>
                    <a:pt x="5643" y="1951"/>
                  </a:lnTo>
                  <a:lnTo>
                    <a:pt x="5650" y="1956"/>
                  </a:lnTo>
                  <a:lnTo>
                    <a:pt x="5654" y="1963"/>
                  </a:lnTo>
                  <a:lnTo>
                    <a:pt x="5656" y="1970"/>
                  </a:lnTo>
                  <a:lnTo>
                    <a:pt x="5656" y="2143"/>
                  </a:lnTo>
                  <a:lnTo>
                    <a:pt x="5773" y="2143"/>
                  </a:lnTo>
                  <a:lnTo>
                    <a:pt x="5781" y="2144"/>
                  </a:lnTo>
                  <a:lnTo>
                    <a:pt x="5787" y="2149"/>
                  </a:lnTo>
                  <a:lnTo>
                    <a:pt x="5792" y="2156"/>
                  </a:lnTo>
                  <a:lnTo>
                    <a:pt x="5793" y="2163"/>
                  </a:lnTo>
                  <a:lnTo>
                    <a:pt x="5793" y="2705"/>
                  </a:lnTo>
                  <a:lnTo>
                    <a:pt x="5793" y="3249"/>
                  </a:lnTo>
                  <a:lnTo>
                    <a:pt x="5793" y="3792"/>
                  </a:lnTo>
                  <a:lnTo>
                    <a:pt x="5793" y="4336"/>
                  </a:lnTo>
                  <a:lnTo>
                    <a:pt x="5792" y="4343"/>
                  </a:lnTo>
                  <a:lnTo>
                    <a:pt x="5787" y="4350"/>
                  </a:lnTo>
                  <a:lnTo>
                    <a:pt x="5781" y="4355"/>
                  </a:lnTo>
                  <a:lnTo>
                    <a:pt x="5773" y="4356"/>
                  </a:lnTo>
                  <a:lnTo>
                    <a:pt x="5195" y="4356"/>
                  </a:lnTo>
                  <a:lnTo>
                    <a:pt x="4560" y="4356"/>
                  </a:lnTo>
                  <a:lnTo>
                    <a:pt x="3980" y="4356"/>
                  </a:lnTo>
                  <a:lnTo>
                    <a:pt x="3973" y="4355"/>
                  </a:lnTo>
                  <a:lnTo>
                    <a:pt x="3966" y="4350"/>
                  </a:lnTo>
                  <a:lnTo>
                    <a:pt x="3962" y="4343"/>
                  </a:lnTo>
                  <a:lnTo>
                    <a:pt x="3961" y="4336"/>
                  </a:lnTo>
                  <a:lnTo>
                    <a:pt x="3961" y="4037"/>
                  </a:lnTo>
                  <a:lnTo>
                    <a:pt x="3962" y="4028"/>
                  </a:lnTo>
                  <a:lnTo>
                    <a:pt x="3967" y="4021"/>
                  </a:lnTo>
                  <a:lnTo>
                    <a:pt x="3974" y="4017"/>
                  </a:lnTo>
                  <a:lnTo>
                    <a:pt x="3980" y="4016"/>
                  </a:lnTo>
                  <a:lnTo>
                    <a:pt x="3988" y="4017"/>
                  </a:lnTo>
                  <a:lnTo>
                    <a:pt x="3994" y="4021"/>
                  </a:lnTo>
                  <a:lnTo>
                    <a:pt x="3999" y="4028"/>
                  </a:lnTo>
                  <a:lnTo>
                    <a:pt x="4001" y="4037"/>
                  </a:lnTo>
                  <a:lnTo>
                    <a:pt x="4001" y="4317"/>
                  </a:lnTo>
                  <a:lnTo>
                    <a:pt x="4539" y="4317"/>
                  </a:lnTo>
                  <a:lnTo>
                    <a:pt x="4539" y="3829"/>
                  </a:lnTo>
                  <a:lnTo>
                    <a:pt x="4446" y="3829"/>
                  </a:lnTo>
                  <a:lnTo>
                    <a:pt x="4437" y="3828"/>
                  </a:lnTo>
                  <a:lnTo>
                    <a:pt x="4430" y="3823"/>
                  </a:lnTo>
                  <a:lnTo>
                    <a:pt x="4426" y="3817"/>
                  </a:lnTo>
                  <a:lnTo>
                    <a:pt x="4425" y="3809"/>
                  </a:lnTo>
                  <a:lnTo>
                    <a:pt x="4426" y="3803"/>
                  </a:lnTo>
                  <a:lnTo>
                    <a:pt x="4430" y="3796"/>
                  </a:lnTo>
                  <a:lnTo>
                    <a:pt x="4437" y="3791"/>
                  </a:lnTo>
                  <a:lnTo>
                    <a:pt x="4446" y="3790"/>
                  </a:lnTo>
                  <a:close/>
                  <a:moveTo>
                    <a:pt x="4897" y="3950"/>
                  </a:moveTo>
                  <a:lnTo>
                    <a:pt x="4897" y="4317"/>
                  </a:lnTo>
                  <a:lnTo>
                    <a:pt x="5175" y="4317"/>
                  </a:lnTo>
                  <a:lnTo>
                    <a:pt x="5175" y="3829"/>
                  </a:lnTo>
                  <a:lnTo>
                    <a:pt x="4579" y="3829"/>
                  </a:lnTo>
                  <a:lnTo>
                    <a:pt x="4579" y="4317"/>
                  </a:lnTo>
                  <a:lnTo>
                    <a:pt x="4857" y="4317"/>
                  </a:lnTo>
                  <a:lnTo>
                    <a:pt x="4857" y="3950"/>
                  </a:lnTo>
                  <a:lnTo>
                    <a:pt x="4859" y="3941"/>
                  </a:lnTo>
                  <a:lnTo>
                    <a:pt x="4864" y="3934"/>
                  </a:lnTo>
                  <a:lnTo>
                    <a:pt x="4870" y="3930"/>
                  </a:lnTo>
                  <a:lnTo>
                    <a:pt x="4877" y="3929"/>
                  </a:lnTo>
                  <a:lnTo>
                    <a:pt x="4884" y="3930"/>
                  </a:lnTo>
                  <a:lnTo>
                    <a:pt x="4891" y="3934"/>
                  </a:lnTo>
                  <a:lnTo>
                    <a:pt x="4896" y="3941"/>
                  </a:lnTo>
                  <a:lnTo>
                    <a:pt x="4897" y="3950"/>
                  </a:lnTo>
                  <a:close/>
                  <a:moveTo>
                    <a:pt x="8349" y="481"/>
                  </a:moveTo>
                  <a:lnTo>
                    <a:pt x="8337" y="483"/>
                  </a:lnTo>
                  <a:lnTo>
                    <a:pt x="8328" y="482"/>
                  </a:lnTo>
                  <a:lnTo>
                    <a:pt x="8321" y="475"/>
                  </a:lnTo>
                  <a:lnTo>
                    <a:pt x="8318" y="464"/>
                  </a:lnTo>
                  <a:lnTo>
                    <a:pt x="8316" y="446"/>
                  </a:lnTo>
                  <a:lnTo>
                    <a:pt x="8312" y="428"/>
                  </a:lnTo>
                  <a:lnTo>
                    <a:pt x="8299" y="394"/>
                  </a:lnTo>
                  <a:lnTo>
                    <a:pt x="8280" y="364"/>
                  </a:lnTo>
                  <a:lnTo>
                    <a:pt x="8255" y="337"/>
                  </a:lnTo>
                  <a:lnTo>
                    <a:pt x="8226" y="316"/>
                  </a:lnTo>
                  <a:lnTo>
                    <a:pt x="8192" y="299"/>
                  </a:lnTo>
                  <a:lnTo>
                    <a:pt x="8175" y="293"/>
                  </a:lnTo>
                  <a:lnTo>
                    <a:pt x="8157" y="289"/>
                  </a:lnTo>
                  <a:lnTo>
                    <a:pt x="8137" y="286"/>
                  </a:lnTo>
                  <a:lnTo>
                    <a:pt x="8119" y="285"/>
                  </a:lnTo>
                  <a:lnTo>
                    <a:pt x="8080" y="289"/>
                  </a:lnTo>
                  <a:lnTo>
                    <a:pt x="8060" y="294"/>
                  </a:lnTo>
                  <a:lnTo>
                    <a:pt x="8042" y="300"/>
                  </a:lnTo>
                  <a:lnTo>
                    <a:pt x="8008" y="318"/>
                  </a:lnTo>
                  <a:lnTo>
                    <a:pt x="7978" y="341"/>
                  </a:lnTo>
                  <a:lnTo>
                    <a:pt x="7966" y="355"/>
                  </a:lnTo>
                  <a:lnTo>
                    <a:pt x="7954" y="369"/>
                  </a:lnTo>
                  <a:lnTo>
                    <a:pt x="7935" y="403"/>
                  </a:lnTo>
                  <a:lnTo>
                    <a:pt x="7928" y="420"/>
                  </a:lnTo>
                  <a:lnTo>
                    <a:pt x="7923" y="438"/>
                  </a:lnTo>
                  <a:lnTo>
                    <a:pt x="7919" y="477"/>
                  </a:lnTo>
                  <a:lnTo>
                    <a:pt x="7867" y="477"/>
                  </a:lnTo>
                  <a:lnTo>
                    <a:pt x="7836" y="474"/>
                  </a:lnTo>
                  <a:lnTo>
                    <a:pt x="7815" y="477"/>
                  </a:lnTo>
                  <a:lnTo>
                    <a:pt x="7798" y="482"/>
                  </a:lnTo>
                  <a:lnTo>
                    <a:pt x="7780" y="492"/>
                  </a:lnTo>
                  <a:lnTo>
                    <a:pt x="7765" y="504"/>
                  </a:lnTo>
                  <a:lnTo>
                    <a:pt x="7754" y="519"/>
                  </a:lnTo>
                  <a:lnTo>
                    <a:pt x="7745" y="537"/>
                  </a:lnTo>
                  <a:lnTo>
                    <a:pt x="7740" y="556"/>
                  </a:lnTo>
                  <a:lnTo>
                    <a:pt x="7737" y="576"/>
                  </a:lnTo>
                  <a:lnTo>
                    <a:pt x="7740" y="598"/>
                  </a:lnTo>
                  <a:lnTo>
                    <a:pt x="8505" y="599"/>
                  </a:lnTo>
                  <a:lnTo>
                    <a:pt x="8508" y="574"/>
                  </a:lnTo>
                  <a:lnTo>
                    <a:pt x="8505" y="552"/>
                  </a:lnTo>
                  <a:lnTo>
                    <a:pt x="8499" y="532"/>
                  </a:lnTo>
                  <a:lnTo>
                    <a:pt x="8490" y="514"/>
                  </a:lnTo>
                  <a:lnTo>
                    <a:pt x="8477" y="497"/>
                  </a:lnTo>
                  <a:lnTo>
                    <a:pt x="8460" y="484"/>
                  </a:lnTo>
                  <a:lnTo>
                    <a:pt x="8443" y="474"/>
                  </a:lnTo>
                  <a:lnTo>
                    <a:pt x="8423" y="468"/>
                  </a:lnTo>
                  <a:lnTo>
                    <a:pt x="8401" y="465"/>
                  </a:lnTo>
                  <a:lnTo>
                    <a:pt x="8373" y="469"/>
                  </a:lnTo>
                  <a:lnTo>
                    <a:pt x="8349" y="481"/>
                  </a:lnTo>
                  <a:close/>
                  <a:moveTo>
                    <a:pt x="7880" y="455"/>
                  </a:moveTo>
                  <a:lnTo>
                    <a:pt x="7883" y="433"/>
                  </a:lnTo>
                  <a:lnTo>
                    <a:pt x="7889" y="411"/>
                  </a:lnTo>
                  <a:lnTo>
                    <a:pt x="7896" y="391"/>
                  </a:lnTo>
                  <a:lnTo>
                    <a:pt x="7905" y="372"/>
                  </a:lnTo>
                  <a:lnTo>
                    <a:pt x="7917" y="354"/>
                  </a:lnTo>
                  <a:lnTo>
                    <a:pt x="7930" y="336"/>
                  </a:lnTo>
                  <a:lnTo>
                    <a:pt x="7944" y="321"/>
                  </a:lnTo>
                  <a:lnTo>
                    <a:pt x="7959" y="305"/>
                  </a:lnTo>
                  <a:lnTo>
                    <a:pt x="7994" y="280"/>
                  </a:lnTo>
                  <a:lnTo>
                    <a:pt x="8032" y="261"/>
                  </a:lnTo>
                  <a:lnTo>
                    <a:pt x="8075" y="249"/>
                  </a:lnTo>
                  <a:lnTo>
                    <a:pt x="8119" y="245"/>
                  </a:lnTo>
                  <a:lnTo>
                    <a:pt x="8160" y="249"/>
                  </a:lnTo>
                  <a:lnTo>
                    <a:pt x="8200" y="259"/>
                  </a:lnTo>
                  <a:lnTo>
                    <a:pt x="8237" y="276"/>
                  </a:lnTo>
                  <a:lnTo>
                    <a:pt x="8254" y="286"/>
                  </a:lnTo>
                  <a:lnTo>
                    <a:pt x="8271" y="299"/>
                  </a:lnTo>
                  <a:lnTo>
                    <a:pt x="8300" y="326"/>
                  </a:lnTo>
                  <a:lnTo>
                    <a:pt x="8325" y="358"/>
                  </a:lnTo>
                  <a:lnTo>
                    <a:pt x="8335" y="376"/>
                  </a:lnTo>
                  <a:lnTo>
                    <a:pt x="8343" y="395"/>
                  </a:lnTo>
                  <a:lnTo>
                    <a:pt x="8350" y="414"/>
                  </a:lnTo>
                  <a:lnTo>
                    <a:pt x="8354" y="433"/>
                  </a:lnTo>
                  <a:lnTo>
                    <a:pt x="8377" y="428"/>
                  </a:lnTo>
                  <a:lnTo>
                    <a:pt x="8401" y="426"/>
                  </a:lnTo>
                  <a:lnTo>
                    <a:pt x="8431" y="428"/>
                  </a:lnTo>
                  <a:lnTo>
                    <a:pt x="8459" y="437"/>
                  </a:lnTo>
                  <a:lnTo>
                    <a:pt x="8484" y="451"/>
                  </a:lnTo>
                  <a:lnTo>
                    <a:pt x="8505" y="470"/>
                  </a:lnTo>
                  <a:lnTo>
                    <a:pt x="8523" y="492"/>
                  </a:lnTo>
                  <a:lnTo>
                    <a:pt x="8531" y="505"/>
                  </a:lnTo>
                  <a:lnTo>
                    <a:pt x="8536" y="518"/>
                  </a:lnTo>
                  <a:lnTo>
                    <a:pt x="8545" y="544"/>
                  </a:lnTo>
                  <a:lnTo>
                    <a:pt x="8548" y="560"/>
                  </a:lnTo>
                  <a:lnTo>
                    <a:pt x="8548" y="574"/>
                  </a:lnTo>
                  <a:lnTo>
                    <a:pt x="8548" y="592"/>
                  </a:lnTo>
                  <a:lnTo>
                    <a:pt x="8544" y="613"/>
                  </a:lnTo>
                  <a:lnTo>
                    <a:pt x="8540" y="624"/>
                  </a:lnTo>
                  <a:lnTo>
                    <a:pt x="8535" y="631"/>
                  </a:lnTo>
                  <a:lnTo>
                    <a:pt x="8528" y="638"/>
                  </a:lnTo>
                  <a:lnTo>
                    <a:pt x="8521" y="640"/>
                  </a:lnTo>
                  <a:lnTo>
                    <a:pt x="7724" y="638"/>
                  </a:lnTo>
                  <a:lnTo>
                    <a:pt x="7717" y="637"/>
                  </a:lnTo>
                  <a:lnTo>
                    <a:pt x="7710" y="631"/>
                  </a:lnTo>
                  <a:lnTo>
                    <a:pt x="7705" y="622"/>
                  </a:lnTo>
                  <a:lnTo>
                    <a:pt x="7701" y="613"/>
                  </a:lnTo>
                  <a:lnTo>
                    <a:pt x="7699" y="593"/>
                  </a:lnTo>
                  <a:lnTo>
                    <a:pt x="7698" y="576"/>
                  </a:lnTo>
                  <a:lnTo>
                    <a:pt x="7700" y="548"/>
                  </a:lnTo>
                  <a:lnTo>
                    <a:pt x="7708" y="521"/>
                  </a:lnTo>
                  <a:lnTo>
                    <a:pt x="7721" y="497"/>
                  </a:lnTo>
                  <a:lnTo>
                    <a:pt x="7737" y="477"/>
                  </a:lnTo>
                  <a:lnTo>
                    <a:pt x="7757" y="459"/>
                  </a:lnTo>
                  <a:lnTo>
                    <a:pt x="7781" y="446"/>
                  </a:lnTo>
                  <a:lnTo>
                    <a:pt x="7807" y="437"/>
                  </a:lnTo>
                  <a:lnTo>
                    <a:pt x="7836" y="434"/>
                  </a:lnTo>
                  <a:lnTo>
                    <a:pt x="7851" y="436"/>
                  </a:lnTo>
                  <a:lnTo>
                    <a:pt x="7864" y="440"/>
                  </a:lnTo>
                  <a:lnTo>
                    <a:pt x="7874" y="445"/>
                  </a:lnTo>
                  <a:lnTo>
                    <a:pt x="7880" y="455"/>
                  </a:lnTo>
                  <a:close/>
                  <a:moveTo>
                    <a:pt x="4157" y="902"/>
                  </a:moveTo>
                  <a:lnTo>
                    <a:pt x="4683" y="902"/>
                  </a:lnTo>
                  <a:lnTo>
                    <a:pt x="5210" y="902"/>
                  </a:lnTo>
                  <a:lnTo>
                    <a:pt x="5210" y="892"/>
                  </a:lnTo>
                  <a:lnTo>
                    <a:pt x="5207" y="865"/>
                  </a:lnTo>
                  <a:lnTo>
                    <a:pt x="5203" y="854"/>
                  </a:lnTo>
                  <a:lnTo>
                    <a:pt x="5200" y="841"/>
                  </a:lnTo>
                  <a:lnTo>
                    <a:pt x="5187" y="819"/>
                  </a:lnTo>
                  <a:lnTo>
                    <a:pt x="5179" y="809"/>
                  </a:lnTo>
                  <a:lnTo>
                    <a:pt x="5171" y="799"/>
                  </a:lnTo>
                  <a:lnTo>
                    <a:pt x="5151" y="784"/>
                  </a:lnTo>
                  <a:lnTo>
                    <a:pt x="5141" y="777"/>
                  </a:lnTo>
                  <a:lnTo>
                    <a:pt x="5129" y="771"/>
                  </a:lnTo>
                  <a:lnTo>
                    <a:pt x="5103" y="763"/>
                  </a:lnTo>
                  <a:lnTo>
                    <a:pt x="5077" y="761"/>
                  </a:lnTo>
                  <a:lnTo>
                    <a:pt x="5052" y="763"/>
                  </a:lnTo>
                  <a:lnTo>
                    <a:pt x="5042" y="767"/>
                  </a:lnTo>
                  <a:lnTo>
                    <a:pt x="5030" y="771"/>
                  </a:lnTo>
                  <a:lnTo>
                    <a:pt x="4996" y="791"/>
                  </a:lnTo>
                  <a:lnTo>
                    <a:pt x="4982" y="799"/>
                  </a:lnTo>
                  <a:lnTo>
                    <a:pt x="4970" y="801"/>
                  </a:lnTo>
                  <a:lnTo>
                    <a:pt x="4961" y="799"/>
                  </a:lnTo>
                  <a:lnTo>
                    <a:pt x="4955" y="786"/>
                  </a:lnTo>
                  <a:lnTo>
                    <a:pt x="4944" y="758"/>
                  </a:lnTo>
                  <a:lnTo>
                    <a:pt x="4938" y="745"/>
                  </a:lnTo>
                  <a:lnTo>
                    <a:pt x="4929" y="732"/>
                  </a:lnTo>
                  <a:lnTo>
                    <a:pt x="4911" y="711"/>
                  </a:lnTo>
                  <a:lnTo>
                    <a:pt x="4900" y="700"/>
                  </a:lnTo>
                  <a:lnTo>
                    <a:pt x="4888" y="690"/>
                  </a:lnTo>
                  <a:lnTo>
                    <a:pt x="4864" y="675"/>
                  </a:lnTo>
                  <a:lnTo>
                    <a:pt x="4837" y="662"/>
                  </a:lnTo>
                  <a:lnTo>
                    <a:pt x="4821" y="658"/>
                  </a:lnTo>
                  <a:lnTo>
                    <a:pt x="4807" y="656"/>
                  </a:lnTo>
                  <a:lnTo>
                    <a:pt x="4775" y="653"/>
                  </a:lnTo>
                  <a:lnTo>
                    <a:pt x="4751" y="656"/>
                  </a:lnTo>
                  <a:lnTo>
                    <a:pt x="4725" y="661"/>
                  </a:lnTo>
                  <a:lnTo>
                    <a:pt x="4702" y="665"/>
                  </a:lnTo>
                  <a:lnTo>
                    <a:pt x="4694" y="663"/>
                  </a:lnTo>
                  <a:lnTo>
                    <a:pt x="4688" y="660"/>
                  </a:lnTo>
                  <a:lnTo>
                    <a:pt x="4671" y="643"/>
                  </a:lnTo>
                  <a:lnTo>
                    <a:pt x="4653" y="628"/>
                  </a:lnTo>
                  <a:lnTo>
                    <a:pt x="4634" y="615"/>
                  </a:lnTo>
                  <a:lnTo>
                    <a:pt x="4614" y="605"/>
                  </a:lnTo>
                  <a:lnTo>
                    <a:pt x="4592" y="596"/>
                  </a:lnTo>
                  <a:lnTo>
                    <a:pt x="4570" y="589"/>
                  </a:lnTo>
                  <a:lnTo>
                    <a:pt x="4546" y="585"/>
                  </a:lnTo>
                  <a:lnTo>
                    <a:pt x="4521" y="584"/>
                  </a:lnTo>
                  <a:lnTo>
                    <a:pt x="4480" y="587"/>
                  </a:lnTo>
                  <a:lnTo>
                    <a:pt x="4462" y="590"/>
                  </a:lnTo>
                  <a:lnTo>
                    <a:pt x="4446" y="594"/>
                  </a:lnTo>
                  <a:lnTo>
                    <a:pt x="4416" y="607"/>
                  </a:lnTo>
                  <a:lnTo>
                    <a:pt x="4393" y="622"/>
                  </a:lnTo>
                  <a:lnTo>
                    <a:pt x="4373" y="640"/>
                  </a:lnTo>
                  <a:lnTo>
                    <a:pt x="4356" y="661"/>
                  </a:lnTo>
                  <a:lnTo>
                    <a:pt x="4343" y="683"/>
                  </a:lnTo>
                  <a:lnTo>
                    <a:pt x="4333" y="704"/>
                  </a:lnTo>
                  <a:lnTo>
                    <a:pt x="4317" y="749"/>
                  </a:lnTo>
                  <a:lnTo>
                    <a:pt x="4306" y="786"/>
                  </a:lnTo>
                  <a:lnTo>
                    <a:pt x="4293" y="812"/>
                  </a:lnTo>
                  <a:lnTo>
                    <a:pt x="4287" y="818"/>
                  </a:lnTo>
                  <a:lnTo>
                    <a:pt x="4276" y="819"/>
                  </a:lnTo>
                  <a:lnTo>
                    <a:pt x="4261" y="818"/>
                  </a:lnTo>
                  <a:lnTo>
                    <a:pt x="4242" y="819"/>
                  </a:lnTo>
                  <a:lnTo>
                    <a:pt x="4224" y="824"/>
                  </a:lnTo>
                  <a:lnTo>
                    <a:pt x="4207" y="832"/>
                  </a:lnTo>
                  <a:lnTo>
                    <a:pt x="4193" y="842"/>
                  </a:lnTo>
                  <a:lnTo>
                    <a:pt x="4180" y="854"/>
                  </a:lnTo>
                  <a:lnTo>
                    <a:pt x="4170" y="868"/>
                  </a:lnTo>
                  <a:lnTo>
                    <a:pt x="4162" y="885"/>
                  </a:lnTo>
                  <a:lnTo>
                    <a:pt x="4157" y="902"/>
                  </a:lnTo>
                  <a:close/>
                  <a:moveTo>
                    <a:pt x="5248" y="923"/>
                  </a:moveTo>
                  <a:lnTo>
                    <a:pt x="5243" y="933"/>
                  </a:lnTo>
                  <a:lnTo>
                    <a:pt x="5238" y="938"/>
                  </a:lnTo>
                  <a:lnTo>
                    <a:pt x="5227" y="942"/>
                  </a:lnTo>
                  <a:lnTo>
                    <a:pt x="4680" y="942"/>
                  </a:lnTo>
                  <a:lnTo>
                    <a:pt x="4135" y="942"/>
                  </a:lnTo>
                  <a:lnTo>
                    <a:pt x="4129" y="940"/>
                  </a:lnTo>
                  <a:lnTo>
                    <a:pt x="4123" y="936"/>
                  </a:lnTo>
                  <a:lnTo>
                    <a:pt x="4117" y="928"/>
                  </a:lnTo>
                  <a:lnTo>
                    <a:pt x="4116" y="920"/>
                  </a:lnTo>
                  <a:lnTo>
                    <a:pt x="4119" y="891"/>
                  </a:lnTo>
                  <a:lnTo>
                    <a:pt x="4128" y="864"/>
                  </a:lnTo>
                  <a:lnTo>
                    <a:pt x="4140" y="840"/>
                  </a:lnTo>
                  <a:lnTo>
                    <a:pt x="4158" y="819"/>
                  </a:lnTo>
                  <a:lnTo>
                    <a:pt x="4180" y="801"/>
                  </a:lnTo>
                  <a:lnTo>
                    <a:pt x="4205" y="789"/>
                  </a:lnTo>
                  <a:lnTo>
                    <a:pt x="4232" y="781"/>
                  </a:lnTo>
                  <a:lnTo>
                    <a:pt x="4261" y="777"/>
                  </a:lnTo>
                  <a:lnTo>
                    <a:pt x="4265" y="753"/>
                  </a:lnTo>
                  <a:lnTo>
                    <a:pt x="4270" y="730"/>
                  </a:lnTo>
                  <a:lnTo>
                    <a:pt x="4279" y="707"/>
                  </a:lnTo>
                  <a:lnTo>
                    <a:pt x="4288" y="686"/>
                  </a:lnTo>
                  <a:lnTo>
                    <a:pt x="4301" y="666"/>
                  </a:lnTo>
                  <a:lnTo>
                    <a:pt x="4314" y="647"/>
                  </a:lnTo>
                  <a:lnTo>
                    <a:pt x="4329" y="629"/>
                  </a:lnTo>
                  <a:lnTo>
                    <a:pt x="4346" y="612"/>
                  </a:lnTo>
                  <a:lnTo>
                    <a:pt x="4364" y="597"/>
                  </a:lnTo>
                  <a:lnTo>
                    <a:pt x="4383" y="584"/>
                  </a:lnTo>
                  <a:lnTo>
                    <a:pt x="4425" y="562"/>
                  </a:lnTo>
                  <a:lnTo>
                    <a:pt x="4448" y="555"/>
                  </a:lnTo>
                  <a:lnTo>
                    <a:pt x="4471" y="550"/>
                  </a:lnTo>
                  <a:lnTo>
                    <a:pt x="4496" y="546"/>
                  </a:lnTo>
                  <a:lnTo>
                    <a:pt x="4521" y="544"/>
                  </a:lnTo>
                  <a:lnTo>
                    <a:pt x="4548" y="546"/>
                  </a:lnTo>
                  <a:lnTo>
                    <a:pt x="4575" y="550"/>
                  </a:lnTo>
                  <a:lnTo>
                    <a:pt x="4625" y="565"/>
                  </a:lnTo>
                  <a:lnTo>
                    <a:pt x="4648" y="576"/>
                  </a:lnTo>
                  <a:lnTo>
                    <a:pt x="4670" y="590"/>
                  </a:lnTo>
                  <a:lnTo>
                    <a:pt x="4689" y="606"/>
                  </a:lnTo>
                  <a:lnTo>
                    <a:pt x="4709" y="622"/>
                  </a:lnTo>
                  <a:lnTo>
                    <a:pt x="4741" y="615"/>
                  </a:lnTo>
                  <a:lnTo>
                    <a:pt x="4775" y="612"/>
                  </a:lnTo>
                  <a:lnTo>
                    <a:pt x="4810" y="615"/>
                  </a:lnTo>
                  <a:lnTo>
                    <a:pt x="4827" y="619"/>
                  </a:lnTo>
                  <a:lnTo>
                    <a:pt x="4842" y="622"/>
                  </a:lnTo>
                  <a:lnTo>
                    <a:pt x="4873" y="635"/>
                  </a:lnTo>
                  <a:lnTo>
                    <a:pt x="4901" y="651"/>
                  </a:lnTo>
                  <a:lnTo>
                    <a:pt x="4927" y="671"/>
                  </a:lnTo>
                  <a:lnTo>
                    <a:pt x="4950" y="694"/>
                  </a:lnTo>
                  <a:lnTo>
                    <a:pt x="4969" y="720"/>
                  </a:lnTo>
                  <a:lnTo>
                    <a:pt x="4984" y="749"/>
                  </a:lnTo>
                  <a:lnTo>
                    <a:pt x="5005" y="738"/>
                  </a:lnTo>
                  <a:lnTo>
                    <a:pt x="5028" y="729"/>
                  </a:lnTo>
                  <a:lnTo>
                    <a:pt x="5052" y="722"/>
                  </a:lnTo>
                  <a:lnTo>
                    <a:pt x="5077" y="721"/>
                  </a:lnTo>
                  <a:lnTo>
                    <a:pt x="5112" y="725"/>
                  </a:lnTo>
                  <a:lnTo>
                    <a:pt x="5128" y="729"/>
                  </a:lnTo>
                  <a:lnTo>
                    <a:pt x="5145" y="734"/>
                  </a:lnTo>
                  <a:lnTo>
                    <a:pt x="5174" y="750"/>
                  </a:lnTo>
                  <a:lnTo>
                    <a:pt x="5200" y="771"/>
                  </a:lnTo>
                  <a:lnTo>
                    <a:pt x="5210" y="784"/>
                  </a:lnTo>
                  <a:lnTo>
                    <a:pt x="5220" y="796"/>
                  </a:lnTo>
                  <a:lnTo>
                    <a:pt x="5229" y="810"/>
                  </a:lnTo>
                  <a:lnTo>
                    <a:pt x="5237" y="826"/>
                  </a:lnTo>
                  <a:lnTo>
                    <a:pt x="5247" y="858"/>
                  </a:lnTo>
                  <a:lnTo>
                    <a:pt x="5250" y="892"/>
                  </a:lnTo>
                  <a:lnTo>
                    <a:pt x="5250" y="908"/>
                  </a:lnTo>
                  <a:lnTo>
                    <a:pt x="5248" y="923"/>
                  </a:lnTo>
                  <a:close/>
                  <a:moveTo>
                    <a:pt x="4239" y="2494"/>
                  </a:moveTo>
                  <a:lnTo>
                    <a:pt x="4239" y="2607"/>
                  </a:lnTo>
                  <a:lnTo>
                    <a:pt x="4238" y="2616"/>
                  </a:lnTo>
                  <a:lnTo>
                    <a:pt x="4233" y="2622"/>
                  </a:lnTo>
                  <a:lnTo>
                    <a:pt x="4226" y="2626"/>
                  </a:lnTo>
                  <a:lnTo>
                    <a:pt x="4219" y="2627"/>
                  </a:lnTo>
                  <a:lnTo>
                    <a:pt x="4212" y="2626"/>
                  </a:lnTo>
                  <a:lnTo>
                    <a:pt x="4206" y="2622"/>
                  </a:lnTo>
                  <a:lnTo>
                    <a:pt x="4201" y="2616"/>
                  </a:lnTo>
                  <a:lnTo>
                    <a:pt x="4199" y="2607"/>
                  </a:lnTo>
                  <a:lnTo>
                    <a:pt x="4199" y="2494"/>
                  </a:lnTo>
                  <a:lnTo>
                    <a:pt x="4201" y="2487"/>
                  </a:lnTo>
                  <a:lnTo>
                    <a:pt x="4206" y="2480"/>
                  </a:lnTo>
                  <a:lnTo>
                    <a:pt x="4212" y="2477"/>
                  </a:lnTo>
                  <a:lnTo>
                    <a:pt x="4219" y="2475"/>
                  </a:lnTo>
                  <a:lnTo>
                    <a:pt x="4226" y="2477"/>
                  </a:lnTo>
                  <a:lnTo>
                    <a:pt x="4233" y="2480"/>
                  </a:lnTo>
                  <a:lnTo>
                    <a:pt x="4238" y="2487"/>
                  </a:lnTo>
                  <a:lnTo>
                    <a:pt x="4239" y="2494"/>
                  </a:lnTo>
                  <a:close/>
                  <a:moveTo>
                    <a:pt x="4502" y="2494"/>
                  </a:moveTo>
                  <a:lnTo>
                    <a:pt x="4502" y="2607"/>
                  </a:lnTo>
                  <a:lnTo>
                    <a:pt x="4501" y="2616"/>
                  </a:lnTo>
                  <a:lnTo>
                    <a:pt x="4496" y="2622"/>
                  </a:lnTo>
                  <a:lnTo>
                    <a:pt x="4489" y="2626"/>
                  </a:lnTo>
                  <a:lnTo>
                    <a:pt x="4483" y="2627"/>
                  </a:lnTo>
                  <a:lnTo>
                    <a:pt x="4475" y="2626"/>
                  </a:lnTo>
                  <a:lnTo>
                    <a:pt x="4469" y="2622"/>
                  </a:lnTo>
                  <a:lnTo>
                    <a:pt x="4464" y="2616"/>
                  </a:lnTo>
                  <a:lnTo>
                    <a:pt x="4462" y="2607"/>
                  </a:lnTo>
                  <a:lnTo>
                    <a:pt x="4462" y="2494"/>
                  </a:lnTo>
                  <a:lnTo>
                    <a:pt x="4464" y="2487"/>
                  </a:lnTo>
                  <a:lnTo>
                    <a:pt x="4469" y="2480"/>
                  </a:lnTo>
                  <a:lnTo>
                    <a:pt x="4475" y="2477"/>
                  </a:lnTo>
                  <a:lnTo>
                    <a:pt x="4483" y="2475"/>
                  </a:lnTo>
                  <a:lnTo>
                    <a:pt x="4489" y="2477"/>
                  </a:lnTo>
                  <a:lnTo>
                    <a:pt x="4496" y="2480"/>
                  </a:lnTo>
                  <a:lnTo>
                    <a:pt x="4501" y="2487"/>
                  </a:lnTo>
                  <a:lnTo>
                    <a:pt x="4502" y="2494"/>
                  </a:lnTo>
                  <a:close/>
                  <a:moveTo>
                    <a:pt x="4765" y="2494"/>
                  </a:moveTo>
                  <a:lnTo>
                    <a:pt x="4765" y="2607"/>
                  </a:lnTo>
                  <a:lnTo>
                    <a:pt x="4764" y="2616"/>
                  </a:lnTo>
                  <a:lnTo>
                    <a:pt x="4759" y="2622"/>
                  </a:lnTo>
                  <a:lnTo>
                    <a:pt x="4752" y="2626"/>
                  </a:lnTo>
                  <a:lnTo>
                    <a:pt x="4746" y="2627"/>
                  </a:lnTo>
                  <a:lnTo>
                    <a:pt x="4738" y="2626"/>
                  </a:lnTo>
                  <a:lnTo>
                    <a:pt x="4732" y="2622"/>
                  </a:lnTo>
                  <a:lnTo>
                    <a:pt x="4728" y="2616"/>
                  </a:lnTo>
                  <a:lnTo>
                    <a:pt x="4725" y="2607"/>
                  </a:lnTo>
                  <a:lnTo>
                    <a:pt x="4725" y="2494"/>
                  </a:lnTo>
                  <a:lnTo>
                    <a:pt x="4728" y="2487"/>
                  </a:lnTo>
                  <a:lnTo>
                    <a:pt x="4732" y="2480"/>
                  </a:lnTo>
                  <a:lnTo>
                    <a:pt x="4738" y="2477"/>
                  </a:lnTo>
                  <a:lnTo>
                    <a:pt x="4746" y="2475"/>
                  </a:lnTo>
                  <a:lnTo>
                    <a:pt x="4752" y="2477"/>
                  </a:lnTo>
                  <a:lnTo>
                    <a:pt x="4759" y="2480"/>
                  </a:lnTo>
                  <a:lnTo>
                    <a:pt x="4764" y="2487"/>
                  </a:lnTo>
                  <a:lnTo>
                    <a:pt x="4765" y="2494"/>
                  </a:lnTo>
                  <a:close/>
                  <a:moveTo>
                    <a:pt x="5029" y="2494"/>
                  </a:moveTo>
                  <a:lnTo>
                    <a:pt x="5029" y="2607"/>
                  </a:lnTo>
                  <a:lnTo>
                    <a:pt x="5027" y="2616"/>
                  </a:lnTo>
                  <a:lnTo>
                    <a:pt x="5023" y="2622"/>
                  </a:lnTo>
                  <a:lnTo>
                    <a:pt x="5016" y="2626"/>
                  </a:lnTo>
                  <a:lnTo>
                    <a:pt x="5009" y="2627"/>
                  </a:lnTo>
                  <a:lnTo>
                    <a:pt x="5001" y="2626"/>
                  </a:lnTo>
                  <a:lnTo>
                    <a:pt x="4994" y="2622"/>
                  </a:lnTo>
                  <a:lnTo>
                    <a:pt x="4991" y="2616"/>
                  </a:lnTo>
                  <a:lnTo>
                    <a:pt x="4988" y="2607"/>
                  </a:lnTo>
                  <a:lnTo>
                    <a:pt x="4988" y="2494"/>
                  </a:lnTo>
                  <a:lnTo>
                    <a:pt x="4991" y="2487"/>
                  </a:lnTo>
                  <a:lnTo>
                    <a:pt x="4994" y="2480"/>
                  </a:lnTo>
                  <a:lnTo>
                    <a:pt x="5001" y="2477"/>
                  </a:lnTo>
                  <a:lnTo>
                    <a:pt x="5009" y="2475"/>
                  </a:lnTo>
                  <a:lnTo>
                    <a:pt x="5016" y="2477"/>
                  </a:lnTo>
                  <a:lnTo>
                    <a:pt x="5023" y="2480"/>
                  </a:lnTo>
                  <a:lnTo>
                    <a:pt x="5027" y="2487"/>
                  </a:lnTo>
                  <a:lnTo>
                    <a:pt x="5029" y="2494"/>
                  </a:lnTo>
                  <a:close/>
                  <a:moveTo>
                    <a:pt x="5292" y="2494"/>
                  </a:moveTo>
                  <a:lnTo>
                    <a:pt x="5292" y="2607"/>
                  </a:lnTo>
                  <a:lnTo>
                    <a:pt x="5289" y="2616"/>
                  </a:lnTo>
                  <a:lnTo>
                    <a:pt x="5286" y="2622"/>
                  </a:lnTo>
                  <a:lnTo>
                    <a:pt x="5279" y="2626"/>
                  </a:lnTo>
                  <a:lnTo>
                    <a:pt x="5271" y="2627"/>
                  </a:lnTo>
                  <a:lnTo>
                    <a:pt x="5264" y="2626"/>
                  </a:lnTo>
                  <a:lnTo>
                    <a:pt x="5257" y="2622"/>
                  </a:lnTo>
                  <a:lnTo>
                    <a:pt x="5253" y="2616"/>
                  </a:lnTo>
                  <a:lnTo>
                    <a:pt x="5252" y="2607"/>
                  </a:lnTo>
                  <a:lnTo>
                    <a:pt x="5252" y="2494"/>
                  </a:lnTo>
                  <a:lnTo>
                    <a:pt x="5253" y="2487"/>
                  </a:lnTo>
                  <a:lnTo>
                    <a:pt x="5257" y="2480"/>
                  </a:lnTo>
                  <a:lnTo>
                    <a:pt x="5264" y="2477"/>
                  </a:lnTo>
                  <a:lnTo>
                    <a:pt x="5271" y="2475"/>
                  </a:lnTo>
                  <a:lnTo>
                    <a:pt x="5279" y="2477"/>
                  </a:lnTo>
                  <a:lnTo>
                    <a:pt x="5286" y="2480"/>
                  </a:lnTo>
                  <a:lnTo>
                    <a:pt x="5289" y="2487"/>
                  </a:lnTo>
                  <a:lnTo>
                    <a:pt x="5292" y="2494"/>
                  </a:lnTo>
                  <a:close/>
                  <a:moveTo>
                    <a:pt x="5555" y="2494"/>
                  </a:moveTo>
                  <a:lnTo>
                    <a:pt x="5555" y="2607"/>
                  </a:lnTo>
                  <a:lnTo>
                    <a:pt x="5554" y="2616"/>
                  </a:lnTo>
                  <a:lnTo>
                    <a:pt x="5548" y="2622"/>
                  </a:lnTo>
                  <a:lnTo>
                    <a:pt x="5542" y="2626"/>
                  </a:lnTo>
                  <a:lnTo>
                    <a:pt x="5534" y="2627"/>
                  </a:lnTo>
                  <a:lnTo>
                    <a:pt x="5528" y="2626"/>
                  </a:lnTo>
                  <a:lnTo>
                    <a:pt x="5521" y="2622"/>
                  </a:lnTo>
                  <a:lnTo>
                    <a:pt x="5516" y="2616"/>
                  </a:lnTo>
                  <a:lnTo>
                    <a:pt x="5515" y="2607"/>
                  </a:lnTo>
                  <a:lnTo>
                    <a:pt x="5515" y="2494"/>
                  </a:lnTo>
                  <a:lnTo>
                    <a:pt x="5516" y="2487"/>
                  </a:lnTo>
                  <a:lnTo>
                    <a:pt x="5521" y="2480"/>
                  </a:lnTo>
                  <a:lnTo>
                    <a:pt x="5528" y="2477"/>
                  </a:lnTo>
                  <a:lnTo>
                    <a:pt x="5534" y="2475"/>
                  </a:lnTo>
                  <a:lnTo>
                    <a:pt x="5542" y="2477"/>
                  </a:lnTo>
                  <a:lnTo>
                    <a:pt x="5548" y="2480"/>
                  </a:lnTo>
                  <a:lnTo>
                    <a:pt x="5554" y="2487"/>
                  </a:lnTo>
                  <a:lnTo>
                    <a:pt x="5555" y="2494"/>
                  </a:lnTo>
                  <a:close/>
                  <a:moveTo>
                    <a:pt x="4239" y="2741"/>
                  </a:moveTo>
                  <a:lnTo>
                    <a:pt x="4239" y="2854"/>
                  </a:lnTo>
                  <a:lnTo>
                    <a:pt x="4238" y="2863"/>
                  </a:lnTo>
                  <a:lnTo>
                    <a:pt x="4233" y="2869"/>
                  </a:lnTo>
                  <a:lnTo>
                    <a:pt x="4226" y="2873"/>
                  </a:lnTo>
                  <a:lnTo>
                    <a:pt x="4219" y="2874"/>
                  </a:lnTo>
                  <a:lnTo>
                    <a:pt x="4212" y="2873"/>
                  </a:lnTo>
                  <a:lnTo>
                    <a:pt x="4206" y="2869"/>
                  </a:lnTo>
                  <a:lnTo>
                    <a:pt x="4201" y="2863"/>
                  </a:lnTo>
                  <a:lnTo>
                    <a:pt x="4199" y="2854"/>
                  </a:lnTo>
                  <a:lnTo>
                    <a:pt x="4199" y="2741"/>
                  </a:lnTo>
                  <a:lnTo>
                    <a:pt x="4201" y="2732"/>
                  </a:lnTo>
                  <a:lnTo>
                    <a:pt x="4206" y="2727"/>
                  </a:lnTo>
                  <a:lnTo>
                    <a:pt x="4212" y="2723"/>
                  </a:lnTo>
                  <a:lnTo>
                    <a:pt x="4219" y="2722"/>
                  </a:lnTo>
                  <a:lnTo>
                    <a:pt x="4226" y="2723"/>
                  </a:lnTo>
                  <a:lnTo>
                    <a:pt x="4233" y="2727"/>
                  </a:lnTo>
                  <a:lnTo>
                    <a:pt x="4238" y="2732"/>
                  </a:lnTo>
                  <a:lnTo>
                    <a:pt x="4239" y="2741"/>
                  </a:lnTo>
                  <a:close/>
                  <a:moveTo>
                    <a:pt x="4502" y="2741"/>
                  </a:moveTo>
                  <a:lnTo>
                    <a:pt x="4502" y="2854"/>
                  </a:lnTo>
                  <a:lnTo>
                    <a:pt x="4501" y="2863"/>
                  </a:lnTo>
                  <a:lnTo>
                    <a:pt x="4496" y="2869"/>
                  </a:lnTo>
                  <a:lnTo>
                    <a:pt x="4489" y="2873"/>
                  </a:lnTo>
                  <a:lnTo>
                    <a:pt x="4483" y="2874"/>
                  </a:lnTo>
                  <a:lnTo>
                    <a:pt x="4475" y="2873"/>
                  </a:lnTo>
                  <a:lnTo>
                    <a:pt x="4469" y="2869"/>
                  </a:lnTo>
                  <a:lnTo>
                    <a:pt x="4464" y="2863"/>
                  </a:lnTo>
                  <a:lnTo>
                    <a:pt x="4462" y="2854"/>
                  </a:lnTo>
                  <a:lnTo>
                    <a:pt x="4462" y="2741"/>
                  </a:lnTo>
                  <a:lnTo>
                    <a:pt x="4464" y="2732"/>
                  </a:lnTo>
                  <a:lnTo>
                    <a:pt x="4469" y="2727"/>
                  </a:lnTo>
                  <a:lnTo>
                    <a:pt x="4475" y="2723"/>
                  </a:lnTo>
                  <a:lnTo>
                    <a:pt x="4483" y="2722"/>
                  </a:lnTo>
                  <a:lnTo>
                    <a:pt x="4489" y="2723"/>
                  </a:lnTo>
                  <a:lnTo>
                    <a:pt x="4496" y="2727"/>
                  </a:lnTo>
                  <a:lnTo>
                    <a:pt x="4501" y="2732"/>
                  </a:lnTo>
                  <a:lnTo>
                    <a:pt x="4502" y="2741"/>
                  </a:lnTo>
                  <a:close/>
                  <a:moveTo>
                    <a:pt x="4765" y="2741"/>
                  </a:moveTo>
                  <a:lnTo>
                    <a:pt x="4765" y="2854"/>
                  </a:lnTo>
                  <a:lnTo>
                    <a:pt x="4764" y="2863"/>
                  </a:lnTo>
                  <a:lnTo>
                    <a:pt x="4759" y="2869"/>
                  </a:lnTo>
                  <a:lnTo>
                    <a:pt x="4752" y="2873"/>
                  </a:lnTo>
                  <a:lnTo>
                    <a:pt x="4746" y="2874"/>
                  </a:lnTo>
                  <a:lnTo>
                    <a:pt x="4738" y="2873"/>
                  </a:lnTo>
                  <a:lnTo>
                    <a:pt x="4732" y="2869"/>
                  </a:lnTo>
                  <a:lnTo>
                    <a:pt x="4728" y="2863"/>
                  </a:lnTo>
                  <a:lnTo>
                    <a:pt x="4725" y="2854"/>
                  </a:lnTo>
                  <a:lnTo>
                    <a:pt x="4725" y="2741"/>
                  </a:lnTo>
                  <a:lnTo>
                    <a:pt x="4728" y="2732"/>
                  </a:lnTo>
                  <a:lnTo>
                    <a:pt x="4732" y="2727"/>
                  </a:lnTo>
                  <a:lnTo>
                    <a:pt x="4738" y="2723"/>
                  </a:lnTo>
                  <a:lnTo>
                    <a:pt x="4746" y="2722"/>
                  </a:lnTo>
                  <a:lnTo>
                    <a:pt x="4752" y="2723"/>
                  </a:lnTo>
                  <a:lnTo>
                    <a:pt x="4759" y="2727"/>
                  </a:lnTo>
                  <a:lnTo>
                    <a:pt x="4764" y="2732"/>
                  </a:lnTo>
                  <a:lnTo>
                    <a:pt x="4765" y="2741"/>
                  </a:lnTo>
                  <a:close/>
                  <a:moveTo>
                    <a:pt x="5029" y="2741"/>
                  </a:moveTo>
                  <a:lnTo>
                    <a:pt x="5029" y="2854"/>
                  </a:lnTo>
                  <a:lnTo>
                    <a:pt x="5027" y="2863"/>
                  </a:lnTo>
                  <a:lnTo>
                    <a:pt x="5023" y="2869"/>
                  </a:lnTo>
                  <a:lnTo>
                    <a:pt x="5016" y="2873"/>
                  </a:lnTo>
                  <a:lnTo>
                    <a:pt x="5009" y="2874"/>
                  </a:lnTo>
                  <a:lnTo>
                    <a:pt x="5001" y="2873"/>
                  </a:lnTo>
                  <a:lnTo>
                    <a:pt x="4994" y="2869"/>
                  </a:lnTo>
                  <a:lnTo>
                    <a:pt x="4991" y="2863"/>
                  </a:lnTo>
                  <a:lnTo>
                    <a:pt x="4988" y="2854"/>
                  </a:lnTo>
                  <a:lnTo>
                    <a:pt x="4988" y="2741"/>
                  </a:lnTo>
                  <a:lnTo>
                    <a:pt x="4991" y="2732"/>
                  </a:lnTo>
                  <a:lnTo>
                    <a:pt x="4994" y="2727"/>
                  </a:lnTo>
                  <a:lnTo>
                    <a:pt x="5001" y="2723"/>
                  </a:lnTo>
                  <a:lnTo>
                    <a:pt x="5009" y="2722"/>
                  </a:lnTo>
                  <a:lnTo>
                    <a:pt x="5016" y="2723"/>
                  </a:lnTo>
                  <a:lnTo>
                    <a:pt x="5023" y="2727"/>
                  </a:lnTo>
                  <a:lnTo>
                    <a:pt x="5027" y="2732"/>
                  </a:lnTo>
                  <a:lnTo>
                    <a:pt x="5029" y="2741"/>
                  </a:lnTo>
                  <a:close/>
                  <a:moveTo>
                    <a:pt x="5292" y="2741"/>
                  </a:moveTo>
                  <a:lnTo>
                    <a:pt x="5292" y="2854"/>
                  </a:lnTo>
                  <a:lnTo>
                    <a:pt x="5289" y="2863"/>
                  </a:lnTo>
                  <a:lnTo>
                    <a:pt x="5286" y="2869"/>
                  </a:lnTo>
                  <a:lnTo>
                    <a:pt x="5279" y="2873"/>
                  </a:lnTo>
                  <a:lnTo>
                    <a:pt x="5271" y="2874"/>
                  </a:lnTo>
                  <a:lnTo>
                    <a:pt x="5264" y="2873"/>
                  </a:lnTo>
                  <a:lnTo>
                    <a:pt x="5257" y="2869"/>
                  </a:lnTo>
                  <a:lnTo>
                    <a:pt x="5253" y="2863"/>
                  </a:lnTo>
                  <a:lnTo>
                    <a:pt x="5252" y="2854"/>
                  </a:lnTo>
                  <a:lnTo>
                    <a:pt x="5252" y="2741"/>
                  </a:lnTo>
                  <a:lnTo>
                    <a:pt x="5253" y="2732"/>
                  </a:lnTo>
                  <a:lnTo>
                    <a:pt x="5257" y="2727"/>
                  </a:lnTo>
                  <a:lnTo>
                    <a:pt x="5264" y="2723"/>
                  </a:lnTo>
                  <a:lnTo>
                    <a:pt x="5271" y="2722"/>
                  </a:lnTo>
                  <a:lnTo>
                    <a:pt x="5279" y="2723"/>
                  </a:lnTo>
                  <a:lnTo>
                    <a:pt x="5286" y="2727"/>
                  </a:lnTo>
                  <a:lnTo>
                    <a:pt x="5289" y="2732"/>
                  </a:lnTo>
                  <a:lnTo>
                    <a:pt x="5292" y="2741"/>
                  </a:lnTo>
                  <a:close/>
                  <a:moveTo>
                    <a:pt x="5555" y="2741"/>
                  </a:moveTo>
                  <a:lnTo>
                    <a:pt x="5555" y="2854"/>
                  </a:lnTo>
                  <a:lnTo>
                    <a:pt x="5554" y="2863"/>
                  </a:lnTo>
                  <a:lnTo>
                    <a:pt x="5548" y="2869"/>
                  </a:lnTo>
                  <a:lnTo>
                    <a:pt x="5542" y="2873"/>
                  </a:lnTo>
                  <a:lnTo>
                    <a:pt x="5534" y="2874"/>
                  </a:lnTo>
                  <a:lnTo>
                    <a:pt x="5528" y="2873"/>
                  </a:lnTo>
                  <a:lnTo>
                    <a:pt x="5521" y="2869"/>
                  </a:lnTo>
                  <a:lnTo>
                    <a:pt x="5516" y="2863"/>
                  </a:lnTo>
                  <a:lnTo>
                    <a:pt x="5515" y="2854"/>
                  </a:lnTo>
                  <a:lnTo>
                    <a:pt x="5515" y="2741"/>
                  </a:lnTo>
                  <a:lnTo>
                    <a:pt x="5516" y="2732"/>
                  </a:lnTo>
                  <a:lnTo>
                    <a:pt x="5521" y="2727"/>
                  </a:lnTo>
                  <a:lnTo>
                    <a:pt x="5528" y="2723"/>
                  </a:lnTo>
                  <a:lnTo>
                    <a:pt x="5534" y="2722"/>
                  </a:lnTo>
                  <a:lnTo>
                    <a:pt x="5542" y="2723"/>
                  </a:lnTo>
                  <a:lnTo>
                    <a:pt x="5548" y="2727"/>
                  </a:lnTo>
                  <a:lnTo>
                    <a:pt x="5554" y="2732"/>
                  </a:lnTo>
                  <a:lnTo>
                    <a:pt x="5555" y="2741"/>
                  </a:lnTo>
                  <a:close/>
                  <a:moveTo>
                    <a:pt x="4239" y="2988"/>
                  </a:moveTo>
                  <a:lnTo>
                    <a:pt x="4239" y="3101"/>
                  </a:lnTo>
                  <a:lnTo>
                    <a:pt x="4238" y="3109"/>
                  </a:lnTo>
                  <a:lnTo>
                    <a:pt x="4233" y="3115"/>
                  </a:lnTo>
                  <a:lnTo>
                    <a:pt x="4226" y="3118"/>
                  </a:lnTo>
                  <a:lnTo>
                    <a:pt x="4219" y="3120"/>
                  </a:lnTo>
                  <a:lnTo>
                    <a:pt x="4212" y="3118"/>
                  </a:lnTo>
                  <a:lnTo>
                    <a:pt x="4206" y="3115"/>
                  </a:lnTo>
                  <a:lnTo>
                    <a:pt x="4201" y="3109"/>
                  </a:lnTo>
                  <a:lnTo>
                    <a:pt x="4199" y="3101"/>
                  </a:lnTo>
                  <a:lnTo>
                    <a:pt x="4199" y="2988"/>
                  </a:lnTo>
                  <a:lnTo>
                    <a:pt x="4201" y="2979"/>
                  </a:lnTo>
                  <a:lnTo>
                    <a:pt x="4206" y="2973"/>
                  </a:lnTo>
                  <a:lnTo>
                    <a:pt x="4212" y="2970"/>
                  </a:lnTo>
                  <a:lnTo>
                    <a:pt x="4219" y="2969"/>
                  </a:lnTo>
                  <a:lnTo>
                    <a:pt x="4226" y="2970"/>
                  </a:lnTo>
                  <a:lnTo>
                    <a:pt x="4233" y="2973"/>
                  </a:lnTo>
                  <a:lnTo>
                    <a:pt x="4238" y="2979"/>
                  </a:lnTo>
                  <a:lnTo>
                    <a:pt x="4239" y="2988"/>
                  </a:lnTo>
                  <a:close/>
                  <a:moveTo>
                    <a:pt x="4502" y="2988"/>
                  </a:moveTo>
                  <a:lnTo>
                    <a:pt x="4502" y="3101"/>
                  </a:lnTo>
                  <a:lnTo>
                    <a:pt x="4501" y="3109"/>
                  </a:lnTo>
                  <a:lnTo>
                    <a:pt x="4496" y="3115"/>
                  </a:lnTo>
                  <a:lnTo>
                    <a:pt x="4489" y="3118"/>
                  </a:lnTo>
                  <a:lnTo>
                    <a:pt x="4483" y="3120"/>
                  </a:lnTo>
                  <a:lnTo>
                    <a:pt x="4475" y="3118"/>
                  </a:lnTo>
                  <a:lnTo>
                    <a:pt x="4469" y="3115"/>
                  </a:lnTo>
                  <a:lnTo>
                    <a:pt x="4464" y="3109"/>
                  </a:lnTo>
                  <a:lnTo>
                    <a:pt x="4462" y="3101"/>
                  </a:lnTo>
                  <a:lnTo>
                    <a:pt x="4462" y="2988"/>
                  </a:lnTo>
                  <a:lnTo>
                    <a:pt x="4464" y="2979"/>
                  </a:lnTo>
                  <a:lnTo>
                    <a:pt x="4469" y="2973"/>
                  </a:lnTo>
                  <a:lnTo>
                    <a:pt x="4475" y="2970"/>
                  </a:lnTo>
                  <a:lnTo>
                    <a:pt x="4483" y="2969"/>
                  </a:lnTo>
                  <a:lnTo>
                    <a:pt x="4489" y="2970"/>
                  </a:lnTo>
                  <a:lnTo>
                    <a:pt x="4496" y="2973"/>
                  </a:lnTo>
                  <a:lnTo>
                    <a:pt x="4501" y="2979"/>
                  </a:lnTo>
                  <a:lnTo>
                    <a:pt x="4502" y="2988"/>
                  </a:lnTo>
                  <a:close/>
                  <a:moveTo>
                    <a:pt x="4765" y="2988"/>
                  </a:moveTo>
                  <a:lnTo>
                    <a:pt x="4765" y="3101"/>
                  </a:lnTo>
                  <a:lnTo>
                    <a:pt x="4764" y="3109"/>
                  </a:lnTo>
                  <a:lnTo>
                    <a:pt x="4759" y="3115"/>
                  </a:lnTo>
                  <a:lnTo>
                    <a:pt x="4752" y="3118"/>
                  </a:lnTo>
                  <a:lnTo>
                    <a:pt x="4746" y="3120"/>
                  </a:lnTo>
                  <a:lnTo>
                    <a:pt x="4738" y="3118"/>
                  </a:lnTo>
                  <a:lnTo>
                    <a:pt x="4732" y="3115"/>
                  </a:lnTo>
                  <a:lnTo>
                    <a:pt x="4728" y="3109"/>
                  </a:lnTo>
                  <a:lnTo>
                    <a:pt x="4725" y="3101"/>
                  </a:lnTo>
                  <a:lnTo>
                    <a:pt x="4725" y="2988"/>
                  </a:lnTo>
                  <a:lnTo>
                    <a:pt x="4728" y="2979"/>
                  </a:lnTo>
                  <a:lnTo>
                    <a:pt x="4732" y="2973"/>
                  </a:lnTo>
                  <a:lnTo>
                    <a:pt x="4738" y="2970"/>
                  </a:lnTo>
                  <a:lnTo>
                    <a:pt x="4746" y="2969"/>
                  </a:lnTo>
                  <a:lnTo>
                    <a:pt x="4752" y="2970"/>
                  </a:lnTo>
                  <a:lnTo>
                    <a:pt x="4759" y="2973"/>
                  </a:lnTo>
                  <a:lnTo>
                    <a:pt x="4764" y="2979"/>
                  </a:lnTo>
                  <a:lnTo>
                    <a:pt x="4765" y="2988"/>
                  </a:lnTo>
                  <a:close/>
                  <a:moveTo>
                    <a:pt x="5029" y="2988"/>
                  </a:moveTo>
                  <a:lnTo>
                    <a:pt x="5029" y="3101"/>
                  </a:lnTo>
                  <a:lnTo>
                    <a:pt x="5027" y="3109"/>
                  </a:lnTo>
                  <a:lnTo>
                    <a:pt x="5023" y="3115"/>
                  </a:lnTo>
                  <a:lnTo>
                    <a:pt x="5016" y="3118"/>
                  </a:lnTo>
                  <a:lnTo>
                    <a:pt x="5009" y="3120"/>
                  </a:lnTo>
                  <a:lnTo>
                    <a:pt x="5001" y="3118"/>
                  </a:lnTo>
                  <a:lnTo>
                    <a:pt x="4994" y="3115"/>
                  </a:lnTo>
                  <a:lnTo>
                    <a:pt x="4991" y="3109"/>
                  </a:lnTo>
                  <a:lnTo>
                    <a:pt x="4988" y="3101"/>
                  </a:lnTo>
                  <a:lnTo>
                    <a:pt x="4988" y="2988"/>
                  </a:lnTo>
                  <a:lnTo>
                    <a:pt x="4991" y="2979"/>
                  </a:lnTo>
                  <a:lnTo>
                    <a:pt x="4994" y="2973"/>
                  </a:lnTo>
                  <a:lnTo>
                    <a:pt x="5001" y="2970"/>
                  </a:lnTo>
                  <a:lnTo>
                    <a:pt x="5009" y="2969"/>
                  </a:lnTo>
                  <a:lnTo>
                    <a:pt x="5016" y="2970"/>
                  </a:lnTo>
                  <a:lnTo>
                    <a:pt x="5023" y="2973"/>
                  </a:lnTo>
                  <a:lnTo>
                    <a:pt x="5027" y="2979"/>
                  </a:lnTo>
                  <a:lnTo>
                    <a:pt x="5029" y="2988"/>
                  </a:lnTo>
                  <a:close/>
                  <a:moveTo>
                    <a:pt x="5292" y="2988"/>
                  </a:moveTo>
                  <a:lnTo>
                    <a:pt x="5292" y="3101"/>
                  </a:lnTo>
                  <a:lnTo>
                    <a:pt x="5289" y="3109"/>
                  </a:lnTo>
                  <a:lnTo>
                    <a:pt x="5286" y="3115"/>
                  </a:lnTo>
                  <a:lnTo>
                    <a:pt x="5279" y="3118"/>
                  </a:lnTo>
                  <a:lnTo>
                    <a:pt x="5271" y="3120"/>
                  </a:lnTo>
                  <a:lnTo>
                    <a:pt x="5264" y="3118"/>
                  </a:lnTo>
                  <a:lnTo>
                    <a:pt x="5257" y="3115"/>
                  </a:lnTo>
                  <a:lnTo>
                    <a:pt x="5253" y="3109"/>
                  </a:lnTo>
                  <a:lnTo>
                    <a:pt x="5252" y="3101"/>
                  </a:lnTo>
                  <a:lnTo>
                    <a:pt x="5252" y="2988"/>
                  </a:lnTo>
                  <a:lnTo>
                    <a:pt x="5253" y="2979"/>
                  </a:lnTo>
                  <a:lnTo>
                    <a:pt x="5257" y="2973"/>
                  </a:lnTo>
                  <a:lnTo>
                    <a:pt x="5264" y="2970"/>
                  </a:lnTo>
                  <a:lnTo>
                    <a:pt x="5271" y="2969"/>
                  </a:lnTo>
                  <a:lnTo>
                    <a:pt x="5279" y="2970"/>
                  </a:lnTo>
                  <a:lnTo>
                    <a:pt x="5286" y="2973"/>
                  </a:lnTo>
                  <a:lnTo>
                    <a:pt x="5289" y="2979"/>
                  </a:lnTo>
                  <a:lnTo>
                    <a:pt x="5292" y="2988"/>
                  </a:lnTo>
                  <a:close/>
                  <a:moveTo>
                    <a:pt x="5555" y="2988"/>
                  </a:moveTo>
                  <a:lnTo>
                    <a:pt x="5555" y="3101"/>
                  </a:lnTo>
                  <a:lnTo>
                    <a:pt x="5554" y="3109"/>
                  </a:lnTo>
                  <a:lnTo>
                    <a:pt x="5548" y="3115"/>
                  </a:lnTo>
                  <a:lnTo>
                    <a:pt x="5542" y="3118"/>
                  </a:lnTo>
                  <a:lnTo>
                    <a:pt x="5534" y="3120"/>
                  </a:lnTo>
                  <a:lnTo>
                    <a:pt x="5528" y="3118"/>
                  </a:lnTo>
                  <a:lnTo>
                    <a:pt x="5521" y="3115"/>
                  </a:lnTo>
                  <a:lnTo>
                    <a:pt x="5516" y="3109"/>
                  </a:lnTo>
                  <a:lnTo>
                    <a:pt x="5515" y="3101"/>
                  </a:lnTo>
                  <a:lnTo>
                    <a:pt x="5515" y="2988"/>
                  </a:lnTo>
                  <a:lnTo>
                    <a:pt x="5516" y="2979"/>
                  </a:lnTo>
                  <a:lnTo>
                    <a:pt x="5521" y="2973"/>
                  </a:lnTo>
                  <a:lnTo>
                    <a:pt x="5528" y="2970"/>
                  </a:lnTo>
                  <a:lnTo>
                    <a:pt x="5534" y="2969"/>
                  </a:lnTo>
                  <a:lnTo>
                    <a:pt x="5542" y="2970"/>
                  </a:lnTo>
                  <a:lnTo>
                    <a:pt x="5548" y="2973"/>
                  </a:lnTo>
                  <a:lnTo>
                    <a:pt x="5554" y="2979"/>
                  </a:lnTo>
                  <a:lnTo>
                    <a:pt x="5555" y="2988"/>
                  </a:lnTo>
                  <a:close/>
                  <a:moveTo>
                    <a:pt x="4239" y="3235"/>
                  </a:moveTo>
                  <a:lnTo>
                    <a:pt x="4239" y="3347"/>
                  </a:lnTo>
                  <a:lnTo>
                    <a:pt x="4238" y="3355"/>
                  </a:lnTo>
                  <a:lnTo>
                    <a:pt x="4233" y="3361"/>
                  </a:lnTo>
                  <a:lnTo>
                    <a:pt x="4226" y="3365"/>
                  </a:lnTo>
                  <a:lnTo>
                    <a:pt x="4219" y="3367"/>
                  </a:lnTo>
                  <a:lnTo>
                    <a:pt x="4212" y="3365"/>
                  </a:lnTo>
                  <a:lnTo>
                    <a:pt x="4206" y="3361"/>
                  </a:lnTo>
                  <a:lnTo>
                    <a:pt x="4201" y="3355"/>
                  </a:lnTo>
                  <a:lnTo>
                    <a:pt x="4199" y="3347"/>
                  </a:lnTo>
                  <a:lnTo>
                    <a:pt x="4199" y="3235"/>
                  </a:lnTo>
                  <a:lnTo>
                    <a:pt x="4201" y="3226"/>
                  </a:lnTo>
                  <a:lnTo>
                    <a:pt x="4206" y="3219"/>
                  </a:lnTo>
                  <a:lnTo>
                    <a:pt x="4212" y="3216"/>
                  </a:lnTo>
                  <a:lnTo>
                    <a:pt x="4219" y="3214"/>
                  </a:lnTo>
                  <a:lnTo>
                    <a:pt x="4226" y="3216"/>
                  </a:lnTo>
                  <a:lnTo>
                    <a:pt x="4233" y="3219"/>
                  </a:lnTo>
                  <a:lnTo>
                    <a:pt x="4238" y="3226"/>
                  </a:lnTo>
                  <a:lnTo>
                    <a:pt x="4239" y="3235"/>
                  </a:lnTo>
                  <a:close/>
                  <a:moveTo>
                    <a:pt x="4502" y="3235"/>
                  </a:moveTo>
                  <a:lnTo>
                    <a:pt x="4502" y="3347"/>
                  </a:lnTo>
                  <a:lnTo>
                    <a:pt x="4501" y="3355"/>
                  </a:lnTo>
                  <a:lnTo>
                    <a:pt x="4496" y="3361"/>
                  </a:lnTo>
                  <a:lnTo>
                    <a:pt x="4489" y="3365"/>
                  </a:lnTo>
                  <a:lnTo>
                    <a:pt x="4483" y="3367"/>
                  </a:lnTo>
                  <a:lnTo>
                    <a:pt x="4475" y="3365"/>
                  </a:lnTo>
                  <a:lnTo>
                    <a:pt x="4469" y="3361"/>
                  </a:lnTo>
                  <a:lnTo>
                    <a:pt x="4464" y="3355"/>
                  </a:lnTo>
                  <a:lnTo>
                    <a:pt x="4462" y="3347"/>
                  </a:lnTo>
                  <a:lnTo>
                    <a:pt x="4462" y="3235"/>
                  </a:lnTo>
                  <a:lnTo>
                    <a:pt x="4464" y="3226"/>
                  </a:lnTo>
                  <a:lnTo>
                    <a:pt x="4469" y="3219"/>
                  </a:lnTo>
                  <a:lnTo>
                    <a:pt x="4475" y="3216"/>
                  </a:lnTo>
                  <a:lnTo>
                    <a:pt x="4483" y="3214"/>
                  </a:lnTo>
                  <a:lnTo>
                    <a:pt x="4489" y="3216"/>
                  </a:lnTo>
                  <a:lnTo>
                    <a:pt x="4496" y="3219"/>
                  </a:lnTo>
                  <a:lnTo>
                    <a:pt x="4501" y="3226"/>
                  </a:lnTo>
                  <a:lnTo>
                    <a:pt x="4502" y="3235"/>
                  </a:lnTo>
                  <a:close/>
                  <a:moveTo>
                    <a:pt x="4765" y="3235"/>
                  </a:moveTo>
                  <a:lnTo>
                    <a:pt x="4765" y="3347"/>
                  </a:lnTo>
                  <a:lnTo>
                    <a:pt x="4764" y="3355"/>
                  </a:lnTo>
                  <a:lnTo>
                    <a:pt x="4759" y="3361"/>
                  </a:lnTo>
                  <a:lnTo>
                    <a:pt x="4752" y="3365"/>
                  </a:lnTo>
                  <a:lnTo>
                    <a:pt x="4746" y="3367"/>
                  </a:lnTo>
                  <a:lnTo>
                    <a:pt x="4738" y="3365"/>
                  </a:lnTo>
                  <a:lnTo>
                    <a:pt x="4732" y="3361"/>
                  </a:lnTo>
                  <a:lnTo>
                    <a:pt x="4728" y="3355"/>
                  </a:lnTo>
                  <a:lnTo>
                    <a:pt x="4725" y="3347"/>
                  </a:lnTo>
                  <a:lnTo>
                    <a:pt x="4725" y="3235"/>
                  </a:lnTo>
                  <a:lnTo>
                    <a:pt x="4728" y="3226"/>
                  </a:lnTo>
                  <a:lnTo>
                    <a:pt x="4732" y="3219"/>
                  </a:lnTo>
                  <a:lnTo>
                    <a:pt x="4738" y="3216"/>
                  </a:lnTo>
                  <a:lnTo>
                    <a:pt x="4746" y="3214"/>
                  </a:lnTo>
                  <a:lnTo>
                    <a:pt x="4752" y="3216"/>
                  </a:lnTo>
                  <a:lnTo>
                    <a:pt x="4759" y="3219"/>
                  </a:lnTo>
                  <a:lnTo>
                    <a:pt x="4764" y="3226"/>
                  </a:lnTo>
                  <a:lnTo>
                    <a:pt x="4765" y="3235"/>
                  </a:lnTo>
                  <a:close/>
                  <a:moveTo>
                    <a:pt x="5029" y="3235"/>
                  </a:moveTo>
                  <a:lnTo>
                    <a:pt x="5029" y="3347"/>
                  </a:lnTo>
                  <a:lnTo>
                    <a:pt x="5027" y="3355"/>
                  </a:lnTo>
                  <a:lnTo>
                    <a:pt x="5023" y="3361"/>
                  </a:lnTo>
                  <a:lnTo>
                    <a:pt x="5016" y="3365"/>
                  </a:lnTo>
                  <a:lnTo>
                    <a:pt x="5009" y="3367"/>
                  </a:lnTo>
                  <a:lnTo>
                    <a:pt x="5001" y="3365"/>
                  </a:lnTo>
                  <a:lnTo>
                    <a:pt x="4994" y="3361"/>
                  </a:lnTo>
                  <a:lnTo>
                    <a:pt x="4991" y="3355"/>
                  </a:lnTo>
                  <a:lnTo>
                    <a:pt x="4988" y="3347"/>
                  </a:lnTo>
                  <a:lnTo>
                    <a:pt x="4988" y="3235"/>
                  </a:lnTo>
                  <a:lnTo>
                    <a:pt x="4991" y="3226"/>
                  </a:lnTo>
                  <a:lnTo>
                    <a:pt x="4994" y="3219"/>
                  </a:lnTo>
                  <a:lnTo>
                    <a:pt x="5001" y="3216"/>
                  </a:lnTo>
                  <a:lnTo>
                    <a:pt x="5009" y="3214"/>
                  </a:lnTo>
                  <a:lnTo>
                    <a:pt x="5016" y="3216"/>
                  </a:lnTo>
                  <a:lnTo>
                    <a:pt x="5023" y="3219"/>
                  </a:lnTo>
                  <a:lnTo>
                    <a:pt x="5027" y="3226"/>
                  </a:lnTo>
                  <a:lnTo>
                    <a:pt x="5029" y="3235"/>
                  </a:lnTo>
                  <a:close/>
                  <a:moveTo>
                    <a:pt x="5292" y="3235"/>
                  </a:moveTo>
                  <a:lnTo>
                    <a:pt x="5292" y="3347"/>
                  </a:lnTo>
                  <a:lnTo>
                    <a:pt x="5289" y="3355"/>
                  </a:lnTo>
                  <a:lnTo>
                    <a:pt x="5286" y="3361"/>
                  </a:lnTo>
                  <a:lnTo>
                    <a:pt x="5279" y="3365"/>
                  </a:lnTo>
                  <a:lnTo>
                    <a:pt x="5271" y="3367"/>
                  </a:lnTo>
                  <a:lnTo>
                    <a:pt x="5264" y="3365"/>
                  </a:lnTo>
                  <a:lnTo>
                    <a:pt x="5257" y="3361"/>
                  </a:lnTo>
                  <a:lnTo>
                    <a:pt x="5253" y="3355"/>
                  </a:lnTo>
                  <a:lnTo>
                    <a:pt x="5252" y="3347"/>
                  </a:lnTo>
                  <a:lnTo>
                    <a:pt x="5252" y="3235"/>
                  </a:lnTo>
                  <a:lnTo>
                    <a:pt x="5253" y="3226"/>
                  </a:lnTo>
                  <a:lnTo>
                    <a:pt x="5257" y="3219"/>
                  </a:lnTo>
                  <a:lnTo>
                    <a:pt x="5264" y="3216"/>
                  </a:lnTo>
                  <a:lnTo>
                    <a:pt x="5271" y="3214"/>
                  </a:lnTo>
                  <a:lnTo>
                    <a:pt x="5279" y="3216"/>
                  </a:lnTo>
                  <a:lnTo>
                    <a:pt x="5286" y="3219"/>
                  </a:lnTo>
                  <a:lnTo>
                    <a:pt x="5289" y="3226"/>
                  </a:lnTo>
                  <a:lnTo>
                    <a:pt x="5292" y="3235"/>
                  </a:lnTo>
                  <a:close/>
                  <a:moveTo>
                    <a:pt x="5555" y="3235"/>
                  </a:moveTo>
                  <a:lnTo>
                    <a:pt x="5555" y="3347"/>
                  </a:lnTo>
                  <a:lnTo>
                    <a:pt x="5554" y="3355"/>
                  </a:lnTo>
                  <a:lnTo>
                    <a:pt x="5548" y="3361"/>
                  </a:lnTo>
                  <a:lnTo>
                    <a:pt x="5542" y="3365"/>
                  </a:lnTo>
                  <a:lnTo>
                    <a:pt x="5534" y="3367"/>
                  </a:lnTo>
                  <a:lnTo>
                    <a:pt x="5528" y="3365"/>
                  </a:lnTo>
                  <a:lnTo>
                    <a:pt x="5521" y="3361"/>
                  </a:lnTo>
                  <a:lnTo>
                    <a:pt x="5516" y="3355"/>
                  </a:lnTo>
                  <a:lnTo>
                    <a:pt x="5515" y="3347"/>
                  </a:lnTo>
                  <a:lnTo>
                    <a:pt x="5515" y="3235"/>
                  </a:lnTo>
                  <a:lnTo>
                    <a:pt x="5516" y="3226"/>
                  </a:lnTo>
                  <a:lnTo>
                    <a:pt x="5521" y="3219"/>
                  </a:lnTo>
                  <a:lnTo>
                    <a:pt x="5528" y="3216"/>
                  </a:lnTo>
                  <a:lnTo>
                    <a:pt x="5534" y="3214"/>
                  </a:lnTo>
                  <a:lnTo>
                    <a:pt x="5542" y="3216"/>
                  </a:lnTo>
                  <a:lnTo>
                    <a:pt x="5548" y="3219"/>
                  </a:lnTo>
                  <a:lnTo>
                    <a:pt x="5554" y="3226"/>
                  </a:lnTo>
                  <a:lnTo>
                    <a:pt x="5555" y="3235"/>
                  </a:lnTo>
                  <a:close/>
                  <a:moveTo>
                    <a:pt x="3624" y="4034"/>
                  </a:moveTo>
                  <a:lnTo>
                    <a:pt x="3624" y="3864"/>
                  </a:lnTo>
                  <a:lnTo>
                    <a:pt x="3625" y="3856"/>
                  </a:lnTo>
                  <a:lnTo>
                    <a:pt x="3629" y="3851"/>
                  </a:lnTo>
                  <a:lnTo>
                    <a:pt x="3634" y="3847"/>
                  </a:lnTo>
                  <a:lnTo>
                    <a:pt x="3639" y="3845"/>
                  </a:lnTo>
                  <a:lnTo>
                    <a:pt x="3646" y="3845"/>
                  </a:lnTo>
                  <a:lnTo>
                    <a:pt x="3652" y="3846"/>
                  </a:lnTo>
                  <a:lnTo>
                    <a:pt x="3657" y="3849"/>
                  </a:lnTo>
                  <a:lnTo>
                    <a:pt x="3662" y="3854"/>
                  </a:lnTo>
                  <a:lnTo>
                    <a:pt x="3666" y="3860"/>
                  </a:lnTo>
                  <a:lnTo>
                    <a:pt x="3667" y="3869"/>
                  </a:lnTo>
                  <a:lnTo>
                    <a:pt x="3667" y="4034"/>
                  </a:lnTo>
                  <a:lnTo>
                    <a:pt x="3710" y="4029"/>
                  </a:lnTo>
                  <a:lnTo>
                    <a:pt x="3751" y="4021"/>
                  </a:lnTo>
                  <a:lnTo>
                    <a:pt x="3789" y="4010"/>
                  </a:lnTo>
                  <a:lnTo>
                    <a:pt x="3828" y="3994"/>
                  </a:lnTo>
                  <a:lnTo>
                    <a:pt x="3846" y="3985"/>
                  </a:lnTo>
                  <a:lnTo>
                    <a:pt x="3864" y="3975"/>
                  </a:lnTo>
                  <a:lnTo>
                    <a:pt x="3897" y="3953"/>
                  </a:lnTo>
                  <a:lnTo>
                    <a:pt x="3928" y="3928"/>
                  </a:lnTo>
                  <a:lnTo>
                    <a:pt x="3957" y="3901"/>
                  </a:lnTo>
                  <a:lnTo>
                    <a:pt x="3970" y="3886"/>
                  </a:lnTo>
                  <a:lnTo>
                    <a:pt x="3983" y="3870"/>
                  </a:lnTo>
                  <a:lnTo>
                    <a:pt x="4006" y="3838"/>
                  </a:lnTo>
                  <a:lnTo>
                    <a:pt x="4026" y="3804"/>
                  </a:lnTo>
                  <a:lnTo>
                    <a:pt x="4043" y="3767"/>
                  </a:lnTo>
                  <a:lnTo>
                    <a:pt x="4057" y="3728"/>
                  </a:lnTo>
                  <a:lnTo>
                    <a:pt x="4067" y="3689"/>
                  </a:lnTo>
                  <a:lnTo>
                    <a:pt x="4074" y="3648"/>
                  </a:lnTo>
                  <a:lnTo>
                    <a:pt x="4075" y="3604"/>
                  </a:lnTo>
                  <a:lnTo>
                    <a:pt x="4074" y="3569"/>
                  </a:lnTo>
                  <a:lnTo>
                    <a:pt x="4069" y="3533"/>
                  </a:lnTo>
                  <a:lnTo>
                    <a:pt x="4062" y="3498"/>
                  </a:lnTo>
                  <a:lnTo>
                    <a:pt x="4052" y="3464"/>
                  </a:lnTo>
                  <a:lnTo>
                    <a:pt x="4039" y="3432"/>
                  </a:lnTo>
                  <a:lnTo>
                    <a:pt x="4024" y="3401"/>
                  </a:lnTo>
                  <a:lnTo>
                    <a:pt x="4006" y="3372"/>
                  </a:lnTo>
                  <a:lnTo>
                    <a:pt x="3987" y="3343"/>
                  </a:lnTo>
                  <a:lnTo>
                    <a:pt x="3955" y="3308"/>
                  </a:lnTo>
                  <a:lnTo>
                    <a:pt x="3919" y="3276"/>
                  </a:lnTo>
                  <a:lnTo>
                    <a:pt x="3880" y="3248"/>
                  </a:lnTo>
                  <a:lnTo>
                    <a:pt x="3860" y="3236"/>
                  </a:lnTo>
                  <a:lnTo>
                    <a:pt x="3839" y="3225"/>
                  </a:lnTo>
                  <a:lnTo>
                    <a:pt x="3817" y="3214"/>
                  </a:lnTo>
                  <a:lnTo>
                    <a:pt x="3794" y="3205"/>
                  </a:lnTo>
                  <a:lnTo>
                    <a:pt x="3748" y="3191"/>
                  </a:lnTo>
                  <a:lnTo>
                    <a:pt x="3699" y="3184"/>
                  </a:lnTo>
                  <a:lnTo>
                    <a:pt x="3674" y="3181"/>
                  </a:lnTo>
                  <a:lnTo>
                    <a:pt x="3648" y="3180"/>
                  </a:lnTo>
                  <a:lnTo>
                    <a:pt x="3604" y="3182"/>
                  </a:lnTo>
                  <a:lnTo>
                    <a:pt x="3562" y="3189"/>
                  </a:lnTo>
                  <a:lnTo>
                    <a:pt x="3521" y="3200"/>
                  </a:lnTo>
                  <a:lnTo>
                    <a:pt x="3481" y="3214"/>
                  </a:lnTo>
                  <a:lnTo>
                    <a:pt x="3443" y="3232"/>
                  </a:lnTo>
                  <a:lnTo>
                    <a:pt x="3408" y="3254"/>
                  </a:lnTo>
                  <a:lnTo>
                    <a:pt x="3375" y="3278"/>
                  </a:lnTo>
                  <a:lnTo>
                    <a:pt x="3344" y="3306"/>
                  </a:lnTo>
                  <a:lnTo>
                    <a:pt x="3316" y="3337"/>
                  </a:lnTo>
                  <a:lnTo>
                    <a:pt x="3292" y="3369"/>
                  </a:lnTo>
                  <a:lnTo>
                    <a:pt x="3270" y="3405"/>
                  </a:lnTo>
                  <a:lnTo>
                    <a:pt x="3252" y="3443"/>
                  </a:lnTo>
                  <a:lnTo>
                    <a:pt x="3238" y="3482"/>
                  </a:lnTo>
                  <a:lnTo>
                    <a:pt x="3226" y="3524"/>
                  </a:lnTo>
                  <a:lnTo>
                    <a:pt x="3220" y="3566"/>
                  </a:lnTo>
                  <a:lnTo>
                    <a:pt x="3219" y="3609"/>
                  </a:lnTo>
                  <a:lnTo>
                    <a:pt x="3220" y="3647"/>
                  </a:lnTo>
                  <a:lnTo>
                    <a:pt x="3224" y="3682"/>
                  </a:lnTo>
                  <a:lnTo>
                    <a:pt x="3231" y="3717"/>
                  </a:lnTo>
                  <a:lnTo>
                    <a:pt x="3242" y="3750"/>
                  </a:lnTo>
                  <a:lnTo>
                    <a:pt x="3254" y="3783"/>
                  </a:lnTo>
                  <a:lnTo>
                    <a:pt x="3270" y="3814"/>
                  </a:lnTo>
                  <a:lnTo>
                    <a:pt x="3288" y="3843"/>
                  </a:lnTo>
                  <a:lnTo>
                    <a:pt x="3307" y="3872"/>
                  </a:lnTo>
                  <a:lnTo>
                    <a:pt x="3336" y="3905"/>
                  </a:lnTo>
                  <a:lnTo>
                    <a:pt x="3370" y="3936"/>
                  </a:lnTo>
                  <a:lnTo>
                    <a:pt x="3388" y="3950"/>
                  </a:lnTo>
                  <a:lnTo>
                    <a:pt x="3407" y="3962"/>
                  </a:lnTo>
                  <a:lnTo>
                    <a:pt x="3445" y="3985"/>
                  </a:lnTo>
                  <a:lnTo>
                    <a:pt x="3487" y="4005"/>
                  </a:lnTo>
                  <a:lnTo>
                    <a:pt x="3531" y="4019"/>
                  </a:lnTo>
                  <a:lnTo>
                    <a:pt x="3576" y="4029"/>
                  </a:lnTo>
                  <a:lnTo>
                    <a:pt x="3624" y="4034"/>
                  </a:lnTo>
                  <a:close/>
                  <a:moveTo>
                    <a:pt x="3628" y="4333"/>
                  </a:moveTo>
                  <a:lnTo>
                    <a:pt x="3625" y="4328"/>
                  </a:lnTo>
                  <a:lnTo>
                    <a:pt x="3624" y="4320"/>
                  </a:lnTo>
                  <a:lnTo>
                    <a:pt x="3624" y="4079"/>
                  </a:lnTo>
                  <a:lnTo>
                    <a:pt x="3571" y="4072"/>
                  </a:lnTo>
                  <a:lnTo>
                    <a:pt x="3521" y="4062"/>
                  </a:lnTo>
                  <a:lnTo>
                    <a:pt x="3472" y="4045"/>
                  </a:lnTo>
                  <a:lnTo>
                    <a:pt x="3449" y="4035"/>
                  </a:lnTo>
                  <a:lnTo>
                    <a:pt x="3428" y="4024"/>
                  </a:lnTo>
                  <a:lnTo>
                    <a:pt x="3384" y="3998"/>
                  </a:lnTo>
                  <a:lnTo>
                    <a:pt x="3363" y="3984"/>
                  </a:lnTo>
                  <a:lnTo>
                    <a:pt x="3344" y="3967"/>
                  </a:lnTo>
                  <a:lnTo>
                    <a:pt x="3326" y="3951"/>
                  </a:lnTo>
                  <a:lnTo>
                    <a:pt x="3308" y="3934"/>
                  </a:lnTo>
                  <a:lnTo>
                    <a:pt x="3292" y="3915"/>
                  </a:lnTo>
                  <a:lnTo>
                    <a:pt x="3276" y="3896"/>
                  </a:lnTo>
                  <a:lnTo>
                    <a:pt x="3253" y="3865"/>
                  </a:lnTo>
                  <a:lnTo>
                    <a:pt x="3233" y="3832"/>
                  </a:lnTo>
                  <a:lnTo>
                    <a:pt x="3216" y="3797"/>
                  </a:lnTo>
                  <a:lnTo>
                    <a:pt x="3201" y="3762"/>
                  </a:lnTo>
                  <a:lnTo>
                    <a:pt x="3189" y="3725"/>
                  </a:lnTo>
                  <a:lnTo>
                    <a:pt x="3181" y="3686"/>
                  </a:lnTo>
                  <a:lnTo>
                    <a:pt x="3176" y="3645"/>
                  </a:lnTo>
                  <a:lnTo>
                    <a:pt x="3174" y="3604"/>
                  </a:lnTo>
                  <a:lnTo>
                    <a:pt x="3176" y="3557"/>
                  </a:lnTo>
                  <a:lnTo>
                    <a:pt x="3184" y="3510"/>
                  </a:lnTo>
                  <a:lnTo>
                    <a:pt x="3189" y="3488"/>
                  </a:lnTo>
                  <a:lnTo>
                    <a:pt x="3195" y="3465"/>
                  </a:lnTo>
                  <a:lnTo>
                    <a:pt x="3211" y="3423"/>
                  </a:lnTo>
                  <a:lnTo>
                    <a:pt x="3231" y="3382"/>
                  </a:lnTo>
                  <a:lnTo>
                    <a:pt x="3254" y="3342"/>
                  </a:lnTo>
                  <a:lnTo>
                    <a:pt x="3281" y="3306"/>
                  </a:lnTo>
                  <a:lnTo>
                    <a:pt x="3297" y="3290"/>
                  </a:lnTo>
                  <a:lnTo>
                    <a:pt x="3312" y="3273"/>
                  </a:lnTo>
                  <a:lnTo>
                    <a:pt x="3345" y="3242"/>
                  </a:lnTo>
                  <a:lnTo>
                    <a:pt x="3363" y="3228"/>
                  </a:lnTo>
                  <a:lnTo>
                    <a:pt x="3381" y="3216"/>
                  </a:lnTo>
                  <a:lnTo>
                    <a:pt x="3420" y="3193"/>
                  </a:lnTo>
                  <a:lnTo>
                    <a:pt x="3440" y="3182"/>
                  </a:lnTo>
                  <a:lnTo>
                    <a:pt x="3462" y="3172"/>
                  </a:lnTo>
                  <a:lnTo>
                    <a:pt x="3483" y="3164"/>
                  </a:lnTo>
                  <a:lnTo>
                    <a:pt x="3504" y="3157"/>
                  </a:lnTo>
                  <a:lnTo>
                    <a:pt x="3528" y="3150"/>
                  </a:lnTo>
                  <a:lnTo>
                    <a:pt x="3549" y="3145"/>
                  </a:lnTo>
                  <a:lnTo>
                    <a:pt x="3597" y="3138"/>
                  </a:lnTo>
                  <a:lnTo>
                    <a:pt x="3644" y="3135"/>
                  </a:lnTo>
                  <a:lnTo>
                    <a:pt x="3701" y="3139"/>
                  </a:lnTo>
                  <a:lnTo>
                    <a:pt x="3728" y="3143"/>
                  </a:lnTo>
                  <a:lnTo>
                    <a:pt x="3755" y="3149"/>
                  </a:lnTo>
                  <a:lnTo>
                    <a:pt x="3781" y="3156"/>
                  </a:lnTo>
                  <a:lnTo>
                    <a:pt x="3807" y="3164"/>
                  </a:lnTo>
                  <a:lnTo>
                    <a:pt x="3831" y="3175"/>
                  </a:lnTo>
                  <a:lnTo>
                    <a:pt x="3856" y="3185"/>
                  </a:lnTo>
                  <a:lnTo>
                    <a:pt x="3902" y="3212"/>
                  </a:lnTo>
                  <a:lnTo>
                    <a:pt x="3944" y="3242"/>
                  </a:lnTo>
                  <a:lnTo>
                    <a:pt x="3965" y="3260"/>
                  </a:lnTo>
                  <a:lnTo>
                    <a:pt x="3983" y="3278"/>
                  </a:lnTo>
                  <a:lnTo>
                    <a:pt x="4001" y="3299"/>
                  </a:lnTo>
                  <a:lnTo>
                    <a:pt x="4017" y="3318"/>
                  </a:lnTo>
                  <a:lnTo>
                    <a:pt x="4040" y="3350"/>
                  </a:lnTo>
                  <a:lnTo>
                    <a:pt x="4060" y="3382"/>
                  </a:lnTo>
                  <a:lnTo>
                    <a:pt x="4078" y="3416"/>
                  </a:lnTo>
                  <a:lnTo>
                    <a:pt x="4092" y="3453"/>
                  </a:lnTo>
                  <a:lnTo>
                    <a:pt x="4103" y="3491"/>
                  </a:lnTo>
                  <a:lnTo>
                    <a:pt x="4112" y="3529"/>
                  </a:lnTo>
                  <a:lnTo>
                    <a:pt x="4117" y="3569"/>
                  </a:lnTo>
                  <a:lnTo>
                    <a:pt x="4119" y="3609"/>
                  </a:lnTo>
                  <a:lnTo>
                    <a:pt x="4117" y="3657"/>
                  </a:lnTo>
                  <a:lnTo>
                    <a:pt x="4110" y="3702"/>
                  </a:lnTo>
                  <a:lnTo>
                    <a:pt x="4105" y="3725"/>
                  </a:lnTo>
                  <a:lnTo>
                    <a:pt x="4099" y="3746"/>
                  </a:lnTo>
                  <a:lnTo>
                    <a:pt x="4084" y="3788"/>
                  </a:lnTo>
                  <a:lnTo>
                    <a:pt x="4075" y="3809"/>
                  </a:lnTo>
                  <a:lnTo>
                    <a:pt x="4065" y="3828"/>
                  </a:lnTo>
                  <a:lnTo>
                    <a:pt x="4043" y="3866"/>
                  </a:lnTo>
                  <a:lnTo>
                    <a:pt x="4016" y="3902"/>
                  </a:lnTo>
                  <a:lnTo>
                    <a:pt x="3988" y="3936"/>
                  </a:lnTo>
                  <a:lnTo>
                    <a:pt x="3956" y="3965"/>
                  </a:lnTo>
                  <a:lnTo>
                    <a:pt x="3921" y="3993"/>
                  </a:lnTo>
                  <a:lnTo>
                    <a:pt x="3884" y="4016"/>
                  </a:lnTo>
                  <a:lnTo>
                    <a:pt x="3844" y="4037"/>
                  </a:lnTo>
                  <a:lnTo>
                    <a:pt x="3802" y="4053"/>
                  </a:lnTo>
                  <a:lnTo>
                    <a:pt x="3760" y="4066"/>
                  </a:lnTo>
                  <a:lnTo>
                    <a:pt x="3715" y="4075"/>
                  </a:lnTo>
                  <a:lnTo>
                    <a:pt x="3667" y="4079"/>
                  </a:lnTo>
                  <a:lnTo>
                    <a:pt x="3667" y="4336"/>
                  </a:lnTo>
                  <a:lnTo>
                    <a:pt x="3666" y="4345"/>
                  </a:lnTo>
                  <a:lnTo>
                    <a:pt x="3661" y="4351"/>
                  </a:lnTo>
                  <a:lnTo>
                    <a:pt x="3654" y="4355"/>
                  </a:lnTo>
                  <a:lnTo>
                    <a:pt x="3648" y="4356"/>
                  </a:lnTo>
                  <a:lnTo>
                    <a:pt x="3640" y="4355"/>
                  </a:lnTo>
                  <a:lnTo>
                    <a:pt x="3634" y="4351"/>
                  </a:lnTo>
                  <a:lnTo>
                    <a:pt x="3629" y="4345"/>
                  </a:lnTo>
                  <a:lnTo>
                    <a:pt x="3628" y="4336"/>
                  </a:lnTo>
                  <a:lnTo>
                    <a:pt x="3628" y="4333"/>
                  </a:lnTo>
                  <a:close/>
                </a:path>
              </a:pathLst>
            </a:custGeom>
            <a:solidFill>
              <a:srgbClr val="FF6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12">
              <a:extLst>
                <a:ext uri="{FF2B5EF4-FFF2-40B4-BE49-F238E27FC236}">
                  <a16:creationId xmlns:a16="http://schemas.microsoft.com/office/drawing/2014/main" id="{D1B949EF-E873-4EC8-9984-717CF3B6E746}"/>
                </a:ext>
              </a:extLst>
            </p:cNvPr>
            <p:cNvSpPr>
              <a:spLocks noChangeAspect="1" noEditPoints="1"/>
            </p:cNvSpPr>
            <p:nvPr userDrawn="1"/>
          </p:nvSpPr>
          <p:spPr bwMode="black">
            <a:xfrm>
              <a:off x="5610994" y="5177099"/>
              <a:ext cx="193514" cy="216000"/>
            </a:xfrm>
            <a:custGeom>
              <a:avLst/>
              <a:gdLst>
                <a:gd name="T0" fmla="*/ 2964 w 3578"/>
                <a:gd name="T1" fmla="*/ 3151 h 3996"/>
                <a:gd name="T2" fmla="*/ 2988 w 3578"/>
                <a:gd name="T3" fmla="*/ 3131 h 3996"/>
                <a:gd name="T4" fmla="*/ 3002 w 3578"/>
                <a:gd name="T5" fmla="*/ 3095 h 3996"/>
                <a:gd name="T6" fmla="*/ 2998 w 3578"/>
                <a:gd name="T7" fmla="*/ 3052 h 3996"/>
                <a:gd name="T8" fmla="*/ 2570 w 3578"/>
                <a:gd name="T9" fmla="*/ 2480 h 3996"/>
                <a:gd name="T10" fmla="*/ 2976 w 3578"/>
                <a:gd name="T11" fmla="*/ 956 h 3996"/>
                <a:gd name="T12" fmla="*/ 2988 w 3578"/>
                <a:gd name="T13" fmla="*/ 917 h 3996"/>
                <a:gd name="T14" fmla="*/ 2981 w 3578"/>
                <a:gd name="T15" fmla="*/ 878 h 3996"/>
                <a:gd name="T16" fmla="*/ 2961 w 3578"/>
                <a:gd name="T17" fmla="*/ 853 h 3996"/>
                <a:gd name="T18" fmla="*/ 2936 w 3578"/>
                <a:gd name="T19" fmla="*/ 840 h 3996"/>
                <a:gd name="T20" fmla="*/ 2275 w 3578"/>
                <a:gd name="T21" fmla="*/ 835 h 3996"/>
                <a:gd name="T22" fmla="*/ 2209 w 3578"/>
                <a:gd name="T23" fmla="*/ 845 h 3996"/>
                <a:gd name="T24" fmla="*/ 2160 w 3578"/>
                <a:gd name="T25" fmla="*/ 872 h 3996"/>
                <a:gd name="T26" fmla="*/ 2119 w 3578"/>
                <a:gd name="T27" fmla="*/ 915 h 3996"/>
                <a:gd name="T28" fmla="*/ 1365 w 3578"/>
                <a:gd name="T29" fmla="*/ 931 h 3996"/>
                <a:gd name="T30" fmla="*/ 1356 w 3578"/>
                <a:gd name="T31" fmla="*/ 884 h 3996"/>
                <a:gd name="T32" fmla="*/ 1325 w 3578"/>
                <a:gd name="T33" fmla="*/ 851 h 3996"/>
                <a:gd name="T34" fmla="*/ 1280 w 3578"/>
                <a:gd name="T35" fmla="*/ 835 h 3996"/>
                <a:gd name="T36" fmla="*/ 664 w 3578"/>
                <a:gd name="T37" fmla="*/ 840 h 3996"/>
                <a:gd name="T38" fmla="*/ 625 w 3578"/>
                <a:gd name="T39" fmla="*/ 862 h 3996"/>
                <a:gd name="T40" fmla="*/ 602 w 3578"/>
                <a:gd name="T41" fmla="*/ 902 h 3996"/>
                <a:gd name="T42" fmla="*/ 598 w 3578"/>
                <a:gd name="T43" fmla="*/ 1998 h 3996"/>
                <a:gd name="T44" fmla="*/ 602 w 3578"/>
                <a:gd name="T45" fmla="*/ 3094 h 3996"/>
                <a:gd name="T46" fmla="*/ 625 w 3578"/>
                <a:gd name="T47" fmla="*/ 3133 h 3996"/>
                <a:gd name="T48" fmla="*/ 664 w 3578"/>
                <a:gd name="T49" fmla="*/ 3156 h 3996"/>
                <a:gd name="T50" fmla="*/ 1280 w 3578"/>
                <a:gd name="T51" fmla="*/ 3160 h 3996"/>
                <a:gd name="T52" fmla="*/ 1325 w 3578"/>
                <a:gd name="T53" fmla="*/ 3144 h 3996"/>
                <a:gd name="T54" fmla="*/ 1356 w 3578"/>
                <a:gd name="T55" fmla="*/ 3111 h 3996"/>
                <a:gd name="T56" fmla="*/ 1365 w 3578"/>
                <a:gd name="T57" fmla="*/ 3064 h 3996"/>
                <a:gd name="T58" fmla="*/ 2119 w 3578"/>
                <a:gd name="T59" fmla="*/ 3080 h 3996"/>
                <a:gd name="T60" fmla="*/ 2160 w 3578"/>
                <a:gd name="T61" fmla="*/ 3123 h 3996"/>
                <a:gd name="T62" fmla="*/ 2209 w 3578"/>
                <a:gd name="T63" fmla="*/ 3151 h 3996"/>
                <a:gd name="T64" fmla="*/ 2275 w 3578"/>
                <a:gd name="T65" fmla="*/ 3160 h 3996"/>
                <a:gd name="T66" fmla="*/ 4 w 3578"/>
                <a:gd name="T67" fmla="*/ 3929 h 3996"/>
                <a:gd name="T68" fmla="*/ 27 w 3578"/>
                <a:gd name="T69" fmla="*/ 3968 h 3996"/>
                <a:gd name="T70" fmla="*/ 66 w 3578"/>
                <a:gd name="T71" fmla="*/ 3991 h 3996"/>
                <a:gd name="T72" fmla="*/ 1789 w 3578"/>
                <a:gd name="T73" fmla="*/ 3996 h 3996"/>
                <a:gd name="T74" fmla="*/ 3512 w 3578"/>
                <a:gd name="T75" fmla="*/ 3991 h 3996"/>
                <a:gd name="T76" fmla="*/ 3552 w 3578"/>
                <a:gd name="T77" fmla="*/ 3968 h 3996"/>
                <a:gd name="T78" fmla="*/ 3574 w 3578"/>
                <a:gd name="T79" fmla="*/ 3929 h 3996"/>
                <a:gd name="T80" fmla="*/ 3577 w 3578"/>
                <a:gd name="T81" fmla="*/ 3624 h 3996"/>
                <a:gd name="T82" fmla="*/ 3563 w 3578"/>
                <a:gd name="T83" fmla="*/ 3579 h 3996"/>
                <a:gd name="T84" fmla="*/ 3529 w 3578"/>
                <a:gd name="T85" fmla="*/ 3549 h 3996"/>
                <a:gd name="T86" fmla="*/ 3482 w 3578"/>
                <a:gd name="T87" fmla="*/ 3538 h 3996"/>
                <a:gd name="T88" fmla="*/ 85 w 3578"/>
                <a:gd name="T89" fmla="*/ 3538 h 3996"/>
                <a:gd name="T90" fmla="*/ 41 w 3578"/>
                <a:gd name="T91" fmla="*/ 3554 h 3996"/>
                <a:gd name="T92" fmla="*/ 11 w 3578"/>
                <a:gd name="T93" fmla="*/ 3587 h 3996"/>
                <a:gd name="T94" fmla="*/ 0 w 3578"/>
                <a:gd name="T95" fmla="*/ 3634 h 3996"/>
                <a:gd name="T96" fmla="*/ 4 w 3578"/>
                <a:gd name="T97" fmla="*/ 391 h 3996"/>
                <a:gd name="T98" fmla="*/ 27 w 3578"/>
                <a:gd name="T99" fmla="*/ 430 h 3996"/>
                <a:gd name="T100" fmla="*/ 66 w 3578"/>
                <a:gd name="T101" fmla="*/ 453 h 3996"/>
                <a:gd name="T102" fmla="*/ 1789 w 3578"/>
                <a:gd name="T103" fmla="*/ 456 h 3996"/>
                <a:gd name="T104" fmla="*/ 3512 w 3578"/>
                <a:gd name="T105" fmla="*/ 453 h 3996"/>
                <a:gd name="T106" fmla="*/ 3552 w 3578"/>
                <a:gd name="T107" fmla="*/ 430 h 3996"/>
                <a:gd name="T108" fmla="*/ 3574 w 3578"/>
                <a:gd name="T109" fmla="*/ 391 h 3996"/>
                <a:gd name="T110" fmla="*/ 3577 w 3578"/>
                <a:gd name="T111" fmla="*/ 85 h 3996"/>
                <a:gd name="T112" fmla="*/ 3563 w 3578"/>
                <a:gd name="T113" fmla="*/ 41 h 3996"/>
                <a:gd name="T114" fmla="*/ 3529 w 3578"/>
                <a:gd name="T115" fmla="*/ 11 h 3996"/>
                <a:gd name="T116" fmla="*/ 3482 w 3578"/>
                <a:gd name="T117" fmla="*/ 0 h 3996"/>
                <a:gd name="T118" fmla="*/ 85 w 3578"/>
                <a:gd name="T119" fmla="*/ 0 h 3996"/>
                <a:gd name="T120" fmla="*/ 41 w 3578"/>
                <a:gd name="T121" fmla="*/ 16 h 3996"/>
                <a:gd name="T122" fmla="*/ 11 w 3578"/>
                <a:gd name="T123" fmla="*/ 49 h 3996"/>
                <a:gd name="T124" fmla="*/ 0 w 3578"/>
                <a:gd name="T125" fmla="*/ 95 h 3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78" h="3996">
                  <a:moveTo>
                    <a:pt x="2924" y="3160"/>
                  </a:moveTo>
                  <a:lnTo>
                    <a:pt x="2936" y="3160"/>
                  </a:lnTo>
                  <a:lnTo>
                    <a:pt x="2947" y="3157"/>
                  </a:lnTo>
                  <a:lnTo>
                    <a:pt x="2958" y="3153"/>
                  </a:lnTo>
                  <a:lnTo>
                    <a:pt x="2964" y="3151"/>
                  </a:lnTo>
                  <a:lnTo>
                    <a:pt x="2968" y="3148"/>
                  </a:lnTo>
                  <a:lnTo>
                    <a:pt x="2977" y="3142"/>
                  </a:lnTo>
                  <a:lnTo>
                    <a:pt x="2981" y="3139"/>
                  </a:lnTo>
                  <a:lnTo>
                    <a:pt x="2985" y="3135"/>
                  </a:lnTo>
                  <a:lnTo>
                    <a:pt x="2988" y="3131"/>
                  </a:lnTo>
                  <a:lnTo>
                    <a:pt x="2991" y="3126"/>
                  </a:lnTo>
                  <a:lnTo>
                    <a:pt x="2996" y="3117"/>
                  </a:lnTo>
                  <a:lnTo>
                    <a:pt x="3000" y="3106"/>
                  </a:lnTo>
                  <a:lnTo>
                    <a:pt x="3001" y="3101"/>
                  </a:lnTo>
                  <a:lnTo>
                    <a:pt x="3002" y="3095"/>
                  </a:lnTo>
                  <a:lnTo>
                    <a:pt x="3003" y="3084"/>
                  </a:lnTo>
                  <a:lnTo>
                    <a:pt x="3002" y="3072"/>
                  </a:lnTo>
                  <a:lnTo>
                    <a:pt x="3001" y="3065"/>
                  </a:lnTo>
                  <a:lnTo>
                    <a:pt x="2999" y="3059"/>
                  </a:lnTo>
                  <a:lnTo>
                    <a:pt x="2998" y="3052"/>
                  </a:lnTo>
                  <a:lnTo>
                    <a:pt x="2995" y="3045"/>
                  </a:lnTo>
                  <a:lnTo>
                    <a:pt x="2988" y="3032"/>
                  </a:lnTo>
                  <a:lnTo>
                    <a:pt x="2985" y="3026"/>
                  </a:lnTo>
                  <a:lnTo>
                    <a:pt x="2980" y="3019"/>
                  </a:lnTo>
                  <a:lnTo>
                    <a:pt x="2570" y="2480"/>
                  </a:lnTo>
                  <a:lnTo>
                    <a:pt x="2162" y="1941"/>
                  </a:lnTo>
                  <a:lnTo>
                    <a:pt x="2562" y="1459"/>
                  </a:lnTo>
                  <a:lnTo>
                    <a:pt x="2962" y="976"/>
                  </a:lnTo>
                  <a:lnTo>
                    <a:pt x="2972" y="962"/>
                  </a:lnTo>
                  <a:lnTo>
                    <a:pt x="2976" y="956"/>
                  </a:lnTo>
                  <a:lnTo>
                    <a:pt x="2979" y="949"/>
                  </a:lnTo>
                  <a:lnTo>
                    <a:pt x="2985" y="936"/>
                  </a:lnTo>
                  <a:lnTo>
                    <a:pt x="2986" y="929"/>
                  </a:lnTo>
                  <a:lnTo>
                    <a:pt x="2988" y="923"/>
                  </a:lnTo>
                  <a:lnTo>
                    <a:pt x="2988" y="917"/>
                  </a:lnTo>
                  <a:lnTo>
                    <a:pt x="2989" y="910"/>
                  </a:lnTo>
                  <a:lnTo>
                    <a:pt x="2988" y="899"/>
                  </a:lnTo>
                  <a:lnTo>
                    <a:pt x="2987" y="894"/>
                  </a:lnTo>
                  <a:lnTo>
                    <a:pt x="2986" y="888"/>
                  </a:lnTo>
                  <a:lnTo>
                    <a:pt x="2981" y="878"/>
                  </a:lnTo>
                  <a:lnTo>
                    <a:pt x="2979" y="873"/>
                  </a:lnTo>
                  <a:lnTo>
                    <a:pt x="2976" y="868"/>
                  </a:lnTo>
                  <a:lnTo>
                    <a:pt x="2972" y="864"/>
                  </a:lnTo>
                  <a:lnTo>
                    <a:pt x="2969" y="861"/>
                  </a:lnTo>
                  <a:lnTo>
                    <a:pt x="2961" y="853"/>
                  </a:lnTo>
                  <a:lnTo>
                    <a:pt x="2957" y="849"/>
                  </a:lnTo>
                  <a:lnTo>
                    <a:pt x="2951" y="846"/>
                  </a:lnTo>
                  <a:lnTo>
                    <a:pt x="2947" y="844"/>
                  </a:lnTo>
                  <a:lnTo>
                    <a:pt x="2941" y="842"/>
                  </a:lnTo>
                  <a:lnTo>
                    <a:pt x="2936" y="840"/>
                  </a:lnTo>
                  <a:lnTo>
                    <a:pt x="2930" y="838"/>
                  </a:lnTo>
                  <a:lnTo>
                    <a:pt x="2925" y="836"/>
                  </a:lnTo>
                  <a:lnTo>
                    <a:pt x="2919" y="836"/>
                  </a:lnTo>
                  <a:lnTo>
                    <a:pt x="2907" y="835"/>
                  </a:lnTo>
                  <a:lnTo>
                    <a:pt x="2275" y="835"/>
                  </a:lnTo>
                  <a:lnTo>
                    <a:pt x="2260" y="835"/>
                  </a:lnTo>
                  <a:lnTo>
                    <a:pt x="2246" y="836"/>
                  </a:lnTo>
                  <a:lnTo>
                    <a:pt x="2234" y="838"/>
                  </a:lnTo>
                  <a:lnTo>
                    <a:pt x="2222" y="841"/>
                  </a:lnTo>
                  <a:lnTo>
                    <a:pt x="2209" y="845"/>
                  </a:lnTo>
                  <a:lnTo>
                    <a:pt x="2198" y="848"/>
                  </a:lnTo>
                  <a:lnTo>
                    <a:pt x="2188" y="854"/>
                  </a:lnTo>
                  <a:lnTo>
                    <a:pt x="2178" y="859"/>
                  </a:lnTo>
                  <a:lnTo>
                    <a:pt x="2168" y="865"/>
                  </a:lnTo>
                  <a:lnTo>
                    <a:pt x="2160" y="872"/>
                  </a:lnTo>
                  <a:lnTo>
                    <a:pt x="2151" y="879"/>
                  </a:lnTo>
                  <a:lnTo>
                    <a:pt x="2142" y="887"/>
                  </a:lnTo>
                  <a:lnTo>
                    <a:pt x="2134" y="896"/>
                  </a:lnTo>
                  <a:lnTo>
                    <a:pt x="2126" y="905"/>
                  </a:lnTo>
                  <a:lnTo>
                    <a:pt x="2119" y="915"/>
                  </a:lnTo>
                  <a:lnTo>
                    <a:pt x="2111" y="925"/>
                  </a:lnTo>
                  <a:lnTo>
                    <a:pt x="1738" y="1404"/>
                  </a:lnTo>
                  <a:lnTo>
                    <a:pt x="1365" y="1885"/>
                  </a:lnTo>
                  <a:lnTo>
                    <a:pt x="1365" y="1408"/>
                  </a:lnTo>
                  <a:lnTo>
                    <a:pt x="1365" y="931"/>
                  </a:lnTo>
                  <a:lnTo>
                    <a:pt x="1365" y="920"/>
                  </a:lnTo>
                  <a:lnTo>
                    <a:pt x="1364" y="910"/>
                  </a:lnTo>
                  <a:lnTo>
                    <a:pt x="1362" y="902"/>
                  </a:lnTo>
                  <a:lnTo>
                    <a:pt x="1359" y="892"/>
                  </a:lnTo>
                  <a:lnTo>
                    <a:pt x="1356" y="884"/>
                  </a:lnTo>
                  <a:lnTo>
                    <a:pt x="1350" y="876"/>
                  </a:lnTo>
                  <a:lnTo>
                    <a:pt x="1346" y="868"/>
                  </a:lnTo>
                  <a:lnTo>
                    <a:pt x="1339" y="862"/>
                  </a:lnTo>
                  <a:lnTo>
                    <a:pt x="1332" y="856"/>
                  </a:lnTo>
                  <a:lnTo>
                    <a:pt x="1325" y="851"/>
                  </a:lnTo>
                  <a:lnTo>
                    <a:pt x="1317" y="846"/>
                  </a:lnTo>
                  <a:lnTo>
                    <a:pt x="1309" y="842"/>
                  </a:lnTo>
                  <a:lnTo>
                    <a:pt x="1300" y="840"/>
                  </a:lnTo>
                  <a:lnTo>
                    <a:pt x="1290" y="837"/>
                  </a:lnTo>
                  <a:lnTo>
                    <a:pt x="1280" y="835"/>
                  </a:lnTo>
                  <a:lnTo>
                    <a:pt x="1270" y="835"/>
                  </a:lnTo>
                  <a:lnTo>
                    <a:pt x="694" y="835"/>
                  </a:lnTo>
                  <a:lnTo>
                    <a:pt x="684" y="835"/>
                  </a:lnTo>
                  <a:lnTo>
                    <a:pt x="674" y="837"/>
                  </a:lnTo>
                  <a:lnTo>
                    <a:pt x="664" y="840"/>
                  </a:lnTo>
                  <a:lnTo>
                    <a:pt x="656" y="842"/>
                  </a:lnTo>
                  <a:lnTo>
                    <a:pt x="647" y="846"/>
                  </a:lnTo>
                  <a:lnTo>
                    <a:pt x="639" y="851"/>
                  </a:lnTo>
                  <a:lnTo>
                    <a:pt x="632" y="856"/>
                  </a:lnTo>
                  <a:lnTo>
                    <a:pt x="625" y="862"/>
                  </a:lnTo>
                  <a:lnTo>
                    <a:pt x="619" y="868"/>
                  </a:lnTo>
                  <a:lnTo>
                    <a:pt x="614" y="876"/>
                  </a:lnTo>
                  <a:lnTo>
                    <a:pt x="609" y="884"/>
                  </a:lnTo>
                  <a:lnTo>
                    <a:pt x="606" y="892"/>
                  </a:lnTo>
                  <a:lnTo>
                    <a:pt x="602" y="902"/>
                  </a:lnTo>
                  <a:lnTo>
                    <a:pt x="600" y="910"/>
                  </a:lnTo>
                  <a:lnTo>
                    <a:pt x="599" y="920"/>
                  </a:lnTo>
                  <a:lnTo>
                    <a:pt x="598" y="931"/>
                  </a:lnTo>
                  <a:lnTo>
                    <a:pt x="598" y="1464"/>
                  </a:lnTo>
                  <a:lnTo>
                    <a:pt x="598" y="1998"/>
                  </a:lnTo>
                  <a:lnTo>
                    <a:pt x="598" y="2531"/>
                  </a:lnTo>
                  <a:lnTo>
                    <a:pt x="598" y="3064"/>
                  </a:lnTo>
                  <a:lnTo>
                    <a:pt x="599" y="3074"/>
                  </a:lnTo>
                  <a:lnTo>
                    <a:pt x="600" y="3084"/>
                  </a:lnTo>
                  <a:lnTo>
                    <a:pt x="602" y="3094"/>
                  </a:lnTo>
                  <a:lnTo>
                    <a:pt x="606" y="3103"/>
                  </a:lnTo>
                  <a:lnTo>
                    <a:pt x="609" y="3111"/>
                  </a:lnTo>
                  <a:lnTo>
                    <a:pt x="614" y="3120"/>
                  </a:lnTo>
                  <a:lnTo>
                    <a:pt x="619" y="3126"/>
                  </a:lnTo>
                  <a:lnTo>
                    <a:pt x="625" y="3133"/>
                  </a:lnTo>
                  <a:lnTo>
                    <a:pt x="632" y="3140"/>
                  </a:lnTo>
                  <a:lnTo>
                    <a:pt x="639" y="3144"/>
                  </a:lnTo>
                  <a:lnTo>
                    <a:pt x="647" y="3150"/>
                  </a:lnTo>
                  <a:lnTo>
                    <a:pt x="656" y="3153"/>
                  </a:lnTo>
                  <a:lnTo>
                    <a:pt x="664" y="3156"/>
                  </a:lnTo>
                  <a:lnTo>
                    <a:pt x="674" y="3158"/>
                  </a:lnTo>
                  <a:lnTo>
                    <a:pt x="684" y="3160"/>
                  </a:lnTo>
                  <a:lnTo>
                    <a:pt x="694" y="3160"/>
                  </a:lnTo>
                  <a:lnTo>
                    <a:pt x="1270" y="3160"/>
                  </a:lnTo>
                  <a:lnTo>
                    <a:pt x="1280" y="3160"/>
                  </a:lnTo>
                  <a:lnTo>
                    <a:pt x="1290" y="3158"/>
                  </a:lnTo>
                  <a:lnTo>
                    <a:pt x="1300" y="3156"/>
                  </a:lnTo>
                  <a:lnTo>
                    <a:pt x="1309" y="3153"/>
                  </a:lnTo>
                  <a:lnTo>
                    <a:pt x="1317" y="3150"/>
                  </a:lnTo>
                  <a:lnTo>
                    <a:pt x="1325" y="3144"/>
                  </a:lnTo>
                  <a:lnTo>
                    <a:pt x="1332" y="3140"/>
                  </a:lnTo>
                  <a:lnTo>
                    <a:pt x="1339" y="3133"/>
                  </a:lnTo>
                  <a:lnTo>
                    <a:pt x="1346" y="3126"/>
                  </a:lnTo>
                  <a:lnTo>
                    <a:pt x="1350" y="3120"/>
                  </a:lnTo>
                  <a:lnTo>
                    <a:pt x="1356" y="3111"/>
                  </a:lnTo>
                  <a:lnTo>
                    <a:pt x="1359" y="3103"/>
                  </a:lnTo>
                  <a:lnTo>
                    <a:pt x="1362" y="3094"/>
                  </a:lnTo>
                  <a:lnTo>
                    <a:pt x="1364" y="3084"/>
                  </a:lnTo>
                  <a:lnTo>
                    <a:pt x="1365" y="3074"/>
                  </a:lnTo>
                  <a:lnTo>
                    <a:pt x="1365" y="3064"/>
                  </a:lnTo>
                  <a:lnTo>
                    <a:pt x="1365" y="2539"/>
                  </a:lnTo>
                  <a:lnTo>
                    <a:pt x="1365" y="2014"/>
                  </a:lnTo>
                  <a:lnTo>
                    <a:pt x="1738" y="2542"/>
                  </a:lnTo>
                  <a:lnTo>
                    <a:pt x="2111" y="3070"/>
                  </a:lnTo>
                  <a:lnTo>
                    <a:pt x="2119" y="3080"/>
                  </a:lnTo>
                  <a:lnTo>
                    <a:pt x="2126" y="3090"/>
                  </a:lnTo>
                  <a:lnTo>
                    <a:pt x="2134" y="3099"/>
                  </a:lnTo>
                  <a:lnTo>
                    <a:pt x="2142" y="3108"/>
                  </a:lnTo>
                  <a:lnTo>
                    <a:pt x="2151" y="3115"/>
                  </a:lnTo>
                  <a:lnTo>
                    <a:pt x="2160" y="3123"/>
                  </a:lnTo>
                  <a:lnTo>
                    <a:pt x="2168" y="3130"/>
                  </a:lnTo>
                  <a:lnTo>
                    <a:pt x="2178" y="3136"/>
                  </a:lnTo>
                  <a:lnTo>
                    <a:pt x="2188" y="3142"/>
                  </a:lnTo>
                  <a:lnTo>
                    <a:pt x="2198" y="3146"/>
                  </a:lnTo>
                  <a:lnTo>
                    <a:pt x="2209" y="3151"/>
                  </a:lnTo>
                  <a:lnTo>
                    <a:pt x="2222" y="3154"/>
                  </a:lnTo>
                  <a:lnTo>
                    <a:pt x="2234" y="3156"/>
                  </a:lnTo>
                  <a:lnTo>
                    <a:pt x="2246" y="3158"/>
                  </a:lnTo>
                  <a:lnTo>
                    <a:pt x="2260" y="3160"/>
                  </a:lnTo>
                  <a:lnTo>
                    <a:pt x="2275" y="3160"/>
                  </a:lnTo>
                  <a:lnTo>
                    <a:pt x="2924" y="3160"/>
                  </a:lnTo>
                  <a:close/>
                  <a:moveTo>
                    <a:pt x="0" y="3899"/>
                  </a:moveTo>
                  <a:lnTo>
                    <a:pt x="1" y="3909"/>
                  </a:lnTo>
                  <a:lnTo>
                    <a:pt x="2" y="3919"/>
                  </a:lnTo>
                  <a:lnTo>
                    <a:pt x="4" y="3929"/>
                  </a:lnTo>
                  <a:lnTo>
                    <a:pt x="8" y="3938"/>
                  </a:lnTo>
                  <a:lnTo>
                    <a:pt x="11" y="3947"/>
                  </a:lnTo>
                  <a:lnTo>
                    <a:pt x="16" y="3955"/>
                  </a:lnTo>
                  <a:lnTo>
                    <a:pt x="21" y="3961"/>
                  </a:lnTo>
                  <a:lnTo>
                    <a:pt x="27" y="3968"/>
                  </a:lnTo>
                  <a:lnTo>
                    <a:pt x="33" y="3975"/>
                  </a:lnTo>
                  <a:lnTo>
                    <a:pt x="41" y="3980"/>
                  </a:lnTo>
                  <a:lnTo>
                    <a:pt x="49" y="3985"/>
                  </a:lnTo>
                  <a:lnTo>
                    <a:pt x="58" y="3988"/>
                  </a:lnTo>
                  <a:lnTo>
                    <a:pt x="66" y="3991"/>
                  </a:lnTo>
                  <a:lnTo>
                    <a:pt x="75" y="3993"/>
                  </a:lnTo>
                  <a:lnTo>
                    <a:pt x="85" y="3995"/>
                  </a:lnTo>
                  <a:lnTo>
                    <a:pt x="96" y="3996"/>
                  </a:lnTo>
                  <a:lnTo>
                    <a:pt x="942" y="3996"/>
                  </a:lnTo>
                  <a:lnTo>
                    <a:pt x="1789" y="3996"/>
                  </a:lnTo>
                  <a:lnTo>
                    <a:pt x="2635" y="3996"/>
                  </a:lnTo>
                  <a:lnTo>
                    <a:pt x="3482" y="3996"/>
                  </a:lnTo>
                  <a:lnTo>
                    <a:pt x="3493" y="3995"/>
                  </a:lnTo>
                  <a:lnTo>
                    <a:pt x="3503" y="3993"/>
                  </a:lnTo>
                  <a:lnTo>
                    <a:pt x="3512" y="3991"/>
                  </a:lnTo>
                  <a:lnTo>
                    <a:pt x="3521" y="3988"/>
                  </a:lnTo>
                  <a:lnTo>
                    <a:pt x="3529" y="3985"/>
                  </a:lnTo>
                  <a:lnTo>
                    <a:pt x="3537" y="3980"/>
                  </a:lnTo>
                  <a:lnTo>
                    <a:pt x="3545" y="3975"/>
                  </a:lnTo>
                  <a:lnTo>
                    <a:pt x="3552" y="3968"/>
                  </a:lnTo>
                  <a:lnTo>
                    <a:pt x="3557" y="3961"/>
                  </a:lnTo>
                  <a:lnTo>
                    <a:pt x="3563" y="3955"/>
                  </a:lnTo>
                  <a:lnTo>
                    <a:pt x="3567" y="3947"/>
                  </a:lnTo>
                  <a:lnTo>
                    <a:pt x="3572" y="3938"/>
                  </a:lnTo>
                  <a:lnTo>
                    <a:pt x="3574" y="3929"/>
                  </a:lnTo>
                  <a:lnTo>
                    <a:pt x="3576" y="3919"/>
                  </a:lnTo>
                  <a:lnTo>
                    <a:pt x="3577" y="3909"/>
                  </a:lnTo>
                  <a:lnTo>
                    <a:pt x="3578" y="3899"/>
                  </a:lnTo>
                  <a:lnTo>
                    <a:pt x="3578" y="3634"/>
                  </a:lnTo>
                  <a:lnTo>
                    <a:pt x="3577" y="3624"/>
                  </a:lnTo>
                  <a:lnTo>
                    <a:pt x="3576" y="3614"/>
                  </a:lnTo>
                  <a:lnTo>
                    <a:pt x="3574" y="3605"/>
                  </a:lnTo>
                  <a:lnTo>
                    <a:pt x="3572" y="3595"/>
                  </a:lnTo>
                  <a:lnTo>
                    <a:pt x="3567" y="3587"/>
                  </a:lnTo>
                  <a:lnTo>
                    <a:pt x="3563" y="3579"/>
                  </a:lnTo>
                  <a:lnTo>
                    <a:pt x="3557" y="3572"/>
                  </a:lnTo>
                  <a:lnTo>
                    <a:pt x="3552" y="3565"/>
                  </a:lnTo>
                  <a:lnTo>
                    <a:pt x="3545" y="3559"/>
                  </a:lnTo>
                  <a:lnTo>
                    <a:pt x="3537" y="3554"/>
                  </a:lnTo>
                  <a:lnTo>
                    <a:pt x="3529" y="3549"/>
                  </a:lnTo>
                  <a:lnTo>
                    <a:pt x="3521" y="3545"/>
                  </a:lnTo>
                  <a:lnTo>
                    <a:pt x="3512" y="3542"/>
                  </a:lnTo>
                  <a:lnTo>
                    <a:pt x="3503" y="3539"/>
                  </a:lnTo>
                  <a:lnTo>
                    <a:pt x="3493" y="3538"/>
                  </a:lnTo>
                  <a:lnTo>
                    <a:pt x="3482" y="3538"/>
                  </a:lnTo>
                  <a:lnTo>
                    <a:pt x="2635" y="3538"/>
                  </a:lnTo>
                  <a:lnTo>
                    <a:pt x="1789" y="3538"/>
                  </a:lnTo>
                  <a:lnTo>
                    <a:pt x="942" y="3538"/>
                  </a:lnTo>
                  <a:lnTo>
                    <a:pt x="96" y="3538"/>
                  </a:lnTo>
                  <a:lnTo>
                    <a:pt x="85" y="3538"/>
                  </a:lnTo>
                  <a:lnTo>
                    <a:pt x="75" y="3539"/>
                  </a:lnTo>
                  <a:lnTo>
                    <a:pt x="66" y="3542"/>
                  </a:lnTo>
                  <a:lnTo>
                    <a:pt x="58" y="3545"/>
                  </a:lnTo>
                  <a:lnTo>
                    <a:pt x="49" y="3549"/>
                  </a:lnTo>
                  <a:lnTo>
                    <a:pt x="41" y="3554"/>
                  </a:lnTo>
                  <a:lnTo>
                    <a:pt x="33" y="3559"/>
                  </a:lnTo>
                  <a:lnTo>
                    <a:pt x="27" y="3565"/>
                  </a:lnTo>
                  <a:lnTo>
                    <a:pt x="21" y="3572"/>
                  </a:lnTo>
                  <a:lnTo>
                    <a:pt x="16" y="3579"/>
                  </a:lnTo>
                  <a:lnTo>
                    <a:pt x="11" y="3587"/>
                  </a:lnTo>
                  <a:lnTo>
                    <a:pt x="8" y="3595"/>
                  </a:lnTo>
                  <a:lnTo>
                    <a:pt x="4" y="3605"/>
                  </a:lnTo>
                  <a:lnTo>
                    <a:pt x="2" y="3614"/>
                  </a:lnTo>
                  <a:lnTo>
                    <a:pt x="1" y="3624"/>
                  </a:lnTo>
                  <a:lnTo>
                    <a:pt x="0" y="3634"/>
                  </a:lnTo>
                  <a:lnTo>
                    <a:pt x="0" y="3899"/>
                  </a:lnTo>
                  <a:close/>
                  <a:moveTo>
                    <a:pt x="0" y="361"/>
                  </a:moveTo>
                  <a:lnTo>
                    <a:pt x="1" y="371"/>
                  </a:lnTo>
                  <a:lnTo>
                    <a:pt x="2" y="381"/>
                  </a:lnTo>
                  <a:lnTo>
                    <a:pt x="4" y="391"/>
                  </a:lnTo>
                  <a:lnTo>
                    <a:pt x="8" y="400"/>
                  </a:lnTo>
                  <a:lnTo>
                    <a:pt x="11" y="409"/>
                  </a:lnTo>
                  <a:lnTo>
                    <a:pt x="16" y="416"/>
                  </a:lnTo>
                  <a:lnTo>
                    <a:pt x="21" y="423"/>
                  </a:lnTo>
                  <a:lnTo>
                    <a:pt x="27" y="430"/>
                  </a:lnTo>
                  <a:lnTo>
                    <a:pt x="33" y="436"/>
                  </a:lnTo>
                  <a:lnTo>
                    <a:pt x="41" y="441"/>
                  </a:lnTo>
                  <a:lnTo>
                    <a:pt x="49" y="446"/>
                  </a:lnTo>
                  <a:lnTo>
                    <a:pt x="58" y="450"/>
                  </a:lnTo>
                  <a:lnTo>
                    <a:pt x="66" y="453"/>
                  </a:lnTo>
                  <a:lnTo>
                    <a:pt x="75" y="455"/>
                  </a:lnTo>
                  <a:lnTo>
                    <a:pt x="85" y="456"/>
                  </a:lnTo>
                  <a:lnTo>
                    <a:pt x="96" y="456"/>
                  </a:lnTo>
                  <a:lnTo>
                    <a:pt x="942" y="456"/>
                  </a:lnTo>
                  <a:lnTo>
                    <a:pt x="1789" y="456"/>
                  </a:lnTo>
                  <a:lnTo>
                    <a:pt x="2635" y="456"/>
                  </a:lnTo>
                  <a:lnTo>
                    <a:pt x="3482" y="456"/>
                  </a:lnTo>
                  <a:lnTo>
                    <a:pt x="3493" y="456"/>
                  </a:lnTo>
                  <a:lnTo>
                    <a:pt x="3503" y="455"/>
                  </a:lnTo>
                  <a:lnTo>
                    <a:pt x="3512" y="453"/>
                  </a:lnTo>
                  <a:lnTo>
                    <a:pt x="3521" y="450"/>
                  </a:lnTo>
                  <a:lnTo>
                    <a:pt x="3529" y="446"/>
                  </a:lnTo>
                  <a:lnTo>
                    <a:pt x="3537" y="441"/>
                  </a:lnTo>
                  <a:lnTo>
                    <a:pt x="3545" y="436"/>
                  </a:lnTo>
                  <a:lnTo>
                    <a:pt x="3552" y="430"/>
                  </a:lnTo>
                  <a:lnTo>
                    <a:pt x="3557" y="423"/>
                  </a:lnTo>
                  <a:lnTo>
                    <a:pt x="3563" y="416"/>
                  </a:lnTo>
                  <a:lnTo>
                    <a:pt x="3567" y="409"/>
                  </a:lnTo>
                  <a:lnTo>
                    <a:pt x="3572" y="400"/>
                  </a:lnTo>
                  <a:lnTo>
                    <a:pt x="3574" y="391"/>
                  </a:lnTo>
                  <a:lnTo>
                    <a:pt x="3576" y="381"/>
                  </a:lnTo>
                  <a:lnTo>
                    <a:pt x="3577" y="371"/>
                  </a:lnTo>
                  <a:lnTo>
                    <a:pt x="3578" y="361"/>
                  </a:lnTo>
                  <a:lnTo>
                    <a:pt x="3578" y="95"/>
                  </a:lnTo>
                  <a:lnTo>
                    <a:pt x="3577" y="85"/>
                  </a:lnTo>
                  <a:lnTo>
                    <a:pt x="3576" y="75"/>
                  </a:lnTo>
                  <a:lnTo>
                    <a:pt x="3574" y="65"/>
                  </a:lnTo>
                  <a:lnTo>
                    <a:pt x="3572" y="57"/>
                  </a:lnTo>
                  <a:lnTo>
                    <a:pt x="3567" y="49"/>
                  </a:lnTo>
                  <a:lnTo>
                    <a:pt x="3563" y="41"/>
                  </a:lnTo>
                  <a:lnTo>
                    <a:pt x="3557" y="33"/>
                  </a:lnTo>
                  <a:lnTo>
                    <a:pt x="3552" y="27"/>
                  </a:lnTo>
                  <a:lnTo>
                    <a:pt x="3545" y="20"/>
                  </a:lnTo>
                  <a:lnTo>
                    <a:pt x="3537" y="16"/>
                  </a:lnTo>
                  <a:lnTo>
                    <a:pt x="3529" y="11"/>
                  </a:lnTo>
                  <a:lnTo>
                    <a:pt x="3521" y="7"/>
                  </a:lnTo>
                  <a:lnTo>
                    <a:pt x="3512" y="3"/>
                  </a:lnTo>
                  <a:lnTo>
                    <a:pt x="3503" y="1"/>
                  </a:lnTo>
                  <a:lnTo>
                    <a:pt x="3493" y="0"/>
                  </a:lnTo>
                  <a:lnTo>
                    <a:pt x="3482" y="0"/>
                  </a:lnTo>
                  <a:lnTo>
                    <a:pt x="2635" y="0"/>
                  </a:lnTo>
                  <a:lnTo>
                    <a:pt x="1789" y="0"/>
                  </a:lnTo>
                  <a:lnTo>
                    <a:pt x="942" y="0"/>
                  </a:lnTo>
                  <a:lnTo>
                    <a:pt x="96" y="0"/>
                  </a:lnTo>
                  <a:lnTo>
                    <a:pt x="85" y="0"/>
                  </a:lnTo>
                  <a:lnTo>
                    <a:pt x="75" y="1"/>
                  </a:lnTo>
                  <a:lnTo>
                    <a:pt x="66" y="3"/>
                  </a:lnTo>
                  <a:lnTo>
                    <a:pt x="58" y="7"/>
                  </a:lnTo>
                  <a:lnTo>
                    <a:pt x="49" y="11"/>
                  </a:lnTo>
                  <a:lnTo>
                    <a:pt x="41" y="16"/>
                  </a:lnTo>
                  <a:lnTo>
                    <a:pt x="33" y="20"/>
                  </a:lnTo>
                  <a:lnTo>
                    <a:pt x="27" y="27"/>
                  </a:lnTo>
                  <a:lnTo>
                    <a:pt x="21" y="33"/>
                  </a:lnTo>
                  <a:lnTo>
                    <a:pt x="16" y="41"/>
                  </a:lnTo>
                  <a:lnTo>
                    <a:pt x="11" y="49"/>
                  </a:lnTo>
                  <a:lnTo>
                    <a:pt x="8" y="57"/>
                  </a:lnTo>
                  <a:lnTo>
                    <a:pt x="4" y="65"/>
                  </a:lnTo>
                  <a:lnTo>
                    <a:pt x="2" y="75"/>
                  </a:lnTo>
                  <a:lnTo>
                    <a:pt x="1" y="85"/>
                  </a:lnTo>
                  <a:lnTo>
                    <a:pt x="0" y="95"/>
                  </a:lnTo>
                  <a:lnTo>
                    <a:pt x="0" y="36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Skatta Sans Regular" pitchFamily="50" charset="0"/>
              </a:endParaRPr>
            </a:p>
          </p:txBody>
        </p:sp>
      </p:grpSp>
      <p:sp>
        <p:nvSpPr>
          <p:cNvPr id="9" name="Freeform 12">
            <a:extLst>
              <a:ext uri="{FF2B5EF4-FFF2-40B4-BE49-F238E27FC236}">
                <a16:creationId xmlns:a16="http://schemas.microsoft.com/office/drawing/2014/main" id="{29437909-B72F-487C-956B-48C1DF8FE0F9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10488488" y="692696"/>
            <a:ext cx="1007493" cy="1124563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9952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343026" y="2348879"/>
            <a:ext cx="9505949" cy="2232645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1343025" y="1844675"/>
            <a:ext cx="950595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742FBF1-A4BC-4EDB-8F6A-F8EC8634BA27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IA - RKL yrittäjäpäivä 1.11.202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EF00E20-C70C-36E1-9512-E9F4BB415A8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72464" y="6237312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3" name="Freeform 14">
              <a:extLst>
                <a:ext uri="{FF2B5EF4-FFF2-40B4-BE49-F238E27FC236}">
                  <a16:creationId xmlns:a16="http://schemas.microsoft.com/office/drawing/2014/main" id="{C21F1B9A-199D-AE57-800B-4D63EE686A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Freeform 15">
              <a:extLst>
                <a:ext uri="{FF2B5EF4-FFF2-40B4-BE49-F238E27FC236}">
                  <a16:creationId xmlns:a16="http://schemas.microsoft.com/office/drawing/2014/main" id="{6BDE5D6F-3F20-1566-C8D2-CF698BE3D20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830265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lhuet Orang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AB501DA3-E10E-4A88-B4C8-893DF6291548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RIA - RKL yrittäjäpäivä 1.11.202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ED41AD6-447A-4742-AE6E-D69C23E79F69}"/>
              </a:ext>
            </a:extLst>
          </p:cNvPr>
          <p:cNvGrpSpPr/>
          <p:nvPr userDrawn="1"/>
        </p:nvGrpSpPr>
        <p:grpSpPr>
          <a:xfrm>
            <a:off x="0" y="4077072"/>
            <a:ext cx="9874285" cy="1872000"/>
            <a:chOff x="0" y="4077072"/>
            <a:chExt cx="9874285" cy="1872000"/>
          </a:xfrm>
          <a:solidFill>
            <a:schemeClr val="bg1"/>
          </a:solidFill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65B0FBDF-B45A-4871-8CEF-853991A5CC20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0" y="4077072"/>
              <a:ext cx="9874285" cy="1872000"/>
            </a:xfrm>
            <a:custGeom>
              <a:avLst/>
              <a:gdLst>
                <a:gd name="T0" fmla="*/ 10894 w 23040"/>
                <a:gd name="T1" fmla="*/ 3037 h 4369"/>
                <a:gd name="T2" fmla="*/ 10931 w 23040"/>
                <a:gd name="T3" fmla="*/ 2661 h 4369"/>
                <a:gd name="T4" fmla="*/ 13479 w 23040"/>
                <a:gd name="T5" fmla="*/ 2241 h 4369"/>
                <a:gd name="T6" fmla="*/ 12981 w 23040"/>
                <a:gd name="T7" fmla="*/ 1865 h 4369"/>
                <a:gd name="T8" fmla="*/ 13222 w 23040"/>
                <a:gd name="T9" fmla="*/ 1543 h 4369"/>
                <a:gd name="T10" fmla="*/ 13525 w 23040"/>
                <a:gd name="T11" fmla="*/ 3907 h 4369"/>
                <a:gd name="T12" fmla="*/ 12729 w 23040"/>
                <a:gd name="T13" fmla="*/ 3813 h 4369"/>
                <a:gd name="T14" fmla="*/ 10912 w 23040"/>
                <a:gd name="T15" fmla="*/ 2402 h 4369"/>
                <a:gd name="T16" fmla="*/ 16652 w 23040"/>
                <a:gd name="T17" fmla="*/ 970 h 4369"/>
                <a:gd name="T18" fmla="*/ 16232 w 23040"/>
                <a:gd name="T19" fmla="*/ 332 h 4369"/>
                <a:gd name="T20" fmla="*/ 15103 w 23040"/>
                <a:gd name="T21" fmla="*/ 2262 h 4369"/>
                <a:gd name="T22" fmla="*/ 12814 w 23040"/>
                <a:gd name="T23" fmla="*/ 2991 h 4369"/>
                <a:gd name="T24" fmla="*/ 11678 w 23040"/>
                <a:gd name="T25" fmla="*/ 3172 h 4369"/>
                <a:gd name="T26" fmla="*/ 12355 w 23040"/>
                <a:gd name="T27" fmla="*/ 2838 h 4369"/>
                <a:gd name="T28" fmla="*/ 12184 w 23040"/>
                <a:gd name="T29" fmla="*/ 4304 h 4369"/>
                <a:gd name="T30" fmla="*/ 11739 w 23040"/>
                <a:gd name="T31" fmla="*/ 2627 h 4369"/>
                <a:gd name="T32" fmla="*/ 11666 w 23040"/>
                <a:gd name="T33" fmla="*/ 2291 h 4369"/>
                <a:gd name="T34" fmla="*/ 11184 w 23040"/>
                <a:gd name="T35" fmla="*/ 3107 h 4369"/>
                <a:gd name="T36" fmla="*/ 11469 w 23040"/>
                <a:gd name="T37" fmla="*/ 1044 h 4369"/>
                <a:gd name="T38" fmla="*/ 13150 w 23040"/>
                <a:gd name="T39" fmla="*/ 754 h 4369"/>
                <a:gd name="T40" fmla="*/ 16863 w 23040"/>
                <a:gd name="T41" fmla="*/ 4331 h 4369"/>
                <a:gd name="T42" fmla="*/ 14362 w 23040"/>
                <a:gd name="T43" fmla="*/ 3771 h 4369"/>
                <a:gd name="T44" fmla="*/ 14362 w 23040"/>
                <a:gd name="T45" fmla="*/ 3373 h 4369"/>
                <a:gd name="T46" fmla="*/ 14105 w 23040"/>
                <a:gd name="T47" fmla="*/ 3277 h 4369"/>
                <a:gd name="T48" fmla="*/ 14091 w 23040"/>
                <a:gd name="T49" fmla="*/ 2881 h 4369"/>
                <a:gd name="T50" fmla="*/ 20731 w 23040"/>
                <a:gd name="T51" fmla="*/ 4008 h 4369"/>
                <a:gd name="T52" fmla="*/ 19002 w 23040"/>
                <a:gd name="T53" fmla="*/ 3795 h 4369"/>
                <a:gd name="T54" fmla="*/ 19052 w 23040"/>
                <a:gd name="T55" fmla="*/ 3549 h 4369"/>
                <a:gd name="T56" fmla="*/ 19727 w 23040"/>
                <a:gd name="T57" fmla="*/ 3547 h 4369"/>
                <a:gd name="T58" fmla="*/ 21772 w 23040"/>
                <a:gd name="T59" fmla="*/ 1759 h 4369"/>
                <a:gd name="T60" fmla="*/ 20169 w 23040"/>
                <a:gd name="T61" fmla="*/ 1874 h 4369"/>
                <a:gd name="T62" fmla="*/ 18388 w 23040"/>
                <a:gd name="T63" fmla="*/ 2546 h 4369"/>
                <a:gd name="T64" fmla="*/ 19509 w 23040"/>
                <a:gd name="T65" fmla="*/ 3625 h 4369"/>
                <a:gd name="T66" fmla="*/ 18969 w 23040"/>
                <a:gd name="T67" fmla="*/ 3381 h 4369"/>
                <a:gd name="T68" fmla="*/ 2798 w 23040"/>
                <a:gd name="T69" fmla="*/ 3193 h 4369"/>
                <a:gd name="T70" fmla="*/ 440 w 23040"/>
                <a:gd name="T71" fmla="*/ 2751 h 4369"/>
                <a:gd name="T72" fmla="*/ 2868 w 23040"/>
                <a:gd name="T73" fmla="*/ 4141 h 4369"/>
                <a:gd name="T74" fmla="*/ 837 w 23040"/>
                <a:gd name="T75" fmla="*/ 3250 h 4369"/>
                <a:gd name="T76" fmla="*/ 823 w 23040"/>
                <a:gd name="T77" fmla="*/ 3336 h 4369"/>
                <a:gd name="T78" fmla="*/ 1107 w 23040"/>
                <a:gd name="T79" fmla="*/ 3717 h 4369"/>
                <a:gd name="T80" fmla="*/ 1080 w 23040"/>
                <a:gd name="T81" fmla="*/ 3810 h 4369"/>
                <a:gd name="T82" fmla="*/ 188 w 23040"/>
                <a:gd name="T83" fmla="*/ 1799 h 4369"/>
                <a:gd name="T84" fmla="*/ 2556 w 23040"/>
                <a:gd name="T85" fmla="*/ 2016 h 4369"/>
                <a:gd name="T86" fmla="*/ 2583 w 23040"/>
                <a:gd name="T87" fmla="*/ 2578 h 4369"/>
                <a:gd name="T88" fmla="*/ 8182 w 23040"/>
                <a:gd name="T89" fmla="*/ 2792 h 4369"/>
                <a:gd name="T90" fmla="*/ 9070 w 23040"/>
                <a:gd name="T91" fmla="*/ 2753 h 4369"/>
                <a:gd name="T92" fmla="*/ 6863 w 23040"/>
                <a:gd name="T93" fmla="*/ 2176 h 4369"/>
                <a:gd name="T94" fmla="*/ 6215 w 23040"/>
                <a:gd name="T95" fmla="*/ 2702 h 4369"/>
                <a:gd name="T96" fmla="*/ 7097 w 23040"/>
                <a:gd name="T97" fmla="*/ 2957 h 4369"/>
                <a:gd name="T98" fmla="*/ 6454 w 23040"/>
                <a:gd name="T99" fmla="*/ 3498 h 4369"/>
                <a:gd name="T100" fmla="*/ 6384 w 23040"/>
                <a:gd name="T101" fmla="*/ 4003 h 4369"/>
                <a:gd name="T102" fmla="*/ 8037 w 23040"/>
                <a:gd name="T103" fmla="*/ 2925 h 4369"/>
                <a:gd name="T104" fmla="*/ 8332 w 23040"/>
                <a:gd name="T105" fmla="*/ 3308 h 4369"/>
                <a:gd name="T106" fmla="*/ 8296 w 23040"/>
                <a:gd name="T107" fmla="*/ 3424 h 4369"/>
                <a:gd name="T108" fmla="*/ 8598 w 23040"/>
                <a:gd name="T109" fmla="*/ 3792 h 4369"/>
                <a:gd name="T110" fmla="*/ 5650 w 23040"/>
                <a:gd name="T111" fmla="*/ 1956 h 4369"/>
                <a:gd name="T112" fmla="*/ 8119 w 23040"/>
                <a:gd name="T113" fmla="*/ 245 h 4369"/>
                <a:gd name="T114" fmla="*/ 4680 w 23040"/>
                <a:gd name="T115" fmla="*/ 942 h 4369"/>
                <a:gd name="T116" fmla="*/ 5027 w 23040"/>
                <a:gd name="T117" fmla="*/ 2616 h 4369"/>
                <a:gd name="T118" fmla="*/ 4991 w 23040"/>
                <a:gd name="T119" fmla="*/ 2732 h 4369"/>
                <a:gd name="T120" fmla="*/ 5292 w 23040"/>
                <a:gd name="T121" fmla="*/ 3101 h 4369"/>
                <a:gd name="T122" fmla="*/ 5252 w 23040"/>
                <a:gd name="T123" fmla="*/ 3235 h 4369"/>
                <a:gd name="T124" fmla="*/ 3326 w 23040"/>
                <a:gd name="T125" fmla="*/ 3951 h 4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040" h="4369">
                  <a:moveTo>
                    <a:pt x="10933" y="3163"/>
                  </a:moveTo>
                  <a:lnTo>
                    <a:pt x="10933" y="3274"/>
                  </a:lnTo>
                  <a:lnTo>
                    <a:pt x="10931" y="3283"/>
                  </a:lnTo>
                  <a:lnTo>
                    <a:pt x="10926" y="3290"/>
                  </a:lnTo>
                  <a:lnTo>
                    <a:pt x="10920" y="3294"/>
                  </a:lnTo>
                  <a:lnTo>
                    <a:pt x="10912" y="3295"/>
                  </a:lnTo>
                  <a:lnTo>
                    <a:pt x="10906" y="3294"/>
                  </a:lnTo>
                  <a:lnTo>
                    <a:pt x="10899" y="3290"/>
                  </a:lnTo>
                  <a:lnTo>
                    <a:pt x="10894" y="3283"/>
                  </a:lnTo>
                  <a:lnTo>
                    <a:pt x="10893" y="3274"/>
                  </a:lnTo>
                  <a:lnTo>
                    <a:pt x="10893" y="3163"/>
                  </a:lnTo>
                  <a:lnTo>
                    <a:pt x="10894" y="3154"/>
                  </a:lnTo>
                  <a:lnTo>
                    <a:pt x="10899" y="3148"/>
                  </a:lnTo>
                  <a:lnTo>
                    <a:pt x="10906" y="3144"/>
                  </a:lnTo>
                  <a:lnTo>
                    <a:pt x="10912" y="3143"/>
                  </a:lnTo>
                  <a:lnTo>
                    <a:pt x="10920" y="3144"/>
                  </a:lnTo>
                  <a:lnTo>
                    <a:pt x="10926" y="3148"/>
                  </a:lnTo>
                  <a:lnTo>
                    <a:pt x="10931" y="3154"/>
                  </a:lnTo>
                  <a:lnTo>
                    <a:pt x="10933" y="3163"/>
                  </a:lnTo>
                  <a:close/>
                  <a:moveTo>
                    <a:pt x="10670" y="3163"/>
                  </a:moveTo>
                  <a:lnTo>
                    <a:pt x="10670" y="3274"/>
                  </a:lnTo>
                  <a:lnTo>
                    <a:pt x="10669" y="3283"/>
                  </a:lnTo>
                  <a:lnTo>
                    <a:pt x="10663" y="3290"/>
                  </a:lnTo>
                  <a:lnTo>
                    <a:pt x="10657" y="3294"/>
                  </a:lnTo>
                  <a:lnTo>
                    <a:pt x="10649" y="3295"/>
                  </a:lnTo>
                  <a:lnTo>
                    <a:pt x="10643" y="3294"/>
                  </a:lnTo>
                  <a:lnTo>
                    <a:pt x="10637" y="3290"/>
                  </a:lnTo>
                  <a:lnTo>
                    <a:pt x="10631" y="3283"/>
                  </a:lnTo>
                  <a:lnTo>
                    <a:pt x="10630" y="3274"/>
                  </a:lnTo>
                  <a:lnTo>
                    <a:pt x="10630" y="3163"/>
                  </a:lnTo>
                  <a:lnTo>
                    <a:pt x="10631" y="3154"/>
                  </a:lnTo>
                  <a:lnTo>
                    <a:pt x="10637" y="3148"/>
                  </a:lnTo>
                  <a:lnTo>
                    <a:pt x="10643" y="3144"/>
                  </a:lnTo>
                  <a:lnTo>
                    <a:pt x="10649" y="3143"/>
                  </a:lnTo>
                  <a:lnTo>
                    <a:pt x="10657" y="3144"/>
                  </a:lnTo>
                  <a:lnTo>
                    <a:pt x="10663" y="3148"/>
                  </a:lnTo>
                  <a:lnTo>
                    <a:pt x="10669" y="3154"/>
                  </a:lnTo>
                  <a:lnTo>
                    <a:pt x="10670" y="3163"/>
                  </a:lnTo>
                  <a:close/>
                  <a:moveTo>
                    <a:pt x="10407" y="3163"/>
                  </a:moveTo>
                  <a:lnTo>
                    <a:pt x="10407" y="3274"/>
                  </a:lnTo>
                  <a:lnTo>
                    <a:pt x="10404" y="3283"/>
                  </a:lnTo>
                  <a:lnTo>
                    <a:pt x="10401" y="3290"/>
                  </a:lnTo>
                  <a:lnTo>
                    <a:pt x="10394" y="3294"/>
                  </a:lnTo>
                  <a:lnTo>
                    <a:pt x="10386" y="3295"/>
                  </a:lnTo>
                  <a:lnTo>
                    <a:pt x="10379" y="3294"/>
                  </a:lnTo>
                  <a:lnTo>
                    <a:pt x="10372" y="3290"/>
                  </a:lnTo>
                  <a:lnTo>
                    <a:pt x="10369" y="3283"/>
                  </a:lnTo>
                  <a:lnTo>
                    <a:pt x="10366" y="3274"/>
                  </a:lnTo>
                  <a:lnTo>
                    <a:pt x="10366" y="3163"/>
                  </a:lnTo>
                  <a:lnTo>
                    <a:pt x="10369" y="3154"/>
                  </a:lnTo>
                  <a:lnTo>
                    <a:pt x="10372" y="3148"/>
                  </a:lnTo>
                  <a:lnTo>
                    <a:pt x="10379" y="3144"/>
                  </a:lnTo>
                  <a:lnTo>
                    <a:pt x="10386" y="3143"/>
                  </a:lnTo>
                  <a:lnTo>
                    <a:pt x="10394" y="3144"/>
                  </a:lnTo>
                  <a:lnTo>
                    <a:pt x="10401" y="3148"/>
                  </a:lnTo>
                  <a:lnTo>
                    <a:pt x="10404" y="3154"/>
                  </a:lnTo>
                  <a:lnTo>
                    <a:pt x="10407" y="3163"/>
                  </a:lnTo>
                  <a:close/>
                  <a:moveTo>
                    <a:pt x="10143" y="3163"/>
                  </a:moveTo>
                  <a:lnTo>
                    <a:pt x="10143" y="3274"/>
                  </a:lnTo>
                  <a:lnTo>
                    <a:pt x="10142" y="3283"/>
                  </a:lnTo>
                  <a:lnTo>
                    <a:pt x="10138" y="3290"/>
                  </a:lnTo>
                  <a:lnTo>
                    <a:pt x="10131" y="3294"/>
                  </a:lnTo>
                  <a:lnTo>
                    <a:pt x="10124" y="3295"/>
                  </a:lnTo>
                  <a:lnTo>
                    <a:pt x="10116" y="3294"/>
                  </a:lnTo>
                  <a:lnTo>
                    <a:pt x="10109" y="3290"/>
                  </a:lnTo>
                  <a:lnTo>
                    <a:pt x="10106" y="3283"/>
                  </a:lnTo>
                  <a:lnTo>
                    <a:pt x="10103" y="3274"/>
                  </a:lnTo>
                  <a:lnTo>
                    <a:pt x="10103" y="3163"/>
                  </a:lnTo>
                  <a:lnTo>
                    <a:pt x="10106" y="3154"/>
                  </a:lnTo>
                  <a:lnTo>
                    <a:pt x="10109" y="3148"/>
                  </a:lnTo>
                  <a:lnTo>
                    <a:pt x="10116" y="3144"/>
                  </a:lnTo>
                  <a:lnTo>
                    <a:pt x="10124" y="3143"/>
                  </a:lnTo>
                  <a:lnTo>
                    <a:pt x="10131" y="3144"/>
                  </a:lnTo>
                  <a:lnTo>
                    <a:pt x="10138" y="3148"/>
                  </a:lnTo>
                  <a:lnTo>
                    <a:pt x="10142" y="3154"/>
                  </a:lnTo>
                  <a:lnTo>
                    <a:pt x="10143" y="3163"/>
                  </a:lnTo>
                  <a:close/>
                  <a:moveTo>
                    <a:pt x="9880" y="3163"/>
                  </a:moveTo>
                  <a:lnTo>
                    <a:pt x="9880" y="3274"/>
                  </a:lnTo>
                  <a:lnTo>
                    <a:pt x="9879" y="3283"/>
                  </a:lnTo>
                  <a:lnTo>
                    <a:pt x="9874" y="3290"/>
                  </a:lnTo>
                  <a:lnTo>
                    <a:pt x="9867" y="3294"/>
                  </a:lnTo>
                  <a:lnTo>
                    <a:pt x="9861" y="3295"/>
                  </a:lnTo>
                  <a:lnTo>
                    <a:pt x="9853" y="3294"/>
                  </a:lnTo>
                  <a:lnTo>
                    <a:pt x="9847" y="3290"/>
                  </a:lnTo>
                  <a:lnTo>
                    <a:pt x="9841" y="3283"/>
                  </a:lnTo>
                  <a:lnTo>
                    <a:pt x="9840" y="3274"/>
                  </a:lnTo>
                  <a:lnTo>
                    <a:pt x="9840" y="3163"/>
                  </a:lnTo>
                  <a:lnTo>
                    <a:pt x="9841" y="3154"/>
                  </a:lnTo>
                  <a:lnTo>
                    <a:pt x="9847" y="3148"/>
                  </a:lnTo>
                  <a:lnTo>
                    <a:pt x="9853" y="3144"/>
                  </a:lnTo>
                  <a:lnTo>
                    <a:pt x="9861" y="3143"/>
                  </a:lnTo>
                  <a:lnTo>
                    <a:pt x="9867" y="3144"/>
                  </a:lnTo>
                  <a:lnTo>
                    <a:pt x="9874" y="3148"/>
                  </a:lnTo>
                  <a:lnTo>
                    <a:pt x="9879" y="3154"/>
                  </a:lnTo>
                  <a:lnTo>
                    <a:pt x="9880" y="3163"/>
                  </a:lnTo>
                  <a:close/>
                  <a:moveTo>
                    <a:pt x="9617" y="3163"/>
                  </a:moveTo>
                  <a:lnTo>
                    <a:pt x="9617" y="3274"/>
                  </a:lnTo>
                  <a:lnTo>
                    <a:pt x="9616" y="3283"/>
                  </a:lnTo>
                  <a:lnTo>
                    <a:pt x="9611" y="3290"/>
                  </a:lnTo>
                  <a:lnTo>
                    <a:pt x="9604" y="3294"/>
                  </a:lnTo>
                  <a:lnTo>
                    <a:pt x="9598" y="3295"/>
                  </a:lnTo>
                  <a:lnTo>
                    <a:pt x="9590" y="3294"/>
                  </a:lnTo>
                  <a:lnTo>
                    <a:pt x="9584" y="3290"/>
                  </a:lnTo>
                  <a:lnTo>
                    <a:pt x="9579" y="3283"/>
                  </a:lnTo>
                  <a:lnTo>
                    <a:pt x="9577" y="3274"/>
                  </a:lnTo>
                  <a:lnTo>
                    <a:pt x="9577" y="3163"/>
                  </a:lnTo>
                  <a:lnTo>
                    <a:pt x="9579" y="3154"/>
                  </a:lnTo>
                  <a:lnTo>
                    <a:pt x="9584" y="3148"/>
                  </a:lnTo>
                  <a:lnTo>
                    <a:pt x="9590" y="3144"/>
                  </a:lnTo>
                  <a:lnTo>
                    <a:pt x="9598" y="3143"/>
                  </a:lnTo>
                  <a:lnTo>
                    <a:pt x="9604" y="3144"/>
                  </a:lnTo>
                  <a:lnTo>
                    <a:pt x="9611" y="3148"/>
                  </a:lnTo>
                  <a:lnTo>
                    <a:pt x="9616" y="3154"/>
                  </a:lnTo>
                  <a:lnTo>
                    <a:pt x="9617" y="3163"/>
                  </a:lnTo>
                  <a:close/>
                  <a:moveTo>
                    <a:pt x="10933" y="2916"/>
                  </a:moveTo>
                  <a:lnTo>
                    <a:pt x="10933" y="3028"/>
                  </a:lnTo>
                  <a:lnTo>
                    <a:pt x="10931" y="3037"/>
                  </a:lnTo>
                  <a:lnTo>
                    <a:pt x="10926" y="3043"/>
                  </a:lnTo>
                  <a:lnTo>
                    <a:pt x="10920" y="3047"/>
                  </a:lnTo>
                  <a:lnTo>
                    <a:pt x="10912" y="3048"/>
                  </a:lnTo>
                  <a:lnTo>
                    <a:pt x="10906" y="3047"/>
                  </a:lnTo>
                  <a:lnTo>
                    <a:pt x="10899" y="3043"/>
                  </a:lnTo>
                  <a:lnTo>
                    <a:pt x="10894" y="3037"/>
                  </a:lnTo>
                  <a:lnTo>
                    <a:pt x="10893" y="3028"/>
                  </a:lnTo>
                  <a:lnTo>
                    <a:pt x="10893" y="2916"/>
                  </a:lnTo>
                  <a:lnTo>
                    <a:pt x="10894" y="2907"/>
                  </a:lnTo>
                  <a:lnTo>
                    <a:pt x="10899" y="2901"/>
                  </a:lnTo>
                  <a:lnTo>
                    <a:pt x="10906" y="2897"/>
                  </a:lnTo>
                  <a:lnTo>
                    <a:pt x="10912" y="2896"/>
                  </a:lnTo>
                  <a:lnTo>
                    <a:pt x="10920" y="2897"/>
                  </a:lnTo>
                  <a:lnTo>
                    <a:pt x="10926" y="2901"/>
                  </a:lnTo>
                  <a:lnTo>
                    <a:pt x="10931" y="2907"/>
                  </a:lnTo>
                  <a:lnTo>
                    <a:pt x="10933" y="2916"/>
                  </a:lnTo>
                  <a:close/>
                  <a:moveTo>
                    <a:pt x="10670" y="2916"/>
                  </a:moveTo>
                  <a:lnTo>
                    <a:pt x="10670" y="3028"/>
                  </a:lnTo>
                  <a:lnTo>
                    <a:pt x="10669" y="3037"/>
                  </a:lnTo>
                  <a:lnTo>
                    <a:pt x="10663" y="3043"/>
                  </a:lnTo>
                  <a:lnTo>
                    <a:pt x="10657" y="3047"/>
                  </a:lnTo>
                  <a:lnTo>
                    <a:pt x="10649" y="3048"/>
                  </a:lnTo>
                  <a:lnTo>
                    <a:pt x="10643" y="3047"/>
                  </a:lnTo>
                  <a:lnTo>
                    <a:pt x="10637" y="3043"/>
                  </a:lnTo>
                  <a:lnTo>
                    <a:pt x="10631" y="3037"/>
                  </a:lnTo>
                  <a:lnTo>
                    <a:pt x="10630" y="3028"/>
                  </a:lnTo>
                  <a:lnTo>
                    <a:pt x="10630" y="2916"/>
                  </a:lnTo>
                  <a:lnTo>
                    <a:pt x="10631" y="2907"/>
                  </a:lnTo>
                  <a:lnTo>
                    <a:pt x="10637" y="2901"/>
                  </a:lnTo>
                  <a:lnTo>
                    <a:pt x="10643" y="2897"/>
                  </a:lnTo>
                  <a:lnTo>
                    <a:pt x="10649" y="2896"/>
                  </a:lnTo>
                  <a:lnTo>
                    <a:pt x="10657" y="2897"/>
                  </a:lnTo>
                  <a:lnTo>
                    <a:pt x="10663" y="2901"/>
                  </a:lnTo>
                  <a:lnTo>
                    <a:pt x="10669" y="2907"/>
                  </a:lnTo>
                  <a:lnTo>
                    <a:pt x="10670" y="2916"/>
                  </a:lnTo>
                  <a:close/>
                  <a:moveTo>
                    <a:pt x="10407" y="2916"/>
                  </a:moveTo>
                  <a:lnTo>
                    <a:pt x="10407" y="3028"/>
                  </a:lnTo>
                  <a:lnTo>
                    <a:pt x="10404" y="3037"/>
                  </a:lnTo>
                  <a:lnTo>
                    <a:pt x="10401" y="3043"/>
                  </a:lnTo>
                  <a:lnTo>
                    <a:pt x="10394" y="3047"/>
                  </a:lnTo>
                  <a:lnTo>
                    <a:pt x="10386" y="3048"/>
                  </a:lnTo>
                  <a:lnTo>
                    <a:pt x="10379" y="3047"/>
                  </a:lnTo>
                  <a:lnTo>
                    <a:pt x="10372" y="3043"/>
                  </a:lnTo>
                  <a:lnTo>
                    <a:pt x="10369" y="3037"/>
                  </a:lnTo>
                  <a:lnTo>
                    <a:pt x="10366" y="3028"/>
                  </a:lnTo>
                  <a:lnTo>
                    <a:pt x="10366" y="2916"/>
                  </a:lnTo>
                  <a:lnTo>
                    <a:pt x="10369" y="2907"/>
                  </a:lnTo>
                  <a:lnTo>
                    <a:pt x="10372" y="2901"/>
                  </a:lnTo>
                  <a:lnTo>
                    <a:pt x="10379" y="2897"/>
                  </a:lnTo>
                  <a:lnTo>
                    <a:pt x="10386" y="2896"/>
                  </a:lnTo>
                  <a:lnTo>
                    <a:pt x="10394" y="2897"/>
                  </a:lnTo>
                  <a:lnTo>
                    <a:pt x="10401" y="2901"/>
                  </a:lnTo>
                  <a:lnTo>
                    <a:pt x="10404" y="2907"/>
                  </a:lnTo>
                  <a:lnTo>
                    <a:pt x="10407" y="2916"/>
                  </a:lnTo>
                  <a:close/>
                  <a:moveTo>
                    <a:pt x="10143" y="2916"/>
                  </a:moveTo>
                  <a:lnTo>
                    <a:pt x="10143" y="3028"/>
                  </a:lnTo>
                  <a:lnTo>
                    <a:pt x="10142" y="3037"/>
                  </a:lnTo>
                  <a:lnTo>
                    <a:pt x="10138" y="3043"/>
                  </a:lnTo>
                  <a:lnTo>
                    <a:pt x="10131" y="3047"/>
                  </a:lnTo>
                  <a:lnTo>
                    <a:pt x="10124" y="3048"/>
                  </a:lnTo>
                  <a:lnTo>
                    <a:pt x="10116" y="3047"/>
                  </a:lnTo>
                  <a:lnTo>
                    <a:pt x="10109" y="3043"/>
                  </a:lnTo>
                  <a:lnTo>
                    <a:pt x="10106" y="3037"/>
                  </a:lnTo>
                  <a:lnTo>
                    <a:pt x="10103" y="3028"/>
                  </a:lnTo>
                  <a:lnTo>
                    <a:pt x="10103" y="2916"/>
                  </a:lnTo>
                  <a:lnTo>
                    <a:pt x="10106" y="2907"/>
                  </a:lnTo>
                  <a:lnTo>
                    <a:pt x="10109" y="2901"/>
                  </a:lnTo>
                  <a:lnTo>
                    <a:pt x="10116" y="2897"/>
                  </a:lnTo>
                  <a:lnTo>
                    <a:pt x="10124" y="2896"/>
                  </a:lnTo>
                  <a:lnTo>
                    <a:pt x="10131" y="2897"/>
                  </a:lnTo>
                  <a:lnTo>
                    <a:pt x="10138" y="2901"/>
                  </a:lnTo>
                  <a:lnTo>
                    <a:pt x="10142" y="2907"/>
                  </a:lnTo>
                  <a:lnTo>
                    <a:pt x="10143" y="2916"/>
                  </a:lnTo>
                  <a:close/>
                  <a:moveTo>
                    <a:pt x="9880" y="2916"/>
                  </a:moveTo>
                  <a:lnTo>
                    <a:pt x="9880" y="3028"/>
                  </a:lnTo>
                  <a:lnTo>
                    <a:pt x="9879" y="3037"/>
                  </a:lnTo>
                  <a:lnTo>
                    <a:pt x="9874" y="3043"/>
                  </a:lnTo>
                  <a:lnTo>
                    <a:pt x="9867" y="3047"/>
                  </a:lnTo>
                  <a:lnTo>
                    <a:pt x="9861" y="3048"/>
                  </a:lnTo>
                  <a:lnTo>
                    <a:pt x="9853" y="3047"/>
                  </a:lnTo>
                  <a:lnTo>
                    <a:pt x="9847" y="3043"/>
                  </a:lnTo>
                  <a:lnTo>
                    <a:pt x="9841" y="3037"/>
                  </a:lnTo>
                  <a:lnTo>
                    <a:pt x="9840" y="3028"/>
                  </a:lnTo>
                  <a:lnTo>
                    <a:pt x="9840" y="2916"/>
                  </a:lnTo>
                  <a:lnTo>
                    <a:pt x="9841" y="2907"/>
                  </a:lnTo>
                  <a:lnTo>
                    <a:pt x="9847" y="2901"/>
                  </a:lnTo>
                  <a:lnTo>
                    <a:pt x="9853" y="2897"/>
                  </a:lnTo>
                  <a:lnTo>
                    <a:pt x="9861" y="2896"/>
                  </a:lnTo>
                  <a:lnTo>
                    <a:pt x="9867" y="2897"/>
                  </a:lnTo>
                  <a:lnTo>
                    <a:pt x="9874" y="2901"/>
                  </a:lnTo>
                  <a:lnTo>
                    <a:pt x="9879" y="2907"/>
                  </a:lnTo>
                  <a:lnTo>
                    <a:pt x="9880" y="2916"/>
                  </a:lnTo>
                  <a:close/>
                  <a:moveTo>
                    <a:pt x="9617" y="2916"/>
                  </a:moveTo>
                  <a:lnTo>
                    <a:pt x="9617" y="3028"/>
                  </a:lnTo>
                  <a:lnTo>
                    <a:pt x="9616" y="3037"/>
                  </a:lnTo>
                  <a:lnTo>
                    <a:pt x="9611" y="3043"/>
                  </a:lnTo>
                  <a:lnTo>
                    <a:pt x="9604" y="3047"/>
                  </a:lnTo>
                  <a:lnTo>
                    <a:pt x="9598" y="3048"/>
                  </a:lnTo>
                  <a:lnTo>
                    <a:pt x="9590" y="3047"/>
                  </a:lnTo>
                  <a:lnTo>
                    <a:pt x="9584" y="3043"/>
                  </a:lnTo>
                  <a:lnTo>
                    <a:pt x="9579" y="3037"/>
                  </a:lnTo>
                  <a:lnTo>
                    <a:pt x="9577" y="3028"/>
                  </a:lnTo>
                  <a:lnTo>
                    <a:pt x="9577" y="2916"/>
                  </a:lnTo>
                  <a:lnTo>
                    <a:pt x="9579" y="2907"/>
                  </a:lnTo>
                  <a:lnTo>
                    <a:pt x="9584" y="2901"/>
                  </a:lnTo>
                  <a:lnTo>
                    <a:pt x="9590" y="2897"/>
                  </a:lnTo>
                  <a:lnTo>
                    <a:pt x="9598" y="2896"/>
                  </a:lnTo>
                  <a:lnTo>
                    <a:pt x="9604" y="2897"/>
                  </a:lnTo>
                  <a:lnTo>
                    <a:pt x="9611" y="2901"/>
                  </a:lnTo>
                  <a:lnTo>
                    <a:pt x="9616" y="2907"/>
                  </a:lnTo>
                  <a:lnTo>
                    <a:pt x="9617" y="2916"/>
                  </a:lnTo>
                  <a:close/>
                  <a:moveTo>
                    <a:pt x="10933" y="2670"/>
                  </a:moveTo>
                  <a:lnTo>
                    <a:pt x="10933" y="2782"/>
                  </a:lnTo>
                  <a:lnTo>
                    <a:pt x="10931" y="2790"/>
                  </a:lnTo>
                  <a:lnTo>
                    <a:pt x="10926" y="2796"/>
                  </a:lnTo>
                  <a:lnTo>
                    <a:pt x="10920" y="2800"/>
                  </a:lnTo>
                  <a:lnTo>
                    <a:pt x="10912" y="2801"/>
                  </a:lnTo>
                  <a:lnTo>
                    <a:pt x="10906" y="2800"/>
                  </a:lnTo>
                  <a:lnTo>
                    <a:pt x="10899" y="2796"/>
                  </a:lnTo>
                  <a:lnTo>
                    <a:pt x="10894" y="2790"/>
                  </a:lnTo>
                  <a:lnTo>
                    <a:pt x="10893" y="2782"/>
                  </a:lnTo>
                  <a:lnTo>
                    <a:pt x="10893" y="2670"/>
                  </a:lnTo>
                  <a:lnTo>
                    <a:pt x="10894" y="2661"/>
                  </a:lnTo>
                  <a:lnTo>
                    <a:pt x="10899" y="2654"/>
                  </a:lnTo>
                  <a:lnTo>
                    <a:pt x="10906" y="2650"/>
                  </a:lnTo>
                  <a:lnTo>
                    <a:pt x="10912" y="2649"/>
                  </a:lnTo>
                  <a:lnTo>
                    <a:pt x="10920" y="2650"/>
                  </a:lnTo>
                  <a:lnTo>
                    <a:pt x="10926" y="2654"/>
                  </a:lnTo>
                  <a:lnTo>
                    <a:pt x="10931" y="2661"/>
                  </a:lnTo>
                  <a:lnTo>
                    <a:pt x="10933" y="2670"/>
                  </a:lnTo>
                  <a:close/>
                  <a:moveTo>
                    <a:pt x="10670" y="2670"/>
                  </a:moveTo>
                  <a:lnTo>
                    <a:pt x="10670" y="2782"/>
                  </a:lnTo>
                  <a:lnTo>
                    <a:pt x="10669" y="2790"/>
                  </a:lnTo>
                  <a:lnTo>
                    <a:pt x="10663" y="2796"/>
                  </a:lnTo>
                  <a:lnTo>
                    <a:pt x="10657" y="2800"/>
                  </a:lnTo>
                  <a:lnTo>
                    <a:pt x="10649" y="2801"/>
                  </a:lnTo>
                  <a:lnTo>
                    <a:pt x="10643" y="2800"/>
                  </a:lnTo>
                  <a:lnTo>
                    <a:pt x="10637" y="2796"/>
                  </a:lnTo>
                  <a:lnTo>
                    <a:pt x="10631" y="2790"/>
                  </a:lnTo>
                  <a:lnTo>
                    <a:pt x="10630" y="2782"/>
                  </a:lnTo>
                  <a:lnTo>
                    <a:pt x="10630" y="2670"/>
                  </a:lnTo>
                  <a:lnTo>
                    <a:pt x="10631" y="2661"/>
                  </a:lnTo>
                  <a:lnTo>
                    <a:pt x="10637" y="2654"/>
                  </a:lnTo>
                  <a:lnTo>
                    <a:pt x="10643" y="2650"/>
                  </a:lnTo>
                  <a:lnTo>
                    <a:pt x="10649" y="2649"/>
                  </a:lnTo>
                  <a:lnTo>
                    <a:pt x="10657" y="2650"/>
                  </a:lnTo>
                  <a:lnTo>
                    <a:pt x="10663" y="2654"/>
                  </a:lnTo>
                  <a:lnTo>
                    <a:pt x="10669" y="2661"/>
                  </a:lnTo>
                  <a:lnTo>
                    <a:pt x="10670" y="2670"/>
                  </a:lnTo>
                  <a:close/>
                  <a:moveTo>
                    <a:pt x="10407" y="2670"/>
                  </a:moveTo>
                  <a:lnTo>
                    <a:pt x="10407" y="2782"/>
                  </a:lnTo>
                  <a:lnTo>
                    <a:pt x="10404" y="2790"/>
                  </a:lnTo>
                  <a:lnTo>
                    <a:pt x="10401" y="2796"/>
                  </a:lnTo>
                  <a:lnTo>
                    <a:pt x="10394" y="2800"/>
                  </a:lnTo>
                  <a:lnTo>
                    <a:pt x="10386" y="2801"/>
                  </a:lnTo>
                  <a:lnTo>
                    <a:pt x="10379" y="2800"/>
                  </a:lnTo>
                  <a:lnTo>
                    <a:pt x="10372" y="2796"/>
                  </a:lnTo>
                  <a:lnTo>
                    <a:pt x="10369" y="2790"/>
                  </a:lnTo>
                  <a:lnTo>
                    <a:pt x="10366" y="2782"/>
                  </a:lnTo>
                  <a:lnTo>
                    <a:pt x="10366" y="2670"/>
                  </a:lnTo>
                  <a:lnTo>
                    <a:pt x="10369" y="2661"/>
                  </a:lnTo>
                  <a:lnTo>
                    <a:pt x="10372" y="2654"/>
                  </a:lnTo>
                  <a:lnTo>
                    <a:pt x="10379" y="2650"/>
                  </a:lnTo>
                  <a:lnTo>
                    <a:pt x="10386" y="2649"/>
                  </a:lnTo>
                  <a:lnTo>
                    <a:pt x="10394" y="2650"/>
                  </a:lnTo>
                  <a:lnTo>
                    <a:pt x="10401" y="2654"/>
                  </a:lnTo>
                  <a:lnTo>
                    <a:pt x="10404" y="2661"/>
                  </a:lnTo>
                  <a:lnTo>
                    <a:pt x="10407" y="2670"/>
                  </a:lnTo>
                  <a:close/>
                  <a:moveTo>
                    <a:pt x="10143" y="2670"/>
                  </a:moveTo>
                  <a:lnTo>
                    <a:pt x="10143" y="2782"/>
                  </a:lnTo>
                  <a:lnTo>
                    <a:pt x="10142" y="2790"/>
                  </a:lnTo>
                  <a:lnTo>
                    <a:pt x="10138" y="2796"/>
                  </a:lnTo>
                  <a:lnTo>
                    <a:pt x="10131" y="2800"/>
                  </a:lnTo>
                  <a:lnTo>
                    <a:pt x="10124" y="2801"/>
                  </a:lnTo>
                  <a:lnTo>
                    <a:pt x="10116" y="2800"/>
                  </a:lnTo>
                  <a:lnTo>
                    <a:pt x="10109" y="2796"/>
                  </a:lnTo>
                  <a:lnTo>
                    <a:pt x="10106" y="2790"/>
                  </a:lnTo>
                  <a:lnTo>
                    <a:pt x="10103" y="2782"/>
                  </a:lnTo>
                  <a:lnTo>
                    <a:pt x="10103" y="2670"/>
                  </a:lnTo>
                  <a:lnTo>
                    <a:pt x="10106" y="2661"/>
                  </a:lnTo>
                  <a:lnTo>
                    <a:pt x="10109" y="2654"/>
                  </a:lnTo>
                  <a:lnTo>
                    <a:pt x="10116" y="2650"/>
                  </a:lnTo>
                  <a:lnTo>
                    <a:pt x="10124" y="2649"/>
                  </a:lnTo>
                  <a:lnTo>
                    <a:pt x="10131" y="2650"/>
                  </a:lnTo>
                  <a:lnTo>
                    <a:pt x="10138" y="2654"/>
                  </a:lnTo>
                  <a:lnTo>
                    <a:pt x="10142" y="2661"/>
                  </a:lnTo>
                  <a:lnTo>
                    <a:pt x="10143" y="2670"/>
                  </a:lnTo>
                  <a:close/>
                  <a:moveTo>
                    <a:pt x="9880" y="2670"/>
                  </a:moveTo>
                  <a:lnTo>
                    <a:pt x="9880" y="2782"/>
                  </a:lnTo>
                  <a:lnTo>
                    <a:pt x="9879" y="2790"/>
                  </a:lnTo>
                  <a:lnTo>
                    <a:pt x="9874" y="2796"/>
                  </a:lnTo>
                  <a:lnTo>
                    <a:pt x="9867" y="2800"/>
                  </a:lnTo>
                  <a:lnTo>
                    <a:pt x="9861" y="2801"/>
                  </a:lnTo>
                  <a:lnTo>
                    <a:pt x="9853" y="2800"/>
                  </a:lnTo>
                  <a:lnTo>
                    <a:pt x="9847" y="2796"/>
                  </a:lnTo>
                  <a:lnTo>
                    <a:pt x="9841" y="2790"/>
                  </a:lnTo>
                  <a:lnTo>
                    <a:pt x="9840" y="2782"/>
                  </a:lnTo>
                  <a:lnTo>
                    <a:pt x="9840" y="2670"/>
                  </a:lnTo>
                  <a:lnTo>
                    <a:pt x="9841" y="2661"/>
                  </a:lnTo>
                  <a:lnTo>
                    <a:pt x="9847" y="2654"/>
                  </a:lnTo>
                  <a:lnTo>
                    <a:pt x="9853" y="2650"/>
                  </a:lnTo>
                  <a:lnTo>
                    <a:pt x="9861" y="2649"/>
                  </a:lnTo>
                  <a:lnTo>
                    <a:pt x="9867" y="2650"/>
                  </a:lnTo>
                  <a:lnTo>
                    <a:pt x="9874" y="2654"/>
                  </a:lnTo>
                  <a:lnTo>
                    <a:pt x="9879" y="2661"/>
                  </a:lnTo>
                  <a:lnTo>
                    <a:pt x="9880" y="2670"/>
                  </a:lnTo>
                  <a:close/>
                  <a:moveTo>
                    <a:pt x="9617" y="2670"/>
                  </a:moveTo>
                  <a:lnTo>
                    <a:pt x="9617" y="2782"/>
                  </a:lnTo>
                  <a:lnTo>
                    <a:pt x="9616" y="2790"/>
                  </a:lnTo>
                  <a:lnTo>
                    <a:pt x="9611" y="2796"/>
                  </a:lnTo>
                  <a:lnTo>
                    <a:pt x="9604" y="2800"/>
                  </a:lnTo>
                  <a:lnTo>
                    <a:pt x="9598" y="2801"/>
                  </a:lnTo>
                  <a:lnTo>
                    <a:pt x="9590" y="2800"/>
                  </a:lnTo>
                  <a:lnTo>
                    <a:pt x="9584" y="2796"/>
                  </a:lnTo>
                  <a:lnTo>
                    <a:pt x="9579" y="2790"/>
                  </a:lnTo>
                  <a:lnTo>
                    <a:pt x="9577" y="2782"/>
                  </a:lnTo>
                  <a:lnTo>
                    <a:pt x="9577" y="2670"/>
                  </a:lnTo>
                  <a:lnTo>
                    <a:pt x="9579" y="2661"/>
                  </a:lnTo>
                  <a:lnTo>
                    <a:pt x="9584" y="2654"/>
                  </a:lnTo>
                  <a:lnTo>
                    <a:pt x="9590" y="2650"/>
                  </a:lnTo>
                  <a:lnTo>
                    <a:pt x="9598" y="2649"/>
                  </a:lnTo>
                  <a:lnTo>
                    <a:pt x="9604" y="2650"/>
                  </a:lnTo>
                  <a:lnTo>
                    <a:pt x="9611" y="2654"/>
                  </a:lnTo>
                  <a:lnTo>
                    <a:pt x="9616" y="2661"/>
                  </a:lnTo>
                  <a:lnTo>
                    <a:pt x="9617" y="2670"/>
                  </a:lnTo>
                  <a:close/>
                  <a:moveTo>
                    <a:pt x="13776" y="2113"/>
                  </a:moveTo>
                  <a:lnTo>
                    <a:pt x="13776" y="2226"/>
                  </a:lnTo>
                  <a:lnTo>
                    <a:pt x="13774" y="2235"/>
                  </a:lnTo>
                  <a:lnTo>
                    <a:pt x="13769" y="2241"/>
                  </a:lnTo>
                  <a:lnTo>
                    <a:pt x="13763" y="2245"/>
                  </a:lnTo>
                  <a:lnTo>
                    <a:pt x="13756" y="2246"/>
                  </a:lnTo>
                  <a:lnTo>
                    <a:pt x="13749" y="2245"/>
                  </a:lnTo>
                  <a:lnTo>
                    <a:pt x="13742" y="2241"/>
                  </a:lnTo>
                  <a:lnTo>
                    <a:pt x="13737" y="2235"/>
                  </a:lnTo>
                  <a:lnTo>
                    <a:pt x="13736" y="2226"/>
                  </a:lnTo>
                  <a:lnTo>
                    <a:pt x="13736" y="2113"/>
                  </a:lnTo>
                  <a:lnTo>
                    <a:pt x="13737" y="2106"/>
                  </a:lnTo>
                  <a:lnTo>
                    <a:pt x="13742" y="2099"/>
                  </a:lnTo>
                  <a:lnTo>
                    <a:pt x="13749" y="2095"/>
                  </a:lnTo>
                  <a:lnTo>
                    <a:pt x="13756" y="2094"/>
                  </a:lnTo>
                  <a:lnTo>
                    <a:pt x="13763" y="2095"/>
                  </a:lnTo>
                  <a:lnTo>
                    <a:pt x="13769" y="2099"/>
                  </a:lnTo>
                  <a:lnTo>
                    <a:pt x="13774" y="2106"/>
                  </a:lnTo>
                  <a:lnTo>
                    <a:pt x="13776" y="2113"/>
                  </a:lnTo>
                  <a:close/>
                  <a:moveTo>
                    <a:pt x="13513" y="2113"/>
                  </a:moveTo>
                  <a:lnTo>
                    <a:pt x="13513" y="2226"/>
                  </a:lnTo>
                  <a:lnTo>
                    <a:pt x="13511" y="2235"/>
                  </a:lnTo>
                  <a:lnTo>
                    <a:pt x="13506" y="2241"/>
                  </a:lnTo>
                  <a:lnTo>
                    <a:pt x="13500" y="2245"/>
                  </a:lnTo>
                  <a:lnTo>
                    <a:pt x="13492" y="2246"/>
                  </a:lnTo>
                  <a:lnTo>
                    <a:pt x="13486" y="2245"/>
                  </a:lnTo>
                  <a:lnTo>
                    <a:pt x="13479" y="2241"/>
                  </a:lnTo>
                  <a:lnTo>
                    <a:pt x="13474" y="2235"/>
                  </a:lnTo>
                  <a:lnTo>
                    <a:pt x="13473" y="2226"/>
                  </a:lnTo>
                  <a:lnTo>
                    <a:pt x="13473" y="2113"/>
                  </a:lnTo>
                  <a:lnTo>
                    <a:pt x="13474" y="2106"/>
                  </a:lnTo>
                  <a:lnTo>
                    <a:pt x="13479" y="2099"/>
                  </a:lnTo>
                  <a:lnTo>
                    <a:pt x="13486" y="2095"/>
                  </a:lnTo>
                  <a:lnTo>
                    <a:pt x="13492" y="2094"/>
                  </a:lnTo>
                  <a:lnTo>
                    <a:pt x="13500" y="2095"/>
                  </a:lnTo>
                  <a:lnTo>
                    <a:pt x="13506" y="2099"/>
                  </a:lnTo>
                  <a:lnTo>
                    <a:pt x="13511" y="2106"/>
                  </a:lnTo>
                  <a:lnTo>
                    <a:pt x="13513" y="2113"/>
                  </a:lnTo>
                  <a:close/>
                  <a:moveTo>
                    <a:pt x="13250" y="2113"/>
                  </a:moveTo>
                  <a:lnTo>
                    <a:pt x="13250" y="2226"/>
                  </a:lnTo>
                  <a:lnTo>
                    <a:pt x="13247" y="2235"/>
                  </a:lnTo>
                  <a:lnTo>
                    <a:pt x="13243" y="2241"/>
                  </a:lnTo>
                  <a:lnTo>
                    <a:pt x="13237" y="2245"/>
                  </a:lnTo>
                  <a:lnTo>
                    <a:pt x="13229" y="2246"/>
                  </a:lnTo>
                  <a:lnTo>
                    <a:pt x="13222" y="2245"/>
                  </a:lnTo>
                  <a:lnTo>
                    <a:pt x="13215" y="2241"/>
                  </a:lnTo>
                  <a:lnTo>
                    <a:pt x="13211" y="2235"/>
                  </a:lnTo>
                  <a:lnTo>
                    <a:pt x="13210" y="2226"/>
                  </a:lnTo>
                  <a:lnTo>
                    <a:pt x="13210" y="2113"/>
                  </a:lnTo>
                  <a:lnTo>
                    <a:pt x="13211" y="2106"/>
                  </a:lnTo>
                  <a:lnTo>
                    <a:pt x="13215" y="2099"/>
                  </a:lnTo>
                  <a:lnTo>
                    <a:pt x="13222" y="2095"/>
                  </a:lnTo>
                  <a:lnTo>
                    <a:pt x="13229" y="2094"/>
                  </a:lnTo>
                  <a:lnTo>
                    <a:pt x="13237" y="2095"/>
                  </a:lnTo>
                  <a:lnTo>
                    <a:pt x="13243" y="2099"/>
                  </a:lnTo>
                  <a:lnTo>
                    <a:pt x="13247" y="2106"/>
                  </a:lnTo>
                  <a:lnTo>
                    <a:pt x="13250" y="2113"/>
                  </a:lnTo>
                  <a:close/>
                  <a:moveTo>
                    <a:pt x="12987" y="2113"/>
                  </a:moveTo>
                  <a:lnTo>
                    <a:pt x="12987" y="2226"/>
                  </a:lnTo>
                  <a:lnTo>
                    <a:pt x="12984" y="2235"/>
                  </a:lnTo>
                  <a:lnTo>
                    <a:pt x="12981" y="2241"/>
                  </a:lnTo>
                  <a:lnTo>
                    <a:pt x="12974" y="2245"/>
                  </a:lnTo>
                  <a:lnTo>
                    <a:pt x="12966" y="2246"/>
                  </a:lnTo>
                  <a:lnTo>
                    <a:pt x="12959" y="2245"/>
                  </a:lnTo>
                  <a:lnTo>
                    <a:pt x="12952" y="2241"/>
                  </a:lnTo>
                  <a:lnTo>
                    <a:pt x="12948" y="2235"/>
                  </a:lnTo>
                  <a:lnTo>
                    <a:pt x="12946" y="2226"/>
                  </a:lnTo>
                  <a:lnTo>
                    <a:pt x="12946" y="2113"/>
                  </a:lnTo>
                  <a:lnTo>
                    <a:pt x="12948" y="2106"/>
                  </a:lnTo>
                  <a:lnTo>
                    <a:pt x="12952" y="2099"/>
                  </a:lnTo>
                  <a:lnTo>
                    <a:pt x="12959" y="2095"/>
                  </a:lnTo>
                  <a:lnTo>
                    <a:pt x="12966" y="2094"/>
                  </a:lnTo>
                  <a:lnTo>
                    <a:pt x="12974" y="2095"/>
                  </a:lnTo>
                  <a:lnTo>
                    <a:pt x="12981" y="2099"/>
                  </a:lnTo>
                  <a:lnTo>
                    <a:pt x="12984" y="2106"/>
                  </a:lnTo>
                  <a:lnTo>
                    <a:pt x="12987" y="2113"/>
                  </a:lnTo>
                  <a:close/>
                  <a:moveTo>
                    <a:pt x="13776" y="1879"/>
                  </a:moveTo>
                  <a:lnTo>
                    <a:pt x="13776" y="1992"/>
                  </a:lnTo>
                  <a:lnTo>
                    <a:pt x="13774" y="2001"/>
                  </a:lnTo>
                  <a:lnTo>
                    <a:pt x="13769" y="2007"/>
                  </a:lnTo>
                  <a:lnTo>
                    <a:pt x="13763" y="2011"/>
                  </a:lnTo>
                  <a:lnTo>
                    <a:pt x="13756" y="2012"/>
                  </a:lnTo>
                  <a:lnTo>
                    <a:pt x="13749" y="2011"/>
                  </a:lnTo>
                  <a:lnTo>
                    <a:pt x="13742" y="2007"/>
                  </a:lnTo>
                  <a:lnTo>
                    <a:pt x="13737" y="2001"/>
                  </a:lnTo>
                  <a:lnTo>
                    <a:pt x="13736" y="1992"/>
                  </a:lnTo>
                  <a:lnTo>
                    <a:pt x="13736" y="1879"/>
                  </a:lnTo>
                  <a:lnTo>
                    <a:pt x="13737" y="1872"/>
                  </a:lnTo>
                  <a:lnTo>
                    <a:pt x="13742" y="1865"/>
                  </a:lnTo>
                  <a:lnTo>
                    <a:pt x="13749" y="1861"/>
                  </a:lnTo>
                  <a:lnTo>
                    <a:pt x="13756" y="1860"/>
                  </a:lnTo>
                  <a:lnTo>
                    <a:pt x="13763" y="1861"/>
                  </a:lnTo>
                  <a:lnTo>
                    <a:pt x="13769" y="1865"/>
                  </a:lnTo>
                  <a:lnTo>
                    <a:pt x="13774" y="1872"/>
                  </a:lnTo>
                  <a:lnTo>
                    <a:pt x="13776" y="1879"/>
                  </a:lnTo>
                  <a:close/>
                  <a:moveTo>
                    <a:pt x="13513" y="1879"/>
                  </a:moveTo>
                  <a:lnTo>
                    <a:pt x="13513" y="1992"/>
                  </a:lnTo>
                  <a:lnTo>
                    <a:pt x="13511" y="2001"/>
                  </a:lnTo>
                  <a:lnTo>
                    <a:pt x="13506" y="2007"/>
                  </a:lnTo>
                  <a:lnTo>
                    <a:pt x="13500" y="2011"/>
                  </a:lnTo>
                  <a:lnTo>
                    <a:pt x="13492" y="2012"/>
                  </a:lnTo>
                  <a:lnTo>
                    <a:pt x="13486" y="2011"/>
                  </a:lnTo>
                  <a:lnTo>
                    <a:pt x="13479" y="2007"/>
                  </a:lnTo>
                  <a:lnTo>
                    <a:pt x="13474" y="2001"/>
                  </a:lnTo>
                  <a:lnTo>
                    <a:pt x="13473" y="1992"/>
                  </a:lnTo>
                  <a:lnTo>
                    <a:pt x="13473" y="1879"/>
                  </a:lnTo>
                  <a:lnTo>
                    <a:pt x="13474" y="1872"/>
                  </a:lnTo>
                  <a:lnTo>
                    <a:pt x="13479" y="1865"/>
                  </a:lnTo>
                  <a:lnTo>
                    <a:pt x="13486" y="1861"/>
                  </a:lnTo>
                  <a:lnTo>
                    <a:pt x="13492" y="1860"/>
                  </a:lnTo>
                  <a:lnTo>
                    <a:pt x="13500" y="1861"/>
                  </a:lnTo>
                  <a:lnTo>
                    <a:pt x="13506" y="1865"/>
                  </a:lnTo>
                  <a:lnTo>
                    <a:pt x="13511" y="1872"/>
                  </a:lnTo>
                  <a:lnTo>
                    <a:pt x="13513" y="1879"/>
                  </a:lnTo>
                  <a:close/>
                  <a:moveTo>
                    <a:pt x="13250" y="1879"/>
                  </a:moveTo>
                  <a:lnTo>
                    <a:pt x="13250" y="1992"/>
                  </a:lnTo>
                  <a:lnTo>
                    <a:pt x="13247" y="2001"/>
                  </a:lnTo>
                  <a:lnTo>
                    <a:pt x="13243" y="2007"/>
                  </a:lnTo>
                  <a:lnTo>
                    <a:pt x="13237" y="2011"/>
                  </a:lnTo>
                  <a:lnTo>
                    <a:pt x="13229" y="2012"/>
                  </a:lnTo>
                  <a:lnTo>
                    <a:pt x="13222" y="2011"/>
                  </a:lnTo>
                  <a:lnTo>
                    <a:pt x="13215" y="2007"/>
                  </a:lnTo>
                  <a:lnTo>
                    <a:pt x="13211" y="2001"/>
                  </a:lnTo>
                  <a:lnTo>
                    <a:pt x="13210" y="1992"/>
                  </a:lnTo>
                  <a:lnTo>
                    <a:pt x="13210" y="1879"/>
                  </a:lnTo>
                  <a:lnTo>
                    <a:pt x="13211" y="1872"/>
                  </a:lnTo>
                  <a:lnTo>
                    <a:pt x="13215" y="1865"/>
                  </a:lnTo>
                  <a:lnTo>
                    <a:pt x="13222" y="1861"/>
                  </a:lnTo>
                  <a:lnTo>
                    <a:pt x="13229" y="1860"/>
                  </a:lnTo>
                  <a:lnTo>
                    <a:pt x="13237" y="1861"/>
                  </a:lnTo>
                  <a:lnTo>
                    <a:pt x="13243" y="1865"/>
                  </a:lnTo>
                  <a:lnTo>
                    <a:pt x="13247" y="1872"/>
                  </a:lnTo>
                  <a:lnTo>
                    <a:pt x="13250" y="1879"/>
                  </a:lnTo>
                  <a:close/>
                  <a:moveTo>
                    <a:pt x="12987" y="1879"/>
                  </a:moveTo>
                  <a:lnTo>
                    <a:pt x="12987" y="1992"/>
                  </a:lnTo>
                  <a:lnTo>
                    <a:pt x="12984" y="2001"/>
                  </a:lnTo>
                  <a:lnTo>
                    <a:pt x="12981" y="2007"/>
                  </a:lnTo>
                  <a:lnTo>
                    <a:pt x="12974" y="2011"/>
                  </a:lnTo>
                  <a:lnTo>
                    <a:pt x="12966" y="2012"/>
                  </a:lnTo>
                  <a:lnTo>
                    <a:pt x="12959" y="2011"/>
                  </a:lnTo>
                  <a:lnTo>
                    <a:pt x="12952" y="2007"/>
                  </a:lnTo>
                  <a:lnTo>
                    <a:pt x="12948" y="2001"/>
                  </a:lnTo>
                  <a:lnTo>
                    <a:pt x="12946" y="1992"/>
                  </a:lnTo>
                  <a:lnTo>
                    <a:pt x="12946" y="1879"/>
                  </a:lnTo>
                  <a:lnTo>
                    <a:pt x="12948" y="1872"/>
                  </a:lnTo>
                  <a:lnTo>
                    <a:pt x="12952" y="1865"/>
                  </a:lnTo>
                  <a:lnTo>
                    <a:pt x="12959" y="1861"/>
                  </a:lnTo>
                  <a:lnTo>
                    <a:pt x="12966" y="1860"/>
                  </a:lnTo>
                  <a:lnTo>
                    <a:pt x="12974" y="1861"/>
                  </a:lnTo>
                  <a:lnTo>
                    <a:pt x="12981" y="1865"/>
                  </a:lnTo>
                  <a:lnTo>
                    <a:pt x="12984" y="1872"/>
                  </a:lnTo>
                  <a:lnTo>
                    <a:pt x="12987" y="1879"/>
                  </a:lnTo>
                  <a:close/>
                  <a:moveTo>
                    <a:pt x="13776" y="1645"/>
                  </a:moveTo>
                  <a:lnTo>
                    <a:pt x="13776" y="1758"/>
                  </a:lnTo>
                  <a:lnTo>
                    <a:pt x="13774" y="1767"/>
                  </a:lnTo>
                  <a:lnTo>
                    <a:pt x="13769" y="1773"/>
                  </a:lnTo>
                  <a:lnTo>
                    <a:pt x="13763" y="1777"/>
                  </a:lnTo>
                  <a:lnTo>
                    <a:pt x="13756" y="1778"/>
                  </a:lnTo>
                  <a:lnTo>
                    <a:pt x="13749" y="1777"/>
                  </a:lnTo>
                  <a:lnTo>
                    <a:pt x="13742" y="1773"/>
                  </a:lnTo>
                  <a:lnTo>
                    <a:pt x="13737" y="1767"/>
                  </a:lnTo>
                  <a:lnTo>
                    <a:pt x="13736" y="1758"/>
                  </a:lnTo>
                  <a:lnTo>
                    <a:pt x="13736" y="1645"/>
                  </a:lnTo>
                  <a:lnTo>
                    <a:pt x="13737" y="1636"/>
                  </a:lnTo>
                  <a:lnTo>
                    <a:pt x="13742" y="1631"/>
                  </a:lnTo>
                  <a:lnTo>
                    <a:pt x="13749" y="1627"/>
                  </a:lnTo>
                  <a:lnTo>
                    <a:pt x="13756" y="1626"/>
                  </a:lnTo>
                  <a:lnTo>
                    <a:pt x="13763" y="1627"/>
                  </a:lnTo>
                  <a:lnTo>
                    <a:pt x="13769" y="1631"/>
                  </a:lnTo>
                  <a:lnTo>
                    <a:pt x="13774" y="1636"/>
                  </a:lnTo>
                  <a:lnTo>
                    <a:pt x="13776" y="1645"/>
                  </a:lnTo>
                  <a:close/>
                  <a:moveTo>
                    <a:pt x="13513" y="1645"/>
                  </a:moveTo>
                  <a:lnTo>
                    <a:pt x="13513" y="1758"/>
                  </a:lnTo>
                  <a:lnTo>
                    <a:pt x="13511" y="1767"/>
                  </a:lnTo>
                  <a:lnTo>
                    <a:pt x="13506" y="1773"/>
                  </a:lnTo>
                  <a:lnTo>
                    <a:pt x="13500" y="1777"/>
                  </a:lnTo>
                  <a:lnTo>
                    <a:pt x="13492" y="1778"/>
                  </a:lnTo>
                  <a:lnTo>
                    <a:pt x="13486" y="1777"/>
                  </a:lnTo>
                  <a:lnTo>
                    <a:pt x="13479" y="1773"/>
                  </a:lnTo>
                  <a:lnTo>
                    <a:pt x="13474" y="1767"/>
                  </a:lnTo>
                  <a:lnTo>
                    <a:pt x="13473" y="1758"/>
                  </a:lnTo>
                  <a:lnTo>
                    <a:pt x="13473" y="1645"/>
                  </a:lnTo>
                  <a:lnTo>
                    <a:pt x="13474" y="1636"/>
                  </a:lnTo>
                  <a:lnTo>
                    <a:pt x="13479" y="1631"/>
                  </a:lnTo>
                  <a:lnTo>
                    <a:pt x="13486" y="1627"/>
                  </a:lnTo>
                  <a:lnTo>
                    <a:pt x="13492" y="1626"/>
                  </a:lnTo>
                  <a:lnTo>
                    <a:pt x="13500" y="1627"/>
                  </a:lnTo>
                  <a:lnTo>
                    <a:pt x="13506" y="1631"/>
                  </a:lnTo>
                  <a:lnTo>
                    <a:pt x="13511" y="1636"/>
                  </a:lnTo>
                  <a:lnTo>
                    <a:pt x="13513" y="1645"/>
                  </a:lnTo>
                  <a:close/>
                  <a:moveTo>
                    <a:pt x="13250" y="1645"/>
                  </a:moveTo>
                  <a:lnTo>
                    <a:pt x="13250" y="1758"/>
                  </a:lnTo>
                  <a:lnTo>
                    <a:pt x="13247" y="1767"/>
                  </a:lnTo>
                  <a:lnTo>
                    <a:pt x="13243" y="1773"/>
                  </a:lnTo>
                  <a:lnTo>
                    <a:pt x="13237" y="1777"/>
                  </a:lnTo>
                  <a:lnTo>
                    <a:pt x="13229" y="1778"/>
                  </a:lnTo>
                  <a:lnTo>
                    <a:pt x="13222" y="1777"/>
                  </a:lnTo>
                  <a:lnTo>
                    <a:pt x="13215" y="1773"/>
                  </a:lnTo>
                  <a:lnTo>
                    <a:pt x="13211" y="1767"/>
                  </a:lnTo>
                  <a:lnTo>
                    <a:pt x="13210" y="1758"/>
                  </a:lnTo>
                  <a:lnTo>
                    <a:pt x="13210" y="1645"/>
                  </a:lnTo>
                  <a:lnTo>
                    <a:pt x="13211" y="1636"/>
                  </a:lnTo>
                  <a:lnTo>
                    <a:pt x="13215" y="1631"/>
                  </a:lnTo>
                  <a:lnTo>
                    <a:pt x="13222" y="1627"/>
                  </a:lnTo>
                  <a:lnTo>
                    <a:pt x="13229" y="1626"/>
                  </a:lnTo>
                  <a:lnTo>
                    <a:pt x="13237" y="1627"/>
                  </a:lnTo>
                  <a:lnTo>
                    <a:pt x="13243" y="1631"/>
                  </a:lnTo>
                  <a:lnTo>
                    <a:pt x="13247" y="1636"/>
                  </a:lnTo>
                  <a:lnTo>
                    <a:pt x="13250" y="1645"/>
                  </a:lnTo>
                  <a:close/>
                  <a:moveTo>
                    <a:pt x="12987" y="1645"/>
                  </a:moveTo>
                  <a:lnTo>
                    <a:pt x="12987" y="1758"/>
                  </a:lnTo>
                  <a:lnTo>
                    <a:pt x="12984" y="1767"/>
                  </a:lnTo>
                  <a:lnTo>
                    <a:pt x="12981" y="1773"/>
                  </a:lnTo>
                  <a:lnTo>
                    <a:pt x="12974" y="1777"/>
                  </a:lnTo>
                  <a:lnTo>
                    <a:pt x="12966" y="1778"/>
                  </a:lnTo>
                  <a:lnTo>
                    <a:pt x="12959" y="1777"/>
                  </a:lnTo>
                  <a:lnTo>
                    <a:pt x="12952" y="1773"/>
                  </a:lnTo>
                  <a:lnTo>
                    <a:pt x="12948" y="1767"/>
                  </a:lnTo>
                  <a:lnTo>
                    <a:pt x="12946" y="1758"/>
                  </a:lnTo>
                  <a:lnTo>
                    <a:pt x="12946" y="1645"/>
                  </a:lnTo>
                  <a:lnTo>
                    <a:pt x="12948" y="1636"/>
                  </a:lnTo>
                  <a:lnTo>
                    <a:pt x="12952" y="1631"/>
                  </a:lnTo>
                  <a:lnTo>
                    <a:pt x="12959" y="1627"/>
                  </a:lnTo>
                  <a:lnTo>
                    <a:pt x="12966" y="1626"/>
                  </a:lnTo>
                  <a:lnTo>
                    <a:pt x="12974" y="1627"/>
                  </a:lnTo>
                  <a:lnTo>
                    <a:pt x="12981" y="1631"/>
                  </a:lnTo>
                  <a:lnTo>
                    <a:pt x="12984" y="1636"/>
                  </a:lnTo>
                  <a:lnTo>
                    <a:pt x="12987" y="1645"/>
                  </a:lnTo>
                  <a:close/>
                  <a:moveTo>
                    <a:pt x="13776" y="1411"/>
                  </a:moveTo>
                  <a:lnTo>
                    <a:pt x="13776" y="1524"/>
                  </a:lnTo>
                  <a:lnTo>
                    <a:pt x="13774" y="1533"/>
                  </a:lnTo>
                  <a:lnTo>
                    <a:pt x="13769" y="1539"/>
                  </a:lnTo>
                  <a:lnTo>
                    <a:pt x="13763" y="1543"/>
                  </a:lnTo>
                  <a:lnTo>
                    <a:pt x="13756" y="1544"/>
                  </a:lnTo>
                  <a:lnTo>
                    <a:pt x="13749" y="1543"/>
                  </a:lnTo>
                  <a:lnTo>
                    <a:pt x="13742" y="1539"/>
                  </a:lnTo>
                  <a:lnTo>
                    <a:pt x="13737" y="1533"/>
                  </a:lnTo>
                  <a:lnTo>
                    <a:pt x="13736" y="1524"/>
                  </a:lnTo>
                  <a:lnTo>
                    <a:pt x="13736" y="1411"/>
                  </a:lnTo>
                  <a:lnTo>
                    <a:pt x="13737" y="1402"/>
                  </a:lnTo>
                  <a:lnTo>
                    <a:pt x="13742" y="1397"/>
                  </a:lnTo>
                  <a:lnTo>
                    <a:pt x="13749" y="1393"/>
                  </a:lnTo>
                  <a:lnTo>
                    <a:pt x="13756" y="1392"/>
                  </a:lnTo>
                  <a:lnTo>
                    <a:pt x="13763" y="1393"/>
                  </a:lnTo>
                  <a:lnTo>
                    <a:pt x="13769" y="1397"/>
                  </a:lnTo>
                  <a:lnTo>
                    <a:pt x="13774" y="1402"/>
                  </a:lnTo>
                  <a:lnTo>
                    <a:pt x="13776" y="1411"/>
                  </a:lnTo>
                  <a:close/>
                  <a:moveTo>
                    <a:pt x="13513" y="1411"/>
                  </a:moveTo>
                  <a:lnTo>
                    <a:pt x="13513" y="1524"/>
                  </a:lnTo>
                  <a:lnTo>
                    <a:pt x="13511" y="1533"/>
                  </a:lnTo>
                  <a:lnTo>
                    <a:pt x="13506" y="1539"/>
                  </a:lnTo>
                  <a:lnTo>
                    <a:pt x="13500" y="1543"/>
                  </a:lnTo>
                  <a:lnTo>
                    <a:pt x="13492" y="1544"/>
                  </a:lnTo>
                  <a:lnTo>
                    <a:pt x="13486" y="1543"/>
                  </a:lnTo>
                  <a:lnTo>
                    <a:pt x="13479" y="1539"/>
                  </a:lnTo>
                  <a:lnTo>
                    <a:pt x="13474" y="1533"/>
                  </a:lnTo>
                  <a:lnTo>
                    <a:pt x="13473" y="1524"/>
                  </a:lnTo>
                  <a:lnTo>
                    <a:pt x="13473" y="1411"/>
                  </a:lnTo>
                  <a:lnTo>
                    <a:pt x="13474" y="1402"/>
                  </a:lnTo>
                  <a:lnTo>
                    <a:pt x="13479" y="1397"/>
                  </a:lnTo>
                  <a:lnTo>
                    <a:pt x="13486" y="1393"/>
                  </a:lnTo>
                  <a:lnTo>
                    <a:pt x="13492" y="1392"/>
                  </a:lnTo>
                  <a:lnTo>
                    <a:pt x="13500" y="1393"/>
                  </a:lnTo>
                  <a:lnTo>
                    <a:pt x="13506" y="1397"/>
                  </a:lnTo>
                  <a:lnTo>
                    <a:pt x="13511" y="1402"/>
                  </a:lnTo>
                  <a:lnTo>
                    <a:pt x="13513" y="1411"/>
                  </a:lnTo>
                  <a:close/>
                  <a:moveTo>
                    <a:pt x="13250" y="1411"/>
                  </a:moveTo>
                  <a:lnTo>
                    <a:pt x="13250" y="1524"/>
                  </a:lnTo>
                  <a:lnTo>
                    <a:pt x="13247" y="1533"/>
                  </a:lnTo>
                  <a:lnTo>
                    <a:pt x="13243" y="1539"/>
                  </a:lnTo>
                  <a:lnTo>
                    <a:pt x="13237" y="1543"/>
                  </a:lnTo>
                  <a:lnTo>
                    <a:pt x="13229" y="1544"/>
                  </a:lnTo>
                  <a:lnTo>
                    <a:pt x="13222" y="1543"/>
                  </a:lnTo>
                  <a:lnTo>
                    <a:pt x="13215" y="1539"/>
                  </a:lnTo>
                  <a:lnTo>
                    <a:pt x="13211" y="1533"/>
                  </a:lnTo>
                  <a:lnTo>
                    <a:pt x="13210" y="1524"/>
                  </a:lnTo>
                  <a:lnTo>
                    <a:pt x="13210" y="1411"/>
                  </a:lnTo>
                  <a:lnTo>
                    <a:pt x="13211" y="1402"/>
                  </a:lnTo>
                  <a:lnTo>
                    <a:pt x="13215" y="1397"/>
                  </a:lnTo>
                  <a:lnTo>
                    <a:pt x="13222" y="1393"/>
                  </a:lnTo>
                  <a:lnTo>
                    <a:pt x="13229" y="1392"/>
                  </a:lnTo>
                  <a:lnTo>
                    <a:pt x="13237" y="1393"/>
                  </a:lnTo>
                  <a:lnTo>
                    <a:pt x="13243" y="1397"/>
                  </a:lnTo>
                  <a:lnTo>
                    <a:pt x="13247" y="1402"/>
                  </a:lnTo>
                  <a:lnTo>
                    <a:pt x="13250" y="1411"/>
                  </a:lnTo>
                  <a:close/>
                  <a:moveTo>
                    <a:pt x="12987" y="1411"/>
                  </a:moveTo>
                  <a:lnTo>
                    <a:pt x="12987" y="1524"/>
                  </a:lnTo>
                  <a:lnTo>
                    <a:pt x="12984" y="1533"/>
                  </a:lnTo>
                  <a:lnTo>
                    <a:pt x="12981" y="1539"/>
                  </a:lnTo>
                  <a:lnTo>
                    <a:pt x="12974" y="1543"/>
                  </a:lnTo>
                  <a:lnTo>
                    <a:pt x="12966" y="1544"/>
                  </a:lnTo>
                  <a:lnTo>
                    <a:pt x="12959" y="1543"/>
                  </a:lnTo>
                  <a:lnTo>
                    <a:pt x="12952" y="1539"/>
                  </a:lnTo>
                  <a:lnTo>
                    <a:pt x="12948" y="1533"/>
                  </a:lnTo>
                  <a:lnTo>
                    <a:pt x="12946" y="1524"/>
                  </a:lnTo>
                  <a:lnTo>
                    <a:pt x="12946" y="1411"/>
                  </a:lnTo>
                  <a:lnTo>
                    <a:pt x="12948" y="1402"/>
                  </a:lnTo>
                  <a:lnTo>
                    <a:pt x="12952" y="1397"/>
                  </a:lnTo>
                  <a:lnTo>
                    <a:pt x="12959" y="1393"/>
                  </a:lnTo>
                  <a:lnTo>
                    <a:pt x="12966" y="1392"/>
                  </a:lnTo>
                  <a:lnTo>
                    <a:pt x="12974" y="1393"/>
                  </a:lnTo>
                  <a:lnTo>
                    <a:pt x="12981" y="1397"/>
                  </a:lnTo>
                  <a:lnTo>
                    <a:pt x="12984" y="1402"/>
                  </a:lnTo>
                  <a:lnTo>
                    <a:pt x="12987" y="1411"/>
                  </a:lnTo>
                  <a:close/>
                  <a:moveTo>
                    <a:pt x="13776" y="1177"/>
                  </a:moveTo>
                  <a:lnTo>
                    <a:pt x="13776" y="1290"/>
                  </a:lnTo>
                  <a:lnTo>
                    <a:pt x="13774" y="1299"/>
                  </a:lnTo>
                  <a:lnTo>
                    <a:pt x="13769" y="1305"/>
                  </a:lnTo>
                  <a:lnTo>
                    <a:pt x="13763" y="1309"/>
                  </a:lnTo>
                  <a:lnTo>
                    <a:pt x="13756" y="1309"/>
                  </a:lnTo>
                  <a:lnTo>
                    <a:pt x="13749" y="1309"/>
                  </a:lnTo>
                  <a:lnTo>
                    <a:pt x="13742" y="1305"/>
                  </a:lnTo>
                  <a:lnTo>
                    <a:pt x="13737" y="1299"/>
                  </a:lnTo>
                  <a:lnTo>
                    <a:pt x="13736" y="1290"/>
                  </a:lnTo>
                  <a:lnTo>
                    <a:pt x="13736" y="1177"/>
                  </a:lnTo>
                  <a:lnTo>
                    <a:pt x="13737" y="1168"/>
                  </a:lnTo>
                  <a:lnTo>
                    <a:pt x="13742" y="1163"/>
                  </a:lnTo>
                  <a:lnTo>
                    <a:pt x="13749" y="1159"/>
                  </a:lnTo>
                  <a:lnTo>
                    <a:pt x="13756" y="1158"/>
                  </a:lnTo>
                  <a:lnTo>
                    <a:pt x="13763" y="1159"/>
                  </a:lnTo>
                  <a:lnTo>
                    <a:pt x="13769" y="1163"/>
                  </a:lnTo>
                  <a:lnTo>
                    <a:pt x="13774" y="1168"/>
                  </a:lnTo>
                  <a:lnTo>
                    <a:pt x="13776" y="1177"/>
                  </a:lnTo>
                  <a:close/>
                  <a:moveTo>
                    <a:pt x="13513" y="1177"/>
                  </a:moveTo>
                  <a:lnTo>
                    <a:pt x="13513" y="1290"/>
                  </a:lnTo>
                  <a:lnTo>
                    <a:pt x="13511" y="1299"/>
                  </a:lnTo>
                  <a:lnTo>
                    <a:pt x="13506" y="1305"/>
                  </a:lnTo>
                  <a:lnTo>
                    <a:pt x="13500" y="1309"/>
                  </a:lnTo>
                  <a:lnTo>
                    <a:pt x="13492" y="1309"/>
                  </a:lnTo>
                  <a:lnTo>
                    <a:pt x="13486" y="1309"/>
                  </a:lnTo>
                  <a:lnTo>
                    <a:pt x="13479" y="1305"/>
                  </a:lnTo>
                  <a:lnTo>
                    <a:pt x="13474" y="1299"/>
                  </a:lnTo>
                  <a:lnTo>
                    <a:pt x="13473" y="1290"/>
                  </a:lnTo>
                  <a:lnTo>
                    <a:pt x="13473" y="1177"/>
                  </a:lnTo>
                  <a:lnTo>
                    <a:pt x="13474" y="1168"/>
                  </a:lnTo>
                  <a:lnTo>
                    <a:pt x="13479" y="1163"/>
                  </a:lnTo>
                  <a:lnTo>
                    <a:pt x="13486" y="1159"/>
                  </a:lnTo>
                  <a:lnTo>
                    <a:pt x="13492" y="1158"/>
                  </a:lnTo>
                  <a:lnTo>
                    <a:pt x="13500" y="1159"/>
                  </a:lnTo>
                  <a:lnTo>
                    <a:pt x="13506" y="1163"/>
                  </a:lnTo>
                  <a:lnTo>
                    <a:pt x="13511" y="1168"/>
                  </a:lnTo>
                  <a:lnTo>
                    <a:pt x="13513" y="1177"/>
                  </a:lnTo>
                  <a:close/>
                  <a:moveTo>
                    <a:pt x="13250" y="1177"/>
                  </a:moveTo>
                  <a:lnTo>
                    <a:pt x="13250" y="1290"/>
                  </a:lnTo>
                  <a:lnTo>
                    <a:pt x="13247" y="1299"/>
                  </a:lnTo>
                  <a:lnTo>
                    <a:pt x="13243" y="1305"/>
                  </a:lnTo>
                  <a:lnTo>
                    <a:pt x="13237" y="1309"/>
                  </a:lnTo>
                  <a:lnTo>
                    <a:pt x="13229" y="1309"/>
                  </a:lnTo>
                  <a:lnTo>
                    <a:pt x="13222" y="1309"/>
                  </a:lnTo>
                  <a:lnTo>
                    <a:pt x="13215" y="1305"/>
                  </a:lnTo>
                  <a:lnTo>
                    <a:pt x="13211" y="1299"/>
                  </a:lnTo>
                  <a:lnTo>
                    <a:pt x="13210" y="1290"/>
                  </a:lnTo>
                  <a:lnTo>
                    <a:pt x="13210" y="1177"/>
                  </a:lnTo>
                  <a:lnTo>
                    <a:pt x="13211" y="1168"/>
                  </a:lnTo>
                  <a:lnTo>
                    <a:pt x="13215" y="1163"/>
                  </a:lnTo>
                  <a:lnTo>
                    <a:pt x="13222" y="1159"/>
                  </a:lnTo>
                  <a:lnTo>
                    <a:pt x="13229" y="1158"/>
                  </a:lnTo>
                  <a:lnTo>
                    <a:pt x="13237" y="1159"/>
                  </a:lnTo>
                  <a:lnTo>
                    <a:pt x="13243" y="1163"/>
                  </a:lnTo>
                  <a:lnTo>
                    <a:pt x="13247" y="1168"/>
                  </a:lnTo>
                  <a:lnTo>
                    <a:pt x="13250" y="1177"/>
                  </a:lnTo>
                  <a:close/>
                  <a:moveTo>
                    <a:pt x="12987" y="1177"/>
                  </a:moveTo>
                  <a:lnTo>
                    <a:pt x="12987" y="1290"/>
                  </a:lnTo>
                  <a:lnTo>
                    <a:pt x="12984" y="1299"/>
                  </a:lnTo>
                  <a:lnTo>
                    <a:pt x="12981" y="1305"/>
                  </a:lnTo>
                  <a:lnTo>
                    <a:pt x="12974" y="1309"/>
                  </a:lnTo>
                  <a:lnTo>
                    <a:pt x="12966" y="1309"/>
                  </a:lnTo>
                  <a:lnTo>
                    <a:pt x="12959" y="1309"/>
                  </a:lnTo>
                  <a:lnTo>
                    <a:pt x="12952" y="1305"/>
                  </a:lnTo>
                  <a:lnTo>
                    <a:pt x="12948" y="1299"/>
                  </a:lnTo>
                  <a:lnTo>
                    <a:pt x="12946" y="1290"/>
                  </a:lnTo>
                  <a:lnTo>
                    <a:pt x="12946" y="1177"/>
                  </a:lnTo>
                  <a:lnTo>
                    <a:pt x="12948" y="1168"/>
                  </a:lnTo>
                  <a:lnTo>
                    <a:pt x="12952" y="1163"/>
                  </a:lnTo>
                  <a:lnTo>
                    <a:pt x="12959" y="1159"/>
                  </a:lnTo>
                  <a:lnTo>
                    <a:pt x="12966" y="1158"/>
                  </a:lnTo>
                  <a:lnTo>
                    <a:pt x="12974" y="1159"/>
                  </a:lnTo>
                  <a:lnTo>
                    <a:pt x="12981" y="1163"/>
                  </a:lnTo>
                  <a:lnTo>
                    <a:pt x="12984" y="1168"/>
                  </a:lnTo>
                  <a:lnTo>
                    <a:pt x="12987" y="1177"/>
                  </a:lnTo>
                  <a:close/>
                  <a:moveTo>
                    <a:pt x="13538" y="3927"/>
                  </a:moveTo>
                  <a:lnTo>
                    <a:pt x="13538" y="4038"/>
                  </a:lnTo>
                  <a:lnTo>
                    <a:pt x="13536" y="4047"/>
                  </a:lnTo>
                  <a:lnTo>
                    <a:pt x="13532" y="4053"/>
                  </a:lnTo>
                  <a:lnTo>
                    <a:pt x="13525" y="4057"/>
                  </a:lnTo>
                  <a:lnTo>
                    <a:pt x="13518" y="4058"/>
                  </a:lnTo>
                  <a:lnTo>
                    <a:pt x="13510" y="4057"/>
                  </a:lnTo>
                  <a:lnTo>
                    <a:pt x="13504" y="4053"/>
                  </a:lnTo>
                  <a:lnTo>
                    <a:pt x="13500" y="4047"/>
                  </a:lnTo>
                  <a:lnTo>
                    <a:pt x="13497" y="4038"/>
                  </a:lnTo>
                  <a:lnTo>
                    <a:pt x="13497" y="3927"/>
                  </a:lnTo>
                  <a:lnTo>
                    <a:pt x="13500" y="3918"/>
                  </a:lnTo>
                  <a:lnTo>
                    <a:pt x="13504" y="3911"/>
                  </a:lnTo>
                  <a:lnTo>
                    <a:pt x="13510" y="3907"/>
                  </a:lnTo>
                  <a:lnTo>
                    <a:pt x="13518" y="3906"/>
                  </a:lnTo>
                  <a:lnTo>
                    <a:pt x="13525" y="3907"/>
                  </a:lnTo>
                  <a:lnTo>
                    <a:pt x="13532" y="3911"/>
                  </a:lnTo>
                  <a:lnTo>
                    <a:pt x="13536" y="3918"/>
                  </a:lnTo>
                  <a:lnTo>
                    <a:pt x="13538" y="3927"/>
                  </a:lnTo>
                  <a:close/>
                  <a:moveTo>
                    <a:pt x="13274" y="3927"/>
                  </a:moveTo>
                  <a:lnTo>
                    <a:pt x="13274" y="4038"/>
                  </a:lnTo>
                  <a:lnTo>
                    <a:pt x="13273" y="4047"/>
                  </a:lnTo>
                  <a:lnTo>
                    <a:pt x="13269" y="4053"/>
                  </a:lnTo>
                  <a:lnTo>
                    <a:pt x="13263" y="4057"/>
                  </a:lnTo>
                  <a:lnTo>
                    <a:pt x="13255" y="4058"/>
                  </a:lnTo>
                  <a:lnTo>
                    <a:pt x="13247" y="4057"/>
                  </a:lnTo>
                  <a:lnTo>
                    <a:pt x="13241" y="4053"/>
                  </a:lnTo>
                  <a:lnTo>
                    <a:pt x="13237" y="4047"/>
                  </a:lnTo>
                  <a:lnTo>
                    <a:pt x="13234" y="4038"/>
                  </a:lnTo>
                  <a:lnTo>
                    <a:pt x="13234" y="3927"/>
                  </a:lnTo>
                  <a:lnTo>
                    <a:pt x="13237" y="3918"/>
                  </a:lnTo>
                  <a:lnTo>
                    <a:pt x="13241" y="3911"/>
                  </a:lnTo>
                  <a:lnTo>
                    <a:pt x="13247" y="3907"/>
                  </a:lnTo>
                  <a:lnTo>
                    <a:pt x="13255" y="3906"/>
                  </a:lnTo>
                  <a:lnTo>
                    <a:pt x="13263" y="3907"/>
                  </a:lnTo>
                  <a:lnTo>
                    <a:pt x="13269" y="3911"/>
                  </a:lnTo>
                  <a:lnTo>
                    <a:pt x="13273" y="3918"/>
                  </a:lnTo>
                  <a:lnTo>
                    <a:pt x="13274" y="3927"/>
                  </a:lnTo>
                  <a:close/>
                  <a:moveTo>
                    <a:pt x="13011" y="3927"/>
                  </a:moveTo>
                  <a:lnTo>
                    <a:pt x="13011" y="4038"/>
                  </a:lnTo>
                  <a:lnTo>
                    <a:pt x="13010" y="4047"/>
                  </a:lnTo>
                  <a:lnTo>
                    <a:pt x="13005" y="4053"/>
                  </a:lnTo>
                  <a:lnTo>
                    <a:pt x="12998" y="4057"/>
                  </a:lnTo>
                  <a:lnTo>
                    <a:pt x="12992" y="4058"/>
                  </a:lnTo>
                  <a:lnTo>
                    <a:pt x="12984" y="4057"/>
                  </a:lnTo>
                  <a:lnTo>
                    <a:pt x="12978" y="4053"/>
                  </a:lnTo>
                  <a:lnTo>
                    <a:pt x="12973" y="4047"/>
                  </a:lnTo>
                  <a:lnTo>
                    <a:pt x="12972" y="4038"/>
                  </a:lnTo>
                  <a:lnTo>
                    <a:pt x="12972" y="3927"/>
                  </a:lnTo>
                  <a:lnTo>
                    <a:pt x="12973" y="3918"/>
                  </a:lnTo>
                  <a:lnTo>
                    <a:pt x="12978" y="3911"/>
                  </a:lnTo>
                  <a:lnTo>
                    <a:pt x="12984" y="3907"/>
                  </a:lnTo>
                  <a:lnTo>
                    <a:pt x="12992" y="3906"/>
                  </a:lnTo>
                  <a:lnTo>
                    <a:pt x="12998" y="3907"/>
                  </a:lnTo>
                  <a:lnTo>
                    <a:pt x="13005" y="3911"/>
                  </a:lnTo>
                  <a:lnTo>
                    <a:pt x="13010" y="3918"/>
                  </a:lnTo>
                  <a:lnTo>
                    <a:pt x="13011" y="3927"/>
                  </a:lnTo>
                  <a:close/>
                  <a:moveTo>
                    <a:pt x="12748" y="3927"/>
                  </a:moveTo>
                  <a:lnTo>
                    <a:pt x="12748" y="4038"/>
                  </a:lnTo>
                  <a:lnTo>
                    <a:pt x="12747" y="4047"/>
                  </a:lnTo>
                  <a:lnTo>
                    <a:pt x="12742" y="4053"/>
                  </a:lnTo>
                  <a:lnTo>
                    <a:pt x="12736" y="4057"/>
                  </a:lnTo>
                  <a:lnTo>
                    <a:pt x="12729" y="4058"/>
                  </a:lnTo>
                  <a:lnTo>
                    <a:pt x="12721" y="4057"/>
                  </a:lnTo>
                  <a:lnTo>
                    <a:pt x="12715" y="4053"/>
                  </a:lnTo>
                  <a:lnTo>
                    <a:pt x="12710" y="4047"/>
                  </a:lnTo>
                  <a:lnTo>
                    <a:pt x="12709" y="4038"/>
                  </a:lnTo>
                  <a:lnTo>
                    <a:pt x="12709" y="3927"/>
                  </a:lnTo>
                  <a:lnTo>
                    <a:pt x="12710" y="3918"/>
                  </a:lnTo>
                  <a:lnTo>
                    <a:pt x="12715" y="3911"/>
                  </a:lnTo>
                  <a:lnTo>
                    <a:pt x="12721" y="3907"/>
                  </a:lnTo>
                  <a:lnTo>
                    <a:pt x="12729" y="3906"/>
                  </a:lnTo>
                  <a:lnTo>
                    <a:pt x="12736" y="3907"/>
                  </a:lnTo>
                  <a:lnTo>
                    <a:pt x="12742" y="3911"/>
                  </a:lnTo>
                  <a:lnTo>
                    <a:pt x="12747" y="3918"/>
                  </a:lnTo>
                  <a:lnTo>
                    <a:pt x="12748" y="3927"/>
                  </a:lnTo>
                  <a:close/>
                  <a:moveTo>
                    <a:pt x="13538" y="3681"/>
                  </a:moveTo>
                  <a:lnTo>
                    <a:pt x="13538" y="3792"/>
                  </a:lnTo>
                  <a:lnTo>
                    <a:pt x="13536" y="3801"/>
                  </a:lnTo>
                  <a:lnTo>
                    <a:pt x="13532" y="3808"/>
                  </a:lnTo>
                  <a:lnTo>
                    <a:pt x="13525" y="3811"/>
                  </a:lnTo>
                  <a:lnTo>
                    <a:pt x="13518" y="3813"/>
                  </a:lnTo>
                  <a:lnTo>
                    <a:pt x="13510" y="3811"/>
                  </a:lnTo>
                  <a:lnTo>
                    <a:pt x="13504" y="3808"/>
                  </a:lnTo>
                  <a:lnTo>
                    <a:pt x="13500" y="3801"/>
                  </a:lnTo>
                  <a:lnTo>
                    <a:pt x="13497" y="3792"/>
                  </a:lnTo>
                  <a:lnTo>
                    <a:pt x="13497" y="3681"/>
                  </a:lnTo>
                  <a:lnTo>
                    <a:pt x="13500" y="3672"/>
                  </a:lnTo>
                  <a:lnTo>
                    <a:pt x="13504" y="3666"/>
                  </a:lnTo>
                  <a:lnTo>
                    <a:pt x="13510" y="3662"/>
                  </a:lnTo>
                  <a:lnTo>
                    <a:pt x="13518" y="3661"/>
                  </a:lnTo>
                  <a:lnTo>
                    <a:pt x="13525" y="3662"/>
                  </a:lnTo>
                  <a:lnTo>
                    <a:pt x="13532" y="3666"/>
                  </a:lnTo>
                  <a:lnTo>
                    <a:pt x="13536" y="3672"/>
                  </a:lnTo>
                  <a:lnTo>
                    <a:pt x="13538" y="3681"/>
                  </a:lnTo>
                  <a:close/>
                  <a:moveTo>
                    <a:pt x="13274" y="3681"/>
                  </a:moveTo>
                  <a:lnTo>
                    <a:pt x="13274" y="3792"/>
                  </a:lnTo>
                  <a:lnTo>
                    <a:pt x="13273" y="3801"/>
                  </a:lnTo>
                  <a:lnTo>
                    <a:pt x="13269" y="3808"/>
                  </a:lnTo>
                  <a:lnTo>
                    <a:pt x="13263" y="3811"/>
                  </a:lnTo>
                  <a:lnTo>
                    <a:pt x="13255" y="3813"/>
                  </a:lnTo>
                  <a:lnTo>
                    <a:pt x="13247" y="3811"/>
                  </a:lnTo>
                  <a:lnTo>
                    <a:pt x="13241" y="3808"/>
                  </a:lnTo>
                  <a:lnTo>
                    <a:pt x="13237" y="3801"/>
                  </a:lnTo>
                  <a:lnTo>
                    <a:pt x="13234" y="3792"/>
                  </a:lnTo>
                  <a:lnTo>
                    <a:pt x="13234" y="3681"/>
                  </a:lnTo>
                  <a:lnTo>
                    <a:pt x="13237" y="3672"/>
                  </a:lnTo>
                  <a:lnTo>
                    <a:pt x="13241" y="3666"/>
                  </a:lnTo>
                  <a:lnTo>
                    <a:pt x="13247" y="3662"/>
                  </a:lnTo>
                  <a:lnTo>
                    <a:pt x="13255" y="3661"/>
                  </a:lnTo>
                  <a:lnTo>
                    <a:pt x="13263" y="3662"/>
                  </a:lnTo>
                  <a:lnTo>
                    <a:pt x="13269" y="3666"/>
                  </a:lnTo>
                  <a:lnTo>
                    <a:pt x="13273" y="3672"/>
                  </a:lnTo>
                  <a:lnTo>
                    <a:pt x="13274" y="3681"/>
                  </a:lnTo>
                  <a:close/>
                  <a:moveTo>
                    <a:pt x="13011" y="3681"/>
                  </a:moveTo>
                  <a:lnTo>
                    <a:pt x="13011" y="3792"/>
                  </a:lnTo>
                  <a:lnTo>
                    <a:pt x="13010" y="3801"/>
                  </a:lnTo>
                  <a:lnTo>
                    <a:pt x="13005" y="3808"/>
                  </a:lnTo>
                  <a:lnTo>
                    <a:pt x="12998" y="3811"/>
                  </a:lnTo>
                  <a:lnTo>
                    <a:pt x="12992" y="3813"/>
                  </a:lnTo>
                  <a:lnTo>
                    <a:pt x="12984" y="3811"/>
                  </a:lnTo>
                  <a:lnTo>
                    <a:pt x="12978" y="3808"/>
                  </a:lnTo>
                  <a:lnTo>
                    <a:pt x="12973" y="3801"/>
                  </a:lnTo>
                  <a:lnTo>
                    <a:pt x="12972" y="3792"/>
                  </a:lnTo>
                  <a:lnTo>
                    <a:pt x="12972" y="3681"/>
                  </a:lnTo>
                  <a:lnTo>
                    <a:pt x="12973" y="3672"/>
                  </a:lnTo>
                  <a:lnTo>
                    <a:pt x="12978" y="3666"/>
                  </a:lnTo>
                  <a:lnTo>
                    <a:pt x="12984" y="3662"/>
                  </a:lnTo>
                  <a:lnTo>
                    <a:pt x="12992" y="3661"/>
                  </a:lnTo>
                  <a:lnTo>
                    <a:pt x="12998" y="3662"/>
                  </a:lnTo>
                  <a:lnTo>
                    <a:pt x="13005" y="3666"/>
                  </a:lnTo>
                  <a:lnTo>
                    <a:pt x="13010" y="3672"/>
                  </a:lnTo>
                  <a:lnTo>
                    <a:pt x="13011" y="3681"/>
                  </a:lnTo>
                  <a:close/>
                  <a:moveTo>
                    <a:pt x="12748" y="3681"/>
                  </a:moveTo>
                  <a:lnTo>
                    <a:pt x="12748" y="3792"/>
                  </a:lnTo>
                  <a:lnTo>
                    <a:pt x="12747" y="3801"/>
                  </a:lnTo>
                  <a:lnTo>
                    <a:pt x="12742" y="3808"/>
                  </a:lnTo>
                  <a:lnTo>
                    <a:pt x="12736" y="3811"/>
                  </a:lnTo>
                  <a:lnTo>
                    <a:pt x="12729" y="3813"/>
                  </a:lnTo>
                  <a:lnTo>
                    <a:pt x="12721" y="3811"/>
                  </a:lnTo>
                  <a:lnTo>
                    <a:pt x="12715" y="3808"/>
                  </a:lnTo>
                  <a:lnTo>
                    <a:pt x="12710" y="3801"/>
                  </a:lnTo>
                  <a:lnTo>
                    <a:pt x="12709" y="3792"/>
                  </a:lnTo>
                  <a:lnTo>
                    <a:pt x="12709" y="3681"/>
                  </a:lnTo>
                  <a:lnTo>
                    <a:pt x="12710" y="3672"/>
                  </a:lnTo>
                  <a:lnTo>
                    <a:pt x="12715" y="3666"/>
                  </a:lnTo>
                  <a:lnTo>
                    <a:pt x="12721" y="3662"/>
                  </a:lnTo>
                  <a:lnTo>
                    <a:pt x="12729" y="3661"/>
                  </a:lnTo>
                  <a:lnTo>
                    <a:pt x="12736" y="3662"/>
                  </a:lnTo>
                  <a:lnTo>
                    <a:pt x="12742" y="3666"/>
                  </a:lnTo>
                  <a:lnTo>
                    <a:pt x="12747" y="3672"/>
                  </a:lnTo>
                  <a:lnTo>
                    <a:pt x="12748" y="3681"/>
                  </a:lnTo>
                  <a:close/>
                  <a:moveTo>
                    <a:pt x="13538" y="3436"/>
                  </a:moveTo>
                  <a:lnTo>
                    <a:pt x="13538" y="3547"/>
                  </a:lnTo>
                  <a:lnTo>
                    <a:pt x="13536" y="3556"/>
                  </a:lnTo>
                  <a:lnTo>
                    <a:pt x="13532" y="3562"/>
                  </a:lnTo>
                  <a:lnTo>
                    <a:pt x="13525" y="3566"/>
                  </a:lnTo>
                  <a:lnTo>
                    <a:pt x="13518" y="3567"/>
                  </a:lnTo>
                  <a:lnTo>
                    <a:pt x="13510" y="3566"/>
                  </a:lnTo>
                  <a:lnTo>
                    <a:pt x="13504" y="3562"/>
                  </a:lnTo>
                  <a:lnTo>
                    <a:pt x="13500" y="3556"/>
                  </a:lnTo>
                  <a:lnTo>
                    <a:pt x="13497" y="3547"/>
                  </a:lnTo>
                  <a:lnTo>
                    <a:pt x="13497" y="3436"/>
                  </a:lnTo>
                  <a:lnTo>
                    <a:pt x="13500" y="3427"/>
                  </a:lnTo>
                  <a:lnTo>
                    <a:pt x="13504" y="3420"/>
                  </a:lnTo>
                  <a:lnTo>
                    <a:pt x="13510" y="3416"/>
                  </a:lnTo>
                  <a:lnTo>
                    <a:pt x="13518" y="3415"/>
                  </a:lnTo>
                  <a:lnTo>
                    <a:pt x="13525" y="3416"/>
                  </a:lnTo>
                  <a:lnTo>
                    <a:pt x="13532" y="3420"/>
                  </a:lnTo>
                  <a:lnTo>
                    <a:pt x="13536" y="3427"/>
                  </a:lnTo>
                  <a:lnTo>
                    <a:pt x="13538" y="3436"/>
                  </a:lnTo>
                  <a:close/>
                  <a:moveTo>
                    <a:pt x="13274" y="3436"/>
                  </a:moveTo>
                  <a:lnTo>
                    <a:pt x="13274" y="3547"/>
                  </a:lnTo>
                  <a:lnTo>
                    <a:pt x="13273" y="3556"/>
                  </a:lnTo>
                  <a:lnTo>
                    <a:pt x="13269" y="3562"/>
                  </a:lnTo>
                  <a:lnTo>
                    <a:pt x="13263" y="3566"/>
                  </a:lnTo>
                  <a:lnTo>
                    <a:pt x="13255" y="3567"/>
                  </a:lnTo>
                  <a:lnTo>
                    <a:pt x="13247" y="3566"/>
                  </a:lnTo>
                  <a:lnTo>
                    <a:pt x="13241" y="3562"/>
                  </a:lnTo>
                  <a:lnTo>
                    <a:pt x="13237" y="3556"/>
                  </a:lnTo>
                  <a:lnTo>
                    <a:pt x="13234" y="3547"/>
                  </a:lnTo>
                  <a:lnTo>
                    <a:pt x="13234" y="3436"/>
                  </a:lnTo>
                  <a:lnTo>
                    <a:pt x="13237" y="3427"/>
                  </a:lnTo>
                  <a:lnTo>
                    <a:pt x="13241" y="3420"/>
                  </a:lnTo>
                  <a:lnTo>
                    <a:pt x="13247" y="3416"/>
                  </a:lnTo>
                  <a:lnTo>
                    <a:pt x="13255" y="3415"/>
                  </a:lnTo>
                  <a:lnTo>
                    <a:pt x="13263" y="3416"/>
                  </a:lnTo>
                  <a:lnTo>
                    <a:pt x="13269" y="3420"/>
                  </a:lnTo>
                  <a:lnTo>
                    <a:pt x="13273" y="3427"/>
                  </a:lnTo>
                  <a:lnTo>
                    <a:pt x="13274" y="3436"/>
                  </a:lnTo>
                  <a:close/>
                  <a:moveTo>
                    <a:pt x="13011" y="3436"/>
                  </a:moveTo>
                  <a:lnTo>
                    <a:pt x="13011" y="3547"/>
                  </a:lnTo>
                  <a:lnTo>
                    <a:pt x="13010" y="3556"/>
                  </a:lnTo>
                  <a:lnTo>
                    <a:pt x="13005" y="3562"/>
                  </a:lnTo>
                  <a:lnTo>
                    <a:pt x="12998" y="3566"/>
                  </a:lnTo>
                  <a:lnTo>
                    <a:pt x="12992" y="3567"/>
                  </a:lnTo>
                  <a:lnTo>
                    <a:pt x="12984" y="3566"/>
                  </a:lnTo>
                  <a:lnTo>
                    <a:pt x="12978" y="3562"/>
                  </a:lnTo>
                  <a:lnTo>
                    <a:pt x="12973" y="3556"/>
                  </a:lnTo>
                  <a:lnTo>
                    <a:pt x="12972" y="3547"/>
                  </a:lnTo>
                  <a:lnTo>
                    <a:pt x="12972" y="3436"/>
                  </a:lnTo>
                  <a:lnTo>
                    <a:pt x="12973" y="3427"/>
                  </a:lnTo>
                  <a:lnTo>
                    <a:pt x="12978" y="3420"/>
                  </a:lnTo>
                  <a:lnTo>
                    <a:pt x="12984" y="3416"/>
                  </a:lnTo>
                  <a:lnTo>
                    <a:pt x="12992" y="3415"/>
                  </a:lnTo>
                  <a:lnTo>
                    <a:pt x="12998" y="3416"/>
                  </a:lnTo>
                  <a:lnTo>
                    <a:pt x="13005" y="3420"/>
                  </a:lnTo>
                  <a:lnTo>
                    <a:pt x="13010" y="3427"/>
                  </a:lnTo>
                  <a:lnTo>
                    <a:pt x="13011" y="3436"/>
                  </a:lnTo>
                  <a:close/>
                  <a:moveTo>
                    <a:pt x="12748" y="3436"/>
                  </a:moveTo>
                  <a:lnTo>
                    <a:pt x="12748" y="3547"/>
                  </a:lnTo>
                  <a:lnTo>
                    <a:pt x="12747" y="3556"/>
                  </a:lnTo>
                  <a:lnTo>
                    <a:pt x="12742" y="3562"/>
                  </a:lnTo>
                  <a:lnTo>
                    <a:pt x="12736" y="3566"/>
                  </a:lnTo>
                  <a:lnTo>
                    <a:pt x="12729" y="3567"/>
                  </a:lnTo>
                  <a:lnTo>
                    <a:pt x="12721" y="3566"/>
                  </a:lnTo>
                  <a:lnTo>
                    <a:pt x="12715" y="3562"/>
                  </a:lnTo>
                  <a:lnTo>
                    <a:pt x="12710" y="3556"/>
                  </a:lnTo>
                  <a:lnTo>
                    <a:pt x="12709" y="3547"/>
                  </a:lnTo>
                  <a:lnTo>
                    <a:pt x="12709" y="3436"/>
                  </a:lnTo>
                  <a:lnTo>
                    <a:pt x="12710" y="3427"/>
                  </a:lnTo>
                  <a:lnTo>
                    <a:pt x="12715" y="3420"/>
                  </a:lnTo>
                  <a:lnTo>
                    <a:pt x="12721" y="3416"/>
                  </a:lnTo>
                  <a:lnTo>
                    <a:pt x="12729" y="3415"/>
                  </a:lnTo>
                  <a:lnTo>
                    <a:pt x="12736" y="3416"/>
                  </a:lnTo>
                  <a:lnTo>
                    <a:pt x="12742" y="3420"/>
                  </a:lnTo>
                  <a:lnTo>
                    <a:pt x="12747" y="3427"/>
                  </a:lnTo>
                  <a:lnTo>
                    <a:pt x="12748" y="3436"/>
                  </a:lnTo>
                  <a:close/>
                  <a:moveTo>
                    <a:pt x="12486" y="3436"/>
                  </a:moveTo>
                  <a:lnTo>
                    <a:pt x="12486" y="3547"/>
                  </a:lnTo>
                  <a:lnTo>
                    <a:pt x="12484" y="3556"/>
                  </a:lnTo>
                  <a:lnTo>
                    <a:pt x="12479" y="3562"/>
                  </a:lnTo>
                  <a:lnTo>
                    <a:pt x="12473" y="3566"/>
                  </a:lnTo>
                  <a:lnTo>
                    <a:pt x="12465" y="3567"/>
                  </a:lnTo>
                  <a:lnTo>
                    <a:pt x="12459" y="3566"/>
                  </a:lnTo>
                  <a:lnTo>
                    <a:pt x="12452" y="3562"/>
                  </a:lnTo>
                  <a:lnTo>
                    <a:pt x="12447" y="3556"/>
                  </a:lnTo>
                  <a:lnTo>
                    <a:pt x="12446" y="3547"/>
                  </a:lnTo>
                  <a:lnTo>
                    <a:pt x="12446" y="3436"/>
                  </a:lnTo>
                  <a:lnTo>
                    <a:pt x="12447" y="3427"/>
                  </a:lnTo>
                  <a:lnTo>
                    <a:pt x="12452" y="3420"/>
                  </a:lnTo>
                  <a:lnTo>
                    <a:pt x="12459" y="3416"/>
                  </a:lnTo>
                  <a:lnTo>
                    <a:pt x="12465" y="3415"/>
                  </a:lnTo>
                  <a:lnTo>
                    <a:pt x="12473" y="3416"/>
                  </a:lnTo>
                  <a:lnTo>
                    <a:pt x="12479" y="3420"/>
                  </a:lnTo>
                  <a:lnTo>
                    <a:pt x="12484" y="3427"/>
                  </a:lnTo>
                  <a:lnTo>
                    <a:pt x="12486" y="3436"/>
                  </a:lnTo>
                  <a:close/>
                  <a:moveTo>
                    <a:pt x="10933" y="2423"/>
                  </a:moveTo>
                  <a:lnTo>
                    <a:pt x="10933" y="2535"/>
                  </a:lnTo>
                  <a:lnTo>
                    <a:pt x="10931" y="2543"/>
                  </a:lnTo>
                  <a:lnTo>
                    <a:pt x="10926" y="2549"/>
                  </a:lnTo>
                  <a:lnTo>
                    <a:pt x="10920" y="2553"/>
                  </a:lnTo>
                  <a:lnTo>
                    <a:pt x="10912" y="2555"/>
                  </a:lnTo>
                  <a:lnTo>
                    <a:pt x="10906" y="2553"/>
                  </a:lnTo>
                  <a:lnTo>
                    <a:pt x="10899" y="2549"/>
                  </a:lnTo>
                  <a:lnTo>
                    <a:pt x="10894" y="2543"/>
                  </a:lnTo>
                  <a:lnTo>
                    <a:pt x="10893" y="2535"/>
                  </a:lnTo>
                  <a:lnTo>
                    <a:pt x="10893" y="2423"/>
                  </a:lnTo>
                  <a:lnTo>
                    <a:pt x="10894" y="2414"/>
                  </a:lnTo>
                  <a:lnTo>
                    <a:pt x="10899" y="2407"/>
                  </a:lnTo>
                  <a:lnTo>
                    <a:pt x="10906" y="2404"/>
                  </a:lnTo>
                  <a:lnTo>
                    <a:pt x="10912" y="2402"/>
                  </a:lnTo>
                  <a:lnTo>
                    <a:pt x="10920" y="2404"/>
                  </a:lnTo>
                  <a:lnTo>
                    <a:pt x="10926" y="2407"/>
                  </a:lnTo>
                  <a:lnTo>
                    <a:pt x="10931" y="2414"/>
                  </a:lnTo>
                  <a:lnTo>
                    <a:pt x="10933" y="2423"/>
                  </a:lnTo>
                  <a:close/>
                  <a:moveTo>
                    <a:pt x="10670" y="2423"/>
                  </a:moveTo>
                  <a:lnTo>
                    <a:pt x="10670" y="2535"/>
                  </a:lnTo>
                  <a:lnTo>
                    <a:pt x="10669" y="2543"/>
                  </a:lnTo>
                  <a:lnTo>
                    <a:pt x="10663" y="2549"/>
                  </a:lnTo>
                  <a:lnTo>
                    <a:pt x="10657" y="2553"/>
                  </a:lnTo>
                  <a:lnTo>
                    <a:pt x="10649" y="2555"/>
                  </a:lnTo>
                  <a:lnTo>
                    <a:pt x="10643" y="2553"/>
                  </a:lnTo>
                  <a:lnTo>
                    <a:pt x="10637" y="2549"/>
                  </a:lnTo>
                  <a:lnTo>
                    <a:pt x="10631" y="2543"/>
                  </a:lnTo>
                  <a:lnTo>
                    <a:pt x="10630" y="2535"/>
                  </a:lnTo>
                  <a:lnTo>
                    <a:pt x="10630" y="2423"/>
                  </a:lnTo>
                  <a:lnTo>
                    <a:pt x="10631" y="2414"/>
                  </a:lnTo>
                  <a:lnTo>
                    <a:pt x="10637" y="2407"/>
                  </a:lnTo>
                  <a:lnTo>
                    <a:pt x="10643" y="2404"/>
                  </a:lnTo>
                  <a:lnTo>
                    <a:pt x="10649" y="2402"/>
                  </a:lnTo>
                  <a:lnTo>
                    <a:pt x="10657" y="2404"/>
                  </a:lnTo>
                  <a:lnTo>
                    <a:pt x="10663" y="2407"/>
                  </a:lnTo>
                  <a:lnTo>
                    <a:pt x="10669" y="2414"/>
                  </a:lnTo>
                  <a:lnTo>
                    <a:pt x="10670" y="2423"/>
                  </a:lnTo>
                  <a:close/>
                  <a:moveTo>
                    <a:pt x="10407" y="2423"/>
                  </a:moveTo>
                  <a:lnTo>
                    <a:pt x="10407" y="2535"/>
                  </a:lnTo>
                  <a:lnTo>
                    <a:pt x="10404" y="2543"/>
                  </a:lnTo>
                  <a:lnTo>
                    <a:pt x="10401" y="2549"/>
                  </a:lnTo>
                  <a:lnTo>
                    <a:pt x="10394" y="2553"/>
                  </a:lnTo>
                  <a:lnTo>
                    <a:pt x="10386" y="2555"/>
                  </a:lnTo>
                  <a:lnTo>
                    <a:pt x="10379" y="2553"/>
                  </a:lnTo>
                  <a:lnTo>
                    <a:pt x="10372" y="2549"/>
                  </a:lnTo>
                  <a:lnTo>
                    <a:pt x="10369" y="2543"/>
                  </a:lnTo>
                  <a:lnTo>
                    <a:pt x="10366" y="2535"/>
                  </a:lnTo>
                  <a:lnTo>
                    <a:pt x="10366" y="2423"/>
                  </a:lnTo>
                  <a:lnTo>
                    <a:pt x="10369" y="2414"/>
                  </a:lnTo>
                  <a:lnTo>
                    <a:pt x="10372" y="2407"/>
                  </a:lnTo>
                  <a:lnTo>
                    <a:pt x="10379" y="2404"/>
                  </a:lnTo>
                  <a:lnTo>
                    <a:pt x="10386" y="2402"/>
                  </a:lnTo>
                  <a:lnTo>
                    <a:pt x="10394" y="2404"/>
                  </a:lnTo>
                  <a:lnTo>
                    <a:pt x="10401" y="2407"/>
                  </a:lnTo>
                  <a:lnTo>
                    <a:pt x="10404" y="2414"/>
                  </a:lnTo>
                  <a:lnTo>
                    <a:pt x="10407" y="2423"/>
                  </a:lnTo>
                  <a:close/>
                  <a:moveTo>
                    <a:pt x="10143" y="2423"/>
                  </a:moveTo>
                  <a:lnTo>
                    <a:pt x="10143" y="2535"/>
                  </a:lnTo>
                  <a:lnTo>
                    <a:pt x="10142" y="2543"/>
                  </a:lnTo>
                  <a:lnTo>
                    <a:pt x="10138" y="2549"/>
                  </a:lnTo>
                  <a:lnTo>
                    <a:pt x="10131" y="2553"/>
                  </a:lnTo>
                  <a:lnTo>
                    <a:pt x="10124" y="2555"/>
                  </a:lnTo>
                  <a:lnTo>
                    <a:pt x="10116" y="2553"/>
                  </a:lnTo>
                  <a:lnTo>
                    <a:pt x="10109" y="2549"/>
                  </a:lnTo>
                  <a:lnTo>
                    <a:pt x="10106" y="2543"/>
                  </a:lnTo>
                  <a:lnTo>
                    <a:pt x="10103" y="2535"/>
                  </a:lnTo>
                  <a:lnTo>
                    <a:pt x="10103" y="2423"/>
                  </a:lnTo>
                  <a:lnTo>
                    <a:pt x="10106" y="2414"/>
                  </a:lnTo>
                  <a:lnTo>
                    <a:pt x="10109" y="2407"/>
                  </a:lnTo>
                  <a:lnTo>
                    <a:pt x="10116" y="2404"/>
                  </a:lnTo>
                  <a:lnTo>
                    <a:pt x="10124" y="2402"/>
                  </a:lnTo>
                  <a:lnTo>
                    <a:pt x="10131" y="2404"/>
                  </a:lnTo>
                  <a:lnTo>
                    <a:pt x="10138" y="2407"/>
                  </a:lnTo>
                  <a:lnTo>
                    <a:pt x="10142" y="2414"/>
                  </a:lnTo>
                  <a:lnTo>
                    <a:pt x="10143" y="2423"/>
                  </a:lnTo>
                  <a:close/>
                  <a:moveTo>
                    <a:pt x="9880" y="2423"/>
                  </a:moveTo>
                  <a:lnTo>
                    <a:pt x="9880" y="2535"/>
                  </a:lnTo>
                  <a:lnTo>
                    <a:pt x="9879" y="2543"/>
                  </a:lnTo>
                  <a:lnTo>
                    <a:pt x="9874" y="2549"/>
                  </a:lnTo>
                  <a:lnTo>
                    <a:pt x="9867" y="2553"/>
                  </a:lnTo>
                  <a:lnTo>
                    <a:pt x="9861" y="2555"/>
                  </a:lnTo>
                  <a:lnTo>
                    <a:pt x="9853" y="2553"/>
                  </a:lnTo>
                  <a:lnTo>
                    <a:pt x="9847" y="2549"/>
                  </a:lnTo>
                  <a:lnTo>
                    <a:pt x="9841" y="2543"/>
                  </a:lnTo>
                  <a:lnTo>
                    <a:pt x="9840" y="2535"/>
                  </a:lnTo>
                  <a:lnTo>
                    <a:pt x="9840" y="2423"/>
                  </a:lnTo>
                  <a:lnTo>
                    <a:pt x="9841" y="2414"/>
                  </a:lnTo>
                  <a:lnTo>
                    <a:pt x="9847" y="2407"/>
                  </a:lnTo>
                  <a:lnTo>
                    <a:pt x="9853" y="2404"/>
                  </a:lnTo>
                  <a:lnTo>
                    <a:pt x="9861" y="2402"/>
                  </a:lnTo>
                  <a:lnTo>
                    <a:pt x="9867" y="2404"/>
                  </a:lnTo>
                  <a:lnTo>
                    <a:pt x="9874" y="2407"/>
                  </a:lnTo>
                  <a:lnTo>
                    <a:pt x="9879" y="2414"/>
                  </a:lnTo>
                  <a:lnTo>
                    <a:pt x="9880" y="2423"/>
                  </a:lnTo>
                  <a:close/>
                  <a:moveTo>
                    <a:pt x="9617" y="2423"/>
                  </a:moveTo>
                  <a:lnTo>
                    <a:pt x="9617" y="2535"/>
                  </a:lnTo>
                  <a:lnTo>
                    <a:pt x="9616" y="2543"/>
                  </a:lnTo>
                  <a:lnTo>
                    <a:pt x="9611" y="2549"/>
                  </a:lnTo>
                  <a:lnTo>
                    <a:pt x="9604" y="2553"/>
                  </a:lnTo>
                  <a:lnTo>
                    <a:pt x="9598" y="2555"/>
                  </a:lnTo>
                  <a:lnTo>
                    <a:pt x="9590" y="2553"/>
                  </a:lnTo>
                  <a:lnTo>
                    <a:pt x="9584" y="2549"/>
                  </a:lnTo>
                  <a:lnTo>
                    <a:pt x="9579" y="2543"/>
                  </a:lnTo>
                  <a:lnTo>
                    <a:pt x="9577" y="2535"/>
                  </a:lnTo>
                  <a:lnTo>
                    <a:pt x="9577" y="2423"/>
                  </a:lnTo>
                  <a:lnTo>
                    <a:pt x="9579" y="2414"/>
                  </a:lnTo>
                  <a:lnTo>
                    <a:pt x="9584" y="2407"/>
                  </a:lnTo>
                  <a:lnTo>
                    <a:pt x="9590" y="2404"/>
                  </a:lnTo>
                  <a:lnTo>
                    <a:pt x="9598" y="2402"/>
                  </a:lnTo>
                  <a:lnTo>
                    <a:pt x="9604" y="2404"/>
                  </a:lnTo>
                  <a:lnTo>
                    <a:pt x="9611" y="2407"/>
                  </a:lnTo>
                  <a:lnTo>
                    <a:pt x="9616" y="2414"/>
                  </a:lnTo>
                  <a:lnTo>
                    <a:pt x="9617" y="2423"/>
                  </a:lnTo>
                  <a:close/>
                  <a:moveTo>
                    <a:pt x="16589" y="796"/>
                  </a:moveTo>
                  <a:lnTo>
                    <a:pt x="16589" y="847"/>
                  </a:lnTo>
                  <a:lnTo>
                    <a:pt x="16588" y="859"/>
                  </a:lnTo>
                  <a:lnTo>
                    <a:pt x="16584" y="869"/>
                  </a:lnTo>
                  <a:lnTo>
                    <a:pt x="16576" y="878"/>
                  </a:lnTo>
                  <a:lnTo>
                    <a:pt x="16566" y="883"/>
                  </a:lnTo>
                  <a:lnTo>
                    <a:pt x="16556" y="890"/>
                  </a:lnTo>
                  <a:lnTo>
                    <a:pt x="16547" y="896"/>
                  </a:lnTo>
                  <a:lnTo>
                    <a:pt x="16534" y="913"/>
                  </a:lnTo>
                  <a:lnTo>
                    <a:pt x="16529" y="923"/>
                  </a:lnTo>
                  <a:lnTo>
                    <a:pt x="16526" y="934"/>
                  </a:lnTo>
                  <a:lnTo>
                    <a:pt x="16526" y="956"/>
                  </a:lnTo>
                  <a:lnTo>
                    <a:pt x="16530" y="968"/>
                  </a:lnTo>
                  <a:lnTo>
                    <a:pt x="16535" y="978"/>
                  </a:lnTo>
                  <a:lnTo>
                    <a:pt x="16541" y="987"/>
                  </a:lnTo>
                  <a:lnTo>
                    <a:pt x="16549" y="996"/>
                  </a:lnTo>
                  <a:lnTo>
                    <a:pt x="16568" y="1006"/>
                  </a:lnTo>
                  <a:lnTo>
                    <a:pt x="16591" y="1011"/>
                  </a:lnTo>
                  <a:lnTo>
                    <a:pt x="16604" y="1009"/>
                  </a:lnTo>
                  <a:lnTo>
                    <a:pt x="16617" y="1005"/>
                  </a:lnTo>
                  <a:lnTo>
                    <a:pt x="16629" y="1000"/>
                  </a:lnTo>
                  <a:lnTo>
                    <a:pt x="16638" y="991"/>
                  </a:lnTo>
                  <a:lnTo>
                    <a:pt x="16647" y="982"/>
                  </a:lnTo>
                  <a:lnTo>
                    <a:pt x="16652" y="970"/>
                  </a:lnTo>
                  <a:lnTo>
                    <a:pt x="16656" y="957"/>
                  </a:lnTo>
                  <a:lnTo>
                    <a:pt x="16657" y="945"/>
                  </a:lnTo>
                  <a:lnTo>
                    <a:pt x="16659" y="936"/>
                  </a:lnTo>
                  <a:lnTo>
                    <a:pt x="16663" y="929"/>
                  </a:lnTo>
                  <a:lnTo>
                    <a:pt x="16670" y="925"/>
                  </a:lnTo>
                  <a:lnTo>
                    <a:pt x="16677" y="924"/>
                  </a:lnTo>
                  <a:lnTo>
                    <a:pt x="16685" y="925"/>
                  </a:lnTo>
                  <a:lnTo>
                    <a:pt x="16691" y="929"/>
                  </a:lnTo>
                  <a:lnTo>
                    <a:pt x="16695" y="936"/>
                  </a:lnTo>
                  <a:lnTo>
                    <a:pt x="16698" y="945"/>
                  </a:lnTo>
                  <a:lnTo>
                    <a:pt x="16695" y="966"/>
                  </a:lnTo>
                  <a:lnTo>
                    <a:pt x="16689" y="986"/>
                  </a:lnTo>
                  <a:lnTo>
                    <a:pt x="16679" y="1003"/>
                  </a:lnTo>
                  <a:lnTo>
                    <a:pt x="16666" y="1020"/>
                  </a:lnTo>
                  <a:lnTo>
                    <a:pt x="16650" y="1033"/>
                  </a:lnTo>
                  <a:lnTo>
                    <a:pt x="16632" y="1042"/>
                  </a:lnTo>
                  <a:lnTo>
                    <a:pt x="16612" y="1048"/>
                  </a:lnTo>
                  <a:lnTo>
                    <a:pt x="16591" y="1051"/>
                  </a:lnTo>
                  <a:lnTo>
                    <a:pt x="16572" y="1048"/>
                  </a:lnTo>
                  <a:lnTo>
                    <a:pt x="16556" y="1044"/>
                  </a:lnTo>
                  <a:lnTo>
                    <a:pt x="16539" y="1037"/>
                  </a:lnTo>
                  <a:lnTo>
                    <a:pt x="16523" y="1025"/>
                  </a:lnTo>
                  <a:lnTo>
                    <a:pt x="16511" y="1014"/>
                  </a:lnTo>
                  <a:lnTo>
                    <a:pt x="16500" y="998"/>
                  </a:lnTo>
                  <a:lnTo>
                    <a:pt x="16495" y="991"/>
                  </a:lnTo>
                  <a:lnTo>
                    <a:pt x="16491" y="982"/>
                  </a:lnTo>
                  <a:lnTo>
                    <a:pt x="16488" y="964"/>
                  </a:lnTo>
                  <a:lnTo>
                    <a:pt x="16485" y="945"/>
                  </a:lnTo>
                  <a:lnTo>
                    <a:pt x="16486" y="928"/>
                  </a:lnTo>
                  <a:lnTo>
                    <a:pt x="16490" y="910"/>
                  </a:lnTo>
                  <a:lnTo>
                    <a:pt x="16498" y="895"/>
                  </a:lnTo>
                  <a:lnTo>
                    <a:pt x="16507" y="879"/>
                  </a:lnTo>
                  <a:lnTo>
                    <a:pt x="16518" y="867"/>
                  </a:lnTo>
                  <a:lnTo>
                    <a:pt x="16532" y="856"/>
                  </a:lnTo>
                  <a:lnTo>
                    <a:pt x="16549" y="847"/>
                  </a:lnTo>
                  <a:lnTo>
                    <a:pt x="16549" y="796"/>
                  </a:lnTo>
                  <a:lnTo>
                    <a:pt x="16550" y="787"/>
                  </a:lnTo>
                  <a:lnTo>
                    <a:pt x="16556" y="782"/>
                  </a:lnTo>
                  <a:lnTo>
                    <a:pt x="16562" y="778"/>
                  </a:lnTo>
                  <a:lnTo>
                    <a:pt x="16568" y="777"/>
                  </a:lnTo>
                  <a:lnTo>
                    <a:pt x="16576" y="778"/>
                  </a:lnTo>
                  <a:lnTo>
                    <a:pt x="16582" y="782"/>
                  </a:lnTo>
                  <a:lnTo>
                    <a:pt x="16588" y="787"/>
                  </a:lnTo>
                  <a:lnTo>
                    <a:pt x="16589" y="796"/>
                  </a:lnTo>
                  <a:close/>
                  <a:moveTo>
                    <a:pt x="17183" y="112"/>
                  </a:moveTo>
                  <a:lnTo>
                    <a:pt x="17100" y="225"/>
                  </a:lnTo>
                  <a:lnTo>
                    <a:pt x="17100" y="309"/>
                  </a:lnTo>
                  <a:lnTo>
                    <a:pt x="17183" y="309"/>
                  </a:lnTo>
                  <a:lnTo>
                    <a:pt x="17183" y="112"/>
                  </a:lnTo>
                  <a:close/>
                  <a:moveTo>
                    <a:pt x="17059" y="309"/>
                  </a:moveTo>
                  <a:lnTo>
                    <a:pt x="17059" y="218"/>
                  </a:lnTo>
                  <a:lnTo>
                    <a:pt x="17063" y="207"/>
                  </a:lnTo>
                  <a:lnTo>
                    <a:pt x="17175" y="55"/>
                  </a:lnTo>
                  <a:lnTo>
                    <a:pt x="16382" y="309"/>
                  </a:lnTo>
                  <a:lnTo>
                    <a:pt x="16906" y="309"/>
                  </a:lnTo>
                  <a:lnTo>
                    <a:pt x="17015" y="309"/>
                  </a:lnTo>
                  <a:lnTo>
                    <a:pt x="17059" y="309"/>
                  </a:lnTo>
                  <a:close/>
                  <a:moveTo>
                    <a:pt x="17222" y="309"/>
                  </a:moveTo>
                  <a:lnTo>
                    <a:pt x="17388" y="309"/>
                  </a:lnTo>
                  <a:lnTo>
                    <a:pt x="17222" y="80"/>
                  </a:lnTo>
                  <a:lnTo>
                    <a:pt x="17222" y="309"/>
                  </a:lnTo>
                  <a:close/>
                  <a:moveTo>
                    <a:pt x="17183" y="481"/>
                  </a:moveTo>
                  <a:lnTo>
                    <a:pt x="17015" y="481"/>
                  </a:lnTo>
                  <a:lnTo>
                    <a:pt x="17007" y="478"/>
                  </a:lnTo>
                  <a:lnTo>
                    <a:pt x="17000" y="474"/>
                  </a:lnTo>
                  <a:lnTo>
                    <a:pt x="16995" y="468"/>
                  </a:lnTo>
                  <a:lnTo>
                    <a:pt x="16994" y="460"/>
                  </a:lnTo>
                  <a:lnTo>
                    <a:pt x="16994" y="349"/>
                  </a:lnTo>
                  <a:lnTo>
                    <a:pt x="16926" y="349"/>
                  </a:lnTo>
                  <a:lnTo>
                    <a:pt x="16926" y="552"/>
                  </a:lnTo>
                  <a:lnTo>
                    <a:pt x="17067" y="552"/>
                  </a:lnTo>
                  <a:lnTo>
                    <a:pt x="17183" y="552"/>
                  </a:lnTo>
                  <a:lnTo>
                    <a:pt x="17183" y="481"/>
                  </a:lnTo>
                  <a:close/>
                  <a:moveTo>
                    <a:pt x="17222" y="349"/>
                  </a:moveTo>
                  <a:lnTo>
                    <a:pt x="17222" y="460"/>
                  </a:lnTo>
                  <a:lnTo>
                    <a:pt x="17222" y="573"/>
                  </a:lnTo>
                  <a:lnTo>
                    <a:pt x="17222" y="1413"/>
                  </a:lnTo>
                  <a:lnTo>
                    <a:pt x="17222" y="2253"/>
                  </a:lnTo>
                  <a:lnTo>
                    <a:pt x="17220" y="2262"/>
                  </a:lnTo>
                  <a:lnTo>
                    <a:pt x="17216" y="2268"/>
                  </a:lnTo>
                  <a:lnTo>
                    <a:pt x="17209" y="2272"/>
                  </a:lnTo>
                  <a:lnTo>
                    <a:pt x="17202" y="2273"/>
                  </a:lnTo>
                  <a:lnTo>
                    <a:pt x="17194" y="2272"/>
                  </a:lnTo>
                  <a:lnTo>
                    <a:pt x="17188" y="2268"/>
                  </a:lnTo>
                  <a:lnTo>
                    <a:pt x="17184" y="2262"/>
                  </a:lnTo>
                  <a:lnTo>
                    <a:pt x="17183" y="2253"/>
                  </a:lnTo>
                  <a:lnTo>
                    <a:pt x="17183" y="1422"/>
                  </a:lnTo>
                  <a:lnTo>
                    <a:pt x="17183" y="592"/>
                  </a:lnTo>
                  <a:lnTo>
                    <a:pt x="17088" y="592"/>
                  </a:lnTo>
                  <a:lnTo>
                    <a:pt x="17088" y="1422"/>
                  </a:lnTo>
                  <a:lnTo>
                    <a:pt x="17088" y="2253"/>
                  </a:lnTo>
                  <a:lnTo>
                    <a:pt x="17085" y="2262"/>
                  </a:lnTo>
                  <a:lnTo>
                    <a:pt x="17081" y="2268"/>
                  </a:lnTo>
                  <a:lnTo>
                    <a:pt x="17075" y="2272"/>
                  </a:lnTo>
                  <a:lnTo>
                    <a:pt x="17067" y="2273"/>
                  </a:lnTo>
                  <a:lnTo>
                    <a:pt x="17059" y="2272"/>
                  </a:lnTo>
                  <a:lnTo>
                    <a:pt x="17053" y="2268"/>
                  </a:lnTo>
                  <a:lnTo>
                    <a:pt x="17049" y="2262"/>
                  </a:lnTo>
                  <a:lnTo>
                    <a:pt x="17047" y="2253"/>
                  </a:lnTo>
                  <a:lnTo>
                    <a:pt x="17047" y="1422"/>
                  </a:lnTo>
                  <a:lnTo>
                    <a:pt x="17047" y="592"/>
                  </a:lnTo>
                  <a:lnTo>
                    <a:pt x="16906" y="592"/>
                  </a:lnTo>
                  <a:lnTo>
                    <a:pt x="16898" y="590"/>
                  </a:lnTo>
                  <a:lnTo>
                    <a:pt x="16891" y="587"/>
                  </a:lnTo>
                  <a:lnTo>
                    <a:pt x="16888" y="580"/>
                  </a:lnTo>
                  <a:lnTo>
                    <a:pt x="16886" y="573"/>
                  </a:lnTo>
                  <a:lnTo>
                    <a:pt x="16886" y="349"/>
                  </a:lnTo>
                  <a:lnTo>
                    <a:pt x="16584" y="349"/>
                  </a:lnTo>
                  <a:lnTo>
                    <a:pt x="16584" y="740"/>
                  </a:lnTo>
                  <a:lnTo>
                    <a:pt x="16581" y="749"/>
                  </a:lnTo>
                  <a:lnTo>
                    <a:pt x="16577" y="755"/>
                  </a:lnTo>
                  <a:lnTo>
                    <a:pt x="16571" y="759"/>
                  </a:lnTo>
                  <a:lnTo>
                    <a:pt x="16563" y="761"/>
                  </a:lnTo>
                  <a:lnTo>
                    <a:pt x="16556" y="759"/>
                  </a:lnTo>
                  <a:lnTo>
                    <a:pt x="16549" y="755"/>
                  </a:lnTo>
                  <a:lnTo>
                    <a:pt x="16545" y="749"/>
                  </a:lnTo>
                  <a:lnTo>
                    <a:pt x="16544" y="740"/>
                  </a:lnTo>
                  <a:lnTo>
                    <a:pt x="16544" y="349"/>
                  </a:lnTo>
                  <a:lnTo>
                    <a:pt x="16255" y="349"/>
                  </a:lnTo>
                  <a:lnTo>
                    <a:pt x="16246" y="348"/>
                  </a:lnTo>
                  <a:lnTo>
                    <a:pt x="16239" y="344"/>
                  </a:lnTo>
                  <a:lnTo>
                    <a:pt x="16235" y="339"/>
                  </a:lnTo>
                  <a:lnTo>
                    <a:pt x="16232" y="332"/>
                  </a:lnTo>
                  <a:lnTo>
                    <a:pt x="16232" y="326"/>
                  </a:lnTo>
                  <a:lnTo>
                    <a:pt x="16235" y="319"/>
                  </a:lnTo>
                  <a:lnTo>
                    <a:pt x="16241" y="314"/>
                  </a:lnTo>
                  <a:lnTo>
                    <a:pt x="16249" y="310"/>
                  </a:lnTo>
                  <a:lnTo>
                    <a:pt x="17184" y="9"/>
                  </a:lnTo>
                  <a:lnTo>
                    <a:pt x="17188" y="5"/>
                  </a:lnTo>
                  <a:lnTo>
                    <a:pt x="17192" y="2"/>
                  </a:lnTo>
                  <a:lnTo>
                    <a:pt x="17203" y="0"/>
                  </a:lnTo>
                  <a:lnTo>
                    <a:pt x="17213" y="2"/>
                  </a:lnTo>
                  <a:lnTo>
                    <a:pt x="17220" y="10"/>
                  </a:lnTo>
                  <a:lnTo>
                    <a:pt x="17443" y="317"/>
                  </a:lnTo>
                  <a:lnTo>
                    <a:pt x="17447" y="323"/>
                  </a:lnTo>
                  <a:lnTo>
                    <a:pt x="17449" y="328"/>
                  </a:lnTo>
                  <a:lnTo>
                    <a:pt x="17447" y="339"/>
                  </a:lnTo>
                  <a:lnTo>
                    <a:pt x="17440" y="346"/>
                  </a:lnTo>
                  <a:lnTo>
                    <a:pt x="17427" y="349"/>
                  </a:lnTo>
                  <a:lnTo>
                    <a:pt x="17222" y="349"/>
                  </a:lnTo>
                  <a:close/>
                  <a:moveTo>
                    <a:pt x="17183" y="349"/>
                  </a:moveTo>
                  <a:lnTo>
                    <a:pt x="17034" y="349"/>
                  </a:lnTo>
                  <a:lnTo>
                    <a:pt x="17034" y="440"/>
                  </a:lnTo>
                  <a:lnTo>
                    <a:pt x="17183" y="440"/>
                  </a:lnTo>
                  <a:lnTo>
                    <a:pt x="17183" y="349"/>
                  </a:lnTo>
                  <a:close/>
                  <a:moveTo>
                    <a:pt x="15662" y="1363"/>
                  </a:moveTo>
                  <a:lnTo>
                    <a:pt x="15676" y="1370"/>
                  </a:lnTo>
                  <a:lnTo>
                    <a:pt x="15687" y="1379"/>
                  </a:lnTo>
                  <a:lnTo>
                    <a:pt x="15696" y="1391"/>
                  </a:lnTo>
                  <a:lnTo>
                    <a:pt x="15704" y="1404"/>
                  </a:lnTo>
                  <a:lnTo>
                    <a:pt x="15709" y="1417"/>
                  </a:lnTo>
                  <a:lnTo>
                    <a:pt x="15713" y="1431"/>
                  </a:lnTo>
                  <a:lnTo>
                    <a:pt x="15713" y="1461"/>
                  </a:lnTo>
                  <a:lnTo>
                    <a:pt x="15709" y="1477"/>
                  </a:lnTo>
                  <a:lnTo>
                    <a:pt x="15702" y="1491"/>
                  </a:lnTo>
                  <a:lnTo>
                    <a:pt x="15693" y="1503"/>
                  </a:lnTo>
                  <a:lnTo>
                    <a:pt x="15681" y="1515"/>
                  </a:lnTo>
                  <a:lnTo>
                    <a:pt x="15668" y="1524"/>
                  </a:lnTo>
                  <a:lnTo>
                    <a:pt x="15654" y="1530"/>
                  </a:lnTo>
                  <a:lnTo>
                    <a:pt x="15640" y="1534"/>
                  </a:lnTo>
                  <a:lnTo>
                    <a:pt x="15623" y="1535"/>
                  </a:lnTo>
                  <a:lnTo>
                    <a:pt x="15605" y="1534"/>
                  </a:lnTo>
                  <a:lnTo>
                    <a:pt x="15589" y="1529"/>
                  </a:lnTo>
                  <a:lnTo>
                    <a:pt x="15573" y="1520"/>
                  </a:lnTo>
                  <a:lnTo>
                    <a:pt x="15559" y="1509"/>
                  </a:lnTo>
                  <a:lnTo>
                    <a:pt x="15549" y="1496"/>
                  </a:lnTo>
                  <a:lnTo>
                    <a:pt x="15540" y="1480"/>
                  </a:lnTo>
                  <a:lnTo>
                    <a:pt x="15535" y="1464"/>
                  </a:lnTo>
                  <a:lnTo>
                    <a:pt x="15532" y="1445"/>
                  </a:lnTo>
                  <a:lnTo>
                    <a:pt x="15535" y="1437"/>
                  </a:lnTo>
                  <a:lnTo>
                    <a:pt x="15539" y="1431"/>
                  </a:lnTo>
                  <a:lnTo>
                    <a:pt x="15545" y="1427"/>
                  </a:lnTo>
                  <a:lnTo>
                    <a:pt x="15553" y="1425"/>
                  </a:lnTo>
                  <a:lnTo>
                    <a:pt x="15560" y="1427"/>
                  </a:lnTo>
                  <a:lnTo>
                    <a:pt x="15567" y="1431"/>
                  </a:lnTo>
                  <a:lnTo>
                    <a:pt x="15571" y="1437"/>
                  </a:lnTo>
                  <a:lnTo>
                    <a:pt x="15573" y="1445"/>
                  </a:lnTo>
                  <a:lnTo>
                    <a:pt x="15573" y="1455"/>
                  </a:lnTo>
                  <a:lnTo>
                    <a:pt x="15577" y="1465"/>
                  </a:lnTo>
                  <a:lnTo>
                    <a:pt x="15581" y="1474"/>
                  </a:lnTo>
                  <a:lnTo>
                    <a:pt x="15587" y="1480"/>
                  </a:lnTo>
                  <a:lnTo>
                    <a:pt x="15595" y="1487"/>
                  </a:lnTo>
                  <a:lnTo>
                    <a:pt x="15604" y="1492"/>
                  </a:lnTo>
                  <a:lnTo>
                    <a:pt x="15623" y="1496"/>
                  </a:lnTo>
                  <a:lnTo>
                    <a:pt x="15641" y="1492"/>
                  </a:lnTo>
                  <a:lnTo>
                    <a:pt x="15655" y="1484"/>
                  </a:lnTo>
                  <a:lnTo>
                    <a:pt x="15662" y="1478"/>
                  </a:lnTo>
                  <a:lnTo>
                    <a:pt x="15667" y="1470"/>
                  </a:lnTo>
                  <a:lnTo>
                    <a:pt x="15673" y="1455"/>
                  </a:lnTo>
                  <a:lnTo>
                    <a:pt x="15675" y="1436"/>
                  </a:lnTo>
                  <a:lnTo>
                    <a:pt x="15669" y="1423"/>
                  </a:lnTo>
                  <a:lnTo>
                    <a:pt x="15662" y="1413"/>
                  </a:lnTo>
                  <a:lnTo>
                    <a:pt x="15652" y="1405"/>
                  </a:lnTo>
                  <a:lnTo>
                    <a:pt x="15631" y="1390"/>
                  </a:lnTo>
                  <a:lnTo>
                    <a:pt x="15625" y="1379"/>
                  </a:lnTo>
                  <a:lnTo>
                    <a:pt x="15622" y="1365"/>
                  </a:lnTo>
                  <a:lnTo>
                    <a:pt x="15622" y="1323"/>
                  </a:lnTo>
                  <a:lnTo>
                    <a:pt x="15623" y="1314"/>
                  </a:lnTo>
                  <a:lnTo>
                    <a:pt x="15628" y="1308"/>
                  </a:lnTo>
                  <a:lnTo>
                    <a:pt x="15635" y="1305"/>
                  </a:lnTo>
                  <a:lnTo>
                    <a:pt x="15643" y="1304"/>
                  </a:lnTo>
                  <a:lnTo>
                    <a:pt x="15649" y="1305"/>
                  </a:lnTo>
                  <a:lnTo>
                    <a:pt x="15655" y="1308"/>
                  </a:lnTo>
                  <a:lnTo>
                    <a:pt x="15660" y="1314"/>
                  </a:lnTo>
                  <a:lnTo>
                    <a:pt x="15662" y="1323"/>
                  </a:lnTo>
                  <a:lnTo>
                    <a:pt x="15662" y="1363"/>
                  </a:lnTo>
                  <a:close/>
                  <a:moveTo>
                    <a:pt x="15667" y="963"/>
                  </a:moveTo>
                  <a:lnTo>
                    <a:pt x="15667" y="1277"/>
                  </a:lnTo>
                  <a:lnTo>
                    <a:pt x="15664" y="1286"/>
                  </a:lnTo>
                  <a:lnTo>
                    <a:pt x="15660" y="1292"/>
                  </a:lnTo>
                  <a:lnTo>
                    <a:pt x="15654" y="1296"/>
                  </a:lnTo>
                  <a:lnTo>
                    <a:pt x="15646" y="1298"/>
                  </a:lnTo>
                  <a:lnTo>
                    <a:pt x="15639" y="1296"/>
                  </a:lnTo>
                  <a:lnTo>
                    <a:pt x="15632" y="1292"/>
                  </a:lnTo>
                  <a:lnTo>
                    <a:pt x="15628" y="1286"/>
                  </a:lnTo>
                  <a:lnTo>
                    <a:pt x="15627" y="1277"/>
                  </a:lnTo>
                  <a:lnTo>
                    <a:pt x="15627" y="963"/>
                  </a:lnTo>
                  <a:lnTo>
                    <a:pt x="15385" y="963"/>
                  </a:lnTo>
                  <a:lnTo>
                    <a:pt x="15385" y="1139"/>
                  </a:lnTo>
                  <a:lnTo>
                    <a:pt x="15384" y="1147"/>
                  </a:lnTo>
                  <a:lnTo>
                    <a:pt x="15378" y="1153"/>
                  </a:lnTo>
                  <a:lnTo>
                    <a:pt x="15372" y="1157"/>
                  </a:lnTo>
                  <a:lnTo>
                    <a:pt x="15366" y="1158"/>
                  </a:lnTo>
                  <a:lnTo>
                    <a:pt x="15253" y="1158"/>
                  </a:lnTo>
                  <a:lnTo>
                    <a:pt x="15253" y="1705"/>
                  </a:lnTo>
                  <a:lnTo>
                    <a:pt x="15253" y="2253"/>
                  </a:lnTo>
                  <a:lnTo>
                    <a:pt x="15250" y="2262"/>
                  </a:lnTo>
                  <a:lnTo>
                    <a:pt x="15246" y="2268"/>
                  </a:lnTo>
                  <a:lnTo>
                    <a:pt x="15240" y="2272"/>
                  </a:lnTo>
                  <a:lnTo>
                    <a:pt x="15232" y="2273"/>
                  </a:lnTo>
                  <a:lnTo>
                    <a:pt x="15225" y="2272"/>
                  </a:lnTo>
                  <a:lnTo>
                    <a:pt x="15218" y="2268"/>
                  </a:lnTo>
                  <a:lnTo>
                    <a:pt x="15214" y="2262"/>
                  </a:lnTo>
                  <a:lnTo>
                    <a:pt x="15213" y="2253"/>
                  </a:lnTo>
                  <a:lnTo>
                    <a:pt x="15213" y="1705"/>
                  </a:lnTo>
                  <a:lnTo>
                    <a:pt x="15213" y="1158"/>
                  </a:lnTo>
                  <a:lnTo>
                    <a:pt x="15141" y="1158"/>
                  </a:lnTo>
                  <a:lnTo>
                    <a:pt x="15141" y="1705"/>
                  </a:lnTo>
                  <a:lnTo>
                    <a:pt x="15141" y="2253"/>
                  </a:lnTo>
                  <a:lnTo>
                    <a:pt x="15140" y="2262"/>
                  </a:lnTo>
                  <a:lnTo>
                    <a:pt x="15135" y="2268"/>
                  </a:lnTo>
                  <a:lnTo>
                    <a:pt x="15128" y="2272"/>
                  </a:lnTo>
                  <a:lnTo>
                    <a:pt x="15122" y="2273"/>
                  </a:lnTo>
                  <a:lnTo>
                    <a:pt x="15114" y="2272"/>
                  </a:lnTo>
                  <a:lnTo>
                    <a:pt x="15108" y="2268"/>
                  </a:lnTo>
                  <a:lnTo>
                    <a:pt x="15103" y="2262"/>
                  </a:lnTo>
                  <a:lnTo>
                    <a:pt x="15101" y="2253"/>
                  </a:lnTo>
                  <a:lnTo>
                    <a:pt x="15101" y="1695"/>
                  </a:lnTo>
                  <a:lnTo>
                    <a:pt x="15101" y="1139"/>
                  </a:lnTo>
                  <a:lnTo>
                    <a:pt x="15101" y="1047"/>
                  </a:lnTo>
                  <a:lnTo>
                    <a:pt x="15101" y="963"/>
                  </a:lnTo>
                  <a:lnTo>
                    <a:pt x="14931" y="963"/>
                  </a:lnTo>
                  <a:lnTo>
                    <a:pt x="14918" y="960"/>
                  </a:lnTo>
                  <a:lnTo>
                    <a:pt x="14913" y="956"/>
                  </a:lnTo>
                  <a:lnTo>
                    <a:pt x="14910" y="952"/>
                  </a:lnTo>
                  <a:lnTo>
                    <a:pt x="14909" y="947"/>
                  </a:lnTo>
                  <a:lnTo>
                    <a:pt x="14909" y="942"/>
                  </a:lnTo>
                  <a:lnTo>
                    <a:pt x="14914" y="931"/>
                  </a:lnTo>
                  <a:lnTo>
                    <a:pt x="15105" y="680"/>
                  </a:lnTo>
                  <a:lnTo>
                    <a:pt x="15116" y="675"/>
                  </a:lnTo>
                  <a:lnTo>
                    <a:pt x="15127" y="674"/>
                  </a:lnTo>
                  <a:lnTo>
                    <a:pt x="15907" y="924"/>
                  </a:lnTo>
                  <a:lnTo>
                    <a:pt x="15920" y="933"/>
                  </a:lnTo>
                  <a:lnTo>
                    <a:pt x="15922" y="940"/>
                  </a:lnTo>
                  <a:lnTo>
                    <a:pt x="15923" y="946"/>
                  </a:lnTo>
                  <a:lnTo>
                    <a:pt x="15921" y="952"/>
                  </a:lnTo>
                  <a:lnTo>
                    <a:pt x="15916" y="957"/>
                  </a:lnTo>
                  <a:lnTo>
                    <a:pt x="15909" y="961"/>
                  </a:lnTo>
                  <a:lnTo>
                    <a:pt x="15900" y="963"/>
                  </a:lnTo>
                  <a:lnTo>
                    <a:pt x="15667" y="963"/>
                  </a:lnTo>
                  <a:close/>
                  <a:moveTo>
                    <a:pt x="15167" y="727"/>
                  </a:moveTo>
                  <a:lnTo>
                    <a:pt x="15240" y="828"/>
                  </a:lnTo>
                  <a:lnTo>
                    <a:pt x="15244" y="840"/>
                  </a:lnTo>
                  <a:lnTo>
                    <a:pt x="15244" y="923"/>
                  </a:lnTo>
                  <a:lnTo>
                    <a:pt x="15276" y="923"/>
                  </a:lnTo>
                  <a:lnTo>
                    <a:pt x="15366" y="923"/>
                  </a:lnTo>
                  <a:lnTo>
                    <a:pt x="15773" y="923"/>
                  </a:lnTo>
                  <a:lnTo>
                    <a:pt x="15167" y="727"/>
                  </a:lnTo>
                  <a:close/>
                  <a:moveTo>
                    <a:pt x="15203" y="923"/>
                  </a:moveTo>
                  <a:lnTo>
                    <a:pt x="15203" y="846"/>
                  </a:lnTo>
                  <a:lnTo>
                    <a:pt x="15141" y="762"/>
                  </a:lnTo>
                  <a:lnTo>
                    <a:pt x="15141" y="923"/>
                  </a:lnTo>
                  <a:lnTo>
                    <a:pt x="15203" y="923"/>
                  </a:lnTo>
                  <a:close/>
                  <a:moveTo>
                    <a:pt x="15101" y="752"/>
                  </a:moveTo>
                  <a:lnTo>
                    <a:pt x="14971" y="923"/>
                  </a:lnTo>
                  <a:lnTo>
                    <a:pt x="15101" y="923"/>
                  </a:lnTo>
                  <a:lnTo>
                    <a:pt x="15101" y="752"/>
                  </a:lnTo>
                  <a:close/>
                  <a:moveTo>
                    <a:pt x="15296" y="963"/>
                  </a:moveTo>
                  <a:lnTo>
                    <a:pt x="15296" y="1047"/>
                  </a:lnTo>
                  <a:lnTo>
                    <a:pt x="15295" y="1055"/>
                  </a:lnTo>
                  <a:lnTo>
                    <a:pt x="15290" y="1061"/>
                  </a:lnTo>
                  <a:lnTo>
                    <a:pt x="15283" y="1065"/>
                  </a:lnTo>
                  <a:lnTo>
                    <a:pt x="15276" y="1066"/>
                  </a:lnTo>
                  <a:lnTo>
                    <a:pt x="15141" y="1066"/>
                  </a:lnTo>
                  <a:lnTo>
                    <a:pt x="15141" y="1119"/>
                  </a:lnTo>
                  <a:lnTo>
                    <a:pt x="15232" y="1119"/>
                  </a:lnTo>
                  <a:lnTo>
                    <a:pt x="15345" y="1119"/>
                  </a:lnTo>
                  <a:lnTo>
                    <a:pt x="15345" y="963"/>
                  </a:lnTo>
                  <a:lnTo>
                    <a:pt x="15296" y="963"/>
                  </a:lnTo>
                  <a:close/>
                  <a:moveTo>
                    <a:pt x="15257" y="963"/>
                  </a:moveTo>
                  <a:lnTo>
                    <a:pt x="15141" y="963"/>
                  </a:lnTo>
                  <a:lnTo>
                    <a:pt x="15141" y="1027"/>
                  </a:lnTo>
                  <a:lnTo>
                    <a:pt x="15257" y="1027"/>
                  </a:lnTo>
                  <a:lnTo>
                    <a:pt x="15257" y="963"/>
                  </a:lnTo>
                  <a:close/>
                  <a:moveTo>
                    <a:pt x="12486" y="3681"/>
                  </a:moveTo>
                  <a:lnTo>
                    <a:pt x="12486" y="3792"/>
                  </a:lnTo>
                  <a:lnTo>
                    <a:pt x="12484" y="3800"/>
                  </a:lnTo>
                  <a:lnTo>
                    <a:pt x="12482" y="3805"/>
                  </a:lnTo>
                  <a:lnTo>
                    <a:pt x="12523" y="3838"/>
                  </a:lnTo>
                  <a:lnTo>
                    <a:pt x="12559" y="3875"/>
                  </a:lnTo>
                  <a:lnTo>
                    <a:pt x="12592" y="3918"/>
                  </a:lnTo>
                  <a:lnTo>
                    <a:pt x="12606" y="3939"/>
                  </a:lnTo>
                  <a:lnTo>
                    <a:pt x="12619" y="3962"/>
                  </a:lnTo>
                  <a:lnTo>
                    <a:pt x="12641" y="4011"/>
                  </a:lnTo>
                  <a:lnTo>
                    <a:pt x="12657" y="4062"/>
                  </a:lnTo>
                  <a:lnTo>
                    <a:pt x="12666" y="4116"/>
                  </a:lnTo>
                  <a:lnTo>
                    <a:pt x="12670" y="4171"/>
                  </a:lnTo>
                  <a:lnTo>
                    <a:pt x="12666" y="4226"/>
                  </a:lnTo>
                  <a:lnTo>
                    <a:pt x="12661" y="4265"/>
                  </a:lnTo>
                  <a:lnTo>
                    <a:pt x="12654" y="4304"/>
                  </a:lnTo>
                  <a:lnTo>
                    <a:pt x="13197" y="4304"/>
                  </a:lnTo>
                  <a:lnTo>
                    <a:pt x="13741" y="4304"/>
                  </a:lnTo>
                  <a:lnTo>
                    <a:pt x="13741" y="3764"/>
                  </a:lnTo>
                  <a:lnTo>
                    <a:pt x="13741" y="3225"/>
                  </a:lnTo>
                  <a:lnTo>
                    <a:pt x="13183" y="3225"/>
                  </a:lnTo>
                  <a:lnTo>
                    <a:pt x="12625" y="3225"/>
                  </a:lnTo>
                  <a:lnTo>
                    <a:pt x="12616" y="3222"/>
                  </a:lnTo>
                  <a:lnTo>
                    <a:pt x="12610" y="3218"/>
                  </a:lnTo>
                  <a:lnTo>
                    <a:pt x="12606" y="3212"/>
                  </a:lnTo>
                  <a:lnTo>
                    <a:pt x="12606" y="3204"/>
                  </a:lnTo>
                  <a:lnTo>
                    <a:pt x="12606" y="3196"/>
                  </a:lnTo>
                  <a:lnTo>
                    <a:pt x="12610" y="3190"/>
                  </a:lnTo>
                  <a:lnTo>
                    <a:pt x="12616" y="3186"/>
                  </a:lnTo>
                  <a:lnTo>
                    <a:pt x="12625" y="3184"/>
                  </a:lnTo>
                  <a:lnTo>
                    <a:pt x="12793" y="3184"/>
                  </a:lnTo>
                  <a:lnTo>
                    <a:pt x="12793" y="3031"/>
                  </a:lnTo>
                  <a:lnTo>
                    <a:pt x="12353" y="3031"/>
                  </a:lnTo>
                  <a:lnTo>
                    <a:pt x="12353" y="3184"/>
                  </a:lnTo>
                  <a:lnTo>
                    <a:pt x="12493" y="3184"/>
                  </a:lnTo>
                  <a:lnTo>
                    <a:pt x="12502" y="3186"/>
                  </a:lnTo>
                  <a:lnTo>
                    <a:pt x="12509" y="3190"/>
                  </a:lnTo>
                  <a:lnTo>
                    <a:pt x="12512" y="3196"/>
                  </a:lnTo>
                  <a:lnTo>
                    <a:pt x="12514" y="3204"/>
                  </a:lnTo>
                  <a:lnTo>
                    <a:pt x="12512" y="3212"/>
                  </a:lnTo>
                  <a:lnTo>
                    <a:pt x="12509" y="3218"/>
                  </a:lnTo>
                  <a:lnTo>
                    <a:pt x="12502" y="3222"/>
                  </a:lnTo>
                  <a:lnTo>
                    <a:pt x="12493" y="3225"/>
                  </a:lnTo>
                  <a:lnTo>
                    <a:pt x="12236" y="3225"/>
                  </a:lnTo>
                  <a:lnTo>
                    <a:pt x="12236" y="3670"/>
                  </a:lnTo>
                  <a:lnTo>
                    <a:pt x="12233" y="3679"/>
                  </a:lnTo>
                  <a:lnTo>
                    <a:pt x="12229" y="3685"/>
                  </a:lnTo>
                  <a:lnTo>
                    <a:pt x="12223" y="3689"/>
                  </a:lnTo>
                  <a:lnTo>
                    <a:pt x="12215" y="3690"/>
                  </a:lnTo>
                  <a:lnTo>
                    <a:pt x="12207" y="3689"/>
                  </a:lnTo>
                  <a:lnTo>
                    <a:pt x="12201" y="3685"/>
                  </a:lnTo>
                  <a:lnTo>
                    <a:pt x="12197" y="3679"/>
                  </a:lnTo>
                  <a:lnTo>
                    <a:pt x="12194" y="3670"/>
                  </a:lnTo>
                  <a:lnTo>
                    <a:pt x="12194" y="3204"/>
                  </a:lnTo>
                  <a:lnTo>
                    <a:pt x="12197" y="3196"/>
                  </a:lnTo>
                  <a:lnTo>
                    <a:pt x="12201" y="3190"/>
                  </a:lnTo>
                  <a:lnTo>
                    <a:pt x="12207" y="3186"/>
                  </a:lnTo>
                  <a:lnTo>
                    <a:pt x="12215" y="3184"/>
                  </a:lnTo>
                  <a:lnTo>
                    <a:pt x="12314" y="3184"/>
                  </a:lnTo>
                  <a:lnTo>
                    <a:pt x="12314" y="3011"/>
                  </a:lnTo>
                  <a:lnTo>
                    <a:pt x="12315" y="3003"/>
                  </a:lnTo>
                  <a:lnTo>
                    <a:pt x="12319" y="2997"/>
                  </a:lnTo>
                  <a:lnTo>
                    <a:pt x="12325" y="2993"/>
                  </a:lnTo>
                  <a:lnTo>
                    <a:pt x="12333" y="2991"/>
                  </a:lnTo>
                  <a:lnTo>
                    <a:pt x="12814" y="2991"/>
                  </a:lnTo>
                  <a:lnTo>
                    <a:pt x="12822" y="2993"/>
                  </a:lnTo>
                  <a:lnTo>
                    <a:pt x="12828" y="2997"/>
                  </a:lnTo>
                  <a:lnTo>
                    <a:pt x="12832" y="3003"/>
                  </a:lnTo>
                  <a:lnTo>
                    <a:pt x="12833" y="3011"/>
                  </a:lnTo>
                  <a:lnTo>
                    <a:pt x="12833" y="3184"/>
                  </a:lnTo>
                  <a:lnTo>
                    <a:pt x="13761" y="3184"/>
                  </a:lnTo>
                  <a:lnTo>
                    <a:pt x="13769" y="3186"/>
                  </a:lnTo>
                  <a:lnTo>
                    <a:pt x="13776" y="3190"/>
                  </a:lnTo>
                  <a:lnTo>
                    <a:pt x="13779" y="3196"/>
                  </a:lnTo>
                  <a:lnTo>
                    <a:pt x="13782" y="3204"/>
                  </a:lnTo>
                  <a:lnTo>
                    <a:pt x="13782" y="3764"/>
                  </a:lnTo>
                  <a:lnTo>
                    <a:pt x="13782" y="4324"/>
                  </a:lnTo>
                  <a:lnTo>
                    <a:pt x="13779" y="4332"/>
                  </a:lnTo>
                  <a:lnTo>
                    <a:pt x="13776" y="4338"/>
                  </a:lnTo>
                  <a:lnTo>
                    <a:pt x="13769" y="4342"/>
                  </a:lnTo>
                  <a:lnTo>
                    <a:pt x="13761" y="4343"/>
                  </a:lnTo>
                  <a:lnTo>
                    <a:pt x="13197" y="4343"/>
                  </a:lnTo>
                  <a:lnTo>
                    <a:pt x="12633" y="4343"/>
                  </a:lnTo>
                  <a:lnTo>
                    <a:pt x="12628" y="4347"/>
                  </a:lnTo>
                  <a:lnTo>
                    <a:pt x="12621" y="4349"/>
                  </a:lnTo>
                  <a:lnTo>
                    <a:pt x="12016" y="4349"/>
                  </a:lnTo>
                  <a:lnTo>
                    <a:pt x="11412" y="4349"/>
                  </a:lnTo>
                  <a:lnTo>
                    <a:pt x="11403" y="4346"/>
                  </a:lnTo>
                  <a:lnTo>
                    <a:pt x="11397" y="4341"/>
                  </a:lnTo>
                  <a:lnTo>
                    <a:pt x="11388" y="4334"/>
                  </a:lnTo>
                  <a:lnTo>
                    <a:pt x="11385" y="4329"/>
                  </a:lnTo>
                  <a:lnTo>
                    <a:pt x="11385" y="4323"/>
                  </a:lnTo>
                  <a:lnTo>
                    <a:pt x="11385" y="3936"/>
                  </a:lnTo>
                  <a:lnTo>
                    <a:pt x="11346" y="3930"/>
                  </a:lnTo>
                  <a:lnTo>
                    <a:pt x="11307" y="3924"/>
                  </a:lnTo>
                  <a:lnTo>
                    <a:pt x="11271" y="3913"/>
                  </a:lnTo>
                  <a:lnTo>
                    <a:pt x="11235" y="3898"/>
                  </a:lnTo>
                  <a:lnTo>
                    <a:pt x="11202" y="3881"/>
                  </a:lnTo>
                  <a:lnTo>
                    <a:pt x="11171" y="3860"/>
                  </a:lnTo>
                  <a:lnTo>
                    <a:pt x="11142" y="3837"/>
                  </a:lnTo>
                  <a:lnTo>
                    <a:pt x="11115" y="3811"/>
                  </a:lnTo>
                  <a:lnTo>
                    <a:pt x="11090" y="3783"/>
                  </a:lnTo>
                  <a:lnTo>
                    <a:pt x="11069" y="3753"/>
                  </a:lnTo>
                  <a:lnTo>
                    <a:pt x="11049" y="3721"/>
                  </a:lnTo>
                  <a:lnTo>
                    <a:pt x="11034" y="3686"/>
                  </a:lnTo>
                  <a:lnTo>
                    <a:pt x="11021" y="3650"/>
                  </a:lnTo>
                  <a:lnTo>
                    <a:pt x="11011" y="3613"/>
                  </a:lnTo>
                  <a:lnTo>
                    <a:pt x="11006" y="3575"/>
                  </a:lnTo>
                  <a:lnTo>
                    <a:pt x="11005" y="3535"/>
                  </a:lnTo>
                  <a:lnTo>
                    <a:pt x="11006" y="3494"/>
                  </a:lnTo>
                  <a:lnTo>
                    <a:pt x="11012" y="3453"/>
                  </a:lnTo>
                  <a:lnTo>
                    <a:pt x="11022" y="3415"/>
                  </a:lnTo>
                  <a:lnTo>
                    <a:pt x="11035" y="3379"/>
                  </a:lnTo>
                  <a:lnTo>
                    <a:pt x="11052" y="3343"/>
                  </a:lnTo>
                  <a:lnTo>
                    <a:pt x="11072" y="3310"/>
                  </a:lnTo>
                  <a:lnTo>
                    <a:pt x="11096" y="3280"/>
                  </a:lnTo>
                  <a:lnTo>
                    <a:pt x="11121" y="3251"/>
                  </a:lnTo>
                  <a:lnTo>
                    <a:pt x="11151" y="3226"/>
                  </a:lnTo>
                  <a:lnTo>
                    <a:pt x="11181" y="3203"/>
                  </a:lnTo>
                  <a:lnTo>
                    <a:pt x="11214" y="3182"/>
                  </a:lnTo>
                  <a:lnTo>
                    <a:pt x="11249" y="3166"/>
                  </a:lnTo>
                  <a:lnTo>
                    <a:pt x="11287" y="3152"/>
                  </a:lnTo>
                  <a:lnTo>
                    <a:pt x="11325" y="3143"/>
                  </a:lnTo>
                  <a:lnTo>
                    <a:pt x="11365" y="3136"/>
                  </a:lnTo>
                  <a:lnTo>
                    <a:pt x="11406" y="3134"/>
                  </a:lnTo>
                  <a:lnTo>
                    <a:pt x="11447" y="3136"/>
                  </a:lnTo>
                  <a:lnTo>
                    <a:pt x="11487" y="3143"/>
                  </a:lnTo>
                  <a:lnTo>
                    <a:pt x="11525" y="3152"/>
                  </a:lnTo>
                  <a:lnTo>
                    <a:pt x="11562" y="3166"/>
                  </a:lnTo>
                  <a:lnTo>
                    <a:pt x="11597" y="3182"/>
                  </a:lnTo>
                  <a:lnTo>
                    <a:pt x="11630" y="3203"/>
                  </a:lnTo>
                  <a:lnTo>
                    <a:pt x="11661" y="3226"/>
                  </a:lnTo>
                  <a:lnTo>
                    <a:pt x="11689" y="3251"/>
                  </a:lnTo>
                  <a:lnTo>
                    <a:pt x="11716" y="3280"/>
                  </a:lnTo>
                  <a:lnTo>
                    <a:pt x="11739" y="3310"/>
                  </a:lnTo>
                  <a:lnTo>
                    <a:pt x="11759" y="3343"/>
                  </a:lnTo>
                  <a:lnTo>
                    <a:pt x="11775" y="3379"/>
                  </a:lnTo>
                  <a:lnTo>
                    <a:pt x="11789" y="3415"/>
                  </a:lnTo>
                  <a:lnTo>
                    <a:pt x="11800" y="3453"/>
                  </a:lnTo>
                  <a:lnTo>
                    <a:pt x="11805" y="3494"/>
                  </a:lnTo>
                  <a:lnTo>
                    <a:pt x="11807" y="3535"/>
                  </a:lnTo>
                  <a:lnTo>
                    <a:pt x="11806" y="3575"/>
                  </a:lnTo>
                  <a:lnTo>
                    <a:pt x="11800" y="3613"/>
                  </a:lnTo>
                  <a:lnTo>
                    <a:pt x="11791" y="3650"/>
                  </a:lnTo>
                  <a:lnTo>
                    <a:pt x="11778" y="3686"/>
                  </a:lnTo>
                  <a:lnTo>
                    <a:pt x="11761" y="3721"/>
                  </a:lnTo>
                  <a:lnTo>
                    <a:pt x="11743" y="3753"/>
                  </a:lnTo>
                  <a:lnTo>
                    <a:pt x="11720" y="3783"/>
                  </a:lnTo>
                  <a:lnTo>
                    <a:pt x="11696" y="3811"/>
                  </a:lnTo>
                  <a:lnTo>
                    <a:pt x="11669" y="3837"/>
                  </a:lnTo>
                  <a:lnTo>
                    <a:pt x="11639" y="3860"/>
                  </a:lnTo>
                  <a:lnTo>
                    <a:pt x="11608" y="3881"/>
                  </a:lnTo>
                  <a:lnTo>
                    <a:pt x="11575" y="3898"/>
                  </a:lnTo>
                  <a:lnTo>
                    <a:pt x="11539" y="3913"/>
                  </a:lnTo>
                  <a:lnTo>
                    <a:pt x="11502" y="3924"/>
                  </a:lnTo>
                  <a:lnTo>
                    <a:pt x="11465" y="3932"/>
                  </a:lnTo>
                  <a:lnTo>
                    <a:pt x="11425" y="3936"/>
                  </a:lnTo>
                  <a:lnTo>
                    <a:pt x="11425" y="4205"/>
                  </a:lnTo>
                  <a:lnTo>
                    <a:pt x="11443" y="4178"/>
                  </a:lnTo>
                  <a:lnTo>
                    <a:pt x="11464" y="4153"/>
                  </a:lnTo>
                  <a:lnTo>
                    <a:pt x="11488" y="4130"/>
                  </a:lnTo>
                  <a:lnTo>
                    <a:pt x="11516" y="4108"/>
                  </a:lnTo>
                  <a:lnTo>
                    <a:pt x="11549" y="4090"/>
                  </a:lnTo>
                  <a:lnTo>
                    <a:pt x="11585" y="4076"/>
                  </a:lnTo>
                  <a:lnTo>
                    <a:pt x="11625" y="4067"/>
                  </a:lnTo>
                  <a:lnTo>
                    <a:pt x="11646" y="4065"/>
                  </a:lnTo>
                  <a:lnTo>
                    <a:pt x="11669" y="4065"/>
                  </a:lnTo>
                  <a:lnTo>
                    <a:pt x="11685" y="4066"/>
                  </a:lnTo>
                  <a:lnTo>
                    <a:pt x="11702" y="4069"/>
                  </a:lnTo>
                  <a:lnTo>
                    <a:pt x="11719" y="4074"/>
                  </a:lnTo>
                  <a:lnTo>
                    <a:pt x="11734" y="4080"/>
                  </a:lnTo>
                  <a:lnTo>
                    <a:pt x="11766" y="4092"/>
                  </a:lnTo>
                  <a:lnTo>
                    <a:pt x="11783" y="4095"/>
                  </a:lnTo>
                  <a:lnTo>
                    <a:pt x="11800" y="4097"/>
                  </a:lnTo>
                  <a:lnTo>
                    <a:pt x="11814" y="4095"/>
                  </a:lnTo>
                  <a:lnTo>
                    <a:pt x="11825" y="4090"/>
                  </a:lnTo>
                  <a:lnTo>
                    <a:pt x="11837" y="4084"/>
                  </a:lnTo>
                  <a:lnTo>
                    <a:pt x="11847" y="4076"/>
                  </a:lnTo>
                  <a:lnTo>
                    <a:pt x="11847" y="3213"/>
                  </a:lnTo>
                  <a:lnTo>
                    <a:pt x="11833" y="3208"/>
                  </a:lnTo>
                  <a:lnTo>
                    <a:pt x="11820" y="3199"/>
                  </a:lnTo>
                  <a:lnTo>
                    <a:pt x="11796" y="3182"/>
                  </a:lnTo>
                  <a:lnTo>
                    <a:pt x="11784" y="3173"/>
                  </a:lnTo>
                  <a:lnTo>
                    <a:pt x="11771" y="3167"/>
                  </a:lnTo>
                  <a:lnTo>
                    <a:pt x="11757" y="3163"/>
                  </a:lnTo>
                  <a:lnTo>
                    <a:pt x="11742" y="3163"/>
                  </a:lnTo>
                  <a:lnTo>
                    <a:pt x="11696" y="3170"/>
                  </a:lnTo>
                  <a:lnTo>
                    <a:pt x="11678" y="3172"/>
                  </a:lnTo>
                  <a:lnTo>
                    <a:pt x="11661" y="3171"/>
                  </a:lnTo>
                  <a:lnTo>
                    <a:pt x="11646" y="3166"/>
                  </a:lnTo>
                  <a:lnTo>
                    <a:pt x="11632" y="3156"/>
                  </a:lnTo>
                  <a:lnTo>
                    <a:pt x="11624" y="3148"/>
                  </a:lnTo>
                  <a:lnTo>
                    <a:pt x="11617" y="3139"/>
                  </a:lnTo>
                  <a:lnTo>
                    <a:pt x="11602" y="3115"/>
                  </a:lnTo>
                  <a:lnTo>
                    <a:pt x="11591" y="3093"/>
                  </a:lnTo>
                  <a:lnTo>
                    <a:pt x="11580" y="3079"/>
                  </a:lnTo>
                  <a:lnTo>
                    <a:pt x="11570" y="3070"/>
                  </a:lnTo>
                  <a:lnTo>
                    <a:pt x="11561" y="3065"/>
                  </a:lnTo>
                  <a:lnTo>
                    <a:pt x="11537" y="3060"/>
                  </a:lnTo>
                  <a:lnTo>
                    <a:pt x="11520" y="3055"/>
                  </a:lnTo>
                  <a:lnTo>
                    <a:pt x="11498" y="3047"/>
                  </a:lnTo>
                  <a:lnTo>
                    <a:pt x="11475" y="3033"/>
                  </a:lnTo>
                  <a:lnTo>
                    <a:pt x="11467" y="3024"/>
                  </a:lnTo>
                  <a:lnTo>
                    <a:pt x="11462" y="3015"/>
                  </a:lnTo>
                  <a:lnTo>
                    <a:pt x="11456" y="2996"/>
                  </a:lnTo>
                  <a:lnTo>
                    <a:pt x="11453" y="2974"/>
                  </a:lnTo>
                  <a:lnTo>
                    <a:pt x="11453" y="2953"/>
                  </a:lnTo>
                  <a:lnTo>
                    <a:pt x="11451" y="2933"/>
                  </a:lnTo>
                  <a:lnTo>
                    <a:pt x="11446" y="2913"/>
                  </a:lnTo>
                  <a:lnTo>
                    <a:pt x="11440" y="2904"/>
                  </a:lnTo>
                  <a:lnTo>
                    <a:pt x="11434" y="2896"/>
                  </a:lnTo>
                  <a:lnTo>
                    <a:pt x="11399" y="2864"/>
                  </a:lnTo>
                  <a:lnTo>
                    <a:pt x="11387" y="2851"/>
                  </a:lnTo>
                  <a:lnTo>
                    <a:pt x="11376" y="2837"/>
                  </a:lnTo>
                  <a:lnTo>
                    <a:pt x="11371" y="2823"/>
                  </a:lnTo>
                  <a:lnTo>
                    <a:pt x="11370" y="2805"/>
                  </a:lnTo>
                  <a:lnTo>
                    <a:pt x="11375" y="2783"/>
                  </a:lnTo>
                  <a:lnTo>
                    <a:pt x="11384" y="2757"/>
                  </a:lnTo>
                  <a:lnTo>
                    <a:pt x="11394" y="2734"/>
                  </a:lnTo>
                  <a:lnTo>
                    <a:pt x="11398" y="2722"/>
                  </a:lnTo>
                  <a:lnTo>
                    <a:pt x="11401" y="2711"/>
                  </a:lnTo>
                  <a:lnTo>
                    <a:pt x="11397" y="2689"/>
                  </a:lnTo>
                  <a:lnTo>
                    <a:pt x="11389" y="2670"/>
                  </a:lnTo>
                  <a:lnTo>
                    <a:pt x="11380" y="2650"/>
                  </a:lnTo>
                  <a:lnTo>
                    <a:pt x="11373" y="2633"/>
                  </a:lnTo>
                  <a:lnTo>
                    <a:pt x="11369" y="2613"/>
                  </a:lnTo>
                  <a:lnTo>
                    <a:pt x="11373" y="2593"/>
                  </a:lnTo>
                  <a:lnTo>
                    <a:pt x="11378" y="2581"/>
                  </a:lnTo>
                  <a:lnTo>
                    <a:pt x="11387" y="2570"/>
                  </a:lnTo>
                  <a:lnTo>
                    <a:pt x="11412" y="2543"/>
                  </a:lnTo>
                  <a:lnTo>
                    <a:pt x="11430" y="2526"/>
                  </a:lnTo>
                  <a:lnTo>
                    <a:pt x="11442" y="2512"/>
                  </a:lnTo>
                  <a:lnTo>
                    <a:pt x="11448" y="2502"/>
                  </a:lnTo>
                  <a:lnTo>
                    <a:pt x="11451" y="2492"/>
                  </a:lnTo>
                  <a:lnTo>
                    <a:pt x="11452" y="2466"/>
                  </a:lnTo>
                  <a:lnTo>
                    <a:pt x="11456" y="2427"/>
                  </a:lnTo>
                  <a:lnTo>
                    <a:pt x="11460" y="2413"/>
                  </a:lnTo>
                  <a:lnTo>
                    <a:pt x="11465" y="2401"/>
                  </a:lnTo>
                  <a:lnTo>
                    <a:pt x="11471" y="2392"/>
                  </a:lnTo>
                  <a:lnTo>
                    <a:pt x="11479" y="2384"/>
                  </a:lnTo>
                  <a:lnTo>
                    <a:pt x="11497" y="2374"/>
                  </a:lnTo>
                  <a:lnTo>
                    <a:pt x="11516" y="2368"/>
                  </a:lnTo>
                  <a:lnTo>
                    <a:pt x="11537" y="2363"/>
                  </a:lnTo>
                  <a:lnTo>
                    <a:pt x="11557" y="2356"/>
                  </a:lnTo>
                  <a:lnTo>
                    <a:pt x="11566" y="2351"/>
                  </a:lnTo>
                  <a:lnTo>
                    <a:pt x="11575" y="2346"/>
                  </a:lnTo>
                  <a:lnTo>
                    <a:pt x="11582" y="2340"/>
                  </a:lnTo>
                  <a:lnTo>
                    <a:pt x="11589" y="2331"/>
                  </a:lnTo>
                  <a:lnTo>
                    <a:pt x="11612" y="2291"/>
                  </a:lnTo>
                  <a:lnTo>
                    <a:pt x="11623" y="2275"/>
                  </a:lnTo>
                  <a:lnTo>
                    <a:pt x="11633" y="2263"/>
                  </a:lnTo>
                  <a:lnTo>
                    <a:pt x="11647" y="2254"/>
                  </a:lnTo>
                  <a:lnTo>
                    <a:pt x="11664" y="2249"/>
                  </a:lnTo>
                  <a:lnTo>
                    <a:pt x="11685" y="2248"/>
                  </a:lnTo>
                  <a:lnTo>
                    <a:pt x="11714" y="2251"/>
                  </a:lnTo>
                  <a:lnTo>
                    <a:pt x="11743" y="2257"/>
                  </a:lnTo>
                  <a:lnTo>
                    <a:pt x="11762" y="2257"/>
                  </a:lnTo>
                  <a:lnTo>
                    <a:pt x="11780" y="2249"/>
                  </a:lnTo>
                  <a:lnTo>
                    <a:pt x="11805" y="2231"/>
                  </a:lnTo>
                  <a:lnTo>
                    <a:pt x="11832" y="2213"/>
                  </a:lnTo>
                  <a:lnTo>
                    <a:pt x="11848" y="2207"/>
                  </a:lnTo>
                  <a:lnTo>
                    <a:pt x="11866" y="2204"/>
                  </a:lnTo>
                  <a:lnTo>
                    <a:pt x="11885" y="2207"/>
                  </a:lnTo>
                  <a:lnTo>
                    <a:pt x="11901" y="2213"/>
                  </a:lnTo>
                  <a:lnTo>
                    <a:pt x="11916" y="2222"/>
                  </a:lnTo>
                  <a:lnTo>
                    <a:pt x="11930" y="2232"/>
                  </a:lnTo>
                  <a:lnTo>
                    <a:pt x="11943" y="2243"/>
                  </a:lnTo>
                  <a:lnTo>
                    <a:pt x="11959" y="2251"/>
                  </a:lnTo>
                  <a:lnTo>
                    <a:pt x="11974" y="2257"/>
                  </a:lnTo>
                  <a:lnTo>
                    <a:pt x="11992" y="2257"/>
                  </a:lnTo>
                  <a:lnTo>
                    <a:pt x="12037" y="2250"/>
                  </a:lnTo>
                  <a:lnTo>
                    <a:pt x="12056" y="2248"/>
                  </a:lnTo>
                  <a:lnTo>
                    <a:pt x="12073" y="2249"/>
                  </a:lnTo>
                  <a:lnTo>
                    <a:pt x="12088" y="2254"/>
                  </a:lnTo>
                  <a:lnTo>
                    <a:pt x="12102" y="2264"/>
                  </a:lnTo>
                  <a:lnTo>
                    <a:pt x="12109" y="2272"/>
                  </a:lnTo>
                  <a:lnTo>
                    <a:pt x="12116" y="2281"/>
                  </a:lnTo>
                  <a:lnTo>
                    <a:pt x="12130" y="2305"/>
                  </a:lnTo>
                  <a:lnTo>
                    <a:pt x="12143" y="2327"/>
                  </a:lnTo>
                  <a:lnTo>
                    <a:pt x="12153" y="2341"/>
                  </a:lnTo>
                  <a:lnTo>
                    <a:pt x="12162" y="2350"/>
                  </a:lnTo>
                  <a:lnTo>
                    <a:pt x="12173" y="2355"/>
                  </a:lnTo>
                  <a:lnTo>
                    <a:pt x="12197" y="2360"/>
                  </a:lnTo>
                  <a:lnTo>
                    <a:pt x="12214" y="2365"/>
                  </a:lnTo>
                  <a:lnTo>
                    <a:pt x="12234" y="2373"/>
                  </a:lnTo>
                  <a:lnTo>
                    <a:pt x="12257" y="2388"/>
                  </a:lnTo>
                  <a:lnTo>
                    <a:pt x="12265" y="2396"/>
                  </a:lnTo>
                  <a:lnTo>
                    <a:pt x="12271" y="2405"/>
                  </a:lnTo>
                  <a:lnTo>
                    <a:pt x="12278" y="2425"/>
                  </a:lnTo>
                  <a:lnTo>
                    <a:pt x="12279" y="2446"/>
                  </a:lnTo>
                  <a:lnTo>
                    <a:pt x="12280" y="2466"/>
                  </a:lnTo>
                  <a:lnTo>
                    <a:pt x="12282" y="2488"/>
                  </a:lnTo>
                  <a:lnTo>
                    <a:pt x="12287" y="2507"/>
                  </a:lnTo>
                  <a:lnTo>
                    <a:pt x="12292" y="2516"/>
                  </a:lnTo>
                  <a:lnTo>
                    <a:pt x="12300" y="2524"/>
                  </a:lnTo>
                  <a:lnTo>
                    <a:pt x="12333" y="2556"/>
                  </a:lnTo>
                  <a:lnTo>
                    <a:pt x="12347" y="2569"/>
                  </a:lnTo>
                  <a:lnTo>
                    <a:pt x="12356" y="2583"/>
                  </a:lnTo>
                  <a:lnTo>
                    <a:pt x="12361" y="2598"/>
                  </a:lnTo>
                  <a:lnTo>
                    <a:pt x="12362" y="2615"/>
                  </a:lnTo>
                  <a:lnTo>
                    <a:pt x="12359" y="2636"/>
                  </a:lnTo>
                  <a:lnTo>
                    <a:pt x="12348" y="2663"/>
                  </a:lnTo>
                  <a:lnTo>
                    <a:pt x="12337" y="2690"/>
                  </a:lnTo>
                  <a:lnTo>
                    <a:pt x="12333" y="2711"/>
                  </a:lnTo>
                  <a:lnTo>
                    <a:pt x="12336" y="2731"/>
                  </a:lnTo>
                  <a:lnTo>
                    <a:pt x="12343" y="2750"/>
                  </a:lnTo>
                  <a:lnTo>
                    <a:pt x="12352" y="2769"/>
                  </a:lnTo>
                  <a:lnTo>
                    <a:pt x="12360" y="2787"/>
                  </a:lnTo>
                  <a:lnTo>
                    <a:pt x="12364" y="2806"/>
                  </a:lnTo>
                  <a:lnTo>
                    <a:pt x="12360" y="2828"/>
                  </a:lnTo>
                  <a:lnTo>
                    <a:pt x="12355" y="2838"/>
                  </a:lnTo>
                  <a:lnTo>
                    <a:pt x="12347" y="2851"/>
                  </a:lnTo>
                  <a:lnTo>
                    <a:pt x="12321" y="2877"/>
                  </a:lnTo>
                  <a:lnTo>
                    <a:pt x="12302" y="2893"/>
                  </a:lnTo>
                  <a:lnTo>
                    <a:pt x="12291" y="2907"/>
                  </a:lnTo>
                  <a:lnTo>
                    <a:pt x="12284" y="2918"/>
                  </a:lnTo>
                  <a:lnTo>
                    <a:pt x="12282" y="2929"/>
                  </a:lnTo>
                  <a:lnTo>
                    <a:pt x="12282" y="2953"/>
                  </a:lnTo>
                  <a:lnTo>
                    <a:pt x="12278" y="2993"/>
                  </a:lnTo>
                  <a:lnTo>
                    <a:pt x="12274" y="3007"/>
                  </a:lnTo>
                  <a:lnTo>
                    <a:pt x="12269" y="3019"/>
                  </a:lnTo>
                  <a:lnTo>
                    <a:pt x="12262" y="3028"/>
                  </a:lnTo>
                  <a:lnTo>
                    <a:pt x="12255" y="3035"/>
                  </a:lnTo>
                  <a:lnTo>
                    <a:pt x="12237" y="3046"/>
                  </a:lnTo>
                  <a:lnTo>
                    <a:pt x="12216" y="3053"/>
                  </a:lnTo>
                  <a:lnTo>
                    <a:pt x="12196" y="3058"/>
                  </a:lnTo>
                  <a:lnTo>
                    <a:pt x="12177" y="3065"/>
                  </a:lnTo>
                  <a:lnTo>
                    <a:pt x="12168" y="3069"/>
                  </a:lnTo>
                  <a:lnTo>
                    <a:pt x="12159" y="3074"/>
                  </a:lnTo>
                  <a:lnTo>
                    <a:pt x="12151" y="3081"/>
                  </a:lnTo>
                  <a:lnTo>
                    <a:pt x="12144" y="3089"/>
                  </a:lnTo>
                  <a:lnTo>
                    <a:pt x="12121" y="3130"/>
                  </a:lnTo>
                  <a:lnTo>
                    <a:pt x="12111" y="3145"/>
                  </a:lnTo>
                  <a:lnTo>
                    <a:pt x="12100" y="3158"/>
                  </a:lnTo>
                  <a:lnTo>
                    <a:pt x="12087" y="3167"/>
                  </a:lnTo>
                  <a:lnTo>
                    <a:pt x="12070" y="3171"/>
                  </a:lnTo>
                  <a:lnTo>
                    <a:pt x="12048" y="3172"/>
                  </a:lnTo>
                  <a:lnTo>
                    <a:pt x="12020" y="3168"/>
                  </a:lnTo>
                  <a:lnTo>
                    <a:pt x="11989" y="3163"/>
                  </a:lnTo>
                  <a:lnTo>
                    <a:pt x="11971" y="3163"/>
                  </a:lnTo>
                  <a:lnTo>
                    <a:pt x="11953" y="3172"/>
                  </a:lnTo>
                  <a:lnTo>
                    <a:pt x="11929" y="3189"/>
                  </a:lnTo>
                  <a:lnTo>
                    <a:pt x="11910" y="3202"/>
                  </a:lnTo>
                  <a:lnTo>
                    <a:pt x="11887" y="3213"/>
                  </a:lnTo>
                  <a:lnTo>
                    <a:pt x="11887" y="4017"/>
                  </a:lnTo>
                  <a:lnTo>
                    <a:pt x="11933" y="3925"/>
                  </a:lnTo>
                  <a:lnTo>
                    <a:pt x="11961" y="3877"/>
                  </a:lnTo>
                  <a:lnTo>
                    <a:pt x="11994" y="3829"/>
                  </a:lnTo>
                  <a:lnTo>
                    <a:pt x="12014" y="3808"/>
                  </a:lnTo>
                  <a:lnTo>
                    <a:pt x="12035" y="3787"/>
                  </a:lnTo>
                  <a:lnTo>
                    <a:pt x="12060" y="3769"/>
                  </a:lnTo>
                  <a:lnTo>
                    <a:pt x="12073" y="3762"/>
                  </a:lnTo>
                  <a:lnTo>
                    <a:pt x="12085" y="3754"/>
                  </a:lnTo>
                  <a:lnTo>
                    <a:pt x="12115" y="3741"/>
                  </a:lnTo>
                  <a:lnTo>
                    <a:pt x="12148" y="3731"/>
                  </a:lnTo>
                  <a:lnTo>
                    <a:pt x="12184" y="3725"/>
                  </a:lnTo>
                  <a:lnTo>
                    <a:pt x="12224" y="3723"/>
                  </a:lnTo>
                  <a:lnTo>
                    <a:pt x="12283" y="3727"/>
                  </a:lnTo>
                  <a:lnTo>
                    <a:pt x="12341" y="3739"/>
                  </a:lnTo>
                  <a:lnTo>
                    <a:pt x="12368" y="3748"/>
                  </a:lnTo>
                  <a:lnTo>
                    <a:pt x="12395" y="3758"/>
                  </a:lnTo>
                  <a:lnTo>
                    <a:pt x="12420" y="3769"/>
                  </a:lnTo>
                  <a:lnTo>
                    <a:pt x="12446" y="3782"/>
                  </a:lnTo>
                  <a:lnTo>
                    <a:pt x="12446" y="3681"/>
                  </a:lnTo>
                  <a:lnTo>
                    <a:pt x="12447" y="3672"/>
                  </a:lnTo>
                  <a:lnTo>
                    <a:pt x="12452" y="3666"/>
                  </a:lnTo>
                  <a:lnTo>
                    <a:pt x="12459" y="3662"/>
                  </a:lnTo>
                  <a:lnTo>
                    <a:pt x="12465" y="3661"/>
                  </a:lnTo>
                  <a:lnTo>
                    <a:pt x="12473" y="3662"/>
                  </a:lnTo>
                  <a:lnTo>
                    <a:pt x="12479" y="3666"/>
                  </a:lnTo>
                  <a:lnTo>
                    <a:pt x="12484" y="3672"/>
                  </a:lnTo>
                  <a:lnTo>
                    <a:pt x="12486" y="3681"/>
                  </a:lnTo>
                  <a:close/>
                  <a:moveTo>
                    <a:pt x="12630" y="4171"/>
                  </a:moveTo>
                  <a:lnTo>
                    <a:pt x="12628" y="4130"/>
                  </a:lnTo>
                  <a:lnTo>
                    <a:pt x="12621" y="4089"/>
                  </a:lnTo>
                  <a:lnTo>
                    <a:pt x="12613" y="4051"/>
                  </a:lnTo>
                  <a:lnTo>
                    <a:pt x="12598" y="4012"/>
                  </a:lnTo>
                  <a:lnTo>
                    <a:pt x="12582" y="3976"/>
                  </a:lnTo>
                  <a:lnTo>
                    <a:pt x="12561" y="3943"/>
                  </a:lnTo>
                  <a:lnTo>
                    <a:pt x="12537" y="3911"/>
                  </a:lnTo>
                  <a:lnTo>
                    <a:pt x="12511" y="3883"/>
                  </a:lnTo>
                  <a:lnTo>
                    <a:pt x="12482" y="3856"/>
                  </a:lnTo>
                  <a:lnTo>
                    <a:pt x="12451" y="3833"/>
                  </a:lnTo>
                  <a:lnTo>
                    <a:pt x="12418" y="3813"/>
                  </a:lnTo>
                  <a:lnTo>
                    <a:pt x="12382" y="3795"/>
                  </a:lnTo>
                  <a:lnTo>
                    <a:pt x="12345" y="3781"/>
                  </a:lnTo>
                  <a:lnTo>
                    <a:pt x="12306" y="3772"/>
                  </a:lnTo>
                  <a:lnTo>
                    <a:pt x="12265" y="3765"/>
                  </a:lnTo>
                  <a:lnTo>
                    <a:pt x="12224" y="3763"/>
                  </a:lnTo>
                  <a:lnTo>
                    <a:pt x="12197" y="3764"/>
                  </a:lnTo>
                  <a:lnTo>
                    <a:pt x="12173" y="3767"/>
                  </a:lnTo>
                  <a:lnTo>
                    <a:pt x="12150" y="3772"/>
                  </a:lnTo>
                  <a:lnTo>
                    <a:pt x="12128" y="3780"/>
                  </a:lnTo>
                  <a:lnTo>
                    <a:pt x="12089" y="3797"/>
                  </a:lnTo>
                  <a:lnTo>
                    <a:pt x="12073" y="3809"/>
                  </a:lnTo>
                  <a:lnTo>
                    <a:pt x="12057" y="3822"/>
                  </a:lnTo>
                  <a:lnTo>
                    <a:pt x="12029" y="3850"/>
                  </a:lnTo>
                  <a:lnTo>
                    <a:pt x="12005" y="3881"/>
                  </a:lnTo>
                  <a:lnTo>
                    <a:pt x="11984" y="3915"/>
                  </a:lnTo>
                  <a:lnTo>
                    <a:pt x="11965" y="3950"/>
                  </a:lnTo>
                  <a:lnTo>
                    <a:pt x="11932" y="4017"/>
                  </a:lnTo>
                  <a:lnTo>
                    <a:pt x="11915" y="4049"/>
                  </a:lnTo>
                  <a:lnTo>
                    <a:pt x="11897" y="4077"/>
                  </a:lnTo>
                  <a:lnTo>
                    <a:pt x="11878" y="4102"/>
                  </a:lnTo>
                  <a:lnTo>
                    <a:pt x="11866" y="4112"/>
                  </a:lnTo>
                  <a:lnTo>
                    <a:pt x="11855" y="4120"/>
                  </a:lnTo>
                  <a:lnTo>
                    <a:pt x="11843" y="4127"/>
                  </a:lnTo>
                  <a:lnTo>
                    <a:pt x="11830" y="4132"/>
                  </a:lnTo>
                  <a:lnTo>
                    <a:pt x="11800" y="4136"/>
                  </a:lnTo>
                  <a:lnTo>
                    <a:pt x="11783" y="4135"/>
                  </a:lnTo>
                  <a:lnTo>
                    <a:pt x="11766" y="4131"/>
                  </a:lnTo>
                  <a:lnTo>
                    <a:pt x="11750" y="4126"/>
                  </a:lnTo>
                  <a:lnTo>
                    <a:pt x="11734" y="4120"/>
                  </a:lnTo>
                  <a:lnTo>
                    <a:pt x="11702" y="4109"/>
                  </a:lnTo>
                  <a:lnTo>
                    <a:pt x="11685" y="4106"/>
                  </a:lnTo>
                  <a:lnTo>
                    <a:pt x="11669" y="4104"/>
                  </a:lnTo>
                  <a:lnTo>
                    <a:pt x="11625" y="4108"/>
                  </a:lnTo>
                  <a:lnTo>
                    <a:pt x="11603" y="4112"/>
                  </a:lnTo>
                  <a:lnTo>
                    <a:pt x="11584" y="4118"/>
                  </a:lnTo>
                  <a:lnTo>
                    <a:pt x="11565" y="4127"/>
                  </a:lnTo>
                  <a:lnTo>
                    <a:pt x="11546" y="4136"/>
                  </a:lnTo>
                  <a:lnTo>
                    <a:pt x="11529" y="4148"/>
                  </a:lnTo>
                  <a:lnTo>
                    <a:pt x="11512" y="4161"/>
                  </a:lnTo>
                  <a:lnTo>
                    <a:pt x="11498" y="4175"/>
                  </a:lnTo>
                  <a:lnTo>
                    <a:pt x="11484" y="4190"/>
                  </a:lnTo>
                  <a:lnTo>
                    <a:pt x="11471" y="4208"/>
                  </a:lnTo>
                  <a:lnTo>
                    <a:pt x="11461" y="4226"/>
                  </a:lnTo>
                  <a:lnTo>
                    <a:pt x="11452" y="4245"/>
                  </a:lnTo>
                  <a:lnTo>
                    <a:pt x="11444" y="4265"/>
                  </a:lnTo>
                  <a:lnTo>
                    <a:pt x="11438" y="4286"/>
                  </a:lnTo>
                  <a:lnTo>
                    <a:pt x="11434" y="4309"/>
                  </a:lnTo>
                  <a:lnTo>
                    <a:pt x="12171" y="4309"/>
                  </a:lnTo>
                  <a:lnTo>
                    <a:pt x="12177" y="4305"/>
                  </a:lnTo>
                  <a:lnTo>
                    <a:pt x="12184" y="4304"/>
                  </a:lnTo>
                  <a:lnTo>
                    <a:pt x="12609" y="4304"/>
                  </a:lnTo>
                  <a:lnTo>
                    <a:pt x="12618" y="4271"/>
                  </a:lnTo>
                  <a:lnTo>
                    <a:pt x="12625" y="4239"/>
                  </a:lnTo>
                  <a:lnTo>
                    <a:pt x="12629" y="4204"/>
                  </a:lnTo>
                  <a:lnTo>
                    <a:pt x="12630" y="4171"/>
                  </a:lnTo>
                  <a:close/>
                  <a:moveTo>
                    <a:pt x="11425" y="3810"/>
                  </a:moveTo>
                  <a:lnTo>
                    <a:pt x="11524" y="3712"/>
                  </a:lnTo>
                  <a:lnTo>
                    <a:pt x="11532" y="3707"/>
                  </a:lnTo>
                  <a:lnTo>
                    <a:pt x="11539" y="3705"/>
                  </a:lnTo>
                  <a:lnTo>
                    <a:pt x="11547" y="3707"/>
                  </a:lnTo>
                  <a:lnTo>
                    <a:pt x="11553" y="3712"/>
                  </a:lnTo>
                  <a:lnTo>
                    <a:pt x="11557" y="3717"/>
                  </a:lnTo>
                  <a:lnTo>
                    <a:pt x="11558" y="3725"/>
                  </a:lnTo>
                  <a:lnTo>
                    <a:pt x="11557" y="3732"/>
                  </a:lnTo>
                  <a:lnTo>
                    <a:pt x="11553" y="3740"/>
                  </a:lnTo>
                  <a:lnTo>
                    <a:pt x="11426" y="3866"/>
                  </a:lnTo>
                  <a:lnTo>
                    <a:pt x="11425" y="3895"/>
                  </a:lnTo>
                  <a:lnTo>
                    <a:pt x="11460" y="3892"/>
                  </a:lnTo>
                  <a:lnTo>
                    <a:pt x="11494" y="3884"/>
                  </a:lnTo>
                  <a:lnTo>
                    <a:pt x="11528" y="3874"/>
                  </a:lnTo>
                  <a:lnTo>
                    <a:pt x="11558" y="3861"/>
                  </a:lnTo>
                  <a:lnTo>
                    <a:pt x="11589" y="3846"/>
                  </a:lnTo>
                  <a:lnTo>
                    <a:pt x="11617" y="3828"/>
                  </a:lnTo>
                  <a:lnTo>
                    <a:pt x="11643" y="3806"/>
                  </a:lnTo>
                  <a:lnTo>
                    <a:pt x="11667" y="3783"/>
                  </a:lnTo>
                  <a:lnTo>
                    <a:pt x="11689" y="3758"/>
                  </a:lnTo>
                  <a:lnTo>
                    <a:pt x="11710" y="3731"/>
                  </a:lnTo>
                  <a:lnTo>
                    <a:pt x="11726" y="3702"/>
                  </a:lnTo>
                  <a:lnTo>
                    <a:pt x="11741" y="3671"/>
                  </a:lnTo>
                  <a:lnTo>
                    <a:pt x="11752" y="3639"/>
                  </a:lnTo>
                  <a:lnTo>
                    <a:pt x="11761" y="3606"/>
                  </a:lnTo>
                  <a:lnTo>
                    <a:pt x="11766" y="3571"/>
                  </a:lnTo>
                  <a:lnTo>
                    <a:pt x="11767" y="3535"/>
                  </a:lnTo>
                  <a:lnTo>
                    <a:pt x="11765" y="3498"/>
                  </a:lnTo>
                  <a:lnTo>
                    <a:pt x="11760" y="3462"/>
                  </a:lnTo>
                  <a:lnTo>
                    <a:pt x="11751" y="3428"/>
                  </a:lnTo>
                  <a:lnTo>
                    <a:pt x="11739" y="3395"/>
                  </a:lnTo>
                  <a:lnTo>
                    <a:pt x="11724" y="3363"/>
                  </a:lnTo>
                  <a:lnTo>
                    <a:pt x="11706" y="3333"/>
                  </a:lnTo>
                  <a:lnTo>
                    <a:pt x="11684" y="3305"/>
                  </a:lnTo>
                  <a:lnTo>
                    <a:pt x="11661" y="3280"/>
                  </a:lnTo>
                  <a:lnTo>
                    <a:pt x="11635" y="3257"/>
                  </a:lnTo>
                  <a:lnTo>
                    <a:pt x="11608" y="3236"/>
                  </a:lnTo>
                  <a:lnTo>
                    <a:pt x="11578" y="3218"/>
                  </a:lnTo>
                  <a:lnTo>
                    <a:pt x="11547" y="3203"/>
                  </a:lnTo>
                  <a:lnTo>
                    <a:pt x="11530" y="3196"/>
                  </a:lnTo>
                  <a:lnTo>
                    <a:pt x="11514" y="3190"/>
                  </a:lnTo>
                  <a:lnTo>
                    <a:pt x="11479" y="3181"/>
                  </a:lnTo>
                  <a:lnTo>
                    <a:pt x="11443" y="3176"/>
                  </a:lnTo>
                  <a:lnTo>
                    <a:pt x="11406" y="3175"/>
                  </a:lnTo>
                  <a:lnTo>
                    <a:pt x="11369" y="3176"/>
                  </a:lnTo>
                  <a:lnTo>
                    <a:pt x="11333" y="3181"/>
                  </a:lnTo>
                  <a:lnTo>
                    <a:pt x="11298" y="3190"/>
                  </a:lnTo>
                  <a:lnTo>
                    <a:pt x="11265" y="3203"/>
                  </a:lnTo>
                  <a:lnTo>
                    <a:pt x="11233" y="3218"/>
                  </a:lnTo>
                  <a:lnTo>
                    <a:pt x="11203" y="3236"/>
                  </a:lnTo>
                  <a:lnTo>
                    <a:pt x="11175" y="3257"/>
                  </a:lnTo>
                  <a:lnTo>
                    <a:pt x="11149" y="3280"/>
                  </a:lnTo>
                  <a:lnTo>
                    <a:pt x="11126" y="3305"/>
                  </a:lnTo>
                  <a:lnTo>
                    <a:pt x="11106" y="3333"/>
                  </a:lnTo>
                  <a:lnTo>
                    <a:pt x="11088" y="3363"/>
                  </a:lnTo>
                  <a:lnTo>
                    <a:pt x="11072" y="3395"/>
                  </a:lnTo>
                  <a:lnTo>
                    <a:pt x="11066" y="3411"/>
                  </a:lnTo>
                  <a:lnTo>
                    <a:pt x="11060" y="3428"/>
                  </a:lnTo>
                  <a:lnTo>
                    <a:pt x="11051" y="3462"/>
                  </a:lnTo>
                  <a:lnTo>
                    <a:pt x="11046" y="3498"/>
                  </a:lnTo>
                  <a:lnTo>
                    <a:pt x="11044" y="3535"/>
                  </a:lnTo>
                  <a:lnTo>
                    <a:pt x="11046" y="3570"/>
                  </a:lnTo>
                  <a:lnTo>
                    <a:pt x="11051" y="3606"/>
                  </a:lnTo>
                  <a:lnTo>
                    <a:pt x="11060" y="3639"/>
                  </a:lnTo>
                  <a:lnTo>
                    <a:pt x="11070" y="3671"/>
                  </a:lnTo>
                  <a:lnTo>
                    <a:pt x="11085" y="3702"/>
                  </a:lnTo>
                  <a:lnTo>
                    <a:pt x="11102" y="3731"/>
                  </a:lnTo>
                  <a:lnTo>
                    <a:pt x="11121" y="3758"/>
                  </a:lnTo>
                  <a:lnTo>
                    <a:pt x="11143" y="3783"/>
                  </a:lnTo>
                  <a:lnTo>
                    <a:pt x="11167" y="3806"/>
                  </a:lnTo>
                  <a:lnTo>
                    <a:pt x="11193" y="3827"/>
                  </a:lnTo>
                  <a:lnTo>
                    <a:pt x="11221" y="3846"/>
                  </a:lnTo>
                  <a:lnTo>
                    <a:pt x="11252" y="3861"/>
                  </a:lnTo>
                  <a:lnTo>
                    <a:pt x="11283" y="3874"/>
                  </a:lnTo>
                  <a:lnTo>
                    <a:pt x="11316" y="3884"/>
                  </a:lnTo>
                  <a:lnTo>
                    <a:pt x="11349" y="3891"/>
                  </a:lnTo>
                  <a:lnTo>
                    <a:pt x="11385" y="3895"/>
                  </a:lnTo>
                  <a:lnTo>
                    <a:pt x="11385" y="3757"/>
                  </a:lnTo>
                  <a:lnTo>
                    <a:pt x="11258" y="3631"/>
                  </a:lnTo>
                  <a:lnTo>
                    <a:pt x="11253" y="3624"/>
                  </a:lnTo>
                  <a:lnTo>
                    <a:pt x="11252" y="3616"/>
                  </a:lnTo>
                  <a:lnTo>
                    <a:pt x="11255" y="3608"/>
                  </a:lnTo>
                  <a:lnTo>
                    <a:pt x="11258" y="3602"/>
                  </a:lnTo>
                  <a:lnTo>
                    <a:pt x="11265" y="3598"/>
                  </a:lnTo>
                  <a:lnTo>
                    <a:pt x="11271" y="3597"/>
                  </a:lnTo>
                  <a:lnTo>
                    <a:pt x="11279" y="3598"/>
                  </a:lnTo>
                  <a:lnTo>
                    <a:pt x="11287" y="3602"/>
                  </a:lnTo>
                  <a:lnTo>
                    <a:pt x="11385" y="3700"/>
                  </a:lnTo>
                  <a:lnTo>
                    <a:pt x="11385" y="3589"/>
                  </a:lnTo>
                  <a:lnTo>
                    <a:pt x="11385" y="3581"/>
                  </a:lnTo>
                  <a:lnTo>
                    <a:pt x="11385" y="3447"/>
                  </a:lnTo>
                  <a:lnTo>
                    <a:pt x="11387" y="3439"/>
                  </a:lnTo>
                  <a:lnTo>
                    <a:pt x="11392" y="3433"/>
                  </a:lnTo>
                  <a:lnTo>
                    <a:pt x="11398" y="3429"/>
                  </a:lnTo>
                  <a:lnTo>
                    <a:pt x="11405" y="3428"/>
                  </a:lnTo>
                  <a:lnTo>
                    <a:pt x="11412" y="3429"/>
                  </a:lnTo>
                  <a:lnTo>
                    <a:pt x="11419" y="3433"/>
                  </a:lnTo>
                  <a:lnTo>
                    <a:pt x="11424" y="3439"/>
                  </a:lnTo>
                  <a:lnTo>
                    <a:pt x="11425" y="3447"/>
                  </a:lnTo>
                  <a:lnTo>
                    <a:pt x="11425" y="3537"/>
                  </a:lnTo>
                  <a:lnTo>
                    <a:pt x="11517" y="3445"/>
                  </a:lnTo>
                  <a:lnTo>
                    <a:pt x="11525" y="3439"/>
                  </a:lnTo>
                  <a:lnTo>
                    <a:pt x="11533" y="3438"/>
                  </a:lnTo>
                  <a:lnTo>
                    <a:pt x="11541" y="3441"/>
                  </a:lnTo>
                  <a:lnTo>
                    <a:pt x="11546" y="3445"/>
                  </a:lnTo>
                  <a:lnTo>
                    <a:pt x="11551" y="3451"/>
                  </a:lnTo>
                  <a:lnTo>
                    <a:pt x="11552" y="3457"/>
                  </a:lnTo>
                  <a:lnTo>
                    <a:pt x="11551" y="3465"/>
                  </a:lnTo>
                  <a:lnTo>
                    <a:pt x="11546" y="3473"/>
                  </a:lnTo>
                  <a:lnTo>
                    <a:pt x="11425" y="3593"/>
                  </a:lnTo>
                  <a:lnTo>
                    <a:pt x="11425" y="3810"/>
                  </a:lnTo>
                  <a:close/>
                  <a:moveTo>
                    <a:pt x="11847" y="2875"/>
                  </a:moveTo>
                  <a:lnTo>
                    <a:pt x="11847" y="2753"/>
                  </a:lnTo>
                  <a:lnTo>
                    <a:pt x="11743" y="2650"/>
                  </a:lnTo>
                  <a:lnTo>
                    <a:pt x="11738" y="2643"/>
                  </a:lnTo>
                  <a:lnTo>
                    <a:pt x="11737" y="2635"/>
                  </a:lnTo>
                  <a:lnTo>
                    <a:pt x="11739" y="2627"/>
                  </a:lnTo>
                  <a:lnTo>
                    <a:pt x="11743" y="2622"/>
                  </a:lnTo>
                  <a:lnTo>
                    <a:pt x="11750" y="2617"/>
                  </a:lnTo>
                  <a:lnTo>
                    <a:pt x="11757" y="2616"/>
                  </a:lnTo>
                  <a:lnTo>
                    <a:pt x="11764" y="2617"/>
                  </a:lnTo>
                  <a:lnTo>
                    <a:pt x="11771" y="2622"/>
                  </a:lnTo>
                  <a:lnTo>
                    <a:pt x="11847" y="2696"/>
                  </a:lnTo>
                  <a:lnTo>
                    <a:pt x="11847" y="2643"/>
                  </a:lnTo>
                  <a:lnTo>
                    <a:pt x="11848" y="2634"/>
                  </a:lnTo>
                  <a:lnTo>
                    <a:pt x="11853" y="2627"/>
                  </a:lnTo>
                  <a:lnTo>
                    <a:pt x="11860" y="2624"/>
                  </a:lnTo>
                  <a:lnTo>
                    <a:pt x="11866" y="2622"/>
                  </a:lnTo>
                  <a:lnTo>
                    <a:pt x="11874" y="2624"/>
                  </a:lnTo>
                  <a:lnTo>
                    <a:pt x="11880" y="2627"/>
                  </a:lnTo>
                  <a:lnTo>
                    <a:pt x="11885" y="2634"/>
                  </a:lnTo>
                  <a:lnTo>
                    <a:pt x="11887" y="2643"/>
                  </a:lnTo>
                  <a:lnTo>
                    <a:pt x="11887" y="2741"/>
                  </a:lnTo>
                  <a:lnTo>
                    <a:pt x="11887" y="2748"/>
                  </a:lnTo>
                  <a:lnTo>
                    <a:pt x="11887" y="2831"/>
                  </a:lnTo>
                  <a:lnTo>
                    <a:pt x="12024" y="2693"/>
                  </a:lnTo>
                  <a:lnTo>
                    <a:pt x="12032" y="2688"/>
                  </a:lnTo>
                  <a:lnTo>
                    <a:pt x="12039" y="2686"/>
                  </a:lnTo>
                  <a:lnTo>
                    <a:pt x="12047" y="2689"/>
                  </a:lnTo>
                  <a:lnTo>
                    <a:pt x="12052" y="2693"/>
                  </a:lnTo>
                  <a:lnTo>
                    <a:pt x="12057" y="2699"/>
                  </a:lnTo>
                  <a:lnTo>
                    <a:pt x="12059" y="2707"/>
                  </a:lnTo>
                  <a:lnTo>
                    <a:pt x="12057" y="2714"/>
                  </a:lnTo>
                  <a:lnTo>
                    <a:pt x="12052" y="2721"/>
                  </a:lnTo>
                  <a:lnTo>
                    <a:pt x="11887" y="2887"/>
                  </a:lnTo>
                  <a:lnTo>
                    <a:pt x="11887" y="2960"/>
                  </a:lnTo>
                  <a:lnTo>
                    <a:pt x="11887" y="2968"/>
                  </a:lnTo>
                  <a:lnTo>
                    <a:pt x="11887" y="3172"/>
                  </a:lnTo>
                  <a:lnTo>
                    <a:pt x="11897" y="3164"/>
                  </a:lnTo>
                  <a:lnTo>
                    <a:pt x="11907" y="3156"/>
                  </a:lnTo>
                  <a:lnTo>
                    <a:pt x="11919" y="3147"/>
                  </a:lnTo>
                  <a:lnTo>
                    <a:pt x="11932" y="3138"/>
                  </a:lnTo>
                  <a:lnTo>
                    <a:pt x="11947" y="3130"/>
                  </a:lnTo>
                  <a:lnTo>
                    <a:pt x="11968" y="3126"/>
                  </a:lnTo>
                  <a:lnTo>
                    <a:pt x="11993" y="3125"/>
                  </a:lnTo>
                  <a:lnTo>
                    <a:pt x="12027" y="3129"/>
                  </a:lnTo>
                  <a:lnTo>
                    <a:pt x="12043" y="3131"/>
                  </a:lnTo>
                  <a:lnTo>
                    <a:pt x="12056" y="3131"/>
                  </a:lnTo>
                  <a:lnTo>
                    <a:pt x="12066" y="3129"/>
                  </a:lnTo>
                  <a:lnTo>
                    <a:pt x="12075" y="3125"/>
                  </a:lnTo>
                  <a:lnTo>
                    <a:pt x="12088" y="3112"/>
                  </a:lnTo>
                  <a:lnTo>
                    <a:pt x="12097" y="3097"/>
                  </a:lnTo>
                  <a:lnTo>
                    <a:pt x="12106" y="3078"/>
                  </a:lnTo>
                  <a:lnTo>
                    <a:pt x="12118" y="3058"/>
                  </a:lnTo>
                  <a:lnTo>
                    <a:pt x="12135" y="3040"/>
                  </a:lnTo>
                  <a:lnTo>
                    <a:pt x="12148" y="3033"/>
                  </a:lnTo>
                  <a:lnTo>
                    <a:pt x="12162" y="3026"/>
                  </a:lnTo>
                  <a:lnTo>
                    <a:pt x="12211" y="3012"/>
                  </a:lnTo>
                  <a:lnTo>
                    <a:pt x="12224" y="3007"/>
                  </a:lnTo>
                  <a:lnTo>
                    <a:pt x="12232" y="3001"/>
                  </a:lnTo>
                  <a:lnTo>
                    <a:pt x="12237" y="2992"/>
                  </a:lnTo>
                  <a:lnTo>
                    <a:pt x="12238" y="2978"/>
                  </a:lnTo>
                  <a:lnTo>
                    <a:pt x="12242" y="2928"/>
                  </a:lnTo>
                  <a:lnTo>
                    <a:pt x="12244" y="2911"/>
                  </a:lnTo>
                  <a:lnTo>
                    <a:pt x="12250" y="2897"/>
                  </a:lnTo>
                  <a:lnTo>
                    <a:pt x="12262" y="2875"/>
                  </a:lnTo>
                  <a:lnTo>
                    <a:pt x="12270" y="2868"/>
                  </a:lnTo>
                  <a:lnTo>
                    <a:pt x="12279" y="2860"/>
                  </a:lnTo>
                  <a:lnTo>
                    <a:pt x="12296" y="2847"/>
                  </a:lnTo>
                  <a:lnTo>
                    <a:pt x="12310" y="2836"/>
                  </a:lnTo>
                  <a:lnTo>
                    <a:pt x="12315" y="2828"/>
                  </a:lnTo>
                  <a:lnTo>
                    <a:pt x="12319" y="2821"/>
                  </a:lnTo>
                  <a:lnTo>
                    <a:pt x="12320" y="2812"/>
                  </a:lnTo>
                  <a:lnTo>
                    <a:pt x="12320" y="2801"/>
                  </a:lnTo>
                  <a:lnTo>
                    <a:pt x="12312" y="2773"/>
                  </a:lnTo>
                  <a:lnTo>
                    <a:pt x="12300" y="2743"/>
                  </a:lnTo>
                  <a:lnTo>
                    <a:pt x="12294" y="2727"/>
                  </a:lnTo>
                  <a:lnTo>
                    <a:pt x="12293" y="2711"/>
                  </a:lnTo>
                  <a:lnTo>
                    <a:pt x="12294" y="2693"/>
                  </a:lnTo>
                  <a:lnTo>
                    <a:pt x="12300" y="2676"/>
                  </a:lnTo>
                  <a:lnTo>
                    <a:pt x="12318" y="2629"/>
                  </a:lnTo>
                  <a:lnTo>
                    <a:pt x="12323" y="2616"/>
                  </a:lnTo>
                  <a:lnTo>
                    <a:pt x="12323" y="2606"/>
                  </a:lnTo>
                  <a:lnTo>
                    <a:pt x="12319" y="2598"/>
                  </a:lnTo>
                  <a:lnTo>
                    <a:pt x="12309" y="2588"/>
                  </a:lnTo>
                  <a:lnTo>
                    <a:pt x="12271" y="2553"/>
                  </a:lnTo>
                  <a:lnTo>
                    <a:pt x="12261" y="2540"/>
                  </a:lnTo>
                  <a:lnTo>
                    <a:pt x="12252" y="2529"/>
                  </a:lnTo>
                  <a:lnTo>
                    <a:pt x="12247" y="2516"/>
                  </a:lnTo>
                  <a:lnTo>
                    <a:pt x="12243" y="2505"/>
                  </a:lnTo>
                  <a:lnTo>
                    <a:pt x="12242" y="2483"/>
                  </a:lnTo>
                  <a:lnTo>
                    <a:pt x="12242" y="2461"/>
                  </a:lnTo>
                  <a:lnTo>
                    <a:pt x="12241" y="2443"/>
                  </a:lnTo>
                  <a:lnTo>
                    <a:pt x="12238" y="2434"/>
                  </a:lnTo>
                  <a:lnTo>
                    <a:pt x="12236" y="2427"/>
                  </a:lnTo>
                  <a:lnTo>
                    <a:pt x="12229" y="2419"/>
                  </a:lnTo>
                  <a:lnTo>
                    <a:pt x="12220" y="2413"/>
                  </a:lnTo>
                  <a:lnTo>
                    <a:pt x="12209" y="2406"/>
                  </a:lnTo>
                  <a:lnTo>
                    <a:pt x="12193" y="2401"/>
                  </a:lnTo>
                  <a:lnTo>
                    <a:pt x="12164" y="2393"/>
                  </a:lnTo>
                  <a:lnTo>
                    <a:pt x="12143" y="2384"/>
                  </a:lnTo>
                  <a:lnTo>
                    <a:pt x="12129" y="2376"/>
                  </a:lnTo>
                  <a:lnTo>
                    <a:pt x="12120" y="2365"/>
                  </a:lnTo>
                  <a:lnTo>
                    <a:pt x="12106" y="2340"/>
                  </a:lnTo>
                  <a:lnTo>
                    <a:pt x="12096" y="2322"/>
                  </a:lnTo>
                  <a:lnTo>
                    <a:pt x="12082" y="2301"/>
                  </a:lnTo>
                  <a:lnTo>
                    <a:pt x="12077" y="2295"/>
                  </a:lnTo>
                  <a:lnTo>
                    <a:pt x="12070" y="2291"/>
                  </a:lnTo>
                  <a:lnTo>
                    <a:pt x="12055" y="2287"/>
                  </a:lnTo>
                  <a:lnTo>
                    <a:pt x="12038" y="2289"/>
                  </a:lnTo>
                  <a:lnTo>
                    <a:pt x="12020" y="2292"/>
                  </a:lnTo>
                  <a:lnTo>
                    <a:pt x="12000" y="2296"/>
                  </a:lnTo>
                  <a:lnTo>
                    <a:pt x="11978" y="2296"/>
                  </a:lnTo>
                  <a:lnTo>
                    <a:pt x="11955" y="2292"/>
                  </a:lnTo>
                  <a:lnTo>
                    <a:pt x="11930" y="2281"/>
                  </a:lnTo>
                  <a:lnTo>
                    <a:pt x="11900" y="2259"/>
                  </a:lnTo>
                  <a:lnTo>
                    <a:pt x="11882" y="2248"/>
                  </a:lnTo>
                  <a:lnTo>
                    <a:pt x="11866" y="2244"/>
                  </a:lnTo>
                  <a:lnTo>
                    <a:pt x="11851" y="2246"/>
                  </a:lnTo>
                  <a:lnTo>
                    <a:pt x="11843" y="2250"/>
                  </a:lnTo>
                  <a:lnTo>
                    <a:pt x="11837" y="2254"/>
                  </a:lnTo>
                  <a:lnTo>
                    <a:pt x="11812" y="2276"/>
                  </a:lnTo>
                  <a:lnTo>
                    <a:pt x="11796" y="2286"/>
                  </a:lnTo>
                  <a:lnTo>
                    <a:pt x="11774" y="2294"/>
                  </a:lnTo>
                  <a:lnTo>
                    <a:pt x="11744" y="2295"/>
                  </a:lnTo>
                  <a:lnTo>
                    <a:pt x="11726" y="2294"/>
                  </a:lnTo>
                  <a:lnTo>
                    <a:pt x="11706" y="2291"/>
                  </a:lnTo>
                  <a:lnTo>
                    <a:pt x="11691" y="2289"/>
                  </a:lnTo>
                  <a:lnTo>
                    <a:pt x="11676" y="2289"/>
                  </a:lnTo>
                  <a:lnTo>
                    <a:pt x="11666" y="2291"/>
                  </a:lnTo>
                  <a:lnTo>
                    <a:pt x="11658" y="2295"/>
                  </a:lnTo>
                  <a:lnTo>
                    <a:pt x="11646" y="2308"/>
                  </a:lnTo>
                  <a:lnTo>
                    <a:pt x="11637" y="2324"/>
                  </a:lnTo>
                  <a:lnTo>
                    <a:pt x="11628" y="2342"/>
                  </a:lnTo>
                  <a:lnTo>
                    <a:pt x="11616" y="2361"/>
                  </a:lnTo>
                  <a:lnTo>
                    <a:pt x="11598" y="2379"/>
                  </a:lnTo>
                  <a:lnTo>
                    <a:pt x="11585" y="2387"/>
                  </a:lnTo>
                  <a:lnTo>
                    <a:pt x="11570" y="2393"/>
                  </a:lnTo>
                  <a:lnTo>
                    <a:pt x="11521" y="2409"/>
                  </a:lnTo>
                  <a:lnTo>
                    <a:pt x="11508" y="2414"/>
                  </a:lnTo>
                  <a:lnTo>
                    <a:pt x="11501" y="2419"/>
                  </a:lnTo>
                  <a:lnTo>
                    <a:pt x="11497" y="2428"/>
                  </a:lnTo>
                  <a:lnTo>
                    <a:pt x="11494" y="2442"/>
                  </a:lnTo>
                  <a:lnTo>
                    <a:pt x="11491" y="2492"/>
                  </a:lnTo>
                  <a:lnTo>
                    <a:pt x="11488" y="2509"/>
                  </a:lnTo>
                  <a:lnTo>
                    <a:pt x="11484" y="2523"/>
                  </a:lnTo>
                  <a:lnTo>
                    <a:pt x="11470" y="2544"/>
                  </a:lnTo>
                  <a:lnTo>
                    <a:pt x="11462" y="2552"/>
                  </a:lnTo>
                  <a:lnTo>
                    <a:pt x="11455" y="2560"/>
                  </a:lnTo>
                  <a:lnTo>
                    <a:pt x="11438" y="2572"/>
                  </a:lnTo>
                  <a:lnTo>
                    <a:pt x="11424" y="2585"/>
                  </a:lnTo>
                  <a:lnTo>
                    <a:pt x="11419" y="2592"/>
                  </a:lnTo>
                  <a:lnTo>
                    <a:pt x="11415" y="2599"/>
                  </a:lnTo>
                  <a:lnTo>
                    <a:pt x="11412" y="2608"/>
                  </a:lnTo>
                  <a:lnTo>
                    <a:pt x="11412" y="2620"/>
                  </a:lnTo>
                  <a:lnTo>
                    <a:pt x="11421" y="2647"/>
                  </a:lnTo>
                  <a:lnTo>
                    <a:pt x="11434" y="2677"/>
                  </a:lnTo>
                  <a:lnTo>
                    <a:pt x="11438" y="2694"/>
                  </a:lnTo>
                  <a:lnTo>
                    <a:pt x="11440" y="2711"/>
                  </a:lnTo>
                  <a:lnTo>
                    <a:pt x="11438" y="2732"/>
                  </a:lnTo>
                  <a:lnTo>
                    <a:pt x="11432" y="2751"/>
                  </a:lnTo>
                  <a:lnTo>
                    <a:pt x="11416" y="2782"/>
                  </a:lnTo>
                  <a:lnTo>
                    <a:pt x="11411" y="2797"/>
                  </a:lnTo>
                  <a:lnTo>
                    <a:pt x="11411" y="2805"/>
                  </a:lnTo>
                  <a:lnTo>
                    <a:pt x="11412" y="2812"/>
                  </a:lnTo>
                  <a:lnTo>
                    <a:pt x="11420" y="2828"/>
                  </a:lnTo>
                  <a:lnTo>
                    <a:pt x="11438" y="2847"/>
                  </a:lnTo>
                  <a:lnTo>
                    <a:pt x="11461" y="2868"/>
                  </a:lnTo>
                  <a:lnTo>
                    <a:pt x="11476" y="2884"/>
                  </a:lnTo>
                  <a:lnTo>
                    <a:pt x="11484" y="2899"/>
                  </a:lnTo>
                  <a:lnTo>
                    <a:pt x="11488" y="2911"/>
                  </a:lnTo>
                  <a:lnTo>
                    <a:pt x="11491" y="2941"/>
                  </a:lnTo>
                  <a:lnTo>
                    <a:pt x="11491" y="2960"/>
                  </a:lnTo>
                  <a:lnTo>
                    <a:pt x="11494" y="2985"/>
                  </a:lnTo>
                  <a:lnTo>
                    <a:pt x="11502" y="3000"/>
                  </a:lnTo>
                  <a:lnTo>
                    <a:pt x="11514" y="3010"/>
                  </a:lnTo>
                  <a:lnTo>
                    <a:pt x="11529" y="3015"/>
                  </a:lnTo>
                  <a:lnTo>
                    <a:pt x="11547" y="3020"/>
                  </a:lnTo>
                  <a:lnTo>
                    <a:pt x="11567" y="3026"/>
                  </a:lnTo>
                  <a:lnTo>
                    <a:pt x="11587" y="3034"/>
                  </a:lnTo>
                  <a:lnTo>
                    <a:pt x="11606" y="3048"/>
                  </a:lnTo>
                  <a:lnTo>
                    <a:pt x="11615" y="3057"/>
                  </a:lnTo>
                  <a:lnTo>
                    <a:pt x="11623" y="3069"/>
                  </a:lnTo>
                  <a:lnTo>
                    <a:pt x="11648" y="3112"/>
                  </a:lnTo>
                  <a:lnTo>
                    <a:pt x="11656" y="3124"/>
                  </a:lnTo>
                  <a:lnTo>
                    <a:pt x="11664" y="3130"/>
                  </a:lnTo>
                  <a:lnTo>
                    <a:pt x="11673" y="3133"/>
                  </a:lnTo>
                  <a:lnTo>
                    <a:pt x="11687" y="3131"/>
                  </a:lnTo>
                  <a:lnTo>
                    <a:pt x="11737" y="3124"/>
                  </a:lnTo>
                  <a:lnTo>
                    <a:pt x="11757" y="3124"/>
                  </a:lnTo>
                  <a:lnTo>
                    <a:pt x="11774" y="3126"/>
                  </a:lnTo>
                  <a:lnTo>
                    <a:pt x="11789" y="3131"/>
                  </a:lnTo>
                  <a:lnTo>
                    <a:pt x="11803" y="3139"/>
                  </a:lnTo>
                  <a:lnTo>
                    <a:pt x="11826" y="3156"/>
                  </a:lnTo>
                  <a:lnTo>
                    <a:pt x="11847" y="3171"/>
                  </a:lnTo>
                  <a:lnTo>
                    <a:pt x="11847" y="2973"/>
                  </a:lnTo>
                  <a:lnTo>
                    <a:pt x="11769" y="2895"/>
                  </a:lnTo>
                  <a:lnTo>
                    <a:pt x="11764" y="2887"/>
                  </a:lnTo>
                  <a:lnTo>
                    <a:pt x="11762" y="2879"/>
                  </a:lnTo>
                  <a:lnTo>
                    <a:pt x="11765" y="2873"/>
                  </a:lnTo>
                  <a:lnTo>
                    <a:pt x="11769" y="2867"/>
                  </a:lnTo>
                  <a:lnTo>
                    <a:pt x="11775" y="2863"/>
                  </a:lnTo>
                  <a:lnTo>
                    <a:pt x="11782" y="2860"/>
                  </a:lnTo>
                  <a:lnTo>
                    <a:pt x="11789" y="2861"/>
                  </a:lnTo>
                  <a:lnTo>
                    <a:pt x="11797" y="2867"/>
                  </a:lnTo>
                  <a:lnTo>
                    <a:pt x="11847" y="2916"/>
                  </a:lnTo>
                  <a:lnTo>
                    <a:pt x="11847" y="2882"/>
                  </a:lnTo>
                  <a:lnTo>
                    <a:pt x="11847" y="2875"/>
                  </a:lnTo>
                  <a:close/>
                  <a:moveTo>
                    <a:pt x="11887" y="2960"/>
                  </a:moveTo>
                  <a:lnTo>
                    <a:pt x="11887" y="2968"/>
                  </a:lnTo>
                  <a:lnTo>
                    <a:pt x="11887" y="2960"/>
                  </a:lnTo>
                  <a:close/>
                  <a:moveTo>
                    <a:pt x="11887" y="2741"/>
                  </a:moveTo>
                  <a:lnTo>
                    <a:pt x="11887" y="2748"/>
                  </a:lnTo>
                  <a:lnTo>
                    <a:pt x="11887" y="2741"/>
                  </a:lnTo>
                  <a:close/>
                  <a:moveTo>
                    <a:pt x="11847" y="2882"/>
                  </a:moveTo>
                  <a:lnTo>
                    <a:pt x="11847" y="2875"/>
                  </a:lnTo>
                  <a:lnTo>
                    <a:pt x="11847" y="2882"/>
                  </a:lnTo>
                  <a:close/>
                  <a:moveTo>
                    <a:pt x="9740" y="1741"/>
                  </a:moveTo>
                  <a:lnTo>
                    <a:pt x="9740" y="1619"/>
                  </a:lnTo>
                  <a:lnTo>
                    <a:pt x="9741" y="1611"/>
                  </a:lnTo>
                  <a:lnTo>
                    <a:pt x="9747" y="1604"/>
                  </a:lnTo>
                  <a:lnTo>
                    <a:pt x="9753" y="1601"/>
                  </a:lnTo>
                  <a:lnTo>
                    <a:pt x="9761" y="1599"/>
                  </a:lnTo>
                  <a:lnTo>
                    <a:pt x="10006" y="1599"/>
                  </a:lnTo>
                  <a:lnTo>
                    <a:pt x="10013" y="1601"/>
                  </a:lnTo>
                  <a:lnTo>
                    <a:pt x="10020" y="1604"/>
                  </a:lnTo>
                  <a:lnTo>
                    <a:pt x="10024" y="1611"/>
                  </a:lnTo>
                  <a:lnTo>
                    <a:pt x="10026" y="1619"/>
                  </a:lnTo>
                  <a:lnTo>
                    <a:pt x="10026" y="1741"/>
                  </a:lnTo>
                  <a:lnTo>
                    <a:pt x="10978" y="1741"/>
                  </a:lnTo>
                  <a:lnTo>
                    <a:pt x="10987" y="1744"/>
                  </a:lnTo>
                  <a:lnTo>
                    <a:pt x="10994" y="1749"/>
                  </a:lnTo>
                  <a:lnTo>
                    <a:pt x="11211" y="2048"/>
                  </a:lnTo>
                  <a:lnTo>
                    <a:pt x="11235" y="2048"/>
                  </a:lnTo>
                  <a:lnTo>
                    <a:pt x="11242" y="2051"/>
                  </a:lnTo>
                  <a:lnTo>
                    <a:pt x="11248" y="2055"/>
                  </a:lnTo>
                  <a:lnTo>
                    <a:pt x="11253" y="2061"/>
                  </a:lnTo>
                  <a:lnTo>
                    <a:pt x="11255" y="2069"/>
                  </a:lnTo>
                  <a:lnTo>
                    <a:pt x="11255" y="2241"/>
                  </a:lnTo>
                  <a:lnTo>
                    <a:pt x="11253" y="2249"/>
                  </a:lnTo>
                  <a:lnTo>
                    <a:pt x="11248" y="2255"/>
                  </a:lnTo>
                  <a:lnTo>
                    <a:pt x="11242" y="2260"/>
                  </a:lnTo>
                  <a:lnTo>
                    <a:pt x="11235" y="2262"/>
                  </a:lnTo>
                  <a:lnTo>
                    <a:pt x="11224" y="2262"/>
                  </a:lnTo>
                  <a:lnTo>
                    <a:pt x="11224" y="3107"/>
                  </a:lnTo>
                  <a:lnTo>
                    <a:pt x="11223" y="3116"/>
                  </a:lnTo>
                  <a:lnTo>
                    <a:pt x="11217" y="3122"/>
                  </a:lnTo>
                  <a:lnTo>
                    <a:pt x="11211" y="3126"/>
                  </a:lnTo>
                  <a:lnTo>
                    <a:pt x="11205" y="3127"/>
                  </a:lnTo>
                  <a:lnTo>
                    <a:pt x="11197" y="3126"/>
                  </a:lnTo>
                  <a:lnTo>
                    <a:pt x="11190" y="3122"/>
                  </a:lnTo>
                  <a:lnTo>
                    <a:pt x="11185" y="3116"/>
                  </a:lnTo>
                  <a:lnTo>
                    <a:pt x="11184" y="3107"/>
                  </a:lnTo>
                  <a:lnTo>
                    <a:pt x="11184" y="2262"/>
                  </a:lnTo>
                  <a:lnTo>
                    <a:pt x="10285" y="2262"/>
                  </a:lnTo>
                  <a:lnTo>
                    <a:pt x="9388" y="2262"/>
                  </a:lnTo>
                  <a:lnTo>
                    <a:pt x="9388" y="3282"/>
                  </a:lnTo>
                  <a:lnTo>
                    <a:pt x="9388" y="4304"/>
                  </a:lnTo>
                  <a:lnTo>
                    <a:pt x="10285" y="4304"/>
                  </a:lnTo>
                  <a:lnTo>
                    <a:pt x="11184" y="4304"/>
                  </a:lnTo>
                  <a:lnTo>
                    <a:pt x="11184" y="3976"/>
                  </a:lnTo>
                  <a:lnTo>
                    <a:pt x="11185" y="3969"/>
                  </a:lnTo>
                  <a:lnTo>
                    <a:pt x="11190" y="3962"/>
                  </a:lnTo>
                  <a:lnTo>
                    <a:pt x="11197" y="3959"/>
                  </a:lnTo>
                  <a:lnTo>
                    <a:pt x="11205" y="3957"/>
                  </a:lnTo>
                  <a:lnTo>
                    <a:pt x="11211" y="3959"/>
                  </a:lnTo>
                  <a:lnTo>
                    <a:pt x="11217" y="3962"/>
                  </a:lnTo>
                  <a:lnTo>
                    <a:pt x="11223" y="3969"/>
                  </a:lnTo>
                  <a:lnTo>
                    <a:pt x="11224" y="3976"/>
                  </a:lnTo>
                  <a:lnTo>
                    <a:pt x="11224" y="4324"/>
                  </a:lnTo>
                  <a:lnTo>
                    <a:pt x="11223" y="4332"/>
                  </a:lnTo>
                  <a:lnTo>
                    <a:pt x="11217" y="4338"/>
                  </a:lnTo>
                  <a:lnTo>
                    <a:pt x="11211" y="4342"/>
                  </a:lnTo>
                  <a:lnTo>
                    <a:pt x="11205" y="4343"/>
                  </a:lnTo>
                  <a:lnTo>
                    <a:pt x="10285" y="4343"/>
                  </a:lnTo>
                  <a:lnTo>
                    <a:pt x="9367" y="4343"/>
                  </a:lnTo>
                  <a:lnTo>
                    <a:pt x="9361" y="4342"/>
                  </a:lnTo>
                  <a:lnTo>
                    <a:pt x="9354" y="4338"/>
                  </a:lnTo>
                  <a:lnTo>
                    <a:pt x="9349" y="4332"/>
                  </a:lnTo>
                  <a:lnTo>
                    <a:pt x="9348" y="4324"/>
                  </a:lnTo>
                  <a:lnTo>
                    <a:pt x="9348" y="3808"/>
                  </a:lnTo>
                  <a:lnTo>
                    <a:pt x="9348" y="3292"/>
                  </a:lnTo>
                  <a:lnTo>
                    <a:pt x="9348" y="2777"/>
                  </a:lnTo>
                  <a:lnTo>
                    <a:pt x="9348" y="2262"/>
                  </a:lnTo>
                  <a:lnTo>
                    <a:pt x="9336" y="2262"/>
                  </a:lnTo>
                  <a:lnTo>
                    <a:pt x="9329" y="2260"/>
                  </a:lnTo>
                  <a:lnTo>
                    <a:pt x="9322" y="2255"/>
                  </a:lnTo>
                  <a:lnTo>
                    <a:pt x="9318" y="2249"/>
                  </a:lnTo>
                  <a:lnTo>
                    <a:pt x="9317" y="2241"/>
                  </a:lnTo>
                  <a:lnTo>
                    <a:pt x="9317" y="2069"/>
                  </a:lnTo>
                  <a:lnTo>
                    <a:pt x="9318" y="2061"/>
                  </a:lnTo>
                  <a:lnTo>
                    <a:pt x="9322" y="2055"/>
                  </a:lnTo>
                  <a:lnTo>
                    <a:pt x="9329" y="2051"/>
                  </a:lnTo>
                  <a:lnTo>
                    <a:pt x="9336" y="2048"/>
                  </a:lnTo>
                  <a:lnTo>
                    <a:pt x="9364" y="2048"/>
                  </a:lnTo>
                  <a:lnTo>
                    <a:pt x="9581" y="1749"/>
                  </a:lnTo>
                  <a:lnTo>
                    <a:pt x="9589" y="1744"/>
                  </a:lnTo>
                  <a:lnTo>
                    <a:pt x="9598" y="1741"/>
                  </a:lnTo>
                  <a:lnTo>
                    <a:pt x="9740" y="1741"/>
                  </a:lnTo>
                  <a:close/>
                  <a:moveTo>
                    <a:pt x="9985" y="1741"/>
                  </a:moveTo>
                  <a:lnTo>
                    <a:pt x="9985" y="1639"/>
                  </a:lnTo>
                  <a:lnTo>
                    <a:pt x="9780" y="1639"/>
                  </a:lnTo>
                  <a:lnTo>
                    <a:pt x="9780" y="1741"/>
                  </a:lnTo>
                  <a:lnTo>
                    <a:pt x="9799" y="1741"/>
                  </a:lnTo>
                  <a:lnTo>
                    <a:pt x="9808" y="1743"/>
                  </a:lnTo>
                  <a:lnTo>
                    <a:pt x="9815" y="1748"/>
                  </a:lnTo>
                  <a:lnTo>
                    <a:pt x="9818" y="1754"/>
                  </a:lnTo>
                  <a:lnTo>
                    <a:pt x="9820" y="1762"/>
                  </a:lnTo>
                  <a:lnTo>
                    <a:pt x="9818" y="1768"/>
                  </a:lnTo>
                  <a:lnTo>
                    <a:pt x="9815" y="1775"/>
                  </a:lnTo>
                  <a:lnTo>
                    <a:pt x="9808" y="1780"/>
                  </a:lnTo>
                  <a:lnTo>
                    <a:pt x="9799" y="1781"/>
                  </a:lnTo>
                  <a:lnTo>
                    <a:pt x="9607" y="1781"/>
                  </a:lnTo>
                  <a:lnTo>
                    <a:pt x="9413" y="2048"/>
                  </a:lnTo>
                  <a:lnTo>
                    <a:pt x="10288" y="2048"/>
                  </a:lnTo>
                  <a:lnTo>
                    <a:pt x="11162" y="2048"/>
                  </a:lnTo>
                  <a:lnTo>
                    <a:pt x="10967" y="1781"/>
                  </a:lnTo>
                  <a:lnTo>
                    <a:pt x="9953" y="1781"/>
                  </a:lnTo>
                  <a:lnTo>
                    <a:pt x="9944" y="1780"/>
                  </a:lnTo>
                  <a:lnTo>
                    <a:pt x="9938" y="1775"/>
                  </a:lnTo>
                  <a:lnTo>
                    <a:pt x="9934" y="1768"/>
                  </a:lnTo>
                  <a:lnTo>
                    <a:pt x="9933" y="1762"/>
                  </a:lnTo>
                  <a:lnTo>
                    <a:pt x="9934" y="1754"/>
                  </a:lnTo>
                  <a:lnTo>
                    <a:pt x="9938" y="1748"/>
                  </a:lnTo>
                  <a:lnTo>
                    <a:pt x="9944" y="1743"/>
                  </a:lnTo>
                  <a:lnTo>
                    <a:pt x="9953" y="1741"/>
                  </a:lnTo>
                  <a:lnTo>
                    <a:pt x="9985" y="1741"/>
                  </a:lnTo>
                  <a:close/>
                  <a:moveTo>
                    <a:pt x="9372" y="2089"/>
                  </a:moveTo>
                  <a:lnTo>
                    <a:pt x="9357" y="2089"/>
                  </a:lnTo>
                  <a:lnTo>
                    <a:pt x="9357" y="2222"/>
                  </a:lnTo>
                  <a:lnTo>
                    <a:pt x="10285" y="2222"/>
                  </a:lnTo>
                  <a:lnTo>
                    <a:pt x="11215" y="2222"/>
                  </a:lnTo>
                  <a:lnTo>
                    <a:pt x="11215" y="2089"/>
                  </a:lnTo>
                  <a:lnTo>
                    <a:pt x="11205" y="2089"/>
                  </a:lnTo>
                  <a:lnTo>
                    <a:pt x="11198" y="2089"/>
                  </a:lnTo>
                  <a:lnTo>
                    <a:pt x="10288" y="2089"/>
                  </a:lnTo>
                  <a:lnTo>
                    <a:pt x="9379" y="2089"/>
                  </a:lnTo>
                  <a:lnTo>
                    <a:pt x="9372" y="2089"/>
                  </a:lnTo>
                  <a:close/>
                  <a:moveTo>
                    <a:pt x="11205" y="2089"/>
                  </a:moveTo>
                  <a:lnTo>
                    <a:pt x="11198" y="2089"/>
                  </a:lnTo>
                  <a:lnTo>
                    <a:pt x="11205" y="2089"/>
                  </a:lnTo>
                  <a:close/>
                  <a:moveTo>
                    <a:pt x="9379" y="2089"/>
                  </a:moveTo>
                  <a:lnTo>
                    <a:pt x="9372" y="2089"/>
                  </a:lnTo>
                  <a:lnTo>
                    <a:pt x="9379" y="2089"/>
                  </a:lnTo>
                  <a:close/>
                  <a:moveTo>
                    <a:pt x="11106" y="1136"/>
                  </a:moveTo>
                  <a:lnTo>
                    <a:pt x="11083" y="1126"/>
                  </a:lnTo>
                  <a:lnTo>
                    <a:pt x="11056" y="1122"/>
                  </a:lnTo>
                  <a:lnTo>
                    <a:pt x="11035" y="1125"/>
                  </a:lnTo>
                  <a:lnTo>
                    <a:pt x="11017" y="1130"/>
                  </a:lnTo>
                  <a:lnTo>
                    <a:pt x="10999" y="1140"/>
                  </a:lnTo>
                  <a:lnTo>
                    <a:pt x="10985" y="1152"/>
                  </a:lnTo>
                  <a:lnTo>
                    <a:pt x="10972" y="1167"/>
                  </a:lnTo>
                  <a:lnTo>
                    <a:pt x="10963" y="1185"/>
                  </a:lnTo>
                  <a:lnTo>
                    <a:pt x="10957" y="1204"/>
                  </a:lnTo>
                  <a:lnTo>
                    <a:pt x="10956" y="1225"/>
                  </a:lnTo>
                  <a:lnTo>
                    <a:pt x="10958" y="1246"/>
                  </a:lnTo>
                  <a:lnTo>
                    <a:pt x="11683" y="1245"/>
                  </a:lnTo>
                  <a:lnTo>
                    <a:pt x="11683" y="1227"/>
                  </a:lnTo>
                  <a:lnTo>
                    <a:pt x="11682" y="1208"/>
                  </a:lnTo>
                  <a:lnTo>
                    <a:pt x="11675" y="1190"/>
                  </a:lnTo>
                  <a:lnTo>
                    <a:pt x="11666" y="1174"/>
                  </a:lnTo>
                  <a:lnTo>
                    <a:pt x="11653" y="1159"/>
                  </a:lnTo>
                  <a:lnTo>
                    <a:pt x="11647" y="1153"/>
                  </a:lnTo>
                  <a:lnTo>
                    <a:pt x="11639" y="1148"/>
                  </a:lnTo>
                  <a:lnTo>
                    <a:pt x="11621" y="1139"/>
                  </a:lnTo>
                  <a:lnTo>
                    <a:pt x="11603" y="1133"/>
                  </a:lnTo>
                  <a:lnTo>
                    <a:pt x="11583" y="1131"/>
                  </a:lnTo>
                  <a:lnTo>
                    <a:pt x="11558" y="1134"/>
                  </a:lnTo>
                  <a:lnTo>
                    <a:pt x="11542" y="1138"/>
                  </a:lnTo>
                  <a:lnTo>
                    <a:pt x="11523" y="1139"/>
                  </a:lnTo>
                  <a:lnTo>
                    <a:pt x="11489" y="1133"/>
                  </a:lnTo>
                  <a:lnTo>
                    <a:pt x="11489" y="1113"/>
                  </a:lnTo>
                  <a:lnTo>
                    <a:pt x="11487" y="1096"/>
                  </a:lnTo>
                  <a:lnTo>
                    <a:pt x="11482" y="1078"/>
                  </a:lnTo>
                  <a:lnTo>
                    <a:pt x="11476" y="1061"/>
                  </a:lnTo>
                  <a:lnTo>
                    <a:pt x="11469" y="1044"/>
                  </a:lnTo>
                  <a:lnTo>
                    <a:pt x="11460" y="1030"/>
                  </a:lnTo>
                  <a:lnTo>
                    <a:pt x="11451" y="1016"/>
                  </a:lnTo>
                  <a:lnTo>
                    <a:pt x="11439" y="1002"/>
                  </a:lnTo>
                  <a:lnTo>
                    <a:pt x="11412" y="980"/>
                  </a:lnTo>
                  <a:lnTo>
                    <a:pt x="11383" y="964"/>
                  </a:lnTo>
                  <a:lnTo>
                    <a:pt x="11366" y="957"/>
                  </a:lnTo>
                  <a:lnTo>
                    <a:pt x="11349" y="954"/>
                  </a:lnTo>
                  <a:lnTo>
                    <a:pt x="11312" y="950"/>
                  </a:lnTo>
                  <a:lnTo>
                    <a:pt x="11278" y="954"/>
                  </a:lnTo>
                  <a:lnTo>
                    <a:pt x="11261" y="957"/>
                  </a:lnTo>
                  <a:lnTo>
                    <a:pt x="11246" y="963"/>
                  </a:lnTo>
                  <a:lnTo>
                    <a:pt x="11230" y="970"/>
                  </a:lnTo>
                  <a:lnTo>
                    <a:pt x="11216" y="978"/>
                  </a:lnTo>
                  <a:lnTo>
                    <a:pt x="11190" y="998"/>
                  </a:lnTo>
                  <a:lnTo>
                    <a:pt x="11170" y="1024"/>
                  </a:lnTo>
                  <a:lnTo>
                    <a:pt x="11153" y="1053"/>
                  </a:lnTo>
                  <a:lnTo>
                    <a:pt x="11147" y="1069"/>
                  </a:lnTo>
                  <a:lnTo>
                    <a:pt x="11142" y="1085"/>
                  </a:lnTo>
                  <a:lnTo>
                    <a:pt x="11138" y="1102"/>
                  </a:lnTo>
                  <a:lnTo>
                    <a:pt x="11137" y="1120"/>
                  </a:lnTo>
                  <a:lnTo>
                    <a:pt x="11134" y="1131"/>
                  </a:lnTo>
                  <a:lnTo>
                    <a:pt x="11126" y="1138"/>
                  </a:lnTo>
                  <a:lnTo>
                    <a:pt x="11122" y="1139"/>
                  </a:lnTo>
                  <a:lnTo>
                    <a:pt x="11117" y="1140"/>
                  </a:lnTo>
                  <a:lnTo>
                    <a:pt x="11106" y="1136"/>
                  </a:lnTo>
                  <a:close/>
                  <a:moveTo>
                    <a:pt x="11528" y="1106"/>
                  </a:moveTo>
                  <a:lnTo>
                    <a:pt x="11539" y="1098"/>
                  </a:lnTo>
                  <a:lnTo>
                    <a:pt x="11555" y="1094"/>
                  </a:lnTo>
                  <a:lnTo>
                    <a:pt x="11583" y="1090"/>
                  </a:lnTo>
                  <a:lnTo>
                    <a:pt x="11611" y="1094"/>
                  </a:lnTo>
                  <a:lnTo>
                    <a:pt x="11624" y="1097"/>
                  </a:lnTo>
                  <a:lnTo>
                    <a:pt x="11637" y="1102"/>
                  </a:lnTo>
                  <a:lnTo>
                    <a:pt x="11660" y="1115"/>
                  </a:lnTo>
                  <a:lnTo>
                    <a:pt x="11682" y="1131"/>
                  </a:lnTo>
                  <a:lnTo>
                    <a:pt x="11698" y="1151"/>
                  </a:lnTo>
                  <a:lnTo>
                    <a:pt x="11712" y="1174"/>
                  </a:lnTo>
                  <a:lnTo>
                    <a:pt x="11720" y="1199"/>
                  </a:lnTo>
                  <a:lnTo>
                    <a:pt x="11723" y="1213"/>
                  </a:lnTo>
                  <a:lnTo>
                    <a:pt x="11723" y="1227"/>
                  </a:lnTo>
                  <a:lnTo>
                    <a:pt x="11723" y="1243"/>
                  </a:lnTo>
                  <a:lnTo>
                    <a:pt x="11721" y="1262"/>
                  </a:lnTo>
                  <a:lnTo>
                    <a:pt x="11714" y="1278"/>
                  </a:lnTo>
                  <a:lnTo>
                    <a:pt x="11707" y="1284"/>
                  </a:lnTo>
                  <a:lnTo>
                    <a:pt x="11700" y="1285"/>
                  </a:lnTo>
                  <a:lnTo>
                    <a:pt x="10943" y="1286"/>
                  </a:lnTo>
                  <a:lnTo>
                    <a:pt x="10934" y="1285"/>
                  </a:lnTo>
                  <a:lnTo>
                    <a:pt x="10928" y="1280"/>
                  </a:lnTo>
                  <a:lnTo>
                    <a:pt x="10924" y="1271"/>
                  </a:lnTo>
                  <a:lnTo>
                    <a:pt x="10920" y="1262"/>
                  </a:lnTo>
                  <a:lnTo>
                    <a:pt x="10916" y="1240"/>
                  </a:lnTo>
                  <a:lnTo>
                    <a:pt x="10915" y="1225"/>
                  </a:lnTo>
                  <a:lnTo>
                    <a:pt x="10919" y="1197"/>
                  </a:lnTo>
                  <a:lnTo>
                    <a:pt x="10926" y="1170"/>
                  </a:lnTo>
                  <a:lnTo>
                    <a:pt x="10939" y="1145"/>
                  </a:lnTo>
                  <a:lnTo>
                    <a:pt x="10956" y="1125"/>
                  </a:lnTo>
                  <a:lnTo>
                    <a:pt x="10978" y="1107"/>
                  </a:lnTo>
                  <a:lnTo>
                    <a:pt x="10989" y="1099"/>
                  </a:lnTo>
                  <a:lnTo>
                    <a:pt x="11001" y="1094"/>
                  </a:lnTo>
                  <a:lnTo>
                    <a:pt x="11028" y="1085"/>
                  </a:lnTo>
                  <a:lnTo>
                    <a:pt x="11042" y="1083"/>
                  </a:lnTo>
                  <a:lnTo>
                    <a:pt x="11056" y="1083"/>
                  </a:lnTo>
                  <a:lnTo>
                    <a:pt x="11079" y="1084"/>
                  </a:lnTo>
                  <a:lnTo>
                    <a:pt x="11101" y="1089"/>
                  </a:lnTo>
                  <a:lnTo>
                    <a:pt x="11110" y="1052"/>
                  </a:lnTo>
                  <a:lnTo>
                    <a:pt x="11126" y="1019"/>
                  </a:lnTo>
                  <a:lnTo>
                    <a:pt x="11147" y="988"/>
                  </a:lnTo>
                  <a:lnTo>
                    <a:pt x="11173" y="961"/>
                  </a:lnTo>
                  <a:lnTo>
                    <a:pt x="11202" y="940"/>
                  </a:lnTo>
                  <a:lnTo>
                    <a:pt x="11237" y="923"/>
                  </a:lnTo>
                  <a:lnTo>
                    <a:pt x="11274" y="913"/>
                  </a:lnTo>
                  <a:lnTo>
                    <a:pt x="11312" y="910"/>
                  </a:lnTo>
                  <a:lnTo>
                    <a:pt x="11355" y="914"/>
                  </a:lnTo>
                  <a:lnTo>
                    <a:pt x="11374" y="918"/>
                  </a:lnTo>
                  <a:lnTo>
                    <a:pt x="11393" y="925"/>
                  </a:lnTo>
                  <a:lnTo>
                    <a:pt x="11428" y="942"/>
                  </a:lnTo>
                  <a:lnTo>
                    <a:pt x="11444" y="954"/>
                  </a:lnTo>
                  <a:lnTo>
                    <a:pt x="11458" y="966"/>
                  </a:lnTo>
                  <a:lnTo>
                    <a:pt x="11473" y="980"/>
                  </a:lnTo>
                  <a:lnTo>
                    <a:pt x="11485" y="996"/>
                  </a:lnTo>
                  <a:lnTo>
                    <a:pt x="11506" y="1029"/>
                  </a:lnTo>
                  <a:lnTo>
                    <a:pt x="11514" y="1047"/>
                  </a:lnTo>
                  <a:lnTo>
                    <a:pt x="11520" y="1066"/>
                  </a:lnTo>
                  <a:lnTo>
                    <a:pt x="11525" y="1085"/>
                  </a:lnTo>
                  <a:lnTo>
                    <a:pt x="11528" y="1106"/>
                  </a:lnTo>
                  <a:close/>
                  <a:moveTo>
                    <a:pt x="13515" y="644"/>
                  </a:moveTo>
                  <a:lnTo>
                    <a:pt x="13404" y="644"/>
                  </a:lnTo>
                  <a:lnTo>
                    <a:pt x="13404" y="754"/>
                  </a:lnTo>
                  <a:lnTo>
                    <a:pt x="13515" y="754"/>
                  </a:lnTo>
                  <a:lnTo>
                    <a:pt x="13515" y="644"/>
                  </a:lnTo>
                  <a:close/>
                  <a:moveTo>
                    <a:pt x="13534" y="605"/>
                  </a:moveTo>
                  <a:lnTo>
                    <a:pt x="13542" y="606"/>
                  </a:lnTo>
                  <a:lnTo>
                    <a:pt x="13549" y="611"/>
                  </a:lnTo>
                  <a:lnTo>
                    <a:pt x="13552" y="617"/>
                  </a:lnTo>
                  <a:lnTo>
                    <a:pt x="13555" y="624"/>
                  </a:lnTo>
                  <a:lnTo>
                    <a:pt x="13555" y="754"/>
                  </a:lnTo>
                  <a:lnTo>
                    <a:pt x="14078" y="754"/>
                  </a:lnTo>
                  <a:lnTo>
                    <a:pt x="14086" y="757"/>
                  </a:lnTo>
                  <a:lnTo>
                    <a:pt x="14092" y="761"/>
                  </a:lnTo>
                  <a:lnTo>
                    <a:pt x="14097" y="767"/>
                  </a:lnTo>
                  <a:lnTo>
                    <a:pt x="14099" y="775"/>
                  </a:lnTo>
                  <a:lnTo>
                    <a:pt x="14099" y="1471"/>
                  </a:lnTo>
                  <a:lnTo>
                    <a:pt x="14099" y="2170"/>
                  </a:lnTo>
                  <a:lnTo>
                    <a:pt x="14097" y="2177"/>
                  </a:lnTo>
                  <a:lnTo>
                    <a:pt x="14092" y="2184"/>
                  </a:lnTo>
                  <a:lnTo>
                    <a:pt x="14086" y="2188"/>
                  </a:lnTo>
                  <a:lnTo>
                    <a:pt x="14078" y="2189"/>
                  </a:lnTo>
                  <a:lnTo>
                    <a:pt x="14072" y="2188"/>
                  </a:lnTo>
                  <a:lnTo>
                    <a:pt x="14065" y="2184"/>
                  </a:lnTo>
                  <a:lnTo>
                    <a:pt x="14060" y="2177"/>
                  </a:lnTo>
                  <a:lnTo>
                    <a:pt x="14059" y="2170"/>
                  </a:lnTo>
                  <a:lnTo>
                    <a:pt x="14059" y="1482"/>
                  </a:lnTo>
                  <a:lnTo>
                    <a:pt x="14059" y="795"/>
                  </a:lnTo>
                  <a:lnTo>
                    <a:pt x="13534" y="795"/>
                  </a:lnTo>
                  <a:lnTo>
                    <a:pt x="13384" y="795"/>
                  </a:lnTo>
                  <a:lnTo>
                    <a:pt x="13150" y="795"/>
                  </a:lnTo>
                  <a:lnTo>
                    <a:pt x="13141" y="793"/>
                  </a:lnTo>
                  <a:lnTo>
                    <a:pt x="13134" y="789"/>
                  </a:lnTo>
                  <a:lnTo>
                    <a:pt x="13131" y="782"/>
                  </a:lnTo>
                  <a:lnTo>
                    <a:pt x="13129" y="775"/>
                  </a:lnTo>
                  <a:lnTo>
                    <a:pt x="13131" y="767"/>
                  </a:lnTo>
                  <a:lnTo>
                    <a:pt x="13134" y="761"/>
                  </a:lnTo>
                  <a:lnTo>
                    <a:pt x="13141" y="757"/>
                  </a:lnTo>
                  <a:lnTo>
                    <a:pt x="13150" y="754"/>
                  </a:lnTo>
                  <a:lnTo>
                    <a:pt x="13201" y="754"/>
                  </a:lnTo>
                  <a:lnTo>
                    <a:pt x="13201" y="612"/>
                  </a:lnTo>
                  <a:lnTo>
                    <a:pt x="12798" y="612"/>
                  </a:lnTo>
                  <a:lnTo>
                    <a:pt x="12798" y="754"/>
                  </a:lnTo>
                  <a:lnTo>
                    <a:pt x="12852" y="754"/>
                  </a:lnTo>
                  <a:lnTo>
                    <a:pt x="12861" y="757"/>
                  </a:lnTo>
                  <a:lnTo>
                    <a:pt x="12868" y="761"/>
                  </a:lnTo>
                  <a:lnTo>
                    <a:pt x="12872" y="767"/>
                  </a:lnTo>
                  <a:lnTo>
                    <a:pt x="12873" y="775"/>
                  </a:lnTo>
                  <a:lnTo>
                    <a:pt x="12872" y="782"/>
                  </a:lnTo>
                  <a:lnTo>
                    <a:pt x="12868" y="789"/>
                  </a:lnTo>
                  <a:lnTo>
                    <a:pt x="12861" y="793"/>
                  </a:lnTo>
                  <a:lnTo>
                    <a:pt x="12852" y="795"/>
                  </a:lnTo>
                  <a:lnTo>
                    <a:pt x="12664" y="795"/>
                  </a:lnTo>
                  <a:lnTo>
                    <a:pt x="12664" y="1810"/>
                  </a:lnTo>
                  <a:lnTo>
                    <a:pt x="12664" y="2826"/>
                  </a:lnTo>
                  <a:lnTo>
                    <a:pt x="12661" y="2835"/>
                  </a:lnTo>
                  <a:lnTo>
                    <a:pt x="12657" y="2840"/>
                  </a:lnTo>
                  <a:lnTo>
                    <a:pt x="12651" y="2844"/>
                  </a:lnTo>
                  <a:lnTo>
                    <a:pt x="12643" y="2845"/>
                  </a:lnTo>
                  <a:lnTo>
                    <a:pt x="12636" y="2844"/>
                  </a:lnTo>
                  <a:lnTo>
                    <a:pt x="12629" y="2840"/>
                  </a:lnTo>
                  <a:lnTo>
                    <a:pt x="12625" y="2835"/>
                  </a:lnTo>
                  <a:lnTo>
                    <a:pt x="12624" y="2826"/>
                  </a:lnTo>
                  <a:lnTo>
                    <a:pt x="12624" y="2313"/>
                  </a:lnTo>
                  <a:lnTo>
                    <a:pt x="12624" y="1800"/>
                  </a:lnTo>
                  <a:lnTo>
                    <a:pt x="12624" y="1287"/>
                  </a:lnTo>
                  <a:lnTo>
                    <a:pt x="12624" y="775"/>
                  </a:lnTo>
                  <a:lnTo>
                    <a:pt x="12625" y="767"/>
                  </a:lnTo>
                  <a:lnTo>
                    <a:pt x="12629" y="761"/>
                  </a:lnTo>
                  <a:lnTo>
                    <a:pt x="12636" y="757"/>
                  </a:lnTo>
                  <a:lnTo>
                    <a:pt x="12643" y="754"/>
                  </a:lnTo>
                  <a:lnTo>
                    <a:pt x="12759" y="754"/>
                  </a:lnTo>
                  <a:lnTo>
                    <a:pt x="12759" y="592"/>
                  </a:lnTo>
                  <a:lnTo>
                    <a:pt x="12760" y="584"/>
                  </a:lnTo>
                  <a:lnTo>
                    <a:pt x="12764" y="578"/>
                  </a:lnTo>
                  <a:lnTo>
                    <a:pt x="12770" y="574"/>
                  </a:lnTo>
                  <a:lnTo>
                    <a:pt x="12778" y="573"/>
                  </a:lnTo>
                  <a:lnTo>
                    <a:pt x="13220" y="573"/>
                  </a:lnTo>
                  <a:lnTo>
                    <a:pt x="13228" y="574"/>
                  </a:lnTo>
                  <a:lnTo>
                    <a:pt x="13234" y="578"/>
                  </a:lnTo>
                  <a:lnTo>
                    <a:pt x="13240" y="584"/>
                  </a:lnTo>
                  <a:lnTo>
                    <a:pt x="13241" y="592"/>
                  </a:lnTo>
                  <a:lnTo>
                    <a:pt x="13241" y="754"/>
                  </a:lnTo>
                  <a:lnTo>
                    <a:pt x="13364" y="754"/>
                  </a:lnTo>
                  <a:lnTo>
                    <a:pt x="13364" y="624"/>
                  </a:lnTo>
                  <a:lnTo>
                    <a:pt x="13365" y="617"/>
                  </a:lnTo>
                  <a:lnTo>
                    <a:pt x="13370" y="611"/>
                  </a:lnTo>
                  <a:lnTo>
                    <a:pt x="13377" y="606"/>
                  </a:lnTo>
                  <a:lnTo>
                    <a:pt x="13384" y="605"/>
                  </a:lnTo>
                  <a:lnTo>
                    <a:pt x="13534" y="605"/>
                  </a:lnTo>
                  <a:close/>
                  <a:moveTo>
                    <a:pt x="15835" y="2587"/>
                  </a:moveTo>
                  <a:lnTo>
                    <a:pt x="15677" y="2587"/>
                  </a:lnTo>
                  <a:lnTo>
                    <a:pt x="15677" y="3445"/>
                  </a:lnTo>
                  <a:lnTo>
                    <a:pt x="15677" y="4304"/>
                  </a:lnTo>
                  <a:lnTo>
                    <a:pt x="16008" y="4304"/>
                  </a:lnTo>
                  <a:lnTo>
                    <a:pt x="16008" y="3419"/>
                  </a:lnTo>
                  <a:lnTo>
                    <a:pt x="16008" y="2534"/>
                  </a:lnTo>
                  <a:lnTo>
                    <a:pt x="16009" y="2525"/>
                  </a:lnTo>
                  <a:lnTo>
                    <a:pt x="16012" y="2519"/>
                  </a:lnTo>
                  <a:lnTo>
                    <a:pt x="16016" y="2515"/>
                  </a:lnTo>
                  <a:lnTo>
                    <a:pt x="16021" y="2511"/>
                  </a:lnTo>
                  <a:lnTo>
                    <a:pt x="16027" y="2511"/>
                  </a:lnTo>
                  <a:lnTo>
                    <a:pt x="16032" y="2512"/>
                  </a:lnTo>
                  <a:lnTo>
                    <a:pt x="16039" y="2516"/>
                  </a:lnTo>
                  <a:lnTo>
                    <a:pt x="16045" y="2523"/>
                  </a:lnTo>
                  <a:lnTo>
                    <a:pt x="16536" y="3199"/>
                  </a:lnTo>
                  <a:lnTo>
                    <a:pt x="16536" y="2534"/>
                  </a:lnTo>
                  <a:lnTo>
                    <a:pt x="16538" y="2525"/>
                  </a:lnTo>
                  <a:lnTo>
                    <a:pt x="16540" y="2519"/>
                  </a:lnTo>
                  <a:lnTo>
                    <a:pt x="16544" y="2515"/>
                  </a:lnTo>
                  <a:lnTo>
                    <a:pt x="16549" y="2511"/>
                  </a:lnTo>
                  <a:lnTo>
                    <a:pt x="16556" y="2511"/>
                  </a:lnTo>
                  <a:lnTo>
                    <a:pt x="16562" y="2512"/>
                  </a:lnTo>
                  <a:lnTo>
                    <a:pt x="16567" y="2516"/>
                  </a:lnTo>
                  <a:lnTo>
                    <a:pt x="16573" y="2523"/>
                  </a:lnTo>
                  <a:lnTo>
                    <a:pt x="17076" y="3214"/>
                  </a:lnTo>
                  <a:lnTo>
                    <a:pt x="17076" y="2534"/>
                  </a:lnTo>
                  <a:lnTo>
                    <a:pt x="17077" y="2525"/>
                  </a:lnTo>
                  <a:lnTo>
                    <a:pt x="17080" y="2519"/>
                  </a:lnTo>
                  <a:lnTo>
                    <a:pt x="17084" y="2515"/>
                  </a:lnTo>
                  <a:lnTo>
                    <a:pt x="17089" y="2511"/>
                  </a:lnTo>
                  <a:lnTo>
                    <a:pt x="17094" y="2511"/>
                  </a:lnTo>
                  <a:lnTo>
                    <a:pt x="17100" y="2512"/>
                  </a:lnTo>
                  <a:lnTo>
                    <a:pt x="17107" y="2516"/>
                  </a:lnTo>
                  <a:lnTo>
                    <a:pt x="17112" y="2523"/>
                  </a:lnTo>
                  <a:lnTo>
                    <a:pt x="17640" y="3249"/>
                  </a:lnTo>
                  <a:lnTo>
                    <a:pt x="17644" y="3258"/>
                  </a:lnTo>
                  <a:lnTo>
                    <a:pt x="17644" y="3265"/>
                  </a:lnTo>
                  <a:lnTo>
                    <a:pt x="17642" y="3272"/>
                  </a:lnTo>
                  <a:lnTo>
                    <a:pt x="17636" y="3277"/>
                  </a:lnTo>
                  <a:lnTo>
                    <a:pt x="17630" y="3281"/>
                  </a:lnTo>
                  <a:lnTo>
                    <a:pt x="17622" y="3281"/>
                  </a:lnTo>
                  <a:lnTo>
                    <a:pt x="17615" y="3280"/>
                  </a:lnTo>
                  <a:lnTo>
                    <a:pt x="17608" y="3273"/>
                  </a:lnTo>
                  <a:lnTo>
                    <a:pt x="17116" y="2595"/>
                  </a:lnTo>
                  <a:lnTo>
                    <a:pt x="17116" y="3262"/>
                  </a:lnTo>
                  <a:lnTo>
                    <a:pt x="17113" y="3271"/>
                  </a:lnTo>
                  <a:lnTo>
                    <a:pt x="17108" y="3278"/>
                  </a:lnTo>
                  <a:lnTo>
                    <a:pt x="17099" y="3281"/>
                  </a:lnTo>
                  <a:lnTo>
                    <a:pt x="17090" y="3281"/>
                  </a:lnTo>
                  <a:lnTo>
                    <a:pt x="17080" y="3281"/>
                  </a:lnTo>
                  <a:lnTo>
                    <a:pt x="17074" y="3278"/>
                  </a:lnTo>
                  <a:lnTo>
                    <a:pt x="17070" y="3273"/>
                  </a:lnTo>
                  <a:lnTo>
                    <a:pt x="16577" y="2595"/>
                  </a:lnTo>
                  <a:lnTo>
                    <a:pt x="16577" y="3258"/>
                  </a:lnTo>
                  <a:lnTo>
                    <a:pt x="16577" y="3264"/>
                  </a:lnTo>
                  <a:lnTo>
                    <a:pt x="16575" y="3269"/>
                  </a:lnTo>
                  <a:lnTo>
                    <a:pt x="16571" y="3276"/>
                  </a:lnTo>
                  <a:lnTo>
                    <a:pt x="16563" y="3281"/>
                  </a:lnTo>
                  <a:lnTo>
                    <a:pt x="16554" y="3281"/>
                  </a:lnTo>
                  <a:lnTo>
                    <a:pt x="16547" y="3278"/>
                  </a:lnTo>
                  <a:lnTo>
                    <a:pt x="16541" y="3276"/>
                  </a:lnTo>
                  <a:lnTo>
                    <a:pt x="16539" y="3271"/>
                  </a:lnTo>
                  <a:lnTo>
                    <a:pt x="16049" y="2595"/>
                  </a:lnTo>
                  <a:lnTo>
                    <a:pt x="16049" y="3450"/>
                  </a:lnTo>
                  <a:lnTo>
                    <a:pt x="16049" y="4304"/>
                  </a:lnTo>
                  <a:lnTo>
                    <a:pt x="16844" y="4304"/>
                  </a:lnTo>
                  <a:lnTo>
                    <a:pt x="16853" y="4305"/>
                  </a:lnTo>
                  <a:lnTo>
                    <a:pt x="16859" y="4310"/>
                  </a:lnTo>
                  <a:lnTo>
                    <a:pt x="16863" y="4317"/>
                  </a:lnTo>
                  <a:lnTo>
                    <a:pt x="16865" y="4324"/>
                  </a:lnTo>
                  <a:lnTo>
                    <a:pt x="16863" y="4331"/>
                  </a:lnTo>
                  <a:lnTo>
                    <a:pt x="16859" y="4337"/>
                  </a:lnTo>
                  <a:lnTo>
                    <a:pt x="16853" y="4342"/>
                  </a:lnTo>
                  <a:lnTo>
                    <a:pt x="16844" y="4343"/>
                  </a:lnTo>
                  <a:lnTo>
                    <a:pt x="16250" y="4343"/>
                  </a:lnTo>
                  <a:lnTo>
                    <a:pt x="15657" y="4343"/>
                  </a:lnTo>
                  <a:lnTo>
                    <a:pt x="14760" y="4343"/>
                  </a:lnTo>
                  <a:lnTo>
                    <a:pt x="13864" y="4343"/>
                  </a:lnTo>
                  <a:lnTo>
                    <a:pt x="13856" y="4342"/>
                  </a:lnTo>
                  <a:lnTo>
                    <a:pt x="13850" y="4338"/>
                  </a:lnTo>
                  <a:lnTo>
                    <a:pt x="13846" y="4332"/>
                  </a:lnTo>
                  <a:lnTo>
                    <a:pt x="13843" y="4324"/>
                  </a:lnTo>
                  <a:lnTo>
                    <a:pt x="13843" y="3455"/>
                  </a:lnTo>
                  <a:lnTo>
                    <a:pt x="13843" y="2587"/>
                  </a:lnTo>
                  <a:lnTo>
                    <a:pt x="13686" y="2587"/>
                  </a:lnTo>
                  <a:lnTo>
                    <a:pt x="13677" y="2585"/>
                  </a:lnTo>
                  <a:lnTo>
                    <a:pt x="13670" y="2581"/>
                  </a:lnTo>
                  <a:lnTo>
                    <a:pt x="13667" y="2575"/>
                  </a:lnTo>
                  <a:lnTo>
                    <a:pt x="13665" y="2567"/>
                  </a:lnTo>
                  <a:lnTo>
                    <a:pt x="13667" y="2560"/>
                  </a:lnTo>
                  <a:lnTo>
                    <a:pt x="13670" y="2553"/>
                  </a:lnTo>
                  <a:lnTo>
                    <a:pt x="13677" y="2549"/>
                  </a:lnTo>
                  <a:lnTo>
                    <a:pt x="13686" y="2547"/>
                  </a:lnTo>
                  <a:lnTo>
                    <a:pt x="13963" y="2547"/>
                  </a:lnTo>
                  <a:lnTo>
                    <a:pt x="13963" y="2374"/>
                  </a:lnTo>
                  <a:lnTo>
                    <a:pt x="13964" y="2367"/>
                  </a:lnTo>
                  <a:lnTo>
                    <a:pt x="13968" y="2360"/>
                  </a:lnTo>
                  <a:lnTo>
                    <a:pt x="13974" y="2355"/>
                  </a:lnTo>
                  <a:lnTo>
                    <a:pt x="13982" y="2354"/>
                  </a:lnTo>
                  <a:lnTo>
                    <a:pt x="14750" y="2354"/>
                  </a:lnTo>
                  <a:lnTo>
                    <a:pt x="15519" y="2354"/>
                  </a:lnTo>
                  <a:lnTo>
                    <a:pt x="15527" y="2355"/>
                  </a:lnTo>
                  <a:lnTo>
                    <a:pt x="15534" y="2360"/>
                  </a:lnTo>
                  <a:lnTo>
                    <a:pt x="15537" y="2367"/>
                  </a:lnTo>
                  <a:lnTo>
                    <a:pt x="15539" y="2374"/>
                  </a:lnTo>
                  <a:lnTo>
                    <a:pt x="15539" y="2547"/>
                  </a:lnTo>
                  <a:lnTo>
                    <a:pt x="15835" y="2547"/>
                  </a:lnTo>
                  <a:lnTo>
                    <a:pt x="15844" y="2549"/>
                  </a:lnTo>
                  <a:lnTo>
                    <a:pt x="15850" y="2553"/>
                  </a:lnTo>
                  <a:lnTo>
                    <a:pt x="15854" y="2560"/>
                  </a:lnTo>
                  <a:lnTo>
                    <a:pt x="15855" y="2567"/>
                  </a:lnTo>
                  <a:lnTo>
                    <a:pt x="15854" y="2575"/>
                  </a:lnTo>
                  <a:lnTo>
                    <a:pt x="15850" y="2581"/>
                  </a:lnTo>
                  <a:lnTo>
                    <a:pt x="15844" y="2585"/>
                  </a:lnTo>
                  <a:lnTo>
                    <a:pt x="15835" y="2587"/>
                  </a:lnTo>
                  <a:close/>
                  <a:moveTo>
                    <a:pt x="15636" y="2587"/>
                  </a:moveTo>
                  <a:lnTo>
                    <a:pt x="14760" y="2587"/>
                  </a:lnTo>
                  <a:lnTo>
                    <a:pt x="13885" y="2587"/>
                  </a:lnTo>
                  <a:lnTo>
                    <a:pt x="13885" y="3445"/>
                  </a:lnTo>
                  <a:lnTo>
                    <a:pt x="13885" y="4304"/>
                  </a:lnTo>
                  <a:lnTo>
                    <a:pt x="14760" y="4304"/>
                  </a:lnTo>
                  <a:lnTo>
                    <a:pt x="15636" y="4304"/>
                  </a:lnTo>
                  <a:lnTo>
                    <a:pt x="15636" y="3445"/>
                  </a:lnTo>
                  <a:lnTo>
                    <a:pt x="15636" y="2587"/>
                  </a:lnTo>
                  <a:close/>
                  <a:moveTo>
                    <a:pt x="14002" y="2547"/>
                  </a:moveTo>
                  <a:lnTo>
                    <a:pt x="14750" y="2547"/>
                  </a:lnTo>
                  <a:lnTo>
                    <a:pt x="15499" y="2547"/>
                  </a:lnTo>
                  <a:lnTo>
                    <a:pt x="15499" y="2393"/>
                  </a:lnTo>
                  <a:lnTo>
                    <a:pt x="14750" y="2393"/>
                  </a:lnTo>
                  <a:lnTo>
                    <a:pt x="14002" y="2393"/>
                  </a:lnTo>
                  <a:lnTo>
                    <a:pt x="14002" y="2547"/>
                  </a:lnTo>
                  <a:close/>
                  <a:moveTo>
                    <a:pt x="15171" y="3639"/>
                  </a:moveTo>
                  <a:lnTo>
                    <a:pt x="15171" y="3751"/>
                  </a:lnTo>
                  <a:lnTo>
                    <a:pt x="15168" y="3760"/>
                  </a:lnTo>
                  <a:lnTo>
                    <a:pt x="15164" y="3765"/>
                  </a:lnTo>
                  <a:lnTo>
                    <a:pt x="15158" y="3769"/>
                  </a:lnTo>
                  <a:lnTo>
                    <a:pt x="15150" y="3771"/>
                  </a:lnTo>
                  <a:lnTo>
                    <a:pt x="15142" y="3769"/>
                  </a:lnTo>
                  <a:lnTo>
                    <a:pt x="15136" y="3765"/>
                  </a:lnTo>
                  <a:lnTo>
                    <a:pt x="15132" y="3760"/>
                  </a:lnTo>
                  <a:lnTo>
                    <a:pt x="15131" y="3751"/>
                  </a:lnTo>
                  <a:lnTo>
                    <a:pt x="15131" y="3639"/>
                  </a:lnTo>
                  <a:lnTo>
                    <a:pt x="15132" y="3630"/>
                  </a:lnTo>
                  <a:lnTo>
                    <a:pt x="15136" y="3624"/>
                  </a:lnTo>
                  <a:lnTo>
                    <a:pt x="15142" y="3620"/>
                  </a:lnTo>
                  <a:lnTo>
                    <a:pt x="15150" y="3618"/>
                  </a:lnTo>
                  <a:lnTo>
                    <a:pt x="15158" y="3620"/>
                  </a:lnTo>
                  <a:lnTo>
                    <a:pt x="15164" y="3624"/>
                  </a:lnTo>
                  <a:lnTo>
                    <a:pt x="15168" y="3630"/>
                  </a:lnTo>
                  <a:lnTo>
                    <a:pt x="15171" y="3639"/>
                  </a:lnTo>
                  <a:close/>
                  <a:moveTo>
                    <a:pt x="14908" y="3639"/>
                  </a:moveTo>
                  <a:lnTo>
                    <a:pt x="14908" y="3751"/>
                  </a:lnTo>
                  <a:lnTo>
                    <a:pt x="14905" y="3760"/>
                  </a:lnTo>
                  <a:lnTo>
                    <a:pt x="14901" y="3765"/>
                  </a:lnTo>
                  <a:lnTo>
                    <a:pt x="14895" y="3769"/>
                  </a:lnTo>
                  <a:lnTo>
                    <a:pt x="14887" y="3771"/>
                  </a:lnTo>
                  <a:lnTo>
                    <a:pt x="14880" y="3769"/>
                  </a:lnTo>
                  <a:lnTo>
                    <a:pt x="14873" y="3765"/>
                  </a:lnTo>
                  <a:lnTo>
                    <a:pt x="14869" y="3760"/>
                  </a:lnTo>
                  <a:lnTo>
                    <a:pt x="14867" y="3751"/>
                  </a:lnTo>
                  <a:lnTo>
                    <a:pt x="14867" y="3639"/>
                  </a:lnTo>
                  <a:lnTo>
                    <a:pt x="14869" y="3630"/>
                  </a:lnTo>
                  <a:lnTo>
                    <a:pt x="14873" y="3624"/>
                  </a:lnTo>
                  <a:lnTo>
                    <a:pt x="14880" y="3620"/>
                  </a:lnTo>
                  <a:lnTo>
                    <a:pt x="14887" y="3618"/>
                  </a:lnTo>
                  <a:lnTo>
                    <a:pt x="14895" y="3620"/>
                  </a:lnTo>
                  <a:lnTo>
                    <a:pt x="14901" y="3624"/>
                  </a:lnTo>
                  <a:lnTo>
                    <a:pt x="14905" y="3630"/>
                  </a:lnTo>
                  <a:lnTo>
                    <a:pt x="14908" y="3639"/>
                  </a:lnTo>
                  <a:close/>
                  <a:moveTo>
                    <a:pt x="14644" y="3639"/>
                  </a:moveTo>
                  <a:lnTo>
                    <a:pt x="14644" y="3751"/>
                  </a:lnTo>
                  <a:lnTo>
                    <a:pt x="14642" y="3760"/>
                  </a:lnTo>
                  <a:lnTo>
                    <a:pt x="14637" y="3765"/>
                  </a:lnTo>
                  <a:lnTo>
                    <a:pt x="14631" y="3769"/>
                  </a:lnTo>
                  <a:lnTo>
                    <a:pt x="14624" y="3771"/>
                  </a:lnTo>
                  <a:lnTo>
                    <a:pt x="14617" y="3769"/>
                  </a:lnTo>
                  <a:lnTo>
                    <a:pt x="14610" y="3765"/>
                  </a:lnTo>
                  <a:lnTo>
                    <a:pt x="14606" y="3760"/>
                  </a:lnTo>
                  <a:lnTo>
                    <a:pt x="14604" y="3751"/>
                  </a:lnTo>
                  <a:lnTo>
                    <a:pt x="14604" y="3639"/>
                  </a:lnTo>
                  <a:lnTo>
                    <a:pt x="14606" y="3630"/>
                  </a:lnTo>
                  <a:lnTo>
                    <a:pt x="14610" y="3624"/>
                  </a:lnTo>
                  <a:lnTo>
                    <a:pt x="14617" y="3620"/>
                  </a:lnTo>
                  <a:lnTo>
                    <a:pt x="14624" y="3618"/>
                  </a:lnTo>
                  <a:lnTo>
                    <a:pt x="14631" y="3620"/>
                  </a:lnTo>
                  <a:lnTo>
                    <a:pt x="14637" y="3624"/>
                  </a:lnTo>
                  <a:lnTo>
                    <a:pt x="14642" y="3630"/>
                  </a:lnTo>
                  <a:lnTo>
                    <a:pt x="14644" y="3639"/>
                  </a:lnTo>
                  <a:close/>
                  <a:moveTo>
                    <a:pt x="14381" y="3639"/>
                  </a:moveTo>
                  <a:lnTo>
                    <a:pt x="14381" y="3751"/>
                  </a:lnTo>
                  <a:lnTo>
                    <a:pt x="14379" y="3760"/>
                  </a:lnTo>
                  <a:lnTo>
                    <a:pt x="14374" y="3765"/>
                  </a:lnTo>
                  <a:lnTo>
                    <a:pt x="14368" y="3769"/>
                  </a:lnTo>
                  <a:lnTo>
                    <a:pt x="14362" y="3771"/>
                  </a:lnTo>
                  <a:lnTo>
                    <a:pt x="14354" y="3769"/>
                  </a:lnTo>
                  <a:lnTo>
                    <a:pt x="14347" y="3765"/>
                  </a:lnTo>
                  <a:lnTo>
                    <a:pt x="14342" y="3760"/>
                  </a:lnTo>
                  <a:lnTo>
                    <a:pt x="14341" y="3751"/>
                  </a:lnTo>
                  <a:lnTo>
                    <a:pt x="14341" y="3639"/>
                  </a:lnTo>
                  <a:lnTo>
                    <a:pt x="14342" y="3630"/>
                  </a:lnTo>
                  <a:lnTo>
                    <a:pt x="14347" y="3624"/>
                  </a:lnTo>
                  <a:lnTo>
                    <a:pt x="14354" y="3620"/>
                  </a:lnTo>
                  <a:lnTo>
                    <a:pt x="14362" y="3618"/>
                  </a:lnTo>
                  <a:lnTo>
                    <a:pt x="14368" y="3620"/>
                  </a:lnTo>
                  <a:lnTo>
                    <a:pt x="14374" y="3624"/>
                  </a:lnTo>
                  <a:lnTo>
                    <a:pt x="14379" y="3630"/>
                  </a:lnTo>
                  <a:lnTo>
                    <a:pt x="14381" y="3639"/>
                  </a:lnTo>
                  <a:close/>
                  <a:moveTo>
                    <a:pt x="14118" y="3639"/>
                  </a:moveTo>
                  <a:lnTo>
                    <a:pt x="14118" y="3751"/>
                  </a:lnTo>
                  <a:lnTo>
                    <a:pt x="14117" y="3760"/>
                  </a:lnTo>
                  <a:lnTo>
                    <a:pt x="14111" y="3765"/>
                  </a:lnTo>
                  <a:lnTo>
                    <a:pt x="14105" y="3769"/>
                  </a:lnTo>
                  <a:lnTo>
                    <a:pt x="14097" y="3771"/>
                  </a:lnTo>
                  <a:lnTo>
                    <a:pt x="14091" y="3769"/>
                  </a:lnTo>
                  <a:lnTo>
                    <a:pt x="14085" y="3765"/>
                  </a:lnTo>
                  <a:lnTo>
                    <a:pt x="14079" y="3760"/>
                  </a:lnTo>
                  <a:lnTo>
                    <a:pt x="14078" y="3751"/>
                  </a:lnTo>
                  <a:lnTo>
                    <a:pt x="14078" y="3639"/>
                  </a:lnTo>
                  <a:lnTo>
                    <a:pt x="14079" y="3630"/>
                  </a:lnTo>
                  <a:lnTo>
                    <a:pt x="14085" y="3624"/>
                  </a:lnTo>
                  <a:lnTo>
                    <a:pt x="14091" y="3620"/>
                  </a:lnTo>
                  <a:lnTo>
                    <a:pt x="14097" y="3618"/>
                  </a:lnTo>
                  <a:lnTo>
                    <a:pt x="14105" y="3620"/>
                  </a:lnTo>
                  <a:lnTo>
                    <a:pt x="14111" y="3624"/>
                  </a:lnTo>
                  <a:lnTo>
                    <a:pt x="14117" y="3630"/>
                  </a:lnTo>
                  <a:lnTo>
                    <a:pt x="14118" y="3639"/>
                  </a:lnTo>
                  <a:close/>
                  <a:moveTo>
                    <a:pt x="15434" y="3392"/>
                  </a:moveTo>
                  <a:lnTo>
                    <a:pt x="15434" y="3505"/>
                  </a:lnTo>
                  <a:lnTo>
                    <a:pt x="15432" y="3514"/>
                  </a:lnTo>
                  <a:lnTo>
                    <a:pt x="15427" y="3520"/>
                  </a:lnTo>
                  <a:lnTo>
                    <a:pt x="15421" y="3524"/>
                  </a:lnTo>
                  <a:lnTo>
                    <a:pt x="15413" y="3524"/>
                  </a:lnTo>
                  <a:lnTo>
                    <a:pt x="15407" y="3524"/>
                  </a:lnTo>
                  <a:lnTo>
                    <a:pt x="15400" y="3520"/>
                  </a:lnTo>
                  <a:lnTo>
                    <a:pt x="15395" y="3514"/>
                  </a:lnTo>
                  <a:lnTo>
                    <a:pt x="15394" y="3505"/>
                  </a:lnTo>
                  <a:lnTo>
                    <a:pt x="15394" y="3392"/>
                  </a:lnTo>
                  <a:lnTo>
                    <a:pt x="15395" y="3383"/>
                  </a:lnTo>
                  <a:lnTo>
                    <a:pt x="15400" y="3378"/>
                  </a:lnTo>
                  <a:lnTo>
                    <a:pt x="15407" y="3374"/>
                  </a:lnTo>
                  <a:lnTo>
                    <a:pt x="15413" y="3373"/>
                  </a:lnTo>
                  <a:lnTo>
                    <a:pt x="15421" y="3374"/>
                  </a:lnTo>
                  <a:lnTo>
                    <a:pt x="15427" y="3378"/>
                  </a:lnTo>
                  <a:lnTo>
                    <a:pt x="15432" y="3383"/>
                  </a:lnTo>
                  <a:lnTo>
                    <a:pt x="15434" y="3392"/>
                  </a:lnTo>
                  <a:close/>
                  <a:moveTo>
                    <a:pt x="15171" y="3392"/>
                  </a:moveTo>
                  <a:lnTo>
                    <a:pt x="15171" y="3505"/>
                  </a:lnTo>
                  <a:lnTo>
                    <a:pt x="15168" y="3514"/>
                  </a:lnTo>
                  <a:lnTo>
                    <a:pt x="15164" y="3520"/>
                  </a:lnTo>
                  <a:lnTo>
                    <a:pt x="15158" y="3524"/>
                  </a:lnTo>
                  <a:lnTo>
                    <a:pt x="15150" y="3524"/>
                  </a:lnTo>
                  <a:lnTo>
                    <a:pt x="15142" y="3524"/>
                  </a:lnTo>
                  <a:lnTo>
                    <a:pt x="15136" y="3520"/>
                  </a:lnTo>
                  <a:lnTo>
                    <a:pt x="15132" y="3514"/>
                  </a:lnTo>
                  <a:lnTo>
                    <a:pt x="15131" y="3505"/>
                  </a:lnTo>
                  <a:lnTo>
                    <a:pt x="15131" y="3392"/>
                  </a:lnTo>
                  <a:lnTo>
                    <a:pt x="15132" y="3383"/>
                  </a:lnTo>
                  <a:lnTo>
                    <a:pt x="15136" y="3378"/>
                  </a:lnTo>
                  <a:lnTo>
                    <a:pt x="15142" y="3374"/>
                  </a:lnTo>
                  <a:lnTo>
                    <a:pt x="15150" y="3373"/>
                  </a:lnTo>
                  <a:lnTo>
                    <a:pt x="15158" y="3374"/>
                  </a:lnTo>
                  <a:lnTo>
                    <a:pt x="15164" y="3378"/>
                  </a:lnTo>
                  <a:lnTo>
                    <a:pt x="15168" y="3383"/>
                  </a:lnTo>
                  <a:lnTo>
                    <a:pt x="15171" y="3392"/>
                  </a:lnTo>
                  <a:close/>
                  <a:moveTo>
                    <a:pt x="14908" y="3392"/>
                  </a:moveTo>
                  <a:lnTo>
                    <a:pt x="14908" y="3505"/>
                  </a:lnTo>
                  <a:lnTo>
                    <a:pt x="14905" y="3514"/>
                  </a:lnTo>
                  <a:lnTo>
                    <a:pt x="14901" y="3520"/>
                  </a:lnTo>
                  <a:lnTo>
                    <a:pt x="14895" y="3524"/>
                  </a:lnTo>
                  <a:lnTo>
                    <a:pt x="14887" y="3524"/>
                  </a:lnTo>
                  <a:lnTo>
                    <a:pt x="14880" y="3524"/>
                  </a:lnTo>
                  <a:lnTo>
                    <a:pt x="14873" y="3520"/>
                  </a:lnTo>
                  <a:lnTo>
                    <a:pt x="14869" y="3514"/>
                  </a:lnTo>
                  <a:lnTo>
                    <a:pt x="14867" y="3505"/>
                  </a:lnTo>
                  <a:lnTo>
                    <a:pt x="14867" y="3392"/>
                  </a:lnTo>
                  <a:lnTo>
                    <a:pt x="14869" y="3383"/>
                  </a:lnTo>
                  <a:lnTo>
                    <a:pt x="14873" y="3378"/>
                  </a:lnTo>
                  <a:lnTo>
                    <a:pt x="14880" y="3374"/>
                  </a:lnTo>
                  <a:lnTo>
                    <a:pt x="14887" y="3373"/>
                  </a:lnTo>
                  <a:lnTo>
                    <a:pt x="14895" y="3374"/>
                  </a:lnTo>
                  <a:lnTo>
                    <a:pt x="14901" y="3378"/>
                  </a:lnTo>
                  <a:lnTo>
                    <a:pt x="14905" y="3383"/>
                  </a:lnTo>
                  <a:lnTo>
                    <a:pt x="14908" y="3392"/>
                  </a:lnTo>
                  <a:close/>
                  <a:moveTo>
                    <a:pt x="14644" y="3392"/>
                  </a:moveTo>
                  <a:lnTo>
                    <a:pt x="14644" y="3505"/>
                  </a:lnTo>
                  <a:lnTo>
                    <a:pt x="14642" y="3514"/>
                  </a:lnTo>
                  <a:lnTo>
                    <a:pt x="14637" y="3520"/>
                  </a:lnTo>
                  <a:lnTo>
                    <a:pt x="14631" y="3524"/>
                  </a:lnTo>
                  <a:lnTo>
                    <a:pt x="14624" y="3524"/>
                  </a:lnTo>
                  <a:lnTo>
                    <a:pt x="14617" y="3524"/>
                  </a:lnTo>
                  <a:lnTo>
                    <a:pt x="14610" y="3520"/>
                  </a:lnTo>
                  <a:lnTo>
                    <a:pt x="14606" y="3514"/>
                  </a:lnTo>
                  <a:lnTo>
                    <a:pt x="14604" y="3505"/>
                  </a:lnTo>
                  <a:lnTo>
                    <a:pt x="14604" y="3392"/>
                  </a:lnTo>
                  <a:lnTo>
                    <a:pt x="14606" y="3383"/>
                  </a:lnTo>
                  <a:lnTo>
                    <a:pt x="14610" y="3378"/>
                  </a:lnTo>
                  <a:lnTo>
                    <a:pt x="14617" y="3374"/>
                  </a:lnTo>
                  <a:lnTo>
                    <a:pt x="14624" y="3373"/>
                  </a:lnTo>
                  <a:lnTo>
                    <a:pt x="14631" y="3374"/>
                  </a:lnTo>
                  <a:lnTo>
                    <a:pt x="14637" y="3378"/>
                  </a:lnTo>
                  <a:lnTo>
                    <a:pt x="14642" y="3383"/>
                  </a:lnTo>
                  <a:lnTo>
                    <a:pt x="14644" y="3392"/>
                  </a:lnTo>
                  <a:close/>
                  <a:moveTo>
                    <a:pt x="14381" y="3392"/>
                  </a:moveTo>
                  <a:lnTo>
                    <a:pt x="14381" y="3505"/>
                  </a:lnTo>
                  <a:lnTo>
                    <a:pt x="14379" y="3514"/>
                  </a:lnTo>
                  <a:lnTo>
                    <a:pt x="14374" y="3520"/>
                  </a:lnTo>
                  <a:lnTo>
                    <a:pt x="14368" y="3524"/>
                  </a:lnTo>
                  <a:lnTo>
                    <a:pt x="14362" y="3524"/>
                  </a:lnTo>
                  <a:lnTo>
                    <a:pt x="14354" y="3524"/>
                  </a:lnTo>
                  <a:lnTo>
                    <a:pt x="14347" y="3520"/>
                  </a:lnTo>
                  <a:lnTo>
                    <a:pt x="14342" y="3514"/>
                  </a:lnTo>
                  <a:lnTo>
                    <a:pt x="14341" y="3505"/>
                  </a:lnTo>
                  <a:lnTo>
                    <a:pt x="14341" y="3392"/>
                  </a:lnTo>
                  <a:lnTo>
                    <a:pt x="14342" y="3383"/>
                  </a:lnTo>
                  <a:lnTo>
                    <a:pt x="14347" y="3378"/>
                  </a:lnTo>
                  <a:lnTo>
                    <a:pt x="14354" y="3374"/>
                  </a:lnTo>
                  <a:lnTo>
                    <a:pt x="14362" y="3373"/>
                  </a:lnTo>
                  <a:lnTo>
                    <a:pt x="14368" y="3374"/>
                  </a:lnTo>
                  <a:lnTo>
                    <a:pt x="14374" y="3378"/>
                  </a:lnTo>
                  <a:lnTo>
                    <a:pt x="14379" y="3383"/>
                  </a:lnTo>
                  <a:lnTo>
                    <a:pt x="14381" y="3392"/>
                  </a:lnTo>
                  <a:close/>
                  <a:moveTo>
                    <a:pt x="14118" y="3392"/>
                  </a:moveTo>
                  <a:lnTo>
                    <a:pt x="14118" y="3505"/>
                  </a:lnTo>
                  <a:lnTo>
                    <a:pt x="14117" y="3514"/>
                  </a:lnTo>
                  <a:lnTo>
                    <a:pt x="14111" y="3520"/>
                  </a:lnTo>
                  <a:lnTo>
                    <a:pt x="14105" y="3524"/>
                  </a:lnTo>
                  <a:lnTo>
                    <a:pt x="14097" y="3524"/>
                  </a:lnTo>
                  <a:lnTo>
                    <a:pt x="14091" y="3524"/>
                  </a:lnTo>
                  <a:lnTo>
                    <a:pt x="14085" y="3520"/>
                  </a:lnTo>
                  <a:lnTo>
                    <a:pt x="14079" y="3514"/>
                  </a:lnTo>
                  <a:lnTo>
                    <a:pt x="14078" y="3505"/>
                  </a:lnTo>
                  <a:lnTo>
                    <a:pt x="14078" y="3392"/>
                  </a:lnTo>
                  <a:lnTo>
                    <a:pt x="14079" y="3383"/>
                  </a:lnTo>
                  <a:lnTo>
                    <a:pt x="14085" y="3378"/>
                  </a:lnTo>
                  <a:lnTo>
                    <a:pt x="14091" y="3374"/>
                  </a:lnTo>
                  <a:lnTo>
                    <a:pt x="14097" y="3373"/>
                  </a:lnTo>
                  <a:lnTo>
                    <a:pt x="14105" y="3374"/>
                  </a:lnTo>
                  <a:lnTo>
                    <a:pt x="14111" y="3378"/>
                  </a:lnTo>
                  <a:lnTo>
                    <a:pt x="14117" y="3383"/>
                  </a:lnTo>
                  <a:lnTo>
                    <a:pt x="14118" y="3392"/>
                  </a:lnTo>
                  <a:close/>
                  <a:moveTo>
                    <a:pt x="15434" y="3145"/>
                  </a:moveTo>
                  <a:lnTo>
                    <a:pt x="15434" y="3258"/>
                  </a:lnTo>
                  <a:lnTo>
                    <a:pt x="15432" y="3267"/>
                  </a:lnTo>
                  <a:lnTo>
                    <a:pt x="15427" y="3273"/>
                  </a:lnTo>
                  <a:lnTo>
                    <a:pt x="15421" y="3277"/>
                  </a:lnTo>
                  <a:lnTo>
                    <a:pt x="15413" y="3278"/>
                  </a:lnTo>
                  <a:lnTo>
                    <a:pt x="15407" y="3277"/>
                  </a:lnTo>
                  <a:lnTo>
                    <a:pt x="15400" y="3273"/>
                  </a:lnTo>
                  <a:lnTo>
                    <a:pt x="15395" y="3267"/>
                  </a:lnTo>
                  <a:lnTo>
                    <a:pt x="15394" y="3258"/>
                  </a:lnTo>
                  <a:lnTo>
                    <a:pt x="15394" y="3145"/>
                  </a:lnTo>
                  <a:lnTo>
                    <a:pt x="15395" y="3138"/>
                  </a:lnTo>
                  <a:lnTo>
                    <a:pt x="15400" y="3131"/>
                  </a:lnTo>
                  <a:lnTo>
                    <a:pt x="15407" y="3127"/>
                  </a:lnTo>
                  <a:lnTo>
                    <a:pt x="15413" y="3126"/>
                  </a:lnTo>
                  <a:lnTo>
                    <a:pt x="15421" y="3127"/>
                  </a:lnTo>
                  <a:lnTo>
                    <a:pt x="15427" y="3131"/>
                  </a:lnTo>
                  <a:lnTo>
                    <a:pt x="15432" y="3138"/>
                  </a:lnTo>
                  <a:lnTo>
                    <a:pt x="15434" y="3145"/>
                  </a:lnTo>
                  <a:close/>
                  <a:moveTo>
                    <a:pt x="15171" y="3145"/>
                  </a:moveTo>
                  <a:lnTo>
                    <a:pt x="15171" y="3258"/>
                  </a:lnTo>
                  <a:lnTo>
                    <a:pt x="15168" y="3267"/>
                  </a:lnTo>
                  <a:lnTo>
                    <a:pt x="15164" y="3273"/>
                  </a:lnTo>
                  <a:lnTo>
                    <a:pt x="15158" y="3277"/>
                  </a:lnTo>
                  <a:lnTo>
                    <a:pt x="15150" y="3278"/>
                  </a:lnTo>
                  <a:lnTo>
                    <a:pt x="15142" y="3277"/>
                  </a:lnTo>
                  <a:lnTo>
                    <a:pt x="15136" y="3273"/>
                  </a:lnTo>
                  <a:lnTo>
                    <a:pt x="15132" y="3267"/>
                  </a:lnTo>
                  <a:lnTo>
                    <a:pt x="15131" y="3258"/>
                  </a:lnTo>
                  <a:lnTo>
                    <a:pt x="15131" y="3145"/>
                  </a:lnTo>
                  <a:lnTo>
                    <a:pt x="15132" y="3138"/>
                  </a:lnTo>
                  <a:lnTo>
                    <a:pt x="15136" y="3131"/>
                  </a:lnTo>
                  <a:lnTo>
                    <a:pt x="15142" y="3127"/>
                  </a:lnTo>
                  <a:lnTo>
                    <a:pt x="15150" y="3126"/>
                  </a:lnTo>
                  <a:lnTo>
                    <a:pt x="15158" y="3127"/>
                  </a:lnTo>
                  <a:lnTo>
                    <a:pt x="15164" y="3131"/>
                  </a:lnTo>
                  <a:lnTo>
                    <a:pt x="15168" y="3138"/>
                  </a:lnTo>
                  <a:lnTo>
                    <a:pt x="15171" y="3145"/>
                  </a:lnTo>
                  <a:close/>
                  <a:moveTo>
                    <a:pt x="14908" y="3145"/>
                  </a:moveTo>
                  <a:lnTo>
                    <a:pt x="14908" y="3258"/>
                  </a:lnTo>
                  <a:lnTo>
                    <a:pt x="14905" y="3267"/>
                  </a:lnTo>
                  <a:lnTo>
                    <a:pt x="14901" y="3273"/>
                  </a:lnTo>
                  <a:lnTo>
                    <a:pt x="14895" y="3277"/>
                  </a:lnTo>
                  <a:lnTo>
                    <a:pt x="14887" y="3278"/>
                  </a:lnTo>
                  <a:lnTo>
                    <a:pt x="14880" y="3277"/>
                  </a:lnTo>
                  <a:lnTo>
                    <a:pt x="14873" y="3273"/>
                  </a:lnTo>
                  <a:lnTo>
                    <a:pt x="14869" y="3267"/>
                  </a:lnTo>
                  <a:lnTo>
                    <a:pt x="14867" y="3258"/>
                  </a:lnTo>
                  <a:lnTo>
                    <a:pt x="14867" y="3145"/>
                  </a:lnTo>
                  <a:lnTo>
                    <a:pt x="14869" y="3138"/>
                  </a:lnTo>
                  <a:lnTo>
                    <a:pt x="14873" y="3131"/>
                  </a:lnTo>
                  <a:lnTo>
                    <a:pt x="14880" y="3127"/>
                  </a:lnTo>
                  <a:lnTo>
                    <a:pt x="14887" y="3126"/>
                  </a:lnTo>
                  <a:lnTo>
                    <a:pt x="14895" y="3127"/>
                  </a:lnTo>
                  <a:lnTo>
                    <a:pt x="14901" y="3131"/>
                  </a:lnTo>
                  <a:lnTo>
                    <a:pt x="14905" y="3138"/>
                  </a:lnTo>
                  <a:lnTo>
                    <a:pt x="14908" y="3145"/>
                  </a:lnTo>
                  <a:close/>
                  <a:moveTo>
                    <a:pt x="14644" y="3145"/>
                  </a:moveTo>
                  <a:lnTo>
                    <a:pt x="14644" y="3258"/>
                  </a:lnTo>
                  <a:lnTo>
                    <a:pt x="14642" y="3267"/>
                  </a:lnTo>
                  <a:lnTo>
                    <a:pt x="14637" y="3273"/>
                  </a:lnTo>
                  <a:lnTo>
                    <a:pt x="14631" y="3277"/>
                  </a:lnTo>
                  <a:lnTo>
                    <a:pt x="14624" y="3278"/>
                  </a:lnTo>
                  <a:lnTo>
                    <a:pt x="14617" y="3277"/>
                  </a:lnTo>
                  <a:lnTo>
                    <a:pt x="14610" y="3273"/>
                  </a:lnTo>
                  <a:lnTo>
                    <a:pt x="14606" y="3267"/>
                  </a:lnTo>
                  <a:lnTo>
                    <a:pt x="14604" y="3258"/>
                  </a:lnTo>
                  <a:lnTo>
                    <a:pt x="14604" y="3145"/>
                  </a:lnTo>
                  <a:lnTo>
                    <a:pt x="14606" y="3138"/>
                  </a:lnTo>
                  <a:lnTo>
                    <a:pt x="14610" y="3131"/>
                  </a:lnTo>
                  <a:lnTo>
                    <a:pt x="14617" y="3127"/>
                  </a:lnTo>
                  <a:lnTo>
                    <a:pt x="14624" y="3126"/>
                  </a:lnTo>
                  <a:lnTo>
                    <a:pt x="14631" y="3127"/>
                  </a:lnTo>
                  <a:lnTo>
                    <a:pt x="14637" y="3131"/>
                  </a:lnTo>
                  <a:lnTo>
                    <a:pt x="14642" y="3138"/>
                  </a:lnTo>
                  <a:lnTo>
                    <a:pt x="14644" y="3145"/>
                  </a:lnTo>
                  <a:close/>
                  <a:moveTo>
                    <a:pt x="14381" y="3145"/>
                  </a:moveTo>
                  <a:lnTo>
                    <a:pt x="14381" y="3258"/>
                  </a:lnTo>
                  <a:lnTo>
                    <a:pt x="14379" y="3267"/>
                  </a:lnTo>
                  <a:lnTo>
                    <a:pt x="14374" y="3273"/>
                  </a:lnTo>
                  <a:lnTo>
                    <a:pt x="14368" y="3277"/>
                  </a:lnTo>
                  <a:lnTo>
                    <a:pt x="14362" y="3278"/>
                  </a:lnTo>
                  <a:lnTo>
                    <a:pt x="14354" y="3277"/>
                  </a:lnTo>
                  <a:lnTo>
                    <a:pt x="14347" y="3273"/>
                  </a:lnTo>
                  <a:lnTo>
                    <a:pt x="14342" y="3267"/>
                  </a:lnTo>
                  <a:lnTo>
                    <a:pt x="14341" y="3258"/>
                  </a:lnTo>
                  <a:lnTo>
                    <a:pt x="14341" y="3145"/>
                  </a:lnTo>
                  <a:lnTo>
                    <a:pt x="14342" y="3138"/>
                  </a:lnTo>
                  <a:lnTo>
                    <a:pt x="14347" y="3131"/>
                  </a:lnTo>
                  <a:lnTo>
                    <a:pt x="14354" y="3127"/>
                  </a:lnTo>
                  <a:lnTo>
                    <a:pt x="14362" y="3126"/>
                  </a:lnTo>
                  <a:lnTo>
                    <a:pt x="14368" y="3127"/>
                  </a:lnTo>
                  <a:lnTo>
                    <a:pt x="14374" y="3131"/>
                  </a:lnTo>
                  <a:lnTo>
                    <a:pt x="14379" y="3138"/>
                  </a:lnTo>
                  <a:lnTo>
                    <a:pt x="14381" y="3145"/>
                  </a:lnTo>
                  <a:close/>
                  <a:moveTo>
                    <a:pt x="14118" y="3145"/>
                  </a:moveTo>
                  <a:lnTo>
                    <a:pt x="14118" y="3258"/>
                  </a:lnTo>
                  <a:lnTo>
                    <a:pt x="14117" y="3267"/>
                  </a:lnTo>
                  <a:lnTo>
                    <a:pt x="14111" y="3273"/>
                  </a:lnTo>
                  <a:lnTo>
                    <a:pt x="14105" y="3277"/>
                  </a:lnTo>
                  <a:lnTo>
                    <a:pt x="14097" y="3278"/>
                  </a:lnTo>
                  <a:lnTo>
                    <a:pt x="14091" y="3277"/>
                  </a:lnTo>
                  <a:lnTo>
                    <a:pt x="14085" y="3273"/>
                  </a:lnTo>
                  <a:lnTo>
                    <a:pt x="14079" y="3267"/>
                  </a:lnTo>
                  <a:lnTo>
                    <a:pt x="14078" y="3258"/>
                  </a:lnTo>
                  <a:lnTo>
                    <a:pt x="14078" y="3145"/>
                  </a:lnTo>
                  <a:lnTo>
                    <a:pt x="14079" y="3138"/>
                  </a:lnTo>
                  <a:lnTo>
                    <a:pt x="14085" y="3131"/>
                  </a:lnTo>
                  <a:lnTo>
                    <a:pt x="14091" y="3127"/>
                  </a:lnTo>
                  <a:lnTo>
                    <a:pt x="14097" y="3126"/>
                  </a:lnTo>
                  <a:lnTo>
                    <a:pt x="14105" y="3127"/>
                  </a:lnTo>
                  <a:lnTo>
                    <a:pt x="14111" y="3131"/>
                  </a:lnTo>
                  <a:lnTo>
                    <a:pt x="14117" y="3138"/>
                  </a:lnTo>
                  <a:lnTo>
                    <a:pt x="14118" y="3145"/>
                  </a:lnTo>
                  <a:close/>
                  <a:moveTo>
                    <a:pt x="15434" y="2900"/>
                  </a:moveTo>
                  <a:lnTo>
                    <a:pt x="15434" y="3011"/>
                  </a:lnTo>
                  <a:lnTo>
                    <a:pt x="15432" y="3020"/>
                  </a:lnTo>
                  <a:lnTo>
                    <a:pt x="15427" y="3026"/>
                  </a:lnTo>
                  <a:lnTo>
                    <a:pt x="15421" y="3030"/>
                  </a:lnTo>
                  <a:lnTo>
                    <a:pt x="15413" y="3031"/>
                  </a:lnTo>
                  <a:lnTo>
                    <a:pt x="15407" y="3030"/>
                  </a:lnTo>
                  <a:lnTo>
                    <a:pt x="15400" y="3026"/>
                  </a:lnTo>
                  <a:lnTo>
                    <a:pt x="15395" y="3020"/>
                  </a:lnTo>
                  <a:lnTo>
                    <a:pt x="15394" y="3011"/>
                  </a:lnTo>
                  <a:lnTo>
                    <a:pt x="15394" y="2900"/>
                  </a:lnTo>
                  <a:lnTo>
                    <a:pt x="15395" y="2891"/>
                  </a:lnTo>
                  <a:lnTo>
                    <a:pt x="15400" y="2884"/>
                  </a:lnTo>
                  <a:lnTo>
                    <a:pt x="15407" y="2881"/>
                  </a:lnTo>
                  <a:lnTo>
                    <a:pt x="15413" y="2879"/>
                  </a:lnTo>
                  <a:lnTo>
                    <a:pt x="15421" y="2881"/>
                  </a:lnTo>
                  <a:lnTo>
                    <a:pt x="15427" y="2884"/>
                  </a:lnTo>
                  <a:lnTo>
                    <a:pt x="15432" y="2891"/>
                  </a:lnTo>
                  <a:lnTo>
                    <a:pt x="15434" y="2900"/>
                  </a:lnTo>
                  <a:close/>
                  <a:moveTo>
                    <a:pt x="15171" y="2900"/>
                  </a:moveTo>
                  <a:lnTo>
                    <a:pt x="15171" y="3011"/>
                  </a:lnTo>
                  <a:lnTo>
                    <a:pt x="15168" y="3020"/>
                  </a:lnTo>
                  <a:lnTo>
                    <a:pt x="15164" y="3026"/>
                  </a:lnTo>
                  <a:lnTo>
                    <a:pt x="15158" y="3030"/>
                  </a:lnTo>
                  <a:lnTo>
                    <a:pt x="15150" y="3031"/>
                  </a:lnTo>
                  <a:lnTo>
                    <a:pt x="15142" y="3030"/>
                  </a:lnTo>
                  <a:lnTo>
                    <a:pt x="15136" y="3026"/>
                  </a:lnTo>
                  <a:lnTo>
                    <a:pt x="15132" y="3020"/>
                  </a:lnTo>
                  <a:lnTo>
                    <a:pt x="15131" y="3011"/>
                  </a:lnTo>
                  <a:lnTo>
                    <a:pt x="15131" y="2900"/>
                  </a:lnTo>
                  <a:lnTo>
                    <a:pt x="15132" y="2891"/>
                  </a:lnTo>
                  <a:lnTo>
                    <a:pt x="15136" y="2884"/>
                  </a:lnTo>
                  <a:lnTo>
                    <a:pt x="15142" y="2881"/>
                  </a:lnTo>
                  <a:lnTo>
                    <a:pt x="15150" y="2879"/>
                  </a:lnTo>
                  <a:lnTo>
                    <a:pt x="15158" y="2881"/>
                  </a:lnTo>
                  <a:lnTo>
                    <a:pt x="15164" y="2884"/>
                  </a:lnTo>
                  <a:lnTo>
                    <a:pt x="15168" y="2891"/>
                  </a:lnTo>
                  <a:lnTo>
                    <a:pt x="15171" y="2900"/>
                  </a:lnTo>
                  <a:close/>
                  <a:moveTo>
                    <a:pt x="14908" y="2900"/>
                  </a:moveTo>
                  <a:lnTo>
                    <a:pt x="14908" y="3011"/>
                  </a:lnTo>
                  <a:lnTo>
                    <a:pt x="14905" y="3020"/>
                  </a:lnTo>
                  <a:lnTo>
                    <a:pt x="14901" y="3026"/>
                  </a:lnTo>
                  <a:lnTo>
                    <a:pt x="14895" y="3030"/>
                  </a:lnTo>
                  <a:lnTo>
                    <a:pt x="14887" y="3031"/>
                  </a:lnTo>
                  <a:lnTo>
                    <a:pt x="14880" y="3030"/>
                  </a:lnTo>
                  <a:lnTo>
                    <a:pt x="14873" y="3026"/>
                  </a:lnTo>
                  <a:lnTo>
                    <a:pt x="14869" y="3020"/>
                  </a:lnTo>
                  <a:lnTo>
                    <a:pt x="14867" y="3011"/>
                  </a:lnTo>
                  <a:lnTo>
                    <a:pt x="14867" y="2900"/>
                  </a:lnTo>
                  <a:lnTo>
                    <a:pt x="14869" y="2891"/>
                  </a:lnTo>
                  <a:lnTo>
                    <a:pt x="14873" y="2884"/>
                  </a:lnTo>
                  <a:lnTo>
                    <a:pt x="14880" y="2881"/>
                  </a:lnTo>
                  <a:lnTo>
                    <a:pt x="14887" y="2879"/>
                  </a:lnTo>
                  <a:lnTo>
                    <a:pt x="14895" y="2881"/>
                  </a:lnTo>
                  <a:lnTo>
                    <a:pt x="14901" y="2884"/>
                  </a:lnTo>
                  <a:lnTo>
                    <a:pt x="14905" y="2891"/>
                  </a:lnTo>
                  <a:lnTo>
                    <a:pt x="14908" y="2900"/>
                  </a:lnTo>
                  <a:close/>
                  <a:moveTo>
                    <a:pt x="14644" y="2900"/>
                  </a:moveTo>
                  <a:lnTo>
                    <a:pt x="14644" y="3011"/>
                  </a:lnTo>
                  <a:lnTo>
                    <a:pt x="14642" y="3020"/>
                  </a:lnTo>
                  <a:lnTo>
                    <a:pt x="14637" y="3026"/>
                  </a:lnTo>
                  <a:lnTo>
                    <a:pt x="14631" y="3030"/>
                  </a:lnTo>
                  <a:lnTo>
                    <a:pt x="14624" y="3031"/>
                  </a:lnTo>
                  <a:lnTo>
                    <a:pt x="14617" y="3030"/>
                  </a:lnTo>
                  <a:lnTo>
                    <a:pt x="14610" y="3026"/>
                  </a:lnTo>
                  <a:lnTo>
                    <a:pt x="14606" y="3020"/>
                  </a:lnTo>
                  <a:lnTo>
                    <a:pt x="14604" y="3011"/>
                  </a:lnTo>
                  <a:lnTo>
                    <a:pt x="14604" y="2900"/>
                  </a:lnTo>
                  <a:lnTo>
                    <a:pt x="14606" y="2891"/>
                  </a:lnTo>
                  <a:lnTo>
                    <a:pt x="14610" y="2884"/>
                  </a:lnTo>
                  <a:lnTo>
                    <a:pt x="14617" y="2881"/>
                  </a:lnTo>
                  <a:lnTo>
                    <a:pt x="14624" y="2879"/>
                  </a:lnTo>
                  <a:lnTo>
                    <a:pt x="14631" y="2881"/>
                  </a:lnTo>
                  <a:lnTo>
                    <a:pt x="14637" y="2884"/>
                  </a:lnTo>
                  <a:lnTo>
                    <a:pt x="14642" y="2891"/>
                  </a:lnTo>
                  <a:lnTo>
                    <a:pt x="14644" y="2900"/>
                  </a:lnTo>
                  <a:close/>
                  <a:moveTo>
                    <a:pt x="14381" y="2900"/>
                  </a:moveTo>
                  <a:lnTo>
                    <a:pt x="14381" y="3011"/>
                  </a:lnTo>
                  <a:lnTo>
                    <a:pt x="14379" y="3020"/>
                  </a:lnTo>
                  <a:lnTo>
                    <a:pt x="14374" y="3026"/>
                  </a:lnTo>
                  <a:lnTo>
                    <a:pt x="14368" y="3030"/>
                  </a:lnTo>
                  <a:lnTo>
                    <a:pt x="14362" y="3031"/>
                  </a:lnTo>
                  <a:lnTo>
                    <a:pt x="14354" y="3030"/>
                  </a:lnTo>
                  <a:lnTo>
                    <a:pt x="14347" y="3026"/>
                  </a:lnTo>
                  <a:lnTo>
                    <a:pt x="14342" y="3020"/>
                  </a:lnTo>
                  <a:lnTo>
                    <a:pt x="14341" y="3011"/>
                  </a:lnTo>
                  <a:lnTo>
                    <a:pt x="14341" y="2900"/>
                  </a:lnTo>
                  <a:lnTo>
                    <a:pt x="14342" y="2891"/>
                  </a:lnTo>
                  <a:lnTo>
                    <a:pt x="14347" y="2884"/>
                  </a:lnTo>
                  <a:lnTo>
                    <a:pt x="14354" y="2881"/>
                  </a:lnTo>
                  <a:lnTo>
                    <a:pt x="14362" y="2879"/>
                  </a:lnTo>
                  <a:lnTo>
                    <a:pt x="14368" y="2881"/>
                  </a:lnTo>
                  <a:lnTo>
                    <a:pt x="14374" y="2884"/>
                  </a:lnTo>
                  <a:lnTo>
                    <a:pt x="14379" y="2891"/>
                  </a:lnTo>
                  <a:lnTo>
                    <a:pt x="14381" y="2900"/>
                  </a:lnTo>
                  <a:close/>
                  <a:moveTo>
                    <a:pt x="14118" y="2900"/>
                  </a:moveTo>
                  <a:lnTo>
                    <a:pt x="14118" y="3011"/>
                  </a:lnTo>
                  <a:lnTo>
                    <a:pt x="14117" y="3020"/>
                  </a:lnTo>
                  <a:lnTo>
                    <a:pt x="14111" y="3026"/>
                  </a:lnTo>
                  <a:lnTo>
                    <a:pt x="14105" y="3030"/>
                  </a:lnTo>
                  <a:lnTo>
                    <a:pt x="14097" y="3031"/>
                  </a:lnTo>
                  <a:lnTo>
                    <a:pt x="14091" y="3030"/>
                  </a:lnTo>
                  <a:lnTo>
                    <a:pt x="14085" y="3026"/>
                  </a:lnTo>
                  <a:lnTo>
                    <a:pt x="14079" y="3020"/>
                  </a:lnTo>
                  <a:lnTo>
                    <a:pt x="14078" y="3011"/>
                  </a:lnTo>
                  <a:lnTo>
                    <a:pt x="14078" y="2900"/>
                  </a:lnTo>
                  <a:lnTo>
                    <a:pt x="14079" y="2891"/>
                  </a:lnTo>
                  <a:lnTo>
                    <a:pt x="14085" y="2884"/>
                  </a:lnTo>
                  <a:lnTo>
                    <a:pt x="14091" y="2881"/>
                  </a:lnTo>
                  <a:lnTo>
                    <a:pt x="14097" y="2879"/>
                  </a:lnTo>
                  <a:lnTo>
                    <a:pt x="14105" y="2881"/>
                  </a:lnTo>
                  <a:lnTo>
                    <a:pt x="14111" y="2884"/>
                  </a:lnTo>
                  <a:lnTo>
                    <a:pt x="14117" y="2891"/>
                  </a:lnTo>
                  <a:lnTo>
                    <a:pt x="14118" y="2900"/>
                  </a:lnTo>
                  <a:close/>
                  <a:moveTo>
                    <a:pt x="15434" y="3639"/>
                  </a:moveTo>
                  <a:lnTo>
                    <a:pt x="15434" y="3751"/>
                  </a:lnTo>
                  <a:lnTo>
                    <a:pt x="15432" y="3760"/>
                  </a:lnTo>
                  <a:lnTo>
                    <a:pt x="15427" y="3765"/>
                  </a:lnTo>
                  <a:lnTo>
                    <a:pt x="15421" y="3769"/>
                  </a:lnTo>
                  <a:lnTo>
                    <a:pt x="15413" y="3771"/>
                  </a:lnTo>
                  <a:lnTo>
                    <a:pt x="15407" y="3769"/>
                  </a:lnTo>
                  <a:lnTo>
                    <a:pt x="15400" y="3765"/>
                  </a:lnTo>
                  <a:lnTo>
                    <a:pt x="15395" y="3760"/>
                  </a:lnTo>
                  <a:lnTo>
                    <a:pt x="15394" y="3751"/>
                  </a:lnTo>
                  <a:lnTo>
                    <a:pt x="15394" y="3639"/>
                  </a:lnTo>
                  <a:lnTo>
                    <a:pt x="15395" y="3630"/>
                  </a:lnTo>
                  <a:lnTo>
                    <a:pt x="15400" y="3624"/>
                  </a:lnTo>
                  <a:lnTo>
                    <a:pt x="15407" y="3620"/>
                  </a:lnTo>
                  <a:lnTo>
                    <a:pt x="15413" y="3618"/>
                  </a:lnTo>
                  <a:lnTo>
                    <a:pt x="15421" y="3620"/>
                  </a:lnTo>
                  <a:lnTo>
                    <a:pt x="15427" y="3624"/>
                  </a:lnTo>
                  <a:lnTo>
                    <a:pt x="15432" y="3630"/>
                  </a:lnTo>
                  <a:lnTo>
                    <a:pt x="15434" y="3639"/>
                  </a:lnTo>
                  <a:close/>
                  <a:moveTo>
                    <a:pt x="18172" y="964"/>
                  </a:moveTo>
                  <a:lnTo>
                    <a:pt x="17643" y="964"/>
                  </a:lnTo>
                  <a:lnTo>
                    <a:pt x="17643" y="1019"/>
                  </a:lnTo>
                  <a:lnTo>
                    <a:pt x="18172" y="1019"/>
                  </a:lnTo>
                  <a:lnTo>
                    <a:pt x="18172" y="964"/>
                  </a:lnTo>
                  <a:close/>
                  <a:moveTo>
                    <a:pt x="17665" y="1323"/>
                  </a:moveTo>
                  <a:lnTo>
                    <a:pt x="18163" y="2010"/>
                  </a:lnTo>
                  <a:lnTo>
                    <a:pt x="18134" y="1058"/>
                  </a:lnTo>
                  <a:lnTo>
                    <a:pt x="17680" y="1058"/>
                  </a:lnTo>
                  <a:lnTo>
                    <a:pt x="17665" y="1322"/>
                  </a:lnTo>
                  <a:lnTo>
                    <a:pt x="17665" y="1323"/>
                  </a:lnTo>
                  <a:close/>
                  <a:moveTo>
                    <a:pt x="17638" y="1754"/>
                  </a:moveTo>
                  <a:lnTo>
                    <a:pt x="18179" y="2500"/>
                  </a:lnTo>
                  <a:lnTo>
                    <a:pt x="18166" y="2079"/>
                  </a:lnTo>
                  <a:lnTo>
                    <a:pt x="18161" y="2074"/>
                  </a:lnTo>
                  <a:lnTo>
                    <a:pt x="17661" y="1385"/>
                  </a:lnTo>
                  <a:lnTo>
                    <a:pt x="17638" y="1754"/>
                  </a:lnTo>
                  <a:close/>
                  <a:moveTo>
                    <a:pt x="17611" y="2186"/>
                  </a:moveTo>
                  <a:lnTo>
                    <a:pt x="18194" y="2989"/>
                  </a:lnTo>
                  <a:lnTo>
                    <a:pt x="18181" y="2571"/>
                  </a:lnTo>
                  <a:lnTo>
                    <a:pt x="17634" y="1817"/>
                  </a:lnTo>
                  <a:lnTo>
                    <a:pt x="17611" y="2186"/>
                  </a:lnTo>
                  <a:close/>
                  <a:moveTo>
                    <a:pt x="22919" y="2556"/>
                  </a:moveTo>
                  <a:lnTo>
                    <a:pt x="22895" y="2525"/>
                  </a:lnTo>
                  <a:lnTo>
                    <a:pt x="22869" y="2494"/>
                  </a:lnTo>
                  <a:lnTo>
                    <a:pt x="22841" y="2464"/>
                  </a:lnTo>
                  <a:lnTo>
                    <a:pt x="22812" y="2434"/>
                  </a:lnTo>
                  <a:lnTo>
                    <a:pt x="22748" y="2377"/>
                  </a:lnTo>
                  <a:lnTo>
                    <a:pt x="22714" y="2350"/>
                  </a:lnTo>
                  <a:lnTo>
                    <a:pt x="22678" y="2323"/>
                  </a:lnTo>
                  <a:lnTo>
                    <a:pt x="22603" y="2272"/>
                  </a:lnTo>
                  <a:lnTo>
                    <a:pt x="22522" y="2225"/>
                  </a:lnTo>
                  <a:lnTo>
                    <a:pt x="22436" y="2181"/>
                  </a:lnTo>
                  <a:lnTo>
                    <a:pt x="22346" y="2142"/>
                  </a:lnTo>
                  <a:lnTo>
                    <a:pt x="22250" y="2104"/>
                  </a:lnTo>
                  <a:lnTo>
                    <a:pt x="22151" y="2072"/>
                  </a:lnTo>
                  <a:lnTo>
                    <a:pt x="22048" y="2046"/>
                  </a:lnTo>
                  <a:lnTo>
                    <a:pt x="21995" y="2033"/>
                  </a:lnTo>
                  <a:lnTo>
                    <a:pt x="21941" y="2023"/>
                  </a:lnTo>
                  <a:lnTo>
                    <a:pt x="21831" y="2003"/>
                  </a:lnTo>
                  <a:lnTo>
                    <a:pt x="21774" y="1997"/>
                  </a:lnTo>
                  <a:lnTo>
                    <a:pt x="21718" y="1991"/>
                  </a:lnTo>
                  <a:lnTo>
                    <a:pt x="21601" y="1983"/>
                  </a:lnTo>
                  <a:lnTo>
                    <a:pt x="21483" y="1980"/>
                  </a:lnTo>
                  <a:lnTo>
                    <a:pt x="21365" y="1983"/>
                  </a:lnTo>
                  <a:lnTo>
                    <a:pt x="21249" y="1991"/>
                  </a:lnTo>
                  <a:lnTo>
                    <a:pt x="21136" y="2003"/>
                  </a:lnTo>
                  <a:lnTo>
                    <a:pt x="21026" y="2023"/>
                  </a:lnTo>
                  <a:lnTo>
                    <a:pt x="20972" y="2033"/>
                  </a:lnTo>
                  <a:lnTo>
                    <a:pt x="20919" y="2046"/>
                  </a:lnTo>
                  <a:lnTo>
                    <a:pt x="20815" y="2072"/>
                  </a:lnTo>
                  <a:lnTo>
                    <a:pt x="20717" y="2104"/>
                  </a:lnTo>
                  <a:lnTo>
                    <a:pt x="20622" y="2142"/>
                  </a:lnTo>
                  <a:lnTo>
                    <a:pt x="20531" y="2181"/>
                  </a:lnTo>
                  <a:lnTo>
                    <a:pt x="20445" y="2225"/>
                  </a:lnTo>
                  <a:lnTo>
                    <a:pt x="20364" y="2272"/>
                  </a:lnTo>
                  <a:lnTo>
                    <a:pt x="20288" y="2323"/>
                  </a:lnTo>
                  <a:lnTo>
                    <a:pt x="20219" y="2377"/>
                  </a:lnTo>
                  <a:lnTo>
                    <a:pt x="20187" y="2405"/>
                  </a:lnTo>
                  <a:lnTo>
                    <a:pt x="20155" y="2434"/>
                  </a:lnTo>
                  <a:lnTo>
                    <a:pt x="20125" y="2464"/>
                  </a:lnTo>
                  <a:lnTo>
                    <a:pt x="20098" y="2494"/>
                  </a:lnTo>
                  <a:lnTo>
                    <a:pt x="20047" y="2556"/>
                  </a:lnTo>
                  <a:lnTo>
                    <a:pt x="20765" y="2556"/>
                  </a:lnTo>
                  <a:lnTo>
                    <a:pt x="21483" y="2556"/>
                  </a:lnTo>
                  <a:lnTo>
                    <a:pt x="22201" y="2556"/>
                  </a:lnTo>
                  <a:lnTo>
                    <a:pt x="22919" y="2556"/>
                  </a:lnTo>
                  <a:close/>
                  <a:moveTo>
                    <a:pt x="21733" y="1952"/>
                  </a:moveTo>
                  <a:lnTo>
                    <a:pt x="21733" y="1794"/>
                  </a:lnTo>
                  <a:lnTo>
                    <a:pt x="21235" y="1794"/>
                  </a:lnTo>
                  <a:lnTo>
                    <a:pt x="21235" y="1952"/>
                  </a:lnTo>
                  <a:lnTo>
                    <a:pt x="21295" y="1947"/>
                  </a:lnTo>
                  <a:lnTo>
                    <a:pt x="21358" y="1943"/>
                  </a:lnTo>
                  <a:lnTo>
                    <a:pt x="21420" y="1941"/>
                  </a:lnTo>
                  <a:lnTo>
                    <a:pt x="21483" y="1939"/>
                  </a:lnTo>
                  <a:lnTo>
                    <a:pt x="21609" y="1943"/>
                  </a:lnTo>
                  <a:lnTo>
                    <a:pt x="21733" y="1952"/>
                  </a:lnTo>
                  <a:close/>
                  <a:moveTo>
                    <a:pt x="20024" y="2977"/>
                  </a:moveTo>
                  <a:lnTo>
                    <a:pt x="20754" y="2977"/>
                  </a:lnTo>
                  <a:lnTo>
                    <a:pt x="21483" y="2977"/>
                  </a:lnTo>
                  <a:lnTo>
                    <a:pt x="22213" y="2977"/>
                  </a:lnTo>
                  <a:lnTo>
                    <a:pt x="22943" y="2977"/>
                  </a:lnTo>
                  <a:lnTo>
                    <a:pt x="22943" y="2750"/>
                  </a:lnTo>
                  <a:lnTo>
                    <a:pt x="22213" y="2750"/>
                  </a:lnTo>
                  <a:lnTo>
                    <a:pt x="21483" y="2750"/>
                  </a:lnTo>
                  <a:lnTo>
                    <a:pt x="20754" y="2750"/>
                  </a:lnTo>
                  <a:lnTo>
                    <a:pt x="20024" y="2750"/>
                  </a:lnTo>
                  <a:lnTo>
                    <a:pt x="20024" y="2977"/>
                  </a:lnTo>
                  <a:close/>
                  <a:moveTo>
                    <a:pt x="20768" y="4017"/>
                  </a:moveTo>
                  <a:lnTo>
                    <a:pt x="20768" y="4324"/>
                  </a:lnTo>
                  <a:lnTo>
                    <a:pt x="20974" y="4324"/>
                  </a:lnTo>
                  <a:lnTo>
                    <a:pt x="20974" y="3670"/>
                  </a:lnTo>
                  <a:lnTo>
                    <a:pt x="20974" y="3016"/>
                  </a:lnTo>
                  <a:lnTo>
                    <a:pt x="20523" y="3016"/>
                  </a:lnTo>
                  <a:lnTo>
                    <a:pt x="20523" y="3670"/>
                  </a:lnTo>
                  <a:lnTo>
                    <a:pt x="20523" y="4324"/>
                  </a:lnTo>
                  <a:lnTo>
                    <a:pt x="20728" y="4324"/>
                  </a:lnTo>
                  <a:lnTo>
                    <a:pt x="20728" y="4017"/>
                  </a:lnTo>
                  <a:lnTo>
                    <a:pt x="20731" y="4008"/>
                  </a:lnTo>
                  <a:lnTo>
                    <a:pt x="20734" y="4002"/>
                  </a:lnTo>
                  <a:lnTo>
                    <a:pt x="20741" y="3998"/>
                  </a:lnTo>
                  <a:lnTo>
                    <a:pt x="20749" y="3997"/>
                  </a:lnTo>
                  <a:lnTo>
                    <a:pt x="20756" y="3998"/>
                  </a:lnTo>
                  <a:lnTo>
                    <a:pt x="20763" y="4002"/>
                  </a:lnTo>
                  <a:lnTo>
                    <a:pt x="20767" y="4008"/>
                  </a:lnTo>
                  <a:lnTo>
                    <a:pt x="20768" y="4017"/>
                  </a:lnTo>
                  <a:close/>
                  <a:moveTo>
                    <a:pt x="21260" y="4017"/>
                  </a:moveTo>
                  <a:lnTo>
                    <a:pt x="21260" y="4324"/>
                  </a:lnTo>
                  <a:lnTo>
                    <a:pt x="21467" y="4324"/>
                  </a:lnTo>
                  <a:lnTo>
                    <a:pt x="21467" y="3670"/>
                  </a:lnTo>
                  <a:lnTo>
                    <a:pt x="21467" y="3016"/>
                  </a:lnTo>
                  <a:lnTo>
                    <a:pt x="21014" y="3016"/>
                  </a:lnTo>
                  <a:lnTo>
                    <a:pt x="21014" y="3670"/>
                  </a:lnTo>
                  <a:lnTo>
                    <a:pt x="21014" y="4324"/>
                  </a:lnTo>
                  <a:lnTo>
                    <a:pt x="21220" y="4324"/>
                  </a:lnTo>
                  <a:lnTo>
                    <a:pt x="21220" y="4017"/>
                  </a:lnTo>
                  <a:lnTo>
                    <a:pt x="21222" y="4008"/>
                  </a:lnTo>
                  <a:lnTo>
                    <a:pt x="21227" y="4002"/>
                  </a:lnTo>
                  <a:lnTo>
                    <a:pt x="21233" y="3998"/>
                  </a:lnTo>
                  <a:lnTo>
                    <a:pt x="21241" y="3997"/>
                  </a:lnTo>
                  <a:lnTo>
                    <a:pt x="21247" y="3998"/>
                  </a:lnTo>
                  <a:lnTo>
                    <a:pt x="21254" y="4002"/>
                  </a:lnTo>
                  <a:lnTo>
                    <a:pt x="21259" y="4008"/>
                  </a:lnTo>
                  <a:lnTo>
                    <a:pt x="21260" y="4017"/>
                  </a:lnTo>
                  <a:close/>
                  <a:moveTo>
                    <a:pt x="21753" y="4017"/>
                  </a:moveTo>
                  <a:lnTo>
                    <a:pt x="21753" y="4324"/>
                  </a:lnTo>
                  <a:lnTo>
                    <a:pt x="21959" y="4324"/>
                  </a:lnTo>
                  <a:lnTo>
                    <a:pt x="21959" y="3670"/>
                  </a:lnTo>
                  <a:lnTo>
                    <a:pt x="21959" y="3016"/>
                  </a:lnTo>
                  <a:lnTo>
                    <a:pt x="21506" y="3016"/>
                  </a:lnTo>
                  <a:lnTo>
                    <a:pt x="21506" y="3670"/>
                  </a:lnTo>
                  <a:lnTo>
                    <a:pt x="21506" y="4324"/>
                  </a:lnTo>
                  <a:lnTo>
                    <a:pt x="21713" y="4324"/>
                  </a:lnTo>
                  <a:lnTo>
                    <a:pt x="21713" y="4017"/>
                  </a:lnTo>
                  <a:lnTo>
                    <a:pt x="21714" y="4008"/>
                  </a:lnTo>
                  <a:lnTo>
                    <a:pt x="21719" y="4002"/>
                  </a:lnTo>
                  <a:lnTo>
                    <a:pt x="21726" y="3998"/>
                  </a:lnTo>
                  <a:lnTo>
                    <a:pt x="21732" y="3997"/>
                  </a:lnTo>
                  <a:lnTo>
                    <a:pt x="21740" y="3998"/>
                  </a:lnTo>
                  <a:lnTo>
                    <a:pt x="21746" y="4002"/>
                  </a:lnTo>
                  <a:lnTo>
                    <a:pt x="21751" y="4008"/>
                  </a:lnTo>
                  <a:lnTo>
                    <a:pt x="21753" y="4017"/>
                  </a:lnTo>
                  <a:close/>
                  <a:moveTo>
                    <a:pt x="22245" y="4017"/>
                  </a:moveTo>
                  <a:lnTo>
                    <a:pt x="22245" y="4324"/>
                  </a:lnTo>
                  <a:lnTo>
                    <a:pt x="22450" y="4324"/>
                  </a:lnTo>
                  <a:lnTo>
                    <a:pt x="22450" y="3670"/>
                  </a:lnTo>
                  <a:lnTo>
                    <a:pt x="22450" y="3016"/>
                  </a:lnTo>
                  <a:lnTo>
                    <a:pt x="21999" y="3016"/>
                  </a:lnTo>
                  <a:lnTo>
                    <a:pt x="21999" y="3670"/>
                  </a:lnTo>
                  <a:lnTo>
                    <a:pt x="21999" y="4324"/>
                  </a:lnTo>
                  <a:lnTo>
                    <a:pt x="22205" y="4324"/>
                  </a:lnTo>
                  <a:lnTo>
                    <a:pt x="22205" y="4017"/>
                  </a:lnTo>
                  <a:lnTo>
                    <a:pt x="22207" y="4008"/>
                  </a:lnTo>
                  <a:lnTo>
                    <a:pt x="22210" y="4002"/>
                  </a:lnTo>
                  <a:lnTo>
                    <a:pt x="22217" y="3998"/>
                  </a:lnTo>
                  <a:lnTo>
                    <a:pt x="22224" y="3997"/>
                  </a:lnTo>
                  <a:lnTo>
                    <a:pt x="22232" y="3998"/>
                  </a:lnTo>
                  <a:lnTo>
                    <a:pt x="22239" y="4002"/>
                  </a:lnTo>
                  <a:lnTo>
                    <a:pt x="22242" y="4008"/>
                  </a:lnTo>
                  <a:lnTo>
                    <a:pt x="22245" y="4017"/>
                  </a:lnTo>
                  <a:close/>
                  <a:moveTo>
                    <a:pt x="22737" y="4017"/>
                  </a:moveTo>
                  <a:lnTo>
                    <a:pt x="22737" y="4324"/>
                  </a:lnTo>
                  <a:lnTo>
                    <a:pt x="22943" y="4324"/>
                  </a:lnTo>
                  <a:lnTo>
                    <a:pt x="22943" y="3670"/>
                  </a:lnTo>
                  <a:lnTo>
                    <a:pt x="22943" y="3016"/>
                  </a:lnTo>
                  <a:lnTo>
                    <a:pt x="22491" y="3016"/>
                  </a:lnTo>
                  <a:lnTo>
                    <a:pt x="22491" y="3670"/>
                  </a:lnTo>
                  <a:lnTo>
                    <a:pt x="22491" y="4324"/>
                  </a:lnTo>
                  <a:lnTo>
                    <a:pt x="22696" y="4324"/>
                  </a:lnTo>
                  <a:lnTo>
                    <a:pt x="22696" y="4017"/>
                  </a:lnTo>
                  <a:lnTo>
                    <a:pt x="22699" y="4008"/>
                  </a:lnTo>
                  <a:lnTo>
                    <a:pt x="22703" y="4002"/>
                  </a:lnTo>
                  <a:lnTo>
                    <a:pt x="22709" y="3998"/>
                  </a:lnTo>
                  <a:lnTo>
                    <a:pt x="22717" y="3997"/>
                  </a:lnTo>
                  <a:lnTo>
                    <a:pt x="22725" y="3998"/>
                  </a:lnTo>
                  <a:lnTo>
                    <a:pt x="22731" y="4002"/>
                  </a:lnTo>
                  <a:lnTo>
                    <a:pt x="22735" y="4008"/>
                  </a:lnTo>
                  <a:lnTo>
                    <a:pt x="22737" y="4017"/>
                  </a:lnTo>
                  <a:close/>
                  <a:moveTo>
                    <a:pt x="21727" y="1754"/>
                  </a:moveTo>
                  <a:lnTo>
                    <a:pt x="21714" y="1740"/>
                  </a:lnTo>
                  <a:lnTo>
                    <a:pt x="21696" y="1727"/>
                  </a:lnTo>
                  <a:lnTo>
                    <a:pt x="21673" y="1714"/>
                  </a:lnTo>
                  <a:lnTo>
                    <a:pt x="21645" y="1703"/>
                  </a:lnTo>
                  <a:lnTo>
                    <a:pt x="21612" y="1693"/>
                  </a:lnTo>
                  <a:lnTo>
                    <a:pt x="21573" y="1686"/>
                  </a:lnTo>
                  <a:lnTo>
                    <a:pt x="21531" y="1681"/>
                  </a:lnTo>
                  <a:lnTo>
                    <a:pt x="21483" y="1679"/>
                  </a:lnTo>
                  <a:lnTo>
                    <a:pt x="21437" y="1681"/>
                  </a:lnTo>
                  <a:lnTo>
                    <a:pt x="21394" y="1686"/>
                  </a:lnTo>
                  <a:lnTo>
                    <a:pt x="21356" y="1693"/>
                  </a:lnTo>
                  <a:lnTo>
                    <a:pt x="21322" y="1703"/>
                  </a:lnTo>
                  <a:lnTo>
                    <a:pt x="21294" y="1714"/>
                  </a:lnTo>
                  <a:lnTo>
                    <a:pt x="21270" y="1727"/>
                  </a:lnTo>
                  <a:lnTo>
                    <a:pt x="21253" y="1740"/>
                  </a:lnTo>
                  <a:lnTo>
                    <a:pt x="21241" y="1754"/>
                  </a:lnTo>
                  <a:lnTo>
                    <a:pt x="21727" y="1754"/>
                  </a:lnTo>
                  <a:close/>
                  <a:moveTo>
                    <a:pt x="19597" y="4131"/>
                  </a:moveTo>
                  <a:lnTo>
                    <a:pt x="19564" y="4135"/>
                  </a:lnTo>
                  <a:lnTo>
                    <a:pt x="19532" y="4145"/>
                  </a:lnTo>
                  <a:lnTo>
                    <a:pt x="19500" y="4154"/>
                  </a:lnTo>
                  <a:lnTo>
                    <a:pt x="19465" y="4159"/>
                  </a:lnTo>
                  <a:lnTo>
                    <a:pt x="19436" y="4154"/>
                  </a:lnTo>
                  <a:lnTo>
                    <a:pt x="19423" y="4149"/>
                  </a:lnTo>
                  <a:lnTo>
                    <a:pt x="19410" y="4143"/>
                  </a:lnTo>
                  <a:lnTo>
                    <a:pt x="19388" y="4125"/>
                  </a:lnTo>
                  <a:lnTo>
                    <a:pt x="19369" y="4100"/>
                  </a:lnTo>
                  <a:lnTo>
                    <a:pt x="19351" y="4072"/>
                  </a:lnTo>
                  <a:lnTo>
                    <a:pt x="19334" y="4040"/>
                  </a:lnTo>
                  <a:lnTo>
                    <a:pt x="19300" y="3973"/>
                  </a:lnTo>
                  <a:lnTo>
                    <a:pt x="19282" y="3937"/>
                  </a:lnTo>
                  <a:lnTo>
                    <a:pt x="19260" y="3904"/>
                  </a:lnTo>
                  <a:lnTo>
                    <a:pt x="19235" y="3872"/>
                  </a:lnTo>
                  <a:lnTo>
                    <a:pt x="19209" y="3843"/>
                  </a:lnTo>
                  <a:lnTo>
                    <a:pt x="19175" y="3820"/>
                  </a:lnTo>
                  <a:lnTo>
                    <a:pt x="19157" y="3810"/>
                  </a:lnTo>
                  <a:lnTo>
                    <a:pt x="19138" y="3801"/>
                  </a:lnTo>
                  <a:lnTo>
                    <a:pt x="19116" y="3795"/>
                  </a:lnTo>
                  <a:lnTo>
                    <a:pt x="19093" y="3790"/>
                  </a:lnTo>
                  <a:lnTo>
                    <a:pt x="19069" y="3787"/>
                  </a:lnTo>
                  <a:lnTo>
                    <a:pt x="19042" y="3786"/>
                  </a:lnTo>
                  <a:lnTo>
                    <a:pt x="19014" y="3790"/>
                  </a:lnTo>
                  <a:lnTo>
                    <a:pt x="19002" y="3795"/>
                  </a:lnTo>
                  <a:lnTo>
                    <a:pt x="18993" y="3801"/>
                  </a:lnTo>
                  <a:lnTo>
                    <a:pt x="18974" y="3817"/>
                  </a:lnTo>
                  <a:lnTo>
                    <a:pt x="18952" y="3836"/>
                  </a:lnTo>
                  <a:lnTo>
                    <a:pt x="18925" y="3854"/>
                  </a:lnTo>
                  <a:lnTo>
                    <a:pt x="18908" y="3863"/>
                  </a:lnTo>
                  <a:lnTo>
                    <a:pt x="18889" y="3869"/>
                  </a:lnTo>
                  <a:lnTo>
                    <a:pt x="18865" y="3875"/>
                  </a:lnTo>
                  <a:lnTo>
                    <a:pt x="18838" y="3881"/>
                  </a:lnTo>
                  <a:lnTo>
                    <a:pt x="18806" y="3884"/>
                  </a:lnTo>
                  <a:lnTo>
                    <a:pt x="18769" y="3886"/>
                  </a:lnTo>
                  <a:lnTo>
                    <a:pt x="18742" y="3883"/>
                  </a:lnTo>
                  <a:lnTo>
                    <a:pt x="18720" y="3879"/>
                  </a:lnTo>
                  <a:lnTo>
                    <a:pt x="18688" y="3868"/>
                  </a:lnTo>
                  <a:lnTo>
                    <a:pt x="18662" y="3855"/>
                  </a:lnTo>
                  <a:lnTo>
                    <a:pt x="18649" y="3851"/>
                  </a:lnTo>
                  <a:lnTo>
                    <a:pt x="18637" y="3850"/>
                  </a:lnTo>
                  <a:lnTo>
                    <a:pt x="18615" y="3851"/>
                  </a:lnTo>
                  <a:lnTo>
                    <a:pt x="18594" y="3856"/>
                  </a:lnTo>
                  <a:lnTo>
                    <a:pt x="18575" y="3864"/>
                  </a:lnTo>
                  <a:lnTo>
                    <a:pt x="18557" y="3875"/>
                  </a:lnTo>
                  <a:lnTo>
                    <a:pt x="18540" y="3888"/>
                  </a:lnTo>
                  <a:lnTo>
                    <a:pt x="18524" y="3902"/>
                  </a:lnTo>
                  <a:lnTo>
                    <a:pt x="18494" y="3936"/>
                  </a:lnTo>
                  <a:lnTo>
                    <a:pt x="18467" y="3973"/>
                  </a:lnTo>
                  <a:lnTo>
                    <a:pt x="18442" y="4011"/>
                  </a:lnTo>
                  <a:lnTo>
                    <a:pt x="18416" y="4047"/>
                  </a:lnTo>
                  <a:lnTo>
                    <a:pt x="18389" y="4077"/>
                  </a:lnTo>
                  <a:lnTo>
                    <a:pt x="18366" y="4097"/>
                  </a:lnTo>
                  <a:lnTo>
                    <a:pt x="18337" y="4116"/>
                  </a:lnTo>
                  <a:lnTo>
                    <a:pt x="18266" y="4155"/>
                  </a:lnTo>
                  <a:lnTo>
                    <a:pt x="18261" y="4161"/>
                  </a:lnTo>
                  <a:lnTo>
                    <a:pt x="18253" y="4163"/>
                  </a:lnTo>
                  <a:lnTo>
                    <a:pt x="18207" y="4191"/>
                  </a:lnTo>
                  <a:lnTo>
                    <a:pt x="18169" y="4221"/>
                  </a:lnTo>
                  <a:lnTo>
                    <a:pt x="18153" y="4236"/>
                  </a:lnTo>
                  <a:lnTo>
                    <a:pt x="18147" y="4245"/>
                  </a:lnTo>
                  <a:lnTo>
                    <a:pt x="18142" y="4253"/>
                  </a:lnTo>
                  <a:lnTo>
                    <a:pt x="18134" y="4269"/>
                  </a:lnTo>
                  <a:lnTo>
                    <a:pt x="18131" y="4287"/>
                  </a:lnTo>
                  <a:lnTo>
                    <a:pt x="18133" y="4308"/>
                  </a:lnTo>
                  <a:lnTo>
                    <a:pt x="18137" y="4329"/>
                  </a:lnTo>
                  <a:lnTo>
                    <a:pt x="18256" y="4329"/>
                  </a:lnTo>
                  <a:lnTo>
                    <a:pt x="18261" y="4329"/>
                  </a:lnTo>
                  <a:lnTo>
                    <a:pt x="19046" y="4329"/>
                  </a:lnTo>
                  <a:lnTo>
                    <a:pt x="19830" y="4329"/>
                  </a:lnTo>
                  <a:lnTo>
                    <a:pt x="19825" y="4308"/>
                  </a:lnTo>
                  <a:lnTo>
                    <a:pt x="19819" y="4286"/>
                  </a:lnTo>
                  <a:lnTo>
                    <a:pt x="19810" y="4265"/>
                  </a:lnTo>
                  <a:lnTo>
                    <a:pt x="19801" y="4248"/>
                  </a:lnTo>
                  <a:lnTo>
                    <a:pt x="19778" y="4213"/>
                  </a:lnTo>
                  <a:lnTo>
                    <a:pt x="19764" y="4198"/>
                  </a:lnTo>
                  <a:lnTo>
                    <a:pt x="19748" y="4185"/>
                  </a:lnTo>
                  <a:lnTo>
                    <a:pt x="19733" y="4172"/>
                  </a:lnTo>
                  <a:lnTo>
                    <a:pt x="19716" y="4162"/>
                  </a:lnTo>
                  <a:lnTo>
                    <a:pt x="19698" y="4153"/>
                  </a:lnTo>
                  <a:lnTo>
                    <a:pt x="19679" y="4145"/>
                  </a:lnTo>
                  <a:lnTo>
                    <a:pt x="19660" y="4139"/>
                  </a:lnTo>
                  <a:lnTo>
                    <a:pt x="19639" y="4134"/>
                  </a:lnTo>
                  <a:lnTo>
                    <a:pt x="19597" y="4131"/>
                  </a:lnTo>
                  <a:close/>
                  <a:moveTo>
                    <a:pt x="18860" y="2743"/>
                  </a:moveTo>
                  <a:lnTo>
                    <a:pt x="18742" y="2904"/>
                  </a:lnTo>
                  <a:lnTo>
                    <a:pt x="18742" y="3047"/>
                  </a:lnTo>
                  <a:lnTo>
                    <a:pt x="18794" y="3040"/>
                  </a:lnTo>
                  <a:lnTo>
                    <a:pt x="18803" y="3039"/>
                  </a:lnTo>
                  <a:lnTo>
                    <a:pt x="18811" y="3043"/>
                  </a:lnTo>
                  <a:lnTo>
                    <a:pt x="18815" y="3048"/>
                  </a:lnTo>
                  <a:lnTo>
                    <a:pt x="18819" y="3056"/>
                  </a:lnTo>
                  <a:lnTo>
                    <a:pt x="18819" y="3062"/>
                  </a:lnTo>
                  <a:lnTo>
                    <a:pt x="18816" y="3070"/>
                  </a:lnTo>
                  <a:lnTo>
                    <a:pt x="18811" y="3075"/>
                  </a:lnTo>
                  <a:lnTo>
                    <a:pt x="18802" y="3079"/>
                  </a:lnTo>
                  <a:lnTo>
                    <a:pt x="18773" y="3084"/>
                  </a:lnTo>
                  <a:lnTo>
                    <a:pt x="18742" y="3086"/>
                  </a:lnTo>
                  <a:lnTo>
                    <a:pt x="18742" y="3827"/>
                  </a:lnTo>
                  <a:lnTo>
                    <a:pt x="18741" y="3836"/>
                  </a:lnTo>
                  <a:lnTo>
                    <a:pt x="18735" y="3842"/>
                  </a:lnTo>
                  <a:lnTo>
                    <a:pt x="18751" y="3845"/>
                  </a:lnTo>
                  <a:lnTo>
                    <a:pt x="18769" y="3845"/>
                  </a:lnTo>
                  <a:lnTo>
                    <a:pt x="18798" y="3845"/>
                  </a:lnTo>
                  <a:lnTo>
                    <a:pt x="18825" y="3843"/>
                  </a:lnTo>
                  <a:lnTo>
                    <a:pt x="18850" y="3840"/>
                  </a:lnTo>
                  <a:lnTo>
                    <a:pt x="18871" y="3835"/>
                  </a:lnTo>
                  <a:lnTo>
                    <a:pt x="18892" y="3826"/>
                  </a:lnTo>
                  <a:lnTo>
                    <a:pt x="18911" y="3815"/>
                  </a:lnTo>
                  <a:lnTo>
                    <a:pt x="18952" y="3782"/>
                  </a:lnTo>
                  <a:lnTo>
                    <a:pt x="18973" y="3767"/>
                  </a:lnTo>
                  <a:lnTo>
                    <a:pt x="18982" y="3760"/>
                  </a:lnTo>
                  <a:lnTo>
                    <a:pt x="18992" y="3755"/>
                  </a:lnTo>
                  <a:lnTo>
                    <a:pt x="19015" y="3748"/>
                  </a:lnTo>
                  <a:lnTo>
                    <a:pt x="19042" y="3745"/>
                  </a:lnTo>
                  <a:lnTo>
                    <a:pt x="19075" y="3748"/>
                  </a:lnTo>
                  <a:lnTo>
                    <a:pt x="19107" y="3751"/>
                  </a:lnTo>
                  <a:lnTo>
                    <a:pt x="19135" y="3758"/>
                  </a:lnTo>
                  <a:lnTo>
                    <a:pt x="19162" y="3768"/>
                  </a:lnTo>
                  <a:lnTo>
                    <a:pt x="19187" y="3780"/>
                  </a:lnTo>
                  <a:lnTo>
                    <a:pt x="19209" y="3794"/>
                  </a:lnTo>
                  <a:lnTo>
                    <a:pt x="19229" y="3809"/>
                  </a:lnTo>
                  <a:lnTo>
                    <a:pt x="19248" y="3827"/>
                  </a:lnTo>
                  <a:lnTo>
                    <a:pt x="19282" y="3866"/>
                  </a:lnTo>
                  <a:lnTo>
                    <a:pt x="19311" y="3911"/>
                  </a:lnTo>
                  <a:lnTo>
                    <a:pt x="19338" y="3960"/>
                  </a:lnTo>
                  <a:lnTo>
                    <a:pt x="19364" y="4012"/>
                  </a:lnTo>
                  <a:lnTo>
                    <a:pt x="19369" y="4021"/>
                  </a:lnTo>
                  <a:lnTo>
                    <a:pt x="19369" y="3649"/>
                  </a:lnTo>
                  <a:lnTo>
                    <a:pt x="19334" y="3663"/>
                  </a:lnTo>
                  <a:lnTo>
                    <a:pt x="19319" y="3670"/>
                  </a:lnTo>
                  <a:lnTo>
                    <a:pt x="19302" y="3676"/>
                  </a:lnTo>
                  <a:lnTo>
                    <a:pt x="19284" y="3676"/>
                  </a:lnTo>
                  <a:lnTo>
                    <a:pt x="19275" y="3675"/>
                  </a:lnTo>
                  <a:lnTo>
                    <a:pt x="19265" y="3671"/>
                  </a:lnTo>
                  <a:lnTo>
                    <a:pt x="19255" y="3666"/>
                  </a:lnTo>
                  <a:lnTo>
                    <a:pt x="19244" y="3658"/>
                  </a:lnTo>
                  <a:lnTo>
                    <a:pt x="19221" y="3634"/>
                  </a:lnTo>
                  <a:lnTo>
                    <a:pt x="19205" y="3616"/>
                  </a:lnTo>
                  <a:lnTo>
                    <a:pt x="19191" y="3604"/>
                  </a:lnTo>
                  <a:lnTo>
                    <a:pt x="19180" y="3598"/>
                  </a:lnTo>
                  <a:lnTo>
                    <a:pt x="19169" y="3595"/>
                  </a:lnTo>
                  <a:lnTo>
                    <a:pt x="19144" y="3594"/>
                  </a:lnTo>
                  <a:lnTo>
                    <a:pt x="19105" y="3590"/>
                  </a:lnTo>
                  <a:lnTo>
                    <a:pt x="19091" y="3586"/>
                  </a:lnTo>
                  <a:lnTo>
                    <a:pt x="19079" y="3581"/>
                  </a:lnTo>
                  <a:lnTo>
                    <a:pt x="19062" y="3567"/>
                  </a:lnTo>
                  <a:lnTo>
                    <a:pt x="19052" y="3549"/>
                  </a:lnTo>
                  <a:lnTo>
                    <a:pt x="19044" y="3530"/>
                  </a:lnTo>
                  <a:lnTo>
                    <a:pt x="19039" y="3510"/>
                  </a:lnTo>
                  <a:lnTo>
                    <a:pt x="19033" y="3489"/>
                  </a:lnTo>
                  <a:lnTo>
                    <a:pt x="19029" y="3480"/>
                  </a:lnTo>
                  <a:lnTo>
                    <a:pt x="19024" y="3471"/>
                  </a:lnTo>
                  <a:lnTo>
                    <a:pt x="19016" y="3464"/>
                  </a:lnTo>
                  <a:lnTo>
                    <a:pt x="19009" y="3457"/>
                  </a:lnTo>
                  <a:lnTo>
                    <a:pt x="18967" y="3434"/>
                  </a:lnTo>
                  <a:lnTo>
                    <a:pt x="18952" y="3424"/>
                  </a:lnTo>
                  <a:lnTo>
                    <a:pt x="18939" y="3414"/>
                  </a:lnTo>
                  <a:lnTo>
                    <a:pt x="18930" y="3400"/>
                  </a:lnTo>
                  <a:lnTo>
                    <a:pt x="18926" y="3383"/>
                  </a:lnTo>
                  <a:lnTo>
                    <a:pt x="18925" y="3361"/>
                  </a:lnTo>
                  <a:lnTo>
                    <a:pt x="18929" y="3333"/>
                  </a:lnTo>
                  <a:lnTo>
                    <a:pt x="18934" y="3304"/>
                  </a:lnTo>
                  <a:lnTo>
                    <a:pt x="18934" y="3285"/>
                  </a:lnTo>
                  <a:lnTo>
                    <a:pt x="18925" y="3267"/>
                  </a:lnTo>
                  <a:lnTo>
                    <a:pt x="18908" y="3242"/>
                  </a:lnTo>
                  <a:lnTo>
                    <a:pt x="18891" y="3216"/>
                  </a:lnTo>
                  <a:lnTo>
                    <a:pt x="18884" y="3199"/>
                  </a:lnTo>
                  <a:lnTo>
                    <a:pt x="18882" y="3181"/>
                  </a:lnTo>
                  <a:lnTo>
                    <a:pt x="18884" y="3162"/>
                  </a:lnTo>
                  <a:lnTo>
                    <a:pt x="18891" y="3145"/>
                  </a:lnTo>
                  <a:lnTo>
                    <a:pt x="18908" y="3118"/>
                  </a:lnTo>
                  <a:lnTo>
                    <a:pt x="18923" y="3098"/>
                  </a:lnTo>
                  <a:lnTo>
                    <a:pt x="18930" y="3083"/>
                  </a:lnTo>
                  <a:lnTo>
                    <a:pt x="18934" y="3070"/>
                  </a:lnTo>
                  <a:lnTo>
                    <a:pt x="18935" y="3060"/>
                  </a:lnTo>
                  <a:lnTo>
                    <a:pt x="18929" y="3035"/>
                  </a:lnTo>
                  <a:lnTo>
                    <a:pt x="18925" y="2996"/>
                  </a:lnTo>
                  <a:lnTo>
                    <a:pt x="18928" y="2969"/>
                  </a:lnTo>
                  <a:lnTo>
                    <a:pt x="18932" y="2959"/>
                  </a:lnTo>
                  <a:lnTo>
                    <a:pt x="18938" y="2950"/>
                  </a:lnTo>
                  <a:lnTo>
                    <a:pt x="18944" y="2942"/>
                  </a:lnTo>
                  <a:lnTo>
                    <a:pt x="18952" y="2936"/>
                  </a:lnTo>
                  <a:lnTo>
                    <a:pt x="18970" y="2924"/>
                  </a:lnTo>
                  <a:lnTo>
                    <a:pt x="19007" y="2904"/>
                  </a:lnTo>
                  <a:lnTo>
                    <a:pt x="19023" y="2891"/>
                  </a:lnTo>
                  <a:lnTo>
                    <a:pt x="19033" y="2872"/>
                  </a:lnTo>
                  <a:lnTo>
                    <a:pt x="19047" y="2828"/>
                  </a:lnTo>
                  <a:lnTo>
                    <a:pt x="19053" y="2810"/>
                  </a:lnTo>
                  <a:lnTo>
                    <a:pt x="19061" y="2796"/>
                  </a:lnTo>
                  <a:lnTo>
                    <a:pt x="19073" y="2785"/>
                  </a:lnTo>
                  <a:lnTo>
                    <a:pt x="19088" y="2776"/>
                  </a:lnTo>
                  <a:lnTo>
                    <a:pt x="19109" y="2771"/>
                  </a:lnTo>
                  <a:lnTo>
                    <a:pt x="19138" y="2768"/>
                  </a:lnTo>
                  <a:lnTo>
                    <a:pt x="19162" y="2766"/>
                  </a:lnTo>
                  <a:lnTo>
                    <a:pt x="19180" y="2763"/>
                  </a:lnTo>
                  <a:lnTo>
                    <a:pt x="19192" y="2758"/>
                  </a:lnTo>
                  <a:lnTo>
                    <a:pt x="19201" y="2751"/>
                  </a:lnTo>
                  <a:lnTo>
                    <a:pt x="19216" y="2732"/>
                  </a:lnTo>
                  <a:lnTo>
                    <a:pt x="19228" y="2719"/>
                  </a:lnTo>
                  <a:lnTo>
                    <a:pt x="19243" y="2704"/>
                  </a:lnTo>
                  <a:lnTo>
                    <a:pt x="19265" y="2690"/>
                  </a:lnTo>
                  <a:lnTo>
                    <a:pt x="19274" y="2686"/>
                  </a:lnTo>
                  <a:lnTo>
                    <a:pt x="19284" y="2685"/>
                  </a:lnTo>
                  <a:lnTo>
                    <a:pt x="19302" y="2686"/>
                  </a:lnTo>
                  <a:lnTo>
                    <a:pt x="19319" y="2691"/>
                  </a:lnTo>
                  <a:lnTo>
                    <a:pt x="19352" y="2707"/>
                  </a:lnTo>
                  <a:lnTo>
                    <a:pt x="19370" y="2713"/>
                  </a:lnTo>
                  <a:lnTo>
                    <a:pt x="19388" y="2716"/>
                  </a:lnTo>
                  <a:lnTo>
                    <a:pt x="19410" y="2712"/>
                  </a:lnTo>
                  <a:lnTo>
                    <a:pt x="19429" y="2705"/>
                  </a:lnTo>
                  <a:lnTo>
                    <a:pt x="19448" y="2696"/>
                  </a:lnTo>
                  <a:lnTo>
                    <a:pt x="19466" y="2689"/>
                  </a:lnTo>
                  <a:lnTo>
                    <a:pt x="19486" y="2685"/>
                  </a:lnTo>
                  <a:lnTo>
                    <a:pt x="19506" y="2688"/>
                  </a:lnTo>
                  <a:lnTo>
                    <a:pt x="19518" y="2694"/>
                  </a:lnTo>
                  <a:lnTo>
                    <a:pt x="19529" y="2702"/>
                  </a:lnTo>
                  <a:lnTo>
                    <a:pt x="19556" y="2727"/>
                  </a:lnTo>
                  <a:lnTo>
                    <a:pt x="19573" y="2746"/>
                  </a:lnTo>
                  <a:lnTo>
                    <a:pt x="19586" y="2758"/>
                  </a:lnTo>
                  <a:lnTo>
                    <a:pt x="19597" y="2764"/>
                  </a:lnTo>
                  <a:lnTo>
                    <a:pt x="19607" y="2767"/>
                  </a:lnTo>
                  <a:lnTo>
                    <a:pt x="19633" y="2767"/>
                  </a:lnTo>
                  <a:lnTo>
                    <a:pt x="19673" y="2771"/>
                  </a:lnTo>
                  <a:lnTo>
                    <a:pt x="19687" y="2774"/>
                  </a:lnTo>
                  <a:lnTo>
                    <a:pt x="19698" y="2780"/>
                  </a:lnTo>
                  <a:lnTo>
                    <a:pt x="19715" y="2794"/>
                  </a:lnTo>
                  <a:lnTo>
                    <a:pt x="19725" y="2812"/>
                  </a:lnTo>
                  <a:lnTo>
                    <a:pt x="19732" y="2832"/>
                  </a:lnTo>
                  <a:lnTo>
                    <a:pt x="19737" y="2852"/>
                  </a:lnTo>
                  <a:lnTo>
                    <a:pt x="19743" y="2872"/>
                  </a:lnTo>
                  <a:lnTo>
                    <a:pt x="19748" y="2881"/>
                  </a:lnTo>
                  <a:lnTo>
                    <a:pt x="19754" y="2890"/>
                  </a:lnTo>
                  <a:lnTo>
                    <a:pt x="19760" y="2897"/>
                  </a:lnTo>
                  <a:lnTo>
                    <a:pt x="19769" y="2904"/>
                  </a:lnTo>
                  <a:lnTo>
                    <a:pt x="19809" y="2927"/>
                  </a:lnTo>
                  <a:lnTo>
                    <a:pt x="19825" y="2937"/>
                  </a:lnTo>
                  <a:lnTo>
                    <a:pt x="19837" y="2948"/>
                  </a:lnTo>
                  <a:lnTo>
                    <a:pt x="19846" y="2961"/>
                  </a:lnTo>
                  <a:lnTo>
                    <a:pt x="19851" y="2978"/>
                  </a:lnTo>
                  <a:lnTo>
                    <a:pt x="19852" y="3000"/>
                  </a:lnTo>
                  <a:lnTo>
                    <a:pt x="19848" y="3028"/>
                  </a:lnTo>
                  <a:lnTo>
                    <a:pt x="19843" y="3057"/>
                  </a:lnTo>
                  <a:lnTo>
                    <a:pt x="19843" y="3076"/>
                  </a:lnTo>
                  <a:lnTo>
                    <a:pt x="19851" y="3094"/>
                  </a:lnTo>
                  <a:lnTo>
                    <a:pt x="19869" y="3118"/>
                  </a:lnTo>
                  <a:lnTo>
                    <a:pt x="19887" y="3145"/>
                  </a:lnTo>
                  <a:lnTo>
                    <a:pt x="19893" y="3162"/>
                  </a:lnTo>
                  <a:lnTo>
                    <a:pt x="19896" y="3181"/>
                  </a:lnTo>
                  <a:lnTo>
                    <a:pt x="19893" y="3199"/>
                  </a:lnTo>
                  <a:lnTo>
                    <a:pt x="19887" y="3216"/>
                  </a:lnTo>
                  <a:lnTo>
                    <a:pt x="19878" y="3230"/>
                  </a:lnTo>
                  <a:lnTo>
                    <a:pt x="19868" y="3244"/>
                  </a:lnTo>
                  <a:lnTo>
                    <a:pt x="19857" y="3258"/>
                  </a:lnTo>
                  <a:lnTo>
                    <a:pt x="19848" y="3272"/>
                  </a:lnTo>
                  <a:lnTo>
                    <a:pt x="19843" y="3287"/>
                  </a:lnTo>
                  <a:lnTo>
                    <a:pt x="19843" y="3305"/>
                  </a:lnTo>
                  <a:lnTo>
                    <a:pt x="19850" y="3351"/>
                  </a:lnTo>
                  <a:lnTo>
                    <a:pt x="19852" y="3369"/>
                  </a:lnTo>
                  <a:lnTo>
                    <a:pt x="19851" y="3386"/>
                  </a:lnTo>
                  <a:lnTo>
                    <a:pt x="19846" y="3401"/>
                  </a:lnTo>
                  <a:lnTo>
                    <a:pt x="19836" y="3415"/>
                  </a:lnTo>
                  <a:lnTo>
                    <a:pt x="19819" y="3429"/>
                  </a:lnTo>
                  <a:lnTo>
                    <a:pt x="19795" y="3445"/>
                  </a:lnTo>
                  <a:lnTo>
                    <a:pt x="19773" y="3456"/>
                  </a:lnTo>
                  <a:lnTo>
                    <a:pt x="19759" y="3466"/>
                  </a:lnTo>
                  <a:lnTo>
                    <a:pt x="19750" y="3476"/>
                  </a:lnTo>
                  <a:lnTo>
                    <a:pt x="19745" y="3485"/>
                  </a:lnTo>
                  <a:lnTo>
                    <a:pt x="19739" y="3510"/>
                  </a:lnTo>
                  <a:lnTo>
                    <a:pt x="19734" y="3526"/>
                  </a:lnTo>
                  <a:lnTo>
                    <a:pt x="19727" y="3547"/>
                  </a:lnTo>
                  <a:lnTo>
                    <a:pt x="19711" y="3570"/>
                  </a:lnTo>
                  <a:lnTo>
                    <a:pt x="19704" y="3579"/>
                  </a:lnTo>
                  <a:lnTo>
                    <a:pt x="19695" y="3584"/>
                  </a:lnTo>
                  <a:lnTo>
                    <a:pt x="19674" y="3590"/>
                  </a:lnTo>
                  <a:lnTo>
                    <a:pt x="19653" y="3593"/>
                  </a:lnTo>
                  <a:lnTo>
                    <a:pt x="19632" y="3593"/>
                  </a:lnTo>
                  <a:lnTo>
                    <a:pt x="19611" y="3594"/>
                  </a:lnTo>
                  <a:lnTo>
                    <a:pt x="19592" y="3601"/>
                  </a:lnTo>
                  <a:lnTo>
                    <a:pt x="19583" y="3606"/>
                  </a:lnTo>
                  <a:lnTo>
                    <a:pt x="19575" y="3612"/>
                  </a:lnTo>
                  <a:lnTo>
                    <a:pt x="19543" y="3647"/>
                  </a:lnTo>
                  <a:lnTo>
                    <a:pt x="19530" y="3659"/>
                  </a:lnTo>
                  <a:lnTo>
                    <a:pt x="19516" y="3668"/>
                  </a:lnTo>
                  <a:lnTo>
                    <a:pt x="19501" y="3675"/>
                  </a:lnTo>
                  <a:lnTo>
                    <a:pt x="19484" y="3676"/>
                  </a:lnTo>
                  <a:lnTo>
                    <a:pt x="19462" y="3671"/>
                  </a:lnTo>
                  <a:lnTo>
                    <a:pt x="19436" y="3661"/>
                  </a:lnTo>
                  <a:lnTo>
                    <a:pt x="19409" y="3649"/>
                  </a:lnTo>
                  <a:lnTo>
                    <a:pt x="19409" y="4083"/>
                  </a:lnTo>
                  <a:lnTo>
                    <a:pt x="19409" y="4086"/>
                  </a:lnTo>
                  <a:lnTo>
                    <a:pt x="19420" y="4099"/>
                  </a:lnTo>
                  <a:lnTo>
                    <a:pt x="19434" y="4109"/>
                  </a:lnTo>
                  <a:lnTo>
                    <a:pt x="19448" y="4117"/>
                  </a:lnTo>
                  <a:lnTo>
                    <a:pt x="19465" y="4118"/>
                  </a:lnTo>
                  <a:lnTo>
                    <a:pt x="19498" y="4115"/>
                  </a:lnTo>
                  <a:lnTo>
                    <a:pt x="19530" y="4104"/>
                  </a:lnTo>
                  <a:lnTo>
                    <a:pt x="19564" y="4095"/>
                  </a:lnTo>
                  <a:lnTo>
                    <a:pt x="19597" y="4090"/>
                  </a:lnTo>
                  <a:lnTo>
                    <a:pt x="19629" y="4093"/>
                  </a:lnTo>
                  <a:lnTo>
                    <a:pt x="19660" y="4098"/>
                  </a:lnTo>
                  <a:lnTo>
                    <a:pt x="19688" y="4106"/>
                  </a:lnTo>
                  <a:lnTo>
                    <a:pt x="19715" y="4116"/>
                  </a:lnTo>
                  <a:lnTo>
                    <a:pt x="19739" y="4130"/>
                  </a:lnTo>
                  <a:lnTo>
                    <a:pt x="19761" y="4144"/>
                  </a:lnTo>
                  <a:lnTo>
                    <a:pt x="19782" y="4161"/>
                  </a:lnTo>
                  <a:lnTo>
                    <a:pt x="19800" y="4178"/>
                  </a:lnTo>
                  <a:lnTo>
                    <a:pt x="19830" y="4217"/>
                  </a:lnTo>
                  <a:lnTo>
                    <a:pt x="19842" y="4236"/>
                  </a:lnTo>
                  <a:lnTo>
                    <a:pt x="19852" y="4255"/>
                  </a:lnTo>
                  <a:lnTo>
                    <a:pt x="19861" y="4274"/>
                  </a:lnTo>
                  <a:lnTo>
                    <a:pt x="19866" y="4292"/>
                  </a:lnTo>
                  <a:lnTo>
                    <a:pt x="19871" y="4309"/>
                  </a:lnTo>
                  <a:lnTo>
                    <a:pt x="19874" y="4324"/>
                  </a:lnTo>
                  <a:lnTo>
                    <a:pt x="20236" y="4324"/>
                  </a:lnTo>
                  <a:lnTo>
                    <a:pt x="20236" y="4017"/>
                  </a:lnTo>
                  <a:lnTo>
                    <a:pt x="20238" y="4008"/>
                  </a:lnTo>
                  <a:lnTo>
                    <a:pt x="20242" y="4002"/>
                  </a:lnTo>
                  <a:lnTo>
                    <a:pt x="20248" y="3998"/>
                  </a:lnTo>
                  <a:lnTo>
                    <a:pt x="20256" y="3997"/>
                  </a:lnTo>
                  <a:lnTo>
                    <a:pt x="20264" y="3998"/>
                  </a:lnTo>
                  <a:lnTo>
                    <a:pt x="20270" y="4002"/>
                  </a:lnTo>
                  <a:lnTo>
                    <a:pt x="20274" y="4008"/>
                  </a:lnTo>
                  <a:lnTo>
                    <a:pt x="20277" y="4017"/>
                  </a:lnTo>
                  <a:lnTo>
                    <a:pt x="20277" y="4324"/>
                  </a:lnTo>
                  <a:lnTo>
                    <a:pt x="20482" y="4324"/>
                  </a:lnTo>
                  <a:lnTo>
                    <a:pt x="20482" y="3670"/>
                  </a:lnTo>
                  <a:lnTo>
                    <a:pt x="20482" y="3016"/>
                  </a:lnTo>
                  <a:lnTo>
                    <a:pt x="20024" y="3016"/>
                  </a:lnTo>
                  <a:lnTo>
                    <a:pt x="20024" y="3584"/>
                  </a:lnTo>
                  <a:lnTo>
                    <a:pt x="20024" y="4152"/>
                  </a:lnTo>
                  <a:lnTo>
                    <a:pt x="20023" y="4161"/>
                  </a:lnTo>
                  <a:lnTo>
                    <a:pt x="20018" y="4167"/>
                  </a:lnTo>
                  <a:lnTo>
                    <a:pt x="20011" y="4171"/>
                  </a:lnTo>
                  <a:lnTo>
                    <a:pt x="20005" y="4172"/>
                  </a:lnTo>
                  <a:lnTo>
                    <a:pt x="19997" y="4171"/>
                  </a:lnTo>
                  <a:lnTo>
                    <a:pt x="19991" y="4167"/>
                  </a:lnTo>
                  <a:lnTo>
                    <a:pt x="19986" y="4161"/>
                  </a:lnTo>
                  <a:lnTo>
                    <a:pt x="19984" y="4152"/>
                  </a:lnTo>
                  <a:lnTo>
                    <a:pt x="19984" y="3451"/>
                  </a:lnTo>
                  <a:lnTo>
                    <a:pt x="19984" y="2750"/>
                  </a:lnTo>
                  <a:lnTo>
                    <a:pt x="19946" y="2750"/>
                  </a:lnTo>
                  <a:lnTo>
                    <a:pt x="19939" y="2748"/>
                  </a:lnTo>
                  <a:lnTo>
                    <a:pt x="19933" y="2744"/>
                  </a:lnTo>
                  <a:lnTo>
                    <a:pt x="19928" y="2737"/>
                  </a:lnTo>
                  <a:lnTo>
                    <a:pt x="19927" y="2730"/>
                  </a:lnTo>
                  <a:lnTo>
                    <a:pt x="19927" y="2576"/>
                  </a:lnTo>
                  <a:lnTo>
                    <a:pt x="19928" y="2569"/>
                  </a:lnTo>
                  <a:lnTo>
                    <a:pt x="19933" y="2562"/>
                  </a:lnTo>
                  <a:lnTo>
                    <a:pt x="19939" y="2558"/>
                  </a:lnTo>
                  <a:lnTo>
                    <a:pt x="19946" y="2556"/>
                  </a:lnTo>
                  <a:lnTo>
                    <a:pt x="19998" y="2556"/>
                  </a:lnTo>
                  <a:lnTo>
                    <a:pt x="20041" y="2500"/>
                  </a:lnTo>
                  <a:lnTo>
                    <a:pt x="20089" y="2443"/>
                  </a:lnTo>
                  <a:lnTo>
                    <a:pt x="20116" y="2418"/>
                  </a:lnTo>
                  <a:lnTo>
                    <a:pt x="20143" y="2391"/>
                  </a:lnTo>
                  <a:lnTo>
                    <a:pt x="20201" y="2340"/>
                  </a:lnTo>
                  <a:lnTo>
                    <a:pt x="20264" y="2292"/>
                  </a:lnTo>
                  <a:lnTo>
                    <a:pt x="20331" y="2246"/>
                  </a:lnTo>
                  <a:lnTo>
                    <a:pt x="20402" y="2203"/>
                  </a:lnTo>
                  <a:lnTo>
                    <a:pt x="20477" y="2163"/>
                  </a:lnTo>
                  <a:lnTo>
                    <a:pt x="20556" y="2126"/>
                  </a:lnTo>
                  <a:lnTo>
                    <a:pt x="20638" y="2092"/>
                  </a:lnTo>
                  <a:lnTo>
                    <a:pt x="20681" y="2075"/>
                  </a:lnTo>
                  <a:lnTo>
                    <a:pt x="20724" y="2060"/>
                  </a:lnTo>
                  <a:lnTo>
                    <a:pt x="20813" y="2033"/>
                  </a:lnTo>
                  <a:lnTo>
                    <a:pt x="20904" y="2009"/>
                  </a:lnTo>
                  <a:lnTo>
                    <a:pt x="20999" y="1987"/>
                  </a:lnTo>
                  <a:lnTo>
                    <a:pt x="21095" y="1970"/>
                  </a:lnTo>
                  <a:lnTo>
                    <a:pt x="21194" y="1956"/>
                  </a:lnTo>
                  <a:lnTo>
                    <a:pt x="21194" y="1775"/>
                  </a:lnTo>
                  <a:lnTo>
                    <a:pt x="21196" y="1759"/>
                  </a:lnTo>
                  <a:lnTo>
                    <a:pt x="21200" y="1744"/>
                  </a:lnTo>
                  <a:lnTo>
                    <a:pt x="21209" y="1730"/>
                  </a:lnTo>
                  <a:lnTo>
                    <a:pt x="21219" y="1717"/>
                  </a:lnTo>
                  <a:lnTo>
                    <a:pt x="21232" y="1705"/>
                  </a:lnTo>
                  <a:lnTo>
                    <a:pt x="21247" y="1694"/>
                  </a:lnTo>
                  <a:lnTo>
                    <a:pt x="21265" y="1684"/>
                  </a:lnTo>
                  <a:lnTo>
                    <a:pt x="21285" y="1675"/>
                  </a:lnTo>
                  <a:lnTo>
                    <a:pt x="21329" y="1659"/>
                  </a:lnTo>
                  <a:lnTo>
                    <a:pt x="21378" y="1648"/>
                  </a:lnTo>
                  <a:lnTo>
                    <a:pt x="21429" y="1642"/>
                  </a:lnTo>
                  <a:lnTo>
                    <a:pt x="21483" y="1639"/>
                  </a:lnTo>
                  <a:lnTo>
                    <a:pt x="21537" y="1642"/>
                  </a:lnTo>
                  <a:lnTo>
                    <a:pt x="21590" y="1648"/>
                  </a:lnTo>
                  <a:lnTo>
                    <a:pt x="21614" y="1653"/>
                  </a:lnTo>
                  <a:lnTo>
                    <a:pt x="21638" y="1659"/>
                  </a:lnTo>
                  <a:lnTo>
                    <a:pt x="21660" y="1666"/>
                  </a:lnTo>
                  <a:lnTo>
                    <a:pt x="21682" y="1675"/>
                  </a:lnTo>
                  <a:lnTo>
                    <a:pt x="21719" y="1694"/>
                  </a:lnTo>
                  <a:lnTo>
                    <a:pt x="21747" y="1717"/>
                  </a:lnTo>
                  <a:lnTo>
                    <a:pt x="21759" y="1730"/>
                  </a:lnTo>
                  <a:lnTo>
                    <a:pt x="21767" y="1744"/>
                  </a:lnTo>
                  <a:lnTo>
                    <a:pt x="21772" y="1759"/>
                  </a:lnTo>
                  <a:lnTo>
                    <a:pt x="21773" y="1775"/>
                  </a:lnTo>
                  <a:lnTo>
                    <a:pt x="21773" y="1956"/>
                  </a:lnTo>
                  <a:lnTo>
                    <a:pt x="21872" y="1970"/>
                  </a:lnTo>
                  <a:lnTo>
                    <a:pt x="21969" y="1987"/>
                  </a:lnTo>
                  <a:lnTo>
                    <a:pt x="22063" y="2009"/>
                  </a:lnTo>
                  <a:lnTo>
                    <a:pt x="22155" y="2033"/>
                  </a:lnTo>
                  <a:lnTo>
                    <a:pt x="22244" y="2060"/>
                  </a:lnTo>
                  <a:lnTo>
                    <a:pt x="22328" y="2092"/>
                  </a:lnTo>
                  <a:lnTo>
                    <a:pt x="22412" y="2126"/>
                  </a:lnTo>
                  <a:lnTo>
                    <a:pt x="22490" y="2163"/>
                  </a:lnTo>
                  <a:lnTo>
                    <a:pt x="22566" y="2203"/>
                  </a:lnTo>
                  <a:lnTo>
                    <a:pt x="22601" y="2225"/>
                  </a:lnTo>
                  <a:lnTo>
                    <a:pt x="22636" y="2246"/>
                  </a:lnTo>
                  <a:lnTo>
                    <a:pt x="22703" y="2292"/>
                  </a:lnTo>
                  <a:lnTo>
                    <a:pt x="22766" y="2340"/>
                  </a:lnTo>
                  <a:lnTo>
                    <a:pt x="22795" y="2365"/>
                  </a:lnTo>
                  <a:lnTo>
                    <a:pt x="22825" y="2391"/>
                  </a:lnTo>
                  <a:lnTo>
                    <a:pt x="22877" y="2445"/>
                  </a:lnTo>
                  <a:lnTo>
                    <a:pt x="22926" y="2500"/>
                  </a:lnTo>
                  <a:lnTo>
                    <a:pt x="22969" y="2556"/>
                  </a:lnTo>
                  <a:lnTo>
                    <a:pt x="23021" y="2556"/>
                  </a:lnTo>
                  <a:lnTo>
                    <a:pt x="23028" y="2558"/>
                  </a:lnTo>
                  <a:lnTo>
                    <a:pt x="23035" y="2562"/>
                  </a:lnTo>
                  <a:lnTo>
                    <a:pt x="23039" y="2569"/>
                  </a:lnTo>
                  <a:lnTo>
                    <a:pt x="23040" y="2576"/>
                  </a:lnTo>
                  <a:lnTo>
                    <a:pt x="23040" y="2730"/>
                  </a:lnTo>
                  <a:lnTo>
                    <a:pt x="23039" y="2737"/>
                  </a:lnTo>
                  <a:lnTo>
                    <a:pt x="23035" y="2744"/>
                  </a:lnTo>
                  <a:lnTo>
                    <a:pt x="23028" y="2748"/>
                  </a:lnTo>
                  <a:lnTo>
                    <a:pt x="23021" y="2750"/>
                  </a:lnTo>
                  <a:lnTo>
                    <a:pt x="22982" y="2750"/>
                  </a:lnTo>
                  <a:lnTo>
                    <a:pt x="22982" y="3547"/>
                  </a:lnTo>
                  <a:lnTo>
                    <a:pt x="22982" y="4345"/>
                  </a:lnTo>
                  <a:lnTo>
                    <a:pt x="22981" y="4352"/>
                  </a:lnTo>
                  <a:lnTo>
                    <a:pt x="22977" y="4359"/>
                  </a:lnTo>
                  <a:lnTo>
                    <a:pt x="22971" y="4363"/>
                  </a:lnTo>
                  <a:lnTo>
                    <a:pt x="22963" y="4365"/>
                  </a:lnTo>
                  <a:lnTo>
                    <a:pt x="22717" y="4365"/>
                  </a:lnTo>
                  <a:lnTo>
                    <a:pt x="21733" y="4365"/>
                  </a:lnTo>
                  <a:lnTo>
                    <a:pt x="21241" y="4365"/>
                  </a:lnTo>
                  <a:lnTo>
                    <a:pt x="20749" y="4365"/>
                  </a:lnTo>
                  <a:lnTo>
                    <a:pt x="20257" y="4365"/>
                  </a:lnTo>
                  <a:lnTo>
                    <a:pt x="19865" y="4365"/>
                  </a:lnTo>
                  <a:lnTo>
                    <a:pt x="19859" y="4368"/>
                  </a:lnTo>
                  <a:lnTo>
                    <a:pt x="19852" y="4369"/>
                  </a:lnTo>
                  <a:lnTo>
                    <a:pt x="18987" y="4369"/>
                  </a:lnTo>
                  <a:lnTo>
                    <a:pt x="18122" y="4369"/>
                  </a:lnTo>
                  <a:lnTo>
                    <a:pt x="18119" y="4369"/>
                  </a:lnTo>
                  <a:lnTo>
                    <a:pt x="17558" y="4369"/>
                  </a:lnTo>
                  <a:lnTo>
                    <a:pt x="17549" y="4366"/>
                  </a:lnTo>
                  <a:lnTo>
                    <a:pt x="17543" y="4363"/>
                  </a:lnTo>
                  <a:lnTo>
                    <a:pt x="17540" y="4356"/>
                  </a:lnTo>
                  <a:lnTo>
                    <a:pt x="17539" y="4349"/>
                  </a:lnTo>
                  <a:lnTo>
                    <a:pt x="17540" y="4341"/>
                  </a:lnTo>
                  <a:lnTo>
                    <a:pt x="17543" y="4334"/>
                  </a:lnTo>
                  <a:lnTo>
                    <a:pt x="17549" y="4331"/>
                  </a:lnTo>
                  <a:lnTo>
                    <a:pt x="17558" y="4329"/>
                  </a:lnTo>
                  <a:lnTo>
                    <a:pt x="18096" y="4329"/>
                  </a:lnTo>
                  <a:lnTo>
                    <a:pt x="18092" y="4305"/>
                  </a:lnTo>
                  <a:lnTo>
                    <a:pt x="18090" y="4287"/>
                  </a:lnTo>
                  <a:lnTo>
                    <a:pt x="18094" y="4262"/>
                  </a:lnTo>
                  <a:lnTo>
                    <a:pt x="18103" y="4237"/>
                  </a:lnTo>
                  <a:lnTo>
                    <a:pt x="18116" y="4216"/>
                  </a:lnTo>
                  <a:lnTo>
                    <a:pt x="18134" y="4196"/>
                  </a:lnTo>
                  <a:lnTo>
                    <a:pt x="18155" y="4178"/>
                  </a:lnTo>
                  <a:lnTo>
                    <a:pt x="18178" y="4162"/>
                  </a:lnTo>
                  <a:lnTo>
                    <a:pt x="18230" y="4131"/>
                  </a:lnTo>
                  <a:lnTo>
                    <a:pt x="18213" y="3595"/>
                  </a:lnTo>
                  <a:lnTo>
                    <a:pt x="18197" y="3061"/>
                  </a:lnTo>
                  <a:lnTo>
                    <a:pt x="17607" y="2249"/>
                  </a:lnTo>
                  <a:lnTo>
                    <a:pt x="17579" y="2705"/>
                  </a:lnTo>
                  <a:lnTo>
                    <a:pt x="17576" y="2714"/>
                  </a:lnTo>
                  <a:lnTo>
                    <a:pt x="17571" y="2719"/>
                  </a:lnTo>
                  <a:lnTo>
                    <a:pt x="17557" y="2725"/>
                  </a:lnTo>
                  <a:lnTo>
                    <a:pt x="17551" y="2722"/>
                  </a:lnTo>
                  <a:lnTo>
                    <a:pt x="17544" y="2718"/>
                  </a:lnTo>
                  <a:lnTo>
                    <a:pt x="17540" y="2712"/>
                  </a:lnTo>
                  <a:lnTo>
                    <a:pt x="17539" y="2703"/>
                  </a:lnTo>
                  <a:lnTo>
                    <a:pt x="17570" y="2195"/>
                  </a:lnTo>
                  <a:lnTo>
                    <a:pt x="17571" y="2188"/>
                  </a:lnTo>
                  <a:lnTo>
                    <a:pt x="17597" y="1763"/>
                  </a:lnTo>
                  <a:lnTo>
                    <a:pt x="17597" y="1755"/>
                  </a:lnTo>
                  <a:lnTo>
                    <a:pt x="17640" y="1058"/>
                  </a:lnTo>
                  <a:lnTo>
                    <a:pt x="17622" y="1058"/>
                  </a:lnTo>
                  <a:lnTo>
                    <a:pt x="17615" y="1057"/>
                  </a:lnTo>
                  <a:lnTo>
                    <a:pt x="17608" y="1053"/>
                  </a:lnTo>
                  <a:lnTo>
                    <a:pt x="17604" y="1047"/>
                  </a:lnTo>
                  <a:lnTo>
                    <a:pt x="17603" y="1039"/>
                  </a:lnTo>
                  <a:lnTo>
                    <a:pt x="17603" y="943"/>
                  </a:lnTo>
                  <a:lnTo>
                    <a:pt x="17604" y="936"/>
                  </a:lnTo>
                  <a:lnTo>
                    <a:pt x="17608" y="929"/>
                  </a:lnTo>
                  <a:lnTo>
                    <a:pt x="17615" y="925"/>
                  </a:lnTo>
                  <a:lnTo>
                    <a:pt x="17622" y="924"/>
                  </a:lnTo>
                  <a:lnTo>
                    <a:pt x="18192" y="924"/>
                  </a:lnTo>
                  <a:lnTo>
                    <a:pt x="18199" y="925"/>
                  </a:lnTo>
                  <a:lnTo>
                    <a:pt x="18206" y="929"/>
                  </a:lnTo>
                  <a:lnTo>
                    <a:pt x="18211" y="936"/>
                  </a:lnTo>
                  <a:lnTo>
                    <a:pt x="18212" y="943"/>
                  </a:lnTo>
                  <a:lnTo>
                    <a:pt x="18212" y="1039"/>
                  </a:lnTo>
                  <a:lnTo>
                    <a:pt x="18211" y="1047"/>
                  </a:lnTo>
                  <a:lnTo>
                    <a:pt x="18206" y="1053"/>
                  </a:lnTo>
                  <a:lnTo>
                    <a:pt x="18199" y="1057"/>
                  </a:lnTo>
                  <a:lnTo>
                    <a:pt x="18192" y="1058"/>
                  </a:lnTo>
                  <a:lnTo>
                    <a:pt x="18174" y="1058"/>
                  </a:lnTo>
                  <a:lnTo>
                    <a:pt x="18201" y="1919"/>
                  </a:lnTo>
                  <a:lnTo>
                    <a:pt x="18930" y="1919"/>
                  </a:lnTo>
                  <a:lnTo>
                    <a:pt x="19661" y="1919"/>
                  </a:lnTo>
                  <a:lnTo>
                    <a:pt x="19698" y="1158"/>
                  </a:lnTo>
                  <a:lnTo>
                    <a:pt x="19736" y="399"/>
                  </a:lnTo>
                  <a:lnTo>
                    <a:pt x="19738" y="392"/>
                  </a:lnTo>
                  <a:lnTo>
                    <a:pt x="19742" y="386"/>
                  </a:lnTo>
                  <a:lnTo>
                    <a:pt x="19748" y="382"/>
                  </a:lnTo>
                  <a:lnTo>
                    <a:pt x="19756" y="381"/>
                  </a:lnTo>
                  <a:lnTo>
                    <a:pt x="20084" y="381"/>
                  </a:lnTo>
                  <a:lnTo>
                    <a:pt x="20092" y="382"/>
                  </a:lnTo>
                  <a:lnTo>
                    <a:pt x="20098" y="386"/>
                  </a:lnTo>
                  <a:lnTo>
                    <a:pt x="20102" y="392"/>
                  </a:lnTo>
                  <a:lnTo>
                    <a:pt x="20105" y="399"/>
                  </a:lnTo>
                  <a:lnTo>
                    <a:pt x="20142" y="1126"/>
                  </a:lnTo>
                  <a:lnTo>
                    <a:pt x="20181" y="1855"/>
                  </a:lnTo>
                  <a:lnTo>
                    <a:pt x="20179" y="1864"/>
                  </a:lnTo>
                  <a:lnTo>
                    <a:pt x="20175" y="1870"/>
                  </a:lnTo>
                  <a:lnTo>
                    <a:pt x="20169" y="1874"/>
                  </a:lnTo>
                  <a:lnTo>
                    <a:pt x="20161" y="1877"/>
                  </a:lnTo>
                  <a:lnTo>
                    <a:pt x="20147" y="1872"/>
                  </a:lnTo>
                  <a:lnTo>
                    <a:pt x="20143" y="1867"/>
                  </a:lnTo>
                  <a:lnTo>
                    <a:pt x="20141" y="1858"/>
                  </a:lnTo>
                  <a:lnTo>
                    <a:pt x="20102" y="1139"/>
                  </a:lnTo>
                  <a:lnTo>
                    <a:pt x="20065" y="420"/>
                  </a:lnTo>
                  <a:lnTo>
                    <a:pt x="19775" y="420"/>
                  </a:lnTo>
                  <a:lnTo>
                    <a:pt x="19737" y="1180"/>
                  </a:lnTo>
                  <a:lnTo>
                    <a:pt x="19700" y="1939"/>
                  </a:lnTo>
                  <a:lnTo>
                    <a:pt x="19700" y="1942"/>
                  </a:lnTo>
                  <a:lnTo>
                    <a:pt x="19698" y="1947"/>
                  </a:lnTo>
                  <a:lnTo>
                    <a:pt x="19695" y="1952"/>
                  </a:lnTo>
                  <a:lnTo>
                    <a:pt x="19688" y="1956"/>
                  </a:lnTo>
                  <a:lnTo>
                    <a:pt x="19682" y="1959"/>
                  </a:lnTo>
                  <a:lnTo>
                    <a:pt x="18942" y="1959"/>
                  </a:lnTo>
                  <a:lnTo>
                    <a:pt x="18202" y="1959"/>
                  </a:lnTo>
                  <a:lnTo>
                    <a:pt x="18221" y="2560"/>
                  </a:lnTo>
                  <a:lnTo>
                    <a:pt x="18221" y="2567"/>
                  </a:lnTo>
                  <a:lnTo>
                    <a:pt x="18244" y="3338"/>
                  </a:lnTo>
                  <a:lnTo>
                    <a:pt x="18269" y="4111"/>
                  </a:lnTo>
                  <a:lnTo>
                    <a:pt x="18320" y="4081"/>
                  </a:lnTo>
                  <a:lnTo>
                    <a:pt x="18342" y="4066"/>
                  </a:lnTo>
                  <a:lnTo>
                    <a:pt x="18361" y="4049"/>
                  </a:lnTo>
                  <a:lnTo>
                    <a:pt x="18392" y="4015"/>
                  </a:lnTo>
                  <a:lnTo>
                    <a:pt x="18419" y="3976"/>
                  </a:lnTo>
                  <a:lnTo>
                    <a:pt x="18447" y="3936"/>
                  </a:lnTo>
                  <a:lnTo>
                    <a:pt x="18475" y="3897"/>
                  </a:lnTo>
                  <a:lnTo>
                    <a:pt x="18506" y="3863"/>
                  </a:lnTo>
                  <a:lnTo>
                    <a:pt x="18524" y="3849"/>
                  </a:lnTo>
                  <a:lnTo>
                    <a:pt x="18542" y="3835"/>
                  </a:lnTo>
                  <a:lnTo>
                    <a:pt x="18562" y="3824"/>
                  </a:lnTo>
                  <a:lnTo>
                    <a:pt x="18585" y="3817"/>
                  </a:lnTo>
                  <a:lnTo>
                    <a:pt x="18610" y="3811"/>
                  </a:lnTo>
                  <a:lnTo>
                    <a:pt x="18637" y="3810"/>
                  </a:lnTo>
                  <a:lnTo>
                    <a:pt x="18656" y="3811"/>
                  </a:lnTo>
                  <a:lnTo>
                    <a:pt x="18673" y="3817"/>
                  </a:lnTo>
                  <a:lnTo>
                    <a:pt x="18702" y="3831"/>
                  </a:lnTo>
                  <a:lnTo>
                    <a:pt x="18702" y="3827"/>
                  </a:lnTo>
                  <a:lnTo>
                    <a:pt x="18702" y="3086"/>
                  </a:lnTo>
                  <a:lnTo>
                    <a:pt x="18664" y="3083"/>
                  </a:lnTo>
                  <a:lnTo>
                    <a:pt x="18625" y="3075"/>
                  </a:lnTo>
                  <a:lnTo>
                    <a:pt x="18588" y="3065"/>
                  </a:lnTo>
                  <a:lnTo>
                    <a:pt x="18553" y="3051"/>
                  </a:lnTo>
                  <a:lnTo>
                    <a:pt x="18519" y="3033"/>
                  </a:lnTo>
                  <a:lnTo>
                    <a:pt x="18488" y="3012"/>
                  </a:lnTo>
                  <a:lnTo>
                    <a:pt x="18458" y="2989"/>
                  </a:lnTo>
                  <a:lnTo>
                    <a:pt x="18431" y="2964"/>
                  </a:lnTo>
                  <a:lnTo>
                    <a:pt x="18407" y="2936"/>
                  </a:lnTo>
                  <a:lnTo>
                    <a:pt x="18385" y="2905"/>
                  </a:lnTo>
                  <a:lnTo>
                    <a:pt x="18366" y="2873"/>
                  </a:lnTo>
                  <a:lnTo>
                    <a:pt x="18349" y="2838"/>
                  </a:lnTo>
                  <a:lnTo>
                    <a:pt x="18337" y="2803"/>
                  </a:lnTo>
                  <a:lnTo>
                    <a:pt x="18328" y="2766"/>
                  </a:lnTo>
                  <a:lnTo>
                    <a:pt x="18322" y="2726"/>
                  </a:lnTo>
                  <a:lnTo>
                    <a:pt x="18320" y="2686"/>
                  </a:lnTo>
                  <a:lnTo>
                    <a:pt x="18322" y="2645"/>
                  </a:lnTo>
                  <a:lnTo>
                    <a:pt x="18328" y="2606"/>
                  </a:lnTo>
                  <a:lnTo>
                    <a:pt x="18338" y="2567"/>
                  </a:lnTo>
                  <a:lnTo>
                    <a:pt x="18352" y="2530"/>
                  </a:lnTo>
                  <a:lnTo>
                    <a:pt x="18369" y="2496"/>
                  </a:lnTo>
                  <a:lnTo>
                    <a:pt x="18388" y="2462"/>
                  </a:lnTo>
                  <a:lnTo>
                    <a:pt x="18412" y="2432"/>
                  </a:lnTo>
                  <a:lnTo>
                    <a:pt x="18438" y="2404"/>
                  </a:lnTo>
                  <a:lnTo>
                    <a:pt x="18466" y="2377"/>
                  </a:lnTo>
                  <a:lnTo>
                    <a:pt x="18497" y="2354"/>
                  </a:lnTo>
                  <a:lnTo>
                    <a:pt x="18530" y="2335"/>
                  </a:lnTo>
                  <a:lnTo>
                    <a:pt x="18565" y="2317"/>
                  </a:lnTo>
                  <a:lnTo>
                    <a:pt x="18602" y="2304"/>
                  </a:lnTo>
                  <a:lnTo>
                    <a:pt x="18640" y="2294"/>
                  </a:lnTo>
                  <a:lnTo>
                    <a:pt x="18680" y="2287"/>
                  </a:lnTo>
                  <a:lnTo>
                    <a:pt x="18721" y="2286"/>
                  </a:lnTo>
                  <a:lnTo>
                    <a:pt x="18764" y="2287"/>
                  </a:lnTo>
                  <a:lnTo>
                    <a:pt x="18803" y="2294"/>
                  </a:lnTo>
                  <a:lnTo>
                    <a:pt x="18842" y="2304"/>
                  </a:lnTo>
                  <a:lnTo>
                    <a:pt x="18879" y="2318"/>
                  </a:lnTo>
                  <a:lnTo>
                    <a:pt x="18914" y="2335"/>
                  </a:lnTo>
                  <a:lnTo>
                    <a:pt x="18947" y="2355"/>
                  </a:lnTo>
                  <a:lnTo>
                    <a:pt x="18978" y="2378"/>
                  </a:lnTo>
                  <a:lnTo>
                    <a:pt x="19007" y="2404"/>
                  </a:lnTo>
                  <a:lnTo>
                    <a:pt x="19033" y="2433"/>
                  </a:lnTo>
                  <a:lnTo>
                    <a:pt x="19056" y="2464"/>
                  </a:lnTo>
                  <a:lnTo>
                    <a:pt x="19075" y="2497"/>
                  </a:lnTo>
                  <a:lnTo>
                    <a:pt x="19092" y="2532"/>
                  </a:lnTo>
                  <a:lnTo>
                    <a:pt x="19106" y="2569"/>
                  </a:lnTo>
                  <a:lnTo>
                    <a:pt x="19115" y="2607"/>
                  </a:lnTo>
                  <a:lnTo>
                    <a:pt x="19121" y="2645"/>
                  </a:lnTo>
                  <a:lnTo>
                    <a:pt x="19124" y="2686"/>
                  </a:lnTo>
                  <a:lnTo>
                    <a:pt x="19121" y="2695"/>
                  </a:lnTo>
                  <a:lnTo>
                    <a:pt x="19118" y="2702"/>
                  </a:lnTo>
                  <a:lnTo>
                    <a:pt x="19111" y="2705"/>
                  </a:lnTo>
                  <a:lnTo>
                    <a:pt x="19103" y="2707"/>
                  </a:lnTo>
                  <a:lnTo>
                    <a:pt x="19096" y="2705"/>
                  </a:lnTo>
                  <a:lnTo>
                    <a:pt x="19089" y="2702"/>
                  </a:lnTo>
                  <a:lnTo>
                    <a:pt x="19085" y="2695"/>
                  </a:lnTo>
                  <a:lnTo>
                    <a:pt x="19083" y="2686"/>
                  </a:lnTo>
                  <a:lnTo>
                    <a:pt x="19082" y="2650"/>
                  </a:lnTo>
                  <a:lnTo>
                    <a:pt x="19076" y="2615"/>
                  </a:lnTo>
                  <a:lnTo>
                    <a:pt x="19067" y="2580"/>
                  </a:lnTo>
                  <a:lnTo>
                    <a:pt x="19055" y="2547"/>
                  </a:lnTo>
                  <a:lnTo>
                    <a:pt x="19041" y="2515"/>
                  </a:lnTo>
                  <a:lnTo>
                    <a:pt x="19023" y="2485"/>
                  </a:lnTo>
                  <a:lnTo>
                    <a:pt x="19002" y="2457"/>
                  </a:lnTo>
                  <a:lnTo>
                    <a:pt x="18978" y="2432"/>
                  </a:lnTo>
                  <a:lnTo>
                    <a:pt x="18952" y="2409"/>
                  </a:lnTo>
                  <a:lnTo>
                    <a:pt x="18925" y="2388"/>
                  </a:lnTo>
                  <a:lnTo>
                    <a:pt x="18894" y="2369"/>
                  </a:lnTo>
                  <a:lnTo>
                    <a:pt x="18864" y="2354"/>
                  </a:lnTo>
                  <a:lnTo>
                    <a:pt x="18830" y="2342"/>
                  </a:lnTo>
                  <a:lnTo>
                    <a:pt x="18796" y="2333"/>
                  </a:lnTo>
                  <a:lnTo>
                    <a:pt x="18758" y="2328"/>
                  </a:lnTo>
                  <a:lnTo>
                    <a:pt x="18721" y="2326"/>
                  </a:lnTo>
                  <a:lnTo>
                    <a:pt x="18684" y="2328"/>
                  </a:lnTo>
                  <a:lnTo>
                    <a:pt x="18648" y="2333"/>
                  </a:lnTo>
                  <a:lnTo>
                    <a:pt x="18614" y="2342"/>
                  </a:lnTo>
                  <a:lnTo>
                    <a:pt x="18580" y="2354"/>
                  </a:lnTo>
                  <a:lnTo>
                    <a:pt x="18549" y="2369"/>
                  </a:lnTo>
                  <a:lnTo>
                    <a:pt x="18520" y="2387"/>
                  </a:lnTo>
                  <a:lnTo>
                    <a:pt x="18492" y="2407"/>
                  </a:lnTo>
                  <a:lnTo>
                    <a:pt x="18466" y="2432"/>
                  </a:lnTo>
                  <a:lnTo>
                    <a:pt x="18443" y="2457"/>
                  </a:lnTo>
                  <a:lnTo>
                    <a:pt x="18421" y="2484"/>
                  </a:lnTo>
                  <a:lnTo>
                    <a:pt x="18403" y="2515"/>
                  </a:lnTo>
                  <a:lnTo>
                    <a:pt x="18388" y="2546"/>
                  </a:lnTo>
                  <a:lnTo>
                    <a:pt x="18381" y="2562"/>
                  </a:lnTo>
                  <a:lnTo>
                    <a:pt x="18376" y="2579"/>
                  </a:lnTo>
                  <a:lnTo>
                    <a:pt x="18367" y="2613"/>
                  </a:lnTo>
                  <a:lnTo>
                    <a:pt x="18362" y="2649"/>
                  </a:lnTo>
                  <a:lnTo>
                    <a:pt x="18360" y="2686"/>
                  </a:lnTo>
                  <a:lnTo>
                    <a:pt x="18362" y="2722"/>
                  </a:lnTo>
                  <a:lnTo>
                    <a:pt x="18367" y="2757"/>
                  </a:lnTo>
                  <a:lnTo>
                    <a:pt x="18375" y="2790"/>
                  </a:lnTo>
                  <a:lnTo>
                    <a:pt x="18387" y="2823"/>
                  </a:lnTo>
                  <a:lnTo>
                    <a:pt x="18401" y="2854"/>
                  </a:lnTo>
                  <a:lnTo>
                    <a:pt x="18417" y="2882"/>
                  </a:lnTo>
                  <a:lnTo>
                    <a:pt x="18438" y="2910"/>
                  </a:lnTo>
                  <a:lnTo>
                    <a:pt x="18460" y="2936"/>
                  </a:lnTo>
                  <a:lnTo>
                    <a:pt x="18484" y="2959"/>
                  </a:lnTo>
                  <a:lnTo>
                    <a:pt x="18510" y="2979"/>
                  </a:lnTo>
                  <a:lnTo>
                    <a:pt x="18538" y="2997"/>
                  </a:lnTo>
                  <a:lnTo>
                    <a:pt x="18569" y="3014"/>
                  </a:lnTo>
                  <a:lnTo>
                    <a:pt x="18599" y="3026"/>
                  </a:lnTo>
                  <a:lnTo>
                    <a:pt x="18633" y="3037"/>
                  </a:lnTo>
                  <a:lnTo>
                    <a:pt x="18667" y="3043"/>
                  </a:lnTo>
                  <a:lnTo>
                    <a:pt x="18702" y="3047"/>
                  </a:lnTo>
                  <a:lnTo>
                    <a:pt x="18702" y="3011"/>
                  </a:lnTo>
                  <a:lnTo>
                    <a:pt x="18701" y="3008"/>
                  </a:lnTo>
                  <a:lnTo>
                    <a:pt x="18597" y="2865"/>
                  </a:lnTo>
                  <a:lnTo>
                    <a:pt x="18593" y="2858"/>
                  </a:lnTo>
                  <a:lnTo>
                    <a:pt x="18593" y="2850"/>
                  </a:lnTo>
                  <a:lnTo>
                    <a:pt x="18596" y="2842"/>
                  </a:lnTo>
                  <a:lnTo>
                    <a:pt x="18601" y="2837"/>
                  </a:lnTo>
                  <a:lnTo>
                    <a:pt x="18607" y="2835"/>
                  </a:lnTo>
                  <a:lnTo>
                    <a:pt x="18615" y="2833"/>
                  </a:lnTo>
                  <a:lnTo>
                    <a:pt x="18623" y="2836"/>
                  </a:lnTo>
                  <a:lnTo>
                    <a:pt x="18629" y="2842"/>
                  </a:lnTo>
                  <a:lnTo>
                    <a:pt x="18702" y="2943"/>
                  </a:lnTo>
                  <a:lnTo>
                    <a:pt x="18702" y="2901"/>
                  </a:lnTo>
                  <a:lnTo>
                    <a:pt x="18702" y="2895"/>
                  </a:lnTo>
                  <a:lnTo>
                    <a:pt x="18702" y="2744"/>
                  </a:lnTo>
                  <a:lnTo>
                    <a:pt x="18606" y="2611"/>
                  </a:lnTo>
                  <a:lnTo>
                    <a:pt x="18602" y="2603"/>
                  </a:lnTo>
                  <a:lnTo>
                    <a:pt x="18602" y="2595"/>
                  </a:lnTo>
                  <a:lnTo>
                    <a:pt x="18606" y="2588"/>
                  </a:lnTo>
                  <a:lnTo>
                    <a:pt x="18611" y="2583"/>
                  </a:lnTo>
                  <a:lnTo>
                    <a:pt x="18617" y="2580"/>
                  </a:lnTo>
                  <a:lnTo>
                    <a:pt x="18625" y="2579"/>
                  </a:lnTo>
                  <a:lnTo>
                    <a:pt x="18633" y="2581"/>
                  </a:lnTo>
                  <a:lnTo>
                    <a:pt x="18639" y="2588"/>
                  </a:lnTo>
                  <a:lnTo>
                    <a:pt x="18702" y="2675"/>
                  </a:lnTo>
                  <a:lnTo>
                    <a:pt x="18702" y="2599"/>
                  </a:lnTo>
                  <a:lnTo>
                    <a:pt x="18705" y="2590"/>
                  </a:lnTo>
                  <a:lnTo>
                    <a:pt x="18708" y="2584"/>
                  </a:lnTo>
                  <a:lnTo>
                    <a:pt x="18715" y="2580"/>
                  </a:lnTo>
                  <a:lnTo>
                    <a:pt x="18723" y="2579"/>
                  </a:lnTo>
                  <a:lnTo>
                    <a:pt x="18730" y="2580"/>
                  </a:lnTo>
                  <a:lnTo>
                    <a:pt x="18737" y="2584"/>
                  </a:lnTo>
                  <a:lnTo>
                    <a:pt x="18741" y="2590"/>
                  </a:lnTo>
                  <a:lnTo>
                    <a:pt x="18742" y="2599"/>
                  </a:lnTo>
                  <a:lnTo>
                    <a:pt x="18742" y="2734"/>
                  </a:lnTo>
                  <a:lnTo>
                    <a:pt x="18742" y="2740"/>
                  </a:lnTo>
                  <a:lnTo>
                    <a:pt x="18742" y="2836"/>
                  </a:lnTo>
                  <a:lnTo>
                    <a:pt x="18828" y="2718"/>
                  </a:lnTo>
                  <a:lnTo>
                    <a:pt x="18834" y="2712"/>
                  </a:lnTo>
                  <a:lnTo>
                    <a:pt x="18842" y="2711"/>
                  </a:lnTo>
                  <a:lnTo>
                    <a:pt x="18856" y="2714"/>
                  </a:lnTo>
                  <a:lnTo>
                    <a:pt x="18861" y="2719"/>
                  </a:lnTo>
                  <a:lnTo>
                    <a:pt x="18864" y="2726"/>
                  </a:lnTo>
                  <a:lnTo>
                    <a:pt x="18864" y="2734"/>
                  </a:lnTo>
                  <a:lnTo>
                    <a:pt x="18860" y="2743"/>
                  </a:lnTo>
                  <a:close/>
                  <a:moveTo>
                    <a:pt x="20006" y="2597"/>
                  </a:moveTo>
                  <a:lnTo>
                    <a:pt x="19966" y="2597"/>
                  </a:lnTo>
                  <a:lnTo>
                    <a:pt x="19966" y="2709"/>
                  </a:lnTo>
                  <a:lnTo>
                    <a:pt x="20724" y="2709"/>
                  </a:lnTo>
                  <a:lnTo>
                    <a:pt x="21483" y="2709"/>
                  </a:lnTo>
                  <a:lnTo>
                    <a:pt x="22241" y="2709"/>
                  </a:lnTo>
                  <a:lnTo>
                    <a:pt x="23000" y="2709"/>
                  </a:lnTo>
                  <a:lnTo>
                    <a:pt x="23000" y="2597"/>
                  </a:lnTo>
                  <a:lnTo>
                    <a:pt x="22962" y="2597"/>
                  </a:lnTo>
                  <a:lnTo>
                    <a:pt x="22954" y="2597"/>
                  </a:lnTo>
                  <a:lnTo>
                    <a:pt x="22218" y="2597"/>
                  </a:lnTo>
                  <a:lnTo>
                    <a:pt x="21483" y="2597"/>
                  </a:lnTo>
                  <a:lnTo>
                    <a:pt x="20747" y="2597"/>
                  </a:lnTo>
                  <a:lnTo>
                    <a:pt x="20013" y="2597"/>
                  </a:lnTo>
                  <a:lnTo>
                    <a:pt x="20006" y="2597"/>
                  </a:lnTo>
                  <a:close/>
                  <a:moveTo>
                    <a:pt x="19369" y="3221"/>
                  </a:moveTo>
                  <a:lnTo>
                    <a:pt x="19369" y="3011"/>
                  </a:lnTo>
                  <a:lnTo>
                    <a:pt x="19370" y="3002"/>
                  </a:lnTo>
                  <a:lnTo>
                    <a:pt x="19375" y="2996"/>
                  </a:lnTo>
                  <a:lnTo>
                    <a:pt x="19382" y="2992"/>
                  </a:lnTo>
                  <a:lnTo>
                    <a:pt x="19388" y="2991"/>
                  </a:lnTo>
                  <a:lnTo>
                    <a:pt x="19396" y="2992"/>
                  </a:lnTo>
                  <a:lnTo>
                    <a:pt x="19402" y="2996"/>
                  </a:lnTo>
                  <a:lnTo>
                    <a:pt x="19407" y="3002"/>
                  </a:lnTo>
                  <a:lnTo>
                    <a:pt x="19409" y="3011"/>
                  </a:lnTo>
                  <a:lnTo>
                    <a:pt x="19409" y="3162"/>
                  </a:lnTo>
                  <a:lnTo>
                    <a:pt x="19442" y="3116"/>
                  </a:lnTo>
                  <a:lnTo>
                    <a:pt x="19448" y="3111"/>
                  </a:lnTo>
                  <a:lnTo>
                    <a:pt x="19456" y="3108"/>
                  </a:lnTo>
                  <a:lnTo>
                    <a:pt x="19470" y="3112"/>
                  </a:lnTo>
                  <a:lnTo>
                    <a:pt x="19475" y="3117"/>
                  </a:lnTo>
                  <a:lnTo>
                    <a:pt x="19478" y="3124"/>
                  </a:lnTo>
                  <a:lnTo>
                    <a:pt x="19478" y="3131"/>
                  </a:lnTo>
                  <a:lnTo>
                    <a:pt x="19474" y="3140"/>
                  </a:lnTo>
                  <a:lnTo>
                    <a:pt x="19409" y="3231"/>
                  </a:lnTo>
                  <a:lnTo>
                    <a:pt x="19409" y="3413"/>
                  </a:lnTo>
                  <a:lnTo>
                    <a:pt x="19432" y="3381"/>
                  </a:lnTo>
                  <a:lnTo>
                    <a:pt x="19438" y="3374"/>
                  </a:lnTo>
                  <a:lnTo>
                    <a:pt x="19446" y="3372"/>
                  </a:lnTo>
                  <a:lnTo>
                    <a:pt x="19460" y="3375"/>
                  </a:lnTo>
                  <a:lnTo>
                    <a:pt x="19465" y="3382"/>
                  </a:lnTo>
                  <a:lnTo>
                    <a:pt x="19468" y="3388"/>
                  </a:lnTo>
                  <a:lnTo>
                    <a:pt x="19468" y="3396"/>
                  </a:lnTo>
                  <a:lnTo>
                    <a:pt x="19464" y="3404"/>
                  </a:lnTo>
                  <a:lnTo>
                    <a:pt x="19409" y="3480"/>
                  </a:lnTo>
                  <a:lnTo>
                    <a:pt x="19409" y="3491"/>
                  </a:lnTo>
                  <a:lnTo>
                    <a:pt x="19409" y="3498"/>
                  </a:lnTo>
                  <a:lnTo>
                    <a:pt x="19409" y="3608"/>
                  </a:lnTo>
                  <a:lnTo>
                    <a:pt x="19425" y="3613"/>
                  </a:lnTo>
                  <a:lnTo>
                    <a:pt x="19441" y="3620"/>
                  </a:lnTo>
                  <a:lnTo>
                    <a:pt x="19455" y="3627"/>
                  </a:lnTo>
                  <a:lnTo>
                    <a:pt x="19468" y="3632"/>
                  </a:lnTo>
                  <a:lnTo>
                    <a:pt x="19480" y="3635"/>
                  </a:lnTo>
                  <a:lnTo>
                    <a:pt x="19488" y="3635"/>
                  </a:lnTo>
                  <a:lnTo>
                    <a:pt x="19494" y="3632"/>
                  </a:lnTo>
                  <a:lnTo>
                    <a:pt x="19501" y="3630"/>
                  </a:lnTo>
                  <a:lnTo>
                    <a:pt x="19509" y="3625"/>
                  </a:lnTo>
                  <a:lnTo>
                    <a:pt x="19525" y="3608"/>
                  </a:lnTo>
                  <a:lnTo>
                    <a:pt x="19547" y="3585"/>
                  </a:lnTo>
                  <a:lnTo>
                    <a:pt x="19562" y="3570"/>
                  </a:lnTo>
                  <a:lnTo>
                    <a:pt x="19577" y="3562"/>
                  </a:lnTo>
                  <a:lnTo>
                    <a:pt x="19591" y="3558"/>
                  </a:lnTo>
                  <a:lnTo>
                    <a:pt x="19620" y="3556"/>
                  </a:lnTo>
                  <a:lnTo>
                    <a:pt x="19639" y="3554"/>
                  </a:lnTo>
                  <a:lnTo>
                    <a:pt x="19664" y="3552"/>
                  </a:lnTo>
                  <a:lnTo>
                    <a:pt x="19679" y="3544"/>
                  </a:lnTo>
                  <a:lnTo>
                    <a:pt x="19684" y="3539"/>
                  </a:lnTo>
                  <a:lnTo>
                    <a:pt x="19688" y="3533"/>
                  </a:lnTo>
                  <a:lnTo>
                    <a:pt x="19695" y="3517"/>
                  </a:lnTo>
                  <a:lnTo>
                    <a:pt x="19700" y="3499"/>
                  </a:lnTo>
                  <a:lnTo>
                    <a:pt x="19705" y="3479"/>
                  </a:lnTo>
                  <a:lnTo>
                    <a:pt x="19714" y="3460"/>
                  </a:lnTo>
                  <a:lnTo>
                    <a:pt x="19728" y="3441"/>
                  </a:lnTo>
                  <a:lnTo>
                    <a:pt x="19737" y="3432"/>
                  </a:lnTo>
                  <a:lnTo>
                    <a:pt x="19748" y="3424"/>
                  </a:lnTo>
                  <a:lnTo>
                    <a:pt x="19792" y="3398"/>
                  </a:lnTo>
                  <a:lnTo>
                    <a:pt x="19804" y="3391"/>
                  </a:lnTo>
                  <a:lnTo>
                    <a:pt x="19810" y="3383"/>
                  </a:lnTo>
                  <a:lnTo>
                    <a:pt x="19813" y="3373"/>
                  </a:lnTo>
                  <a:lnTo>
                    <a:pt x="19811" y="3360"/>
                  </a:lnTo>
                  <a:lnTo>
                    <a:pt x="19804" y="3310"/>
                  </a:lnTo>
                  <a:lnTo>
                    <a:pt x="19804" y="3286"/>
                  </a:lnTo>
                  <a:lnTo>
                    <a:pt x="19807" y="3265"/>
                  </a:lnTo>
                  <a:lnTo>
                    <a:pt x="19816" y="3248"/>
                  </a:lnTo>
                  <a:lnTo>
                    <a:pt x="19827" y="3232"/>
                  </a:lnTo>
                  <a:lnTo>
                    <a:pt x="19847" y="3207"/>
                  </a:lnTo>
                  <a:lnTo>
                    <a:pt x="19854" y="3194"/>
                  </a:lnTo>
                  <a:lnTo>
                    <a:pt x="19856" y="3181"/>
                  </a:lnTo>
                  <a:lnTo>
                    <a:pt x="19854" y="3164"/>
                  </a:lnTo>
                  <a:lnTo>
                    <a:pt x="19850" y="3158"/>
                  </a:lnTo>
                  <a:lnTo>
                    <a:pt x="19846" y="3152"/>
                  </a:lnTo>
                  <a:lnTo>
                    <a:pt x="19824" y="3126"/>
                  </a:lnTo>
                  <a:lnTo>
                    <a:pt x="19814" y="3109"/>
                  </a:lnTo>
                  <a:lnTo>
                    <a:pt x="19806" y="3088"/>
                  </a:lnTo>
                  <a:lnTo>
                    <a:pt x="19805" y="3060"/>
                  </a:lnTo>
                  <a:lnTo>
                    <a:pt x="19806" y="3042"/>
                  </a:lnTo>
                  <a:lnTo>
                    <a:pt x="19809" y="3020"/>
                  </a:lnTo>
                  <a:lnTo>
                    <a:pt x="19811" y="3005"/>
                  </a:lnTo>
                  <a:lnTo>
                    <a:pt x="19811" y="2992"/>
                  </a:lnTo>
                  <a:lnTo>
                    <a:pt x="19809" y="2982"/>
                  </a:lnTo>
                  <a:lnTo>
                    <a:pt x="19805" y="2973"/>
                  </a:lnTo>
                  <a:lnTo>
                    <a:pt x="19792" y="2960"/>
                  </a:lnTo>
                  <a:lnTo>
                    <a:pt x="19775" y="2951"/>
                  </a:lnTo>
                  <a:lnTo>
                    <a:pt x="19757" y="2942"/>
                  </a:lnTo>
                  <a:lnTo>
                    <a:pt x="19738" y="2930"/>
                  </a:lnTo>
                  <a:lnTo>
                    <a:pt x="19720" y="2913"/>
                  </a:lnTo>
                  <a:lnTo>
                    <a:pt x="19712" y="2900"/>
                  </a:lnTo>
                  <a:lnTo>
                    <a:pt x="19706" y="2884"/>
                  </a:lnTo>
                  <a:lnTo>
                    <a:pt x="19691" y="2837"/>
                  </a:lnTo>
                  <a:lnTo>
                    <a:pt x="19686" y="2824"/>
                  </a:lnTo>
                  <a:lnTo>
                    <a:pt x="19683" y="2819"/>
                  </a:lnTo>
                  <a:lnTo>
                    <a:pt x="19680" y="2815"/>
                  </a:lnTo>
                  <a:lnTo>
                    <a:pt x="19671" y="2812"/>
                  </a:lnTo>
                  <a:lnTo>
                    <a:pt x="19657" y="2810"/>
                  </a:lnTo>
                  <a:lnTo>
                    <a:pt x="19607" y="2806"/>
                  </a:lnTo>
                  <a:lnTo>
                    <a:pt x="19591" y="2803"/>
                  </a:lnTo>
                  <a:lnTo>
                    <a:pt x="19577" y="2799"/>
                  </a:lnTo>
                  <a:lnTo>
                    <a:pt x="19555" y="2786"/>
                  </a:lnTo>
                  <a:lnTo>
                    <a:pt x="19547" y="2778"/>
                  </a:lnTo>
                  <a:lnTo>
                    <a:pt x="19539" y="2769"/>
                  </a:lnTo>
                  <a:lnTo>
                    <a:pt x="19527" y="2753"/>
                  </a:lnTo>
                  <a:lnTo>
                    <a:pt x="19514" y="2739"/>
                  </a:lnTo>
                  <a:lnTo>
                    <a:pt x="19507" y="2734"/>
                  </a:lnTo>
                  <a:lnTo>
                    <a:pt x="19500" y="2730"/>
                  </a:lnTo>
                  <a:lnTo>
                    <a:pt x="19491" y="2727"/>
                  </a:lnTo>
                  <a:lnTo>
                    <a:pt x="19479" y="2728"/>
                  </a:lnTo>
                  <a:lnTo>
                    <a:pt x="19452" y="2736"/>
                  </a:lnTo>
                  <a:lnTo>
                    <a:pt x="19421" y="2749"/>
                  </a:lnTo>
                  <a:lnTo>
                    <a:pt x="19405" y="2754"/>
                  </a:lnTo>
                  <a:lnTo>
                    <a:pt x="19388" y="2755"/>
                  </a:lnTo>
                  <a:lnTo>
                    <a:pt x="19366" y="2753"/>
                  </a:lnTo>
                  <a:lnTo>
                    <a:pt x="19347" y="2746"/>
                  </a:lnTo>
                  <a:lnTo>
                    <a:pt x="19316" y="2731"/>
                  </a:lnTo>
                  <a:lnTo>
                    <a:pt x="19301" y="2727"/>
                  </a:lnTo>
                  <a:lnTo>
                    <a:pt x="19293" y="2726"/>
                  </a:lnTo>
                  <a:lnTo>
                    <a:pt x="19287" y="2727"/>
                  </a:lnTo>
                  <a:lnTo>
                    <a:pt x="19270" y="2736"/>
                  </a:lnTo>
                  <a:lnTo>
                    <a:pt x="19251" y="2753"/>
                  </a:lnTo>
                  <a:lnTo>
                    <a:pt x="19230" y="2776"/>
                  </a:lnTo>
                  <a:lnTo>
                    <a:pt x="19214" y="2791"/>
                  </a:lnTo>
                  <a:lnTo>
                    <a:pt x="19200" y="2799"/>
                  </a:lnTo>
                  <a:lnTo>
                    <a:pt x="19187" y="2804"/>
                  </a:lnTo>
                  <a:lnTo>
                    <a:pt x="19157" y="2805"/>
                  </a:lnTo>
                  <a:lnTo>
                    <a:pt x="19138" y="2806"/>
                  </a:lnTo>
                  <a:lnTo>
                    <a:pt x="19112" y="2810"/>
                  </a:lnTo>
                  <a:lnTo>
                    <a:pt x="19098" y="2817"/>
                  </a:lnTo>
                  <a:lnTo>
                    <a:pt x="19093" y="2822"/>
                  </a:lnTo>
                  <a:lnTo>
                    <a:pt x="19088" y="2828"/>
                  </a:lnTo>
                  <a:lnTo>
                    <a:pt x="19082" y="2844"/>
                  </a:lnTo>
                  <a:lnTo>
                    <a:pt x="19078" y="2863"/>
                  </a:lnTo>
                  <a:lnTo>
                    <a:pt x="19071" y="2882"/>
                  </a:lnTo>
                  <a:lnTo>
                    <a:pt x="19064" y="2902"/>
                  </a:lnTo>
                  <a:lnTo>
                    <a:pt x="19050" y="2920"/>
                  </a:lnTo>
                  <a:lnTo>
                    <a:pt x="19041" y="2929"/>
                  </a:lnTo>
                  <a:lnTo>
                    <a:pt x="19029" y="2937"/>
                  </a:lnTo>
                  <a:lnTo>
                    <a:pt x="18985" y="2962"/>
                  </a:lnTo>
                  <a:lnTo>
                    <a:pt x="18974" y="2970"/>
                  </a:lnTo>
                  <a:lnTo>
                    <a:pt x="18967" y="2978"/>
                  </a:lnTo>
                  <a:lnTo>
                    <a:pt x="18965" y="2988"/>
                  </a:lnTo>
                  <a:lnTo>
                    <a:pt x="18966" y="3002"/>
                  </a:lnTo>
                  <a:lnTo>
                    <a:pt x="18974" y="3052"/>
                  </a:lnTo>
                  <a:lnTo>
                    <a:pt x="18974" y="3079"/>
                  </a:lnTo>
                  <a:lnTo>
                    <a:pt x="18967" y="3101"/>
                  </a:lnTo>
                  <a:lnTo>
                    <a:pt x="18956" y="3121"/>
                  </a:lnTo>
                  <a:lnTo>
                    <a:pt x="18941" y="3143"/>
                  </a:lnTo>
                  <a:lnTo>
                    <a:pt x="18926" y="3164"/>
                  </a:lnTo>
                  <a:lnTo>
                    <a:pt x="18923" y="3172"/>
                  </a:lnTo>
                  <a:lnTo>
                    <a:pt x="18921" y="3181"/>
                  </a:lnTo>
                  <a:lnTo>
                    <a:pt x="18924" y="3196"/>
                  </a:lnTo>
                  <a:lnTo>
                    <a:pt x="18928" y="3204"/>
                  </a:lnTo>
                  <a:lnTo>
                    <a:pt x="18932" y="3211"/>
                  </a:lnTo>
                  <a:lnTo>
                    <a:pt x="18953" y="3235"/>
                  </a:lnTo>
                  <a:lnTo>
                    <a:pt x="18964" y="3251"/>
                  </a:lnTo>
                  <a:lnTo>
                    <a:pt x="18970" y="3273"/>
                  </a:lnTo>
                  <a:lnTo>
                    <a:pt x="18973" y="3303"/>
                  </a:lnTo>
                  <a:lnTo>
                    <a:pt x="18971" y="3320"/>
                  </a:lnTo>
                  <a:lnTo>
                    <a:pt x="18969" y="3341"/>
                  </a:lnTo>
                  <a:lnTo>
                    <a:pt x="18966" y="3356"/>
                  </a:lnTo>
                  <a:lnTo>
                    <a:pt x="18966" y="3369"/>
                  </a:lnTo>
                  <a:lnTo>
                    <a:pt x="18969" y="3381"/>
                  </a:lnTo>
                  <a:lnTo>
                    <a:pt x="18973" y="3388"/>
                  </a:lnTo>
                  <a:lnTo>
                    <a:pt x="18984" y="3401"/>
                  </a:lnTo>
                  <a:lnTo>
                    <a:pt x="19001" y="3410"/>
                  </a:lnTo>
                  <a:lnTo>
                    <a:pt x="19020" y="3419"/>
                  </a:lnTo>
                  <a:lnTo>
                    <a:pt x="19039" y="3430"/>
                  </a:lnTo>
                  <a:lnTo>
                    <a:pt x="19057" y="3448"/>
                  </a:lnTo>
                  <a:lnTo>
                    <a:pt x="19065" y="3461"/>
                  </a:lnTo>
                  <a:lnTo>
                    <a:pt x="19071" y="3476"/>
                  </a:lnTo>
                  <a:lnTo>
                    <a:pt x="19085" y="3524"/>
                  </a:lnTo>
                  <a:lnTo>
                    <a:pt x="19091" y="3538"/>
                  </a:lnTo>
                  <a:lnTo>
                    <a:pt x="19093" y="3542"/>
                  </a:lnTo>
                  <a:lnTo>
                    <a:pt x="19097" y="3546"/>
                  </a:lnTo>
                  <a:lnTo>
                    <a:pt x="19106" y="3549"/>
                  </a:lnTo>
                  <a:lnTo>
                    <a:pt x="19120" y="3551"/>
                  </a:lnTo>
                  <a:lnTo>
                    <a:pt x="19170" y="3556"/>
                  </a:lnTo>
                  <a:lnTo>
                    <a:pt x="19187" y="3558"/>
                  </a:lnTo>
                  <a:lnTo>
                    <a:pt x="19201" y="3562"/>
                  </a:lnTo>
                  <a:lnTo>
                    <a:pt x="19221" y="3576"/>
                  </a:lnTo>
                  <a:lnTo>
                    <a:pt x="19230" y="3584"/>
                  </a:lnTo>
                  <a:lnTo>
                    <a:pt x="19238" y="3592"/>
                  </a:lnTo>
                  <a:lnTo>
                    <a:pt x="19251" y="3608"/>
                  </a:lnTo>
                  <a:lnTo>
                    <a:pt x="19262" y="3622"/>
                  </a:lnTo>
                  <a:lnTo>
                    <a:pt x="19270" y="3627"/>
                  </a:lnTo>
                  <a:lnTo>
                    <a:pt x="19278" y="3631"/>
                  </a:lnTo>
                  <a:lnTo>
                    <a:pt x="19287" y="3634"/>
                  </a:lnTo>
                  <a:lnTo>
                    <a:pt x="19297" y="3634"/>
                  </a:lnTo>
                  <a:lnTo>
                    <a:pt x="19325" y="3625"/>
                  </a:lnTo>
                  <a:lnTo>
                    <a:pt x="19347" y="3616"/>
                  </a:lnTo>
                  <a:lnTo>
                    <a:pt x="19369" y="3608"/>
                  </a:lnTo>
                  <a:lnTo>
                    <a:pt x="19369" y="3506"/>
                  </a:lnTo>
                  <a:lnTo>
                    <a:pt x="19364" y="3502"/>
                  </a:lnTo>
                  <a:lnTo>
                    <a:pt x="19360" y="3498"/>
                  </a:lnTo>
                  <a:lnTo>
                    <a:pt x="19359" y="3487"/>
                  </a:lnTo>
                  <a:lnTo>
                    <a:pt x="19264" y="3358"/>
                  </a:lnTo>
                  <a:lnTo>
                    <a:pt x="19260" y="3349"/>
                  </a:lnTo>
                  <a:lnTo>
                    <a:pt x="19260" y="3341"/>
                  </a:lnTo>
                  <a:lnTo>
                    <a:pt x="19264" y="3335"/>
                  </a:lnTo>
                  <a:lnTo>
                    <a:pt x="19269" y="3329"/>
                  </a:lnTo>
                  <a:lnTo>
                    <a:pt x="19275" y="3326"/>
                  </a:lnTo>
                  <a:lnTo>
                    <a:pt x="19283" y="3326"/>
                  </a:lnTo>
                  <a:lnTo>
                    <a:pt x="19289" y="3328"/>
                  </a:lnTo>
                  <a:lnTo>
                    <a:pt x="19297" y="3333"/>
                  </a:lnTo>
                  <a:lnTo>
                    <a:pt x="19369" y="3433"/>
                  </a:lnTo>
                  <a:lnTo>
                    <a:pt x="19369" y="3320"/>
                  </a:lnTo>
                  <a:lnTo>
                    <a:pt x="19262" y="3176"/>
                  </a:lnTo>
                  <a:lnTo>
                    <a:pt x="19259" y="3167"/>
                  </a:lnTo>
                  <a:lnTo>
                    <a:pt x="19259" y="3159"/>
                  </a:lnTo>
                  <a:lnTo>
                    <a:pt x="19262" y="3153"/>
                  </a:lnTo>
                  <a:lnTo>
                    <a:pt x="19268" y="3148"/>
                  </a:lnTo>
                  <a:lnTo>
                    <a:pt x="19274" y="3144"/>
                  </a:lnTo>
                  <a:lnTo>
                    <a:pt x="19282" y="3144"/>
                  </a:lnTo>
                  <a:lnTo>
                    <a:pt x="19289" y="3147"/>
                  </a:lnTo>
                  <a:lnTo>
                    <a:pt x="19296" y="3152"/>
                  </a:lnTo>
                  <a:lnTo>
                    <a:pt x="19369" y="3253"/>
                  </a:lnTo>
                  <a:lnTo>
                    <a:pt x="19369" y="3227"/>
                  </a:lnTo>
                  <a:lnTo>
                    <a:pt x="19369" y="3221"/>
                  </a:lnTo>
                  <a:close/>
                  <a:moveTo>
                    <a:pt x="22962" y="2597"/>
                  </a:moveTo>
                  <a:lnTo>
                    <a:pt x="22954" y="2597"/>
                  </a:lnTo>
                  <a:lnTo>
                    <a:pt x="22962" y="2597"/>
                  </a:lnTo>
                  <a:close/>
                  <a:moveTo>
                    <a:pt x="20013" y="2597"/>
                  </a:moveTo>
                  <a:lnTo>
                    <a:pt x="20006" y="2597"/>
                  </a:lnTo>
                  <a:lnTo>
                    <a:pt x="20013" y="2597"/>
                  </a:lnTo>
                  <a:close/>
                  <a:moveTo>
                    <a:pt x="19409" y="3491"/>
                  </a:moveTo>
                  <a:lnTo>
                    <a:pt x="19409" y="3498"/>
                  </a:lnTo>
                  <a:lnTo>
                    <a:pt x="19409" y="3491"/>
                  </a:lnTo>
                  <a:close/>
                  <a:moveTo>
                    <a:pt x="19369" y="3227"/>
                  </a:moveTo>
                  <a:lnTo>
                    <a:pt x="19369" y="3221"/>
                  </a:lnTo>
                  <a:lnTo>
                    <a:pt x="19369" y="3227"/>
                  </a:lnTo>
                  <a:close/>
                  <a:moveTo>
                    <a:pt x="20708" y="1885"/>
                  </a:moveTo>
                  <a:lnTo>
                    <a:pt x="20672" y="1152"/>
                  </a:lnTo>
                  <a:lnTo>
                    <a:pt x="20636" y="420"/>
                  </a:lnTo>
                  <a:lnTo>
                    <a:pt x="20345" y="420"/>
                  </a:lnTo>
                  <a:lnTo>
                    <a:pt x="20306" y="1139"/>
                  </a:lnTo>
                  <a:lnTo>
                    <a:pt x="20269" y="1858"/>
                  </a:lnTo>
                  <a:lnTo>
                    <a:pt x="20268" y="1867"/>
                  </a:lnTo>
                  <a:lnTo>
                    <a:pt x="20263" y="1872"/>
                  </a:lnTo>
                  <a:lnTo>
                    <a:pt x="20256" y="1876"/>
                  </a:lnTo>
                  <a:lnTo>
                    <a:pt x="20248" y="1877"/>
                  </a:lnTo>
                  <a:lnTo>
                    <a:pt x="20241" y="1874"/>
                  </a:lnTo>
                  <a:lnTo>
                    <a:pt x="20234" y="1870"/>
                  </a:lnTo>
                  <a:lnTo>
                    <a:pt x="20231" y="1864"/>
                  </a:lnTo>
                  <a:lnTo>
                    <a:pt x="20229" y="1855"/>
                  </a:lnTo>
                  <a:lnTo>
                    <a:pt x="20268" y="1126"/>
                  </a:lnTo>
                  <a:lnTo>
                    <a:pt x="20306" y="399"/>
                  </a:lnTo>
                  <a:lnTo>
                    <a:pt x="20307" y="392"/>
                  </a:lnTo>
                  <a:lnTo>
                    <a:pt x="20313" y="386"/>
                  </a:lnTo>
                  <a:lnTo>
                    <a:pt x="20318" y="382"/>
                  </a:lnTo>
                  <a:lnTo>
                    <a:pt x="20325" y="381"/>
                  </a:lnTo>
                  <a:lnTo>
                    <a:pt x="20655" y="381"/>
                  </a:lnTo>
                  <a:lnTo>
                    <a:pt x="20661" y="382"/>
                  </a:lnTo>
                  <a:lnTo>
                    <a:pt x="20668" y="386"/>
                  </a:lnTo>
                  <a:lnTo>
                    <a:pt x="20673" y="392"/>
                  </a:lnTo>
                  <a:lnTo>
                    <a:pt x="20674" y="399"/>
                  </a:lnTo>
                  <a:lnTo>
                    <a:pt x="20710" y="1140"/>
                  </a:lnTo>
                  <a:lnTo>
                    <a:pt x="20747" y="1882"/>
                  </a:lnTo>
                  <a:lnTo>
                    <a:pt x="20746" y="1891"/>
                  </a:lnTo>
                  <a:lnTo>
                    <a:pt x="20742" y="1897"/>
                  </a:lnTo>
                  <a:lnTo>
                    <a:pt x="20736" y="1901"/>
                  </a:lnTo>
                  <a:lnTo>
                    <a:pt x="20728" y="1902"/>
                  </a:lnTo>
                  <a:lnTo>
                    <a:pt x="20715" y="1899"/>
                  </a:lnTo>
                  <a:lnTo>
                    <a:pt x="20710" y="1892"/>
                  </a:lnTo>
                  <a:lnTo>
                    <a:pt x="20708" y="1885"/>
                  </a:lnTo>
                  <a:close/>
                  <a:moveTo>
                    <a:pt x="2868" y="3476"/>
                  </a:moveTo>
                  <a:lnTo>
                    <a:pt x="2980" y="3323"/>
                  </a:lnTo>
                  <a:lnTo>
                    <a:pt x="2953" y="3268"/>
                  </a:lnTo>
                  <a:lnTo>
                    <a:pt x="2939" y="3245"/>
                  </a:lnTo>
                  <a:lnTo>
                    <a:pt x="2925" y="3225"/>
                  </a:lnTo>
                  <a:lnTo>
                    <a:pt x="2911" y="3207"/>
                  </a:lnTo>
                  <a:lnTo>
                    <a:pt x="2897" y="3193"/>
                  </a:lnTo>
                  <a:lnTo>
                    <a:pt x="2883" y="3181"/>
                  </a:lnTo>
                  <a:lnTo>
                    <a:pt x="2868" y="3175"/>
                  </a:lnTo>
                  <a:lnTo>
                    <a:pt x="2868" y="3476"/>
                  </a:lnTo>
                  <a:close/>
                  <a:moveTo>
                    <a:pt x="2998" y="3365"/>
                  </a:moveTo>
                  <a:lnTo>
                    <a:pt x="2868" y="3544"/>
                  </a:lnTo>
                  <a:lnTo>
                    <a:pt x="2868" y="3753"/>
                  </a:lnTo>
                  <a:lnTo>
                    <a:pt x="3045" y="3507"/>
                  </a:lnTo>
                  <a:lnTo>
                    <a:pt x="3027" y="3445"/>
                  </a:lnTo>
                  <a:lnTo>
                    <a:pt x="2998" y="3365"/>
                  </a:lnTo>
                  <a:close/>
                  <a:moveTo>
                    <a:pt x="2716" y="3324"/>
                  </a:moveTo>
                  <a:lnTo>
                    <a:pt x="2829" y="3479"/>
                  </a:lnTo>
                  <a:lnTo>
                    <a:pt x="2829" y="3173"/>
                  </a:lnTo>
                  <a:lnTo>
                    <a:pt x="2813" y="3181"/>
                  </a:lnTo>
                  <a:lnTo>
                    <a:pt x="2798" y="3193"/>
                  </a:lnTo>
                  <a:lnTo>
                    <a:pt x="2790" y="3199"/>
                  </a:lnTo>
                  <a:lnTo>
                    <a:pt x="2783" y="3207"/>
                  </a:lnTo>
                  <a:lnTo>
                    <a:pt x="2768" y="3225"/>
                  </a:lnTo>
                  <a:lnTo>
                    <a:pt x="2742" y="3269"/>
                  </a:lnTo>
                  <a:lnTo>
                    <a:pt x="2715" y="3323"/>
                  </a:lnTo>
                  <a:lnTo>
                    <a:pt x="2716" y="3324"/>
                  </a:lnTo>
                  <a:close/>
                  <a:moveTo>
                    <a:pt x="3060" y="3557"/>
                  </a:moveTo>
                  <a:lnTo>
                    <a:pt x="2868" y="3820"/>
                  </a:lnTo>
                  <a:lnTo>
                    <a:pt x="2868" y="4028"/>
                  </a:lnTo>
                  <a:lnTo>
                    <a:pt x="3089" y="3725"/>
                  </a:lnTo>
                  <a:lnTo>
                    <a:pt x="3094" y="3718"/>
                  </a:lnTo>
                  <a:lnTo>
                    <a:pt x="3080" y="3640"/>
                  </a:lnTo>
                  <a:lnTo>
                    <a:pt x="3060" y="3557"/>
                  </a:lnTo>
                  <a:close/>
                  <a:moveTo>
                    <a:pt x="2654" y="3515"/>
                  </a:moveTo>
                  <a:lnTo>
                    <a:pt x="2829" y="3754"/>
                  </a:lnTo>
                  <a:lnTo>
                    <a:pt x="2829" y="3547"/>
                  </a:lnTo>
                  <a:lnTo>
                    <a:pt x="2698" y="3367"/>
                  </a:lnTo>
                  <a:lnTo>
                    <a:pt x="2672" y="3437"/>
                  </a:lnTo>
                  <a:lnTo>
                    <a:pt x="2650" y="3511"/>
                  </a:lnTo>
                  <a:lnTo>
                    <a:pt x="2654" y="3515"/>
                  </a:lnTo>
                  <a:close/>
                  <a:moveTo>
                    <a:pt x="3103" y="3773"/>
                  </a:moveTo>
                  <a:lnTo>
                    <a:pt x="2868" y="4095"/>
                  </a:lnTo>
                  <a:lnTo>
                    <a:pt x="2868" y="4102"/>
                  </a:lnTo>
                  <a:lnTo>
                    <a:pt x="2893" y="4098"/>
                  </a:lnTo>
                  <a:lnTo>
                    <a:pt x="2917" y="4093"/>
                  </a:lnTo>
                  <a:lnTo>
                    <a:pt x="2940" y="4085"/>
                  </a:lnTo>
                  <a:lnTo>
                    <a:pt x="2962" y="4076"/>
                  </a:lnTo>
                  <a:lnTo>
                    <a:pt x="2983" y="4065"/>
                  </a:lnTo>
                  <a:lnTo>
                    <a:pt x="3003" y="4051"/>
                  </a:lnTo>
                  <a:lnTo>
                    <a:pt x="3021" y="4037"/>
                  </a:lnTo>
                  <a:lnTo>
                    <a:pt x="3038" y="4020"/>
                  </a:lnTo>
                  <a:lnTo>
                    <a:pt x="3067" y="3982"/>
                  </a:lnTo>
                  <a:lnTo>
                    <a:pt x="3079" y="3961"/>
                  </a:lnTo>
                  <a:lnTo>
                    <a:pt x="3089" y="3939"/>
                  </a:lnTo>
                  <a:lnTo>
                    <a:pt x="3097" y="3916"/>
                  </a:lnTo>
                  <a:lnTo>
                    <a:pt x="3103" y="3893"/>
                  </a:lnTo>
                  <a:lnTo>
                    <a:pt x="3107" y="3868"/>
                  </a:lnTo>
                  <a:lnTo>
                    <a:pt x="3108" y="3843"/>
                  </a:lnTo>
                  <a:lnTo>
                    <a:pt x="3107" y="3811"/>
                  </a:lnTo>
                  <a:lnTo>
                    <a:pt x="3103" y="3773"/>
                  </a:lnTo>
                  <a:close/>
                  <a:moveTo>
                    <a:pt x="2603" y="3719"/>
                  </a:moveTo>
                  <a:lnTo>
                    <a:pt x="2829" y="4012"/>
                  </a:lnTo>
                  <a:lnTo>
                    <a:pt x="2829" y="3822"/>
                  </a:lnTo>
                  <a:lnTo>
                    <a:pt x="2638" y="3560"/>
                  </a:lnTo>
                  <a:lnTo>
                    <a:pt x="2618" y="3644"/>
                  </a:lnTo>
                  <a:lnTo>
                    <a:pt x="2603" y="3719"/>
                  </a:lnTo>
                  <a:close/>
                  <a:moveTo>
                    <a:pt x="2784" y="1296"/>
                  </a:moveTo>
                  <a:lnTo>
                    <a:pt x="2784" y="1465"/>
                  </a:lnTo>
                  <a:lnTo>
                    <a:pt x="2781" y="1474"/>
                  </a:lnTo>
                  <a:lnTo>
                    <a:pt x="2777" y="1480"/>
                  </a:lnTo>
                  <a:lnTo>
                    <a:pt x="2771" y="1484"/>
                  </a:lnTo>
                  <a:lnTo>
                    <a:pt x="2763" y="1486"/>
                  </a:lnTo>
                  <a:lnTo>
                    <a:pt x="2756" y="1484"/>
                  </a:lnTo>
                  <a:lnTo>
                    <a:pt x="2749" y="1480"/>
                  </a:lnTo>
                  <a:lnTo>
                    <a:pt x="2745" y="1474"/>
                  </a:lnTo>
                  <a:lnTo>
                    <a:pt x="2743" y="1465"/>
                  </a:lnTo>
                  <a:lnTo>
                    <a:pt x="2743" y="1296"/>
                  </a:lnTo>
                  <a:lnTo>
                    <a:pt x="2650" y="1296"/>
                  </a:lnTo>
                  <a:lnTo>
                    <a:pt x="2650" y="1465"/>
                  </a:lnTo>
                  <a:lnTo>
                    <a:pt x="2649" y="1474"/>
                  </a:lnTo>
                  <a:lnTo>
                    <a:pt x="2644" y="1480"/>
                  </a:lnTo>
                  <a:lnTo>
                    <a:pt x="2638" y="1484"/>
                  </a:lnTo>
                  <a:lnTo>
                    <a:pt x="2631" y="1486"/>
                  </a:lnTo>
                  <a:lnTo>
                    <a:pt x="2624" y="1484"/>
                  </a:lnTo>
                  <a:lnTo>
                    <a:pt x="2617" y="1480"/>
                  </a:lnTo>
                  <a:lnTo>
                    <a:pt x="2612" y="1474"/>
                  </a:lnTo>
                  <a:lnTo>
                    <a:pt x="2611" y="1465"/>
                  </a:lnTo>
                  <a:lnTo>
                    <a:pt x="2611" y="1296"/>
                  </a:lnTo>
                  <a:lnTo>
                    <a:pt x="2518" y="1296"/>
                  </a:lnTo>
                  <a:lnTo>
                    <a:pt x="2518" y="1465"/>
                  </a:lnTo>
                  <a:lnTo>
                    <a:pt x="2516" y="1474"/>
                  </a:lnTo>
                  <a:lnTo>
                    <a:pt x="2512" y="1480"/>
                  </a:lnTo>
                  <a:lnTo>
                    <a:pt x="2506" y="1484"/>
                  </a:lnTo>
                  <a:lnTo>
                    <a:pt x="2498" y="1486"/>
                  </a:lnTo>
                  <a:lnTo>
                    <a:pt x="2490" y="1484"/>
                  </a:lnTo>
                  <a:lnTo>
                    <a:pt x="2484" y="1480"/>
                  </a:lnTo>
                  <a:lnTo>
                    <a:pt x="2480" y="1474"/>
                  </a:lnTo>
                  <a:lnTo>
                    <a:pt x="2477" y="1465"/>
                  </a:lnTo>
                  <a:lnTo>
                    <a:pt x="2477" y="1296"/>
                  </a:lnTo>
                  <a:lnTo>
                    <a:pt x="2385" y="1296"/>
                  </a:lnTo>
                  <a:lnTo>
                    <a:pt x="2385" y="1465"/>
                  </a:lnTo>
                  <a:lnTo>
                    <a:pt x="2384" y="1474"/>
                  </a:lnTo>
                  <a:lnTo>
                    <a:pt x="2379" y="1480"/>
                  </a:lnTo>
                  <a:lnTo>
                    <a:pt x="2372" y="1484"/>
                  </a:lnTo>
                  <a:lnTo>
                    <a:pt x="2366" y="1486"/>
                  </a:lnTo>
                  <a:lnTo>
                    <a:pt x="2358" y="1484"/>
                  </a:lnTo>
                  <a:lnTo>
                    <a:pt x="2352" y="1480"/>
                  </a:lnTo>
                  <a:lnTo>
                    <a:pt x="2347" y="1474"/>
                  </a:lnTo>
                  <a:lnTo>
                    <a:pt x="2345" y="1465"/>
                  </a:lnTo>
                  <a:lnTo>
                    <a:pt x="2345" y="1296"/>
                  </a:lnTo>
                  <a:lnTo>
                    <a:pt x="2282" y="1296"/>
                  </a:lnTo>
                  <a:lnTo>
                    <a:pt x="2282" y="1634"/>
                  </a:lnTo>
                  <a:lnTo>
                    <a:pt x="2852" y="1634"/>
                  </a:lnTo>
                  <a:lnTo>
                    <a:pt x="2852" y="1296"/>
                  </a:lnTo>
                  <a:lnTo>
                    <a:pt x="2784" y="1296"/>
                  </a:lnTo>
                  <a:close/>
                  <a:moveTo>
                    <a:pt x="332" y="4356"/>
                  </a:moveTo>
                  <a:lnTo>
                    <a:pt x="322" y="4359"/>
                  </a:lnTo>
                  <a:lnTo>
                    <a:pt x="313" y="4356"/>
                  </a:lnTo>
                  <a:lnTo>
                    <a:pt x="0" y="4356"/>
                  </a:lnTo>
                  <a:lnTo>
                    <a:pt x="0" y="4317"/>
                  </a:lnTo>
                  <a:lnTo>
                    <a:pt x="64" y="4317"/>
                  </a:lnTo>
                  <a:lnTo>
                    <a:pt x="64" y="3833"/>
                  </a:lnTo>
                  <a:lnTo>
                    <a:pt x="0" y="3833"/>
                  </a:lnTo>
                  <a:lnTo>
                    <a:pt x="0" y="3792"/>
                  </a:lnTo>
                  <a:lnTo>
                    <a:pt x="197" y="3792"/>
                  </a:lnTo>
                  <a:lnTo>
                    <a:pt x="206" y="3795"/>
                  </a:lnTo>
                  <a:lnTo>
                    <a:pt x="213" y="3799"/>
                  </a:lnTo>
                  <a:lnTo>
                    <a:pt x="217" y="3805"/>
                  </a:lnTo>
                  <a:lnTo>
                    <a:pt x="218" y="3813"/>
                  </a:lnTo>
                  <a:lnTo>
                    <a:pt x="217" y="3820"/>
                  </a:lnTo>
                  <a:lnTo>
                    <a:pt x="213" y="3827"/>
                  </a:lnTo>
                  <a:lnTo>
                    <a:pt x="206" y="3831"/>
                  </a:lnTo>
                  <a:lnTo>
                    <a:pt x="197" y="3833"/>
                  </a:lnTo>
                  <a:lnTo>
                    <a:pt x="104" y="3833"/>
                  </a:lnTo>
                  <a:lnTo>
                    <a:pt x="104" y="4317"/>
                  </a:lnTo>
                  <a:lnTo>
                    <a:pt x="303" y="4317"/>
                  </a:lnTo>
                  <a:lnTo>
                    <a:pt x="303" y="3544"/>
                  </a:lnTo>
                  <a:lnTo>
                    <a:pt x="303" y="2772"/>
                  </a:lnTo>
                  <a:lnTo>
                    <a:pt x="304" y="2764"/>
                  </a:lnTo>
                  <a:lnTo>
                    <a:pt x="308" y="2758"/>
                  </a:lnTo>
                  <a:lnTo>
                    <a:pt x="314" y="2753"/>
                  </a:lnTo>
                  <a:lnTo>
                    <a:pt x="322" y="2751"/>
                  </a:lnTo>
                  <a:lnTo>
                    <a:pt x="440" y="2751"/>
                  </a:lnTo>
                  <a:lnTo>
                    <a:pt x="440" y="2579"/>
                  </a:lnTo>
                  <a:lnTo>
                    <a:pt x="441" y="2571"/>
                  </a:lnTo>
                  <a:lnTo>
                    <a:pt x="446" y="2565"/>
                  </a:lnTo>
                  <a:lnTo>
                    <a:pt x="453" y="2560"/>
                  </a:lnTo>
                  <a:lnTo>
                    <a:pt x="460" y="2558"/>
                  </a:lnTo>
                  <a:lnTo>
                    <a:pt x="541" y="2558"/>
                  </a:lnTo>
                  <a:lnTo>
                    <a:pt x="1007" y="2558"/>
                  </a:lnTo>
                  <a:lnTo>
                    <a:pt x="1997" y="2558"/>
                  </a:lnTo>
                  <a:lnTo>
                    <a:pt x="2004" y="2560"/>
                  </a:lnTo>
                  <a:lnTo>
                    <a:pt x="2011" y="2565"/>
                  </a:lnTo>
                  <a:lnTo>
                    <a:pt x="2014" y="2571"/>
                  </a:lnTo>
                  <a:lnTo>
                    <a:pt x="2017" y="2579"/>
                  </a:lnTo>
                  <a:lnTo>
                    <a:pt x="2017" y="2751"/>
                  </a:lnTo>
                  <a:lnTo>
                    <a:pt x="2098" y="2751"/>
                  </a:lnTo>
                  <a:lnTo>
                    <a:pt x="2098" y="2203"/>
                  </a:lnTo>
                  <a:lnTo>
                    <a:pt x="2098" y="1654"/>
                  </a:lnTo>
                  <a:lnTo>
                    <a:pt x="2099" y="1647"/>
                  </a:lnTo>
                  <a:lnTo>
                    <a:pt x="2103" y="1640"/>
                  </a:lnTo>
                  <a:lnTo>
                    <a:pt x="2109" y="1635"/>
                  </a:lnTo>
                  <a:lnTo>
                    <a:pt x="2117" y="1634"/>
                  </a:lnTo>
                  <a:lnTo>
                    <a:pt x="2243" y="1634"/>
                  </a:lnTo>
                  <a:lnTo>
                    <a:pt x="2243" y="1276"/>
                  </a:lnTo>
                  <a:lnTo>
                    <a:pt x="2244" y="1268"/>
                  </a:lnTo>
                  <a:lnTo>
                    <a:pt x="2249" y="1262"/>
                  </a:lnTo>
                  <a:lnTo>
                    <a:pt x="2254" y="1258"/>
                  </a:lnTo>
                  <a:lnTo>
                    <a:pt x="2262" y="1257"/>
                  </a:lnTo>
                  <a:lnTo>
                    <a:pt x="2872" y="1257"/>
                  </a:lnTo>
                  <a:lnTo>
                    <a:pt x="2880" y="1258"/>
                  </a:lnTo>
                  <a:lnTo>
                    <a:pt x="2886" y="1262"/>
                  </a:lnTo>
                  <a:lnTo>
                    <a:pt x="2890" y="1268"/>
                  </a:lnTo>
                  <a:lnTo>
                    <a:pt x="2893" y="1276"/>
                  </a:lnTo>
                  <a:lnTo>
                    <a:pt x="2893" y="1634"/>
                  </a:lnTo>
                  <a:lnTo>
                    <a:pt x="3017" y="1634"/>
                  </a:lnTo>
                  <a:lnTo>
                    <a:pt x="3025" y="1635"/>
                  </a:lnTo>
                  <a:lnTo>
                    <a:pt x="3031" y="1640"/>
                  </a:lnTo>
                  <a:lnTo>
                    <a:pt x="3035" y="1647"/>
                  </a:lnTo>
                  <a:lnTo>
                    <a:pt x="3038" y="1654"/>
                  </a:lnTo>
                  <a:lnTo>
                    <a:pt x="3038" y="2434"/>
                  </a:lnTo>
                  <a:lnTo>
                    <a:pt x="3038" y="3214"/>
                  </a:lnTo>
                  <a:lnTo>
                    <a:pt x="3035" y="3223"/>
                  </a:lnTo>
                  <a:lnTo>
                    <a:pt x="3031" y="3230"/>
                  </a:lnTo>
                  <a:lnTo>
                    <a:pt x="3025" y="3234"/>
                  </a:lnTo>
                  <a:lnTo>
                    <a:pt x="3017" y="3235"/>
                  </a:lnTo>
                  <a:lnTo>
                    <a:pt x="3010" y="3234"/>
                  </a:lnTo>
                  <a:lnTo>
                    <a:pt x="3003" y="3230"/>
                  </a:lnTo>
                  <a:lnTo>
                    <a:pt x="2999" y="3223"/>
                  </a:lnTo>
                  <a:lnTo>
                    <a:pt x="2998" y="3214"/>
                  </a:lnTo>
                  <a:lnTo>
                    <a:pt x="2998" y="2443"/>
                  </a:lnTo>
                  <a:lnTo>
                    <a:pt x="2998" y="1674"/>
                  </a:lnTo>
                  <a:lnTo>
                    <a:pt x="2138" y="1674"/>
                  </a:lnTo>
                  <a:lnTo>
                    <a:pt x="2138" y="2333"/>
                  </a:lnTo>
                  <a:lnTo>
                    <a:pt x="2138" y="2994"/>
                  </a:lnTo>
                  <a:lnTo>
                    <a:pt x="2138" y="3655"/>
                  </a:lnTo>
                  <a:lnTo>
                    <a:pt x="2138" y="4317"/>
                  </a:lnTo>
                  <a:lnTo>
                    <a:pt x="2829" y="4317"/>
                  </a:lnTo>
                  <a:lnTo>
                    <a:pt x="2829" y="4141"/>
                  </a:lnTo>
                  <a:lnTo>
                    <a:pt x="2799" y="4138"/>
                  </a:lnTo>
                  <a:lnTo>
                    <a:pt x="2771" y="4132"/>
                  </a:lnTo>
                  <a:lnTo>
                    <a:pt x="2744" y="4123"/>
                  </a:lnTo>
                  <a:lnTo>
                    <a:pt x="2731" y="4118"/>
                  </a:lnTo>
                  <a:lnTo>
                    <a:pt x="2718" y="4113"/>
                  </a:lnTo>
                  <a:lnTo>
                    <a:pt x="2694" y="4099"/>
                  </a:lnTo>
                  <a:lnTo>
                    <a:pt x="2671" y="4084"/>
                  </a:lnTo>
                  <a:lnTo>
                    <a:pt x="2649" y="4067"/>
                  </a:lnTo>
                  <a:lnTo>
                    <a:pt x="2630" y="4048"/>
                  </a:lnTo>
                  <a:lnTo>
                    <a:pt x="2612" y="4026"/>
                  </a:lnTo>
                  <a:lnTo>
                    <a:pt x="2595" y="4005"/>
                  </a:lnTo>
                  <a:lnTo>
                    <a:pt x="2581" y="3980"/>
                  </a:lnTo>
                  <a:lnTo>
                    <a:pt x="2570" y="3955"/>
                  </a:lnTo>
                  <a:lnTo>
                    <a:pt x="2561" y="3929"/>
                  </a:lnTo>
                  <a:lnTo>
                    <a:pt x="2554" y="3901"/>
                  </a:lnTo>
                  <a:lnTo>
                    <a:pt x="2549" y="3873"/>
                  </a:lnTo>
                  <a:lnTo>
                    <a:pt x="2548" y="3843"/>
                  </a:lnTo>
                  <a:lnTo>
                    <a:pt x="2549" y="3813"/>
                  </a:lnTo>
                  <a:lnTo>
                    <a:pt x="2554" y="3773"/>
                  </a:lnTo>
                  <a:lnTo>
                    <a:pt x="2570" y="3675"/>
                  </a:lnTo>
                  <a:lnTo>
                    <a:pt x="2581" y="3617"/>
                  </a:lnTo>
                  <a:lnTo>
                    <a:pt x="2595" y="3558"/>
                  </a:lnTo>
                  <a:lnTo>
                    <a:pt x="2630" y="3436"/>
                  </a:lnTo>
                  <a:lnTo>
                    <a:pt x="2650" y="3377"/>
                  </a:lnTo>
                  <a:lnTo>
                    <a:pt x="2674" y="3320"/>
                  </a:lnTo>
                  <a:lnTo>
                    <a:pt x="2698" y="3268"/>
                  </a:lnTo>
                  <a:lnTo>
                    <a:pt x="2725" y="3222"/>
                  </a:lnTo>
                  <a:lnTo>
                    <a:pt x="2753" y="3185"/>
                  </a:lnTo>
                  <a:lnTo>
                    <a:pt x="2783" y="3156"/>
                  </a:lnTo>
                  <a:lnTo>
                    <a:pt x="2799" y="3144"/>
                  </a:lnTo>
                  <a:lnTo>
                    <a:pt x="2815" y="3136"/>
                  </a:lnTo>
                  <a:lnTo>
                    <a:pt x="2831" y="3133"/>
                  </a:lnTo>
                  <a:lnTo>
                    <a:pt x="2848" y="3130"/>
                  </a:lnTo>
                  <a:lnTo>
                    <a:pt x="2866" y="3133"/>
                  </a:lnTo>
                  <a:lnTo>
                    <a:pt x="2883" y="3138"/>
                  </a:lnTo>
                  <a:lnTo>
                    <a:pt x="2899" y="3145"/>
                  </a:lnTo>
                  <a:lnTo>
                    <a:pt x="2915" y="3157"/>
                  </a:lnTo>
                  <a:lnTo>
                    <a:pt x="2945" y="3187"/>
                  </a:lnTo>
                  <a:lnTo>
                    <a:pt x="2953" y="3196"/>
                  </a:lnTo>
                  <a:lnTo>
                    <a:pt x="2960" y="3205"/>
                  </a:lnTo>
                  <a:lnTo>
                    <a:pt x="2974" y="3226"/>
                  </a:lnTo>
                  <a:lnTo>
                    <a:pt x="3001" y="3272"/>
                  </a:lnTo>
                  <a:lnTo>
                    <a:pt x="3024" y="3323"/>
                  </a:lnTo>
                  <a:lnTo>
                    <a:pt x="3045" y="3377"/>
                  </a:lnTo>
                  <a:lnTo>
                    <a:pt x="3065" y="3433"/>
                  </a:lnTo>
                  <a:lnTo>
                    <a:pt x="3083" y="3492"/>
                  </a:lnTo>
                  <a:lnTo>
                    <a:pt x="3099" y="3551"/>
                  </a:lnTo>
                  <a:lnTo>
                    <a:pt x="3113" y="3609"/>
                  </a:lnTo>
                  <a:lnTo>
                    <a:pt x="3125" y="3666"/>
                  </a:lnTo>
                  <a:lnTo>
                    <a:pt x="3135" y="3719"/>
                  </a:lnTo>
                  <a:lnTo>
                    <a:pt x="3142" y="3767"/>
                  </a:lnTo>
                  <a:lnTo>
                    <a:pt x="3147" y="3809"/>
                  </a:lnTo>
                  <a:lnTo>
                    <a:pt x="3148" y="3843"/>
                  </a:lnTo>
                  <a:lnTo>
                    <a:pt x="3147" y="3873"/>
                  </a:lnTo>
                  <a:lnTo>
                    <a:pt x="3143" y="3901"/>
                  </a:lnTo>
                  <a:lnTo>
                    <a:pt x="3135" y="3929"/>
                  </a:lnTo>
                  <a:lnTo>
                    <a:pt x="3126" y="3955"/>
                  </a:lnTo>
                  <a:lnTo>
                    <a:pt x="3115" y="3980"/>
                  </a:lnTo>
                  <a:lnTo>
                    <a:pt x="3101" y="4005"/>
                  </a:lnTo>
                  <a:lnTo>
                    <a:pt x="3067" y="4048"/>
                  </a:lnTo>
                  <a:lnTo>
                    <a:pt x="3025" y="4084"/>
                  </a:lnTo>
                  <a:lnTo>
                    <a:pt x="3002" y="4099"/>
                  </a:lnTo>
                  <a:lnTo>
                    <a:pt x="2977" y="4113"/>
                  </a:lnTo>
                  <a:lnTo>
                    <a:pt x="2952" y="4123"/>
                  </a:lnTo>
                  <a:lnTo>
                    <a:pt x="2925" y="4132"/>
                  </a:lnTo>
                  <a:lnTo>
                    <a:pt x="2897" y="4138"/>
                  </a:lnTo>
                  <a:lnTo>
                    <a:pt x="2868" y="4141"/>
                  </a:lnTo>
                  <a:lnTo>
                    <a:pt x="2868" y="4317"/>
                  </a:lnTo>
                  <a:lnTo>
                    <a:pt x="2998" y="4317"/>
                  </a:lnTo>
                  <a:lnTo>
                    <a:pt x="2998" y="4193"/>
                  </a:lnTo>
                  <a:lnTo>
                    <a:pt x="2999" y="4184"/>
                  </a:lnTo>
                  <a:lnTo>
                    <a:pt x="3003" y="4177"/>
                  </a:lnTo>
                  <a:lnTo>
                    <a:pt x="3010" y="4173"/>
                  </a:lnTo>
                  <a:lnTo>
                    <a:pt x="3017" y="4172"/>
                  </a:lnTo>
                  <a:lnTo>
                    <a:pt x="3025" y="4173"/>
                  </a:lnTo>
                  <a:lnTo>
                    <a:pt x="3031" y="4177"/>
                  </a:lnTo>
                  <a:lnTo>
                    <a:pt x="3035" y="4184"/>
                  </a:lnTo>
                  <a:lnTo>
                    <a:pt x="3038" y="4193"/>
                  </a:lnTo>
                  <a:lnTo>
                    <a:pt x="3038" y="4332"/>
                  </a:lnTo>
                  <a:lnTo>
                    <a:pt x="3036" y="4340"/>
                  </a:lnTo>
                  <a:lnTo>
                    <a:pt x="3031" y="4346"/>
                  </a:lnTo>
                  <a:lnTo>
                    <a:pt x="3025" y="4354"/>
                  </a:lnTo>
                  <a:lnTo>
                    <a:pt x="3013" y="4356"/>
                  </a:lnTo>
                  <a:lnTo>
                    <a:pt x="2343" y="4356"/>
                  </a:lnTo>
                  <a:lnTo>
                    <a:pt x="1672" y="4356"/>
                  </a:lnTo>
                  <a:lnTo>
                    <a:pt x="1001" y="4356"/>
                  </a:lnTo>
                  <a:lnTo>
                    <a:pt x="332" y="4356"/>
                  </a:lnTo>
                  <a:close/>
                  <a:moveTo>
                    <a:pt x="1458" y="2791"/>
                  </a:moveTo>
                  <a:lnTo>
                    <a:pt x="900" y="2791"/>
                  </a:lnTo>
                  <a:lnTo>
                    <a:pt x="342" y="2791"/>
                  </a:lnTo>
                  <a:lnTo>
                    <a:pt x="342" y="3553"/>
                  </a:lnTo>
                  <a:lnTo>
                    <a:pt x="342" y="4317"/>
                  </a:lnTo>
                  <a:lnTo>
                    <a:pt x="1218" y="4317"/>
                  </a:lnTo>
                  <a:lnTo>
                    <a:pt x="2095" y="4317"/>
                  </a:lnTo>
                  <a:lnTo>
                    <a:pt x="2095" y="3553"/>
                  </a:lnTo>
                  <a:lnTo>
                    <a:pt x="2095" y="2791"/>
                  </a:lnTo>
                  <a:lnTo>
                    <a:pt x="1723" y="2791"/>
                  </a:lnTo>
                  <a:lnTo>
                    <a:pt x="1714" y="2790"/>
                  </a:lnTo>
                  <a:lnTo>
                    <a:pt x="1708" y="2786"/>
                  </a:lnTo>
                  <a:lnTo>
                    <a:pt x="1704" y="2780"/>
                  </a:lnTo>
                  <a:lnTo>
                    <a:pt x="1703" y="2772"/>
                  </a:lnTo>
                  <a:lnTo>
                    <a:pt x="1704" y="2764"/>
                  </a:lnTo>
                  <a:lnTo>
                    <a:pt x="1708" y="2758"/>
                  </a:lnTo>
                  <a:lnTo>
                    <a:pt x="1714" y="2754"/>
                  </a:lnTo>
                  <a:lnTo>
                    <a:pt x="1723" y="2751"/>
                  </a:lnTo>
                  <a:lnTo>
                    <a:pt x="1976" y="2751"/>
                  </a:lnTo>
                  <a:lnTo>
                    <a:pt x="1976" y="2598"/>
                  </a:lnTo>
                  <a:lnTo>
                    <a:pt x="1025" y="2598"/>
                  </a:lnTo>
                  <a:lnTo>
                    <a:pt x="1018" y="2602"/>
                  </a:lnTo>
                  <a:lnTo>
                    <a:pt x="1010" y="2603"/>
                  </a:lnTo>
                  <a:lnTo>
                    <a:pt x="544" y="2603"/>
                  </a:lnTo>
                  <a:lnTo>
                    <a:pt x="536" y="2602"/>
                  </a:lnTo>
                  <a:lnTo>
                    <a:pt x="531" y="2598"/>
                  </a:lnTo>
                  <a:lnTo>
                    <a:pt x="480" y="2598"/>
                  </a:lnTo>
                  <a:lnTo>
                    <a:pt x="480" y="2751"/>
                  </a:lnTo>
                  <a:lnTo>
                    <a:pt x="1458" y="2751"/>
                  </a:lnTo>
                  <a:lnTo>
                    <a:pt x="1467" y="2754"/>
                  </a:lnTo>
                  <a:lnTo>
                    <a:pt x="1473" y="2758"/>
                  </a:lnTo>
                  <a:lnTo>
                    <a:pt x="1477" y="2764"/>
                  </a:lnTo>
                  <a:lnTo>
                    <a:pt x="1478" y="2772"/>
                  </a:lnTo>
                  <a:lnTo>
                    <a:pt x="1477" y="2780"/>
                  </a:lnTo>
                  <a:lnTo>
                    <a:pt x="1473" y="2786"/>
                  </a:lnTo>
                  <a:lnTo>
                    <a:pt x="1467" y="2790"/>
                  </a:lnTo>
                  <a:lnTo>
                    <a:pt x="1458" y="2791"/>
                  </a:lnTo>
                  <a:close/>
                  <a:moveTo>
                    <a:pt x="2829" y="4085"/>
                  </a:moveTo>
                  <a:lnTo>
                    <a:pt x="2829" y="4077"/>
                  </a:lnTo>
                  <a:lnTo>
                    <a:pt x="2594" y="3774"/>
                  </a:lnTo>
                  <a:lnTo>
                    <a:pt x="2590" y="3814"/>
                  </a:lnTo>
                  <a:lnTo>
                    <a:pt x="2588" y="3843"/>
                  </a:lnTo>
                  <a:lnTo>
                    <a:pt x="2589" y="3868"/>
                  </a:lnTo>
                  <a:lnTo>
                    <a:pt x="2593" y="3893"/>
                  </a:lnTo>
                  <a:lnTo>
                    <a:pt x="2599" y="3916"/>
                  </a:lnTo>
                  <a:lnTo>
                    <a:pt x="2607" y="3939"/>
                  </a:lnTo>
                  <a:lnTo>
                    <a:pt x="2617" y="3961"/>
                  </a:lnTo>
                  <a:lnTo>
                    <a:pt x="2629" y="3982"/>
                  </a:lnTo>
                  <a:lnTo>
                    <a:pt x="2643" y="4002"/>
                  </a:lnTo>
                  <a:lnTo>
                    <a:pt x="2658" y="4020"/>
                  </a:lnTo>
                  <a:lnTo>
                    <a:pt x="2675" y="4037"/>
                  </a:lnTo>
                  <a:lnTo>
                    <a:pt x="2693" y="4051"/>
                  </a:lnTo>
                  <a:lnTo>
                    <a:pt x="2713" y="4065"/>
                  </a:lnTo>
                  <a:lnTo>
                    <a:pt x="2734" y="4076"/>
                  </a:lnTo>
                  <a:lnTo>
                    <a:pt x="2756" y="4085"/>
                  </a:lnTo>
                  <a:lnTo>
                    <a:pt x="2779" y="4093"/>
                  </a:lnTo>
                  <a:lnTo>
                    <a:pt x="2803" y="4098"/>
                  </a:lnTo>
                  <a:lnTo>
                    <a:pt x="2829" y="4102"/>
                  </a:lnTo>
                  <a:lnTo>
                    <a:pt x="2829" y="4093"/>
                  </a:lnTo>
                  <a:lnTo>
                    <a:pt x="2829" y="4085"/>
                  </a:lnTo>
                  <a:close/>
                  <a:moveTo>
                    <a:pt x="1903" y="3824"/>
                  </a:moveTo>
                  <a:lnTo>
                    <a:pt x="1903" y="3937"/>
                  </a:lnTo>
                  <a:lnTo>
                    <a:pt x="1902" y="3946"/>
                  </a:lnTo>
                  <a:lnTo>
                    <a:pt x="1896" y="3952"/>
                  </a:lnTo>
                  <a:lnTo>
                    <a:pt x="1890" y="3956"/>
                  </a:lnTo>
                  <a:lnTo>
                    <a:pt x="1882" y="3957"/>
                  </a:lnTo>
                  <a:lnTo>
                    <a:pt x="1876" y="3956"/>
                  </a:lnTo>
                  <a:lnTo>
                    <a:pt x="1870" y="3952"/>
                  </a:lnTo>
                  <a:lnTo>
                    <a:pt x="1864" y="3946"/>
                  </a:lnTo>
                  <a:lnTo>
                    <a:pt x="1863" y="3937"/>
                  </a:lnTo>
                  <a:lnTo>
                    <a:pt x="1863" y="3824"/>
                  </a:lnTo>
                  <a:lnTo>
                    <a:pt x="1864" y="3817"/>
                  </a:lnTo>
                  <a:lnTo>
                    <a:pt x="1870" y="3810"/>
                  </a:lnTo>
                  <a:lnTo>
                    <a:pt x="1876" y="3806"/>
                  </a:lnTo>
                  <a:lnTo>
                    <a:pt x="1882" y="3805"/>
                  </a:lnTo>
                  <a:lnTo>
                    <a:pt x="1890" y="3806"/>
                  </a:lnTo>
                  <a:lnTo>
                    <a:pt x="1896" y="3810"/>
                  </a:lnTo>
                  <a:lnTo>
                    <a:pt x="1902" y="3817"/>
                  </a:lnTo>
                  <a:lnTo>
                    <a:pt x="1903" y="3824"/>
                  </a:lnTo>
                  <a:close/>
                  <a:moveTo>
                    <a:pt x="587" y="3118"/>
                  </a:moveTo>
                  <a:lnTo>
                    <a:pt x="587" y="3231"/>
                  </a:lnTo>
                  <a:lnTo>
                    <a:pt x="586" y="3240"/>
                  </a:lnTo>
                  <a:lnTo>
                    <a:pt x="581" y="3246"/>
                  </a:lnTo>
                  <a:lnTo>
                    <a:pt x="574" y="3250"/>
                  </a:lnTo>
                  <a:lnTo>
                    <a:pt x="567" y="3251"/>
                  </a:lnTo>
                  <a:lnTo>
                    <a:pt x="560" y="3250"/>
                  </a:lnTo>
                  <a:lnTo>
                    <a:pt x="554" y="3246"/>
                  </a:lnTo>
                  <a:lnTo>
                    <a:pt x="549" y="3240"/>
                  </a:lnTo>
                  <a:lnTo>
                    <a:pt x="548" y="3231"/>
                  </a:lnTo>
                  <a:lnTo>
                    <a:pt x="548" y="3118"/>
                  </a:lnTo>
                  <a:lnTo>
                    <a:pt x="549" y="3111"/>
                  </a:lnTo>
                  <a:lnTo>
                    <a:pt x="554" y="3104"/>
                  </a:lnTo>
                  <a:lnTo>
                    <a:pt x="560" y="3101"/>
                  </a:lnTo>
                  <a:lnTo>
                    <a:pt x="567" y="3099"/>
                  </a:lnTo>
                  <a:lnTo>
                    <a:pt x="574" y="3101"/>
                  </a:lnTo>
                  <a:lnTo>
                    <a:pt x="581" y="3104"/>
                  </a:lnTo>
                  <a:lnTo>
                    <a:pt x="586" y="3111"/>
                  </a:lnTo>
                  <a:lnTo>
                    <a:pt x="587" y="3118"/>
                  </a:lnTo>
                  <a:close/>
                  <a:moveTo>
                    <a:pt x="850" y="3118"/>
                  </a:moveTo>
                  <a:lnTo>
                    <a:pt x="850" y="3231"/>
                  </a:lnTo>
                  <a:lnTo>
                    <a:pt x="849" y="3240"/>
                  </a:lnTo>
                  <a:lnTo>
                    <a:pt x="844" y="3246"/>
                  </a:lnTo>
                  <a:lnTo>
                    <a:pt x="837" y="3250"/>
                  </a:lnTo>
                  <a:lnTo>
                    <a:pt x="831" y="3251"/>
                  </a:lnTo>
                  <a:lnTo>
                    <a:pt x="823" y="3250"/>
                  </a:lnTo>
                  <a:lnTo>
                    <a:pt x="817" y="3246"/>
                  </a:lnTo>
                  <a:lnTo>
                    <a:pt x="812" y="3240"/>
                  </a:lnTo>
                  <a:lnTo>
                    <a:pt x="810" y="3231"/>
                  </a:lnTo>
                  <a:lnTo>
                    <a:pt x="810" y="3118"/>
                  </a:lnTo>
                  <a:lnTo>
                    <a:pt x="812" y="3111"/>
                  </a:lnTo>
                  <a:lnTo>
                    <a:pt x="817" y="3104"/>
                  </a:lnTo>
                  <a:lnTo>
                    <a:pt x="823" y="3101"/>
                  </a:lnTo>
                  <a:lnTo>
                    <a:pt x="831" y="3099"/>
                  </a:lnTo>
                  <a:lnTo>
                    <a:pt x="837" y="3101"/>
                  </a:lnTo>
                  <a:lnTo>
                    <a:pt x="844" y="3104"/>
                  </a:lnTo>
                  <a:lnTo>
                    <a:pt x="849" y="3111"/>
                  </a:lnTo>
                  <a:lnTo>
                    <a:pt x="850" y="3118"/>
                  </a:lnTo>
                  <a:close/>
                  <a:moveTo>
                    <a:pt x="1113" y="3118"/>
                  </a:moveTo>
                  <a:lnTo>
                    <a:pt x="1113" y="3231"/>
                  </a:lnTo>
                  <a:lnTo>
                    <a:pt x="1112" y="3240"/>
                  </a:lnTo>
                  <a:lnTo>
                    <a:pt x="1107" y="3246"/>
                  </a:lnTo>
                  <a:lnTo>
                    <a:pt x="1100" y="3250"/>
                  </a:lnTo>
                  <a:lnTo>
                    <a:pt x="1094" y="3251"/>
                  </a:lnTo>
                  <a:lnTo>
                    <a:pt x="1086" y="3250"/>
                  </a:lnTo>
                  <a:lnTo>
                    <a:pt x="1080" y="3246"/>
                  </a:lnTo>
                  <a:lnTo>
                    <a:pt x="1076" y="3240"/>
                  </a:lnTo>
                  <a:lnTo>
                    <a:pt x="1073" y="3231"/>
                  </a:lnTo>
                  <a:lnTo>
                    <a:pt x="1073" y="3118"/>
                  </a:lnTo>
                  <a:lnTo>
                    <a:pt x="1076" y="3111"/>
                  </a:lnTo>
                  <a:lnTo>
                    <a:pt x="1080" y="3104"/>
                  </a:lnTo>
                  <a:lnTo>
                    <a:pt x="1086" y="3101"/>
                  </a:lnTo>
                  <a:lnTo>
                    <a:pt x="1094" y="3099"/>
                  </a:lnTo>
                  <a:lnTo>
                    <a:pt x="1100" y="3101"/>
                  </a:lnTo>
                  <a:lnTo>
                    <a:pt x="1107" y="3104"/>
                  </a:lnTo>
                  <a:lnTo>
                    <a:pt x="1112" y="3111"/>
                  </a:lnTo>
                  <a:lnTo>
                    <a:pt x="1113" y="3118"/>
                  </a:lnTo>
                  <a:close/>
                  <a:moveTo>
                    <a:pt x="1377" y="3118"/>
                  </a:moveTo>
                  <a:lnTo>
                    <a:pt x="1377" y="3231"/>
                  </a:lnTo>
                  <a:lnTo>
                    <a:pt x="1375" y="3240"/>
                  </a:lnTo>
                  <a:lnTo>
                    <a:pt x="1371" y="3246"/>
                  </a:lnTo>
                  <a:lnTo>
                    <a:pt x="1364" y="3250"/>
                  </a:lnTo>
                  <a:lnTo>
                    <a:pt x="1357" y="3251"/>
                  </a:lnTo>
                  <a:lnTo>
                    <a:pt x="1349" y="3250"/>
                  </a:lnTo>
                  <a:lnTo>
                    <a:pt x="1343" y="3246"/>
                  </a:lnTo>
                  <a:lnTo>
                    <a:pt x="1339" y="3240"/>
                  </a:lnTo>
                  <a:lnTo>
                    <a:pt x="1336" y="3231"/>
                  </a:lnTo>
                  <a:lnTo>
                    <a:pt x="1336" y="3118"/>
                  </a:lnTo>
                  <a:lnTo>
                    <a:pt x="1339" y="3111"/>
                  </a:lnTo>
                  <a:lnTo>
                    <a:pt x="1343" y="3104"/>
                  </a:lnTo>
                  <a:lnTo>
                    <a:pt x="1349" y="3101"/>
                  </a:lnTo>
                  <a:lnTo>
                    <a:pt x="1357" y="3099"/>
                  </a:lnTo>
                  <a:lnTo>
                    <a:pt x="1364" y="3101"/>
                  </a:lnTo>
                  <a:lnTo>
                    <a:pt x="1371" y="3104"/>
                  </a:lnTo>
                  <a:lnTo>
                    <a:pt x="1375" y="3111"/>
                  </a:lnTo>
                  <a:lnTo>
                    <a:pt x="1377" y="3118"/>
                  </a:lnTo>
                  <a:close/>
                  <a:moveTo>
                    <a:pt x="1640" y="3118"/>
                  </a:moveTo>
                  <a:lnTo>
                    <a:pt x="1640" y="3231"/>
                  </a:lnTo>
                  <a:lnTo>
                    <a:pt x="1637" y="3240"/>
                  </a:lnTo>
                  <a:lnTo>
                    <a:pt x="1634" y="3246"/>
                  </a:lnTo>
                  <a:lnTo>
                    <a:pt x="1627" y="3250"/>
                  </a:lnTo>
                  <a:lnTo>
                    <a:pt x="1620" y="3251"/>
                  </a:lnTo>
                  <a:lnTo>
                    <a:pt x="1612" y="3250"/>
                  </a:lnTo>
                  <a:lnTo>
                    <a:pt x="1605" y="3246"/>
                  </a:lnTo>
                  <a:lnTo>
                    <a:pt x="1602" y="3240"/>
                  </a:lnTo>
                  <a:lnTo>
                    <a:pt x="1600" y="3231"/>
                  </a:lnTo>
                  <a:lnTo>
                    <a:pt x="1600" y="3118"/>
                  </a:lnTo>
                  <a:lnTo>
                    <a:pt x="1602" y="3111"/>
                  </a:lnTo>
                  <a:lnTo>
                    <a:pt x="1605" y="3104"/>
                  </a:lnTo>
                  <a:lnTo>
                    <a:pt x="1612" y="3101"/>
                  </a:lnTo>
                  <a:lnTo>
                    <a:pt x="1620" y="3099"/>
                  </a:lnTo>
                  <a:lnTo>
                    <a:pt x="1627" y="3101"/>
                  </a:lnTo>
                  <a:lnTo>
                    <a:pt x="1634" y="3104"/>
                  </a:lnTo>
                  <a:lnTo>
                    <a:pt x="1637" y="3111"/>
                  </a:lnTo>
                  <a:lnTo>
                    <a:pt x="1640" y="3118"/>
                  </a:lnTo>
                  <a:close/>
                  <a:moveTo>
                    <a:pt x="1903" y="3118"/>
                  </a:moveTo>
                  <a:lnTo>
                    <a:pt x="1903" y="3231"/>
                  </a:lnTo>
                  <a:lnTo>
                    <a:pt x="1902" y="3240"/>
                  </a:lnTo>
                  <a:lnTo>
                    <a:pt x="1896" y="3246"/>
                  </a:lnTo>
                  <a:lnTo>
                    <a:pt x="1890" y="3250"/>
                  </a:lnTo>
                  <a:lnTo>
                    <a:pt x="1882" y="3251"/>
                  </a:lnTo>
                  <a:lnTo>
                    <a:pt x="1876" y="3250"/>
                  </a:lnTo>
                  <a:lnTo>
                    <a:pt x="1870" y="3246"/>
                  </a:lnTo>
                  <a:lnTo>
                    <a:pt x="1864" y="3240"/>
                  </a:lnTo>
                  <a:lnTo>
                    <a:pt x="1863" y="3231"/>
                  </a:lnTo>
                  <a:lnTo>
                    <a:pt x="1863" y="3118"/>
                  </a:lnTo>
                  <a:lnTo>
                    <a:pt x="1864" y="3111"/>
                  </a:lnTo>
                  <a:lnTo>
                    <a:pt x="1870" y="3104"/>
                  </a:lnTo>
                  <a:lnTo>
                    <a:pt x="1876" y="3101"/>
                  </a:lnTo>
                  <a:lnTo>
                    <a:pt x="1882" y="3099"/>
                  </a:lnTo>
                  <a:lnTo>
                    <a:pt x="1890" y="3101"/>
                  </a:lnTo>
                  <a:lnTo>
                    <a:pt x="1896" y="3104"/>
                  </a:lnTo>
                  <a:lnTo>
                    <a:pt x="1902" y="3111"/>
                  </a:lnTo>
                  <a:lnTo>
                    <a:pt x="1903" y="3118"/>
                  </a:lnTo>
                  <a:close/>
                  <a:moveTo>
                    <a:pt x="587" y="3354"/>
                  </a:moveTo>
                  <a:lnTo>
                    <a:pt x="587" y="3466"/>
                  </a:lnTo>
                  <a:lnTo>
                    <a:pt x="586" y="3475"/>
                  </a:lnTo>
                  <a:lnTo>
                    <a:pt x="581" y="3482"/>
                  </a:lnTo>
                  <a:lnTo>
                    <a:pt x="574" y="3485"/>
                  </a:lnTo>
                  <a:lnTo>
                    <a:pt x="567" y="3487"/>
                  </a:lnTo>
                  <a:lnTo>
                    <a:pt x="560" y="3485"/>
                  </a:lnTo>
                  <a:lnTo>
                    <a:pt x="554" y="3482"/>
                  </a:lnTo>
                  <a:lnTo>
                    <a:pt x="549" y="3475"/>
                  </a:lnTo>
                  <a:lnTo>
                    <a:pt x="548" y="3466"/>
                  </a:lnTo>
                  <a:lnTo>
                    <a:pt x="548" y="3354"/>
                  </a:lnTo>
                  <a:lnTo>
                    <a:pt x="549" y="3346"/>
                  </a:lnTo>
                  <a:lnTo>
                    <a:pt x="554" y="3340"/>
                  </a:lnTo>
                  <a:lnTo>
                    <a:pt x="560" y="3336"/>
                  </a:lnTo>
                  <a:lnTo>
                    <a:pt x="567" y="3335"/>
                  </a:lnTo>
                  <a:lnTo>
                    <a:pt x="574" y="3336"/>
                  </a:lnTo>
                  <a:lnTo>
                    <a:pt x="581" y="3340"/>
                  </a:lnTo>
                  <a:lnTo>
                    <a:pt x="586" y="3346"/>
                  </a:lnTo>
                  <a:lnTo>
                    <a:pt x="587" y="3354"/>
                  </a:lnTo>
                  <a:close/>
                  <a:moveTo>
                    <a:pt x="850" y="3354"/>
                  </a:moveTo>
                  <a:lnTo>
                    <a:pt x="850" y="3466"/>
                  </a:lnTo>
                  <a:lnTo>
                    <a:pt x="849" y="3475"/>
                  </a:lnTo>
                  <a:lnTo>
                    <a:pt x="844" y="3482"/>
                  </a:lnTo>
                  <a:lnTo>
                    <a:pt x="837" y="3485"/>
                  </a:lnTo>
                  <a:lnTo>
                    <a:pt x="831" y="3487"/>
                  </a:lnTo>
                  <a:lnTo>
                    <a:pt x="823" y="3485"/>
                  </a:lnTo>
                  <a:lnTo>
                    <a:pt x="817" y="3482"/>
                  </a:lnTo>
                  <a:lnTo>
                    <a:pt x="812" y="3475"/>
                  </a:lnTo>
                  <a:lnTo>
                    <a:pt x="810" y="3466"/>
                  </a:lnTo>
                  <a:lnTo>
                    <a:pt x="810" y="3354"/>
                  </a:lnTo>
                  <a:lnTo>
                    <a:pt x="812" y="3346"/>
                  </a:lnTo>
                  <a:lnTo>
                    <a:pt x="817" y="3340"/>
                  </a:lnTo>
                  <a:lnTo>
                    <a:pt x="823" y="3336"/>
                  </a:lnTo>
                  <a:lnTo>
                    <a:pt x="831" y="3335"/>
                  </a:lnTo>
                  <a:lnTo>
                    <a:pt x="837" y="3336"/>
                  </a:lnTo>
                  <a:lnTo>
                    <a:pt x="844" y="3340"/>
                  </a:lnTo>
                  <a:lnTo>
                    <a:pt x="849" y="3346"/>
                  </a:lnTo>
                  <a:lnTo>
                    <a:pt x="850" y="3354"/>
                  </a:lnTo>
                  <a:close/>
                  <a:moveTo>
                    <a:pt x="1113" y="3354"/>
                  </a:moveTo>
                  <a:lnTo>
                    <a:pt x="1113" y="3466"/>
                  </a:lnTo>
                  <a:lnTo>
                    <a:pt x="1112" y="3475"/>
                  </a:lnTo>
                  <a:lnTo>
                    <a:pt x="1107" y="3482"/>
                  </a:lnTo>
                  <a:lnTo>
                    <a:pt x="1100" y="3485"/>
                  </a:lnTo>
                  <a:lnTo>
                    <a:pt x="1094" y="3487"/>
                  </a:lnTo>
                  <a:lnTo>
                    <a:pt x="1086" y="3485"/>
                  </a:lnTo>
                  <a:lnTo>
                    <a:pt x="1080" y="3482"/>
                  </a:lnTo>
                  <a:lnTo>
                    <a:pt x="1076" y="3475"/>
                  </a:lnTo>
                  <a:lnTo>
                    <a:pt x="1073" y="3466"/>
                  </a:lnTo>
                  <a:lnTo>
                    <a:pt x="1073" y="3354"/>
                  </a:lnTo>
                  <a:lnTo>
                    <a:pt x="1076" y="3346"/>
                  </a:lnTo>
                  <a:lnTo>
                    <a:pt x="1080" y="3340"/>
                  </a:lnTo>
                  <a:lnTo>
                    <a:pt x="1086" y="3336"/>
                  </a:lnTo>
                  <a:lnTo>
                    <a:pt x="1094" y="3335"/>
                  </a:lnTo>
                  <a:lnTo>
                    <a:pt x="1100" y="3336"/>
                  </a:lnTo>
                  <a:lnTo>
                    <a:pt x="1107" y="3340"/>
                  </a:lnTo>
                  <a:lnTo>
                    <a:pt x="1112" y="3346"/>
                  </a:lnTo>
                  <a:lnTo>
                    <a:pt x="1113" y="3354"/>
                  </a:lnTo>
                  <a:close/>
                  <a:moveTo>
                    <a:pt x="1377" y="3354"/>
                  </a:moveTo>
                  <a:lnTo>
                    <a:pt x="1377" y="3466"/>
                  </a:lnTo>
                  <a:lnTo>
                    <a:pt x="1375" y="3475"/>
                  </a:lnTo>
                  <a:lnTo>
                    <a:pt x="1371" y="3482"/>
                  </a:lnTo>
                  <a:lnTo>
                    <a:pt x="1364" y="3485"/>
                  </a:lnTo>
                  <a:lnTo>
                    <a:pt x="1357" y="3487"/>
                  </a:lnTo>
                  <a:lnTo>
                    <a:pt x="1349" y="3485"/>
                  </a:lnTo>
                  <a:lnTo>
                    <a:pt x="1343" y="3482"/>
                  </a:lnTo>
                  <a:lnTo>
                    <a:pt x="1339" y="3475"/>
                  </a:lnTo>
                  <a:lnTo>
                    <a:pt x="1336" y="3466"/>
                  </a:lnTo>
                  <a:lnTo>
                    <a:pt x="1336" y="3354"/>
                  </a:lnTo>
                  <a:lnTo>
                    <a:pt x="1339" y="3346"/>
                  </a:lnTo>
                  <a:lnTo>
                    <a:pt x="1343" y="3340"/>
                  </a:lnTo>
                  <a:lnTo>
                    <a:pt x="1349" y="3336"/>
                  </a:lnTo>
                  <a:lnTo>
                    <a:pt x="1357" y="3335"/>
                  </a:lnTo>
                  <a:lnTo>
                    <a:pt x="1364" y="3336"/>
                  </a:lnTo>
                  <a:lnTo>
                    <a:pt x="1371" y="3340"/>
                  </a:lnTo>
                  <a:lnTo>
                    <a:pt x="1375" y="3346"/>
                  </a:lnTo>
                  <a:lnTo>
                    <a:pt x="1377" y="3354"/>
                  </a:lnTo>
                  <a:close/>
                  <a:moveTo>
                    <a:pt x="1640" y="3354"/>
                  </a:moveTo>
                  <a:lnTo>
                    <a:pt x="1640" y="3466"/>
                  </a:lnTo>
                  <a:lnTo>
                    <a:pt x="1637" y="3475"/>
                  </a:lnTo>
                  <a:lnTo>
                    <a:pt x="1634" y="3482"/>
                  </a:lnTo>
                  <a:lnTo>
                    <a:pt x="1627" y="3485"/>
                  </a:lnTo>
                  <a:lnTo>
                    <a:pt x="1620" y="3487"/>
                  </a:lnTo>
                  <a:lnTo>
                    <a:pt x="1612" y="3485"/>
                  </a:lnTo>
                  <a:lnTo>
                    <a:pt x="1605" y="3482"/>
                  </a:lnTo>
                  <a:lnTo>
                    <a:pt x="1602" y="3475"/>
                  </a:lnTo>
                  <a:lnTo>
                    <a:pt x="1600" y="3466"/>
                  </a:lnTo>
                  <a:lnTo>
                    <a:pt x="1600" y="3354"/>
                  </a:lnTo>
                  <a:lnTo>
                    <a:pt x="1602" y="3346"/>
                  </a:lnTo>
                  <a:lnTo>
                    <a:pt x="1605" y="3340"/>
                  </a:lnTo>
                  <a:lnTo>
                    <a:pt x="1612" y="3336"/>
                  </a:lnTo>
                  <a:lnTo>
                    <a:pt x="1620" y="3335"/>
                  </a:lnTo>
                  <a:lnTo>
                    <a:pt x="1627" y="3336"/>
                  </a:lnTo>
                  <a:lnTo>
                    <a:pt x="1634" y="3340"/>
                  </a:lnTo>
                  <a:lnTo>
                    <a:pt x="1637" y="3346"/>
                  </a:lnTo>
                  <a:lnTo>
                    <a:pt x="1640" y="3354"/>
                  </a:lnTo>
                  <a:close/>
                  <a:moveTo>
                    <a:pt x="1903" y="3354"/>
                  </a:moveTo>
                  <a:lnTo>
                    <a:pt x="1903" y="3466"/>
                  </a:lnTo>
                  <a:lnTo>
                    <a:pt x="1902" y="3475"/>
                  </a:lnTo>
                  <a:lnTo>
                    <a:pt x="1896" y="3482"/>
                  </a:lnTo>
                  <a:lnTo>
                    <a:pt x="1890" y="3485"/>
                  </a:lnTo>
                  <a:lnTo>
                    <a:pt x="1882" y="3487"/>
                  </a:lnTo>
                  <a:lnTo>
                    <a:pt x="1876" y="3485"/>
                  </a:lnTo>
                  <a:lnTo>
                    <a:pt x="1870" y="3482"/>
                  </a:lnTo>
                  <a:lnTo>
                    <a:pt x="1864" y="3475"/>
                  </a:lnTo>
                  <a:lnTo>
                    <a:pt x="1863" y="3466"/>
                  </a:lnTo>
                  <a:lnTo>
                    <a:pt x="1863" y="3354"/>
                  </a:lnTo>
                  <a:lnTo>
                    <a:pt x="1864" y="3346"/>
                  </a:lnTo>
                  <a:lnTo>
                    <a:pt x="1870" y="3340"/>
                  </a:lnTo>
                  <a:lnTo>
                    <a:pt x="1876" y="3336"/>
                  </a:lnTo>
                  <a:lnTo>
                    <a:pt x="1882" y="3335"/>
                  </a:lnTo>
                  <a:lnTo>
                    <a:pt x="1890" y="3336"/>
                  </a:lnTo>
                  <a:lnTo>
                    <a:pt x="1896" y="3340"/>
                  </a:lnTo>
                  <a:lnTo>
                    <a:pt x="1902" y="3346"/>
                  </a:lnTo>
                  <a:lnTo>
                    <a:pt x="1903" y="3354"/>
                  </a:lnTo>
                  <a:close/>
                  <a:moveTo>
                    <a:pt x="587" y="3589"/>
                  </a:moveTo>
                  <a:lnTo>
                    <a:pt x="587" y="3702"/>
                  </a:lnTo>
                  <a:lnTo>
                    <a:pt x="586" y="3710"/>
                  </a:lnTo>
                  <a:lnTo>
                    <a:pt x="581" y="3717"/>
                  </a:lnTo>
                  <a:lnTo>
                    <a:pt x="574" y="3721"/>
                  </a:lnTo>
                  <a:lnTo>
                    <a:pt x="567" y="3722"/>
                  </a:lnTo>
                  <a:lnTo>
                    <a:pt x="560" y="3721"/>
                  </a:lnTo>
                  <a:lnTo>
                    <a:pt x="554" y="3717"/>
                  </a:lnTo>
                  <a:lnTo>
                    <a:pt x="549" y="3710"/>
                  </a:lnTo>
                  <a:lnTo>
                    <a:pt x="548" y="3702"/>
                  </a:lnTo>
                  <a:lnTo>
                    <a:pt x="548" y="3589"/>
                  </a:lnTo>
                  <a:lnTo>
                    <a:pt x="549" y="3581"/>
                  </a:lnTo>
                  <a:lnTo>
                    <a:pt x="554" y="3575"/>
                  </a:lnTo>
                  <a:lnTo>
                    <a:pt x="560" y="3571"/>
                  </a:lnTo>
                  <a:lnTo>
                    <a:pt x="567" y="3570"/>
                  </a:lnTo>
                  <a:lnTo>
                    <a:pt x="574" y="3571"/>
                  </a:lnTo>
                  <a:lnTo>
                    <a:pt x="581" y="3575"/>
                  </a:lnTo>
                  <a:lnTo>
                    <a:pt x="586" y="3581"/>
                  </a:lnTo>
                  <a:lnTo>
                    <a:pt x="587" y="3589"/>
                  </a:lnTo>
                  <a:close/>
                  <a:moveTo>
                    <a:pt x="850" y="3589"/>
                  </a:moveTo>
                  <a:lnTo>
                    <a:pt x="850" y="3702"/>
                  </a:lnTo>
                  <a:lnTo>
                    <a:pt x="849" y="3710"/>
                  </a:lnTo>
                  <a:lnTo>
                    <a:pt x="844" y="3717"/>
                  </a:lnTo>
                  <a:lnTo>
                    <a:pt x="837" y="3721"/>
                  </a:lnTo>
                  <a:lnTo>
                    <a:pt x="831" y="3722"/>
                  </a:lnTo>
                  <a:lnTo>
                    <a:pt x="823" y="3721"/>
                  </a:lnTo>
                  <a:lnTo>
                    <a:pt x="817" y="3717"/>
                  </a:lnTo>
                  <a:lnTo>
                    <a:pt x="812" y="3710"/>
                  </a:lnTo>
                  <a:lnTo>
                    <a:pt x="810" y="3702"/>
                  </a:lnTo>
                  <a:lnTo>
                    <a:pt x="810" y="3589"/>
                  </a:lnTo>
                  <a:lnTo>
                    <a:pt x="812" y="3581"/>
                  </a:lnTo>
                  <a:lnTo>
                    <a:pt x="817" y="3575"/>
                  </a:lnTo>
                  <a:lnTo>
                    <a:pt x="823" y="3571"/>
                  </a:lnTo>
                  <a:lnTo>
                    <a:pt x="831" y="3570"/>
                  </a:lnTo>
                  <a:lnTo>
                    <a:pt x="837" y="3571"/>
                  </a:lnTo>
                  <a:lnTo>
                    <a:pt x="844" y="3575"/>
                  </a:lnTo>
                  <a:lnTo>
                    <a:pt x="849" y="3581"/>
                  </a:lnTo>
                  <a:lnTo>
                    <a:pt x="850" y="3589"/>
                  </a:lnTo>
                  <a:close/>
                  <a:moveTo>
                    <a:pt x="1113" y="3589"/>
                  </a:moveTo>
                  <a:lnTo>
                    <a:pt x="1113" y="3702"/>
                  </a:lnTo>
                  <a:lnTo>
                    <a:pt x="1112" y="3710"/>
                  </a:lnTo>
                  <a:lnTo>
                    <a:pt x="1107" y="3717"/>
                  </a:lnTo>
                  <a:lnTo>
                    <a:pt x="1100" y="3721"/>
                  </a:lnTo>
                  <a:lnTo>
                    <a:pt x="1094" y="3722"/>
                  </a:lnTo>
                  <a:lnTo>
                    <a:pt x="1086" y="3721"/>
                  </a:lnTo>
                  <a:lnTo>
                    <a:pt x="1080" y="3717"/>
                  </a:lnTo>
                  <a:lnTo>
                    <a:pt x="1076" y="3710"/>
                  </a:lnTo>
                  <a:lnTo>
                    <a:pt x="1073" y="3702"/>
                  </a:lnTo>
                  <a:lnTo>
                    <a:pt x="1073" y="3589"/>
                  </a:lnTo>
                  <a:lnTo>
                    <a:pt x="1076" y="3581"/>
                  </a:lnTo>
                  <a:lnTo>
                    <a:pt x="1080" y="3575"/>
                  </a:lnTo>
                  <a:lnTo>
                    <a:pt x="1086" y="3571"/>
                  </a:lnTo>
                  <a:lnTo>
                    <a:pt x="1094" y="3570"/>
                  </a:lnTo>
                  <a:lnTo>
                    <a:pt x="1100" y="3571"/>
                  </a:lnTo>
                  <a:lnTo>
                    <a:pt x="1107" y="3575"/>
                  </a:lnTo>
                  <a:lnTo>
                    <a:pt x="1112" y="3581"/>
                  </a:lnTo>
                  <a:lnTo>
                    <a:pt x="1113" y="3589"/>
                  </a:lnTo>
                  <a:close/>
                  <a:moveTo>
                    <a:pt x="1377" y="3589"/>
                  </a:moveTo>
                  <a:lnTo>
                    <a:pt x="1377" y="3702"/>
                  </a:lnTo>
                  <a:lnTo>
                    <a:pt x="1375" y="3710"/>
                  </a:lnTo>
                  <a:lnTo>
                    <a:pt x="1371" y="3717"/>
                  </a:lnTo>
                  <a:lnTo>
                    <a:pt x="1364" y="3721"/>
                  </a:lnTo>
                  <a:lnTo>
                    <a:pt x="1357" y="3722"/>
                  </a:lnTo>
                  <a:lnTo>
                    <a:pt x="1349" y="3721"/>
                  </a:lnTo>
                  <a:lnTo>
                    <a:pt x="1343" y="3717"/>
                  </a:lnTo>
                  <a:lnTo>
                    <a:pt x="1339" y="3710"/>
                  </a:lnTo>
                  <a:lnTo>
                    <a:pt x="1336" y="3702"/>
                  </a:lnTo>
                  <a:lnTo>
                    <a:pt x="1336" y="3589"/>
                  </a:lnTo>
                  <a:lnTo>
                    <a:pt x="1339" y="3581"/>
                  </a:lnTo>
                  <a:lnTo>
                    <a:pt x="1343" y="3575"/>
                  </a:lnTo>
                  <a:lnTo>
                    <a:pt x="1349" y="3571"/>
                  </a:lnTo>
                  <a:lnTo>
                    <a:pt x="1357" y="3570"/>
                  </a:lnTo>
                  <a:lnTo>
                    <a:pt x="1364" y="3571"/>
                  </a:lnTo>
                  <a:lnTo>
                    <a:pt x="1371" y="3575"/>
                  </a:lnTo>
                  <a:lnTo>
                    <a:pt x="1375" y="3581"/>
                  </a:lnTo>
                  <a:lnTo>
                    <a:pt x="1377" y="3589"/>
                  </a:lnTo>
                  <a:close/>
                  <a:moveTo>
                    <a:pt x="1640" y="3589"/>
                  </a:moveTo>
                  <a:lnTo>
                    <a:pt x="1640" y="3702"/>
                  </a:lnTo>
                  <a:lnTo>
                    <a:pt x="1637" y="3710"/>
                  </a:lnTo>
                  <a:lnTo>
                    <a:pt x="1634" y="3717"/>
                  </a:lnTo>
                  <a:lnTo>
                    <a:pt x="1627" y="3721"/>
                  </a:lnTo>
                  <a:lnTo>
                    <a:pt x="1620" y="3722"/>
                  </a:lnTo>
                  <a:lnTo>
                    <a:pt x="1612" y="3721"/>
                  </a:lnTo>
                  <a:lnTo>
                    <a:pt x="1605" y="3717"/>
                  </a:lnTo>
                  <a:lnTo>
                    <a:pt x="1602" y="3710"/>
                  </a:lnTo>
                  <a:lnTo>
                    <a:pt x="1600" y="3702"/>
                  </a:lnTo>
                  <a:lnTo>
                    <a:pt x="1600" y="3589"/>
                  </a:lnTo>
                  <a:lnTo>
                    <a:pt x="1602" y="3581"/>
                  </a:lnTo>
                  <a:lnTo>
                    <a:pt x="1605" y="3575"/>
                  </a:lnTo>
                  <a:lnTo>
                    <a:pt x="1612" y="3571"/>
                  </a:lnTo>
                  <a:lnTo>
                    <a:pt x="1620" y="3570"/>
                  </a:lnTo>
                  <a:lnTo>
                    <a:pt x="1627" y="3571"/>
                  </a:lnTo>
                  <a:lnTo>
                    <a:pt x="1634" y="3575"/>
                  </a:lnTo>
                  <a:lnTo>
                    <a:pt x="1637" y="3581"/>
                  </a:lnTo>
                  <a:lnTo>
                    <a:pt x="1640" y="3589"/>
                  </a:lnTo>
                  <a:close/>
                  <a:moveTo>
                    <a:pt x="1903" y="3589"/>
                  </a:moveTo>
                  <a:lnTo>
                    <a:pt x="1903" y="3702"/>
                  </a:lnTo>
                  <a:lnTo>
                    <a:pt x="1902" y="3710"/>
                  </a:lnTo>
                  <a:lnTo>
                    <a:pt x="1896" y="3717"/>
                  </a:lnTo>
                  <a:lnTo>
                    <a:pt x="1890" y="3721"/>
                  </a:lnTo>
                  <a:lnTo>
                    <a:pt x="1882" y="3722"/>
                  </a:lnTo>
                  <a:lnTo>
                    <a:pt x="1876" y="3721"/>
                  </a:lnTo>
                  <a:lnTo>
                    <a:pt x="1870" y="3717"/>
                  </a:lnTo>
                  <a:lnTo>
                    <a:pt x="1864" y="3710"/>
                  </a:lnTo>
                  <a:lnTo>
                    <a:pt x="1863" y="3702"/>
                  </a:lnTo>
                  <a:lnTo>
                    <a:pt x="1863" y="3589"/>
                  </a:lnTo>
                  <a:lnTo>
                    <a:pt x="1864" y="3581"/>
                  </a:lnTo>
                  <a:lnTo>
                    <a:pt x="1870" y="3575"/>
                  </a:lnTo>
                  <a:lnTo>
                    <a:pt x="1876" y="3571"/>
                  </a:lnTo>
                  <a:lnTo>
                    <a:pt x="1882" y="3570"/>
                  </a:lnTo>
                  <a:lnTo>
                    <a:pt x="1890" y="3571"/>
                  </a:lnTo>
                  <a:lnTo>
                    <a:pt x="1896" y="3575"/>
                  </a:lnTo>
                  <a:lnTo>
                    <a:pt x="1902" y="3581"/>
                  </a:lnTo>
                  <a:lnTo>
                    <a:pt x="1903" y="3589"/>
                  </a:lnTo>
                  <a:close/>
                  <a:moveTo>
                    <a:pt x="587" y="3824"/>
                  </a:moveTo>
                  <a:lnTo>
                    <a:pt x="587" y="3937"/>
                  </a:lnTo>
                  <a:lnTo>
                    <a:pt x="586" y="3946"/>
                  </a:lnTo>
                  <a:lnTo>
                    <a:pt x="581" y="3952"/>
                  </a:lnTo>
                  <a:lnTo>
                    <a:pt x="574" y="3956"/>
                  </a:lnTo>
                  <a:lnTo>
                    <a:pt x="567" y="3957"/>
                  </a:lnTo>
                  <a:lnTo>
                    <a:pt x="560" y="3956"/>
                  </a:lnTo>
                  <a:lnTo>
                    <a:pt x="554" y="3952"/>
                  </a:lnTo>
                  <a:lnTo>
                    <a:pt x="549" y="3946"/>
                  </a:lnTo>
                  <a:lnTo>
                    <a:pt x="548" y="3937"/>
                  </a:lnTo>
                  <a:lnTo>
                    <a:pt x="548" y="3824"/>
                  </a:lnTo>
                  <a:lnTo>
                    <a:pt x="549" y="3817"/>
                  </a:lnTo>
                  <a:lnTo>
                    <a:pt x="554" y="3810"/>
                  </a:lnTo>
                  <a:lnTo>
                    <a:pt x="560" y="3806"/>
                  </a:lnTo>
                  <a:lnTo>
                    <a:pt x="567" y="3805"/>
                  </a:lnTo>
                  <a:lnTo>
                    <a:pt x="574" y="3806"/>
                  </a:lnTo>
                  <a:lnTo>
                    <a:pt x="581" y="3810"/>
                  </a:lnTo>
                  <a:lnTo>
                    <a:pt x="586" y="3817"/>
                  </a:lnTo>
                  <a:lnTo>
                    <a:pt x="587" y="3824"/>
                  </a:lnTo>
                  <a:close/>
                  <a:moveTo>
                    <a:pt x="850" y="3824"/>
                  </a:moveTo>
                  <a:lnTo>
                    <a:pt x="850" y="3937"/>
                  </a:lnTo>
                  <a:lnTo>
                    <a:pt x="849" y="3946"/>
                  </a:lnTo>
                  <a:lnTo>
                    <a:pt x="844" y="3952"/>
                  </a:lnTo>
                  <a:lnTo>
                    <a:pt x="837" y="3956"/>
                  </a:lnTo>
                  <a:lnTo>
                    <a:pt x="831" y="3957"/>
                  </a:lnTo>
                  <a:lnTo>
                    <a:pt x="823" y="3956"/>
                  </a:lnTo>
                  <a:lnTo>
                    <a:pt x="817" y="3952"/>
                  </a:lnTo>
                  <a:lnTo>
                    <a:pt x="812" y="3946"/>
                  </a:lnTo>
                  <a:lnTo>
                    <a:pt x="810" y="3937"/>
                  </a:lnTo>
                  <a:lnTo>
                    <a:pt x="810" y="3824"/>
                  </a:lnTo>
                  <a:lnTo>
                    <a:pt x="812" y="3817"/>
                  </a:lnTo>
                  <a:lnTo>
                    <a:pt x="817" y="3810"/>
                  </a:lnTo>
                  <a:lnTo>
                    <a:pt x="823" y="3806"/>
                  </a:lnTo>
                  <a:lnTo>
                    <a:pt x="831" y="3805"/>
                  </a:lnTo>
                  <a:lnTo>
                    <a:pt x="837" y="3806"/>
                  </a:lnTo>
                  <a:lnTo>
                    <a:pt x="844" y="3810"/>
                  </a:lnTo>
                  <a:lnTo>
                    <a:pt x="849" y="3817"/>
                  </a:lnTo>
                  <a:lnTo>
                    <a:pt x="850" y="3824"/>
                  </a:lnTo>
                  <a:close/>
                  <a:moveTo>
                    <a:pt x="1113" y="3824"/>
                  </a:moveTo>
                  <a:lnTo>
                    <a:pt x="1113" y="3937"/>
                  </a:lnTo>
                  <a:lnTo>
                    <a:pt x="1112" y="3946"/>
                  </a:lnTo>
                  <a:lnTo>
                    <a:pt x="1107" y="3952"/>
                  </a:lnTo>
                  <a:lnTo>
                    <a:pt x="1100" y="3956"/>
                  </a:lnTo>
                  <a:lnTo>
                    <a:pt x="1094" y="3957"/>
                  </a:lnTo>
                  <a:lnTo>
                    <a:pt x="1086" y="3956"/>
                  </a:lnTo>
                  <a:lnTo>
                    <a:pt x="1080" y="3952"/>
                  </a:lnTo>
                  <a:lnTo>
                    <a:pt x="1076" y="3946"/>
                  </a:lnTo>
                  <a:lnTo>
                    <a:pt x="1073" y="3937"/>
                  </a:lnTo>
                  <a:lnTo>
                    <a:pt x="1073" y="3824"/>
                  </a:lnTo>
                  <a:lnTo>
                    <a:pt x="1076" y="3817"/>
                  </a:lnTo>
                  <a:lnTo>
                    <a:pt x="1080" y="3810"/>
                  </a:lnTo>
                  <a:lnTo>
                    <a:pt x="1086" y="3806"/>
                  </a:lnTo>
                  <a:lnTo>
                    <a:pt x="1094" y="3805"/>
                  </a:lnTo>
                  <a:lnTo>
                    <a:pt x="1100" y="3806"/>
                  </a:lnTo>
                  <a:lnTo>
                    <a:pt x="1107" y="3810"/>
                  </a:lnTo>
                  <a:lnTo>
                    <a:pt x="1112" y="3817"/>
                  </a:lnTo>
                  <a:lnTo>
                    <a:pt x="1113" y="3824"/>
                  </a:lnTo>
                  <a:close/>
                  <a:moveTo>
                    <a:pt x="1377" y="3824"/>
                  </a:moveTo>
                  <a:lnTo>
                    <a:pt x="1377" y="3937"/>
                  </a:lnTo>
                  <a:lnTo>
                    <a:pt x="1375" y="3946"/>
                  </a:lnTo>
                  <a:lnTo>
                    <a:pt x="1371" y="3952"/>
                  </a:lnTo>
                  <a:lnTo>
                    <a:pt x="1364" y="3956"/>
                  </a:lnTo>
                  <a:lnTo>
                    <a:pt x="1357" y="3957"/>
                  </a:lnTo>
                  <a:lnTo>
                    <a:pt x="1349" y="3956"/>
                  </a:lnTo>
                  <a:lnTo>
                    <a:pt x="1343" y="3952"/>
                  </a:lnTo>
                  <a:lnTo>
                    <a:pt x="1339" y="3946"/>
                  </a:lnTo>
                  <a:lnTo>
                    <a:pt x="1336" y="3937"/>
                  </a:lnTo>
                  <a:lnTo>
                    <a:pt x="1336" y="3824"/>
                  </a:lnTo>
                  <a:lnTo>
                    <a:pt x="1339" y="3817"/>
                  </a:lnTo>
                  <a:lnTo>
                    <a:pt x="1343" y="3810"/>
                  </a:lnTo>
                  <a:lnTo>
                    <a:pt x="1349" y="3806"/>
                  </a:lnTo>
                  <a:lnTo>
                    <a:pt x="1357" y="3805"/>
                  </a:lnTo>
                  <a:lnTo>
                    <a:pt x="1364" y="3806"/>
                  </a:lnTo>
                  <a:lnTo>
                    <a:pt x="1371" y="3810"/>
                  </a:lnTo>
                  <a:lnTo>
                    <a:pt x="1375" y="3817"/>
                  </a:lnTo>
                  <a:lnTo>
                    <a:pt x="1377" y="3824"/>
                  </a:lnTo>
                  <a:close/>
                  <a:moveTo>
                    <a:pt x="1640" y="3824"/>
                  </a:moveTo>
                  <a:lnTo>
                    <a:pt x="1640" y="3937"/>
                  </a:lnTo>
                  <a:lnTo>
                    <a:pt x="1637" y="3946"/>
                  </a:lnTo>
                  <a:lnTo>
                    <a:pt x="1634" y="3952"/>
                  </a:lnTo>
                  <a:lnTo>
                    <a:pt x="1627" y="3956"/>
                  </a:lnTo>
                  <a:lnTo>
                    <a:pt x="1620" y="3957"/>
                  </a:lnTo>
                  <a:lnTo>
                    <a:pt x="1612" y="3956"/>
                  </a:lnTo>
                  <a:lnTo>
                    <a:pt x="1605" y="3952"/>
                  </a:lnTo>
                  <a:lnTo>
                    <a:pt x="1602" y="3946"/>
                  </a:lnTo>
                  <a:lnTo>
                    <a:pt x="1600" y="3937"/>
                  </a:lnTo>
                  <a:lnTo>
                    <a:pt x="1600" y="3824"/>
                  </a:lnTo>
                  <a:lnTo>
                    <a:pt x="1602" y="3817"/>
                  </a:lnTo>
                  <a:lnTo>
                    <a:pt x="1605" y="3810"/>
                  </a:lnTo>
                  <a:lnTo>
                    <a:pt x="1612" y="3806"/>
                  </a:lnTo>
                  <a:lnTo>
                    <a:pt x="1620" y="3805"/>
                  </a:lnTo>
                  <a:lnTo>
                    <a:pt x="1627" y="3806"/>
                  </a:lnTo>
                  <a:lnTo>
                    <a:pt x="1634" y="3810"/>
                  </a:lnTo>
                  <a:lnTo>
                    <a:pt x="1637" y="3817"/>
                  </a:lnTo>
                  <a:lnTo>
                    <a:pt x="1640" y="3824"/>
                  </a:lnTo>
                  <a:close/>
                  <a:moveTo>
                    <a:pt x="2829" y="4093"/>
                  </a:moveTo>
                  <a:lnTo>
                    <a:pt x="2829" y="4085"/>
                  </a:lnTo>
                  <a:lnTo>
                    <a:pt x="2829" y="4093"/>
                  </a:lnTo>
                  <a:close/>
                  <a:moveTo>
                    <a:pt x="0" y="915"/>
                  </a:moveTo>
                  <a:lnTo>
                    <a:pt x="492" y="915"/>
                  </a:lnTo>
                  <a:lnTo>
                    <a:pt x="500" y="917"/>
                  </a:lnTo>
                  <a:lnTo>
                    <a:pt x="507" y="922"/>
                  </a:lnTo>
                  <a:lnTo>
                    <a:pt x="512" y="928"/>
                  </a:lnTo>
                  <a:lnTo>
                    <a:pt x="513" y="936"/>
                  </a:lnTo>
                  <a:lnTo>
                    <a:pt x="513" y="1633"/>
                  </a:lnTo>
                  <a:lnTo>
                    <a:pt x="513" y="2329"/>
                  </a:lnTo>
                  <a:lnTo>
                    <a:pt x="512" y="2338"/>
                  </a:lnTo>
                  <a:lnTo>
                    <a:pt x="507" y="2345"/>
                  </a:lnTo>
                  <a:lnTo>
                    <a:pt x="500" y="2349"/>
                  </a:lnTo>
                  <a:lnTo>
                    <a:pt x="492" y="2350"/>
                  </a:lnTo>
                  <a:lnTo>
                    <a:pt x="486" y="2349"/>
                  </a:lnTo>
                  <a:lnTo>
                    <a:pt x="480" y="2345"/>
                  </a:lnTo>
                  <a:lnTo>
                    <a:pt x="474" y="2338"/>
                  </a:lnTo>
                  <a:lnTo>
                    <a:pt x="473" y="2329"/>
                  </a:lnTo>
                  <a:lnTo>
                    <a:pt x="473" y="1642"/>
                  </a:lnTo>
                  <a:lnTo>
                    <a:pt x="473" y="955"/>
                  </a:lnTo>
                  <a:lnTo>
                    <a:pt x="0" y="955"/>
                  </a:lnTo>
                  <a:lnTo>
                    <a:pt x="0" y="915"/>
                  </a:lnTo>
                  <a:close/>
                  <a:moveTo>
                    <a:pt x="190" y="1345"/>
                  </a:moveTo>
                  <a:lnTo>
                    <a:pt x="190" y="1450"/>
                  </a:lnTo>
                  <a:lnTo>
                    <a:pt x="188" y="1457"/>
                  </a:lnTo>
                  <a:lnTo>
                    <a:pt x="183" y="1464"/>
                  </a:lnTo>
                  <a:lnTo>
                    <a:pt x="177" y="1468"/>
                  </a:lnTo>
                  <a:lnTo>
                    <a:pt x="171" y="1469"/>
                  </a:lnTo>
                  <a:lnTo>
                    <a:pt x="163" y="1468"/>
                  </a:lnTo>
                  <a:lnTo>
                    <a:pt x="156" y="1464"/>
                  </a:lnTo>
                  <a:lnTo>
                    <a:pt x="151" y="1457"/>
                  </a:lnTo>
                  <a:lnTo>
                    <a:pt x="150" y="1450"/>
                  </a:lnTo>
                  <a:lnTo>
                    <a:pt x="150" y="1345"/>
                  </a:lnTo>
                  <a:lnTo>
                    <a:pt x="151" y="1337"/>
                  </a:lnTo>
                  <a:lnTo>
                    <a:pt x="156" y="1331"/>
                  </a:lnTo>
                  <a:lnTo>
                    <a:pt x="163" y="1327"/>
                  </a:lnTo>
                  <a:lnTo>
                    <a:pt x="171" y="1326"/>
                  </a:lnTo>
                  <a:lnTo>
                    <a:pt x="177" y="1327"/>
                  </a:lnTo>
                  <a:lnTo>
                    <a:pt x="183" y="1331"/>
                  </a:lnTo>
                  <a:lnTo>
                    <a:pt x="188" y="1337"/>
                  </a:lnTo>
                  <a:lnTo>
                    <a:pt x="190" y="1345"/>
                  </a:lnTo>
                  <a:close/>
                  <a:moveTo>
                    <a:pt x="190" y="1576"/>
                  </a:moveTo>
                  <a:lnTo>
                    <a:pt x="190" y="1680"/>
                  </a:lnTo>
                  <a:lnTo>
                    <a:pt x="188" y="1689"/>
                  </a:lnTo>
                  <a:lnTo>
                    <a:pt x="183" y="1695"/>
                  </a:lnTo>
                  <a:lnTo>
                    <a:pt x="177" y="1699"/>
                  </a:lnTo>
                  <a:lnTo>
                    <a:pt x="171" y="1700"/>
                  </a:lnTo>
                  <a:lnTo>
                    <a:pt x="163" y="1699"/>
                  </a:lnTo>
                  <a:lnTo>
                    <a:pt x="156" y="1695"/>
                  </a:lnTo>
                  <a:lnTo>
                    <a:pt x="151" y="1689"/>
                  </a:lnTo>
                  <a:lnTo>
                    <a:pt x="150" y="1680"/>
                  </a:lnTo>
                  <a:lnTo>
                    <a:pt x="150" y="1576"/>
                  </a:lnTo>
                  <a:lnTo>
                    <a:pt x="151" y="1567"/>
                  </a:lnTo>
                  <a:lnTo>
                    <a:pt x="156" y="1561"/>
                  </a:lnTo>
                  <a:lnTo>
                    <a:pt x="163" y="1558"/>
                  </a:lnTo>
                  <a:lnTo>
                    <a:pt x="171" y="1557"/>
                  </a:lnTo>
                  <a:lnTo>
                    <a:pt x="177" y="1558"/>
                  </a:lnTo>
                  <a:lnTo>
                    <a:pt x="183" y="1561"/>
                  </a:lnTo>
                  <a:lnTo>
                    <a:pt x="188" y="1567"/>
                  </a:lnTo>
                  <a:lnTo>
                    <a:pt x="190" y="1576"/>
                  </a:lnTo>
                  <a:close/>
                  <a:moveTo>
                    <a:pt x="190" y="1808"/>
                  </a:moveTo>
                  <a:lnTo>
                    <a:pt x="190" y="1911"/>
                  </a:lnTo>
                  <a:lnTo>
                    <a:pt x="188" y="1920"/>
                  </a:lnTo>
                  <a:lnTo>
                    <a:pt x="183" y="1927"/>
                  </a:lnTo>
                  <a:lnTo>
                    <a:pt x="177" y="1931"/>
                  </a:lnTo>
                  <a:lnTo>
                    <a:pt x="171" y="1932"/>
                  </a:lnTo>
                  <a:lnTo>
                    <a:pt x="163" y="1931"/>
                  </a:lnTo>
                  <a:lnTo>
                    <a:pt x="156" y="1927"/>
                  </a:lnTo>
                  <a:lnTo>
                    <a:pt x="151" y="1920"/>
                  </a:lnTo>
                  <a:lnTo>
                    <a:pt x="150" y="1911"/>
                  </a:lnTo>
                  <a:lnTo>
                    <a:pt x="150" y="1808"/>
                  </a:lnTo>
                  <a:lnTo>
                    <a:pt x="151" y="1799"/>
                  </a:lnTo>
                  <a:lnTo>
                    <a:pt x="156" y="1792"/>
                  </a:lnTo>
                  <a:lnTo>
                    <a:pt x="163" y="1789"/>
                  </a:lnTo>
                  <a:lnTo>
                    <a:pt x="171" y="1787"/>
                  </a:lnTo>
                  <a:lnTo>
                    <a:pt x="177" y="1789"/>
                  </a:lnTo>
                  <a:lnTo>
                    <a:pt x="183" y="1792"/>
                  </a:lnTo>
                  <a:lnTo>
                    <a:pt x="188" y="1799"/>
                  </a:lnTo>
                  <a:lnTo>
                    <a:pt x="190" y="1808"/>
                  </a:lnTo>
                  <a:close/>
                  <a:moveTo>
                    <a:pt x="190" y="2039"/>
                  </a:moveTo>
                  <a:lnTo>
                    <a:pt x="190" y="2143"/>
                  </a:lnTo>
                  <a:lnTo>
                    <a:pt x="188" y="2150"/>
                  </a:lnTo>
                  <a:lnTo>
                    <a:pt x="183" y="2157"/>
                  </a:lnTo>
                  <a:lnTo>
                    <a:pt x="177" y="2161"/>
                  </a:lnTo>
                  <a:lnTo>
                    <a:pt x="171" y="2162"/>
                  </a:lnTo>
                  <a:lnTo>
                    <a:pt x="163" y="2161"/>
                  </a:lnTo>
                  <a:lnTo>
                    <a:pt x="156" y="2157"/>
                  </a:lnTo>
                  <a:lnTo>
                    <a:pt x="151" y="2150"/>
                  </a:lnTo>
                  <a:lnTo>
                    <a:pt x="150" y="2143"/>
                  </a:lnTo>
                  <a:lnTo>
                    <a:pt x="150" y="2039"/>
                  </a:lnTo>
                  <a:lnTo>
                    <a:pt x="151" y="2030"/>
                  </a:lnTo>
                  <a:lnTo>
                    <a:pt x="156" y="2024"/>
                  </a:lnTo>
                  <a:lnTo>
                    <a:pt x="163" y="2020"/>
                  </a:lnTo>
                  <a:lnTo>
                    <a:pt x="171" y="2019"/>
                  </a:lnTo>
                  <a:lnTo>
                    <a:pt x="177" y="2020"/>
                  </a:lnTo>
                  <a:lnTo>
                    <a:pt x="183" y="2024"/>
                  </a:lnTo>
                  <a:lnTo>
                    <a:pt x="188" y="2030"/>
                  </a:lnTo>
                  <a:lnTo>
                    <a:pt x="190" y="2039"/>
                  </a:lnTo>
                  <a:close/>
                  <a:moveTo>
                    <a:pt x="190" y="2269"/>
                  </a:moveTo>
                  <a:lnTo>
                    <a:pt x="190" y="2373"/>
                  </a:lnTo>
                  <a:lnTo>
                    <a:pt x="188" y="2382"/>
                  </a:lnTo>
                  <a:lnTo>
                    <a:pt x="183" y="2388"/>
                  </a:lnTo>
                  <a:lnTo>
                    <a:pt x="177" y="2392"/>
                  </a:lnTo>
                  <a:lnTo>
                    <a:pt x="171" y="2393"/>
                  </a:lnTo>
                  <a:lnTo>
                    <a:pt x="163" y="2392"/>
                  </a:lnTo>
                  <a:lnTo>
                    <a:pt x="156" y="2388"/>
                  </a:lnTo>
                  <a:lnTo>
                    <a:pt x="151" y="2382"/>
                  </a:lnTo>
                  <a:lnTo>
                    <a:pt x="150" y="2373"/>
                  </a:lnTo>
                  <a:lnTo>
                    <a:pt x="150" y="2269"/>
                  </a:lnTo>
                  <a:lnTo>
                    <a:pt x="151" y="2260"/>
                  </a:lnTo>
                  <a:lnTo>
                    <a:pt x="156" y="2255"/>
                  </a:lnTo>
                  <a:lnTo>
                    <a:pt x="163" y="2251"/>
                  </a:lnTo>
                  <a:lnTo>
                    <a:pt x="171" y="2250"/>
                  </a:lnTo>
                  <a:lnTo>
                    <a:pt x="177" y="2251"/>
                  </a:lnTo>
                  <a:lnTo>
                    <a:pt x="183" y="2255"/>
                  </a:lnTo>
                  <a:lnTo>
                    <a:pt x="188" y="2260"/>
                  </a:lnTo>
                  <a:lnTo>
                    <a:pt x="190" y="2269"/>
                  </a:lnTo>
                  <a:close/>
                  <a:moveTo>
                    <a:pt x="190" y="2501"/>
                  </a:moveTo>
                  <a:lnTo>
                    <a:pt x="190" y="2604"/>
                  </a:lnTo>
                  <a:lnTo>
                    <a:pt x="188" y="2613"/>
                  </a:lnTo>
                  <a:lnTo>
                    <a:pt x="183" y="2620"/>
                  </a:lnTo>
                  <a:lnTo>
                    <a:pt x="177" y="2624"/>
                  </a:lnTo>
                  <a:lnTo>
                    <a:pt x="171" y="2625"/>
                  </a:lnTo>
                  <a:lnTo>
                    <a:pt x="163" y="2624"/>
                  </a:lnTo>
                  <a:lnTo>
                    <a:pt x="156" y="2620"/>
                  </a:lnTo>
                  <a:lnTo>
                    <a:pt x="151" y="2613"/>
                  </a:lnTo>
                  <a:lnTo>
                    <a:pt x="150" y="2604"/>
                  </a:lnTo>
                  <a:lnTo>
                    <a:pt x="150" y="2501"/>
                  </a:lnTo>
                  <a:lnTo>
                    <a:pt x="151" y="2492"/>
                  </a:lnTo>
                  <a:lnTo>
                    <a:pt x="156" y="2485"/>
                  </a:lnTo>
                  <a:lnTo>
                    <a:pt x="163" y="2482"/>
                  </a:lnTo>
                  <a:lnTo>
                    <a:pt x="171" y="2480"/>
                  </a:lnTo>
                  <a:lnTo>
                    <a:pt x="177" y="2482"/>
                  </a:lnTo>
                  <a:lnTo>
                    <a:pt x="183" y="2485"/>
                  </a:lnTo>
                  <a:lnTo>
                    <a:pt x="188" y="2492"/>
                  </a:lnTo>
                  <a:lnTo>
                    <a:pt x="190" y="2501"/>
                  </a:lnTo>
                  <a:close/>
                  <a:moveTo>
                    <a:pt x="190" y="2732"/>
                  </a:moveTo>
                  <a:lnTo>
                    <a:pt x="190" y="2836"/>
                  </a:lnTo>
                  <a:lnTo>
                    <a:pt x="188" y="2845"/>
                  </a:lnTo>
                  <a:lnTo>
                    <a:pt x="183" y="2850"/>
                  </a:lnTo>
                  <a:lnTo>
                    <a:pt x="177" y="2854"/>
                  </a:lnTo>
                  <a:lnTo>
                    <a:pt x="171" y="2855"/>
                  </a:lnTo>
                  <a:lnTo>
                    <a:pt x="163" y="2854"/>
                  </a:lnTo>
                  <a:lnTo>
                    <a:pt x="156" y="2850"/>
                  </a:lnTo>
                  <a:lnTo>
                    <a:pt x="151" y="2845"/>
                  </a:lnTo>
                  <a:lnTo>
                    <a:pt x="150" y="2836"/>
                  </a:lnTo>
                  <a:lnTo>
                    <a:pt x="150" y="2732"/>
                  </a:lnTo>
                  <a:lnTo>
                    <a:pt x="151" y="2723"/>
                  </a:lnTo>
                  <a:lnTo>
                    <a:pt x="156" y="2717"/>
                  </a:lnTo>
                  <a:lnTo>
                    <a:pt x="163" y="2713"/>
                  </a:lnTo>
                  <a:lnTo>
                    <a:pt x="171" y="2712"/>
                  </a:lnTo>
                  <a:lnTo>
                    <a:pt x="177" y="2713"/>
                  </a:lnTo>
                  <a:lnTo>
                    <a:pt x="183" y="2717"/>
                  </a:lnTo>
                  <a:lnTo>
                    <a:pt x="188" y="2723"/>
                  </a:lnTo>
                  <a:lnTo>
                    <a:pt x="190" y="2732"/>
                  </a:lnTo>
                  <a:close/>
                  <a:moveTo>
                    <a:pt x="190" y="2962"/>
                  </a:moveTo>
                  <a:lnTo>
                    <a:pt x="190" y="3066"/>
                  </a:lnTo>
                  <a:lnTo>
                    <a:pt x="188" y="3075"/>
                  </a:lnTo>
                  <a:lnTo>
                    <a:pt x="183" y="3081"/>
                  </a:lnTo>
                  <a:lnTo>
                    <a:pt x="177" y="3085"/>
                  </a:lnTo>
                  <a:lnTo>
                    <a:pt x="171" y="3086"/>
                  </a:lnTo>
                  <a:lnTo>
                    <a:pt x="163" y="3085"/>
                  </a:lnTo>
                  <a:lnTo>
                    <a:pt x="156" y="3081"/>
                  </a:lnTo>
                  <a:lnTo>
                    <a:pt x="151" y="3075"/>
                  </a:lnTo>
                  <a:lnTo>
                    <a:pt x="150" y="3066"/>
                  </a:lnTo>
                  <a:lnTo>
                    <a:pt x="150" y="2962"/>
                  </a:lnTo>
                  <a:lnTo>
                    <a:pt x="151" y="2953"/>
                  </a:lnTo>
                  <a:lnTo>
                    <a:pt x="156" y="2948"/>
                  </a:lnTo>
                  <a:lnTo>
                    <a:pt x="163" y="2945"/>
                  </a:lnTo>
                  <a:lnTo>
                    <a:pt x="171" y="2943"/>
                  </a:lnTo>
                  <a:lnTo>
                    <a:pt x="177" y="2945"/>
                  </a:lnTo>
                  <a:lnTo>
                    <a:pt x="183" y="2948"/>
                  </a:lnTo>
                  <a:lnTo>
                    <a:pt x="188" y="2953"/>
                  </a:lnTo>
                  <a:lnTo>
                    <a:pt x="190" y="2962"/>
                  </a:lnTo>
                  <a:close/>
                  <a:moveTo>
                    <a:pt x="2375" y="1897"/>
                  </a:moveTo>
                  <a:lnTo>
                    <a:pt x="2375" y="2001"/>
                  </a:lnTo>
                  <a:lnTo>
                    <a:pt x="2372" y="2010"/>
                  </a:lnTo>
                  <a:lnTo>
                    <a:pt x="2368" y="2016"/>
                  </a:lnTo>
                  <a:lnTo>
                    <a:pt x="2362" y="2020"/>
                  </a:lnTo>
                  <a:lnTo>
                    <a:pt x="2354" y="2021"/>
                  </a:lnTo>
                  <a:lnTo>
                    <a:pt x="2347" y="2020"/>
                  </a:lnTo>
                  <a:lnTo>
                    <a:pt x="2340" y="2016"/>
                  </a:lnTo>
                  <a:lnTo>
                    <a:pt x="2336" y="2010"/>
                  </a:lnTo>
                  <a:lnTo>
                    <a:pt x="2334" y="2001"/>
                  </a:lnTo>
                  <a:lnTo>
                    <a:pt x="2334" y="1897"/>
                  </a:lnTo>
                  <a:lnTo>
                    <a:pt x="2336" y="1888"/>
                  </a:lnTo>
                  <a:lnTo>
                    <a:pt x="2340" y="1882"/>
                  </a:lnTo>
                  <a:lnTo>
                    <a:pt x="2347" y="1878"/>
                  </a:lnTo>
                  <a:lnTo>
                    <a:pt x="2354" y="1877"/>
                  </a:lnTo>
                  <a:lnTo>
                    <a:pt x="2362" y="1878"/>
                  </a:lnTo>
                  <a:lnTo>
                    <a:pt x="2368" y="1882"/>
                  </a:lnTo>
                  <a:lnTo>
                    <a:pt x="2372" y="1888"/>
                  </a:lnTo>
                  <a:lnTo>
                    <a:pt x="2375" y="1897"/>
                  </a:lnTo>
                  <a:close/>
                  <a:moveTo>
                    <a:pt x="2589" y="1897"/>
                  </a:moveTo>
                  <a:lnTo>
                    <a:pt x="2589" y="2001"/>
                  </a:lnTo>
                  <a:lnTo>
                    <a:pt x="2588" y="2010"/>
                  </a:lnTo>
                  <a:lnTo>
                    <a:pt x="2583" y="2016"/>
                  </a:lnTo>
                  <a:lnTo>
                    <a:pt x="2576" y="2020"/>
                  </a:lnTo>
                  <a:lnTo>
                    <a:pt x="2570" y="2021"/>
                  </a:lnTo>
                  <a:lnTo>
                    <a:pt x="2562" y="2020"/>
                  </a:lnTo>
                  <a:lnTo>
                    <a:pt x="2556" y="2016"/>
                  </a:lnTo>
                  <a:lnTo>
                    <a:pt x="2550" y="2010"/>
                  </a:lnTo>
                  <a:lnTo>
                    <a:pt x="2549" y="2001"/>
                  </a:lnTo>
                  <a:lnTo>
                    <a:pt x="2549" y="1897"/>
                  </a:lnTo>
                  <a:lnTo>
                    <a:pt x="2550" y="1888"/>
                  </a:lnTo>
                  <a:lnTo>
                    <a:pt x="2556" y="1882"/>
                  </a:lnTo>
                  <a:lnTo>
                    <a:pt x="2562" y="1878"/>
                  </a:lnTo>
                  <a:lnTo>
                    <a:pt x="2570" y="1877"/>
                  </a:lnTo>
                  <a:lnTo>
                    <a:pt x="2576" y="1878"/>
                  </a:lnTo>
                  <a:lnTo>
                    <a:pt x="2583" y="1882"/>
                  </a:lnTo>
                  <a:lnTo>
                    <a:pt x="2588" y="1888"/>
                  </a:lnTo>
                  <a:lnTo>
                    <a:pt x="2589" y="1897"/>
                  </a:lnTo>
                  <a:close/>
                  <a:moveTo>
                    <a:pt x="2804" y="1897"/>
                  </a:moveTo>
                  <a:lnTo>
                    <a:pt x="2804" y="2001"/>
                  </a:lnTo>
                  <a:lnTo>
                    <a:pt x="2803" y="2010"/>
                  </a:lnTo>
                  <a:lnTo>
                    <a:pt x="2798" y="2016"/>
                  </a:lnTo>
                  <a:lnTo>
                    <a:pt x="2792" y="2020"/>
                  </a:lnTo>
                  <a:lnTo>
                    <a:pt x="2784" y="2021"/>
                  </a:lnTo>
                  <a:lnTo>
                    <a:pt x="2777" y="2020"/>
                  </a:lnTo>
                  <a:lnTo>
                    <a:pt x="2771" y="2016"/>
                  </a:lnTo>
                  <a:lnTo>
                    <a:pt x="2766" y="2010"/>
                  </a:lnTo>
                  <a:lnTo>
                    <a:pt x="2765" y="2001"/>
                  </a:lnTo>
                  <a:lnTo>
                    <a:pt x="2765" y="1897"/>
                  </a:lnTo>
                  <a:lnTo>
                    <a:pt x="2766" y="1888"/>
                  </a:lnTo>
                  <a:lnTo>
                    <a:pt x="2771" y="1882"/>
                  </a:lnTo>
                  <a:lnTo>
                    <a:pt x="2777" y="1878"/>
                  </a:lnTo>
                  <a:lnTo>
                    <a:pt x="2784" y="1877"/>
                  </a:lnTo>
                  <a:lnTo>
                    <a:pt x="2792" y="1878"/>
                  </a:lnTo>
                  <a:lnTo>
                    <a:pt x="2798" y="1882"/>
                  </a:lnTo>
                  <a:lnTo>
                    <a:pt x="2803" y="1888"/>
                  </a:lnTo>
                  <a:lnTo>
                    <a:pt x="2804" y="1897"/>
                  </a:lnTo>
                  <a:close/>
                  <a:moveTo>
                    <a:pt x="2375" y="2245"/>
                  </a:moveTo>
                  <a:lnTo>
                    <a:pt x="2375" y="2349"/>
                  </a:lnTo>
                  <a:lnTo>
                    <a:pt x="2372" y="2358"/>
                  </a:lnTo>
                  <a:lnTo>
                    <a:pt x="2368" y="2364"/>
                  </a:lnTo>
                  <a:lnTo>
                    <a:pt x="2362" y="2368"/>
                  </a:lnTo>
                  <a:lnTo>
                    <a:pt x="2354" y="2369"/>
                  </a:lnTo>
                  <a:lnTo>
                    <a:pt x="2347" y="2368"/>
                  </a:lnTo>
                  <a:lnTo>
                    <a:pt x="2340" y="2364"/>
                  </a:lnTo>
                  <a:lnTo>
                    <a:pt x="2336" y="2358"/>
                  </a:lnTo>
                  <a:lnTo>
                    <a:pt x="2334" y="2349"/>
                  </a:lnTo>
                  <a:lnTo>
                    <a:pt x="2334" y="2245"/>
                  </a:lnTo>
                  <a:lnTo>
                    <a:pt x="2336" y="2236"/>
                  </a:lnTo>
                  <a:lnTo>
                    <a:pt x="2340" y="2230"/>
                  </a:lnTo>
                  <a:lnTo>
                    <a:pt x="2347" y="2226"/>
                  </a:lnTo>
                  <a:lnTo>
                    <a:pt x="2354" y="2225"/>
                  </a:lnTo>
                  <a:lnTo>
                    <a:pt x="2362" y="2226"/>
                  </a:lnTo>
                  <a:lnTo>
                    <a:pt x="2368" y="2230"/>
                  </a:lnTo>
                  <a:lnTo>
                    <a:pt x="2372" y="2236"/>
                  </a:lnTo>
                  <a:lnTo>
                    <a:pt x="2375" y="2245"/>
                  </a:lnTo>
                  <a:close/>
                  <a:moveTo>
                    <a:pt x="2589" y="2245"/>
                  </a:moveTo>
                  <a:lnTo>
                    <a:pt x="2589" y="2349"/>
                  </a:lnTo>
                  <a:lnTo>
                    <a:pt x="2588" y="2358"/>
                  </a:lnTo>
                  <a:lnTo>
                    <a:pt x="2583" y="2364"/>
                  </a:lnTo>
                  <a:lnTo>
                    <a:pt x="2576" y="2368"/>
                  </a:lnTo>
                  <a:lnTo>
                    <a:pt x="2570" y="2369"/>
                  </a:lnTo>
                  <a:lnTo>
                    <a:pt x="2562" y="2368"/>
                  </a:lnTo>
                  <a:lnTo>
                    <a:pt x="2556" y="2364"/>
                  </a:lnTo>
                  <a:lnTo>
                    <a:pt x="2550" y="2358"/>
                  </a:lnTo>
                  <a:lnTo>
                    <a:pt x="2549" y="2349"/>
                  </a:lnTo>
                  <a:lnTo>
                    <a:pt x="2549" y="2245"/>
                  </a:lnTo>
                  <a:lnTo>
                    <a:pt x="2550" y="2236"/>
                  </a:lnTo>
                  <a:lnTo>
                    <a:pt x="2556" y="2230"/>
                  </a:lnTo>
                  <a:lnTo>
                    <a:pt x="2562" y="2226"/>
                  </a:lnTo>
                  <a:lnTo>
                    <a:pt x="2570" y="2225"/>
                  </a:lnTo>
                  <a:lnTo>
                    <a:pt x="2576" y="2226"/>
                  </a:lnTo>
                  <a:lnTo>
                    <a:pt x="2583" y="2230"/>
                  </a:lnTo>
                  <a:lnTo>
                    <a:pt x="2588" y="2236"/>
                  </a:lnTo>
                  <a:lnTo>
                    <a:pt x="2589" y="2245"/>
                  </a:lnTo>
                  <a:close/>
                  <a:moveTo>
                    <a:pt x="2804" y="2245"/>
                  </a:moveTo>
                  <a:lnTo>
                    <a:pt x="2804" y="2349"/>
                  </a:lnTo>
                  <a:lnTo>
                    <a:pt x="2803" y="2358"/>
                  </a:lnTo>
                  <a:lnTo>
                    <a:pt x="2798" y="2364"/>
                  </a:lnTo>
                  <a:lnTo>
                    <a:pt x="2792" y="2368"/>
                  </a:lnTo>
                  <a:lnTo>
                    <a:pt x="2784" y="2369"/>
                  </a:lnTo>
                  <a:lnTo>
                    <a:pt x="2777" y="2368"/>
                  </a:lnTo>
                  <a:lnTo>
                    <a:pt x="2771" y="2364"/>
                  </a:lnTo>
                  <a:lnTo>
                    <a:pt x="2766" y="2358"/>
                  </a:lnTo>
                  <a:lnTo>
                    <a:pt x="2765" y="2349"/>
                  </a:lnTo>
                  <a:lnTo>
                    <a:pt x="2765" y="2245"/>
                  </a:lnTo>
                  <a:lnTo>
                    <a:pt x="2766" y="2236"/>
                  </a:lnTo>
                  <a:lnTo>
                    <a:pt x="2771" y="2230"/>
                  </a:lnTo>
                  <a:lnTo>
                    <a:pt x="2777" y="2226"/>
                  </a:lnTo>
                  <a:lnTo>
                    <a:pt x="2784" y="2225"/>
                  </a:lnTo>
                  <a:lnTo>
                    <a:pt x="2792" y="2226"/>
                  </a:lnTo>
                  <a:lnTo>
                    <a:pt x="2798" y="2230"/>
                  </a:lnTo>
                  <a:lnTo>
                    <a:pt x="2803" y="2236"/>
                  </a:lnTo>
                  <a:lnTo>
                    <a:pt x="2804" y="2245"/>
                  </a:lnTo>
                  <a:close/>
                  <a:moveTo>
                    <a:pt x="2375" y="2593"/>
                  </a:moveTo>
                  <a:lnTo>
                    <a:pt x="2375" y="2696"/>
                  </a:lnTo>
                  <a:lnTo>
                    <a:pt x="2372" y="2705"/>
                  </a:lnTo>
                  <a:lnTo>
                    <a:pt x="2368" y="2712"/>
                  </a:lnTo>
                  <a:lnTo>
                    <a:pt x="2362" y="2716"/>
                  </a:lnTo>
                  <a:lnTo>
                    <a:pt x="2354" y="2717"/>
                  </a:lnTo>
                  <a:lnTo>
                    <a:pt x="2347" y="2716"/>
                  </a:lnTo>
                  <a:lnTo>
                    <a:pt x="2340" y="2712"/>
                  </a:lnTo>
                  <a:lnTo>
                    <a:pt x="2336" y="2705"/>
                  </a:lnTo>
                  <a:lnTo>
                    <a:pt x="2334" y="2696"/>
                  </a:lnTo>
                  <a:lnTo>
                    <a:pt x="2334" y="2593"/>
                  </a:lnTo>
                  <a:lnTo>
                    <a:pt x="2336" y="2584"/>
                  </a:lnTo>
                  <a:lnTo>
                    <a:pt x="2340" y="2578"/>
                  </a:lnTo>
                  <a:lnTo>
                    <a:pt x="2347" y="2574"/>
                  </a:lnTo>
                  <a:lnTo>
                    <a:pt x="2354" y="2572"/>
                  </a:lnTo>
                  <a:lnTo>
                    <a:pt x="2362" y="2574"/>
                  </a:lnTo>
                  <a:lnTo>
                    <a:pt x="2368" y="2578"/>
                  </a:lnTo>
                  <a:lnTo>
                    <a:pt x="2372" y="2584"/>
                  </a:lnTo>
                  <a:lnTo>
                    <a:pt x="2375" y="2593"/>
                  </a:lnTo>
                  <a:close/>
                  <a:moveTo>
                    <a:pt x="2589" y="2593"/>
                  </a:moveTo>
                  <a:lnTo>
                    <a:pt x="2589" y="2696"/>
                  </a:lnTo>
                  <a:lnTo>
                    <a:pt x="2588" y="2705"/>
                  </a:lnTo>
                  <a:lnTo>
                    <a:pt x="2583" y="2712"/>
                  </a:lnTo>
                  <a:lnTo>
                    <a:pt x="2576" y="2716"/>
                  </a:lnTo>
                  <a:lnTo>
                    <a:pt x="2570" y="2717"/>
                  </a:lnTo>
                  <a:lnTo>
                    <a:pt x="2562" y="2716"/>
                  </a:lnTo>
                  <a:lnTo>
                    <a:pt x="2556" y="2712"/>
                  </a:lnTo>
                  <a:lnTo>
                    <a:pt x="2550" y="2705"/>
                  </a:lnTo>
                  <a:lnTo>
                    <a:pt x="2549" y="2696"/>
                  </a:lnTo>
                  <a:lnTo>
                    <a:pt x="2549" y="2593"/>
                  </a:lnTo>
                  <a:lnTo>
                    <a:pt x="2550" y="2584"/>
                  </a:lnTo>
                  <a:lnTo>
                    <a:pt x="2556" y="2578"/>
                  </a:lnTo>
                  <a:lnTo>
                    <a:pt x="2562" y="2574"/>
                  </a:lnTo>
                  <a:lnTo>
                    <a:pt x="2570" y="2572"/>
                  </a:lnTo>
                  <a:lnTo>
                    <a:pt x="2576" y="2574"/>
                  </a:lnTo>
                  <a:lnTo>
                    <a:pt x="2583" y="2578"/>
                  </a:lnTo>
                  <a:lnTo>
                    <a:pt x="2588" y="2584"/>
                  </a:lnTo>
                  <a:lnTo>
                    <a:pt x="2589" y="2593"/>
                  </a:lnTo>
                  <a:close/>
                  <a:moveTo>
                    <a:pt x="2804" y="2593"/>
                  </a:moveTo>
                  <a:lnTo>
                    <a:pt x="2804" y="2696"/>
                  </a:lnTo>
                  <a:lnTo>
                    <a:pt x="2803" y="2705"/>
                  </a:lnTo>
                  <a:lnTo>
                    <a:pt x="2798" y="2712"/>
                  </a:lnTo>
                  <a:lnTo>
                    <a:pt x="2792" y="2716"/>
                  </a:lnTo>
                  <a:lnTo>
                    <a:pt x="2784" y="2717"/>
                  </a:lnTo>
                  <a:lnTo>
                    <a:pt x="2777" y="2716"/>
                  </a:lnTo>
                  <a:lnTo>
                    <a:pt x="2771" y="2712"/>
                  </a:lnTo>
                  <a:lnTo>
                    <a:pt x="2766" y="2705"/>
                  </a:lnTo>
                  <a:lnTo>
                    <a:pt x="2765" y="2696"/>
                  </a:lnTo>
                  <a:lnTo>
                    <a:pt x="2765" y="2593"/>
                  </a:lnTo>
                  <a:lnTo>
                    <a:pt x="2766" y="2584"/>
                  </a:lnTo>
                  <a:lnTo>
                    <a:pt x="2771" y="2578"/>
                  </a:lnTo>
                  <a:lnTo>
                    <a:pt x="2777" y="2574"/>
                  </a:lnTo>
                  <a:lnTo>
                    <a:pt x="2784" y="2572"/>
                  </a:lnTo>
                  <a:lnTo>
                    <a:pt x="2792" y="2574"/>
                  </a:lnTo>
                  <a:lnTo>
                    <a:pt x="2798" y="2578"/>
                  </a:lnTo>
                  <a:lnTo>
                    <a:pt x="2803" y="2584"/>
                  </a:lnTo>
                  <a:lnTo>
                    <a:pt x="2804" y="2593"/>
                  </a:lnTo>
                  <a:close/>
                  <a:moveTo>
                    <a:pt x="2375" y="2941"/>
                  </a:moveTo>
                  <a:lnTo>
                    <a:pt x="2375" y="3044"/>
                  </a:lnTo>
                  <a:lnTo>
                    <a:pt x="2372" y="3053"/>
                  </a:lnTo>
                  <a:lnTo>
                    <a:pt x="2368" y="3060"/>
                  </a:lnTo>
                  <a:lnTo>
                    <a:pt x="2362" y="3063"/>
                  </a:lnTo>
                  <a:lnTo>
                    <a:pt x="2354" y="3065"/>
                  </a:lnTo>
                  <a:lnTo>
                    <a:pt x="2347" y="3063"/>
                  </a:lnTo>
                  <a:lnTo>
                    <a:pt x="2340" y="3060"/>
                  </a:lnTo>
                  <a:lnTo>
                    <a:pt x="2336" y="3053"/>
                  </a:lnTo>
                  <a:lnTo>
                    <a:pt x="2334" y="3044"/>
                  </a:lnTo>
                  <a:lnTo>
                    <a:pt x="2334" y="2941"/>
                  </a:lnTo>
                  <a:lnTo>
                    <a:pt x="2336" y="2932"/>
                  </a:lnTo>
                  <a:lnTo>
                    <a:pt x="2340" y="2925"/>
                  </a:lnTo>
                  <a:lnTo>
                    <a:pt x="2347" y="2922"/>
                  </a:lnTo>
                  <a:lnTo>
                    <a:pt x="2354" y="2920"/>
                  </a:lnTo>
                  <a:lnTo>
                    <a:pt x="2362" y="2922"/>
                  </a:lnTo>
                  <a:lnTo>
                    <a:pt x="2368" y="2925"/>
                  </a:lnTo>
                  <a:lnTo>
                    <a:pt x="2372" y="2932"/>
                  </a:lnTo>
                  <a:lnTo>
                    <a:pt x="2375" y="2941"/>
                  </a:lnTo>
                  <a:close/>
                  <a:moveTo>
                    <a:pt x="2589" y="2941"/>
                  </a:moveTo>
                  <a:lnTo>
                    <a:pt x="2589" y="3044"/>
                  </a:lnTo>
                  <a:lnTo>
                    <a:pt x="2588" y="3053"/>
                  </a:lnTo>
                  <a:lnTo>
                    <a:pt x="2583" y="3060"/>
                  </a:lnTo>
                  <a:lnTo>
                    <a:pt x="2576" y="3063"/>
                  </a:lnTo>
                  <a:lnTo>
                    <a:pt x="2570" y="3065"/>
                  </a:lnTo>
                  <a:lnTo>
                    <a:pt x="2562" y="3063"/>
                  </a:lnTo>
                  <a:lnTo>
                    <a:pt x="2556" y="3060"/>
                  </a:lnTo>
                  <a:lnTo>
                    <a:pt x="2550" y="3053"/>
                  </a:lnTo>
                  <a:lnTo>
                    <a:pt x="2549" y="3044"/>
                  </a:lnTo>
                  <a:lnTo>
                    <a:pt x="2549" y="2941"/>
                  </a:lnTo>
                  <a:lnTo>
                    <a:pt x="2550" y="2932"/>
                  </a:lnTo>
                  <a:lnTo>
                    <a:pt x="2556" y="2925"/>
                  </a:lnTo>
                  <a:lnTo>
                    <a:pt x="2562" y="2922"/>
                  </a:lnTo>
                  <a:lnTo>
                    <a:pt x="2570" y="2920"/>
                  </a:lnTo>
                  <a:lnTo>
                    <a:pt x="2576" y="2922"/>
                  </a:lnTo>
                  <a:lnTo>
                    <a:pt x="2583" y="2925"/>
                  </a:lnTo>
                  <a:lnTo>
                    <a:pt x="2588" y="2932"/>
                  </a:lnTo>
                  <a:lnTo>
                    <a:pt x="2589" y="2941"/>
                  </a:lnTo>
                  <a:close/>
                  <a:moveTo>
                    <a:pt x="2804" y="2941"/>
                  </a:moveTo>
                  <a:lnTo>
                    <a:pt x="2804" y="3044"/>
                  </a:lnTo>
                  <a:lnTo>
                    <a:pt x="2803" y="3053"/>
                  </a:lnTo>
                  <a:lnTo>
                    <a:pt x="2798" y="3060"/>
                  </a:lnTo>
                  <a:lnTo>
                    <a:pt x="2792" y="3063"/>
                  </a:lnTo>
                  <a:lnTo>
                    <a:pt x="2784" y="3065"/>
                  </a:lnTo>
                  <a:lnTo>
                    <a:pt x="2777" y="3063"/>
                  </a:lnTo>
                  <a:lnTo>
                    <a:pt x="2771" y="3060"/>
                  </a:lnTo>
                  <a:lnTo>
                    <a:pt x="2766" y="3053"/>
                  </a:lnTo>
                  <a:lnTo>
                    <a:pt x="2765" y="3044"/>
                  </a:lnTo>
                  <a:lnTo>
                    <a:pt x="2765" y="2941"/>
                  </a:lnTo>
                  <a:lnTo>
                    <a:pt x="2766" y="2932"/>
                  </a:lnTo>
                  <a:lnTo>
                    <a:pt x="2771" y="2925"/>
                  </a:lnTo>
                  <a:lnTo>
                    <a:pt x="2777" y="2922"/>
                  </a:lnTo>
                  <a:lnTo>
                    <a:pt x="2784" y="2920"/>
                  </a:lnTo>
                  <a:lnTo>
                    <a:pt x="2792" y="2922"/>
                  </a:lnTo>
                  <a:lnTo>
                    <a:pt x="2798" y="2925"/>
                  </a:lnTo>
                  <a:lnTo>
                    <a:pt x="2803" y="2932"/>
                  </a:lnTo>
                  <a:lnTo>
                    <a:pt x="2804" y="2941"/>
                  </a:lnTo>
                  <a:close/>
                  <a:moveTo>
                    <a:pt x="6888" y="1521"/>
                  </a:moveTo>
                  <a:lnTo>
                    <a:pt x="6778" y="1521"/>
                  </a:lnTo>
                  <a:lnTo>
                    <a:pt x="6778" y="1631"/>
                  </a:lnTo>
                  <a:lnTo>
                    <a:pt x="6888" y="1631"/>
                  </a:lnTo>
                  <a:lnTo>
                    <a:pt x="6888" y="1521"/>
                  </a:lnTo>
                  <a:close/>
                  <a:moveTo>
                    <a:pt x="7276" y="2772"/>
                  </a:moveTo>
                  <a:lnTo>
                    <a:pt x="7276" y="2585"/>
                  </a:lnTo>
                  <a:lnTo>
                    <a:pt x="7276" y="2277"/>
                  </a:lnTo>
                  <a:lnTo>
                    <a:pt x="7277" y="2271"/>
                  </a:lnTo>
                  <a:lnTo>
                    <a:pt x="7277" y="1671"/>
                  </a:lnTo>
                  <a:lnTo>
                    <a:pt x="6909" y="1671"/>
                  </a:lnTo>
                  <a:lnTo>
                    <a:pt x="6758" y="1671"/>
                  </a:lnTo>
                  <a:lnTo>
                    <a:pt x="6469" y="1671"/>
                  </a:lnTo>
                  <a:lnTo>
                    <a:pt x="6460" y="1670"/>
                  </a:lnTo>
                  <a:lnTo>
                    <a:pt x="6454" y="1665"/>
                  </a:lnTo>
                  <a:lnTo>
                    <a:pt x="6450" y="1658"/>
                  </a:lnTo>
                  <a:lnTo>
                    <a:pt x="6449" y="1652"/>
                  </a:lnTo>
                  <a:lnTo>
                    <a:pt x="6450" y="1644"/>
                  </a:lnTo>
                  <a:lnTo>
                    <a:pt x="6454" y="1638"/>
                  </a:lnTo>
                  <a:lnTo>
                    <a:pt x="6460" y="1633"/>
                  </a:lnTo>
                  <a:lnTo>
                    <a:pt x="6469" y="1631"/>
                  </a:lnTo>
                  <a:lnTo>
                    <a:pt x="6574" y="1631"/>
                  </a:lnTo>
                  <a:lnTo>
                    <a:pt x="6574" y="1488"/>
                  </a:lnTo>
                  <a:lnTo>
                    <a:pt x="6172" y="1488"/>
                  </a:lnTo>
                  <a:lnTo>
                    <a:pt x="6172" y="1631"/>
                  </a:lnTo>
                  <a:lnTo>
                    <a:pt x="6204" y="1631"/>
                  </a:lnTo>
                  <a:lnTo>
                    <a:pt x="6213" y="1633"/>
                  </a:lnTo>
                  <a:lnTo>
                    <a:pt x="6219" y="1638"/>
                  </a:lnTo>
                  <a:lnTo>
                    <a:pt x="6223" y="1644"/>
                  </a:lnTo>
                  <a:lnTo>
                    <a:pt x="6224" y="1652"/>
                  </a:lnTo>
                  <a:lnTo>
                    <a:pt x="6223" y="1658"/>
                  </a:lnTo>
                  <a:lnTo>
                    <a:pt x="6219" y="1665"/>
                  </a:lnTo>
                  <a:lnTo>
                    <a:pt x="6213" y="1670"/>
                  </a:lnTo>
                  <a:lnTo>
                    <a:pt x="6204" y="1671"/>
                  </a:lnTo>
                  <a:lnTo>
                    <a:pt x="6037" y="1671"/>
                  </a:lnTo>
                  <a:lnTo>
                    <a:pt x="6037" y="2332"/>
                  </a:lnTo>
                  <a:lnTo>
                    <a:pt x="6037" y="2993"/>
                  </a:lnTo>
                  <a:lnTo>
                    <a:pt x="6037" y="3654"/>
                  </a:lnTo>
                  <a:lnTo>
                    <a:pt x="6037" y="4317"/>
                  </a:lnTo>
                  <a:lnTo>
                    <a:pt x="6656" y="4317"/>
                  </a:lnTo>
                  <a:lnTo>
                    <a:pt x="7276" y="4317"/>
                  </a:lnTo>
                  <a:lnTo>
                    <a:pt x="7276" y="3544"/>
                  </a:lnTo>
                  <a:lnTo>
                    <a:pt x="7276" y="2772"/>
                  </a:lnTo>
                  <a:close/>
                  <a:moveTo>
                    <a:pt x="9050" y="2792"/>
                  </a:moveTo>
                  <a:lnTo>
                    <a:pt x="8182" y="2792"/>
                  </a:lnTo>
                  <a:lnTo>
                    <a:pt x="7315" y="2792"/>
                  </a:lnTo>
                  <a:lnTo>
                    <a:pt x="7315" y="3554"/>
                  </a:lnTo>
                  <a:lnTo>
                    <a:pt x="7315" y="4317"/>
                  </a:lnTo>
                  <a:lnTo>
                    <a:pt x="8182" y="4317"/>
                  </a:lnTo>
                  <a:lnTo>
                    <a:pt x="9050" y="4317"/>
                  </a:lnTo>
                  <a:lnTo>
                    <a:pt x="9050" y="3554"/>
                  </a:lnTo>
                  <a:lnTo>
                    <a:pt x="9050" y="2792"/>
                  </a:lnTo>
                  <a:close/>
                  <a:moveTo>
                    <a:pt x="8412" y="2258"/>
                  </a:moveTo>
                  <a:lnTo>
                    <a:pt x="8412" y="2135"/>
                  </a:lnTo>
                  <a:lnTo>
                    <a:pt x="8413" y="2127"/>
                  </a:lnTo>
                  <a:lnTo>
                    <a:pt x="8418" y="2121"/>
                  </a:lnTo>
                  <a:lnTo>
                    <a:pt x="8425" y="2117"/>
                  </a:lnTo>
                  <a:lnTo>
                    <a:pt x="8432" y="2116"/>
                  </a:lnTo>
                  <a:lnTo>
                    <a:pt x="8677" y="2116"/>
                  </a:lnTo>
                  <a:lnTo>
                    <a:pt x="8685" y="2117"/>
                  </a:lnTo>
                  <a:lnTo>
                    <a:pt x="8691" y="2121"/>
                  </a:lnTo>
                  <a:lnTo>
                    <a:pt x="8695" y="2127"/>
                  </a:lnTo>
                  <a:lnTo>
                    <a:pt x="8698" y="2135"/>
                  </a:lnTo>
                  <a:lnTo>
                    <a:pt x="8698" y="2258"/>
                  </a:lnTo>
                  <a:lnTo>
                    <a:pt x="8853" y="2258"/>
                  </a:lnTo>
                  <a:lnTo>
                    <a:pt x="8868" y="2266"/>
                  </a:lnTo>
                  <a:lnTo>
                    <a:pt x="9089" y="2565"/>
                  </a:lnTo>
                  <a:lnTo>
                    <a:pt x="9100" y="2565"/>
                  </a:lnTo>
                  <a:lnTo>
                    <a:pt x="9108" y="2566"/>
                  </a:lnTo>
                  <a:lnTo>
                    <a:pt x="9114" y="2571"/>
                  </a:lnTo>
                  <a:lnTo>
                    <a:pt x="9120" y="2578"/>
                  </a:lnTo>
                  <a:lnTo>
                    <a:pt x="9121" y="2585"/>
                  </a:lnTo>
                  <a:lnTo>
                    <a:pt x="9121" y="2772"/>
                  </a:lnTo>
                  <a:lnTo>
                    <a:pt x="9120" y="2780"/>
                  </a:lnTo>
                  <a:lnTo>
                    <a:pt x="9114" y="2786"/>
                  </a:lnTo>
                  <a:lnTo>
                    <a:pt x="9108" y="2791"/>
                  </a:lnTo>
                  <a:lnTo>
                    <a:pt x="9100" y="2792"/>
                  </a:lnTo>
                  <a:lnTo>
                    <a:pt x="9090" y="2792"/>
                  </a:lnTo>
                  <a:lnTo>
                    <a:pt x="9090" y="3563"/>
                  </a:lnTo>
                  <a:lnTo>
                    <a:pt x="9090" y="4336"/>
                  </a:lnTo>
                  <a:lnTo>
                    <a:pt x="9089" y="4343"/>
                  </a:lnTo>
                  <a:lnTo>
                    <a:pt x="9084" y="4350"/>
                  </a:lnTo>
                  <a:lnTo>
                    <a:pt x="9077" y="4355"/>
                  </a:lnTo>
                  <a:lnTo>
                    <a:pt x="9070" y="4356"/>
                  </a:lnTo>
                  <a:lnTo>
                    <a:pt x="8184" y="4356"/>
                  </a:lnTo>
                  <a:lnTo>
                    <a:pt x="7297" y="4356"/>
                  </a:lnTo>
                  <a:lnTo>
                    <a:pt x="7295" y="4356"/>
                  </a:lnTo>
                  <a:lnTo>
                    <a:pt x="6656" y="4356"/>
                  </a:lnTo>
                  <a:lnTo>
                    <a:pt x="6018" y="4356"/>
                  </a:lnTo>
                  <a:lnTo>
                    <a:pt x="6010" y="4355"/>
                  </a:lnTo>
                  <a:lnTo>
                    <a:pt x="6004" y="4350"/>
                  </a:lnTo>
                  <a:lnTo>
                    <a:pt x="5999" y="4343"/>
                  </a:lnTo>
                  <a:lnTo>
                    <a:pt x="5997" y="4336"/>
                  </a:lnTo>
                  <a:lnTo>
                    <a:pt x="5997" y="3664"/>
                  </a:lnTo>
                  <a:lnTo>
                    <a:pt x="5997" y="2993"/>
                  </a:lnTo>
                  <a:lnTo>
                    <a:pt x="5997" y="2322"/>
                  </a:lnTo>
                  <a:lnTo>
                    <a:pt x="5997" y="1652"/>
                  </a:lnTo>
                  <a:lnTo>
                    <a:pt x="5999" y="1644"/>
                  </a:lnTo>
                  <a:lnTo>
                    <a:pt x="6004" y="1638"/>
                  </a:lnTo>
                  <a:lnTo>
                    <a:pt x="6010" y="1633"/>
                  </a:lnTo>
                  <a:lnTo>
                    <a:pt x="6018" y="1631"/>
                  </a:lnTo>
                  <a:lnTo>
                    <a:pt x="6132" y="1631"/>
                  </a:lnTo>
                  <a:lnTo>
                    <a:pt x="6132" y="1469"/>
                  </a:lnTo>
                  <a:lnTo>
                    <a:pt x="6133" y="1461"/>
                  </a:lnTo>
                  <a:lnTo>
                    <a:pt x="6138" y="1455"/>
                  </a:lnTo>
                  <a:lnTo>
                    <a:pt x="6145" y="1451"/>
                  </a:lnTo>
                  <a:lnTo>
                    <a:pt x="6152" y="1448"/>
                  </a:lnTo>
                  <a:lnTo>
                    <a:pt x="6595" y="1448"/>
                  </a:lnTo>
                  <a:lnTo>
                    <a:pt x="6602" y="1451"/>
                  </a:lnTo>
                  <a:lnTo>
                    <a:pt x="6609" y="1455"/>
                  </a:lnTo>
                  <a:lnTo>
                    <a:pt x="6613" y="1461"/>
                  </a:lnTo>
                  <a:lnTo>
                    <a:pt x="6614" y="1469"/>
                  </a:lnTo>
                  <a:lnTo>
                    <a:pt x="6614" y="1631"/>
                  </a:lnTo>
                  <a:lnTo>
                    <a:pt x="6738" y="1631"/>
                  </a:lnTo>
                  <a:lnTo>
                    <a:pt x="6738" y="1501"/>
                  </a:lnTo>
                  <a:lnTo>
                    <a:pt x="6740" y="1493"/>
                  </a:lnTo>
                  <a:lnTo>
                    <a:pt x="6744" y="1487"/>
                  </a:lnTo>
                  <a:lnTo>
                    <a:pt x="6750" y="1483"/>
                  </a:lnTo>
                  <a:lnTo>
                    <a:pt x="6758" y="1480"/>
                  </a:lnTo>
                  <a:lnTo>
                    <a:pt x="6909" y="1480"/>
                  </a:lnTo>
                  <a:lnTo>
                    <a:pt x="6917" y="1483"/>
                  </a:lnTo>
                  <a:lnTo>
                    <a:pt x="6923" y="1487"/>
                  </a:lnTo>
                  <a:lnTo>
                    <a:pt x="6927" y="1493"/>
                  </a:lnTo>
                  <a:lnTo>
                    <a:pt x="6928" y="1501"/>
                  </a:lnTo>
                  <a:lnTo>
                    <a:pt x="6928" y="1631"/>
                  </a:lnTo>
                  <a:lnTo>
                    <a:pt x="7297" y="1631"/>
                  </a:lnTo>
                  <a:lnTo>
                    <a:pt x="7305" y="1633"/>
                  </a:lnTo>
                  <a:lnTo>
                    <a:pt x="7312" y="1638"/>
                  </a:lnTo>
                  <a:lnTo>
                    <a:pt x="7315" y="1644"/>
                  </a:lnTo>
                  <a:lnTo>
                    <a:pt x="7317" y="1652"/>
                  </a:lnTo>
                  <a:lnTo>
                    <a:pt x="7317" y="2258"/>
                  </a:lnTo>
                  <a:lnTo>
                    <a:pt x="7864" y="2258"/>
                  </a:lnTo>
                  <a:lnTo>
                    <a:pt x="8412" y="2258"/>
                  </a:lnTo>
                  <a:close/>
                  <a:moveTo>
                    <a:pt x="8657" y="2258"/>
                  </a:moveTo>
                  <a:lnTo>
                    <a:pt x="8657" y="2156"/>
                  </a:lnTo>
                  <a:lnTo>
                    <a:pt x="8452" y="2156"/>
                  </a:lnTo>
                  <a:lnTo>
                    <a:pt x="8452" y="2258"/>
                  </a:lnTo>
                  <a:lnTo>
                    <a:pt x="8482" y="2258"/>
                  </a:lnTo>
                  <a:lnTo>
                    <a:pt x="8491" y="2259"/>
                  </a:lnTo>
                  <a:lnTo>
                    <a:pt x="8496" y="2264"/>
                  </a:lnTo>
                  <a:lnTo>
                    <a:pt x="8500" y="2271"/>
                  </a:lnTo>
                  <a:lnTo>
                    <a:pt x="8502" y="2277"/>
                  </a:lnTo>
                  <a:lnTo>
                    <a:pt x="8500" y="2285"/>
                  </a:lnTo>
                  <a:lnTo>
                    <a:pt x="8496" y="2291"/>
                  </a:lnTo>
                  <a:lnTo>
                    <a:pt x="8491" y="2296"/>
                  </a:lnTo>
                  <a:lnTo>
                    <a:pt x="8482" y="2298"/>
                  </a:lnTo>
                  <a:lnTo>
                    <a:pt x="7899" y="2298"/>
                  </a:lnTo>
                  <a:lnTo>
                    <a:pt x="7315" y="2298"/>
                  </a:lnTo>
                  <a:lnTo>
                    <a:pt x="7315" y="2565"/>
                  </a:lnTo>
                  <a:lnTo>
                    <a:pt x="8177" y="2565"/>
                  </a:lnTo>
                  <a:lnTo>
                    <a:pt x="9039" y="2565"/>
                  </a:lnTo>
                  <a:lnTo>
                    <a:pt x="8843" y="2298"/>
                  </a:lnTo>
                  <a:lnTo>
                    <a:pt x="8637" y="2298"/>
                  </a:lnTo>
                  <a:lnTo>
                    <a:pt x="8630" y="2296"/>
                  </a:lnTo>
                  <a:lnTo>
                    <a:pt x="8623" y="2291"/>
                  </a:lnTo>
                  <a:lnTo>
                    <a:pt x="8619" y="2285"/>
                  </a:lnTo>
                  <a:lnTo>
                    <a:pt x="8618" y="2277"/>
                  </a:lnTo>
                  <a:lnTo>
                    <a:pt x="8619" y="2271"/>
                  </a:lnTo>
                  <a:lnTo>
                    <a:pt x="8623" y="2264"/>
                  </a:lnTo>
                  <a:lnTo>
                    <a:pt x="8630" y="2259"/>
                  </a:lnTo>
                  <a:lnTo>
                    <a:pt x="8637" y="2258"/>
                  </a:lnTo>
                  <a:lnTo>
                    <a:pt x="8657" y="2258"/>
                  </a:lnTo>
                  <a:close/>
                  <a:moveTo>
                    <a:pt x="9075" y="2604"/>
                  </a:moveTo>
                  <a:lnTo>
                    <a:pt x="8195" y="2604"/>
                  </a:lnTo>
                  <a:lnTo>
                    <a:pt x="7315" y="2604"/>
                  </a:lnTo>
                  <a:lnTo>
                    <a:pt x="7315" y="2753"/>
                  </a:lnTo>
                  <a:lnTo>
                    <a:pt x="8192" y="2753"/>
                  </a:lnTo>
                  <a:lnTo>
                    <a:pt x="9070" y="2753"/>
                  </a:lnTo>
                  <a:lnTo>
                    <a:pt x="9081" y="2753"/>
                  </a:lnTo>
                  <a:lnTo>
                    <a:pt x="9081" y="2604"/>
                  </a:lnTo>
                  <a:lnTo>
                    <a:pt x="9075" y="2604"/>
                  </a:lnTo>
                  <a:close/>
                  <a:moveTo>
                    <a:pt x="6236" y="1893"/>
                  </a:moveTo>
                  <a:lnTo>
                    <a:pt x="6369" y="1893"/>
                  </a:lnTo>
                  <a:lnTo>
                    <a:pt x="6378" y="1895"/>
                  </a:lnTo>
                  <a:lnTo>
                    <a:pt x="6384" y="1900"/>
                  </a:lnTo>
                  <a:lnTo>
                    <a:pt x="6387" y="1906"/>
                  </a:lnTo>
                  <a:lnTo>
                    <a:pt x="6388" y="1913"/>
                  </a:lnTo>
                  <a:lnTo>
                    <a:pt x="6387" y="1920"/>
                  </a:lnTo>
                  <a:lnTo>
                    <a:pt x="6384" y="1927"/>
                  </a:lnTo>
                  <a:lnTo>
                    <a:pt x="6378" y="1932"/>
                  </a:lnTo>
                  <a:lnTo>
                    <a:pt x="6369" y="1933"/>
                  </a:lnTo>
                  <a:lnTo>
                    <a:pt x="6236" y="1933"/>
                  </a:lnTo>
                  <a:lnTo>
                    <a:pt x="6227" y="1932"/>
                  </a:lnTo>
                  <a:lnTo>
                    <a:pt x="6220" y="1927"/>
                  </a:lnTo>
                  <a:lnTo>
                    <a:pt x="6216" y="1920"/>
                  </a:lnTo>
                  <a:lnTo>
                    <a:pt x="6215" y="1913"/>
                  </a:lnTo>
                  <a:lnTo>
                    <a:pt x="6216" y="1906"/>
                  </a:lnTo>
                  <a:lnTo>
                    <a:pt x="6220" y="1900"/>
                  </a:lnTo>
                  <a:lnTo>
                    <a:pt x="6227" y="1895"/>
                  </a:lnTo>
                  <a:lnTo>
                    <a:pt x="6236" y="1893"/>
                  </a:lnTo>
                  <a:close/>
                  <a:moveTo>
                    <a:pt x="6472" y="1893"/>
                  </a:moveTo>
                  <a:lnTo>
                    <a:pt x="6605" y="1893"/>
                  </a:lnTo>
                  <a:lnTo>
                    <a:pt x="6614" y="1895"/>
                  </a:lnTo>
                  <a:lnTo>
                    <a:pt x="6620" y="1900"/>
                  </a:lnTo>
                  <a:lnTo>
                    <a:pt x="6624" y="1906"/>
                  </a:lnTo>
                  <a:lnTo>
                    <a:pt x="6626" y="1913"/>
                  </a:lnTo>
                  <a:lnTo>
                    <a:pt x="6624" y="1920"/>
                  </a:lnTo>
                  <a:lnTo>
                    <a:pt x="6620" y="1927"/>
                  </a:lnTo>
                  <a:lnTo>
                    <a:pt x="6614" y="1932"/>
                  </a:lnTo>
                  <a:lnTo>
                    <a:pt x="6605" y="1933"/>
                  </a:lnTo>
                  <a:lnTo>
                    <a:pt x="6472" y="1933"/>
                  </a:lnTo>
                  <a:lnTo>
                    <a:pt x="6464" y="1932"/>
                  </a:lnTo>
                  <a:lnTo>
                    <a:pt x="6458" y="1927"/>
                  </a:lnTo>
                  <a:lnTo>
                    <a:pt x="6454" y="1920"/>
                  </a:lnTo>
                  <a:lnTo>
                    <a:pt x="6452" y="1913"/>
                  </a:lnTo>
                  <a:lnTo>
                    <a:pt x="6454" y="1906"/>
                  </a:lnTo>
                  <a:lnTo>
                    <a:pt x="6458" y="1900"/>
                  </a:lnTo>
                  <a:lnTo>
                    <a:pt x="6464" y="1895"/>
                  </a:lnTo>
                  <a:lnTo>
                    <a:pt x="6472" y="1893"/>
                  </a:lnTo>
                  <a:close/>
                  <a:moveTo>
                    <a:pt x="6709" y="1893"/>
                  </a:moveTo>
                  <a:lnTo>
                    <a:pt x="6842" y="1893"/>
                  </a:lnTo>
                  <a:lnTo>
                    <a:pt x="6851" y="1895"/>
                  </a:lnTo>
                  <a:lnTo>
                    <a:pt x="6858" y="1900"/>
                  </a:lnTo>
                  <a:lnTo>
                    <a:pt x="6861" y="1906"/>
                  </a:lnTo>
                  <a:lnTo>
                    <a:pt x="6863" y="1913"/>
                  </a:lnTo>
                  <a:lnTo>
                    <a:pt x="6861" y="1920"/>
                  </a:lnTo>
                  <a:lnTo>
                    <a:pt x="6858" y="1927"/>
                  </a:lnTo>
                  <a:lnTo>
                    <a:pt x="6851" y="1932"/>
                  </a:lnTo>
                  <a:lnTo>
                    <a:pt x="6842" y="1933"/>
                  </a:lnTo>
                  <a:lnTo>
                    <a:pt x="6709" y="1933"/>
                  </a:lnTo>
                  <a:lnTo>
                    <a:pt x="6700" y="1932"/>
                  </a:lnTo>
                  <a:lnTo>
                    <a:pt x="6693" y="1927"/>
                  </a:lnTo>
                  <a:lnTo>
                    <a:pt x="6690" y="1920"/>
                  </a:lnTo>
                  <a:lnTo>
                    <a:pt x="6688" y="1913"/>
                  </a:lnTo>
                  <a:lnTo>
                    <a:pt x="6690" y="1906"/>
                  </a:lnTo>
                  <a:lnTo>
                    <a:pt x="6693" y="1900"/>
                  </a:lnTo>
                  <a:lnTo>
                    <a:pt x="6700" y="1895"/>
                  </a:lnTo>
                  <a:lnTo>
                    <a:pt x="6709" y="1893"/>
                  </a:lnTo>
                  <a:close/>
                  <a:moveTo>
                    <a:pt x="6946" y="1893"/>
                  </a:moveTo>
                  <a:lnTo>
                    <a:pt x="7078" y="1893"/>
                  </a:lnTo>
                  <a:lnTo>
                    <a:pt x="7087" y="1895"/>
                  </a:lnTo>
                  <a:lnTo>
                    <a:pt x="7094" y="1900"/>
                  </a:lnTo>
                  <a:lnTo>
                    <a:pt x="7097" y="1906"/>
                  </a:lnTo>
                  <a:lnTo>
                    <a:pt x="7099" y="1913"/>
                  </a:lnTo>
                  <a:lnTo>
                    <a:pt x="7097" y="1920"/>
                  </a:lnTo>
                  <a:lnTo>
                    <a:pt x="7094" y="1927"/>
                  </a:lnTo>
                  <a:lnTo>
                    <a:pt x="7087" y="1932"/>
                  </a:lnTo>
                  <a:lnTo>
                    <a:pt x="7078" y="1933"/>
                  </a:lnTo>
                  <a:lnTo>
                    <a:pt x="6946" y="1933"/>
                  </a:lnTo>
                  <a:lnTo>
                    <a:pt x="6937" y="1932"/>
                  </a:lnTo>
                  <a:lnTo>
                    <a:pt x="6931" y="1927"/>
                  </a:lnTo>
                  <a:lnTo>
                    <a:pt x="6927" y="1920"/>
                  </a:lnTo>
                  <a:lnTo>
                    <a:pt x="6926" y="1913"/>
                  </a:lnTo>
                  <a:lnTo>
                    <a:pt x="6927" y="1906"/>
                  </a:lnTo>
                  <a:lnTo>
                    <a:pt x="6931" y="1900"/>
                  </a:lnTo>
                  <a:lnTo>
                    <a:pt x="6937" y="1895"/>
                  </a:lnTo>
                  <a:lnTo>
                    <a:pt x="6946" y="1893"/>
                  </a:lnTo>
                  <a:close/>
                  <a:moveTo>
                    <a:pt x="6236" y="2156"/>
                  </a:moveTo>
                  <a:lnTo>
                    <a:pt x="6369" y="2156"/>
                  </a:lnTo>
                  <a:lnTo>
                    <a:pt x="6378" y="2158"/>
                  </a:lnTo>
                  <a:lnTo>
                    <a:pt x="6384" y="2162"/>
                  </a:lnTo>
                  <a:lnTo>
                    <a:pt x="6387" y="2168"/>
                  </a:lnTo>
                  <a:lnTo>
                    <a:pt x="6388" y="2176"/>
                  </a:lnTo>
                  <a:lnTo>
                    <a:pt x="6387" y="2184"/>
                  </a:lnTo>
                  <a:lnTo>
                    <a:pt x="6384" y="2190"/>
                  </a:lnTo>
                  <a:lnTo>
                    <a:pt x="6378" y="2194"/>
                  </a:lnTo>
                  <a:lnTo>
                    <a:pt x="6369" y="2197"/>
                  </a:lnTo>
                  <a:lnTo>
                    <a:pt x="6236" y="2197"/>
                  </a:lnTo>
                  <a:lnTo>
                    <a:pt x="6227" y="2194"/>
                  </a:lnTo>
                  <a:lnTo>
                    <a:pt x="6220" y="2190"/>
                  </a:lnTo>
                  <a:lnTo>
                    <a:pt x="6216" y="2184"/>
                  </a:lnTo>
                  <a:lnTo>
                    <a:pt x="6215" y="2176"/>
                  </a:lnTo>
                  <a:lnTo>
                    <a:pt x="6216" y="2168"/>
                  </a:lnTo>
                  <a:lnTo>
                    <a:pt x="6220" y="2162"/>
                  </a:lnTo>
                  <a:lnTo>
                    <a:pt x="6227" y="2158"/>
                  </a:lnTo>
                  <a:lnTo>
                    <a:pt x="6236" y="2156"/>
                  </a:lnTo>
                  <a:close/>
                  <a:moveTo>
                    <a:pt x="6472" y="2156"/>
                  </a:moveTo>
                  <a:lnTo>
                    <a:pt x="6605" y="2156"/>
                  </a:lnTo>
                  <a:lnTo>
                    <a:pt x="6614" y="2158"/>
                  </a:lnTo>
                  <a:lnTo>
                    <a:pt x="6620" y="2162"/>
                  </a:lnTo>
                  <a:lnTo>
                    <a:pt x="6624" y="2168"/>
                  </a:lnTo>
                  <a:lnTo>
                    <a:pt x="6626" y="2176"/>
                  </a:lnTo>
                  <a:lnTo>
                    <a:pt x="6624" y="2184"/>
                  </a:lnTo>
                  <a:lnTo>
                    <a:pt x="6620" y="2190"/>
                  </a:lnTo>
                  <a:lnTo>
                    <a:pt x="6614" y="2194"/>
                  </a:lnTo>
                  <a:lnTo>
                    <a:pt x="6605" y="2197"/>
                  </a:lnTo>
                  <a:lnTo>
                    <a:pt x="6472" y="2197"/>
                  </a:lnTo>
                  <a:lnTo>
                    <a:pt x="6464" y="2194"/>
                  </a:lnTo>
                  <a:lnTo>
                    <a:pt x="6458" y="2190"/>
                  </a:lnTo>
                  <a:lnTo>
                    <a:pt x="6454" y="2184"/>
                  </a:lnTo>
                  <a:lnTo>
                    <a:pt x="6452" y="2176"/>
                  </a:lnTo>
                  <a:lnTo>
                    <a:pt x="6454" y="2168"/>
                  </a:lnTo>
                  <a:lnTo>
                    <a:pt x="6458" y="2162"/>
                  </a:lnTo>
                  <a:lnTo>
                    <a:pt x="6464" y="2158"/>
                  </a:lnTo>
                  <a:lnTo>
                    <a:pt x="6472" y="2156"/>
                  </a:lnTo>
                  <a:close/>
                  <a:moveTo>
                    <a:pt x="6709" y="2156"/>
                  </a:moveTo>
                  <a:lnTo>
                    <a:pt x="6842" y="2156"/>
                  </a:lnTo>
                  <a:lnTo>
                    <a:pt x="6851" y="2158"/>
                  </a:lnTo>
                  <a:lnTo>
                    <a:pt x="6858" y="2162"/>
                  </a:lnTo>
                  <a:lnTo>
                    <a:pt x="6861" y="2168"/>
                  </a:lnTo>
                  <a:lnTo>
                    <a:pt x="6863" y="2176"/>
                  </a:lnTo>
                  <a:lnTo>
                    <a:pt x="6861" y="2184"/>
                  </a:lnTo>
                  <a:lnTo>
                    <a:pt x="6858" y="2190"/>
                  </a:lnTo>
                  <a:lnTo>
                    <a:pt x="6851" y="2194"/>
                  </a:lnTo>
                  <a:lnTo>
                    <a:pt x="6842" y="2197"/>
                  </a:lnTo>
                  <a:lnTo>
                    <a:pt x="6709" y="2197"/>
                  </a:lnTo>
                  <a:lnTo>
                    <a:pt x="6700" y="2194"/>
                  </a:lnTo>
                  <a:lnTo>
                    <a:pt x="6693" y="2190"/>
                  </a:lnTo>
                  <a:lnTo>
                    <a:pt x="6690" y="2184"/>
                  </a:lnTo>
                  <a:lnTo>
                    <a:pt x="6688" y="2176"/>
                  </a:lnTo>
                  <a:lnTo>
                    <a:pt x="6690" y="2168"/>
                  </a:lnTo>
                  <a:lnTo>
                    <a:pt x="6693" y="2162"/>
                  </a:lnTo>
                  <a:lnTo>
                    <a:pt x="6700" y="2158"/>
                  </a:lnTo>
                  <a:lnTo>
                    <a:pt x="6709" y="2156"/>
                  </a:lnTo>
                  <a:close/>
                  <a:moveTo>
                    <a:pt x="6946" y="2156"/>
                  </a:moveTo>
                  <a:lnTo>
                    <a:pt x="7078" y="2156"/>
                  </a:lnTo>
                  <a:lnTo>
                    <a:pt x="7087" y="2158"/>
                  </a:lnTo>
                  <a:lnTo>
                    <a:pt x="7094" y="2162"/>
                  </a:lnTo>
                  <a:lnTo>
                    <a:pt x="7097" y="2168"/>
                  </a:lnTo>
                  <a:lnTo>
                    <a:pt x="7099" y="2176"/>
                  </a:lnTo>
                  <a:lnTo>
                    <a:pt x="7097" y="2184"/>
                  </a:lnTo>
                  <a:lnTo>
                    <a:pt x="7094" y="2190"/>
                  </a:lnTo>
                  <a:lnTo>
                    <a:pt x="7087" y="2194"/>
                  </a:lnTo>
                  <a:lnTo>
                    <a:pt x="7078" y="2197"/>
                  </a:lnTo>
                  <a:lnTo>
                    <a:pt x="6946" y="2197"/>
                  </a:lnTo>
                  <a:lnTo>
                    <a:pt x="6937" y="2194"/>
                  </a:lnTo>
                  <a:lnTo>
                    <a:pt x="6931" y="2190"/>
                  </a:lnTo>
                  <a:lnTo>
                    <a:pt x="6927" y="2184"/>
                  </a:lnTo>
                  <a:lnTo>
                    <a:pt x="6926" y="2176"/>
                  </a:lnTo>
                  <a:lnTo>
                    <a:pt x="6927" y="2168"/>
                  </a:lnTo>
                  <a:lnTo>
                    <a:pt x="6931" y="2162"/>
                  </a:lnTo>
                  <a:lnTo>
                    <a:pt x="6937" y="2158"/>
                  </a:lnTo>
                  <a:lnTo>
                    <a:pt x="6946" y="2156"/>
                  </a:lnTo>
                  <a:close/>
                  <a:moveTo>
                    <a:pt x="6236" y="2419"/>
                  </a:moveTo>
                  <a:lnTo>
                    <a:pt x="6369" y="2419"/>
                  </a:lnTo>
                  <a:lnTo>
                    <a:pt x="6378" y="2420"/>
                  </a:lnTo>
                  <a:lnTo>
                    <a:pt x="6384" y="2425"/>
                  </a:lnTo>
                  <a:lnTo>
                    <a:pt x="6387" y="2432"/>
                  </a:lnTo>
                  <a:lnTo>
                    <a:pt x="6388" y="2439"/>
                  </a:lnTo>
                  <a:lnTo>
                    <a:pt x="6387" y="2446"/>
                  </a:lnTo>
                  <a:lnTo>
                    <a:pt x="6384" y="2452"/>
                  </a:lnTo>
                  <a:lnTo>
                    <a:pt x="6378" y="2457"/>
                  </a:lnTo>
                  <a:lnTo>
                    <a:pt x="6369" y="2459"/>
                  </a:lnTo>
                  <a:lnTo>
                    <a:pt x="6236" y="2459"/>
                  </a:lnTo>
                  <a:lnTo>
                    <a:pt x="6227" y="2457"/>
                  </a:lnTo>
                  <a:lnTo>
                    <a:pt x="6220" y="2452"/>
                  </a:lnTo>
                  <a:lnTo>
                    <a:pt x="6216" y="2446"/>
                  </a:lnTo>
                  <a:lnTo>
                    <a:pt x="6215" y="2439"/>
                  </a:lnTo>
                  <a:lnTo>
                    <a:pt x="6216" y="2432"/>
                  </a:lnTo>
                  <a:lnTo>
                    <a:pt x="6220" y="2425"/>
                  </a:lnTo>
                  <a:lnTo>
                    <a:pt x="6227" y="2420"/>
                  </a:lnTo>
                  <a:lnTo>
                    <a:pt x="6236" y="2419"/>
                  </a:lnTo>
                  <a:close/>
                  <a:moveTo>
                    <a:pt x="6472" y="2419"/>
                  </a:moveTo>
                  <a:lnTo>
                    <a:pt x="6605" y="2419"/>
                  </a:lnTo>
                  <a:lnTo>
                    <a:pt x="6614" y="2420"/>
                  </a:lnTo>
                  <a:lnTo>
                    <a:pt x="6620" y="2425"/>
                  </a:lnTo>
                  <a:lnTo>
                    <a:pt x="6624" y="2432"/>
                  </a:lnTo>
                  <a:lnTo>
                    <a:pt x="6626" y="2439"/>
                  </a:lnTo>
                  <a:lnTo>
                    <a:pt x="6624" y="2446"/>
                  </a:lnTo>
                  <a:lnTo>
                    <a:pt x="6620" y="2452"/>
                  </a:lnTo>
                  <a:lnTo>
                    <a:pt x="6614" y="2457"/>
                  </a:lnTo>
                  <a:lnTo>
                    <a:pt x="6605" y="2459"/>
                  </a:lnTo>
                  <a:lnTo>
                    <a:pt x="6472" y="2459"/>
                  </a:lnTo>
                  <a:lnTo>
                    <a:pt x="6464" y="2457"/>
                  </a:lnTo>
                  <a:lnTo>
                    <a:pt x="6458" y="2452"/>
                  </a:lnTo>
                  <a:lnTo>
                    <a:pt x="6454" y="2446"/>
                  </a:lnTo>
                  <a:lnTo>
                    <a:pt x="6452" y="2439"/>
                  </a:lnTo>
                  <a:lnTo>
                    <a:pt x="6454" y="2432"/>
                  </a:lnTo>
                  <a:lnTo>
                    <a:pt x="6458" y="2425"/>
                  </a:lnTo>
                  <a:lnTo>
                    <a:pt x="6464" y="2420"/>
                  </a:lnTo>
                  <a:lnTo>
                    <a:pt x="6472" y="2419"/>
                  </a:lnTo>
                  <a:close/>
                  <a:moveTo>
                    <a:pt x="6709" y="2419"/>
                  </a:moveTo>
                  <a:lnTo>
                    <a:pt x="6842" y="2419"/>
                  </a:lnTo>
                  <a:lnTo>
                    <a:pt x="6851" y="2420"/>
                  </a:lnTo>
                  <a:lnTo>
                    <a:pt x="6858" y="2425"/>
                  </a:lnTo>
                  <a:lnTo>
                    <a:pt x="6861" y="2432"/>
                  </a:lnTo>
                  <a:lnTo>
                    <a:pt x="6863" y="2439"/>
                  </a:lnTo>
                  <a:lnTo>
                    <a:pt x="6861" y="2446"/>
                  </a:lnTo>
                  <a:lnTo>
                    <a:pt x="6858" y="2452"/>
                  </a:lnTo>
                  <a:lnTo>
                    <a:pt x="6851" y="2457"/>
                  </a:lnTo>
                  <a:lnTo>
                    <a:pt x="6842" y="2459"/>
                  </a:lnTo>
                  <a:lnTo>
                    <a:pt x="6709" y="2459"/>
                  </a:lnTo>
                  <a:lnTo>
                    <a:pt x="6700" y="2457"/>
                  </a:lnTo>
                  <a:lnTo>
                    <a:pt x="6693" y="2452"/>
                  </a:lnTo>
                  <a:lnTo>
                    <a:pt x="6690" y="2446"/>
                  </a:lnTo>
                  <a:lnTo>
                    <a:pt x="6688" y="2439"/>
                  </a:lnTo>
                  <a:lnTo>
                    <a:pt x="6690" y="2432"/>
                  </a:lnTo>
                  <a:lnTo>
                    <a:pt x="6693" y="2425"/>
                  </a:lnTo>
                  <a:lnTo>
                    <a:pt x="6700" y="2420"/>
                  </a:lnTo>
                  <a:lnTo>
                    <a:pt x="6709" y="2419"/>
                  </a:lnTo>
                  <a:close/>
                  <a:moveTo>
                    <a:pt x="6946" y="2419"/>
                  </a:moveTo>
                  <a:lnTo>
                    <a:pt x="7078" y="2419"/>
                  </a:lnTo>
                  <a:lnTo>
                    <a:pt x="7087" y="2420"/>
                  </a:lnTo>
                  <a:lnTo>
                    <a:pt x="7094" y="2425"/>
                  </a:lnTo>
                  <a:lnTo>
                    <a:pt x="7097" y="2432"/>
                  </a:lnTo>
                  <a:lnTo>
                    <a:pt x="7099" y="2439"/>
                  </a:lnTo>
                  <a:lnTo>
                    <a:pt x="7097" y="2446"/>
                  </a:lnTo>
                  <a:lnTo>
                    <a:pt x="7094" y="2452"/>
                  </a:lnTo>
                  <a:lnTo>
                    <a:pt x="7087" y="2457"/>
                  </a:lnTo>
                  <a:lnTo>
                    <a:pt x="7078" y="2459"/>
                  </a:lnTo>
                  <a:lnTo>
                    <a:pt x="6946" y="2459"/>
                  </a:lnTo>
                  <a:lnTo>
                    <a:pt x="6937" y="2457"/>
                  </a:lnTo>
                  <a:lnTo>
                    <a:pt x="6931" y="2452"/>
                  </a:lnTo>
                  <a:lnTo>
                    <a:pt x="6927" y="2446"/>
                  </a:lnTo>
                  <a:lnTo>
                    <a:pt x="6926" y="2439"/>
                  </a:lnTo>
                  <a:lnTo>
                    <a:pt x="6927" y="2432"/>
                  </a:lnTo>
                  <a:lnTo>
                    <a:pt x="6931" y="2425"/>
                  </a:lnTo>
                  <a:lnTo>
                    <a:pt x="6937" y="2420"/>
                  </a:lnTo>
                  <a:lnTo>
                    <a:pt x="6946" y="2419"/>
                  </a:lnTo>
                  <a:close/>
                  <a:moveTo>
                    <a:pt x="6236" y="2682"/>
                  </a:moveTo>
                  <a:lnTo>
                    <a:pt x="6369" y="2682"/>
                  </a:lnTo>
                  <a:lnTo>
                    <a:pt x="6378" y="2684"/>
                  </a:lnTo>
                  <a:lnTo>
                    <a:pt x="6384" y="2689"/>
                  </a:lnTo>
                  <a:lnTo>
                    <a:pt x="6387" y="2695"/>
                  </a:lnTo>
                  <a:lnTo>
                    <a:pt x="6388" y="2702"/>
                  </a:lnTo>
                  <a:lnTo>
                    <a:pt x="6387" y="2709"/>
                  </a:lnTo>
                  <a:lnTo>
                    <a:pt x="6384" y="2716"/>
                  </a:lnTo>
                  <a:lnTo>
                    <a:pt x="6378" y="2721"/>
                  </a:lnTo>
                  <a:lnTo>
                    <a:pt x="6369" y="2722"/>
                  </a:lnTo>
                  <a:lnTo>
                    <a:pt x="6236" y="2722"/>
                  </a:lnTo>
                  <a:lnTo>
                    <a:pt x="6227" y="2721"/>
                  </a:lnTo>
                  <a:lnTo>
                    <a:pt x="6220" y="2716"/>
                  </a:lnTo>
                  <a:lnTo>
                    <a:pt x="6216" y="2709"/>
                  </a:lnTo>
                  <a:lnTo>
                    <a:pt x="6215" y="2702"/>
                  </a:lnTo>
                  <a:lnTo>
                    <a:pt x="6216" y="2695"/>
                  </a:lnTo>
                  <a:lnTo>
                    <a:pt x="6220" y="2689"/>
                  </a:lnTo>
                  <a:lnTo>
                    <a:pt x="6227" y="2684"/>
                  </a:lnTo>
                  <a:lnTo>
                    <a:pt x="6236" y="2682"/>
                  </a:lnTo>
                  <a:close/>
                  <a:moveTo>
                    <a:pt x="6472" y="2682"/>
                  </a:moveTo>
                  <a:lnTo>
                    <a:pt x="6605" y="2682"/>
                  </a:lnTo>
                  <a:lnTo>
                    <a:pt x="6614" y="2684"/>
                  </a:lnTo>
                  <a:lnTo>
                    <a:pt x="6620" y="2689"/>
                  </a:lnTo>
                  <a:lnTo>
                    <a:pt x="6624" y="2695"/>
                  </a:lnTo>
                  <a:lnTo>
                    <a:pt x="6626" y="2702"/>
                  </a:lnTo>
                  <a:lnTo>
                    <a:pt x="6624" y="2709"/>
                  </a:lnTo>
                  <a:lnTo>
                    <a:pt x="6620" y="2716"/>
                  </a:lnTo>
                  <a:lnTo>
                    <a:pt x="6614" y="2721"/>
                  </a:lnTo>
                  <a:lnTo>
                    <a:pt x="6605" y="2722"/>
                  </a:lnTo>
                  <a:lnTo>
                    <a:pt x="6472" y="2722"/>
                  </a:lnTo>
                  <a:lnTo>
                    <a:pt x="6464" y="2721"/>
                  </a:lnTo>
                  <a:lnTo>
                    <a:pt x="6458" y="2716"/>
                  </a:lnTo>
                  <a:lnTo>
                    <a:pt x="6454" y="2709"/>
                  </a:lnTo>
                  <a:lnTo>
                    <a:pt x="6452" y="2702"/>
                  </a:lnTo>
                  <a:lnTo>
                    <a:pt x="6454" y="2695"/>
                  </a:lnTo>
                  <a:lnTo>
                    <a:pt x="6458" y="2689"/>
                  </a:lnTo>
                  <a:lnTo>
                    <a:pt x="6464" y="2684"/>
                  </a:lnTo>
                  <a:lnTo>
                    <a:pt x="6472" y="2682"/>
                  </a:lnTo>
                  <a:close/>
                  <a:moveTo>
                    <a:pt x="6709" y="2682"/>
                  </a:moveTo>
                  <a:lnTo>
                    <a:pt x="6842" y="2682"/>
                  </a:lnTo>
                  <a:lnTo>
                    <a:pt x="6851" y="2684"/>
                  </a:lnTo>
                  <a:lnTo>
                    <a:pt x="6858" y="2689"/>
                  </a:lnTo>
                  <a:lnTo>
                    <a:pt x="6861" y="2695"/>
                  </a:lnTo>
                  <a:lnTo>
                    <a:pt x="6863" y="2702"/>
                  </a:lnTo>
                  <a:lnTo>
                    <a:pt x="6861" y="2709"/>
                  </a:lnTo>
                  <a:lnTo>
                    <a:pt x="6858" y="2716"/>
                  </a:lnTo>
                  <a:lnTo>
                    <a:pt x="6851" y="2721"/>
                  </a:lnTo>
                  <a:lnTo>
                    <a:pt x="6842" y="2722"/>
                  </a:lnTo>
                  <a:lnTo>
                    <a:pt x="6709" y="2722"/>
                  </a:lnTo>
                  <a:lnTo>
                    <a:pt x="6700" y="2721"/>
                  </a:lnTo>
                  <a:lnTo>
                    <a:pt x="6693" y="2716"/>
                  </a:lnTo>
                  <a:lnTo>
                    <a:pt x="6690" y="2709"/>
                  </a:lnTo>
                  <a:lnTo>
                    <a:pt x="6688" y="2702"/>
                  </a:lnTo>
                  <a:lnTo>
                    <a:pt x="6690" y="2695"/>
                  </a:lnTo>
                  <a:lnTo>
                    <a:pt x="6693" y="2689"/>
                  </a:lnTo>
                  <a:lnTo>
                    <a:pt x="6700" y="2684"/>
                  </a:lnTo>
                  <a:lnTo>
                    <a:pt x="6709" y="2682"/>
                  </a:lnTo>
                  <a:close/>
                  <a:moveTo>
                    <a:pt x="6946" y="2682"/>
                  </a:moveTo>
                  <a:lnTo>
                    <a:pt x="7078" y="2682"/>
                  </a:lnTo>
                  <a:lnTo>
                    <a:pt x="7087" y="2684"/>
                  </a:lnTo>
                  <a:lnTo>
                    <a:pt x="7094" y="2689"/>
                  </a:lnTo>
                  <a:lnTo>
                    <a:pt x="7097" y="2695"/>
                  </a:lnTo>
                  <a:lnTo>
                    <a:pt x="7099" y="2702"/>
                  </a:lnTo>
                  <a:lnTo>
                    <a:pt x="7097" y="2709"/>
                  </a:lnTo>
                  <a:lnTo>
                    <a:pt x="7094" y="2716"/>
                  </a:lnTo>
                  <a:lnTo>
                    <a:pt x="7087" y="2721"/>
                  </a:lnTo>
                  <a:lnTo>
                    <a:pt x="7078" y="2722"/>
                  </a:lnTo>
                  <a:lnTo>
                    <a:pt x="6946" y="2722"/>
                  </a:lnTo>
                  <a:lnTo>
                    <a:pt x="6937" y="2721"/>
                  </a:lnTo>
                  <a:lnTo>
                    <a:pt x="6931" y="2716"/>
                  </a:lnTo>
                  <a:lnTo>
                    <a:pt x="6927" y="2709"/>
                  </a:lnTo>
                  <a:lnTo>
                    <a:pt x="6926" y="2702"/>
                  </a:lnTo>
                  <a:lnTo>
                    <a:pt x="6927" y="2695"/>
                  </a:lnTo>
                  <a:lnTo>
                    <a:pt x="6931" y="2689"/>
                  </a:lnTo>
                  <a:lnTo>
                    <a:pt x="6937" y="2684"/>
                  </a:lnTo>
                  <a:lnTo>
                    <a:pt x="6946" y="2682"/>
                  </a:lnTo>
                  <a:close/>
                  <a:moveTo>
                    <a:pt x="6236" y="2946"/>
                  </a:moveTo>
                  <a:lnTo>
                    <a:pt x="6369" y="2946"/>
                  </a:lnTo>
                  <a:lnTo>
                    <a:pt x="6378" y="2947"/>
                  </a:lnTo>
                  <a:lnTo>
                    <a:pt x="6384" y="2951"/>
                  </a:lnTo>
                  <a:lnTo>
                    <a:pt x="6387" y="2957"/>
                  </a:lnTo>
                  <a:lnTo>
                    <a:pt x="6388" y="2965"/>
                  </a:lnTo>
                  <a:lnTo>
                    <a:pt x="6387" y="2973"/>
                  </a:lnTo>
                  <a:lnTo>
                    <a:pt x="6384" y="2979"/>
                  </a:lnTo>
                  <a:lnTo>
                    <a:pt x="6378" y="2983"/>
                  </a:lnTo>
                  <a:lnTo>
                    <a:pt x="6369" y="2985"/>
                  </a:lnTo>
                  <a:lnTo>
                    <a:pt x="6236" y="2985"/>
                  </a:lnTo>
                  <a:lnTo>
                    <a:pt x="6227" y="2983"/>
                  </a:lnTo>
                  <a:lnTo>
                    <a:pt x="6220" y="2979"/>
                  </a:lnTo>
                  <a:lnTo>
                    <a:pt x="6216" y="2973"/>
                  </a:lnTo>
                  <a:lnTo>
                    <a:pt x="6215" y="2965"/>
                  </a:lnTo>
                  <a:lnTo>
                    <a:pt x="6216" y="2957"/>
                  </a:lnTo>
                  <a:lnTo>
                    <a:pt x="6220" y="2951"/>
                  </a:lnTo>
                  <a:lnTo>
                    <a:pt x="6227" y="2947"/>
                  </a:lnTo>
                  <a:lnTo>
                    <a:pt x="6236" y="2946"/>
                  </a:lnTo>
                  <a:close/>
                  <a:moveTo>
                    <a:pt x="6472" y="2946"/>
                  </a:moveTo>
                  <a:lnTo>
                    <a:pt x="6605" y="2946"/>
                  </a:lnTo>
                  <a:lnTo>
                    <a:pt x="6614" y="2947"/>
                  </a:lnTo>
                  <a:lnTo>
                    <a:pt x="6620" y="2951"/>
                  </a:lnTo>
                  <a:lnTo>
                    <a:pt x="6624" y="2957"/>
                  </a:lnTo>
                  <a:lnTo>
                    <a:pt x="6626" y="2965"/>
                  </a:lnTo>
                  <a:lnTo>
                    <a:pt x="6624" y="2973"/>
                  </a:lnTo>
                  <a:lnTo>
                    <a:pt x="6620" y="2979"/>
                  </a:lnTo>
                  <a:lnTo>
                    <a:pt x="6614" y="2983"/>
                  </a:lnTo>
                  <a:lnTo>
                    <a:pt x="6605" y="2985"/>
                  </a:lnTo>
                  <a:lnTo>
                    <a:pt x="6472" y="2985"/>
                  </a:lnTo>
                  <a:lnTo>
                    <a:pt x="6464" y="2983"/>
                  </a:lnTo>
                  <a:lnTo>
                    <a:pt x="6458" y="2979"/>
                  </a:lnTo>
                  <a:lnTo>
                    <a:pt x="6454" y="2973"/>
                  </a:lnTo>
                  <a:lnTo>
                    <a:pt x="6452" y="2965"/>
                  </a:lnTo>
                  <a:lnTo>
                    <a:pt x="6454" y="2957"/>
                  </a:lnTo>
                  <a:lnTo>
                    <a:pt x="6458" y="2951"/>
                  </a:lnTo>
                  <a:lnTo>
                    <a:pt x="6464" y="2947"/>
                  </a:lnTo>
                  <a:lnTo>
                    <a:pt x="6472" y="2946"/>
                  </a:lnTo>
                  <a:close/>
                  <a:moveTo>
                    <a:pt x="6709" y="2946"/>
                  </a:moveTo>
                  <a:lnTo>
                    <a:pt x="6842" y="2946"/>
                  </a:lnTo>
                  <a:lnTo>
                    <a:pt x="6851" y="2947"/>
                  </a:lnTo>
                  <a:lnTo>
                    <a:pt x="6858" y="2951"/>
                  </a:lnTo>
                  <a:lnTo>
                    <a:pt x="6861" y="2957"/>
                  </a:lnTo>
                  <a:lnTo>
                    <a:pt x="6863" y="2965"/>
                  </a:lnTo>
                  <a:lnTo>
                    <a:pt x="6861" y="2973"/>
                  </a:lnTo>
                  <a:lnTo>
                    <a:pt x="6858" y="2979"/>
                  </a:lnTo>
                  <a:lnTo>
                    <a:pt x="6851" y="2983"/>
                  </a:lnTo>
                  <a:lnTo>
                    <a:pt x="6842" y="2985"/>
                  </a:lnTo>
                  <a:lnTo>
                    <a:pt x="6709" y="2985"/>
                  </a:lnTo>
                  <a:lnTo>
                    <a:pt x="6700" y="2983"/>
                  </a:lnTo>
                  <a:lnTo>
                    <a:pt x="6693" y="2979"/>
                  </a:lnTo>
                  <a:lnTo>
                    <a:pt x="6690" y="2973"/>
                  </a:lnTo>
                  <a:lnTo>
                    <a:pt x="6688" y="2965"/>
                  </a:lnTo>
                  <a:lnTo>
                    <a:pt x="6690" y="2957"/>
                  </a:lnTo>
                  <a:lnTo>
                    <a:pt x="6693" y="2951"/>
                  </a:lnTo>
                  <a:lnTo>
                    <a:pt x="6700" y="2947"/>
                  </a:lnTo>
                  <a:lnTo>
                    <a:pt x="6709" y="2946"/>
                  </a:lnTo>
                  <a:close/>
                  <a:moveTo>
                    <a:pt x="6946" y="2946"/>
                  </a:moveTo>
                  <a:lnTo>
                    <a:pt x="7078" y="2946"/>
                  </a:lnTo>
                  <a:lnTo>
                    <a:pt x="7087" y="2947"/>
                  </a:lnTo>
                  <a:lnTo>
                    <a:pt x="7094" y="2951"/>
                  </a:lnTo>
                  <a:lnTo>
                    <a:pt x="7097" y="2957"/>
                  </a:lnTo>
                  <a:lnTo>
                    <a:pt x="7099" y="2965"/>
                  </a:lnTo>
                  <a:lnTo>
                    <a:pt x="7097" y="2973"/>
                  </a:lnTo>
                  <a:lnTo>
                    <a:pt x="7094" y="2979"/>
                  </a:lnTo>
                  <a:lnTo>
                    <a:pt x="7087" y="2983"/>
                  </a:lnTo>
                  <a:lnTo>
                    <a:pt x="7078" y="2985"/>
                  </a:lnTo>
                  <a:lnTo>
                    <a:pt x="6946" y="2985"/>
                  </a:lnTo>
                  <a:lnTo>
                    <a:pt x="6937" y="2983"/>
                  </a:lnTo>
                  <a:lnTo>
                    <a:pt x="6931" y="2979"/>
                  </a:lnTo>
                  <a:lnTo>
                    <a:pt x="6927" y="2973"/>
                  </a:lnTo>
                  <a:lnTo>
                    <a:pt x="6926" y="2965"/>
                  </a:lnTo>
                  <a:lnTo>
                    <a:pt x="6927" y="2957"/>
                  </a:lnTo>
                  <a:lnTo>
                    <a:pt x="6931" y="2951"/>
                  </a:lnTo>
                  <a:lnTo>
                    <a:pt x="6937" y="2947"/>
                  </a:lnTo>
                  <a:lnTo>
                    <a:pt x="6946" y="2946"/>
                  </a:lnTo>
                  <a:close/>
                  <a:moveTo>
                    <a:pt x="6236" y="3208"/>
                  </a:moveTo>
                  <a:lnTo>
                    <a:pt x="6369" y="3208"/>
                  </a:lnTo>
                  <a:lnTo>
                    <a:pt x="6378" y="3211"/>
                  </a:lnTo>
                  <a:lnTo>
                    <a:pt x="6384" y="3214"/>
                  </a:lnTo>
                  <a:lnTo>
                    <a:pt x="6387" y="3221"/>
                  </a:lnTo>
                  <a:lnTo>
                    <a:pt x="6388" y="3228"/>
                  </a:lnTo>
                  <a:lnTo>
                    <a:pt x="6387" y="3236"/>
                  </a:lnTo>
                  <a:lnTo>
                    <a:pt x="6384" y="3242"/>
                  </a:lnTo>
                  <a:lnTo>
                    <a:pt x="6378" y="3246"/>
                  </a:lnTo>
                  <a:lnTo>
                    <a:pt x="6369" y="3248"/>
                  </a:lnTo>
                  <a:lnTo>
                    <a:pt x="6236" y="3248"/>
                  </a:lnTo>
                  <a:lnTo>
                    <a:pt x="6227" y="3246"/>
                  </a:lnTo>
                  <a:lnTo>
                    <a:pt x="6220" y="3242"/>
                  </a:lnTo>
                  <a:lnTo>
                    <a:pt x="6216" y="3236"/>
                  </a:lnTo>
                  <a:lnTo>
                    <a:pt x="6215" y="3228"/>
                  </a:lnTo>
                  <a:lnTo>
                    <a:pt x="6216" y="3221"/>
                  </a:lnTo>
                  <a:lnTo>
                    <a:pt x="6220" y="3214"/>
                  </a:lnTo>
                  <a:lnTo>
                    <a:pt x="6227" y="3211"/>
                  </a:lnTo>
                  <a:lnTo>
                    <a:pt x="6236" y="3208"/>
                  </a:lnTo>
                  <a:close/>
                  <a:moveTo>
                    <a:pt x="6472" y="3208"/>
                  </a:moveTo>
                  <a:lnTo>
                    <a:pt x="6605" y="3208"/>
                  </a:lnTo>
                  <a:lnTo>
                    <a:pt x="6614" y="3211"/>
                  </a:lnTo>
                  <a:lnTo>
                    <a:pt x="6620" y="3214"/>
                  </a:lnTo>
                  <a:lnTo>
                    <a:pt x="6624" y="3221"/>
                  </a:lnTo>
                  <a:lnTo>
                    <a:pt x="6626" y="3228"/>
                  </a:lnTo>
                  <a:lnTo>
                    <a:pt x="6624" y="3236"/>
                  </a:lnTo>
                  <a:lnTo>
                    <a:pt x="6620" y="3242"/>
                  </a:lnTo>
                  <a:lnTo>
                    <a:pt x="6614" y="3246"/>
                  </a:lnTo>
                  <a:lnTo>
                    <a:pt x="6605" y="3248"/>
                  </a:lnTo>
                  <a:lnTo>
                    <a:pt x="6472" y="3248"/>
                  </a:lnTo>
                  <a:lnTo>
                    <a:pt x="6464" y="3246"/>
                  </a:lnTo>
                  <a:lnTo>
                    <a:pt x="6458" y="3242"/>
                  </a:lnTo>
                  <a:lnTo>
                    <a:pt x="6454" y="3236"/>
                  </a:lnTo>
                  <a:lnTo>
                    <a:pt x="6452" y="3228"/>
                  </a:lnTo>
                  <a:lnTo>
                    <a:pt x="6454" y="3221"/>
                  </a:lnTo>
                  <a:lnTo>
                    <a:pt x="6458" y="3214"/>
                  </a:lnTo>
                  <a:lnTo>
                    <a:pt x="6464" y="3211"/>
                  </a:lnTo>
                  <a:lnTo>
                    <a:pt x="6472" y="3208"/>
                  </a:lnTo>
                  <a:close/>
                  <a:moveTo>
                    <a:pt x="6709" y="3208"/>
                  </a:moveTo>
                  <a:lnTo>
                    <a:pt x="6842" y="3208"/>
                  </a:lnTo>
                  <a:lnTo>
                    <a:pt x="6851" y="3211"/>
                  </a:lnTo>
                  <a:lnTo>
                    <a:pt x="6858" y="3214"/>
                  </a:lnTo>
                  <a:lnTo>
                    <a:pt x="6861" y="3221"/>
                  </a:lnTo>
                  <a:lnTo>
                    <a:pt x="6863" y="3228"/>
                  </a:lnTo>
                  <a:lnTo>
                    <a:pt x="6861" y="3236"/>
                  </a:lnTo>
                  <a:lnTo>
                    <a:pt x="6858" y="3242"/>
                  </a:lnTo>
                  <a:lnTo>
                    <a:pt x="6851" y="3246"/>
                  </a:lnTo>
                  <a:lnTo>
                    <a:pt x="6842" y="3248"/>
                  </a:lnTo>
                  <a:lnTo>
                    <a:pt x="6709" y="3248"/>
                  </a:lnTo>
                  <a:lnTo>
                    <a:pt x="6700" y="3246"/>
                  </a:lnTo>
                  <a:lnTo>
                    <a:pt x="6693" y="3242"/>
                  </a:lnTo>
                  <a:lnTo>
                    <a:pt x="6690" y="3236"/>
                  </a:lnTo>
                  <a:lnTo>
                    <a:pt x="6688" y="3228"/>
                  </a:lnTo>
                  <a:lnTo>
                    <a:pt x="6690" y="3221"/>
                  </a:lnTo>
                  <a:lnTo>
                    <a:pt x="6693" y="3214"/>
                  </a:lnTo>
                  <a:lnTo>
                    <a:pt x="6700" y="3211"/>
                  </a:lnTo>
                  <a:lnTo>
                    <a:pt x="6709" y="3208"/>
                  </a:lnTo>
                  <a:close/>
                  <a:moveTo>
                    <a:pt x="6946" y="3208"/>
                  </a:moveTo>
                  <a:lnTo>
                    <a:pt x="7078" y="3208"/>
                  </a:lnTo>
                  <a:lnTo>
                    <a:pt x="7087" y="3211"/>
                  </a:lnTo>
                  <a:lnTo>
                    <a:pt x="7094" y="3214"/>
                  </a:lnTo>
                  <a:lnTo>
                    <a:pt x="7097" y="3221"/>
                  </a:lnTo>
                  <a:lnTo>
                    <a:pt x="7099" y="3228"/>
                  </a:lnTo>
                  <a:lnTo>
                    <a:pt x="7097" y="3236"/>
                  </a:lnTo>
                  <a:lnTo>
                    <a:pt x="7094" y="3242"/>
                  </a:lnTo>
                  <a:lnTo>
                    <a:pt x="7087" y="3246"/>
                  </a:lnTo>
                  <a:lnTo>
                    <a:pt x="7078" y="3248"/>
                  </a:lnTo>
                  <a:lnTo>
                    <a:pt x="6946" y="3248"/>
                  </a:lnTo>
                  <a:lnTo>
                    <a:pt x="6937" y="3246"/>
                  </a:lnTo>
                  <a:lnTo>
                    <a:pt x="6931" y="3242"/>
                  </a:lnTo>
                  <a:lnTo>
                    <a:pt x="6927" y="3236"/>
                  </a:lnTo>
                  <a:lnTo>
                    <a:pt x="6926" y="3228"/>
                  </a:lnTo>
                  <a:lnTo>
                    <a:pt x="6927" y="3221"/>
                  </a:lnTo>
                  <a:lnTo>
                    <a:pt x="6931" y="3214"/>
                  </a:lnTo>
                  <a:lnTo>
                    <a:pt x="6937" y="3211"/>
                  </a:lnTo>
                  <a:lnTo>
                    <a:pt x="6946" y="3208"/>
                  </a:lnTo>
                  <a:close/>
                  <a:moveTo>
                    <a:pt x="6236" y="3471"/>
                  </a:moveTo>
                  <a:lnTo>
                    <a:pt x="6369" y="3471"/>
                  </a:lnTo>
                  <a:lnTo>
                    <a:pt x="6378" y="3473"/>
                  </a:lnTo>
                  <a:lnTo>
                    <a:pt x="6384" y="3478"/>
                  </a:lnTo>
                  <a:lnTo>
                    <a:pt x="6387" y="3484"/>
                  </a:lnTo>
                  <a:lnTo>
                    <a:pt x="6388" y="3492"/>
                  </a:lnTo>
                  <a:lnTo>
                    <a:pt x="6387" y="3498"/>
                  </a:lnTo>
                  <a:lnTo>
                    <a:pt x="6384" y="3505"/>
                  </a:lnTo>
                  <a:lnTo>
                    <a:pt x="6378" y="3510"/>
                  </a:lnTo>
                  <a:lnTo>
                    <a:pt x="6369" y="3511"/>
                  </a:lnTo>
                  <a:lnTo>
                    <a:pt x="6236" y="3511"/>
                  </a:lnTo>
                  <a:lnTo>
                    <a:pt x="6227" y="3510"/>
                  </a:lnTo>
                  <a:lnTo>
                    <a:pt x="6220" y="3505"/>
                  </a:lnTo>
                  <a:lnTo>
                    <a:pt x="6216" y="3498"/>
                  </a:lnTo>
                  <a:lnTo>
                    <a:pt x="6215" y="3492"/>
                  </a:lnTo>
                  <a:lnTo>
                    <a:pt x="6216" y="3484"/>
                  </a:lnTo>
                  <a:lnTo>
                    <a:pt x="6220" y="3478"/>
                  </a:lnTo>
                  <a:lnTo>
                    <a:pt x="6227" y="3473"/>
                  </a:lnTo>
                  <a:lnTo>
                    <a:pt x="6236" y="3471"/>
                  </a:lnTo>
                  <a:close/>
                  <a:moveTo>
                    <a:pt x="6472" y="3471"/>
                  </a:moveTo>
                  <a:lnTo>
                    <a:pt x="6605" y="3471"/>
                  </a:lnTo>
                  <a:lnTo>
                    <a:pt x="6614" y="3473"/>
                  </a:lnTo>
                  <a:lnTo>
                    <a:pt x="6620" y="3478"/>
                  </a:lnTo>
                  <a:lnTo>
                    <a:pt x="6624" y="3484"/>
                  </a:lnTo>
                  <a:lnTo>
                    <a:pt x="6626" y="3492"/>
                  </a:lnTo>
                  <a:lnTo>
                    <a:pt x="6624" y="3498"/>
                  </a:lnTo>
                  <a:lnTo>
                    <a:pt x="6620" y="3505"/>
                  </a:lnTo>
                  <a:lnTo>
                    <a:pt x="6614" y="3510"/>
                  </a:lnTo>
                  <a:lnTo>
                    <a:pt x="6605" y="3511"/>
                  </a:lnTo>
                  <a:lnTo>
                    <a:pt x="6472" y="3511"/>
                  </a:lnTo>
                  <a:lnTo>
                    <a:pt x="6464" y="3510"/>
                  </a:lnTo>
                  <a:lnTo>
                    <a:pt x="6458" y="3505"/>
                  </a:lnTo>
                  <a:lnTo>
                    <a:pt x="6454" y="3498"/>
                  </a:lnTo>
                  <a:lnTo>
                    <a:pt x="6452" y="3492"/>
                  </a:lnTo>
                  <a:lnTo>
                    <a:pt x="6454" y="3484"/>
                  </a:lnTo>
                  <a:lnTo>
                    <a:pt x="6458" y="3478"/>
                  </a:lnTo>
                  <a:lnTo>
                    <a:pt x="6464" y="3473"/>
                  </a:lnTo>
                  <a:lnTo>
                    <a:pt x="6472" y="3471"/>
                  </a:lnTo>
                  <a:close/>
                  <a:moveTo>
                    <a:pt x="6709" y="3471"/>
                  </a:moveTo>
                  <a:lnTo>
                    <a:pt x="6842" y="3471"/>
                  </a:lnTo>
                  <a:lnTo>
                    <a:pt x="6851" y="3473"/>
                  </a:lnTo>
                  <a:lnTo>
                    <a:pt x="6858" y="3478"/>
                  </a:lnTo>
                  <a:lnTo>
                    <a:pt x="6861" y="3484"/>
                  </a:lnTo>
                  <a:lnTo>
                    <a:pt x="6863" y="3492"/>
                  </a:lnTo>
                  <a:lnTo>
                    <a:pt x="6861" y="3498"/>
                  </a:lnTo>
                  <a:lnTo>
                    <a:pt x="6858" y="3505"/>
                  </a:lnTo>
                  <a:lnTo>
                    <a:pt x="6851" y="3510"/>
                  </a:lnTo>
                  <a:lnTo>
                    <a:pt x="6842" y="3511"/>
                  </a:lnTo>
                  <a:lnTo>
                    <a:pt x="6709" y="3511"/>
                  </a:lnTo>
                  <a:lnTo>
                    <a:pt x="6700" y="3510"/>
                  </a:lnTo>
                  <a:lnTo>
                    <a:pt x="6693" y="3505"/>
                  </a:lnTo>
                  <a:lnTo>
                    <a:pt x="6690" y="3498"/>
                  </a:lnTo>
                  <a:lnTo>
                    <a:pt x="6688" y="3492"/>
                  </a:lnTo>
                  <a:lnTo>
                    <a:pt x="6690" y="3484"/>
                  </a:lnTo>
                  <a:lnTo>
                    <a:pt x="6693" y="3478"/>
                  </a:lnTo>
                  <a:lnTo>
                    <a:pt x="6700" y="3473"/>
                  </a:lnTo>
                  <a:lnTo>
                    <a:pt x="6709" y="3471"/>
                  </a:lnTo>
                  <a:close/>
                  <a:moveTo>
                    <a:pt x="6946" y="3471"/>
                  </a:moveTo>
                  <a:lnTo>
                    <a:pt x="7078" y="3471"/>
                  </a:lnTo>
                  <a:lnTo>
                    <a:pt x="7087" y="3473"/>
                  </a:lnTo>
                  <a:lnTo>
                    <a:pt x="7094" y="3478"/>
                  </a:lnTo>
                  <a:lnTo>
                    <a:pt x="7097" y="3484"/>
                  </a:lnTo>
                  <a:lnTo>
                    <a:pt x="7099" y="3492"/>
                  </a:lnTo>
                  <a:lnTo>
                    <a:pt x="7097" y="3498"/>
                  </a:lnTo>
                  <a:lnTo>
                    <a:pt x="7094" y="3505"/>
                  </a:lnTo>
                  <a:lnTo>
                    <a:pt x="7087" y="3510"/>
                  </a:lnTo>
                  <a:lnTo>
                    <a:pt x="7078" y="3511"/>
                  </a:lnTo>
                  <a:lnTo>
                    <a:pt x="6946" y="3511"/>
                  </a:lnTo>
                  <a:lnTo>
                    <a:pt x="6937" y="3510"/>
                  </a:lnTo>
                  <a:lnTo>
                    <a:pt x="6931" y="3505"/>
                  </a:lnTo>
                  <a:lnTo>
                    <a:pt x="6927" y="3498"/>
                  </a:lnTo>
                  <a:lnTo>
                    <a:pt x="6926" y="3492"/>
                  </a:lnTo>
                  <a:lnTo>
                    <a:pt x="6927" y="3484"/>
                  </a:lnTo>
                  <a:lnTo>
                    <a:pt x="6931" y="3478"/>
                  </a:lnTo>
                  <a:lnTo>
                    <a:pt x="6937" y="3473"/>
                  </a:lnTo>
                  <a:lnTo>
                    <a:pt x="6946" y="3471"/>
                  </a:lnTo>
                  <a:close/>
                  <a:moveTo>
                    <a:pt x="6236" y="3735"/>
                  </a:moveTo>
                  <a:lnTo>
                    <a:pt x="6369" y="3735"/>
                  </a:lnTo>
                  <a:lnTo>
                    <a:pt x="6378" y="3736"/>
                  </a:lnTo>
                  <a:lnTo>
                    <a:pt x="6384" y="3741"/>
                  </a:lnTo>
                  <a:lnTo>
                    <a:pt x="6387" y="3748"/>
                  </a:lnTo>
                  <a:lnTo>
                    <a:pt x="6388" y="3754"/>
                  </a:lnTo>
                  <a:lnTo>
                    <a:pt x="6387" y="3762"/>
                  </a:lnTo>
                  <a:lnTo>
                    <a:pt x="6384" y="3768"/>
                  </a:lnTo>
                  <a:lnTo>
                    <a:pt x="6378" y="3773"/>
                  </a:lnTo>
                  <a:lnTo>
                    <a:pt x="6369" y="3774"/>
                  </a:lnTo>
                  <a:lnTo>
                    <a:pt x="6236" y="3774"/>
                  </a:lnTo>
                  <a:lnTo>
                    <a:pt x="6227" y="3773"/>
                  </a:lnTo>
                  <a:lnTo>
                    <a:pt x="6220" y="3768"/>
                  </a:lnTo>
                  <a:lnTo>
                    <a:pt x="6216" y="3762"/>
                  </a:lnTo>
                  <a:lnTo>
                    <a:pt x="6215" y="3754"/>
                  </a:lnTo>
                  <a:lnTo>
                    <a:pt x="6216" y="3748"/>
                  </a:lnTo>
                  <a:lnTo>
                    <a:pt x="6220" y="3741"/>
                  </a:lnTo>
                  <a:lnTo>
                    <a:pt x="6227" y="3736"/>
                  </a:lnTo>
                  <a:lnTo>
                    <a:pt x="6236" y="3735"/>
                  </a:lnTo>
                  <a:close/>
                  <a:moveTo>
                    <a:pt x="6472" y="3735"/>
                  </a:moveTo>
                  <a:lnTo>
                    <a:pt x="6605" y="3735"/>
                  </a:lnTo>
                  <a:lnTo>
                    <a:pt x="6614" y="3736"/>
                  </a:lnTo>
                  <a:lnTo>
                    <a:pt x="6620" y="3741"/>
                  </a:lnTo>
                  <a:lnTo>
                    <a:pt x="6624" y="3748"/>
                  </a:lnTo>
                  <a:lnTo>
                    <a:pt x="6626" y="3754"/>
                  </a:lnTo>
                  <a:lnTo>
                    <a:pt x="6624" y="3762"/>
                  </a:lnTo>
                  <a:lnTo>
                    <a:pt x="6620" y="3768"/>
                  </a:lnTo>
                  <a:lnTo>
                    <a:pt x="6614" y="3773"/>
                  </a:lnTo>
                  <a:lnTo>
                    <a:pt x="6605" y="3774"/>
                  </a:lnTo>
                  <a:lnTo>
                    <a:pt x="6472" y="3774"/>
                  </a:lnTo>
                  <a:lnTo>
                    <a:pt x="6464" y="3773"/>
                  </a:lnTo>
                  <a:lnTo>
                    <a:pt x="6458" y="3768"/>
                  </a:lnTo>
                  <a:lnTo>
                    <a:pt x="6454" y="3762"/>
                  </a:lnTo>
                  <a:lnTo>
                    <a:pt x="6452" y="3754"/>
                  </a:lnTo>
                  <a:lnTo>
                    <a:pt x="6454" y="3748"/>
                  </a:lnTo>
                  <a:lnTo>
                    <a:pt x="6458" y="3741"/>
                  </a:lnTo>
                  <a:lnTo>
                    <a:pt x="6464" y="3736"/>
                  </a:lnTo>
                  <a:lnTo>
                    <a:pt x="6472" y="3735"/>
                  </a:lnTo>
                  <a:close/>
                  <a:moveTo>
                    <a:pt x="6709" y="3735"/>
                  </a:moveTo>
                  <a:lnTo>
                    <a:pt x="6842" y="3735"/>
                  </a:lnTo>
                  <a:lnTo>
                    <a:pt x="6851" y="3736"/>
                  </a:lnTo>
                  <a:lnTo>
                    <a:pt x="6858" y="3741"/>
                  </a:lnTo>
                  <a:lnTo>
                    <a:pt x="6861" y="3748"/>
                  </a:lnTo>
                  <a:lnTo>
                    <a:pt x="6863" y="3754"/>
                  </a:lnTo>
                  <a:lnTo>
                    <a:pt x="6861" y="3762"/>
                  </a:lnTo>
                  <a:lnTo>
                    <a:pt x="6858" y="3768"/>
                  </a:lnTo>
                  <a:lnTo>
                    <a:pt x="6851" y="3773"/>
                  </a:lnTo>
                  <a:lnTo>
                    <a:pt x="6842" y="3774"/>
                  </a:lnTo>
                  <a:lnTo>
                    <a:pt x="6709" y="3774"/>
                  </a:lnTo>
                  <a:lnTo>
                    <a:pt x="6700" y="3773"/>
                  </a:lnTo>
                  <a:lnTo>
                    <a:pt x="6693" y="3768"/>
                  </a:lnTo>
                  <a:lnTo>
                    <a:pt x="6690" y="3762"/>
                  </a:lnTo>
                  <a:lnTo>
                    <a:pt x="6688" y="3754"/>
                  </a:lnTo>
                  <a:lnTo>
                    <a:pt x="6690" y="3748"/>
                  </a:lnTo>
                  <a:lnTo>
                    <a:pt x="6693" y="3741"/>
                  </a:lnTo>
                  <a:lnTo>
                    <a:pt x="6700" y="3736"/>
                  </a:lnTo>
                  <a:lnTo>
                    <a:pt x="6709" y="3735"/>
                  </a:lnTo>
                  <a:close/>
                  <a:moveTo>
                    <a:pt x="6946" y="3735"/>
                  </a:moveTo>
                  <a:lnTo>
                    <a:pt x="7078" y="3735"/>
                  </a:lnTo>
                  <a:lnTo>
                    <a:pt x="7087" y="3736"/>
                  </a:lnTo>
                  <a:lnTo>
                    <a:pt x="7094" y="3741"/>
                  </a:lnTo>
                  <a:lnTo>
                    <a:pt x="7097" y="3748"/>
                  </a:lnTo>
                  <a:lnTo>
                    <a:pt x="7099" y="3754"/>
                  </a:lnTo>
                  <a:lnTo>
                    <a:pt x="7097" y="3762"/>
                  </a:lnTo>
                  <a:lnTo>
                    <a:pt x="7094" y="3768"/>
                  </a:lnTo>
                  <a:lnTo>
                    <a:pt x="7087" y="3773"/>
                  </a:lnTo>
                  <a:lnTo>
                    <a:pt x="7078" y="3774"/>
                  </a:lnTo>
                  <a:lnTo>
                    <a:pt x="6946" y="3774"/>
                  </a:lnTo>
                  <a:lnTo>
                    <a:pt x="6937" y="3773"/>
                  </a:lnTo>
                  <a:lnTo>
                    <a:pt x="6931" y="3768"/>
                  </a:lnTo>
                  <a:lnTo>
                    <a:pt x="6927" y="3762"/>
                  </a:lnTo>
                  <a:lnTo>
                    <a:pt x="6926" y="3754"/>
                  </a:lnTo>
                  <a:lnTo>
                    <a:pt x="6927" y="3748"/>
                  </a:lnTo>
                  <a:lnTo>
                    <a:pt x="6931" y="3741"/>
                  </a:lnTo>
                  <a:lnTo>
                    <a:pt x="6937" y="3736"/>
                  </a:lnTo>
                  <a:lnTo>
                    <a:pt x="6946" y="3735"/>
                  </a:lnTo>
                  <a:close/>
                  <a:moveTo>
                    <a:pt x="6236" y="3997"/>
                  </a:moveTo>
                  <a:lnTo>
                    <a:pt x="6369" y="3997"/>
                  </a:lnTo>
                  <a:lnTo>
                    <a:pt x="6378" y="3999"/>
                  </a:lnTo>
                  <a:lnTo>
                    <a:pt x="6384" y="4003"/>
                  </a:lnTo>
                  <a:lnTo>
                    <a:pt x="6387" y="4010"/>
                  </a:lnTo>
                  <a:lnTo>
                    <a:pt x="6388" y="4017"/>
                  </a:lnTo>
                  <a:lnTo>
                    <a:pt x="6387" y="4025"/>
                  </a:lnTo>
                  <a:lnTo>
                    <a:pt x="6384" y="4031"/>
                  </a:lnTo>
                  <a:lnTo>
                    <a:pt x="6378" y="4035"/>
                  </a:lnTo>
                  <a:lnTo>
                    <a:pt x="6369" y="4038"/>
                  </a:lnTo>
                  <a:lnTo>
                    <a:pt x="6236" y="4038"/>
                  </a:lnTo>
                  <a:lnTo>
                    <a:pt x="6227" y="4035"/>
                  </a:lnTo>
                  <a:lnTo>
                    <a:pt x="6220" y="4031"/>
                  </a:lnTo>
                  <a:lnTo>
                    <a:pt x="6216" y="4025"/>
                  </a:lnTo>
                  <a:lnTo>
                    <a:pt x="6215" y="4017"/>
                  </a:lnTo>
                  <a:lnTo>
                    <a:pt x="6216" y="4010"/>
                  </a:lnTo>
                  <a:lnTo>
                    <a:pt x="6220" y="4003"/>
                  </a:lnTo>
                  <a:lnTo>
                    <a:pt x="6227" y="3999"/>
                  </a:lnTo>
                  <a:lnTo>
                    <a:pt x="6236" y="3997"/>
                  </a:lnTo>
                  <a:close/>
                  <a:moveTo>
                    <a:pt x="6472" y="3997"/>
                  </a:moveTo>
                  <a:lnTo>
                    <a:pt x="6605" y="3997"/>
                  </a:lnTo>
                  <a:lnTo>
                    <a:pt x="6614" y="3999"/>
                  </a:lnTo>
                  <a:lnTo>
                    <a:pt x="6620" y="4003"/>
                  </a:lnTo>
                  <a:lnTo>
                    <a:pt x="6624" y="4010"/>
                  </a:lnTo>
                  <a:lnTo>
                    <a:pt x="6626" y="4017"/>
                  </a:lnTo>
                  <a:lnTo>
                    <a:pt x="6624" y="4025"/>
                  </a:lnTo>
                  <a:lnTo>
                    <a:pt x="6620" y="4031"/>
                  </a:lnTo>
                  <a:lnTo>
                    <a:pt x="6614" y="4035"/>
                  </a:lnTo>
                  <a:lnTo>
                    <a:pt x="6605" y="4038"/>
                  </a:lnTo>
                  <a:lnTo>
                    <a:pt x="6472" y="4038"/>
                  </a:lnTo>
                  <a:lnTo>
                    <a:pt x="6464" y="4035"/>
                  </a:lnTo>
                  <a:lnTo>
                    <a:pt x="6458" y="4031"/>
                  </a:lnTo>
                  <a:lnTo>
                    <a:pt x="6454" y="4025"/>
                  </a:lnTo>
                  <a:lnTo>
                    <a:pt x="6452" y="4017"/>
                  </a:lnTo>
                  <a:lnTo>
                    <a:pt x="6454" y="4010"/>
                  </a:lnTo>
                  <a:lnTo>
                    <a:pt x="6458" y="4003"/>
                  </a:lnTo>
                  <a:lnTo>
                    <a:pt x="6464" y="3999"/>
                  </a:lnTo>
                  <a:lnTo>
                    <a:pt x="6472" y="3997"/>
                  </a:lnTo>
                  <a:close/>
                  <a:moveTo>
                    <a:pt x="6709" y="3997"/>
                  </a:moveTo>
                  <a:lnTo>
                    <a:pt x="6842" y="3997"/>
                  </a:lnTo>
                  <a:lnTo>
                    <a:pt x="6851" y="3999"/>
                  </a:lnTo>
                  <a:lnTo>
                    <a:pt x="6858" y="4003"/>
                  </a:lnTo>
                  <a:lnTo>
                    <a:pt x="6861" y="4010"/>
                  </a:lnTo>
                  <a:lnTo>
                    <a:pt x="6863" y="4017"/>
                  </a:lnTo>
                  <a:lnTo>
                    <a:pt x="6861" y="4025"/>
                  </a:lnTo>
                  <a:lnTo>
                    <a:pt x="6858" y="4031"/>
                  </a:lnTo>
                  <a:lnTo>
                    <a:pt x="6851" y="4035"/>
                  </a:lnTo>
                  <a:lnTo>
                    <a:pt x="6842" y="4038"/>
                  </a:lnTo>
                  <a:lnTo>
                    <a:pt x="6709" y="4038"/>
                  </a:lnTo>
                  <a:lnTo>
                    <a:pt x="6700" y="4035"/>
                  </a:lnTo>
                  <a:lnTo>
                    <a:pt x="6693" y="4031"/>
                  </a:lnTo>
                  <a:lnTo>
                    <a:pt x="6690" y="4025"/>
                  </a:lnTo>
                  <a:lnTo>
                    <a:pt x="6688" y="4017"/>
                  </a:lnTo>
                  <a:lnTo>
                    <a:pt x="6690" y="4010"/>
                  </a:lnTo>
                  <a:lnTo>
                    <a:pt x="6693" y="4003"/>
                  </a:lnTo>
                  <a:lnTo>
                    <a:pt x="6700" y="3999"/>
                  </a:lnTo>
                  <a:lnTo>
                    <a:pt x="6709" y="3997"/>
                  </a:lnTo>
                  <a:close/>
                  <a:moveTo>
                    <a:pt x="6946" y="3997"/>
                  </a:moveTo>
                  <a:lnTo>
                    <a:pt x="7078" y="3997"/>
                  </a:lnTo>
                  <a:lnTo>
                    <a:pt x="7087" y="3999"/>
                  </a:lnTo>
                  <a:lnTo>
                    <a:pt x="7094" y="4003"/>
                  </a:lnTo>
                  <a:lnTo>
                    <a:pt x="7097" y="4010"/>
                  </a:lnTo>
                  <a:lnTo>
                    <a:pt x="7099" y="4017"/>
                  </a:lnTo>
                  <a:lnTo>
                    <a:pt x="7097" y="4025"/>
                  </a:lnTo>
                  <a:lnTo>
                    <a:pt x="7094" y="4031"/>
                  </a:lnTo>
                  <a:lnTo>
                    <a:pt x="7087" y="4035"/>
                  </a:lnTo>
                  <a:lnTo>
                    <a:pt x="7078" y="4038"/>
                  </a:lnTo>
                  <a:lnTo>
                    <a:pt x="6946" y="4038"/>
                  </a:lnTo>
                  <a:lnTo>
                    <a:pt x="6937" y="4035"/>
                  </a:lnTo>
                  <a:lnTo>
                    <a:pt x="6931" y="4031"/>
                  </a:lnTo>
                  <a:lnTo>
                    <a:pt x="6927" y="4025"/>
                  </a:lnTo>
                  <a:lnTo>
                    <a:pt x="6926" y="4017"/>
                  </a:lnTo>
                  <a:lnTo>
                    <a:pt x="6927" y="4010"/>
                  </a:lnTo>
                  <a:lnTo>
                    <a:pt x="6931" y="4003"/>
                  </a:lnTo>
                  <a:lnTo>
                    <a:pt x="6937" y="3999"/>
                  </a:lnTo>
                  <a:lnTo>
                    <a:pt x="6946" y="3997"/>
                  </a:lnTo>
                  <a:close/>
                  <a:moveTo>
                    <a:pt x="7545" y="2941"/>
                  </a:moveTo>
                  <a:lnTo>
                    <a:pt x="7545" y="3052"/>
                  </a:lnTo>
                  <a:lnTo>
                    <a:pt x="7542" y="3061"/>
                  </a:lnTo>
                  <a:lnTo>
                    <a:pt x="7539" y="3067"/>
                  </a:lnTo>
                  <a:lnTo>
                    <a:pt x="7532" y="3071"/>
                  </a:lnTo>
                  <a:lnTo>
                    <a:pt x="7524" y="3072"/>
                  </a:lnTo>
                  <a:lnTo>
                    <a:pt x="7517" y="3071"/>
                  </a:lnTo>
                  <a:lnTo>
                    <a:pt x="7510" y="3067"/>
                  </a:lnTo>
                  <a:lnTo>
                    <a:pt x="7506" y="3061"/>
                  </a:lnTo>
                  <a:lnTo>
                    <a:pt x="7505" y="3052"/>
                  </a:lnTo>
                  <a:lnTo>
                    <a:pt x="7505" y="2941"/>
                  </a:lnTo>
                  <a:lnTo>
                    <a:pt x="7506" y="2932"/>
                  </a:lnTo>
                  <a:lnTo>
                    <a:pt x="7510" y="2925"/>
                  </a:lnTo>
                  <a:lnTo>
                    <a:pt x="7517" y="2922"/>
                  </a:lnTo>
                  <a:lnTo>
                    <a:pt x="7524" y="2920"/>
                  </a:lnTo>
                  <a:lnTo>
                    <a:pt x="7532" y="2922"/>
                  </a:lnTo>
                  <a:lnTo>
                    <a:pt x="7539" y="2925"/>
                  </a:lnTo>
                  <a:lnTo>
                    <a:pt x="7542" y="2932"/>
                  </a:lnTo>
                  <a:lnTo>
                    <a:pt x="7545" y="2941"/>
                  </a:lnTo>
                  <a:close/>
                  <a:moveTo>
                    <a:pt x="7808" y="2941"/>
                  </a:moveTo>
                  <a:lnTo>
                    <a:pt x="7808" y="3052"/>
                  </a:lnTo>
                  <a:lnTo>
                    <a:pt x="7807" y="3061"/>
                  </a:lnTo>
                  <a:lnTo>
                    <a:pt x="7801" y="3067"/>
                  </a:lnTo>
                  <a:lnTo>
                    <a:pt x="7795" y="3071"/>
                  </a:lnTo>
                  <a:lnTo>
                    <a:pt x="7787" y="3072"/>
                  </a:lnTo>
                  <a:lnTo>
                    <a:pt x="7781" y="3071"/>
                  </a:lnTo>
                  <a:lnTo>
                    <a:pt x="7774" y="3067"/>
                  </a:lnTo>
                  <a:lnTo>
                    <a:pt x="7769" y="3061"/>
                  </a:lnTo>
                  <a:lnTo>
                    <a:pt x="7768" y="3052"/>
                  </a:lnTo>
                  <a:lnTo>
                    <a:pt x="7768" y="2941"/>
                  </a:lnTo>
                  <a:lnTo>
                    <a:pt x="7769" y="2932"/>
                  </a:lnTo>
                  <a:lnTo>
                    <a:pt x="7774" y="2925"/>
                  </a:lnTo>
                  <a:lnTo>
                    <a:pt x="7781" y="2922"/>
                  </a:lnTo>
                  <a:lnTo>
                    <a:pt x="7787" y="2920"/>
                  </a:lnTo>
                  <a:lnTo>
                    <a:pt x="7795" y="2922"/>
                  </a:lnTo>
                  <a:lnTo>
                    <a:pt x="7801" y="2925"/>
                  </a:lnTo>
                  <a:lnTo>
                    <a:pt x="7807" y="2932"/>
                  </a:lnTo>
                  <a:lnTo>
                    <a:pt x="7808" y="2941"/>
                  </a:lnTo>
                  <a:close/>
                  <a:moveTo>
                    <a:pt x="8071" y="2941"/>
                  </a:moveTo>
                  <a:lnTo>
                    <a:pt x="8071" y="3052"/>
                  </a:lnTo>
                  <a:lnTo>
                    <a:pt x="8069" y="3061"/>
                  </a:lnTo>
                  <a:lnTo>
                    <a:pt x="8064" y="3067"/>
                  </a:lnTo>
                  <a:lnTo>
                    <a:pt x="8058" y="3071"/>
                  </a:lnTo>
                  <a:lnTo>
                    <a:pt x="8051" y="3072"/>
                  </a:lnTo>
                  <a:lnTo>
                    <a:pt x="8044" y="3071"/>
                  </a:lnTo>
                  <a:lnTo>
                    <a:pt x="8037" y="3067"/>
                  </a:lnTo>
                  <a:lnTo>
                    <a:pt x="8032" y="3061"/>
                  </a:lnTo>
                  <a:lnTo>
                    <a:pt x="8031" y="3052"/>
                  </a:lnTo>
                  <a:lnTo>
                    <a:pt x="8031" y="2941"/>
                  </a:lnTo>
                  <a:lnTo>
                    <a:pt x="8032" y="2932"/>
                  </a:lnTo>
                  <a:lnTo>
                    <a:pt x="8037" y="2925"/>
                  </a:lnTo>
                  <a:lnTo>
                    <a:pt x="8044" y="2922"/>
                  </a:lnTo>
                  <a:lnTo>
                    <a:pt x="8051" y="2920"/>
                  </a:lnTo>
                  <a:lnTo>
                    <a:pt x="8058" y="2922"/>
                  </a:lnTo>
                  <a:lnTo>
                    <a:pt x="8064" y="2925"/>
                  </a:lnTo>
                  <a:lnTo>
                    <a:pt x="8069" y="2932"/>
                  </a:lnTo>
                  <a:lnTo>
                    <a:pt x="8071" y="2941"/>
                  </a:lnTo>
                  <a:close/>
                  <a:moveTo>
                    <a:pt x="8334" y="2941"/>
                  </a:moveTo>
                  <a:lnTo>
                    <a:pt x="8334" y="3052"/>
                  </a:lnTo>
                  <a:lnTo>
                    <a:pt x="8332" y="3061"/>
                  </a:lnTo>
                  <a:lnTo>
                    <a:pt x="8327" y="3067"/>
                  </a:lnTo>
                  <a:lnTo>
                    <a:pt x="8322" y="3071"/>
                  </a:lnTo>
                  <a:lnTo>
                    <a:pt x="8314" y="3072"/>
                  </a:lnTo>
                  <a:lnTo>
                    <a:pt x="8307" y="3071"/>
                  </a:lnTo>
                  <a:lnTo>
                    <a:pt x="8300" y="3067"/>
                  </a:lnTo>
                  <a:lnTo>
                    <a:pt x="8296" y="3061"/>
                  </a:lnTo>
                  <a:lnTo>
                    <a:pt x="8294" y="3052"/>
                  </a:lnTo>
                  <a:lnTo>
                    <a:pt x="8294" y="2941"/>
                  </a:lnTo>
                  <a:lnTo>
                    <a:pt x="8296" y="2932"/>
                  </a:lnTo>
                  <a:lnTo>
                    <a:pt x="8300" y="2925"/>
                  </a:lnTo>
                  <a:lnTo>
                    <a:pt x="8307" y="2922"/>
                  </a:lnTo>
                  <a:lnTo>
                    <a:pt x="8314" y="2920"/>
                  </a:lnTo>
                  <a:lnTo>
                    <a:pt x="8322" y="2922"/>
                  </a:lnTo>
                  <a:lnTo>
                    <a:pt x="8327" y="2925"/>
                  </a:lnTo>
                  <a:lnTo>
                    <a:pt x="8332" y="2932"/>
                  </a:lnTo>
                  <a:lnTo>
                    <a:pt x="8334" y="2941"/>
                  </a:lnTo>
                  <a:close/>
                  <a:moveTo>
                    <a:pt x="8598" y="2941"/>
                  </a:moveTo>
                  <a:lnTo>
                    <a:pt x="8598" y="3052"/>
                  </a:lnTo>
                  <a:lnTo>
                    <a:pt x="8595" y="3061"/>
                  </a:lnTo>
                  <a:lnTo>
                    <a:pt x="8591" y="3067"/>
                  </a:lnTo>
                  <a:lnTo>
                    <a:pt x="8585" y="3071"/>
                  </a:lnTo>
                  <a:lnTo>
                    <a:pt x="8577" y="3072"/>
                  </a:lnTo>
                  <a:lnTo>
                    <a:pt x="8569" y="3071"/>
                  </a:lnTo>
                  <a:lnTo>
                    <a:pt x="8563" y="3067"/>
                  </a:lnTo>
                  <a:lnTo>
                    <a:pt x="8559" y="3061"/>
                  </a:lnTo>
                  <a:lnTo>
                    <a:pt x="8557" y="3052"/>
                  </a:lnTo>
                  <a:lnTo>
                    <a:pt x="8557" y="2941"/>
                  </a:lnTo>
                  <a:lnTo>
                    <a:pt x="8559" y="2932"/>
                  </a:lnTo>
                  <a:lnTo>
                    <a:pt x="8563" y="2925"/>
                  </a:lnTo>
                  <a:lnTo>
                    <a:pt x="8569" y="2922"/>
                  </a:lnTo>
                  <a:lnTo>
                    <a:pt x="8577" y="2920"/>
                  </a:lnTo>
                  <a:lnTo>
                    <a:pt x="8585" y="2922"/>
                  </a:lnTo>
                  <a:lnTo>
                    <a:pt x="8591" y="2925"/>
                  </a:lnTo>
                  <a:lnTo>
                    <a:pt x="8595" y="2932"/>
                  </a:lnTo>
                  <a:lnTo>
                    <a:pt x="8598" y="2941"/>
                  </a:lnTo>
                  <a:close/>
                  <a:moveTo>
                    <a:pt x="8861" y="2941"/>
                  </a:moveTo>
                  <a:lnTo>
                    <a:pt x="8861" y="3052"/>
                  </a:lnTo>
                  <a:lnTo>
                    <a:pt x="8858" y="3061"/>
                  </a:lnTo>
                  <a:lnTo>
                    <a:pt x="8854" y="3067"/>
                  </a:lnTo>
                  <a:lnTo>
                    <a:pt x="8848" y="3071"/>
                  </a:lnTo>
                  <a:lnTo>
                    <a:pt x="8840" y="3072"/>
                  </a:lnTo>
                  <a:lnTo>
                    <a:pt x="8832" y="3071"/>
                  </a:lnTo>
                  <a:lnTo>
                    <a:pt x="8826" y="3067"/>
                  </a:lnTo>
                  <a:lnTo>
                    <a:pt x="8822" y="3061"/>
                  </a:lnTo>
                  <a:lnTo>
                    <a:pt x="8821" y="3052"/>
                  </a:lnTo>
                  <a:lnTo>
                    <a:pt x="8821" y="2941"/>
                  </a:lnTo>
                  <a:lnTo>
                    <a:pt x="8822" y="2932"/>
                  </a:lnTo>
                  <a:lnTo>
                    <a:pt x="8826" y="2925"/>
                  </a:lnTo>
                  <a:lnTo>
                    <a:pt x="8832" y="2922"/>
                  </a:lnTo>
                  <a:lnTo>
                    <a:pt x="8840" y="2920"/>
                  </a:lnTo>
                  <a:lnTo>
                    <a:pt x="8848" y="2922"/>
                  </a:lnTo>
                  <a:lnTo>
                    <a:pt x="8854" y="2925"/>
                  </a:lnTo>
                  <a:lnTo>
                    <a:pt x="8858" y="2932"/>
                  </a:lnTo>
                  <a:lnTo>
                    <a:pt x="8861" y="2941"/>
                  </a:lnTo>
                  <a:close/>
                  <a:moveTo>
                    <a:pt x="7545" y="3186"/>
                  </a:moveTo>
                  <a:lnTo>
                    <a:pt x="7545" y="3299"/>
                  </a:lnTo>
                  <a:lnTo>
                    <a:pt x="7542" y="3308"/>
                  </a:lnTo>
                  <a:lnTo>
                    <a:pt x="7539" y="3314"/>
                  </a:lnTo>
                  <a:lnTo>
                    <a:pt x="7532" y="3318"/>
                  </a:lnTo>
                  <a:lnTo>
                    <a:pt x="7524" y="3319"/>
                  </a:lnTo>
                  <a:lnTo>
                    <a:pt x="7517" y="3318"/>
                  </a:lnTo>
                  <a:lnTo>
                    <a:pt x="7510" y="3314"/>
                  </a:lnTo>
                  <a:lnTo>
                    <a:pt x="7506" y="3308"/>
                  </a:lnTo>
                  <a:lnTo>
                    <a:pt x="7505" y="3299"/>
                  </a:lnTo>
                  <a:lnTo>
                    <a:pt x="7505" y="3186"/>
                  </a:lnTo>
                  <a:lnTo>
                    <a:pt x="7506" y="3179"/>
                  </a:lnTo>
                  <a:lnTo>
                    <a:pt x="7510" y="3172"/>
                  </a:lnTo>
                  <a:lnTo>
                    <a:pt x="7517" y="3168"/>
                  </a:lnTo>
                  <a:lnTo>
                    <a:pt x="7524" y="3167"/>
                  </a:lnTo>
                  <a:lnTo>
                    <a:pt x="7532" y="3168"/>
                  </a:lnTo>
                  <a:lnTo>
                    <a:pt x="7539" y="3172"/>
                  </a:lnTo>
                  <a:lnTo>
                    <a:pt x="7542" y="3179"/>
                  </a:lnTo>
                  <a:lnTo>
                    <a:pt x="7545" y="3186"/>
                  </a:lnTo>
                  <a:close/>
                  <a:moveTo>
                    <a:pt x="7808" y="3186"/>
                  </a:moveTo>
                  <a:lnTo>
                    <a:pt x="7808" y="3299"/>
                  </a:lnTo>
                  <a:lnTo>
                    <a:pt x="7807" y="3308"/>
                  </a:lnTo>
                  <a:lnTo>
                    <a:pt x="7801" y="3314"/>
                  </a:lnTo>
                  <a:lnTo>
                    <a:pt x="7795" y="3318"/>
                  </a:lnTo>
                  <a:lnTo>
                    <a:pt x="7787" y="3319"/>
                  </a:lnTo>
                  <a:lnTo>
                    <a:pt x="7781" y="3318"/>
                  </a:lnTo>
                  <a:lnTo>
                    <a:pt x="7774" y="3314"/>
                  </a:lnTo>
                  <a:lnTo>
                    <a:pt x="7769" y="3308"/>
                  </a:lnTo>
                  <a:lnTo>
                    <a:pt x="7768" y="3299"/>
                  </a:lnTo>
                  <a:lnTo>
                    <a:pt x="7768" y="3186"/>
                  </a:lnTo>
                  <a:lnTo>
                    <a:pt x="7769" y="3179"/>
                  </a:lnTo>
                  <a:lnTo>
                    <a:pt x="7774" y="3172"/>
                  </a:lnTo>
                  <a:lnTo>
                    <a:pt x="7781" y="3168"/>
                  </a:lnTo>
                  <a:lnTo>
                    <a:pt x="7787" y="3167"/>
                  </a:lnTo>
                  <a:lnTo>
                    <a:pt x="7795" y="3168"/>
                  </a:lnTo>
                  <a:lnTo>
                    <a:pt x="7801" y="3172"/>
                  </a:lnTo>
                  <a:lnTo>
                    <a:pt x="7807" y="3179"/>
                  </a:lnTo>
                  <a:lnTo>
                    <a:pt x="7808" y="3186"/>
                  </a:lnTo>
                  <a:close/>
                  <a:moveTo>
                    <a:pt x="8071" y="3186"/>
                  </a:moveTo>
                  <a:lnTo>
                    <a:pt x="8071" y="3299"/>
                  </a:lnTo>
                  <a:lnTo>
                    <a:pt x="8069" y="3308"/>
                  </a:lnTo>
                  <a:lnTo>
                    <a:pt x="8064" y="3314"/>
                  </a:lnTo>
                  <a:lnTo>
                    <a:pt x="8058" y="3318"/>
                  </a:lnTo>
                  <a:lnTo>
                    <a:pt x="8051" y="3319"/>
                  </a:lnTo>
                  <a:lnTo>
                    <a:pt x="8044" y="3318"/>
                  </a:lnTo>
                  <a:lnTo>
                    <a:pt x="8037" y="3314"/>
                  </a:lnTo>
                  <a:lnTo>
                    <a:pt x="8032" y="3308"/>
                  </a:lnTo>
                  <a:lnTo>
                    <a:pt x="8031" y="3299"/>
                  </a:lnTo>
                  <a:lnTo>
                    <a:pt x="8031" y="3186"/>
                  </a:lnTo>
                  <a:lnTo>
                    <a:pt x="8032" y="3179"/>
                  </a:lnTo>
                  <a:lnTo>
                    <a:pt x="8037" y="3172"/>
                  </a:lnTo>
                  <a:lnTo>
                    <a:pt x="8044" y="3168"/>
                  </a:lnTo>
                  <a:lnTo>
                    <a:pt x="8051" y="3167"/>
                  </a:lnTo>
                  <a:lnTo>
                    <a:pt x="8058" y="3168"/>
                  </a:lnTo>
                  <a:lnTo>
                    <a:pt x="8064" y="3172"/>
                  </a:lnTo>
                  <a:lnTo>
                    <a:pt x="8069" y="3179"/>
                  </a:lnTo>
                  <a:lnTo>
                    <a:pt x="8071" y="3186"/>
                  </a:lnTo>
                  <a:close/>
                  <a:moveTo>
                    <a:pt x="8334" y="3186"/>
                  </a:moveTo>
                  <a:lnTo>
                    <a:pt x="8334" y="3299"/>
                  </a:lnTo>
                  <a:lnTo>
                    <a:pt x="8332" y="3308"/>
                  </a:lnTo>
                  <a:lnTo>
                    <a:pt x="8327" y="3314"/>
                  </a:lnTo>
                  <a:lnTo>
                    <a:pt x="8322" y="3318"/>
                  </a:lnTo>
                  <a:lnTo>
                    <a:pt x="8314" y="3319"/>
                  </a:lnTo>
                  <a:lnTo>
                    <a:pt x="8307" y="3318"/>
                  </a:lnTo>
                  <a:lnTo>
                    <a:pt x="8300" y="3314"/>
                  </a:lnTo>
                  <a:lnTo>
                    <a:pt x="8296" y="3308"/>
                  </a:lnTo>
                  <a:lnTo>
                    <a:pt x="8294" y="3299"/>
                  </a:lnTo>
                  <a:lnTo>
                    <a:pt x="8294" y="3186"/>
                  </a:lnTo>
                  <a:lnTo>
                    <a:pt x="8296" y="3179"/>
                  </a:lnTo>
                  <a:lnTo>
                    <a:pt x="8300" y="3172"/>
                  </a:lnTo>
                  <a:lnTo>
                    <a:pt x="8307" y="3168"/>
                  </a:lnTo>
                  <a:lnTo>
                    <a:pt x="8314" y="3167"/>
                  </a:lnTo>
                  <a:lnTo>
                    <a:pt x="8322" y="3168"/>
                  </a:lnTo>
                  <a:lnTo>
                    <a:pt x="8327" y="3172"/>
                  </a:lnTo>
                  <a:lnTo>
                    <a:pt x="8332" y="3179"/>
                  </a:lnTo>
                  <a:lnTo>
                    <a:pt x="8334" y="3186"/>
                  </a:lnTo>
                  <a:close/>
                  <a:moveTo>
                    <a:pt x="8598" y="3186"/>
                  </a:moveTo>
                  <a:lnTo>
                    <a:pt x="8598" y="3299"/>
                  </a:lnTo>
                  <a:lnTo>
                    <a:pt x="8595" y="3308"/>
                  </a:lnTo>
                  <a:lnTo>
                    <a:pt x="8591" y="3314"/>
                  </a:lnTo>
                  <a:lnTo>
                    <a:pt x="8585" y="3318"/>
                  </a:lnTo>
                  <a:lnTo>
                    <a:pt x="8577" y="3319"/>
                  </a:lnTo>
                  <a:lnTo>
                    <a:pt x="8569" y="3318"/>
                  </a:lnTo>
                  <a:lnTo>
                    <a:pt x="8563" y="3314"/>
                  </a:lnTo>
                  <a:lnTo>
                    <a:pt x="8559" y="3308"/>
                  </a:lnTo>
                  <a:lnTo>
                    <a:pt x="8557" y="3299"/>
                  </a:lnTo>
                  <a:lnTo>
                    <a:pt x="8557" y="3186"/>
                  </a:lnTo>
                  <a:lnTo>
                    <a:pt x="8559" y="3179"/>
                  </a:lnTo>
                  <a:lnTo>
                    <a:pt x="8563" y="3172"/>
                  </a:lnTo>
                  <a:lnTo>
                    <a:pt x="8569" y="3168"/>
                  </a:lnTo>
                  <a:lnTo>
                    <a:pt x="8577" y="3167"/>
                  </a:lnTo>
                  <a:lnTo>
                    <a:pt x="8585" y="3168"/>
                  </a:lnTo>
                  <a:lnTo>
                    <a:pt x="8591" y="3172"/>
                  </a:lnTo>
                  <a:lnTo>
                    <a:pt x="8595" y="3179"/>
                  </a:lnTo>
                  <a:lnTo>
                    <a:pt x="8598" y="3186"/>
                  </a:lnTo>
                  <a:close/>
                  <a:moveTo>
                    <a:pt x="8861" y="3186"/>
                  </a:moveTo>
                  <a:lnTo>
                    <a:pt x="8861" y="3299"/>
                  </a:lnTo>
                  <a:lnTo>
                    <a:pt x="8858" y="3308"/>
                  </a:lnTo>
                  <a:lnTo>
                    <a:pt x="8854" y="3314"/>
                  </a:lnTo>
                  <a:lnTo>
                    <a:pt x="8848" y="3318"/>
                  </a:lnTo>
                  <a:lnTo>
                    <a:pt x="8840" y="3319"/>
                  </a:lnTo>
                  <a:lnTo>
                    <a:pt x="8832" y="3318"/>
                  </a:lnTo>
                  <a:lnTo>
                    <a:pt x="8826" y="3314"/>
                  </a:lnTo>
                  <a:lnTo>
                    <a:pt x="8822" y="3308"/>
                  </a:lnTo>
                  <a:lnTo>
                    <a:pt x="8821" y="3299"/>
                  </a:lnTo>
                  <a:lnTo>
                    <a:pt x="8821" y="3186"/>
                  </a:lnTo>
                  <a:lnTo>
                    <a:pt x="8822" y="3179"/>
                  </a:lnTo>
                  <a:lnTo>
                    <a:pt x="8826" y="3172"/>
                  </a:lnTo>
                  <a:lnTo>
                    <a:pt x="8832" y="3168"/>
                  </a:lnTo>
                  <a:lnTo>
                    <a:pt x="8840" y="3167"/>
                  </a:lnTo>
                  <a:lnTo>
                    <a:pt x="8848" y="3168"/>
                  </a:lnTo>
                  <a:lnTo>
                    <a:pt x="8854" y="3172"/>
                  </a:lnTo>
                  <a:lnTo>
                    <a:pt x="8858" y="3179"/>
                  </a:lnTo>
                  <a:lnTo>
                    <a:pt x="8861" y="3186"/>
                  </a:lnTo>
                  <a:close/>
                  <a:moveTo>
                    <a:pt x="7545" y="3433"/>
                  </a:moveTo>
                  <a:lnTo>
                    <a:pt x="7545" y="3546"/>
                  </a:lnTo>
                  <a:lnTo>
                    <a:pt x="7542" y="3554"/>
                  </a:lnTo>
                  <a:lnTo>
                    <a:pt x="7539" y="3561"/>
                  </a:lnTo>
                  <a:lnTo>
                    <a:pt x="7532" y="3565"/>
                  </a:lnTo>
                  <a:lnTo>
                    <a:pt x="7524" y="3565"/>
                  </a:lnTo>
                  <a:lnTo>
                    <a:pt x="7517" y="3565"/>
                  </a:lnTo>
                  <a:lnTo>
                    <a:pt x="7510" y="3561"/>
                  </a:lnTo>
                  <a:lnTo>
                    <a:pt x="7506" y="3554"/>
                  </a:lnTo>
                  <a:lnTo>
                    <a:pt x="7505" y="3546"/>
                  </a:lnTo>
                  <a:lnTo>
                    <a:pt x="7505" y="3433"/>
                  </a:lnTo>
                  <a:lnTo>
                    <a:pt x="7506" y="3424"/>
                  </a:lnTo>
                  <a:lnTo>
                    <a:pt x="7510" y="3419"/>
                  </a:lnTo>
                  <a:lnTo>
                    <a:pt x="7517" y="3415"/>
                  </a:lnTo>
                  <a:lnTo>
                    <a:pt x="7524" y="3414"/>
                  </a:lnTo>
                  <a:lnTo>
                    <a:pt x="7532" y="3415"/>
                  </a:lnTo>
                  <a:lnTo>
                    <a:pt x="7539" y="3419"/>
                  </a:lnTo>
                  <a:lnTo>
                    <a:pt x="7542" y="3424"/>
                  </a:lnTo>
                  <a:lnTo>
                    <a:pt x="7545" y="3433"/>
                  </a:lnTo>
                  <a:close/>
                  <a:moveTo>
                    <a:pt x="7808" y="3433"/>
                  </a:moveTo>
                  <a:lnTo>
                    <a:pt x="7808" y="3546"/>
                  </a:lnTo>
                  <a:lnTo>
                    <a:pt x="7807" y="3554"/>
                  </a:lnTo>
                  <a:lnTo>
                    <a:pt x="7801" y="3561"/>
                  </a:lnTo>
                  <a:lnTo>
                    <a:pt x="7795" y="3565"/>
                  </a:lnTo>
                  <a:lnTo>
                    <a:pt x="7787" y="3565"/>
                  </a:lnTo>
                  <a:lnTo>
                    <a:pt x="7781" y="3565"/>
                  </a:lnTo>
                  <a:lnTo>
                    <a:pt x="7774" y="3561"/>
                  </a:lnTo>
                  <a:lnTo>
                    <a:pt x="7769" y="3554"/>
                  </a:lnTo>
                  <a:lnTo>
                    <a:pt x="7768" y="3546"/>
                  </a:lnTo>
                  <a:lnTo>
                    <a:pt x="7768" y="3433"/>
                  </a:lnTo>
                  <a:lnTo>
                    <a:pt x="7769" y="3424"/>
                  </a:lnTo>
                  <a:lnTo>
                    <a:pt x="7774" y="3419"/>
                  </a:lnTo>
                  <a:lnTo>
                    <a:pt x="7781" y="3415"/>
                  </a:lnTo>
                  <a:lnTo>
                    <a:pt x="7787" y="3414"/>
                  </a:lnTo>
                  <a:lnTo>
                    <a:pt x="7795" y="3415"/>
                  </a:lnTo>
                  <a:lnTo>
                    <a:pt x="7801" y="3419"/>
                  </a:lnTo>
                  <a:lnTo>
                    <a:pt x="7807" y="3424"/>
                  </a:lnTo>
                  <a:lnTo>
                    <a:pt x="7808" y="3433"/>
                  </a:lnTo>
                  <a:close/>
                  <a:moveTo>
                    <a:pt x="8071" y="3433"/>
                  </a:moveTo>
                  <a:lnTo>
                    <a:pt x="8071" y="3546"/>
                  </a:lnTo>
                  <a:lnTo>
                    <a:pt x="8069" y="3554"/>
                  </a:lnTo>
                  <a:lnTo>
                    <a:pt x="8064" y="3561"/>
                  </a:lnTo>
                  <a:lnTo>
                    <a:pt x="8058" y="3565"/>
                  </a:lnTo>
                  <a:lnTo>
                    <a:pt x="8051" y="3565"/>
                  </a:lnTo>
                  <a:lnTo>
                    <a:pt x="8044" y="3565"/>
                  </a:lnTo>
                  <a:lnTo>
                    <a:pt x="8037" y="3561"/>
                  </a:lnTo>
                  <a:lnTo>
                    <a:pt x="8032" y="3554"/>
                  </a:lnTo>
                  <a:lnTo>
                    <a:pt x="8031" y="3546"/>
                  </a:lnTo>
                  <a:lnTo>
                    <a:pt x="8031" y="3433"/>
                  </a:lnTo>
                  <a:lnTo>
                    <a:pt x="8032" y="3424"/>
                  </a:lnTo>
                  <a:lnTo>
                    <a:pt x="8037" y="3419"/>
                  </a:lnTo>
                  <a:lnTo>
                    <a:pt x="8044" y="3415"/>
                  </a:lnTo>
                  <a:lnTo>
                    <a:pt x="8051" y="3414"/>
                  </a:lnTo>
                  <a:lnTo>
                    <a:pt x="8058" y="3415"/>
                  </a:lnTo>
                  <a:lnTo>
                    <a:pt x="8064" y="3419"/>
                  </a:lnTo>
                  <a:lnTo>
                    <a:pt x="8069" y="3424"/>
                  </a:lnTo>
                  <a:lnTo>
                    <a:pt x="8071" y="3433"/>
                  </a:lnTo>
                  <a:close/>
                  <a:moveTo>
                    <a:pt x="8334" y="3433"/>
                  </a:moveTo>
                  <a:lnTo>
                    <a:pt x="8334" y="3546"/>
                  </a:lnTo>
                  <a:lnTo>
                    <a:pt x="8332" y="3554"/>
                  </a:lnTo>
                  <a:lnTo>
                    <a:pt x="8327" y="3561"/>
                  </a:lnTo>
                  <a:lnTo>
                    <a:pt x="8322" y="3565"/>
                  </a:lnTo>
                  <a:lnTo>
                    <a:pt x="8314" y="3565"/>
                  </a:lnTo>
                  <a:lnTo>
                    <a:pt x="8307" y="3565"/>
                  </a:lnTo>
                  <a:lnTo>
                    <a:pt x="8300" y="3561"/>
                  </a:lnTo>
                  <a:lnTo>
                    <a:pt x="8296" y="3554"/>
                  </a:lnTo>
                  <a:lnTo>
                    <a:pt x="8294" y="3546"/>
                  </a:lnTo>
                  <a:lnTo>
                    <a:pt x="8294" y="3433"/>
                  </a:lnTo>
                  <a:lnTo>
                    <a:pt x="8296" y="3424"/>
                  </a:lnTo>
                  <a:lnTo>
                    <a:pt x="8300" y="3419"/>
                  </a:lnTo>
                  <a:lnTo>
                    <a:pt x="8307" y="3415"/>
                  </a:lnTo>
                  <a:lnTo>
                    <a:pt x="8314" y="3414"/>
                  </a:lnTo>
                  <a:lnTo>
                    <a:pt x="8322" y="3415"/>
                  </a:lnTo>
                  <a:lnTo>
                    <a:pt x="8327" y="3419"/>
                  </a:lnTo>
                  <a:lnTo>
                    <a:pt x="8332" y="3424"/>
                  </a:lnTo>
                  <a:lnTo>
                    <a:pt x="8334" y="3433"/>
                  </a:lnTo>
                  <a:close/>
                  <a:moveTo>
                    <a:pt x="8598" y="3433"/>
                  </a:moveTo>
                  <a:lnTo>
                    <a:pt x="8598" y="3546"/>
                  </a:lnTo>
                  <a:lnTo>
                    <a:pt x="8595" y="3554"/>
                  </a:lnTo>
                  <a:lnTo>
                    <a:pt x="8591" y="3561"/>
                  </a:lnTo>
                  <a:lnTo>
                    <a:pt x="8585" y="3565"/>
                  </a:lnTo>
                  <a:lnTo>
                    <a:pt x="8577" y="3565"/>
                  </a:lnTo>
                  <a:lnTo>
                    <a:pt x="8569" y="3565"/>
                  </a:lnTo>
                  <a:lnTo>
                    <a:pt x="8563" y="3561"/>
                  </a:lnTo>
                  <a:lnTo>
                    <a:pt x="8559" y="3554"/>
                  </a:lnTo>
                  <a:lnTo>
                    <a:pt x="8557" y="3546"/>
                  </a:lnTo>
                  <a:lnTo>
                    <a:pt x="8557" y="3433"/>
                  </a:lnTo>
                  <a:lnTo>
                    <a:pt x="8559" y="3424"/>
                  </a:lnTo>
                  <a:lnTo>
                    <a:pt x="8563" y="3419"/>
                  </a:lnTo>
                  <a:lnTo>
                    <a:pt x="8569" y="3415"/>
                  </a:lnTo>
                  <a:lnTo>
                    <a:pt x="8577" y="3414"/>
                  </a:lnTo>
                  <a:lnTo>
                    <a:pt x="8585" y="3415"/>
                  </a:lnTo>
                  <a:lnTo>
                    <a:pt x="8591" y="3419"/>
                  </a:lnTo>
                  <a:lnTo>
                    <a:pt x="8595" y="3424"/>
                  </a:lnTo>
                  <a:lnTo>
                    <a:pt x="8598" y="3433"/>
                  </a:lnTo>
                  <a:close/>
                  <a:moveTo>
                    <a:pt x="8861" y="3433"/>
                  </a:moveTo>
                  <a:lnTo>
                    <a:pt x="8861" y="3546"/>
                  </a:lnTo>
                  <a:lnTo>
                    <a:pt x="8858" y="3554"/>
                  </a:lnTo>
                  <a:lnTo>
                    <a:pt x="8854" y="3561"/>
                  </a:lnTo>
                  <a:lnTo>
                    <a:pt x="8848" y="3565"/>
                  </a:lnTo>
                  <a:lnTo>
                    <a:pt x="8840" y="3565"/>
                  </a:lnTo>
                  <a:lnTo>
                    <a:pt x="8832" y="3565"/>
                  </a:lnTo>
                  <a:lnTo>
                    <a:pt x="8826" y="3561"/>
                  </a:lnTo>
                  <a:lnTo>
                    <a:pt x="8822" y="3554"/>
                  </a:lnTo>
                  <a:lnTo>
                    <a:pt x="8821" y="3546"/>
                  </a:lnTo>
                  <a:lnTo>
                    <a:pt x="8821" y="3433"/>
                  </a:lnTo>
                  <a:lnTo>
                    <a:pt x="8822" y="3424"/>
                  </a:lnTo>
                  <a:lnTo>
                    <a:pt x="8826" y="3419"/>
                  </a:lnTo>
                  <a:lnTo>
                    <a:pt x="8832" y="3415"/>
                  </a:lnTo>
                  <a:lnTo>
                    <a:pt x="8840" y="3414"/>
                  </a:lnTo>
                  <a:lnTo>
                    <a:pt x="8848" y="3415"/>
                  </a:lnTo>
                  <a:lnTo>
                    <a:pt x="8854" y="3419"/>
                  </a:lnTo>
                  <a:lnTo>
                    <a:pt x="8858" y="3424"/>
                  </a:lnTo>
                  <a:lnTo>
                    <a:pt x="8861" y="3433"/>
                  </a:lnTo>
                  <a:close/>
                  <a:moveTo>
                    <a:pt x="7545" y="3680"/>
                  </a:moveTo>
                  <a:lnTo>
                    <a:pt x="7545" y="3792"/>
                  </a:lnTo>
                  <a:lnTo>
                    <a:pt x="7542" y="3801"/>
                  </a:lnTo>
                  <a:lnTo>
                    <a:pt x="7539" y="3806"/>
                  </a:lnTo>
                  <a:lnTo>
                    <a:pt x="7532" y="3810"/>
                  </a:lnTo>
                  <a:lnTo>
                    <a:pt x="7524" y="3811"/>
                  </a:lnTo>
                  <a:lnTo>
                    <a:pt x="7517" y="3810"/>
                  </a:lnTo>
                  <a:lnTo>
                    <a:pt x="7510" y="3806"/>
                  </a:lnTo>
                  <a:lnTo>
                    <a:pt x="7506" y="3801"/>
                  </a:lnTo>
                  <a:lnTo>
                    <a:pt x="7505" y="3792"/>
                  </a:lnTo>
                  <a:lnTo>
                    <a:pt x="7505" y="3680"/>
                  </a:lnTo>
                  <a:lnTo>
                    <a:pt x="7506" y="3671"/>
                  </a:lnTo>
                  <a:lnTo>
                    <a:pt x="7510" y="3664"/>
                  </a:lnTo>
                  <a:lnTo>
                    <a:pt x="7517" y="3661"/>
                  </a:lnTo>
                  <a:lnTo>
                    <a:pt x="7524" y="3659"/>
                  </a:lnTo>
                  <a:lnTo>
                    <a:pt x="7532" y="3661"/>
                  </a:lnTo>
                  <a:lnTo>
                    <a:pt x="7539" y="3664"/>
                  </a:lnTo>
                  <a:lnTo>
                    <a:pt x="7542" y="3671"/>
                  </a:lnTo>
                  <a:lnTo>
                    <a:pt x="7545" y="3680"/>
                  </a:lnTo>
                  <a:close/>
                  <a:moveTo>
                    <a:pt x="7808" y="3680"/>
                  </a:moveTo>
                  <a:lnTo>
                    <a:pt x="7808" y="3792"/>
                  </a:lnTo>
                  <a:lnTo>
                    <a:pt x="7807" y="3801"/>
                  </a:lnTo>
                  <a:lnTo>
                    <a:pt x="7801" y="3806"/>
                  </a:lnTo>
                  <a:lnTo>
                    <a:pt x="7795" y="3810"/>
                  </a:lnTo>
                  <a:lnTo>
                    <a:pt x="7787" y="3811"/>
                  </a:lnTo>
                  <a:lnTo>
                    <a:pt x="7781" y="3810"/>
                  </a:lnTo>
                  <a:lnTo>
                    <a:pt x="7774" y="3806"/>
                  </a:lnTo>
                  <a:lnTo>
                    <a:pt x="7769" y="3801"/>
                  </a:lnTo>
                  <a:lnTo>
                    <a:pt x="7768" y="3792"/>
                  </a:lnTo>
                  <a:lnTo>
                    <a:pt x="7768" y="3680"/>
                  </a:lnTo>
                  <a:lnTo>
                    <a:pt x="7769" y="3671"/>
                  </a:lnTo>
                  <a:lnTo>
                    <a:pt x="7774" y="3664"/>
                  </a:lnTo>
                  <a:lnTo>
                    <a:pt x="7781" y="3661"/>
                  </a:lnTo>
                  <a:lnTo>
                    <a:pt x="7787" y="3659"/>
                  </a:lnTo>
                  <a:lnTo>
                    <a:pt x="7795" y="3661"/>
                  </a:lnTo>
                  <a:lnTo>
                    <a:pt x="7801" y="3664"/>
                  </a:lnTo>
                  <a:lnTo>
                    <a:pt x="7807" y="3671"/>
                  </a:lnTo>
                  <a:lnTo>
                    <a:pt x="7808" y="3680"/>
                  </a:lnTo>
                  <a:close/>
                  <a:moveTo>
                    <a:pt x="8071" y="3680"/>
                  </a:moveTo>
                  <a:lnTo>
                    <a:pt x="8071" y="3792"/>
                  </a:lnTo>
                  <a:lnTo>
                    <a:pt x="8069" y="3801"/>
                  </a:lnTo>
                  <a:lnTo>
                    <a:pt x="8064" y="3806"/>
                  </a:lnTo>
                  <a:lnTo>
                    <a:pt x="8058" y="3810"/>
                  </a:lnTo>
                  <a:lnTo>
                    <a:pt x="8051" y="3811"/>
                  </a:lnTo>
                  <a:lnTo>
                    <a:pt x="8044" y="3810"/>
                  </a:lnTo>
                  <a:lnTo>
                    <a:pt x="8037" y="3806"/>
                  </a:lnTo>
                  <a:lnTo>
                    <a:pt x="8032" y="3801"/>
                  </a:lnTo>
                  <a:lnTo>
                    <a:pt x="8031" y="3792"/>
                  </a:lnTo>
                  <a:lnTo>
                    <a:pt x="8031" y="3680"/>
                  </a:lnTo>
                  <a:lnTo>
                    <a:pt x="8032" y="3671"/>
                  </a:lnTo>
                  <a:lnTo>
                    <a:pt x="8037" y="3664"/>
                  </a:lnTo>
                  <a:lnTo>
                    <a:pt x="8044" y="3661"/>
                  </a:lnTo>
                  <a:lnTo>
                    <a:pt x="8051" y="3659"/>
                  </a:lnTo>
                  <a:lnTo>
                    <a:pt x="8058" y="3661"/>
                  </a:lnTo>
                  <a:lnTo>
                    <a:pt x="8064" y="3664"/>
                  </a:lnTo>
                  <a:lnTo>
                    <a:pt x="8069" y="3671"/>
                  </a:lnTo>
                  <a:lnTo>
                    <a:pt x="8071" y="3680"/>
                  </a:lnTo>
                  <a:close/>
                  <a:moveTo>
                    <a:pt x="8334" y="3680"/>
                  </a:moveTo>
                  <a:lnTo>
                    <a:pt x="8334" y="3792"/>
                  </a:lnTo>
                  <a:lnTo>
                    <a:pt x="8332" y="3801"/>
                  </a:lnTo>
                  <a:lnTo>
                    <a:pt x="8327" y="3806"/>
                  </a:lnTo>
                  <a:lnTo>
                    <a:pt x="8322" y="3810"/>
                  </a:lnTo>
                  <a:lnTo>
                    <a:pt x="8314" y="3811"/>
                  </a:lnTo>
                  <a:lnTo>
                    <a:pt x="8307" y="3810"/>
                  </a:lnTo>
                  <a:lnTo>
                    <a:pt x="8300" y="3806"/>
                  </a:lnTo>
                  <a:lnTo>
                    <a:pt x="8296" y="3801"/>
                  </a:lnTo>
                  <a:lnTo>
                    <a:pt x="8294" y="3792"/>
                  </a:lnTo>
                  <a:lnTo>
                    <a:pt x="8294" y="3680"/>
                  </a:lnTo>
                  <a:lnTo>
                    <a:pt x="8296" y="3671"/>
                  </a:lnTo>
                  <a:lnTo>
                    <a:pt x="8300" y="3664"/>
                  </a:lnTo>
                  <a:lnTo>
                    <a:pt x="8307" y="3661"/>
                  </a:lnTo>
                  <a:lnTo>
                    <a:pt x="8314" y="3659"/>
                  </a:lnTo>
                  <a:lnTo>
                    <a:pt x="8322" y="3661"/>
                  </a:lnTo>
                  <a:lnTo>
                    <a:pt x="8327" y="3664"/>
                  </a:lnTo>
                  <a:lnTo>
                    <a:pt x="8332" y="3671"/>
                  </a:lnTo>
                  <a:lnTo>
                    <a:pt x="8334" y="3680"/>
                  </a:lnTo>
                  <a:close/>
                  <a:moveTo>
                    <a:pt x="8598" y="3680"/>
                  </a:moveTo>
                  <a:lnTo>
                    <a:pt x="8598" y="3792"/>
                  </a:lnTo>
                  <a:lnTo>
                    <a:pt x="8595" y="3801"/>
                  </a:lnTo>
                  <a:lnTo>
                    <a:pt x="8591" y="3806"/>
                  </a:lnTo>
                  <a:lnTo>
                    <a:pt x="8585" y="3810"/>
                  </a:lnTo>
                  <a:lnTo>
                    <a:pt x="8577" y="3811"/>
                  </a:lnTo>
                  <a:lnTo>
                    <a:pt x="8569" y="3810"/>
                  </a:lnTo>
                  <a:lnTo>
                    <a:pt x="8563" y="3806"/>
                  </a:lnTo>
                  <a:lnTo>
                    <a:pt x="8559" y="3801"/>
                  </a:lnTo>
                  <a:lnTo>
                    <a:pt x="8557" y="3792"/>
                  </a:lnTo>
                  <a:lnTo>
                    <a:pt x="8557" y="3680"/>
                  </a:lnTo>
                  <a:lnTo>
                    <a:pt x="8559" y="3671"/>
                  </a:lnTo>
                  <a:lnTo>
                    <a:pt x="8563" y="3664"/>
                  </a:lnTo>
                  <a:lnTo>
                    <a:pt x="8569" y="3661"/>
                  </a:lnTo>
                  <a:lnTo>
                    <a:pt x="8577" y="3659"/>
                  </a:lnTo>
                  <a:lnTo>
                    <a:pt x="8585" y="3661"/>
                  </a:lnTo>
                  <a:lnTo>
                    <a:pt x="8591" y="3664"/>
                  </a:lnTo>
                  <a:lnTo>
                    <a:pt x="8595" y="3671"/>
                  </a:lnTo>
                  <a:lnTo>
                    <a:pt x="8598" y="3680"/>
                  </a:lnTo>
                  <a:close/>
                  <a:moveTo>
                    <a:pt x="8861" y="3680"/>
                  </a:moveTo>
                  <a:lnTo>
                    <a:pt x="8861" y="3792"/>
                  </a:lnTo>
                  <a:lnTo>
                    <a:pt x="8858" y="3801"/>
                  </a:lnTo>
                  <a:lnTo>
                    <a:pt x="8854" y="3806"/>
                  </a:lnTo>
                  <a:lnTo>
                    <a:pt x="8848" y="3810"/>
                  </a:lnTo>
                  <a:lnTo>
                    <a:pt x="8840" y="3811"/>
                  </a:lnTo>
                  <a:lnTo>
                    <a:pt x="8832" y="3810"/>
                  </a:lnTo>
                  <a:lnTo>
                    <a:pt x="8826" y="3806"/>
                  </a:lnTo>
                  <a:lnTo>
                    <a:pt x="8822" y="3801"/>
                  </a:lnTo>
                  <a:lnTo>
                    <a:pt x="8821" y="3792"/>
                  </a:lnTo>
                  <a:lnTo>
                    <a:pt x="8821" y="3680"/>
                  </a:lnTo>
                  <a:lnTo>
                    <a:pt x="8822" y="3671"/>
                  </a:lnTo>
                  <a:lnTo>
                    <a:pt x="8826" y="3664"/>
                  </a:lnTo>
                  <a:lnTo>
                    <a:pt x="8832" y="3661"/>
                  </a:lnTo>
                  <a:lnTo>
                    <a:pt x="8840" y="3659"/>
                  </a:lnTo>
                  <a:lnTo>
                    <a:pt x="8848" y="3661"/>
                  </a:lnTo>
                  <a:lnTo>
                    <a:pt x="8854" y="3664"/>
                  </a:lnTo>
                  <a:lnTo>
                    <a:pt x="8858" y="3671"/>
                  </a:lnTo>
                  <a:lnTo>
                    <a:pt x="8861" y="3680"/>
                  </a:lnTo>
                  <a:close/>
                  <a:moveTo>
                    <a:pt x="9081" y="2604"/>
                  </a:moveTo>
                  <a:lnTo>
                    <a:pt x="9075" y="2604"/>
                  </a:lnTo>
                  <a:lnTo>
                    <a:pt x="9081" y="2604"/>
                  </a:lnTo>
                  <a:close/>
                  <a:moveTo>
                    <a:pt x="5536" y="1840"/>
                  </a:moveTo>
                  <a:lnTo>
                    <a:pt x="5109" y="1840"/>
                  </a:lnTo>
                  <a:lnTo>
                    <a:pt x="5109" y="1950"/>
                  </a:lnTo>
                  <a:lnTo>
                    <a:pt x="5536" y="1950"/>
                  </a:lnTo>
                  <a:lnTo>
                    <a:pt x="5536" y="1840"/>
                  </a:lnTo>
                  <a:close/>
                  <a:moveTo>
                    <a:pt x="4446" y="3790"/>
                  </a:moveTo>
                  <a:lnTo>
                    <a:pt x="5309" y="3790"/>
                  </a:lnTo>
                  <a:lnTo>
                    <a:pt x="5318" y="3791"/>
                  </a:lnTo>
                  <a:lnTo>
                    <a:pt x="5324" y="3796"/>
                  </a:lnTo>
                  <a:lnTo>
                    <a:pt x="5328" y="3803"/>
                  </a:lnTo>
                  <a:lnTo>
                    <a:pt x="5329" y="3809"/>
                  </a:lnTo>
                  <a:lnTo>
                    <a:pt x="5328" y="3817"/>
                  </a:lnTo>
                  <a:lnTo>
                    <a:pt x="5324" y="3823"/>
                  </a:lnTo>
                  <a:lnTo>
                    <a:pt x="5318" y="3828"/>
                  </a:lnTo>
                  <a:lnTo>
                    <a:pt x="5309" y="3829"/>
                  </a:lnTo>
                  <a:lnTo>
                    <a:pt x="5215" y="3829"/>
                  </a:lnTo>
                  <a:lnTo>
                    <a:pt x="5215" y="4317"/>
                  </a:lnTo>
                  <a:lnTo>
                    <a:pt x="5754" y="4317"/>
                  </a:lnTo>
                  <a:lnTo>
                    <a:pt x="5754" y="3782"/>
                  </a:lnTo>
                  <a:lnTo>
                    <a:pt x="5754" y="3249"/>
                  </a:lnTo>
                  <a:lnTo>
                    <a:pt x="5754" y="2716"/>
                  </a:lnTo>
                  <a:lnTo>
                    <a:pt x="5754" y="2182"/>
                  </a:lnTo>
                  <a:lnTo>
                    <a:pt x="5195" y="2182"/>
                  </a:lnTo>
                  <a:lnTo>
                    <a:pt x="4637" y="2182"/>
                  </a:lnTo>
                  <a:lnTo>
                    <a:pt x="4629" y="2181"/>
                  </a:lnTo>
                  <a:lnTo>
                    <a:pt x="4623" y="2176"/>
                  </a:lnTo>
                  <a:lnTo>
                    <a:pt x="4619" y="2170"/>
                  </a:lnTo>
                  <a:lnTo>
                    <a:pt x="4617" y="2163"/>
                  </a:lnTo>
                  <a:lnTo>
                    <a:pt x="4619" y="2156"/>
                  </a:lnTo>
                  <a:lnTo>
                    <a:pt x="4623" y="2149"/>
                  </a:lnTo>
                  <a:lnTo>
                    <a:pt x="4629" y="2144"/>
                  </a:lnTo>
                  <a:lnTo>
                    <a:pt x="4637" y="2143"/>
                  </a:lnTo>
                  <a:lnTo>
                    <a:pt x="5615" y="2143"/>
                  </a:lnTo>
                  <a:lnTo>
                    <a:pt x="5615" y="1989"/>
                  </a:lnTo>
                  <a:lnTo>
                    <a:pt x="5555" y="1989"/>
                  </a:lnTo>
                  <a:lnTo>
                    <a:pt x="5089" y="1989"/>
                  </a:lnTo>
                  <a:lnTo>
                    <a:pt x="4119" y="1989"/>
                  </a:lnTo>
                  <a:lnTo>
                    <a:pt x="4119" y="2143"/>
                  </a:lnTo>
                  <a:lnTo>
                    <a:pt x="4373" y="2143"/>
                  </a:lnTo>
                  <a:lnTo>
                    <a:pt x="4382" y="2144"/>
                  </a:lnTo>
                  <a:lnTo>
                    <a:pt x="4387" y="2149"/>
                  </a:lnTo>
                  <a:lnTo>
                    <a:pt x="4391" y="2156"/>
                  </a:lnTo>
                  <a:lnTo>
                    <a:pt x="4392" y="2163"/>
                  </a:lnTo>
                  <a:lnTo>
                    <a:pt x="4391" y="2170"/>
                  </a:lnTo>
                  <a:lnTo>
                    <a:pt x="4387" y="2176"/>
                  </a:lnTo>
                  <a:lnTo>
                    <a:pt x="4382" y="2181"/>
                  </a:lnTo>
                  <a:lnTo>
                    <a:pt x="4373" y="2182"/>
                  </a:lnTo>
                  <a:lnTo>
                    <a:pt x="4001" y="2182"/>
                  </a:lnTo>
                  <a:lnTo>
                    <a:pt x="4001" y="3195"/>
                  </a:lnTo>
                  <a:lnTo>
                    <a:pt x="3999" y="3204"/>
                  </a:lnTo>
                  <a:lnTo>
                    <a:pt x="3994" y="3211"/>
                  </a:lnTo>
                  <a:lnTo>
                    <a:pt x="3988" y="3214"/>
                  </a:lnTo>
                  <a:lnTo>
                    <a:pt x="3980" y="3216"/>
                  </a:lnTo>
                  <a:lnTo>
                    <a:pt x="3974" y="3214"/>
                  </a:lnTo>
                  <a:lnTo>
                    <a:pt x="3967" y="3211"/>
                  </a:lnTo>
                  <a:lnTo>
                    <a:pt x="3962" y="3204"/>
                  </a:lnTo>
                  <a:lnTo>
                    <a:pt x="3961" y="3195"/>
                  </a:lnTo>
                  <a:lnTo>
                    <a:pt x="3961" y="2679"/>
                  </a:lnTo>
                  <a:lnTo>
                    <a:pt x="3961" y="2163"/>
                  </a:lnTo>
                  <a:lnTo>
                    <a:pt x="3962" y="2156"/>
                  </a:lnTo>
                  <a:lnTo>
                    <a:pt x="3966" y="2149"/>
                  </a:lnTo>
                  <a:lnTo>
                    <a:pt x="3973" y="2144"/>
                  </a:lnTo>
                  <a:lnTo>
                    <a:pt x="3980" y="2143"/>
                  </a:lnTo>
                  <a:lnTo>
                    <a:pt x="4079" y="2143"/>
                  </a:lnTo>
                  <a:lnTo>
                    <a:pt x="4079" y="1970"/>
                  </a:lnTo>
                  <a:lnTo>
                    <a:pt x="4080" y="1963"/>
                  </a:lnTo>
                  <a:lnTo>
                    <a:pt x="4085" y="1956"/>
                  </a:lnTo>
                  <a:lnTo>
                    <a:pt x="4092" y="1951"/>
                  </a:lnTo>
                  <a:lnTo>
                    <a:pt x="4099" y="1950"/>
                  </a:lnTo>
                  <a:lnTo>
                    <a:pt x="5069" y="1950"/>
                  </a:lnTo>
                  <a:lnTo>
                    <a:pt x="5069" y="1819"/>
                  </a:lnTo>
                  <a:lnTo>
                    <a:pt x="5070" y="1812"/>
                  </a:lnTo>
                  <a:lnTo>
                    <a:pt x="5075" y="1805"/>
                  </a:lnTo>
                  <a:lnTo>
                    <a:pt x="5082" y="1801"/>
                  </a:lnTo>
                  <a:lnTo>
                    <a:pt x="5089" y="1799"/>
                  </a:lnTo>
                  <a:lnTo>
                    <a:pt x="5555" y="1799"/>
                  </a:lnTo>
                  <a:lnTo>
                    <a:pt x="5563" y="1801"/>
                  </a:lnTo>
                  <a:lnTo>
                    <a:pt x="5569" y="1805"/>
                  </a:lnTo>
                  <a:lnTo>
                    <a:pt x="5573" y="1812"/>
                  </a:lnTo>
                  <a:lnTo>
                    <a:pt x="5575" y="1819"/>
                  </a:lnTo>
                  <a:lnTo>
                    <a:pt x="5575" y="1950"/>
                  </a:lnTo>
                  <a:lnTo>
                    <a:pt x="5636" y="1950"/>
                  </a:lnTo>
                  <a:lnTo>
                    <a:pt x="5643" y="1951"/>
                  </a:lnTo>
                  <a:lnTo>
                    <a:pt x="5650" y="1956"/>
                  </a:lnTo>
                  <a:lnTo>
                    <a:pt x="5654" y="1963"/>
                  </a:lnTo>
                  <a:lnTo>
                    <a:pt x="5656" y="1970"/>
                  </a:lnTo>
                  <a:lnTo>
                    <a:pt x="5656" y="2143"/>
                  </a:lnTo>
                  <a:lnTo>
                    <a:pt x="5773" y="2143"/>
                  </a:lnTo>
                  <a:lnTo>
                    <a:pt x="5781" y="2144"/>
                  </a:lnTo>
                  <a:lnTo>
                    <a:pt x="5787" y="2149"/>
                  </a:lnTo>
                  <a:lnTo>
                    <a:pt x="5792" y="2156"/>
                  </a:lnTo>
                  <a:lnTo>
                    <a:pt x="5793" y="2163"/>
                  </a:lnTo>
                  <a:lnTo>
                    <a:pt x="5793" y="2705"/>
                  </a:lnTo>
                  <a:lnTo>
                    <a:pt x="5793" y="3249"/>
                  </a:lnTo>
                  <a:lnTo>
                    <a:pt x="5793" y="3792"/>
                  </a:lnTo>
                  <a:lnTo>
                    <a:pt x="5793" y="4336"/>
                  </a:lnTo>
                  <a:lnTo>
                    <a:pt x="5792" y="4343"/>
                  </a:lnTo>
                  <a:lnTo>
                    <a:pt x="5787" y="4350"/>
                  </a:lnTo>
                  <a:lnTo>
                    <a:pt x="5781" y="4355"/>
                  </a:lnTo>
                  <a:lnTo>
                    <a:pt x="5773" y="4356"/>
                  </a:lnTo>
                  <a:lnTo>
                    <a:pt x="5195" y="4356"/>
                  </a:lnTo>
                  <a:lnTo>
                    <a:pt x="4560" y="4356"/>
                  </a:lnTo>
                  <a:lnTo>
                    <a:pt x="3980" y="4356"/>
                  </a:lnTo>
                  <a:lnTo>
                    <a:pt x="3973" y="4355"/>
                  </a:lnTo>
                  <a:lnTo>
                    <a:pt x="3966" y="4350"/>
                  </a:lnTo>
                  <a:lnTo>
                    <a:pt x="3962" y="4343"/>
                  </a:lnTo>
                  <a:lnTo>
                    <a:pt x="3961" y="4336"/>
                  </a:lnTo>
                  <a:lnTo>
                    <a:pt x="3961" y="4037"/>
                  </a:lnTo>
                  <a:lnTo>
                    <a:pt x="3962" y="4028"/>
                  </a:lnTo>
                  <a:lnTo>
                    <a:pt x="3967" y="4021"/>
                  </a:lnTo>
                  <a:lnTo>
                    <a:pt x="3974" y="4017"/>
                  </a:lnTo>
                  <a:lnTo>
                    <a:pt x="3980" y="4016"/>
                  </a:lnTo>
                  <a:lnTo>
                    <a:pt x="3988" y="4017"/>
                  </a:lnTo>
                  <a:lnTo>
                    <a:pt x="3994" y="4021"/>
                  </a:lnTo>
                  <a:lnTo>
                    <a:pt x="3999" y="4028"/>
                  </a:lnTo>
                  <a:lnTo>
                    <a:pt x="4001" y="4037"/>
                  </a:lnTo>
                  <a:lnTo>
                    <a:pt x="4001" y="4317"/>
                  </a:lnTo>
                  <a:lnTo>
                    <a:pt x="4539" y="4317"/>
                  </a:lnTo>
                  <a:lnTo>
                    <a:pt x="4539" y="3829"/>
                  </a:lnTo>
                  <a:lnTo>
                    <a:pt x="4446" y="3829"/>
                  </a:lnTo>
                  <a:lnTo>
                    <a:pt x="4437" y="3828"/>
                  </a:lnTo>
                  <a:lnTo>
                    <a:pt x="4430" y="3823"/>
                  </a:lnTo>
                  <a:lnTo>
                    <a:pt x="4426" y="3817"/>
                  </a:lnTo>
                  <a:lnTo>
                    <a:pt x="4425" y="3809"/>
                  </a:lnTo>
                  <a:lnTo>
                    <a:pt x="4426" y="3803"/>
                  </a:lnTo>
                  <a:lnTo>
                    <a:pt x="4430" y="3796"/>
                  </a:lnTo>
                  <a:lnTo>
                    <a:pt x="4437" y="3791"/>
                  </a:lnTo>
                  <a:lnTo>
                    <a:pt x="4446" y="3790"/>
                  </a:lnTo>
                  <a:close/>
                  <a:moveTo>
                    <a:pt x="4897" y="3950"/>
                  </a:moveTo>
                  <a:lnTo>
                    <a:pt x="4897" y="4317"/>
                  </a:lnTo>
                  <a:lnTo>
                    <a:pt x="5175" y="4317"/>
                  </a:lnTo>
                  <a:lnTo>
                    <a:pt x="5175" y="3829"/>
                  </a:lnTo>
                  <a:lnTo>
                    <a:pt x="4579" y="3829"/>
                  </a:lnTo>
                  <a:lnTo>
                    <a:pt x="4579" y="4317"/>
                  </a:lnTo>
                  <a:lnTo>
                    <a:pt x="4857" y="4317"/>
                  </a:lnTo>
                  <a:lnTo>
                    <a:pt x="4857" y="3950"/>
                  </a:lnTo>
                  <a:lnTo>
                    <a:pt x="4859" y="3941"/>
                  </a:lnTo>
                  <a:lnTo>
                    <a:pt x="4864" y="3934"/>
                  </a:lnTo>
                  <a:lnTo>
                    <a:pt x="4870" y="3930"/>
                  </a:lnTo>
                  <a:lnTo>
                    <a:pt x="4877" y="3929"/>
                  </a:lnTo>
                  <a:lnTo>
                    <a:pt x="4884" y="3930"/>
                  </a:lnTo>
                  <a:lnTo>
                    <a:pt x="4891" y="3934"/>
                  </a:lnTo>
                  <a:lnTo>
                    <a:pt x="4896" y="3941"/>
                  </a:lnTo>
                  <a:lnTo>
                    <a:pt x="4897" y="3950"/>
                  </a:lnTo>
                  <a:close/>
                  <a:moveTo>
                    <a:pt x="8349" y="481"/>
                  </a:moveTo>
                  <a:lnTo>
                    <a:pt x="8337" y="483"/>
                  </a:lnTo>
                  <a:lnTo>
                    <a:pt x="8328" y="482"/>
                  </a:lnTo>
                  <a:lnTo>
                    <a:pt x="8321" y="475"/>
                  </a:lnTo>
                  <a:lnTo>
                    <a:pt x="8318" y="464"/>
                  </a:lnTo>
                  <a:lnTo>
                    <a:pt x="8316" y="446"/>
                  </a:lnTo>
                  <a:lnTo>
                    <a:pt x="8312" y="428"/>
                  </a:lnTo>
                  <a:lnTo>
                    <a:pt x="8299" y="394"/>
                  </a:lnTo>
                  <a:lnTo>
                    <a:pt x="8280" y="364"/>
                  </a:lnTo>
                  <a:lnTo>
                    <a:pt x="8255" y="337"/>
                  </a:lnTo>
                  <a:lnTo>
                    <a:pt x="8226" y="316"/>
                  </a:lnTo>
                  <a:lnTo>
                    <a:pt x="8192" y="299"/>
                  </a:lnTo>
                  <a:lnTo>
                    <a:pt x="8175" y="293"/>
                  </a:lnTo>
                  <a:lnTo>
                    <a:pt x="8157" y="289"/>
                  </a:lnTo>
                  <a:lnTo>
                    <a:pt x="8137" y="286"/>
                  </a:lnTo>
                  <a:lnTo>
                    <a:pt x="8119" y="285"/>
                  </a:lnTo>
                  <a:lnTo>
                    <a:pt x="8080" y="289"/>
                  </a:lnTo>
                  <a:lnTo>
                    <a:pt x="8060" y="294"/>
                  </a:lnTo>
                  <a:lnTo>
                    <a:pt x="8042" y="300"/>
                  </a:lnTo>
                  <a:lnTo>
                    <a:pt x="8008" y="318"/>
                  </a:lnTo>
                  <a:lnTo>
                    <a:pt x="7978" y="341"/>
                  </a:lnTo>
                  <a:lnTo>
                    <a:pt x="7966" y="355"/>
                  </a:lnTo>
                  <a:lnTo>
                    <a:pt x="7954" y="369"/>
                  </a:lnTo>
                  <a:lnTo>
                    <a:pt x="7935" y="403"/>
                  </a:lnTo>
                  <a:lnTo>
                    <a:pt x="7928" y="420"/>
                  </a:lnTo>
                  <a:lnTo>
                    <a:pt x="7923" y="438"/>
                  </a:lnTo>
                  <a:lnTo>
                    <a:pt x="7919" y="477"/>
                  </a:lnTo>
                  <a:lnTo>
                    <a:pt x="7867" y="477"/>
                  </a:lnTo>
                  <a:lnTo>
                    <a:pt x="7836" y="474"/>
                  </a:lnTo>
                  <a:lnTo>
                    <a:pt x="7815" y="477"/>
                  </a:lnTo>
                  <a:lnTo>
                    <a:pt x="7798" y="482"/>
                  </a:lnTo>
                  <a:lnTo>
                    <a:pt x="7780" y="492"/>
                  </a:lnTo>
                  <a:lnTo>
                    <a:pt x="7765" y="504"/>
                  </a:lnTo>
                  <a:lnTo>
                    <a:pt x="7754" y="519"/>
                  </a:lnTo>
                  <a:lnTo>
                    <a:pt x="7745" y="537"/>
                  </a:lnTo>
                  <a:lnTo>
                    <a:pt x="7740" y="556"/>
                  </a:lnTo>
                  <a:lnTo>
                    <a:pt x="7737" y="576"/>
                  </a:lnTo>
                  <a:lnTo>
                    <a:pt x="7740" y="598"/>
                  </a:lnTo>
                  <a:lnTo>
                    <a:pt x="8505" y="599"/>
                  </a:lnTo>
                  <a:lnTo>
                    <a:pt x="8508" y="574"/>
                  </a:lnTo>
                  <a:lnTo>
                    <a:pt x="8505" y="552"/>
                  </a:lnTo>
                  <a:lnTo>
                    <a:pt x="8499" y="532"/>
                  </a:lnTo>
                  <a:lnTo>
                    <a:pt x="8490" y="514"/>
                  </a:lnTo>
                  <a:lnTo>
                    <a:pt x="8477" y="497"/>
                  </a:lnTo>
                  <a:lnTo>
                    <a:pt x="8460" y="484"/>
                  </a:lnTo>
                  <a:lnTo>
                    <a:pt x="8443" y="474"/>
                  </a:lnTo>
                  <a:lnTo>
                    <a:pt x="8423" y="468"/>
                  </a:lnTo>
                  <a:lnTo>
                    <a:pt x="8401" y="465"/>
                  </a:lnTo>
                  <a:lnTo>
                    <a:pt x="8373" y="469"/>
                  </a:lnTo>
                  <a:lnTo>
                    <a:pt x="8349" y="481"/>
                  </a:lnTo>
                  <a:close/>
                  <a:moveTo>
                    <a:pt x="7880" y="455"/>
                  </a:moveTo>
                  <a:lnTo>
                    <a:pt x="7883" y="433"/>
                  </a:lnTo>
                  <a:lnTo>
                    <a:pt x="7889" y="411"/>
                  </a:lnTo>
                  <a:lnTo>
                    <a:pt x="7896" y="391"/>
                  </a:lnTo>
                  <a:lnTo>
                    <a:pt x="7905" y="372"/>
                  </a:lnTo>
                  <a:lnTo>
                    <a:pt x="7917" y="354"/>
                  </a:lnTo>
                  <a:lnTo>
                    <a:pt x="7930" y="336"/>
                  </a:lnTo>
                  <a:lnTo>
                    <a:pt x="7944" y="321"/>
                  </a:lnTo>
                  <a:lnTo>
                    <a:pt x="7959" y="305"/>
                  </a:lnTo>
                  <a:lnTo>
                    <a:pt x="7994" y="280"/>
                  </a:lnTo>
                  <a:lnTo>
                    <a:pt x="8032" y="261"/>
                  </a:lnTo>
                  <a:lnTo>
                    <a:pt x="8075" y="249"/>
                  </a:lnTo>
                  <a:lnTo>
                    <a:pt x="8119" y="245"/>
                  </a:lnTo>
                  <a:lnTo>
                    <a:pt x="8160" y="249"/>
                  </a:lnTo>
                  <a:lnTo>
                    <a:pt x="8200" y="259"/>
                  </a:lnTo>
                  <a:lnTo>
                    <a:pt x="8237" y="276"/>
                  </a:lnTo>
                  <a:lnTo>
                    <a:pt x="8254" y="286"/>
                  </a:lnTo>
                  <a:lnTo>
                    <a:pt x="8271" y="299"/>
                  </a:lnTo>
                  <a:lnTo>
                    <a:pt x="8300" y="326"/>
                  </a:lnTo>
                  <a:lnTo>
                    <a:pt x="8325" y="358"/>
                  </a:lnTo>
                  <a:lnTo>
                    <a:pt x="8335" y="376"/>
                  </a:lnTo>
                  <a:lnTo>
                    <a:pt x="8343" y="395"/>
                  </a:lnTo>
                  <a:lnTo>
                    <a:pt x="8350" y="414"/>
                  </a:lnTo>
                  <a:lnTo>
                    <a:pt x="8354" y="433"/>
                  </a:lnTo>
                  <a:lnTo>
                    <a:pt x="8377" y="428"/>
                  </a:lnTo>
                  <a:lnTo>
                    <a:pt x="8401" y="426"/>
                  </a:lnTo>
                  <a:lnTo>
                    <a:pt x="8431" y="428"/>
                  </a:lnTo>
                  <a:lnTo>
                    <a:pt x="8459" y="437"/>
                  </a:lnTo>
                  <a:lnTo>
                    <a:pt x="8484" y="451"/>
                  </a:lnTo>
                  <a:lnTo>
                    <a:pt x="8505" y="470"/>
                  </a:lnTo>
                  <a:lnTo>
                    <a:pt x="8523" y="492"/>
                  </a:lnTo>
                  <a:lnTo>
                    <a:pt x="8531" y="505"/>
                  </a:lnTo>
                  <a:lnTo>
                    <a:pt x="8536" y="518"/>
                  </a:lnTo>
                  <a:lnTo>
                    <a:pt x="8545" y="544"/>
                  </a:lnTo>
                  <a:lnTo>
                    <a:pt x="8548" y="560"/>
                  </a:lnTo>
                  <a:lnTo>
                    <a:pt x="8548" y="574"/>
                  </a:lnTo>
                  <a:lnTo>
                    <a:pt x="8548" y="592"/>
                  </a:lnTo>
                  <a:lnTo>
                    <a:pt x="8544" y="613"/>
                  </a:lnTo>
                  <a:lnTo>
                    <a:pt x="8540" y="624"/>
                  </a:lnTo>
                  <a:lnTo>
                    <a:pt x="8535" y="631"/>
                  </a:lnTo>
                  <a:lnTo>
                    <a:pt x="8528" y="638"/>
                  </a:lnTo>
                  <a:lnTo>
                    <a:pt x="8521" y="640"/>
                  </a:lnTo>
                  <a:lnTo>
                    <a:pt x="7724" y="638"/>
                  </a:lnTo>
                  <a:lnTo>
                    <a:pt x="7717" y="637"/>
                  </a:lnTo>
                  <a:lnTo>
                    <a:pt x="7710" y="631"/>
                  </a:lnTo>
                  <a:lnTo>
                    <a:pt x="7705" y="622"/>
                  </a:lnTo>
                  <a:lnTo>
                    <a:pt x="7701" y="613"/>
                  </a:lnTo>
                  <a:lnTo>
                    <a:pt x="7699" y="593"/>
                  </a:lnTo>
                  <a:lnTo>
                    <a:pt x="7698" y="576"/>
                  </a:lnTo>
                  <a:lnTo>
                    <a:pt x="7700" y="548"/>
                  </a:lnTo>
                  <a:lnTo>
                    <a:pt x="7708" y="521"/>
                  </a:lnTo>
                  <a:lnTo>
                    <a:pt x="7721" y="497"/>
                  </a:lnTo>
                  <a:lnTo>
                    <a:pt x="7737" y="477"/>
                  </a:lnTo>
                  <a:lnTo>
                    <a:pt x="7757" y="459"/>
                  </a:lnTo>
                  <a:lnTo>
                    <a:pt x="7781" y="446"/>
                  </a:lnTo>
                  <a:lnTo>
                    <a:pt x="7807" y="437"/>
                  </a:lnTo>
                  <a:lnTo>
                    <a:pt x="7836" y="434"/>
                  </a:lnTo>
                  <a:lnTo>
                    <a:pt x="7851" y="436"/>
                  </a:lnTo>
                  <a:lnTo>
                    <a:pt x="7864" y="440"/>
                  </a:lnTo>
                  <a:lnTo>
                    <a:pt x="7874" y="445"/>
                  </a:lnTo>
                  <a:lnTo>
                    <a:pt x="7880" y="455"/>
                  </a:lnTo>
                  <a:close/>
                  <a:moveTo>
                    <a:pt x="4157" y="902"/>
                  </a:moveTo>
                  <a:lnTo>
                    <a:pt x="4683" y="902"/>
                  </a:lnTo>
                  <a:lnTo>
                    <a:pt x="5210" y="902"/>
                  </a:lnTo>
                  <a:lnTo>
                    <a:pt x="5210" y="892"/>
                  </a:lnTo>
                  <a:lnTo>
                    <a:pt x="5207" y="865"/>
                  </a:lnTo>
                  <a:lnTo>
                    <a:pt x="5203" y="854"/>
                  </a:lnTo>
                  <a:lnTo>
                    <a:pt x="5200" y="841"/>
                  </a:lnTo>
                  <a:lnTo>
                    <a:pt x="5187" y="819"/>
                  </a:lnTo>
                  <a:lnTo>
                    <a:pt x="5179" y="809"/>
                  </a:lnTo>
                  <a:lnTo>
                    <a:pt x="5171" y="799"/>
                  </a:lnTo>
                  <a:lnTo>
                    <a:pt x="5151" y="784"/>
                  </a:lnTo>
                  <a:lnTo>
                    <a:pt x="5141" y="777"/>
                  </a:lnTo>
                  <a:lnTo>
                    <a:pt x="5129" y="771"/>
                  </a:lnTo>
                  <a:lnTo>
                    <a:pt x="5103" y="763"/>
                  </a:lnTo>
                  <a:lnTo>
                    <a:pt x="5077" y="761"/>
                  </a:lnTo>
                  <a:lnTo>
                    <a:pt x="5052" y="763"/>
                  </a:lnTo>
                  <a:lnTo>
                    <a:pt x="5042" y="767"/>
                  </a:lnTo>
                  <a:lnTo>
                    <a:pt x="5030" y="771"/>
                  </a:lnTo>
                  <a:lnTo>
                    <a:pt x="4996" y="791"/>
                  </a:lnTo>
                  <a:lnTo>
                    <a:pt x="4982" y="799"/>
                  </a:lnTo>
                  <a:lnTo>
                    <a:pt x="4970" y="801"/>
                  </a:lnTo>
                  <a:lnTo>
                    <a:pt x="4961" y="799"/>
                  </a:lnTo>
                  <a:lnTo>
                    <a:pt x="4955" y="786"/>
                  </a:lnTo>
                  <a:lnTo>
                    <a:pt x="4944" y="758"/>
                  </a:lnTo>
                  <a:lnTo>
                    <a:pt x="4938" y="745"/>
                  </a:lnTo>
                  <a:lnTo>
                    <a:pt x="4929" y="732"/>
                  </a:lnTo>
                  <a:lnTo>
                    <a:pt x="4911" y="711"/>
                  </a:lnTo>
                  <a:lnTo>
                    <a:pt x="4900" y="700"/>
                  </a:lnTo>
                  <a:lnTo>
                    <a:pt x="4888" y="690"/>
                  </a:lnTo>
                  <a:lnTo>
                    <a:pt x="4864" y="675"/>
                  </a:lnTo>
                  <a:lnTo>
                    <a:pt x="4837" y="662"/>
                  </a:lnTo>
                  <a:lnTo>
                    <a:pt x="4821" y="658"/>
                  </a:lnTo>
                  <a:lnTo>
                    <a:pt x="4807" y="656"/>
                  </a:lnTo>
                  <a:lnTo>
                    <a:pt x="4775" y="653"/>
                  </a:lnTo>
                  <a:lnTo>
                    <a:pt x="4751" y="656"/>
                  </a:lnTo>
                  <a:lnTo>
                    <a:pt x="4725" y="661"/>
                  </a:lnTo>
                  <a:lnTo>
                    <a:pt x="4702" y="665"/>
                  </a:lnTo>
                  <a:lnTo>
                    <a:pt x="4694" y="663"/>
                  </a:lnTo>
                  <a:lnTo>
                    <a:pt x="4688" y="660"/>
                  </a:lnTo>
                  <a:lnTo>
                    <a:pt x="4671" y="643"/>
                  </a:lnTo>
                  <a:lnTo>
                    <a:pt x="4653" y="628"/>
                  </a:lnTo>
                  <a:lnTo>
                    <a:pt x="4634" y="615"/>
                  </a:lnTo>
                  <a:lnTo>
                    <a:pt x="4614" y="605"/>
                  </a:lnTo>
                  <a:lnTo>
                    <a:pt x="4592" y="596"/>
                  </a:lnTo>
                  <a:lnTo>
                    <a:pt x="4570" y="589"/>
                  </a:lnTo>
                  <a:lnTo>
                    <a:pt x="4546" y="585"/>
                  </a:lnTo>
                  <a:lnTo>
                    <a:pt x="4521" y="584"/>
                  </a:lnTo>
                  <a:lnTo>
                    <a:pt x="4480" y="587"/>
                  </a:lnTo>
                  <a:lnTo>
                    <a:pt x="4462" y="590"/>
                  </a:lnTo>
                  <a:lnTo>
                    <a:pt x="4446" y="594"/>
                  </a:lnTo>
                  <a:lnTo>
                    <a:pt x="4416" y="607"/>
                  </a:lnTo>
                  <a:lnTo>
                    <a:pt x="4393" y="622"/>
                  </a:lnTo>
                  <a:lnTo>
                    <a:pt x="4373" y="640"/>
                  </a:lnTo>
                  <a:lnTo>
                    <a:pt x="4356" y="661"/>
                  </a:lnTo>
                  <a:lnTo>
                    <a:pt x="4343" y="683"/>
                  </a:lnTo>
                  <a:lnTo>
                    <a:pt x="4333" y="704"/>
                  </a:lnTo>
                  <a:lnTo>
                    <a:pt x="4317" y="749"/>
                  </a:lnTo>
                  <a:lnTo>
                    <a:pt x="4306" y="786"/>
                  </a:lnTo>
                  <a:lnTo>
                    <a:pt x="4293" y="812"/>
                  </a:lnTo>
                  <a:lnTo>
                    <a:pt x="4287" y="818"/>
                  </a:lnTo>
                  <a:lnTo>
                    <a:pt x="4276" y="819"/>
                  </a:lnTo>
                  <a:lnTo>
                    <a:pt x="4261" y="818"/>
                  </a:lnTo>
                  <a:lnTo>
                    <a:pt x="4242" y="819"/>
                  </a:lnTo>
                  <a:lnTo>
                    <a:pt x="4224" y="824"/>
                  </a:lnTo>
                  <a:lnTo>
                    <a:pt x="4207" y="832"/>
                  </a:lnTo>
                  <a:lnTo>
                    <a:pt x="4193" y="842"/>
                  </a:lnTo>
                  <a:lnTo>
                    <a:pt x="4180" y="854"/>
                  </a:lnTo>
                  <a:lnTo>
                    <a:pt x="4170" y="868"/>
                  </a:lnTo>
                  <a:lnTo>
                    <a:pt x="4162" y="885"/>
                  </a:lnTo>
                  <a:lnTo>
                    <a:pt x="4157" y="902"/>
                  </a:lnTo>
                  <a:close/>
                  <a:moveTo>
                    <a:pt x="5248" y="923"/>
                  </a:moveTo>
                  <a:lnTo>
                    <a:pt x="5243" y="933"/>
                  </a:lnTo>
                  <a:lnTo>
                    <a:pt x="5238" y="938"/>
                  </a:lnTo>
                  <a:lnTo>
                    <a:pt x="5227" y="942"/>
                  </a:lnTo>
                  <a:lnTo>
                    <a:pt x="4680" y="942"/>
                  </a:lnTo>
                  <a:lnTo>
                    <a:pt x="4135" y="942"/>
                  </a:lnTo>
                  <a:lnTo>
                    <a:pt x="4129" y="940"/>
                  </a:lnTo>
                  <a:lnTo>
                    <a:pt x="4123" y="936"/>
                  </a:lnTo>
                  <a:lnTo>
                    <a:pt x="4117" y="928"/>
                  </a:lnTo>
                  <a:lnTo>
                    <a:pt x="4116" y="920"/>
                  </a:lnTo>
                  <a:lnTo>
                    <a:pt x="4119" y="891"/>
                  </a:lnTo>
                  <a:lnTo>
                    <a:pt x="4128" y="864"/>
                  </a:lnTo>
                  <a:lnTo>
                    <a:pt x="4140" y="840"/>
                  </a:lnTo>
                  <a:lnTo>
                    <a:pt x="4158" y="819"/>
                  </a:lnTo>
                  <a:lnTo>
                    <a:pt x="4180" y="801"/>
                  </a:lnTo>
                  <a:lnTo>
                    <a:pt x="4205" y="789"/>
                  </a:lnTo>
                  <a:lnTo>
                    <a:pt x="4232" y="781"/>
                  </a:lnTo>
                  <a:lnTo>
                    <a:pt x="4261" y="777"/>
                  </a:lnTo>
                  <a:lnTo>
                    <a:pt x="4265" y="753"/>
                  </a:lnTo>
                  <a:lnTo>
                    <a:pt x="4270" y="730"/>
                  </a:lnTo>
                  <a:lnTo>
                    <a:pt x="4279" y="707"/>
                  </a:lnTo>
                  <a:lnTo>
                    <a:pt x="4288" y="686"/>
                  </a:lnTo>
                  <a:lnTo>
                    <a:pt x="4301" y="666"/>
                  </a:lnTo>
                  <a:lnTo>
                    <a:pt x="4314" y="647"/>
                  </a:lnTo>
                  <a:lnTo>
                    <a:pt x="4329" y="629"/>
                  </a:lnTo>
                  <a:lnTo>
                    <a:pt x="4346" y="612"/>
                  </a:lnTo>
                  <a:lnTo>
                    <a:pt x="4364" y="597"/>
                  </a:lnTo>
                  <a:lnTo>
                    <a:pt x="4383" y="584"/>
                  </a:lnTo>
                  <a:lnTo>
                    <a:pt x="4425" y="562"/>
                  </a:lnTo>
                  <a:lnTo>
                    <a:pt x="4448" y="555"/>
                  </a:lnTo>
                  <a:lnTo>
                    <a:pt x="4471" y="550"/>
                  </a:lnTo>
                  <a:lnTo>
                    <a:pt x="4496" y="546"/>
                  </a:lnTo>
                  <a:lnTo>
                    <a:pt x="4521" y="544"/>
                  </a:lnTo>
                  <a:lnTo>
                    <a:pt x="4548" y="546"/>
                  </a:lnTo>
                  <a:lnTo>
                    <a:pt x="4575" y="550"/>
                  </a:lnTo>
                  <a:lnTo>
                    <a:pt x="4625" y="565"/>
                  </a:lnTo>
                  <a:lnTo>
                    <a:pt x="4648" y="576"/>
                  </a:lnTo>
                  <a:lnTo>
                    <a:pt x="4670" y="590"/>
                  </a:lnTo>
                  <a:lnTo>
                    <a:pt x="4689" y="606"/>
                  </a:lnTo>
                  <a:lnTo>
                    <a:pt x="4709" y="622"/>
                  </a:lnTo>
                  <a:lnTo>
                    <a:pt x="4741" y="615"/>
                  </a:lnTo>
                  <a:lnTo>
                    <a:pt x="4775" y="612"/>
                  </a:lnTo>
                  <a:lnTo>
                    <a:pt x="4810" y="615"/>
                  </a:lnTo>
                  <a:lnTo>
                    <a:pt x="4827" y="619"/>
                  </a:lnTo>
                  <a:lnTo>
                    <a:pt x="4842" y="622"/>
                  </a:lnTo>
                  <a:lnTo>
                    <a:pt x="4873" y="635"/>
                  </a:lnTo>
                  <a:lnTo>
                    <a:pt x="4901" y="651"/>
                  </a:lnTo>
                  <a:lnTo>
                    <a:pt x="4927" y="671"/>
                  </a:lnTo>
                  <a:lnTo>
                    <a:pt x="4950" y="694"/>
                  </a:lnTo>
                  <a:lnTo>
                    <a:pt x="4969" y="720"/>
                  </a:lnTo>
                  <a:lnTo>
                    <a:pt x="4984" y="749"/>
                  </a:lnTo>
                  <a:lnTo>
                    <a:pt x="5005" y="738"/>
                  </a:lnTo>
                  <a:lnTo>
                    <a:pt x="5028" y="729"/>
                  </a:lnTo>
                  <a:lnTo>
                    <a:pt x="5052" y="722"/>
                  </a:lnTo>
                  <a:lnTo>
                    <a:pt x="5077" y="721"/>
                  </a:lnTo>
                  <a:lnTo>
                    <a:pt x="5112" y="725"/>
                  </a:lnTo>
                  <a:lnTo>
                    <a:pt x="5128" y="729"/>
                  </a:lnTo>
                  <a:lnTo>
                    <a:pt x="5145" y="734"/>
                  </a:lnTo>
                  <a:lnTo>
                    <a:pt x="5174" y="750"/>
                  </a:lnTo>
                  <a:lnTo>
                    <a:pt x="5200" y="771"/>
                  </a:lnTo>
                  <a:lnTo>
                    <a:pt x="5210" y="784"/>
                  </a:lnTo>
                  <a:lnTo>
                    <a:pt x="5220" y="796"/>
                  </a:lnTo>
                  <a:lnTo>
                    <a:pt x="5229" y="810"/>
                  </a:lnTo>
                  <a:lnTo>
                    <a:pt x="5237" y="826"/>
                  </a:lnTo>
                  <a:lnTo>
                    <a:pt x="5247" y="858"/>
                  </a:lnTo>
                  <a:lnTo>
                    <a:pt x="5250" y="892"/>
                  </a:lnTo>
                  <a:lnTo>
                    <a:pt x="5250" y="908"/>
                  </a:lnTo>
                  <a:lnTo>
                    <a:pt x="5248" y="923"/>
                  </a:lnTo>
                  <a:close/>
                  <a:moveTo>
                    <a:pt x="4239" y="2494"/>
                  </a:moveTo>
                  <a:lnTo>
                    <a:pt x="4239" y="2607"/>
                  </a:lnTo>
                  <a:lnTo>
                    <a:pt x="4238" y="2616"/>
                  </a:lnTo>
                  <a:lnTo>
                    <a:pt x="4233" y="2622"/>
                  </a:lnTo>
                  <a:lnTo>
                    <a:pt x="4226" y="2626"/>
                  </a:lnTo>
                  <a:lnTo>
                    <a:pt x="4219" y="2627"/>
                  </a:lnTo>
                  <a:lnTo>
                    <a:pt x="4212" y="2626"/>
                  </a:lnTo>
                  <a:lnTo>
                    <a:pt x="4206" y="2622"/>
                  </a:lnTo>
                  <a:lnTo>
                    <a:pt x="4201" y="2616"/>
                  </a:lnTo>
                  <a:lnTo>
                    <a:pt x="4199" y="2607"/>
                  </a:lnTo>
                  <a:lnTo>
                    <a:pt x="4199" y="2494"/>
                  </a:lnTo>
                  <a:lnTo>
                    <a:pt x="4201" y="2487"/>
                  </a:lnTo>
                  <a:lnTo>
                    <a:pt x="4206" y="2480"/>
                  </a:lnTo>
                  <a:lnTo>
                    <a:pt x="4212" y="2477"/>
                  </a:lnTo>
                  <a:lnTo>
                    <a:pt x="4219" y="2475"/>
                  </a:lnTo>
                  <a:lnTo>
                    <a:pt x="4226" y="2477"/>
                  </a:lnTo>
                  <a:lnTo>
                    <a:pt x="4233" y="2480"/>
                  </a:lnTo>
                  <a:lnTo>
                    <a:pt x="4238" y="2487"/>
                  </a:lnTo>
                  <a:lnTo>
                    <a:pt x="4239" y="2494"/>
                  </a:lnTo>
                  <a:close/>
                  <a:moveTo>
                    <a:pt x="4502" y="2494"/>
                  </a:moveTo>
                  <a:lnTo>
                    <a:pt x="4502" y="2607"/>
                  </a:lnTo>
                  <a:lnTo>
                    <a:pt x="4501" y="2616"/>
                  </a:lnTo>
                  <a:lnTo>
                    <a:pt x="4496" y="2622"/>
                  </a:lnTo>
                  <a:lnTo>
                    <a:pt x="4489" y="2626"/>
                  </a:lnTo>
                  <a:lnTo>
                    <a:pt x="4483" y="2627"/>
                  </a:lnTo>
                  <a:lnTo>
                    <a:pt x="4475" y="2626"/>
                  </a:lnTo>
                  <a:lnTo>
                    <a:pt x="4469" y="2622"/>
                  </a:lnTo>
                  <a:lnTo>
                    <a:pt x="4464" y="2616"/>
                  </a:lnTo>
                  <a:lnTo>
                    <a:pt x="4462" y="2607"/>
                  </a:lnTo>
                  <a:lnTo>
                    <a:pt x="4462" y="2494"/>
                  </a:lnTo>
                  <a:lnTo>
                    <a:pt x="4464" y="2487"/>
                  </a:lnTo>
                  <a:lnTo>
                    <a:pt x="4469" y="2480"/>
                  </a:lnTo>
                  <a:lnTo>
                    <a:pt x="4475" y="2477"/>
                  </a:lnTo>
                  <a:lnTo>
                    <a:pt x="4483" y="2475"/>
                  </a:lnTo>
                  <a:lnTo>
                    <a:pt x="4489" y="2477"/>
                  </a:lnTo>
                  <a:lnTo>
                    <a:pt x="4496" y="2480"/>
                  </a:lnTo>
                  <a:lnTo>
                    <a:pt x="4501" y="2487"/>
                  </a:lnTo>
                  <a:lnTo>
                    <a:pt x="4502" y="2494"/>
                  </a:lnTo>
                  <a:close/>
                  <a:moveTo>
                    <a:pt x="4765" y="2494"/>
                  </a:moveTo>
                  <a:lnTo>
                    <a:pt x="4765" y="2607"/>
                  </a:lnTo>
                  <a:lnTo>
                    <a:pt x="4764" y="2616"/>
                  </a:lnTo>
                  <a:lnTo>
                    <a:pt x="4759" y="2622"/>
                  </a:lnTo>
                  <a:lnTo>
                    <a:pt x="4752" y="2626"/>
                  </a:lnTo>
                  <a:lnTo>
                    <a:pt x="4746" y="2627"/>
                  </a:lnTo>
                  <a:lnTo>
                    <a:pt x="4738" y="2626"/>
                  </a:lnTo>
                  <a:lnTo>
                    <a:pt x="4732" y="2622"/>
                  </a:lnTo>
                  <a:lnTo>
                    <a:pt x="4728" y="2616"/>
                  </a:lnTo>
                  <a:lnTo>
                    <a:pt x="4725" y="2607"/>
                  </a:lnTo>
                  <a:lnTo>
                    <a:pt x="4725" y="2494"/>
                  </a:lnTo>
                  <a:lnTo>
                    <a:pt x="4728" y="2487"/>
                  </a:lnTo>
                  <a:lnTo>
                    <a:pt x="4732" y="2480"/>
                  </a:lnTo>
                  <a:lnTo>
                    <a:pt x="4738" y="2477"/>
                  </a:lnTo>
                  <a:lnTo>
                    <a:pt x="4746" y="2475"/>
                  </a:lnTo>
                  <a:lnTo>
                    <a:pt x="4752" y="2477"/>
                  </a:lnTo>
                  <a:lnTo>
                    <a:pt x="4759" y="2480"/>
                  </a:lnTo>
                  <a:lnTo>
                    <a:pt x="4764" y="2487"/>
                  </a:lnTo>
                  <a:lnTo>
                    <a:pt x="4765" y="2494"/>
                  </a:lnTo>
                  <a:close/>
                  <a:moveTo>
                    <a:pt x="5029" y="2494"/>
                  </a:moveTo>
                  <a:lnTo>
                    <a:pt x="5029" y="2607"/>
                  </a:lnTo>
                  <a:lnTo>
                    <a:pt x="5027" y="2616"/>
                  </a:lnTo>
                  <a:lnTo>
                    <a:pt x="5023" y="2622"/>
                  </a:lnTo>
                  <a:lnTo>
                    <a:pt x="5016" y="2626"/>
                  </a:lnTo>
                  <a:lnTo>
                    <a:pt x="5009" y="2627"/>
                  </a:lnTo>
                  <a:lnTo>
                    <a:pt x="5001" y="2626"/>
                  </a:lnTo>
                  <a:lnTo>
                    <a:pt x="4994" y="2622"/>
                  </a:lnTo>
                  <a:lnTo>
                    <a:pt x="4991" y="2616"/>
                  </a:lnTo>
                  <a:lnTo>
                    <a:pt x="4988" y="2607"/>
                  </a:lnTo>
                  <a:lnTo>
                    <a:pt x="4988" y="2494"/>
                  </a:lnTo>
                  <a:lnTo>
                    <a:pt x="4991" y="2487"/>
                  </a:lnTo>
                  <a:lnTo>
                    <a:pt x="4994" y="2480"/>
                  </a:lnTo>
                  <a:lnTo>
                    <a:pt x="5001" y="2477"/>
                  </a:lnTo>
                  <a:lnTo>
                    <a:pt x="5009" y="2475"/>
                  </a:lnTo>
                  <a:lnTo>
                    <a:pt x="5016" y="2477"/>
                  </a:lnTo>
                  <a:lnTo>
                    <a:pt x="5023" y="2480"/>
                  </a:lnTo>
                  <a:lnTo>
                    <a:pt x="5027" y="2487"/>
                  </a:lnTo>
                  <a:lnTo>
                    <a:pt x="5029" y="2494"/>
                  </a:lnTo>
                  <a:close/>
                  <a:moveTo>
                    <a:pt x="5292" y="2494"/>
                  </a:moveTo>
                  <a:lnTo>
                    <a:pt x="5292" y="2607"/>
                  </a:lnTo>
                  <a:lnTo>
                    <a:pt x="5289" y="2616"/>
                  </a:lnTo>
                  <a:lnTo>
                    <a:pt x="5286" y="2622"/>
                  </a:lnTo>
                  <a:lnTo>
                    <a:pt x="5279" y="2626"/>
                  </a:lnTo>
                  <a:lnTo>
                    <a:pt x="5271" y="2627"/>
                  </a:lnTo>
                  <a:lnTo>
                    <a:pt x="5264" y="2626"/>
                  </a:lnTo>
                  <a:lnTo>
                    <a:pt x="5257" y="2622"/>
                  </a:lnTo>
                  <a:lnTo>
                    <a:pt x="5253" y="2616"/>
                  </a:lnTo>
                  <a:lnTo>
                    <a:pt x="5252" y="2607"/>
                  </a:lnTo>
                  <a:lnTo>
                    <a:pt x="5252" y="2494"/>
                  </a:lnTo>
                  <a:lnTo>
                    <a:pt x="5253" y="2487"/>
                  </a:lnTo>
                  <a:lnTo>
                    <a:pt x="5257" y="2480"/>
                  </a:lnTo>
                  <a:lnTo>
                    <a:pt x="5264" y="2477"/>
                  </a:lnTo>
                  <a:lnTo>
                    <a:pt x="5271" y="2475"/>
                  </a:lnTo>
                  <a:lnTo>
                    <a:pt x="5279" y="2477"/>
                  </a:lnTo>
                  <a:lnTo>
                    <a:pt x="5286" y="2480"/>
                  </a:lnTo>
                  <a:lnTo>
                    <a:pt x="5289" y="2487"/>
                  </a:lnTo>
                  <a:lnTo>
                    <a:pt x="5292" y="2494"/>
                  </a:lnTo>
                  <a:close/>
                  <a:moveTo>
                    <a:pt x="5555" y="2494"/>
                  </a:moveTo>
                  <a:lnTo>
                    <a:pt x="5555" y="2607"/>
                  </a:lnTo>
                  <a:lnTo>
                    <a:pt x="5554" y="2616"/>
                  </a:lnTo>
                  <a:lnTo>
                    <a:pt x="5548" y="2622"/>
                  </a:lnTo>
                  <a:lnTo>
                    <a:pt x="5542" y="2626"/>
                  </a:lnTo>
                  <a:lnTo>
                    <a:pt x="5534" y="2627"/>
                  </a:lnTo>
                  <a:lnTo>
                    <a:pt x="5528" y="2626"/>
                  </a:lnTo>
                  <a:lnTo>
                    <a:pt x="5521" y="2622"/>
                  </a:lnTo>
                  <a:lnTo>
                    <a:pt x="5516" y="2616"/>
                  </a:lnTo>
                  <a:lnTo>
                    <a:pt x="5515" y="2607"/>
                  </a:lnTo>
                  <a:lnTo>
                    <a:pt x="5515" y="2494"/>
                  </a:lnTo>
                  <a:lnTo>
                    <a:pt x="5516" y="2487"/>
                  </a:lnTo>
                  <a:lnTo>
                    <a:pt x="5521" y="2480"/>
                  </a:lnTo>
                  <a:lnTo>
                    <a:pt x="5528" y="2477"/>
                  </a:lnTo>
                  <a:lnTo>
                    <a:pt x="5534" y="2475"/>
                  </a:lnTo>
                  <a:lnTo>
                    <a:pt x="5542" y="2477"/>
                  </a:lnTo>
                  <a:lnTo>
                    <a:pt x="5548" y="2480"/>
                  </a:lnTo>
                  <a:lnTo>
                    <a:pt x="5554" y="2487"/>
                  </a:lnTo>
                  <a:lnTo>
                    <a:pt x="5555" y="2494"/>
                  </a:lnTo>
                  <a:close/>
                  <a:moveTo>
                    <a:pt x="4239" y="2741"/>
                  </a:moveTo>
                  <a:lnTo>
                    <a:pt x="4239" y="2854"/>
                  </a:lnTo>
                  <a:lnTo>
                    <a:pt x="4238" y="2863"/>
                  </a:lnTo>
                  <a:lnTo>
                    <a:pt x="4233" y="2869"/>
                  </a:lnTo>
                  <a:lnTo>
                    <a:pt x="4226" y="2873"/>
                  </a:lnTo>
                  <a:lnTo>
                    <a:pt x="4219" y="2874"/>
                  </a:lnTo>
                  <a:lnTo>
                    <a:pt x="4212" y="2873"/>
                  </a:lnTo>
                  <a:lnTo>
                    <a:pt x="4206" y="2869"/>
                  </a:lnTo>
                  <a:lnTo>
                    <a:pt x="4201" y="2863"/>
                  </a:lnTo>
                  <a:lnTo>
                    <a:pt x="4199" y="2854"/>
                  </a:lnTo>
                  <a:lnTo>
                    <a:pt x="4199" y="2741"/>
                  </a:lnTo>
                  <a:lnTo>
                    <a:pt x="4201" y="2732"/>
                  </a:lnTo>
                  <a:lnTo>
                    <a:pt x="4206" y="2727"/>
                  </a:lnTo>
                  <a:lnTo>
                    <a:pt x="4212" y="2723"/>
                  </a:lnTo>
                  <a:lnTo>
                    <a:pt x="4219" y="2722"/>
                  </a:lnTo>
                  <a:lnTo>
                    <a:pt x="4226" y="2723"/>
                  </a:lnTo>
                  <a:lnTo>
                    <a:pt x="4233" y="2727"/>
                  </a:lnTo>
                  <a:lnTo>
                    <a:pt x="4238" y="2732"/>
                  </a:lnTo>
                  <a:lnTo>
                    <a:pt x="4239" y="2741"/>
                  </a:lnTo>
                  <a:close/>
                  <a:moveTo>
                    <a:pt x="4502" y="2741"/>
                  </a:moveTo>
                  <a:lnTo>
                    <a:pt x="4502" y="2854"/>
                  </a:lnTo>
                  <a:lnTo>
                    <a:pt x="4501" y="2863"/>
                  </a:lnTo>
                  <a:lnTo>
                    <a:pt x="4496" y="2869"/>
                  </a:lnTo>
                  <a:lnTo>
                    <a:pt x="4489" y="2873"/>
                  </a:lnTo>
                  <a:lnTo>
                    <a:pt x="4483" y="2874"/>
                  </a:lnTo>
                  <a:lnTo>
                    <a:pt x="4475" y="2873"/>
                  </a:lnTo>
                  <a:lnTo>
                    <a:pt x="4469" y="2869"/>
                  </a:lnTo>
                  <a:lnTo>
                    <a:pt x="4464" y="2863"/>
                  </a:lnTo>
                  <a:lnTo>
                    <a:pt x="4462" y="2854"/>
                  </a:lnTo>
                  <a:lnTo>
                    <a:pt x="4462" y="2741"/>
                  </a:lnTo>
                  <a:lnTo>
                    <a:pt x="4464" y="2732"/>
                  </a:lnTo>
                  <a:lnTo>
                    <a:pt x="4469" y="2727"/>
                  </a:lnTo>
                  <a:lnTo>
                    <a:pt x="4475" y="2723"/>
                  </a:lnTo>
                  <a:lnTo>
                    <a:pt x="4483" y="2722"/>
                  </a:lnTo>
                  <a:lnTo>
                    <a:pt x="4489" y="2723"/>
                  </a:lnTo>
                  <a:lnTo>
                    <a:pt x="4496" y="2727"/>
                  </a:lnTo>
                  <a:lnTo>
                    <a:pt x="4501" y="2732"/>
                  </a:lnTo>
                  <a:lnTo>
                    <a:pt x="4502" y="2741"/>
                  </a:lnTo>
                  <a:close/>
                  <a:moveTo>
                    <a:pt x="4765" y="2741"/>
                  </a:moveTo>
                  <a:lnTo>
                    <a:pt x="4765" y="2854"/>
                  </a:lnTo>
                  <a:lnTo>
                    <a:pt x="4764" y="2863"/>
                  </a:lnTo>
                  <a:lnTo>
                    <a:pt x="4759" y="2869"/>
                  </a:lnTo>
                  <a:lnTo>
                    <a:pt x="4752" y="2873"/>
                  </a:lnTo>
                  <a:lnTo>
                    <a:pt x="4746" y="2874"/>
                  </a:lnTo>
                  <a:lnTo>
                    <a:pt x="4738" y="2873"/>
                  </a:lnTo>
                  <a:lnTo>
                    <a:pt x="4732" y="2869"/>
                  </a:lnTo>
                  <a:lnTo>
                    <a:pt x="4728" y="2863"/>
                  </a:lnTo>
                  <a:lnTo>
                    <a:pt x="4725" y="2854"/>
                  </a:lnTo>
                  <a:lnTo>
                    <a:pt x="4725" y="2741"/>
                  </a:lnTo>
                  <a:lnTo>
                    <a:pt x="4728" y="2732"/>
                  </a:lnTo>
                  <a:lnTo>
                    <a:pt x="4732" y="2727"/>
                  </a:lnTo>
                  <a:lnTo>
                    <a:pt x="4738" y="2723"/>
                  </a:lnTo>
                  <a:lnTo>
                    <a:pt x="4746" y="2722"/>
                  </a:lnTo>
                  <a:lnTo>
                    <a:pt x="4752" y="2723"/>
                  </a:lnTo>
                  <a:lnTo>
                    <a:pt x="4759" y="2727"/>
                  </a:lnTo>
                  <a:lnTo>
                    <a:pt x="4764" y="2732"/>
                  </a:lnTo>
                  <a:lnTo>
                    <a:pt x="4765" y="2741"/>
                  </a:lnTo>
                  <a:close/>
                  <a:moveTo>
                    <a:pt x="5029" y="2741"/>
                  </a:moveTo>
                  <a:lnTo>
                    <a:pt x="5029" y="2854"/>
                  </a:lnTo>
                  <a:lnTo>
                    <a:pt x="5027" y="2863"/>
                  </a:lnTo>
                  <a:lnTo>
                    <a:pt x="5023" y="2869"/>
                  </a:lnTo>
                  <a:lnTo>
                    <a:pt x="5016" y="2873"/>
                  </a:lnTo>
                  <a:lnTo>
                    <a:pt x="5009" y="2874"/>
                  </a:lnTo>
                  <a:lnTo>
                    <a:pt x="5001" y="2873"/>
                  </a:lnTo>
                  <a:lnTo>
                    <a:pt x="4994" y="2869"/>
                  </a:lnTo>
                  <a:lnTo>
                    <a:pt x="4991" y="2863"/>
                  </a:lnTo>
                  <a:lnTo>
                    <a:pt x="4988" y="2854"/>
                  </a:lnTo>
                  <a:lnTo>
                    <a:pt x="4988" y="2741"/>
                  </a:lnTo>
                  <a:lnTo>
                    <a:pt x="4991" y="2732"/>
                  </a:lnTo>
                  <a:lnTo>
                    <a:pt x="4994" y="2727"/>
                  </a:lnTo>
                  <a:lnTo>
                    <a:pt x="5001" y="2723"/>
                  </a:lnTo>
                  <a:lnTo>
                    <a:pt x="5009" y="2722"/>
                  </a:lnTo>
                  <a:lnTo>
                    <a:pt x="5016" y="2723"/>
                  </a:lnTo>
                  <a:lnTo>
                    <a:pt x="5023" y="2727"/>
                  </a:lnTo>
                  <a:lnTo>
                    <a:pt x="5027" y="2732"/>
                  </a:lnTo>
                  <a:lnTo>
                    <a:pt x="5029" y="2741"/>
                  </a:lnTo>
                  <a:close/>
                  <a:moveTo>
                    <a:pt x="5292" y="2741"/>
                  </a:moveTo>
                  <a:lnTo>
                    <a:pt x="5292" y="2854"/>
                  </a:lnTo>
                  <a:lnTo>
                    <a:pt x="5289" y="2863"/>
                  </a:lnTo>
                  <a:lnTo>
                    <a:pt x="5286" y="2869"/>
                  </a:lnTo>
                  <a:lnTo>
                    <a:pt x="5279" y="2873"/>
                  </a:lnTo>
                  <a:lnTo>
                    <a:pt x="5271" y="2874"/>
                  </a:lnTo>
                  <a:lnTo>
                    <a:pt x="5264" y="2873"/>
                  </a:lnTo>
                  <a:lnTo>
                    <a:pt x="5257" y="2869"/>
                  </a:lnTo>
                  <a:lnTo>
                    <a:pt x="5253" y="2863"/>
                  </a:lnTo>
                  <a:lnTo>
                    <a:pt x="5252" y="2854"/>
                  </a:lnTo>
                  <a:lnTo>
                    <a:pt x="5252" y="2741"/>
                  </a:lnTo>
                  <a:lnTo>
                    <a:pt x="5253" y="2732"/>
                  </a:lnTo>
                  <a:lnTo>
                    <a:pt x="5257" y="2727"/>
                  </a:lnTo>
                  <a:lnTo>
                    <a:pt x="5264" y="2723"/>
                  </a:lnTo>
                  <a:lnTo>
                    <a:pt x="5271" y="2722"/>
                  </a:lnTo>
                  <a:lnTo>
                    <a:pt x="5279" y="2723"/>
                  </a:lnTo>
                  <a:lnTo>
                    <a:pt x="5286" y="2727"/>
                  </a:lnTo>
                  <a:lnTo>
                    <a:pt x="5289" y="2732"/>
                  </a:lnTo>
                  <a:lnTo>
                    <a:pt x="5292" y="2741"/>
                  </a:lnTo>
                  <a:close/>
                  <a:moveTo>
                    <a:pt x="5555" y="2741"/>
                  </a:moveTo>
                  <a:lnTo>
                    <a:pt x="5555" y="2854"/>
                  </a:lnTo>
                  <a:lnTo>
                    <a:pt x="5554" y="2863"/>
                  </a:lnTo>
                  <a:lnTo>
                    <a:pt x="5548" y="2869"/>
                  </a:lnTo>
                  <a:lnTo>
                    <a:pt x="5542" y="2873"/>
                  </a:lnTo>
                  <a:lnTo>
                    <a:pt x="5534" y="2874"/>
                  </a:lnTo>
                  <a:lnTo>
                    <a:pt x="5528" y="2873"/>
                  </a:lnTo>
                  <a:lnTo>
                    <a:pt x="5521" y="2869"/>
                  </a:lnTo>
                  <a:lnTo>
                    <a:pt x="5516" y="2863"/>
                  </a:lnTo>
                  <a:lnTo>
                    <a:pt x="5515" y="2854"/>
                  </a:lnTo>
                  <a:lnTo>
                    <a:pt x="5515" y="2741"/>
                  </a:lnTo>
                  <a:lnTo>
                    <a:pt x="5516" y="2732"/>
                  </a:lnTo>
                  <a:lnTo>
                    <a:pt x="5521" y="2727"/>
                  </a:lnTo>
                  <a:lnTo>
                    <a:pt x="5528" y="2723"/>
                  </a:lnTo>
                  <a:lnTo>
                    <a:pt x="5534" y="2722"/>
                  </a:lnTo>
                  <a:lnTo>
                    <a:pt x="5542" y="2723"/>
                  </a:lnTo>
                  <a:lnTo>
                    <a:pt x="5548" y="2727"/>
                  </a:lnTo>
                  <a:lnTo>
                    <a:pt x="5554" y="2732"/>
                  </a:lnTo>
                  <a:lnTo>
                    <a:pt x="5555" y="2741"/>
                  </a:lnTo>
                  <a:close/>
                  <a:moveTo>
                    <a:pt x="4239" y="2988"/>
                  </a:moveTo>
                  <a:lnTo>
                    <a:pt x="4239" y="3101"/>
                  </a:lnTo>
                  <a:lnTo>
                    <a:pt x="4238" y="3109"/>
                  </a:lnTo>
                  <a:lnTo>
                    <a:pt x="4233" y="3115"/>
                  </a:lnTo>
                  <a:lnTo>
                    <a:pt x="4226" y="3118"/>
                  </a:lnTo>
                  <a:lnTo>
                    <a:pt x="4219" y="3120"/>
                  </a:lnTo>
                  <a:lnTo>
                    <a:pt x="4212" y="3118"/>
                  </a:lnTo>
                  <a:lnTo>
                    <a:pt x="4206" y="3115"/>
                  </a:lnTo>
                  <a:lnTo>
                    <a:pt x="4201" y="3109"/>
                  </a:lnTo>
                  <a:lnTo>
                    <a:pt x="4199" y="3101"/>
                  </a:lnTo>
                  <a:lnTo>
                    <a:pt x="4199" y="2988"/>
                  </a:lnTo>
                  <a:lnTo>
                    <a:pt x="4201" y="2979"/>
                  </a:lnTo>
                  <a:lnTo>
                    <a:pt x="4206" y="2973"/>
                  </a:lnTo>
                  <a:lnTo>
                    <a:pt x="4212" y="2970"/>
                  </a:lnTo>
                  <a:lnTo>
                    <a:pt x="4219" y="2969"/>
                  </a:lnTo>
                  <a:lnTo>
                    <a:pt x="4226" y="2970"/>
                  </a:lnTo>
                  <a:lnTo>
                    <a:pt x="4233" y="2973"/>
                  </a:lnTo>
                  <a:lnTo>
                    <a:pt x="4238" y="2979"/>
                  </a:lnTo>
                  <a:lnTo>
                    <a:pt x="4239" y="2988"/>
                  </a:lnTo>
                  <a:close/>
                  <a:moveTo>
                    <a:pt x="4502" y="2988"/>
                  </a:moveTo>
                  <a:lnTo>
                    <a:pt x="4502" y="3101"/>
                  </a:lnTo>
                  <a:lnTo>
                    <a:pt x="4501" y="3109"/>
                  </a:lnTo>
                  <a:lnTo>
                    <a:pt x="4496" y="3115"/>
                  </a:lnTo>
                  <a:lnTo>
                    <a:pt x="4489" y="3118"/>
                  </a:lnTo>
                  <a:lnTo>
                    <a:pt x="4483" y="3120"/>
                  </a:lnTo>
                  <a:lnTo>
                    <a:pt x="4475" y="3118"/>
                  </a:lnTo>
                  <a:lnTo>
                    <a:pt x="4469" y="3115"/>
                  </a:lnTo>
                  <a:lnTo>
                    <a:pt x="4464" y="3109"/>
                  </a:lnTo>
                  <a:lnTo>
                    <a:pt x="4462" y="3101"/>
                  </a:lnTo>
                  <a:lnTo>
                    <a:pt x="4462" y="2988"/>
                  </a:lnTo>
                  <a:lnTo>
                    <a:pt x="4464" y="2979"/>
                  </a:lnTo>
                  <a:lnTo>
                    <a:pt x="4469" y="2973"/>
                  </a:lnTo>
                  <a:lnTo>
                    <a:pt x="4475" y="2970"/>
                  </a:lnTo>
                  <a:lnTo>
                    <a:pt x="4483" y="2969"/>
                  </a:lnTo>
                  <a:lnTo>
                    <a:pt x="4489" y="2970"/>
                  </a:lnTo>
                  <a:lnTo>
                    <a:pt x="4496" y="2973"/>
                  </a:lnTo>
                  <a:lnTo>
                    <a:pt x="4501" y="2979"/>
                  </a:lnTo>
                  <a:lnTo>
                    <a:pt x="4502" y="2988"/>
                  </a:lnTo>
                  <a:close/>
                  <a:moveTo>
                    <a:pt x="4765" y="2988"/>
                  </a:moveTo>
                  <a:lnTo>
                    <a:pt x="4765" y="3101"/>
                  </a:lnTo>
                  <a:lnTo>
                    <a:pt x="4764" y="3109"/>
                  </a:lnTo>
                  <a:lnTo>
                    <a:pt x="4759" y="3115"/>
                  </a:lnTo>
                  <a:lnTo>
                    <a:pt x="4752" y="3118"/>
                  </a:lnTo>
                  <a:lnTo>
                    <a:pt x="4746" y="3120"/>
                  </a:lnTo>
                  <a:lnTo>
                    <a:pt x="4738" y="3118"/>
                  </a:lnTo>
                  <a:lnTo>
                    <a:pt x="4732" y="3115"/>
                  </a:lnTo>
                  <a:lnTo>
                    <a:pt x="4728" y="3109"/>
                  </a:lnTo>
                  <a:lnTo>
                    <a:pt x="4725" y="3101"/>
                  </a:lnTo>
                  <a:lnTo>
                    <a:pt x="4725" y="2988"/>
                  </a:lnTo>
                  <a:lnTo>
                    <a:pt x="4728" y="2979"/>
                  </a:lnTo>
                  <a:lnTo>
                    <a:pt x="4732" y="2973"/>
                  </a:lnTo>
                  <a:lnTo>
                    <a:pt x="4738" y="2970"/>
                  </a:lnTo>
                  <a:lnTo>
                    <a:pt x="4746" y="2969"/>
                  </a:lnTo>
                  <a:lnTo>
                    <a:pt x="4752" y="2970"/>
                  </a:lnTo>
                  <a:lnTo>
                    <a:pt x="4759" y="2973"/>
                  </a:lnTo>
                  <a:lnTo>
                    <a:pt x="4764" y="2979"/>
                  </a:lnTo>
                  <a:lnTo>
                    <a:pt x="4765" y="2988"/>
                  </a:lnTo>
                  <a:close/>
                  <a:moveTo>
                    <a:pt x="5029" y="2988"/>
                  </a:moveTo>
                  <a:lnTo>
                    <a:pt x="5029" y="3101"/>
                  </a:lnTo>
                  <a:lnTo>
                    <a:pt x="5027" y="3109"/>
                  </a:lnTo>
                  <a:lnTo>
                    <a:pt x="5023" y="3115"/>
                  </a:lnTo>
                  <a:lnTo>
                    <a:pt x="5016" y="3118"/>
                  </a:lnTo>
                  <a:lnTo>
                    <a:pt x="5009" y="3120"/>
                  </a:lnTo>
                  <a:lnTo>
                    <a:pt x="5001" y="3118"/>
                  </a:lnTo>
                  <a:lnTo>
                    <a:pt x="4994" y="3115"/>
                  </a:lnTo>
                  <a:lnTo>
                    <a:pt x="4991" y="3109"/>
                  </a:lnTo>
                  <a:lnTo>
                    <a:pt x="4988" y="3101"/>
                  </a:lnTo>
                  <a:lnTo>
                    <a:pt x="4988" y="2988"/>
                  </a:lnTo>
                  <a:lnTo>
                    <a:pt x="4991" y="2979"/>
                  </a:lnTo>
                  <a:lnTo>
                    <a:pt x="4994" y="2973"/>
                  </a:lnTo>
                  <a:lnTo>
                    <a:pt x="5001" y="2970"/>
                  </a:lnTo>
                  <a:lnTo>
                    <a:pt x="5009" y="2969"/>
                  </a:lnTo>
                  <a:lnTo>
                    <a:pt x="5016" y="2970"/>
                  </a:lnTo>
                  <a:lnTo>
                    <a:pt x="5023" y="2973"/>
                  </a:lnTo>
                  <a:lnTo>
                    <a:pt x="5027" y="2979"/>
                  </a:lnTo>
                  <a:lnTo>
                    <a:pt x="5029" y="2988"/>
                  </a:lnTo>
                  <a:close/>
                  <a:moveTo>
                    <a:pt x="5292" y="2988"/>
                  </a:moveTo>
                  <a:lnTo>
                    <a:pt x="5292" y="3101"/>
                  </a:lnTo>
                  <a:lnTo>
                    <a:pt x="5289" y="3109"/>
                  </a:lnTo>
                  <a:lnTo>
                    <a:pt x="5286" y="3115"/>
                  </a:lnTo>
                  <a:lnTo>
                    <a:pt x="5279" y="3118"/>
                  </a:lnTo>
                  <a:lnTo>
                    <a:pt x="5271" y="3120"/>
                  </a:lnTo>
                  <a:lnTo>
                    <a:pt x="5264" y="3118"/>
                  </a:lnTo>
                  <a:lnTo>
                    <a:pt x="5257" y="3115"/>
                  </a:lnTo>
                  <a:lnTo>
                    <a:pt x="5253" y="3109"/>
                  </a:lnTo>
                  <a:lnTo>
                    <a:pt x="5252" y="3101"/>
                  </a:lnTo>
                  <a:lnTo>
                    <a:pt x="5252" y="2988"/>
                  </a:lnTo>
                  <a:lnTo>
                    <a:pt x="5253" y="2979"/>
                  </a:lnTo>
                  <a:lnTo>
                    <a:pt x="5257" y="2973"/>
                  </a:lnTo>
                  <a:lnTo>
                    <a:pt x="5264" y="2970"/>
                  </a:lnTo>
                  <a:lnTo>
                    <a:pt x="5271" y="2969"/>
                  </a:lnTo>
                  <a:lnTo>
                    <a:pt x="5279" y="2970"/>
                  </a:lnTo>
                  <a:lnTo>
                    <a:pt x="5286" y="2973"/>
                  </a:lnTo>
                  <a:lnTo>
                    <a:pt x="5289" y="2979"/>
                  </a:lnTo>
                  <a:lnTo>
                    <a:pt x="5292" y="2988"/>
                  </a:lnTo>
                  <a:close/>
                  <a:moveTo>
                    <a:pt x="5555" y="2988"/>
                  </a:moveTo>
                  <a:lnTo>
                    <a:pt x="5555" y="3101"/>
                  </a:lnTo>
                  <a:lnTo>
                    <a:pt x="5554" y="3109"/>
                  </a:lnTo>
                  <a:lnTo>
                    <a:pt x="5548" y="3115"/>
                  </a:lnTo>
                  <a:lnTo>
                    <a:pt x="5542" y="3118"/>
                  </a:lnTo>
                  <a:lnTo>
                    <a:pt x="5534" y="3120"/>
                  </a:lnTo>
                  <a:lnTo>
                    <a:pt x="5528" y="3118"/>
                  </a:lnTo>
                  <a:lnTo>
                    <a:pt x="5521" y="3115"/>
                  </a:lnTo>
                  <a:lnTo>
                    <a:pt x="5516" y="3109"/>
                  </a:lnTo>
                  <a:lnTo>
                    <a:pt x="5515" y="3101"/>
                  </a:lnTo>
                  <a:lnTo>
                    <a:pt x="5515" y="2988"/>
                  </a:lnTo>
                  <a:lnTo>
                    <a:pt x="5516" y="2979"/>
                  </a:lnTo>
                  <a:lnTo>
                    <a:pt x="5521" y="2973"/>
                  </a:lnTo>
                  <a:lnTo>
                    <a:pt x="5528" y="2970"/>
                  </a:lnTo>
                  <a:lnTo>
                    <a:pt x="5534" y="2969"/>
                  </a:lnTo>
                  <a:lnTo>
                    <a:pt x="5542" y="2970"/>
                  </a:lnTo>
                  <a:lnTo>
                    <a:pt x="5548" y="2973"/>
                  </a:lnTo>
                  <a:lnTo>
                    <a:pt x="5554" y="2979"/>
                  </a:lnTo>
                  <a:lnTo>
                    <a:pt x="5555" y="2988"/>
                  </a:lnTo>
                  <a:close/>
                  <a:moveTo>
                    <a:pt x="4239" y="3235"/>
                  </a:moveTo>
                  <a:lnTo>
                    <a:pt x="4239" y="3347"/>
                  </a:lnTo>
                  <a:lnTo>
                    <a:pt x="4238" y="3355"/>
                  </a:lnTo>
                  <a:lnTo>
                    <a:pt x="4233" y="3361"/>
                  </a:lnTo>
                  <a:lnTo>
                    <a:pt x="4226" y="3365"/>
                  </a:lnTo>
                  <a:lnTo>
                    <a:pt x="4219" y="3367"/>
                  </a:lnTo>
                  <a:lnTo>
                    <a:pt x="4212" y="3365"/>
                  </a:lnTo>
                  <a:lnTo>
                    <a:pt x="4206" y="3361"/>
                  </a:lnTo>
                  <a:lnTo>
                    <a:pt x="4201" y="3355"/>
                  </a:lnTo>
                  <a:lnTo>
                    <a:pt x="4199" y="3347"/>
                  </a:lnTo>
                  <a:lnTo>
                    <a:pt x="4199" y="3235"/>
                  </a:lnTo>
                  <a:lnTo>
                    <a:pt x="4201" y="3226"/>
                  </a:lnTo>
                  <a:lnTo>
                    <a:pt x="4206" y="3219"/>
                  </a:lnTo>
                  <a:lnTo>
                    <a:pt x="4212" y="3216"/>
                  </a:lnTo>
                  <a:lnTo>
                    <a:pt x="4219" y="3214"/>
                  </a:lnTo>
                  <a:lnTo>
                    <a:pt x="4226" y="3216"/>
                  </a:lnTo>
                  <a:lnTo>
                    <a:pt x="4233" y="3219"/>
                  </a:lnTo>
                  <a:lnTo>
                    <a:pt x="4238" y="3226"/>
                  </a:lnTo>
                  <a:lnTo>
                    <a:pt x="4239" y="3235"/>
                  </a:lnTo>
                  <a:close/>
                  <a:moveTo>
                    <a:pt x="4502" y="3235"/>
                  </a:moveTo>
                  <a:lnTo>
                    <a:pt x="4502" y="3347"/>
                  </a:lnTo>
                  <a:lnTo>
                    <a:pt x="4501" y="3355"/>
                  </a:lnTo>
                  <a:lnTo>
                    <a:pt x="4496" y="3361"/>
                  </a:lnTo>
                  <a:lnTo>
                    <a:pt x="4489" y="3365"/>
                  </a:lnTo>
                  <a:lnTo>
                    <a:pt x="4483" y="3367"/>
                  </a:lnTo>
                  <a:lnTo>
                    <a:pt x="4475" y="3365"/>
                  </a:lnTo>
                  <a:lnTo>
                    <a:pt x="4469" y="3361"/>
                  </a:lnTo>
                  <a:lnTo>
                    <a:pt x="4464" y="3355"/>
                  </a:lnTo>
                  <a:lnTo>
                    <a:pt x="4462" y="3347"/>
                  </a:lnTo>
                  <a:lnTo>
                    <a:pt x="4462" y="3235"/>
                  </a:lnTo>
                  <a:lnTo>
                    <a:pt x="4464" y="3226"/>
                  </a:lnTo>
                  <a:lnTo>
                    <a:pt x="4469" y="3219"/>
                  </a:lnTo>
                  <a:lnTo>
                    <a:pt x="4475" y="3216"/>
                  </a:lnTo>
                  <a:lnTo>
                    <a:pt x="4483" y="3214"/>
                  </a:lnTo>
                  <a:lnTo>
                    <a:pt x="4489" y="3216"/>
                  </a:lnTo>
                  <a:lnTo>
                    <a:pt x="4496" y="3219"/>
                  </a:lnTo>
                  <a:lnTo>
                    <a:pt x="4501" y="3226"/>
                  </a:lnTo>
                  <a:lnTo>
                    <a:pt x="4502" y="3235"/>
                  </a:lnTo>
                  <a:close/>
                  <a:moveTo>
                    <a:pt x="4765" y="3235"/>
                  </a:moveTo>
                  <a:lnTo>
                    <a:pt x="4765" y="3347"/>
                  </a:lnTo>
                  <a:lnTo>
                    <a:pt x="4764" y="3355"/>
                  </a:lnTo>
                  <a:lnTo>
                    <a:pt x="4759" y="3361"/>
                  </a:lnTo>
                  <a:lnTo>
                    <a:pt x="4752" y="3365"/>
                  </a:lnTo>
                  <a:lnTo>
                    <a:pt x="4746" y="3367"/>
                  </a:lnTo>
                  <a:lnTo>
                    <a:pt x="4738" y="3365"/>
                  </a:lnTo>
                  <a:lnTo>
                    <a:pt x="4732" y="3361"/>
                  </a:lnTo>
                  <a:lnTo>
                    <a:pt x="4728" y="3355"/>
                  </a:lnTo>
                  <a:lnTo>
                    <a:pt x="4725" y="3347"/>
                  </a:lnTo>
                  <a:lnTo>
                    <a:pt x="4725" y="3235"/>
                  </a:lnTo>
                  <a:lnTo>
                    <a:pt x="4728" y="3226"/>
                  </a:lnTo>
                  <a:lnTo>
                    <a:pt x="4732" y="3219"/>
                  </a:lnTo>
                  <a:lnTo>
                    <a:pt x="4738" y="3216"/>
                  </a:lnTo>
                  <a:lnTo>
                    <a:pt x="4746" y="3214"/>
                  </a:lnTo>
                  <a:lnTo>
                    <a:pt x="4752" y="3216"/>
                  </a:lnTo>
                  <a:lnTo>
                    <a:pt x="4759" y="3219"/>
                  </a:lnTo>
                  <a:lnTo>
                    <a:pt x="4764" y="3226"/>
                  </a:lnTo>
                  <a:lnTo>
                    <a:pt x="4765" y="3235"/>
                  </a:lnTo>
                  <a:close/>
                  <a:moveTo>
                    <a:pt x="5029" y="3235"/>
                  </a:moveTo>
                  <a:lnTo>
                    <a:pt x="5029" y="3347"/>
                  </a:lnTo>
                  <a:lnTo>
                    <a:pt x="5027" y="3355"/>
                  </a:lnTo>
                  <a:lnTo>
                    <a:pt x="5023" y="3361"/>
                  </a:lnTo>
                  <a:lnTo>
                    <a:pt x="5016" y="3365"/>
                  </a:lnTo>
                  <a:lnTo>
                    <a:pt x="5009" y="3367"/>
                  </a:lnTo>
                  <a:lnTo>
                    <a:pt x="5001" y="3365"/>
                  </a:lnTo>
                  <a:lnTo>
                    <a:pt x="4994" y="3361"/>
                  </a:lnTo>
                  <a:lnTo>
                    <a:pt x="4991" y="3355"/>
                  </a:lnTo>
                  <a:lnTo>
                    <a:pt x="4988" y="3347"/>
                  </a:lnTo>
                  <a:lnTo>
                    <a:pt x="4988" y="3235"/>
                  </a:lnTo>
                  <a:lnTo>
                    <a:pt x="4991" y="3226"/>
                  </a:lnTo>
                  <a:lnTo>
                    <a:pt x="4994" y="3219"/>
                  </a:lnTo>
                  <a:lnTo>
                    <a:pt x="5001" y="3216"/>
                  </a:lnTo>
                  <a:lnTo>
                    <a:pt x="5009" y="3214"/>
                  </a:lnTo>
                  <a:lnTo>
                    <a:pt x="5016" y="3216"/>
                  </a:lnTo>
                  <a:lnTo>
                    <a:pt x="5023" y="3219"/>
                  </a:lnTo>
                  <a:lnTo>
                    <a:pt x="5027" y="3226"/>
                  </a:lnTo>
                  <a:lnTo>
                    <a:pt x="5029" y="3235"/>
                  </a:lnTo>
                  <a:close/>
                  <a:moveTo>
                    <a:pt x="5292" y="3235"/>
                  </a:moveTo>
                  <a:lnTo>
                    <a:pt x="5292" y="3347"/>
                  </a:lnTo>
                  <a:lnTo>
                    <a:pt x="5289" y="3355"/>
                  </a:lnTo>
                  <a:lnTo>
                    <a:pt x="5286" y="3361"/>
                  </a:lnTo>
                  <a:lnTo>
                    <a:pt x="5279" y="3365"/>
                  </a:lnTo>
                  <a:lnTo>
                    <a:pt x="5271" y="3367"/>
                  </a:lnTo>
                  <a:lnTo>
                    <a:pt x="5264" y="3365"/>
                  </a:lnTo>
                  <a:lnTo>
                    <a:pt x="5257" y="3361"/>
                  </a:lnTo>
                  <a:lnTo>
                    <a:pt x="5253" y="3355"/>
                  </a:lnTo>
                  <a:lnTo>
                    <a:pt x="5252" y="3347"/>
                  </a:lnTo>
                  <a:lnTo>
                    <a:pt x="5252" y="3235"/>
                  </a:lnTo>
                  <a:lnTo>
                    <a:pt x="5253" y="3226"/>
                  </a:lnTo>
                  <a:lnTo>
                    <a:pt x="5257" y="3219"/>
                  </a:lnTo>
                  <a:lnTo>
                    <a:pt x="5264" y="3216"/>
                  </a:lnTo>
                  <a:lnTo>
                    <a:pt x="5271" y="3214"/>
                  </a:lnTo>
                  <a:lnTo>
                    <a:pt x="5279" y="3216"/>
                  </a:lnTo>
                  <a:lnTo>
                    <a:pt x="5286" y="3219"/>
                  </a:lnTo>
                  <a:lnTo>
                    <a:pt x="5289" y="3226"/>
                  </a:lnTo>
                  <a:lnTo>
                    <a:pt x="5292" y="3235"/>
                  </a:lnTo>
                  <a:close/>
                  <a:moveTo>
                    <a:pt x="5555" y="3235"/>
                  </a:moveTo>
                  <a:lnTo>
                    <a:pt x="5555" y="3347"/>
                  </a:lnTo>
                  <a:lnTo>
                    <a:pt x="5554" y="3355"/>
                  </a:lnTo>
                  <a:lnTo>
                    <a:pt x="5548" y="3361"/>
                  </a:lnTo>
                  <a:lnTo>
                    <a:pt x="5542" y="3365"/>
                  </a:lnTo>
                  <a:lnTo>
                    <a:pt x="5534" y="3367"/>
                  </a:lnTo>
                  <a:lnTo>
                    <a:pt x="5528" y="3365"/>
                  </a:lnTo>
                  <a:lnTo>
                    <a:pt x="5521" y="3361"/>
                  </a:lnTo>
                  <a:lnTo>
                    <a:pt x="5516" y="3355"/>
                  </a:lnTo>
                  <a:lnTo>
                    <a:pt x="5515" y="3347"/>
                  </a:lnTo>
                  <a:lnTo>
                    <a:pt x="5515" y="3235"/>
                  </a:lnTo>
                  <a:lnTo>
                    <a:pt x="5516" y="3226"/>
                  </a:lnTo>
                  <a:lnTo>
                    <a:pt x="5521" y="3219"/>
                  </a:lnTo>
                  <a:lnTo>
                    <a:pt x="5528" y="3216"/>
                  </a:lnTo>
                  <a:lnTo>
                    <a:pt x="5534" y="3214"/>
                  </a:lnTo>
                  <a:lnTo>
                    <a:pt x="5542" y="3216"/>
                  </a:lnTo>
                  <a:lnTo>
                    <a:pt x="5548" y="3219"/>
                  </a:lnTo>
                  <a:lnTo>
                    <a:pt x="5554" y="3226"/>
                  </a:lnTo>
                  <a:lnTo>
                    <a:pt x="5555" y="3235"/>
                  </a:lnTo>
                  <a:close/>
                  <a:moveTo>
                    <a:pt x="3624" y="4034"/>
                  </a:moveTo>
                  <a:lnTo>
                    <a:pt x="3624" y="3864"/>
                  </a:lnTo>
                  <a:lnTo>
                    <a:pt x="3625" y="3856"/>
                  </a:lnTo>
                  <a:lnTo>
                    <a:pt x="3629" y="3851"/>
                  </a:lnTo>
                  <a:lnTo>
                    <a:pt x="3634" y="3847"/>
                  </a:lnTo>
                  <a:lnTo>
                    <a:pt x="3639" y="3845"/>
                  </a:lnTo>
                  <a:lnTo>
                    <a:pt x="3646" y="3845"/>
                  </a:lnTo>
                  <a:lnTo>
                    <a:pt x="3652" y="3846"/>
                  </a:lnTo>
                  <a:lnTo>
                    <a:pt x="3657" y="3849"/>
                  </a:lnTo>
                  <a:lnTo>
                    <a:pt x="3662" y="3854"/>
                  </a:lnTo>
                  <a:lnTo>
                    <a:pt x="3666" y="3860"/>
                  </a:lnTo>
                  <a:lnTo>
                    <a:pt x="3667" y="3869"/>
                  </a:lnTo>
                  <a:lnTo>
                    <a:pt x="3667" y="4034"/>
                  </a:lnTo>
                  <a:lnTo>
                    <a:pt x="3710" y="4029"/>
                  </a:lnTo>
                  <a:lnTo>
                    <a:pt x="3751" y="4021"/>
                  </a:lnTo>
                  <a:lnTo>
                    <a:pt x="3789" y="4010"/>
                  </a:lnTo>
                  <a:lnTo>
                    <a:pt x="3828" y="3994"/>
                  </a:lnTo>
                  <a:lnTo>
                    <a:pt x="3846" y="3985"/>
                  </a:lnTo>
                  <a:lnTo>
                    <a:pt x="3864" y="3975"/>
                  </a:lnTo>
                  <a:lnTo>
                    <a:pt x="3897" y="3953"/>
                  </a:lnTo>
                  <a:lnTo>
                    <a:pt x="3928" y="3928"/>
                  </a:lnTo>
                  <a:lnTo>
                    <a:pt x="3957" y="3901"/>
                  </a:lnTo>
                  <a:lnTo>
                    <a:pt x="3970" y="3886"/>
                  </a:lnTo>
                  <a:lnTo>
                    <a:pt x="3983" y="3870"/>
                  </a:lnTo>
                  <a:lnTo>
                    <a:pt x="4006" y="3838"/>
                  </a:lnTo>
                  <a:lnTo>
                    <a:pt x="4026" y="3804"/>
                  </a:lnTo>
                  <a:lnTo>
                    <a:pt x="4043" y="3767"/>
                  </a:lnTo>
                  <a:lnTo>
                    <a:pt x="4057" y="3728"/>
                  </a:lnTo>
                  <a:lnTo>
                    <a:pt x="4067" y="3689"/>
                  </a:lnTo>
                  <a:lnTo>
                    <a:pt x="4074" y="3648"/>
                  </a:lnTo>
                  <a:lnTo>
                    <a:pt x="4075" y="3604"/>
                  </a:lnTo>
                  <a:lnTo>
                    <a:pt x="4074" y="3569"/>
                  </a:lnTo>
                  <a:lnTo>
                    <a:pt x="4069" y="3533"/>
                  </a:lnTo>
                  <a:lnTo>
                    <a:pt x="4062" y="3498"/>
                  </a:lnTo>
                  <a:lnTo>
                    <a:pt x="4052" y="3464"/>
                  </a:lnTo>
                  <a:lnTo>
                    <a:pt x="4039" y="3432"/>
                  </a:lnTo>
                  <a:lnTo>
                    <a:pt x="4024" y="3401"/>
                  </a:lnTo>
                  <a:lnTo>
                    <a:pt x="4006" y="3372"/>
                  </a:lnTo>
                  <a:lnTo>
                    <a:pt x="3987" y="3343"/>
                  </a:lnTo>
                  <a:lnTo>
                    <a:pt x="3955" y="3308"/>
                  </a:lnTo>
                  <a:lnTo>
                    <a:pt x="3919" y="3276"/>
                  </a:lnTo>
                  <a:lnTo>
                    <a:pt x="3880" y="3248"/>
                  </a:lnTo>
                  <a:lnTo>
                    <a:pt x="3860" y="3236"/>
                  </a:lnTo>
                  <a:lnTo>
                    <a:pt x="3839" y="3225"/>
                  </a:lnTo>
                  <a:lnTo>
                    <a:pt x="3817" y="3214"/>
                  </a:lnTo>
                  <a:lnTo>
                    <a:pt x="3794" y="3205"/>
                  </a:lnTo>
                  <a:lnTo>
                    <a:pt x="3748" y="3191"/>
                  </a:lnTo>
                  <a:lnTo>
                    <a:pt x="3699" y="3184"/>
                  </a:lnTo>
                  <a:lnTo>
                    <a:pt x="3674" y="3181"/>
                  </a:lnTo>
                  <a:lnTo>
                    <a:pt x="3648" y="3180"/>
                  </a:lnTo>
                  <a:lnTo>
                    <a:pt x="3604" y="3182"/>
                  </a:lnTo>
                  <a:lnTo>
                    <a:pt x="3562" y="3189"/>
                  </a:lnTo>
                  <a:lnTo>
                    <a:pt x="3521" y="3200"/>
                  </a:lnTo>
                  <a:lnTo>
                    <a:pt x="3481" y="3214"/>
                  </a:lnTo>
                  <a:lnTo>
                    <a:pt x="3443" y="3232"/>
                  </a:lnTo>
                  <a:lnTo>
                    <a:pt x="3408" y="3254"/>
                  </a:lnTo>
                  <a:lnTo>
                    <a:pt x="3375" y="3278"/>
                  </a:lnTo>
                  <a:lnTo>
                    <a:pt x="3344" y="3306"/>
                  </a:lnTo>
                  <a:lnTo>
                    <a:pt x="3316" y="3337"/>
                  </a:lnTo>
                  <a:lnTo>
                    <a:pt x="3292" y="3369"/>
                  </a:lnTo>
                  <a:lnTo>
                    <a:pt x="3270" y="3405"/>
                  </a:lnTo>
                  <a:lnTo>
                    <a:pt x="3252" y="3443"/>
                  </a:lnTo>
                  <a:lnTo>
                    <a:pt x="3238" y="3482"/>
                  </a:lnTo>
                  <a:lnTo>
                    <a:pt x="3226" y="3524"/>
                  </a:lnTo>
                  <a:lnTo>
                    <a:pt x="3220" y="3566"/>
                  </a:lnTo>
                  <a:lnTo>
                    <a:pt x="3219" y="3609"/>
                  </a:lnTo>
                  <a:lnTo>
                    <a:pt x="3220" y="3647"/>
                  </a:lnTo>
                  <a:lnTo>
                    <a:pt x="3224" y="3682"/>
                  </a:lnTo>
                  <a:lnTo>
                    <a:pt x="3231" y="3717"/>
                  </a:lnTo>
                  <a:lnTo>
                    <a:pt x="3242" y="3750"/>
                  </a:lnTo>
                  <a:lnTo>
                    <a:pt x="3254" y="3783"/>
                  </a:lnTo>
                  <a:lnTo>
                    <a:pt x="3270" y="3814"/>
                  </a:lnTo>
                  <a:lnTo>
                    <a:pt x="3288" y="3843"/>
                  </a:lnTo>
                  <a:lnTo>
                    <a:pt x="3307" y="3872"/>
                  </a:lnTo>
                  <a:lnTo>
                    <a:pt x="3336" y="3905"/>
                  </a:lnTo>
                  <a:lnTo>
                    <a:pt x="3370" y="3936"/>
                  </a:lnTo>
                  <a:lnTo>
                    <a:pt x="3388" y="3950"/>
                  </a:lnTo>
                  <a:lnTo>
                    <a:pt x="3407" y="3962"/>
                  </a:lnTo>
                  <a:lnTo>
                    <a:pt x="3445" y="3985"/>
                  </a:lnTo>
                  <a:lnTo>
                    <a:pt x="3487" y="4005"/>
                  </a:lnTo>
                  <a:lnTo>
                    <a:pt x="3531" y="4019"/>
                  </a:lnTo>
                  <a:lnTo>
                    <a:pt x="3576" y="4029"/>
                  </a:lnTo>
                  <a:lnTo>
                    <a:pt x="3624" y="4034"/>
                  </a:lnTo>
                  <a:close/>
                  <a:moveTo>
                    <a:pt x="3628" y="4333"/>
                  </a:moveTo>
                  <a:lnTo>
                    <a:pt x="3625" y="4328"/>
                  </a:lnTo>
                  <a:lnTo>
                    <a:pt x="3624" y="4320"/>
                  </a:lnTo>
                  <a:lnTo>
                    <a:pt x="3624" y="4079"/>
                  </a:lnTo>
                  <a:lnTo>
                    <a:pt x="3571" y="4072"/>
                  </a:lnTo>
                  <a:lnTo>
                    <a:pt x="3521" y="4062"/>
                  </a:lnTo>
                  <a:lnTo>
                    <a:pt x="3472" y="4045"/>
                  </a:lnTo>
                  <a:lnTo>
                    <a:pt x="3449" y="4035"/>
                  </a:lnTo>
                  <a:lnTo>
                    <a:pt x="3428" y="4024"/>
                  </a:lnTo>
                  <a:lnTo>
                    <a:pt x="3384" y="3998"/>
                  </a:lnTo>
                  <a:lnTo>
                    <a:pt x="3363" y="3984"/>
                  </a:lnTo>
                  <a:lnTo>
                    <a:pt x="3344" y="3967"/>
                  </a:lnTo>
                  <a:lnTo>
                    <a:pt x="3326" y="3951"/>
                  </a:lnTo>
                  <a:lnTo>
                    <a:pt x="3308" y="3934"/>
                  </a:lnTo>
                  <a:lnTo>
                    <a:pt x="3292" y="3915"/>
                  </a:lnTo>
                  <a:lnTo>
                    <a:pt x="3276" y="3896"/>
                  </a:lnTo>
                  <a:lnTo>
                    <a:pt x="3253" y="3865"/>
                  </a:lnTo>
                  <a:lnTo>
                    <a:pt x="3233" y="3832"/>
                  </a:lnTo>
                  <a:lnTo>
                    <a:pt x="3216" y="3797"/>
                  </a:lnTo>
                  <a:lnTo>
                    <a:pt x="3201" y="3762"/>
                  </a:lnTo>
                  <a:lnTo>
                    <a:pt x="3189" y="3725"/>
                  </a:lnTo>
                  <a:lnTo>
                    <a:pt x="3181" y="3686"/>
                  </a:lnTo>
                  <a:lnTo>
                    <a:pt x="3176" y="3645"/>
                  </a:lnTo>
                  <a:lnTo>
                    <a:pt x="3174" y="3604"/>
                  </a:lnTo>
                  <a:lnTo>
                    <a:pt x="3176" y="3557"/>
                  </a:lnTo>
                  <a:lnTo>
                    <a:pt x="3184" y="3510"/>
                  </a:lnTo>
                  <a:lnTo>
                    <a:pt x="3189" y="3488"/>
                  </a:lnTo>
                  <a:lnTo>
                    <a:pt x="3195" y="3465"/>
                  </a:lnTo>
                  <a:lnTo>
                    <a:pt x="3211" y="3423"/>
                  </a:lnTo>
                  <a:lnTo>
                    <a:pt x="3231" y="3382"/>
                  </a:lnTo>
                  <a:lnTo>
                    <a:pt x="3254" y="3342"/>
                  </a:lnTo>
                  <a:lnTo>
                    <a:pt x="3281" y="3306"/>
                  </a:lnTo>
                  <a:lnTo>
                    <a:pt x="3297" y="3290"/>
                  </a:lnTo>
                  <a:lnTo>
                    <a:pt x="3312" y="3273"/>
                  </a:lnTo>
                  <a:lnTo>
                    <a:pt x="3345" y="3242"/>
                  </a:lnTo>
                  <a:lnTo>
                    <a:pt x="3363" y="3228"/>
                  </a:lnTo>
                  <a:lnTo>
                    <a:pt x="3381" y="3216"/>
                  </a:lnTo>
                  <a:lnTo>
                    <a:pt x="3420" y="3193"/>
                  </a:lnTo>
                  <a:lnTo>
                    <a:pt x="3440" y="3182"/>
                  </a:lnTo>
                  <a:lnTo>
                    <a:pt x="3462" y="3172"/>
                  </a:lnTo>
                  <a:lnTo>
                    <a:pt x="3483" y="3164"/>
                  </a:lnTo>
                  <a:lnTo>
                    <a:pt x="3504" y="3157"/>
                  </a:lnTo>
                  <a:lnTo>
                    <a:pt x="3528" y="3150"/>
                  </a:lnTo>
                  <a:lnTo>
                    <a:pt x="3549" y="3145"/>
                  </a:lnTo>
                  <a:lnTo>
                    <a:pt x="3597" y="3138"/>
                  </a:lnTo>
                  <a:lnTo>
                    <a:pt x="3644" y="3135"/>
                  </a:lnTo>
                  <a:lnTo>
                    <a:pt x="3701" y="3139"/>
                  </a:lnTo>
                  <a:lnTo>
                    <a:pt x="3728" y="3143"/>
                  </a:lnTo>
                  <a:lnTo>
                    <a:pt x="3755" y="3149"/>
                  </a:lnTo>
                  <a:lnTo>
                    <a:pt x="3781" y="3156"/>
                  </a:lnTo>
                  <a:lnTo>
                    <a:pt x="3807" y="3164"/>
                  </a:lnTo>
                  <a:lnTo>
                    <a:pt x="3831" y="3175"/>
                  </a:lnTo>
                  <a:lnTo>
                    <a:pt x="3856" y="3185"/>
                  </a:lnTo>
                  <a:lnTo>
                    <a:pt x="3902" y="3212"/>
                  </a:lnTo>
                  <a:lnTo>
                    <a:pt x="3944" y="3242"/>
                  </a:lnTo>
                  <a:lnTo>
                    <a:pt x="3965" y="3260"/>
                  </a:lnTo>
                  <a:lnTo>
                    <a:pt x="3983" y="3278"/>
                  </a:lnTo>
                  <a:lnTo>
                    <a:pt x="4001" y="3299"/>
                  </a:lnTo>
                  <a:lnTo>
                    <a:pt x="4017" y="3318"/>
                  </a:lnTo>
                  <a:lnTo>
                    <a:pt x="4040" y="3350"/>
                  </a:lnTo>
                  <a:lnTo>
                    <a:pt x="4060" y="3382"/>
                  </a:lnTo>
                  <a:lnTo>
                    <a:pt x="4078" y="3416"/>
                  </a:lnTo>
                  <a:lnTo>
                    <a:pt x="4092" y="3453"/>
                  </a:lnTo>
                  <a:lnTo>
                    <a:pt x="4103" y="3491"/>
                  </a:lnTo>
                  <a:lnTo>
                    <a:pt x="4112" y="3529"/>
                  </a:lnTo>
                  <a:lnTo>
                    <a:pt x="4117" y="3569"/>
                  </a:lnTo>
                  <a:lnTo>
                    <a:pt x="4119" y="3609"/>
                  </a:lnTo>
                  <a:lnTo>
                    <a:pt x="4117" y="3657"/>
                  </a:lnTo>
                  <a:lnTo>
                    <a:pt x="4110" y="3702"/>
                  </a:lnTo>
                  <a:lnTo>
                    <a:pt x="4105" y="3725"/>
                  </a:lnTo>
                  <a:lnTo>
                    <a:pt x="4099" y="3746"/>
                  </a:lnTo>
                  <a:lnTo>
                    <a:pt x="4084" y="3788"/>
                  </a:lnTo>
                  <a:lnTo>
                    <a:pt x="4075" y="3809"/>
                  </a:lnTo>
                  <a:lnTo>
                    <a:pt x="4065" y="3828"/>
                  </a:lnTo>
                  <a:lnTo>
                    <a:pt x="4043" y="3866"/>
                  </a:lnTo>
                  <a:lnTo>
                    <a:pt x="4016" y="3902"/>
                  </a:lnTo>
                  <a:lnTo>
                    <a:pt x="3988" y="3936"/>
                  </a:lnTo>
                  <a:lnTo>
                    <a:pt x="3956" y="3965"/>
                  </a:lnTo>
                  <a:lnTo>
                    <a:pt x="3921" y="3993"/>
                  </a:lnTo>
                  <a:lnTo>
                    <a:pt x="3884" y="4016"/>
                  </a:lnTo>
                  <a:lnTo>
                    <a:pt x="3844" y="4037"/>
                  </a:lnTo>
                  <a:lnTo>
                    <a:pt x="3802" y="4053"/>
                  </a:lnTo>
                  <a:lnTo>
                    <a:pt x="3760" y="4066"/>
                  </a:lnTo>
                  <a:lnTo>
                    <a:pt x="3715" y="4075"/>
                  </a:lnTo>
                  <a:lnTo>
                    <a:pt x="3667" y="4079"/>
                  </a:lnTo>
                  <a:lnTo>
                    <a:pt x="3667" y="4336"/>
                  </a:lnTo>
                  <a:lnTo>
                    <a:pt x="3666" y="4345"/>
                  </a:lnTo>
                  <a:lnTo>
                    <a:pt x="3661" y="4351"/>
                  </a:lnTo>
                  <a:lnTo>
                    <a:pt x="3654" y="4355"/>
                  </a:lnTo>
                  <a:lnTo>
                    <a:pt x="3648" y="4356"/>
                  </a:lnTo>
                  <a:lnTo>
                    <a:pt x="3640" y="4355"/>
                  </a:lnTo>
                  <a:lnTo>
                    <a:pt x="3634" y="4351"/>
                  </a:lnTo>
                  <a:lnTo>
                    <a:pt x="3629" y="4345"/>
                  </a:lnTo>
                  <a:lnTo>
                    <a:pt x="3628" y="4336"/>
                  </a:lnTo>
                  <a:lnTo>
                    <a:pt x="3628" y="43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12">
              <a:extLst>
                <a:ext uri="{FF2B5EF4-FFF2-40B4-BE49-F238E27FC236}">
                  <a16:creationId xmlns:a16="http://schemas.microsoft.com/office/drawing/2014/main" id="{F84D736B-F51E-4416-B884-83179D548D47}"/>
                </a:ext>
              </a:extLst>
            </p:cNvPr>
            <p:cNvSpPr>
              <a:spLocks noChangeAspect="1" noEditPoints="1"/>
            </p:cNvSpPr>
            <p:nvPr userDrawn="1"/>
          </p:nvSpPr>
          <p:spPr bwMode="black">
            <a:xfrm>
              <a:off x="5610994" y="5177099"/>
              <a:ext cx="193514" cy="216000"/>
            </a:xfrm>
            <a:custGeom>
              <a:avLst/>
              <a:gdLst>
                <a:gd name="T0" fmla="*/ 2964 w 3578"/>
                <a:gd name="T1" fmla="*/ 3151 h 3996"/>
                <a:gd name="T2" fmla="*/ 2988 w 3578"/>
                <a:gd name="T3" fmla="*/ 3131 h 3996"/>
                <a:gd name="T4" fmla="*/ 3002 w 3578"/>
                <a:gd name="T5" fmla="*/ 3095 h 3996"/>
                <a:gd name="T6" fmla="*/ 2998 w 3578"/>
                <a:gd name="T7" fmla="*/ 3052 h 3996"/>
                <a:gd name="T8" fmla="*/ 2570 w 3578"/>
                <a:gd name="T9" fmla="*/ 2480 h 3996"/>
                <a:gd name="T10" fmla="*/ 2976 w 3578"/>
                <a:gd name="T11" fmla="*/ 956 h 3996"/>
                <a:gd name="T12" fmla="*/ 2988 w 3578"/>
                <a:gd name="T13" fmla="*/ 917 h 3996"/>
                <a:gd name="T14" fmla="*/ 2981 w 3578"/>
                <a:gd name="T15" fmla="*/ 878 h 3996"/>
                <a:gd name="T16" fmla="*/ 2961 w 3578"/>
                <a:gd name="T17" fmla="*/ 853 h 3996"/>
                <a:gd name="T18" fmla="*/ 2936 w 3578"/>
                <a:gd name="T19" fmla="*/ 840 h 3996"/>
                <a:gd name="T20" fmla="*/ 2275 w 3578"/>
                <a:gd name="T21" fmla="*/ 835 h 3996"/>
                <a:gd name="T22" fmla="*/ 2209 w 3578"/>
                <a:gd name="T23" fmla="*/ 845 h 3996"/>
                <a:gd name="T24" fmla="*/ 2160 w 3578"/>
                <a:gd name="T25" fmla="*/ 872 h 3996"/>
                <a:gd name="T26" fmla="*/ 2119 w 3578"/>
                <a:gd name="T27" fmla="*/ 915 h 3996"/>
                <a:gd name="T28" fmla="*/ 1365 w 3578"/>
                <a:gd name="T29" fmla="*/ 931 h 3996"/>
                <a:gd name="T30" fmla="*/ 1356 w 3578"/>
                <a:gd name="T31" fmla="*/ 884 h 3996"/>
                <a:gd name="T32" fmla="*/ 1325 w 3578"/>
                <a:gd name="T33" fmla="*/ 851 h 3996"/>
                <a:gd name="T34" fmla="*/ 1280 w 3578"/>
                <a:gd name="T35" fmla="*/ 835 h 3996"/>
                <a:gd name="T36" fmla="*/ 664 w 3578"/>
                <a:gd name="T37" fmla="*/ 840 h 3996"/>
                <a:gd name="T38" fmla="*/ 625 w 3578"/>
                <a:gd name="T39" fmla="*/ 862 h 3996"/>
                <a:gd name="T40" fmla="*/ 602 w 3578"/>
                <a:gd name="T41" fmla="*/ 902 h 3996"/>
                <a:gd name="T42" fmla="*/ 598 w 3578"/>
                <a:gd name="T43" fmla="*/ 1998 h 3996"/>
                <a:gd name="T44" fmla="*/ 602 w 3578"/>
                <a:gd name="T45" fmla="*/ 3094 h 3996"/>
                <a:gd name="T46" fmla="*/ 625 w 3578"/>
                <a:gd name="T47" fmla="*/ 3133 h 3996"/>
                <a:gd name="T48" fmla="*/ 664 w 3578"/>
                <a:gd name="T49" fmla="*/ 3156 h 3996"/>
                <a:gd name="T50" fmla="*/ 1280 w 3578"/>
                <a:gd name="T51" fmla="*/ 3160 h 3996"/>
                <a:gd name="T52" fmla="*/ 1325 w 3578"/>
                <a:gd name="T53" fmla="*/ 3144 h 3996"/>
                <a:gd name="T54" fmla="*/ 1356 w 3578"/>
                <a:gd name="T55" fmla="*/ 3111 h 3996"/>
                <a:gd name="T56" fmla="*/ 1365 w 3578"/>
                <a:gd name="T57" fmla="*/ 3064 h 3996"/>
                <a:gd name="T58" fmla="*/ 2119 w 3578"/>
                <a:gd name="T59" fmla="*/ 3080 h 3996"/>
                <a:gd name="T60" fmla="*/ 2160 w 3578"/>
                <a:gd name="T61" fmla="*/ 3123 h 3996"/>
                <a:gd name="T62" fmla="*/ 2209 w 3578"/>
                <a:gd name="T63" fmla="*/ 3151 h 3996"/>
                <a:gd name="T64" fmla="*/ 2275 w 3578"/>
                <a:gd name="T65" fmla="*/ 3160 h 3996"/>
                <a:gd name="T66" fmla="*/ 4 w 3578"/>
                <a:gd name="T67" fmla="*/ 3929 h 3996"/>
                <a:gd name="T68" fmla="*/ 27 w 3578"/>
                <a:gd name="T69" fmla="*/ 3968 h 3996"/>
                <a:gd name="T70" fmla="*/ 66 w 3578"/>
                <a:gd name="T71" fmla="*/ 3991 h 3996"/>
                <a:gd name="T72" fmla="*/ 1789 w 3578"/>
                <a:gd name="T73" fmla="*/ 3996 h 3996"/>
                <a:gd name="T74" fmla="*/ 3512 w 3578"/>
                <a:gd name="T75" fmla="*/ 3991 h 3996"/>
                <a:gd name="T76" fmla="*/ 3552 w 3578"/>
                <a:gd name="T77" fmla="*/ 3968 h 3996"/>
                <a:gd name="T78" fmla="*/ 3574 w 3578"/>
                <a:gd name="T79" fmla="*/ 3929 h 3996"/>
                <a:gd name="T80" fmla="*/ 3577 w 3578"/>
                <a:gd name="T81" fmla="*/ 3624 h 3996"/>
                <a:gd name="T82" fmla="*/ 3563 w 3578"/>
                <a:gd name="T83" fmla="*/ 3579 h 3996"/>
                <a:gd name="T84" fmla="*/ 3529 w 3578"/>
                <a:gd name="T85" fmla="*/ 3549 h 3996"/>
                <a:gd name="T86" fmla="*/ 3482 w 3578"/>
                <a:gd name="T87" fmla="*/ 3538 h 3996"/>
                <a:gd name="T88" fmla="*/ 85 w 3578"/>
                <a:gd name="T89" fmla="*/ 3538 h 3996"/>
                <a:gd name="T90" fmla="*/ 41 w 3578"/>
                <a:gd name="T91" fmla="*/ 3554 h 3996"/>
                <a:gd name="T92" fmla="*/ 11 w 3578"/>
                <a:gd name="T93" fmla="*/ 3587 h 3996"/>
                <a:gd name="T94" fmla="*/ 0 w 3578"/>
                <a:gd name="T95" fmla="*/ 3634 h 3996"/>
                <a:gd name="T96" fmla="*/ 4 w 3578"/>
                <a:gd name="T97" fmla="*/ 391 h 3996"/>
                <a:gd name="T98" fmla="*/ 27 w 3578"/>
                <a:gd name="T99" fmla="*/ 430 h 3996"/>
                <a:gd name="T100" fmla="*/ 66 w 3578"/>
                <a:gd name="T101" fmla="*/ 453 h 3996"/>
                <a:gd name="T102" fmla="*/ 1789 w 3578"/>
                <a:gd name="T103" fmla="*/ 456 h 3996"/>
                <a:gd name="T104" fmla="*/ 3512 w 3578"/>
                <a:gd name="T105" fmla="*/ 453 h 3996"/>
                <a:gd name="T106" fmla="*/ 3552 w 3578"/>
                <a:gd name="T107" fmla="*/ 430 h 3996"/>
                <a:gd name="T108" fmla="*/ 3574 w 3578"/>
                <a:gd name="T109" fmla="*/ 391 h 3996"/>
                <a:gd name="T110" fmla="*/ 3577 w 3578"/>
                <a:gd name="T111" fmla="*/ 85 h 3996"/>
                <a:gd name="T112" fmla="*/ 3563 w 3578"/>
                <a:gd name="T113" fmla="*/ 41 h 3996"/>
                <a:gd name="T114" fmla="*/ 3529 w 3578"/>
                <a:gd name="T115" fmla="*/ 11 h 3996"/>
                <a:gd name="T116" fmla="*/ 3482 w 3578"/>
                <a:gd name="T117" fmla="*/ 0 h 3996"/>
                <a:gd name="T118" fmla="*/ 85 w 3578"/>
                <a:gd name="T119" fmla="*/ 0 h 3996"/>
                <a:gd name="T120" fmla="*/ 41 w 3578"/>
                <a:gd name="T121" fmla="*/ 16 h 3996"/>
                <a:gd name="T122" fmla="*/ 11 w 3578"/>
                <a:gd name="T123" fmla="*/ 49 h 3996"/>
                <a:gd name="T124" fmla="*/ 0 w 3578"/>
                <a:gd name="T125" fmla="*/ 95 h 3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78" h="3996">
                  <a:moveTo>
                    <a:pt x="2924" y="3160"/>
                  </a:moveTo>
                  <a:lnTo>
                    <a:pt x="2936" y="3160"/>
                  </a:lnTo>
                  <a:lnTo>
                    <a:pt x="2947" y="3157"/>
                  </a:lnTo>
                  <a:lnTo>
                    <a:pt x="2958" y="3153"/>
                  </a:lnTo>
                  <a:lnTo>
                    <a:pt x="2964" y="3151"/>
                  </a:lnTo>
                  <a:lnTo>
                    <a:pt x="2968" y="3148"/>
                  </a:lnTo>
                  <a:lnTo>
                    <a:pt x="2977" y="3142"/>
                  </a:lnTo>
                  <a:lnTo>
                    <a:pt x="2981" y="3139"/>
                  </a:lnTo>
                  <a:lnTo>
                    <a:pt x="2985" y="3135"/>
                  </a:lnTo>
                  <a:lnTo>
                    <a:pt x="2988" y="3131"/>
                  </a:lnTo>
                  <a:lnTo>
                    <a:pt x="2991" y="3126"/>
                  </a:lnTo>
                  <a:lnTo>
                    <a:pt x="2996" y="3117"/>
                  </a:lnTo>
                  <a:lnTo>
                    <a:pt x="3000" y="3106"/>
                  </a:lnTo>
                  <a:lnTo>
                    <a:pt x="3001" y="3101"/>
                  </a:lnTo>
                  <a:lnTo>
                    <a:pt x="3002" y="3095"/>
                  </a:lnTo>
                  <a:lnTo>
                    <a:pt x="3003" y="3084"/>
                  </a:lnTo>
                  <a:lnTo>
                    <a:pt x="3002" y="3072"/>
                  </a:lnTo>
                  <a:lnTo>
                    <a:pt x="3001" y="3065"/>
                  </a:lnTo>
                  <a:lnTo>
                    <a:pt x="2999" y="3059"/>
                  </a:lnTo>
                  <a:lnTo>
                    <a:pt x="2998" y="3052"/>
                  </a:lnTo>
                  <a:lnTo>
                    <a:pt x="2995" y="3045"/>
                  </a:lnTo>
                  <a:lnTo>
                    <a:pt x="2988" y="3032"/>
                  </a:lnTo>
                  <a:lnTo>
                    <a:pt x="2985" y="3026"/>
                  </a:lnTo>
                  <a:lnTo>
                    <a:pt x="2980" y="3019"/>
                  </a:lnTo>
                  <a:lnTo>
                    <a:pt x="2570" y="2480"/>
                  </a:lnTo>
                  <a:lnTo>
                    <a:pt x="2162" y="1941"/>
                  </a:lnTo>
                  <a:lnTo>
                    <a:pt x="2562" y="1459"/>
                  </a:lnTo>
                  <a:lnTo>
                    <a:pt x="2962" y="976"/>
                  </a:lnTo>
                  <a:lnTo>
                    <a:pt x="2972" y="962"/>
                  </a:lnTo>
                  <a:lnTo>
                    <a:pt x="2976" y="956"/>
                  </a:lnTo>
                  <a:lnTo>
                    <a:pt x="2979" y="949"/>
                  </a:lnTo>
                  <a:lnTo>
                    <a:pt x="2985" y="936"/>
                  </a:lnTo>
                  <a:lnTo>
                    <a:pt x="2986" y="929"/>
                  </a:lnTo>
                  <a:lnTo>
                    <a:pt x="2988" y="923"/>
                  </a:lnTo>
                  <a:lnTo>
                    <a:pt x="2988" y="917"/>
                  </a:lnTo>
                  <a:lnTo>
                    <a:pt x="2989" y="910"/>
                  </a:lnTo>
                  <a:lnTo>
                    <a:pt x="2988" y="899"/>
                  </a:lnTo>
                  <a:lnTo>
                    <a:pt x="2987" y="894"/>
                  </a:lnTo>
                  <a:lnTo>
                    <a:pt x="2986" y="888"/>
                  </a:lnTo>
                  <a:lnTo>
                    <a:pt x="2981" y="878"/>
                  </a:lnTo>
                  <a:lnTo>
                    <a:pt x="2979" y="873"/>
                  </a:lnTo>
                  <a:lnTo>
                    <a:pt x="2976" y="868"/>
                  </a:lnTo>
                  <a:lnTo>
                    <a:pt x="2972" y="864"/>
                  </a:lnTo>
                  <a:lnTo>
                    <a:pt x="2969" y="861"/>
                  </a:lnTo>
                  <a:lnTo>
                    <a:pt x="2961" y="853"/>
                  </a:lnTo>
                  <a:lnTo>
                    <a:pt x="2957" y="849"/>
                  </a:lnTo>
                  <a:lnTo>
                    <a:pt x="2951" y="846"/>
                  </a:lnTo>
                  <a:lnTo>
                    <a:pt x="2947" y="844"/>
                  </a:lnTo>
                  <a:lnTo>
                    <a:pt x="2941" y="842"/>
                  </a:lnTo>
                  <a:lnTo>
                    <a:pt x="2936" y="840"/>
                  </a:lnTo>
                  <a:lnTo>
                    <a:pt x="2930" y="838"/>
                  </a:lnTo>
                  <a:lnTo>
                    <a:pt x="2925" y="836"/>
                  </a:lnTo>
                  <a:lnTo>
                    <a:pt x="2919" y="836"/>
                  </a:lnTo>
                  <a:lnTo>
                    <a:pt x="2907" y="835"/>
                  </a:lnTo>
                  <a:lnTo>
                    <a:pt x="2275" y="835"/>
                  </a:lnTo>
                  <a:lnTo>
                    <a:pt x="2260" y="835"/>
                  </a:lnTo>
                  <a:lnTo>
                    <a:pt x="2246" y="836"/>
                  </a:lnTo>
                  <a:lnTo>
                    <a:pt x="2234" y="838"/>
                  </a:lnTo>
                  <a:lnTo>
                    <a:pt x="2222" y="841"/>
                  </a:lnTo>
                  <a:lnTo>
                    <a:pt x="2209" y="845"/>
                  </a:lnTo>
                  <a:lnTo>
                    <a:pt x="2198" y="848"/>
                  </a:lnTo>
                  <a:lnTo>
                    <a:pt x="2188" y="854"/>
                  </a:lnTo>
                  <a:lnTo>
                    <a:pt x="2178" y="859"/>
                  </a:lnTo>
                  <a:lnTo>
                    <a:pt x="2168" y="865"/>
                  </a:lnTo>
                  <a:lnTo>
                    <a:pt x="2160" y="872"/>
                  </a:lnTo>
                  <a:lnTo>
                    <a:pt x="2151" y="879"/>
                  </a:lnTo>
                  <a:lnTo>
                    <a:pt x="2142" y="887"/>
                  </a:lnTo>
                  <a:lnTo>
                    <a:pt x="2134" y="896"/>
                  </a:lnTo>
                  <a:lnTo>
                    <a:pt x="2126" y="905"/>
                  </a:lnTo>
                  <a:lnTo>
                    <a:pt x="2119" y="915"/>
                  </a:lnTo>
                  <a:lnTo>
                    <a:pt x="2111" y="925"/>
                  </a:lnTo>
                  <a:lnTo>
                    <a:pt x="1738" y="1404"/>
                  </a:lnTo>
                  <a:lnTo>
                    <a:pt x="1365" y="1885"/>
                  </a:lnTo>
                  <a:lnTo>
                    <a:pt x="1365" y="1408"/>
                  </a:lnTo>
                  <a:lnTo>
                    <a:pt x="1365" y="931"/>
                  </a:lnTo>
                  <a:lnTo>
                    <a:pt x="1365" y="920"/>
                  </a:lnTo>
                  <a:lnTo>
                    <a:pt x="1364" y="910"/>
                  </a:lnTo>
                  <a:lnTo>
                    <a:pt x="1362" y="902"/>
                  </a:lnTo>
                  <a:lnTo>
                    <a:pt x="1359" y="892"/>
                  </a:lnTo>
                  <a:lnTo>
                    <a:pt x="1356" y="884"/>
                  </a:lnTo>
                  <a:lnTo>
                    <a:pt x="1350" y="876"/>
                  </a:lnTo>
                  <a:lnTo>
                    <a:pt x="1346" y="868"/>
                  </a:lnTo>
                  <a:lnTo>
                    <a:pt x="1339" y="862"/>
                  </a:lnTo>
                  <a:lnTo>
                    <a:pt x="1332" y="856"/>
                  </a:lnTo>
                  <a:lnTo>
                    <a:pt x="1325" y="851"/>
                  </a:lnTo>
                  <a:lnTo>
                    <a:pt x="1317" y="846"/>
                  </a:lnTo>
                  <a:lnTo>
                    <a:pt x="1309" y="842"/>
                  </a:lnTo>
                  <a:lnTo>
                    <a:pt x="1300" y="840"/>
                  </a:lnTo>
                  <a:lnTo>
                    <a:pt x="1290" y="837"/>
                  </a:lnTo>
                  <a:lnTo>
                    <a:pt x="1280" y="835"/>
                  </a:lnTo>
                  <a:lnTo>
                    <a:pt x="1270" y="835"/>
                  </a:lnTo>
                  <a:lnTo>
                    <a:pt x="694" y="835"/>
                  </a:lnTo>
                  <a:lnTo>
                    <a:pt x="684" y="835"/>
                  </a:lnTo>
                  <a:lnTo>
                    <a:pt x="674" y="837"/>
                  </a:lnTo>
                  <a:lnTo>
                    <a:pt x="664" y="840"/>
                  </a:lnTo>
                  <a:lnTo>
                    <a:pt x="656" y="842"/>
                  </a:lnTo>
                  <a:lnTo>
                    <a:pt x="647" y="846"/>
                  </a:lnTo>
                  <a:lnTo>
                    <a:pt x="639" y="851"/>
                  </a:lnTo>
                  <a:lnTo>
                    <a:pt x="632" y="856"/>
                  </a:lnTo>
                  <a:lnTo>
                    <a:pt x="625" y="862"/>
                  </a:lnTo>
                  <a:lnTo>
                    <a:pt x="619" y="868"/>
                  </a:lnTo>
                  <a:lnTo>
                    <a:pt x="614" y="876"/>
                  </a:lnTo>
                  <a:lnTo>
                    <a:pt x="609" y="884"/>
                  </a:lnTo>
                  <a:lnTo>
                    <a:pt x="606" y="892"/>
                  </a:lnTo>
                  <a:lnTo>
                    <a:pt x="602" y="902"/>
                  </a:lnTo>
                  <a:lnTo>
                    <a:pt x="600" y="910"/>
                  </a:lnTo>
                  <a:lnTo>
                    <a:pt x="599" y="920"/>
                  </a:lnTo>
                  <a:lnTo>
                    <a:pt x="598" y="931"/>
                  </a:lnTo>
                  <a:lnTo>
                    <a:pt x="598" y="1464"/>
                  </a:lnTo>
                  <a:lnTo>
                    <a:pt x="598" y="1998"/>
                  </a:lnTo>
                  <a:lnTo>
                    <a:pt x="598" y="2531"/>
                  </a:lnTo>
                  <a:lnTo>
                    <a:pt x="598" y="3064"/>
                  </a:lnTo>
                  <a:lnTo>
                    <a:pt x="599" y="3074"/>
                  </a:lnTo>
                  <a:lnTo>
                    <a:pt x="600" y="3084"/>
                  </a:lnTo>
                  <a:lnTo>
                    <a:pt x="602" y="3094"/>
                  </a:lnTo>
                  <a:lnTo>
                    <a:pt x="606" y="3103"/>
                  </a:lnTo>
                  <a:lnTo>
                    <a:pt x="609" y="3111"/>
                  </a:lnTo>
                  <a:lnTo>
                    <a:pt x="614" y="3120"/>
                  </a:lnTo>
                  <a:lnTo>
                    <a:pt x="619" y="3126"/>
                  </a:lnTo>
                  <a:lnTo>
                    <a:pt x="625" y="3133"/>
                  </a:lnTo>
                  <a:lnTo>
                    <a:pt x="632" y="3140"/>
                  </a:lnTo>
                  <a:lnTo>
                    <a:pt x="639" y="3144"/>
                  </a:lnTo>
                  <a:lnTo>
                    <a:pt x="647" y="3150"/>
                  </a:lnTo>
                  <a:lnTo>
                    <a:pt x="656" y="3153"/>
                  </a:lnTo>
                  <a:lnTo>
                    <a:pt x="664" y="3156"/>
                  </a:lnTo>
                  <a:lnTo>
                    <a:pt x="674" y="3158"/>
                  </a:lnTo>
                  <a:lnTo>
                    <a:pt x="684" y="3160"/>
                  </a:lnTo>
                  <a:lnTo>
                    <a:pt x="694" y="3160"/>
                  </a:lnTo>
                  <a:lnTo>
                    <a:pt x="1270" y="3160"/>
                  </a:lnTo>
                  <a:lnTo>
                    <a:pt x="1280" y="3160"/>
                  </a:lnTo>
                  <a:lnTo>
                    <a:pt x="1290" y="3158"/>
                  </a:lnTo>
                  <a:lnTo>
                    <a:pt x="1300" y="3156"/>
                  </a:lnTo>
                  <a:lnTo>
                    <a:pt x="1309" y="3153"/>
                  </a:lnTo>
                  <a:lnTo>
                    <a:pt x="1317" y="3150"/>
                  </a:lnTo>
                  <a:lnTo>
                    <a:pt x="1325" y="3144"/>
                  </a:lnTo>
                  <a:lnTo>
                    <a:pt x="1332" y="3140"/>
                  </a:lnTo>
                  <a:lnTo>
                    <a:pt x="1339" y="3133"/>
                  </a:lnTo>
                  <a:lnTo>
                    <a:pt x="1346" y="3126"/>
                  </a:lnTo>
                  <a:lnTo>
                    <a:pt x="1350" y="3120"/>
                  </a:lnTo>
                  <a:lnTo>
                    <a:pt x="1356" y="3111"/>
                  </a:lnTo>
                  <a:lnTo>
                    <a:pt x="1359" y="3103"/>
                  </a:lnTo>
                  <a:lnTo>
                    <a:pt x="1362" y="3094"/>
                  </a:lnTo>
                  <a:lnTo>
                    <a:pt x="1364" y="3084"/>
                  </a:lnTo>
                  <a:lnTo>
                    <a:pt x="1365" y="3074"/>
                  </a:lnTo>
                  <a:lnTo>
                    <a:pt x="1365" y="3064"/>
                  </a:lnTo>
                  <a:lnTo>
                    <a:pt x="1365" y="2539"/>
                  </a:lnTo>
                  <a:lnTo>
                    <a:pt x="1365" y="2014"/>
                  </a:lnTo>
                  <a:lnTo>
                    <a:pt x="1738" y="2542"/>
                  </a:lnTo>
                  <a:lnTo>
                    <a:pt x="2111" y="3070"/>
                  </a:lnTo>
                  <a:lnTo>
                    <a:pt x="2119" y="3080"/>
                  </a:lnTo>
                  <a:lnTo>
                    <a:pt x="2126" y="3090"/>
                  </a:lnTo>
                  <a:lnTo>
                    <a:pt x="2134" y="3099"/>
                  </a:lnTo>
                  <a:lnTo>
                    <a:pt x="2142" y="3108"/>
                  </a:lnTo>
                  <a:lnTo>
                    <a:pt x="2151" y="3115"/>
                  </a:lnTo>
                  <a:lnTo>
                    <a:pt x="2160" y="3123"/>
                  </a:lnTo>
                  <a:lnTo>
                    <a:pt x="2168" y="3130"/>
                  </a:lnTo>
                  <a:lnTo>
                    <a:pt x="2178" y="3136"/>
                  </a:lnTo>
                  <a:lnTo>
                    <a:pt x="2188" y="3142"/>
                  </a:lnTo>
                  <a:lnTo>
                    <a:pt x="2198" y="3146"/>
                  </a:lnTo>
                  <a:lnTo>
                    <a:pt x="2209" y="3151"/>
                  </a:lnTo>
                  <a:lnTo>
                    <a:pt x="2222" y="3154"/>
                  </a:lnTo>
                  <a:lnTo>
                    <a:pt x="2234" y="3156"/>
                  </a:lnTo>
                  <a:lnTo>
                    <a:pt x="2246" y="3158"/>
                  </a:lnTo>
                  <a:lnTo>
                    <a:pt x="2260" y="3160"/>
                  </a:lnTo>
                  <a:lnTo>
                    <a:pt x="2275" y="3160"/>
                  </a:lnTo>
                  <a:lnTo>
                    <a:pt x="2924" y="3160"/>
                  </a:lnTo>
                  <a:close/>
                  <a:moveTo>
                    <a:pt x="0" y="3899"/>
                  </a:moveTo>
                  <a:lnTo>
                    <a:pt x="1" y="3909"/>
                  </a:lnTo>
                  <a:lnTo>
                    <a:pt x="2" y="3919"/>
                  </a:lnTo>
                  <a:lnTo>
                    <a:pt x="4" y="3929"/>
                  </a:lnTo>
                  <a:lnTo>
                    <a:pt x="8" y="3938"/>
                  </a:lnTo>
                  <a:lnTo>
                    <a:pt x="11" y="3947"/>
                  </a:lnTo>
                  <a:lnTo>
                    <a:pt x="16" y="3955"/>
                  </a:lnTo>
                  <a:lnTo>
                    <a:pt x="21" y="3961"/>
                  </a:lnTo>
                  <a:lnTo>
                    <a:pt x="27" y="3968"/>
                  </a:lnTo>
                  <a:lnTo>
                    <a:pt x="33" y="3975"/>
                  </a:lnTo>
                  <a:lnTo>
                    <a:pt x="41" y="3980"/>
                  </a:lnTo>
                  <a:lnTo>
                    <a:pt x="49" y="3985"/>
                  </a:lnTo>
                  <a:lnTo>
                    <a:pt x="58" y="3988"/>
                  </a:lnTo>
                  <a:lnTo>
                    <a:pt x="66" y="3991"/>
                  </a:lnTo>
                  <a:lnTo>
                    <a:pt x="75" y="3993"/>
                  </a:lnTo>
                  <a:lnTo>
                    <a:pt x="85" y="3995"/>
                  </a:lnTo>
                  <a:lnTo>
                    <a:pt x="96" y="3996"/>
                  </a:lnTo>
                  <a:lnTo>
                    <a:pt x="942" y="3996"/>
                  </a:lnTo>
                  <a:lnTo>
                    <a:pt x="1789" y="3996"/>
                  </a:lnTo>
                  <a:lnTo>
                    <a:pt x="2635" y="3996"/>
                  </a:lnTo>
                  <a:lnTo>
                    <a:pt x="3482" y="3996"/>
                  </a:lnTo>
                  <a:lnTo>
                    <a:pt x="3493" y="3995"/>
                  </a:lnTo>
                  <a:lnTo>
                    <a:pt x="3503" y="3993"/>
                  </a:lnTo>
                  <a:lnTo>
                    <a:pt x="3512" y="3991"/>
                  </a:lnTo>
                  <a:lnTo>
                    <a:pt x="3521" y="3988"/>
                  </a:lnTo>
                  <a:lnTo>
                    <a:pt x="3529" y="3985"/>
                  </a:lnTo>
                  <a:lnTo>
                    <a:pt x="3537" y="3980"/>
                  </a:lnTo>
                  <a:lnTo>
                    <a:pt x="3545" y="3975"/>
                  </a:lnTo>
                  <a:lnTo>
                    <a:pt x="3552" y="3968"/>
                  </a:lnTo>
                  <a:lnTo>
                    <a:pt x="3557" y="3961"/>
                  </a:lnTo>
                  <a:lnTo>
                    <a:pt x="3563" y="3955"/>
                  </a:lnTo>
                  <a:lnTo>
                    <a:pt x="3567" y="3947"/>
                  </a:lnTo>
                  <a:lnTo>
                    <a:pt x="3572" y="3938"/>
                  </a:lnTo>
                  <a:lnTo>
                    <a:pt x="3574" y="3929"/>
                  </a:lnTo>
                  <a:lnTo>
                    <a:pt x="3576" y="3919"/>
                  </a:lnTo>
                  <a:lnTo>
                    <a:pt x="3577" y="3909"/>
                  </a:lnTo>
                  <a:lnTo>
                    <a:pt x="3578" y="3899"/>
                  </a:lnTo>
                  <a:lnTo>
                    <a:pt x="3578" y="3634"/>
                  </a:lnTo>
                  <a:lnTo>
                    <a:pt x="3577" y="3624"/>
                  </a:lnTo>
                  <a:lnTo>
                    <a:pt x="3576" y="3614"/>
                  </a:lnTo>
                  <a:lnTo>
                    <a:pt x="3574" y="3605"/>
                  </a:lnTo>
                  <a:lnTo>
                    <a:pt x="3572" y="3595"/>
                  </a:lnTo>
                  <a:lnTo>
                    <a:pt x="3567" y="3587"/>
                  </a:lnTo>
                  <a:lnTo>
                    <a:pt x="3563" y="3579"/>
                  </a:lnTo>
                  <a:lnTo>
                    <a:pt x="3557" y="3572"/>
                  </a:lnTo>
                  <a:lnTo>
                    <a:pt x="3552" y="3565"/>
                  </a:lnTo>
                  <a:lnTo>
                    <a:pt x="3545" y="3559"/>
                  </a:lnTo>
                  <a:lnTo>
                    <a:pt x="3537" y="3554"/>
                  </a:lnTo>
                  <a:lnTo>
                    <a:pt x="3529" y="3549"/>
                  </a:lnTo>
                  <a:lnTo>
                    <a:pt x="3521" y="3545"/>
                  </a:lnTo>
                  <a:lnTo>
                    <a:pt x="3512" y="3542"/>
                  </a:lnTo>
                  <a:lnTo>
                    <a:pt x="3503" y="3539"/>
                  </a:lnTo>
                  <a:lnTo>
                    <a:pt x="3493" y="3538"/>
                  </a:lnTo>
                  <a:lnTo>
                    <a:pt x="3482" y="3538"/>
                  </a:lnTo>
                  <a:lnTo>
                    <a:pt x="2635" y="3538"/>
                  </a:lnTo>
                  <a:lnTo>
                    <a:pt x="1789" y="3538"/>
                  </a:lnTo>
                  <a:lnTo>
                    <a:pt x="942" y="3538"/>
                  </a:lnTo>
                  <a:lnTo>
                    <a:pt x="96" y="3538"/>
                  </a:lnTo>
                  <a:lnTo>
                    <a:pt x="85" y="3538"/>
                  </a:lnTo>
                  <a:lnTo>
                    <a:pt x="75" y="3539"/>
                  </a:lnTo>
                  <a:lnTo>
                    <a:pt x="66" y="3542"/>
                  </a:lnTo>
                  <a:lnTo>
                    <a:pt x="58" y="3545"/>
                  </a:lnTo>
                  <a:lnTo>
                    <a:pt x="49" y="3549"/>
                  </a:lnTo>
                  <a:lnTo>
                    <a:pt x="41" y="3554"/>
                  </a:lnTo>
                  <a:lnTo>
                    <a:pt x="33" y="3559"/>
                  </a:lnTo>
                  <a:lnTo>
                    <a:pt x="27" y="3565"/>
                  </a:lnTo>
                  <a:lnTo>
                    <a:pt x="21" y="3572"/>
                  </a:lnTo>
                  <a:lnTo>
                    <a:pt x="16" y="3579"/>
                  </a:lnTo>
                  <a:lnTo>
                    <a:pt x="11" y="3587"/>
                  </a:lnTo>
                  <a:lnTo>
                    <a:pt x="8" y="3595"/>
                  </a:lnTo>
                  <a:lnTo>
                    <a:pt x="4" y="3605"/>
                  </a:lnTo>
                  <a:lnTo>
                    <a:pt x="2" y="3614"/>
                  </a:lnTo>
                  <a:lnTo>
                    <a:pt x="1" y="3624"/>
                  </a:lnTo>
                  <a:lnTo>
                    <a:pt x="0" y="3634"/>
                  </a:lnTo>
                  <a:lnTo>
                    <a:pt x="0" y="3899"/>
                  </a:lnTo>
                  <a:close/>
                  <a:moveTo>
                    <a:pt x="0" y="361"/>
                  </a:moveTo>
                  <a:lnTo>
                    <a:pt x="1" y="371"/>
                  </a:lnTo>
                  <a:lnTo>
                    <a:pt x="2" y="381"/>
                  </a:lnTo>
                  <a:lnTo>
                    <a:pt x="4" y="391"/>
                  </a:lnTo>
                  <a:lnTo>
                    <a:pt x="8" y="400"/>
                  </a:lnTo>
                  <a:lnTo>
                    <a:pt x="11" y="409"/>
                  </a:lnTo>
                  <a:lnTo>
                    <a:pt x="16" y="416"/>
                  </a:lnTo>
                  <a:lnTo>
                    <a:pt x="21" y="423"/>
                  </a:lnTo>
                  <a:lnTo>
                    <a:pt x="27" y="430"/>
                  </a:lnTo>
                  <a:lnTo>
                    <a:pt x="33" y="436"/>
                  </a:lnTo>
                  <a:lnTo>
                    <a:pt x="41" y="441"/>
                  </a:lnTo>
                  <a:lnTo>
                    <a:pt x="49" y="446"/>
                  </a:lnTo>
                  <a:lnTo>
                    <a:pt x="58" y="450"/>
                  </a:lnTo>
                  <a:lnTo>
                    <a:pt x="66" y="453"/>
                  </a:lnTo>
                  <a:lnTo>
                    <a:pt x="75" y="455"/>
                  </a:lnTo>
                  <a:lnTo>
                    <a:pt x="85" y="456"/>
                  </a:lnTo>
                  <a:lnTo>
                    <a:pt x="96" y="456"/>
                  </a:lnTo>
                  <a:lnTo>
                    <a:pt x="942" y="456"/>
                  </a:lnTo>
                  <a:lnTo>
                    <a:pt x="1789" y="456"/>
                  </a:lnTo>
                  <a:lnTo>
                    <a:pt x="2635" y="456"/>
                  </a:lnTo>
                  <a:lnTo>
                    <a:pt x="3482" y="456"/>
                  </a:lnTo>
                  <a:lnTo>
                    <a:pt x="3493" y="456"/>
                  </a:lnTo>
                  <a:lnTo>
                    <a:pt x="3503" y="455"/>
                  </a:lnTo>
                  <a:lnTo>
                    <a:pt x="3512" y="453"/>
                  </a:lnTo>
                  <a:lnTo>
                    <a:pt x="3521" y="450"/>
                  </a:lnTo>
                  <a:lnTo>
                    <a:pt x="3529" y="446"/>
                  </a:lnTo>
                  <a:lnTo>
                    <a:pt x="3537" y="441"/>
                  </a:lnTo>
                  <a:lnTo>
                    <a:pt x="3545" y="436"/>
                  </a:lnTo>
                  <a:lnTo>
                    <a:pt x="3552" y="430"/>
                  </a:lnTo>
                  <a:lnTo>
                    <a:pt x="3557" y="423"/>
                  </a:lnTo>
                  <a:lnTo>
                    <a:pt x="3563" y="416"/>
                  </a:lnTo>
                  <a:lnTo>
                    <a:pt x="3567" y="409"/>
                  </a:lnTo>
                  <a:lnTo>
                    <a:pt x="3572" y="400"/>
                  </a:lnTo>
                  <a:lnTo>
                    <a:pt x="3574" y="391"/>
                  </a:lnTo>
                  <a:lnTo>
                    <a:pt x="3576" y="381"/>
                  </a:lnTo>
                  <a:lnTo>
                    <a:pt x="3577" y="371"/>
                  </a:lnTo>
                  <a:lnTo>
                    <a:pt x="3578" y="361"/>
                  </a:lnTo>
                  <a:lnTo>
                    <a:pt x="3578" y="95"/>
                  </a:lnTo>
                  <a:lnTo>
                    <a:pt x="3577" y="85"/>
                  </a:lnTo>
                  <a:lnTo>
                    <a:pt x="3576" y="75"/>
                  </a:lnTo>
                  <a:lnTo>
                    <a:pt x="3574" y="65"/>
                  </a:lnTo>
                  <a:lnTo>
                    <a:pt x="3572" y="57"/>
                  </a:lnTo>
                  <a:lnTo>
                    <a:pt x="3567" y="49"/>
                  </a:lnTo>
                  <a:lnTo>
                    <a:pt x="3563" y="41"/>
                  </a:lnTo>
                  <a:lnTo>
                    <a:pt x="3557" y="33"/>
                  </a:lnTo>
                  <a:lnTo>
                    <a:pt x="3552" y="27"/>
                  </a:lnTo>
                  <a:lnTo>
                    <a:pt x="3545" y="20"/>
                  </a:lnTo>
                  <a:lnTo>
                    <a:pt x="3537" y="16"/>
                  </a:lnTo>
                  <a:lnTo>
                    <a:pt x="3529" y="11"/>
                  </a:lnTo>
                  <a:lnTo>
                    <a:pt x="3521" y="7"/>
                  </a:lnTo>
                  <a:lnTo>
                    <a:pt x="3512" y="3"/>
                  </a:lnTo>
                  <a:lnTo>
                    <a:pt x="3503" y="1"/>
                  </a:lnTo>
                  <a:lnTo>
                    <a:pt x="3493" y="0"/>
                  </a:lnTo>
                  <a:lnTo>
                    <a:pt x="3482" y="0"/>
                  </a:lnTo>
                  <a:lnTo>
                    <a:pt x="2635" y="0"/>
                  </a:lnTo>
                  <a:lnTo>
                    <a:pt x="1789" y="0"/>
                  </a:lnTo>
                  <a:lnTo>
                    <a:pt x="942" y="0"/>
                  </a:lnTo>
                  <a:lnTo>
                    <a:pt x="96" y="0"/>
                  </a:lnTo>
                  <a:lnTo>
                    <a:pt x="85" y="0"/>
                  </a:lnTo>
                  <a:lnTo>
                    <a:pt x="75" y="1"/>
                  </a:lnTo>
                  <a:lnTo>
                    <a:pt x="66" y="3"/>
                  </a:lnTo>
                  <a:lnTo>
                    <a:pt x="58" y="7"/>
                  </a:lnTo>
                  <a:lnTo>
                    <a:pt x="49" y="11"/>
                  </a:lnTo>
                  <a:lnTo>
                    <a:pt x="41" y="16"/>
                  </a:lnTo>
                  <a:lnTo>
                    <a:pt x="33" y="20"/>
                  </a:lnTo>
                  <a:lnTo>
                    <a:pt x="27" y="27"/>
                  </a:lnTo>
                  <a:lnTo>
                    <a:pt x="21" y="33"/>
                  </a:lnTo>
                  <a:lnTo>
                    <a:pt x="16" y="41"/>
                  </a:lnTo>
                  <a:lnTo>
                    <a:pt x="11" y="49"/>
                  </a:lnTo>
                  <a:lnTo>
                    <a:pt x="8" y="57"/>
                  </a:lnTo>
                  <a:lnTo>
                    <a:pt x="4" y="65"/>
                  </a:lnTo>
                  <a:lnTo>
                    <a:pt x="2" y="75"/>
                  </a:lnTo>
                  <a:lnTo>
                    <a:pt x="1" y="85"/>
                  </a:lnTo>
                  <a:lnTo>
                    <a:pt x="0" y="95"/>
                  </a:lnTo>
                  <a:lnTo>
                    <a:pt x="0" y="36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Skatta Sans Regular" pitchFamily="50" charset="0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3790142-A411-4EF3-AD57-5A1BAFBAC433}"/>
              </a:ext>
            </a:extLst>
          </p:cNvPr>
          <p:cNvGrpSpPr/>
          <p:nvPr userDrawn="1"/>
        </p:nvGrpSpPr>
        <p:grpSpPr>
          <a:xfrm>
            <a:off x="10344472" y="692696"/>
            <a:ext cx="1260000" cy="2520280"/>
            <a:chOff x="10579338" y="620688"/>
            <a:chExt cx="1260000" cy="2520280"/>
          </a:xfrm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2A5F7983-1E47-4B30-9F99-AD29B1ADFA76}"/>
                </a:ext>
              </a:extLst>
            </p:cNvPr>
            <p:cNvSpPr>
              <a:spLocks noChangeAspect="1" noEditPoints="1"/>
            </p:cNvSpPr>
            <p:nvPr/>
          </p:nvSpPr>
          <p:spPr bwMode="black">
            <a:xfrm>
              <a:off x="10705591" y="620688"/>
              <a:ext cx="1007493" cy="1124563"/>
            </a:xfrm>
            <a:custGeom>
              <a:avLst/>
              <a:gdLst>
                <a:gd name="T0" fmla="*/ 2964 w 3578"/>
                <a:gd name="T1" fmla="*/ 3151 h 3996"/>
                <a:gd name="T2" fmla="*/ 2988 w 3578"/>
                <a:gd name="T3" fmla="*/ 3131 h 3996"/>
                <a:gd name="T4" fmla="*/ 3002 w 3578"/>
                <a:gd name="T5" fmla="*/ 3095 h 3996"/>
                <a:gd name="T6" fmla="*/ 2998 w 3578"/>
                <a:gd name="T7" fmla="*/ 3052 h 3996"/>
                <a:gd name="T8" fmla="*/ 2570 w 3578"/>
                <a:gd name="T9" fmla="*/ 2480 h 3996"/>
                <a:gd name="T10" fmla="*/ 2976 w 3578"/>
                <a:gd name="T11" fmla="*/ 956 h 3996"/>
                <a:gd name="T12" fmla="*/ 2988 w 3578"/>
                <a:gd name="T13" fmla="*/ 917 h 3996"/>
                <a:gd name="T14" fmla="*/ 2981 w 3578"/>
                <a:gd name="T15" fmla="*/ 878 h 3996"/>
                <a:gd name="T16" fmla="*/ 2961 w 3578"/>
                <a:gd name="T17" fmla="*/ 853 h 3996"/>
                <a:gd name="T18" fmla="*/ 2936 w 3578"/>
                <a:gd name="T19" fmla="*/ 840 h 3996"/>
                <a:gd name="T20" fmla="*/ 2275 w 3578"/>
                <a:gd name="T21" fmla="*/ 835 h 3996"/>
                <a:gd name="T22" fmla="*/ 2209 w 3578"/>
                <a:gd name="T23" fmla="*/ 845 h 3996"/>
                <a:gd name="T24" fmla="*/ 2160 w 3578"/>
                <a:gd name="T25" fmla="*/ 872 h 3996"/>
                <a:gd name="T26" fmla="*/ 2119 w 3578"/>
                <a:gd name="T27" fmla="*/ 915 h 3996"/>
                <a:gd name="T28" fmla="*/ 1365 w 3578"/>
                <a:gd name="T29" fmla="*/ 931 h 3996"/>
                <a:gd name="T30" fmla="*/ 1356 w 3578"/>
                <a:gd name="T31" fmla="*/ 884 h 3996"/>
                <a:gd name="T32" fmla="*/ 1325 w 3578"/>
                <a:gd name="T33" fmla="*/ 851 h 3996"/>
                <a:gd name="T34" fmla="*/ 1280 w 3578"/>
                <a:gd name="T35" fmla="*/ 835 h 3996"/>
                <a:gd name="T36" fmla="*/ 664 w 3578"/>
                <a:gd name="T37" fmla="*/ 840 h 3996"/>
                <a:gd name="T38" fmla="*/ 625 w 3578"/>
                <a:gd name="T39" fmla="*/ 862 h 3996"/>
                <a:gd name="T40" fmla="*/ 602 w 3578"/>
                <a:gd name="T41" fmla="*/ 902 h 3996"/>
                <a:gd name="T42" fmla="*/ 598 w 3578"/>
                <a:gd name="T43" fmla="*/ 1998 h 3996"/>
                <a:gd name="T44" fmla="*/ 602 w 3578"/>
                <a:gd name="T45" fmla="*/ 3094 h 3996"/>
                <a:gd name="T46" fmla="*/ 625 w 3578"/>
                <a:gd name="T47" fmla="*/ 3133 h 3996"/>
                <a:gd name="T48" fmla="*/ 664 w 3578"/>
                <a:gd name="T49" fmla="*/ 3156 h 3996"/>
                <a:gd name="T50" fmla="*/ 1280 w 3578"/>
                <a:gd name="T51" fmla="*/ 3160 h 3996"/>
                <a:gd name="T52" fmla="*/ 1325 w 3578"/>
                <a:gd name="T53" fmla="*/ 3144 h 3996"/>
                <a:gd name="T54" fmla="*/ 1356 w 3578"/>
                <a:gd name="T55" fmla="*/ 3111 h 3996"/>
                <a:gd name="T56" fmla="*/ 1365 w 3578"/>
                <a:gd name="T57" fmla="*/ 3064 h 3996"/>
                <a:gd name="T58" fmla="*/ 2119 w 3578"/>
                <a:gd name="T59" fmla="*/ 3080 h 3996"/>
                <a:gd name="T60" fmla="*/ 2160 w 3578"/>
                <a:gd name="T61" fmla="*/ 3123 h 3996"/>
                <a:gd name="T62" fmla="*/ 2209 w 3578"/>
                <a:gd name="T63" fmla="*/ 3151 h 3996"/>
                <a:gd name="T64" fmla="*/ 2275 w 3578"/>
                <a:gd name="T65" fmla="*/ 3160 h 3996"/>
                <a:gd name="T66" fmla="*/ 4 w 3578"/>
                <a:gd name="T67" fmla="*/ 3929 h 3996"/>
                <a:gd name="T68" fmla="*/ 27 w 3578"/>
                <a:gd name="T69" fmla="*/ 3968 h 3996"/>
                <a:gd name="T70" fmla="*/ 66 w 3578"/>
                <a:gd name="T71" fmla="*/ 3991 h 3996"/>
                <a:gd name="T72" fmla="*/ 1789 w 3578"/>
                <a:gd name="T73" fmla="*/ 3996 h 3996"/>
                <a:gd name="T74" fmla="*/ 3512 w 3578"/>
                <a:gd name="T75" fmla="*/ 3991 h 3996"/>
                <a:gd name="T76" fmla="*/ 3552 w 3578"/>
                <a:gd name="T77" fmla="*/ 3968 h 3996"/>
                <a:gd name="T78" fmla="*/ 3574 w 3578"/>
                <a:gd name="T79" fmla="*/ 3929 h 3996"/>
                <a:gd name="T80" fmla="*/ 3577 w 3578"/>
                <a:gd name="T81" fmla="*/ 3624 h 3996"/>
                <a:gd name="T82" fmla="*/ 3563 w 3578"/>
                <a:gd name="T83" fmla="*/ 3579 h 3996"/>
                <a:gd name="T84" fmla="*/ 3529 w 3578"/>
                <a:gd name="T85" fmla="*/ 3549 h 3996"/>
                <a:gd name="T86" fmla="*/ 3482 w 3578"/>
                <a:gd name="T87" fmla="*/ 3538 h 3996"/>
                <a:gd name="T88" fmla="*/ 85 w 3578"/>
                <a:gd name="T89" fmla="*/ 3538 h 3996"/>
                <a:gd name="T90" fmla="*/ 41 w 3578"/>
                <a:gd name="T91" fmla="*/ 3554 h 3996"/>
                <a:gd name="T92" fmla="*/ 11 w 3578"/>
                <a:gd name="T93" fmla="*/ 3587 h 3996"/>
                <a:gd name="T94" fmla="*/ 0 w 3578"/>
                <a:gd name="T95" fmla="*/ 3634 h 3996"/>
                <a:gd name="T96" fmla="*/ 4 w 3578"/>
                <a:gd name="T97" fmla="*/ 391 h 3996"/>
                <a:gd name="T98" fmla="*/ 27 w 3578"/>
                <a:gd name="T99" fmla="*/ 430 h 3996"/>
                <a:gd name="T100" fmla="*/ 66 w 3578"/>
                <a:gd name="T101" fmla="*/ 453 h 3996"/>
                <a:gd name="T102" fmla="*/ 1789 w 3578"/>
                <a:gd name="T103" fmla="*/ 456 h 3996"/>
                <a:gd name="T104" fmla="*/ 3512 w 3578"/>
                <a:gd name="T105" fmla="*/ 453 h 3996"/>
                <a:gd name="T106" fmla="*/ 3552 w 3578"/>
                <a:gd name="T107" fmla="*/ 430 h 3996"/>
                <a:gd name="T108" fmla="*/ 3574 w 3578"/>
                <a:gd name="T109" fmla="*/ 391 h 3996"/>
                <a:gd name="T110" fmla="*/ 3577 w 3578"/>
                <a:gd name="T111" fmla="*/ 85 h 3996"/>
                <a:gd name="T112" fmla="*/ 3563 w 3578"/>
                <a:gd name="T113" fmla="*/ 41 h 3996"/>
                <a:gd name="T114" fmla="*/ 3529 w 3578"/>
                <a:gd name="T115" fmla="*/ 11 h 3996"/>
                <a:gd name="T116" fmla="*/ 3482 w 3578"/>
                <a:gd name="T117" fmla="*/ 0 h 3996"/>
                <a:gd name="T118" fmla="*/ 85 w 3578"/>
                <a:gd name="T119" fmla="*/ 0 h 3996"/>
                <a:gd name="T120" fmla="*/ 41 w 3578"/>
                <a:gd name="T121" fmla="*/ 16 h 3996"/>
                <a:gd name="T122" fmla="*/ 11 w 3578"/>
                <a:gd name="T123" fmla="*/ 49 h 3996"/>
                <a:gd name="T124" fmla="*/ 0 w 3578"/>
                <a:gd name="T125" fmla="*/ 95 h 3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78" h="3996">
                  <a:moveTo>
                    <a:pt x="2924" y="3160"/>
                  </a:moveTo>
                  <a:lnTo>
                    <a:pt x="2936" y="3160"/>
                  </a:lnTo>
                  <a:lnTo>
                    <a:pt x="2947" y="3157"/>
                  </a:lnTo>
                  <a:lnTo>
                    <a:pt x="2958" y="3153"/>
                  </a:lnTo>
                  <a:lnTo>
                    <a:pt x="2964" y="3151"/>
                  </a:lnTo>
                  <a:lnTo>
                    <a:pt x="2968" y="3148"/>
                  </a:lnTo>
                  <a:lnTo>
                    <a:pt x="2977" y="3142"/>
                  </a:lnTo>
                  <a:lnTo>
                    <a:pt x="2981" y="3139"/>
                  </a:lnTo>
                  <a:lnTo>
                    <a:pt x="2985" y="3135"/>
                  </a:lnTo>
                  <a:lnTo>
                    <a:pt x="2988" y="3131"/>
                  </a:lnTo>
                  <a:lnTo>
                    <a:pt x="2991" y="3126"/>
                  </a:lnTo>
                  <a:lnTo>
                    <a:pt x="2996" y="3117"/>
                  </a:lnTo>
                  <a:lnTo>
                    <a:pt x="3000" y="3106"/>
                  </a:lnTo>
                  <a:lnTo>
                    <a:pt x="3001" y="3101"/>
                  </a:lnTo>
                  <a:lnTo>
                    <a:pt x="3002" y="3095"/>
                  </a:lnTo>
                  <a:lnTo>
                    <a:pt x="3003" y="3084"/>
                  </a:lnTo>
                  <a:lnTo>
                    <a:pt x="3002" y="3072"/>
                  </a:lnTo>
                  <a:lnTo>
                    <a:pt x="3001" y="3065"/>
                  </a:lnTo>
                  <a:lnTo>
                    <a:pt x="2999" y="3059"/>
                  </a:lnTo>
                  <a:lnTo>
                    <a:pt x="2998" y="3052"/>
                  </a:lnTo>
                  <a:lnTo>
                    <a:pt x="2995" y="3045"/>
                  </a:lnTo>
                  <a:lnTo>
                    <a:pt x="2988" y="3032"/>
                  </a:lnTo>
                  <a:lnTo>
                    <a:pt x="2985" y="3026"/>
                  </a:lnTo>
                  <a:lnTo>
                    <a:pt x="2980" y="3019"/>
                  </a:lnTo>
                  <a:lnTo>
                    <a:pt x="2570" y="2480"/>
                  </a:lnTo>
                  <a:lnTo>
                    <a:pt x="2162" y="1941"/>
                  </a:lnTo>
                  <a:lnTo>
                    <a:pt x="2562" y="1459"/>
                  </a:lnTo>
                  <a:lnTo>
                    <a:pt x="2962" y="976"/>
                  </a:lnTo>
                  <a:lnTo>
                    <a:pt x="2972" y="962"/>
                  </a:lnTo>
                  <a:lnTo>
                    <a:pt x="2976" y="956"/>
                  </a:lnTo>
                  <a:lnTo>
                    <a:pt x="2979" y="949"/>
                  </a:lnTo>
                  <a:lnTo>
                    <a:pt x="2985" y="936"/>
                  </a:lnTo>
                  <a:lnTo>
                    <a:pt x="2986" y="929"/>
                  </a:lnTo>
                  <a:lnTo>
                    <a:pt x="2988" y="923"/>
                  </a:lnTo>
                  <a:lnTo>
                    <a:pt x="2988" y="917"/>
                  </a:lnTo>
                  <a:lnTo>
                    <a:pt x="2989" y="910"/>
                  </a:lnTo>
                  <a:lnTo>
                    <a:pt x="2988" y="899"/>
                  </a:lnTo>
                  <a:lnTo>
                    <a:pt x="2987" y="894"/>
                  </a:lnTo>
                  <a:lnTo>
                    <a:pt x="2986" y="888"/>
                  </a:lnTo>
                  <a:lnTo>
                    <a:pt x="2981" y="878"/>
                  </a:lnTo>
                  <a:lnTo>
                    <a:pt x="2979" y="873"/>
                  </a:lnTo>
                  <a:lnTo>
                    <a:pt x="2976" y="868"/>
                  </a:lnTo>
                  <a:lnTo>
                    <a:pt x="2972" y="864"/>
                  </a:lnTo>
                  <a:lnTo>
                    <a:pt x="2969" y="861"/>
                  </a:lnTo>
                  <a:lnTo>
                    <a:pt x="2961" y="853"/>
                  </a:lnTo>
                  <a:lnTo>
                    <a:pt x="2957" y="849"/>
                  </a:lnTo>
                  <a:lnTo>
                    <a:pt x="2951" y="846"/>
                  </a:lnTo>
                  <a:lnTo>
                    <a:pt x="2947" y="844"/>
                  </a:lnTo>
                  <a:lnTo>
                    <a:pt x="2941" y="842"/>
                  </a:lnTo>
                  <a:lnTo>
                    <a:pt x="2936" y="840"/>
                  </a:lnTo>
                  <a:lnTo>
                    <a:pt x="2930" y="838"/>
                  </a:lnTo>
                  <a:lnTo>
                    <a:pt x="2925" y="836"/>
                  </a:lnTo>
                  <a:lnTo>
                    <a:pt x="2919" y="836"/>
                  </a:lnTo>
                  <a:lnTo>
                    <a:pt x="2907" y="835"/>
                  </a:lnTo>
                  <a:lnTo>
                    <a:pt x="2275" y="835"/>
                  </a:lnTo>
                  <a:lnTo>
                    <a:pt x="2260" y="835"/>
                  </a:lnTo>
                  <a:lnTo>
                    <a:pt x="2246" y="836"/>
                  </a:lnTo>
                  <a:lnTo>
                    <a:pt x="2234" y="838"/>
                  </a:lnTo>
                  <a:lnTo>
                    <a:pt x="2222" y="841"/>
                  </a:lnTo>
                  <a:lnTo>
                    <a:pt x="2209" y="845"/>
                  </a:lnTo>
                  <a:lnTo>
                    <a:pt x="2198" y="848"/>
                  </a:lnTo>
                  <a:lnTo>
                    <a:pt x="2188" y="854"/>
                  </a:lnTo>
                  <a:lnTo>
                    <a:pt x="2178" y="859"/>
                  </a:lnTo>
                  <a:lnTo>
                    <a:pt x="2168" y="865"/>
                  </a:lnTo>
                  <a:lnTo>
                    <a:pt x="2160" y="872"/>
                  </a:lnTo>
                  <a:lnTo>
                    <a:pt x="2151" y="879"/>
                  </a:lnTo>
                  <a:lnTo>
                    <a:pt x="2142" y="887"/>
                  </a:lnTo>
                  <a:lnTo>
                    <a:pt x="2134" y="896"/>
                  </a:lnTo>
                  <a:lnTo>
                    <a:pt x="2126" y="905"/>
                  </a:lnTo>
                  <a:lnTo>
                    <a:pt x="2119" y="915"/>
                  </a:lnTo>
                  <a:lnTo>
                    <a:pt x="2111" y="925"/>
                  </a:lnTo>
                  <a:lnTo>
                    <a:pt x="1738" y="1404"/>
                  </a:lnTo>
                  <a:lnTo>
                    <a:pt x="1365" y="1885"/>
                  </a:lnTo>
                  <a:lnTo>
                    <a:pt x="1365" y="1408"/>
                  </a:lnTo>
                  <a:lnTo>
                    <a:pt x="1365" y="931"/>
                  </a:lnTo>
                  <a:lnTo>
                    <a:pt x="1365" y="920"/>
                  </a:lnTo>
                  <a:lnTo>
                    <a:pt x="1364" y="910"/>
                  </a:lnTo>
                  <a:lnTo>
                    <a:pt x="1362" y="902"/>
                  </a:lnTo>
                  <a:lnTo>
                    <a:pt x="1359" y="892"/>
                  </a:lnTo>
                  <a:lnTo>
                    <a:pt x="1356" y="884"/>
                  </a:lnTo>
                  <a:lnTo>
                    <a:pt x="1350" y="876"/>
                  </a:lnTo>
                  <a:lnTo>
                    <a:pt x="1346" y="868"/>
                  </a:lnTo>
                  <a:lnTo>
                    <a:pt x="1339" y="862"/>
                  </a:lnTo>
                  <a:lnTo>
                    <a:pt x="1332" y="856"/>
                  </a:lnTo>
                  <a:lnTo>
                    <a:pt x="1325" y="851"/>
                  </a:lnTo>
                  <a:lnTo>
                    <a:pt x="1317" y="846"/>
                  </a:lnTo>
                  <a:lnTo>
                    <a:pt x="1309" y="842"/>
                  </a:lnTo>
                  <a:lnTo>
                    <a:pt x="1300" y="840"/>
                  </a:lnTo>
                  <a:lnTo>
                    <a:pt x="1290" y="837"/>
                  </a:lnTo>
                  <a:lnTo>
                    <a:pt x="1280" y="835"/>
                  </a:lnTo>
                  <a:lnTo>
                    <a:pt x="1270" y="835"/>
                  </a:lnTo>
                  <a:lnTo>
                    <a:pt x="694" y="835"/>
                  </a:lnTo>
                  <a:lnTo>
                    <a:pt x="684" y="835"/>
                  </a:lnTo>
                  <a:lnTo>
                    <a:pt x="674" y="837"/>
                  </a:lnTo>
                  <a:lnTo>
                    <a:pt x="664" y="840"/>
                  </a:lnTo>
                  <a:lnTo>
                    <a:pt x="656" y="842"/>
                  </a:lnTo>
                  <a:lnTo>
                    <a:pt x="647" y="846"/>
                  </a:lnTo>
                  <a:lnTo>
                    <a:pt x="639" y="851"/>
                  </a:lnTo>
                  <a:lnTo>
                    <a:pt x="632" y="856"/>
                  </a:lnTo>
                  <a:lnTo>
                    <a:pt x="625" y="862"/>
                  </a:lnTo>
                  <a:lnTo>
                    <a:pt x="619" y="868"/>
                  </a:lnTo>
                  <a:lnTo>
                    <a:pt x="614" y="876"/>
                  </a:lnTo>
                  <a:lnTo>
                    <a:pt x="609" y="884"/>
                  </a:lnTo>
                  <a:lnTo>
                    <a:pt x="606" y="892"/>
                  </a:lnTo>
                  <a:lnTo>
                    <a:pt x="602" y="902"/>
                  </a:lnTo>
                  <a:lnTo>
                    <a:pt x="600" y="910"/>
                  </a:lnTo>
                  <a:lnTo>
                    <a:pt x="599" y="920"/>
                  </a:lnTo>
                  <a:lnTo>
                    <a:pt x="598" y="931"/>
                  </a:lnTo>
                  <a:lnTo>
                    <a:pt x="598" y="1464"/>
                  </a:lnTo>
                  <a:lnTo>
                    <a:pt x="598" y="1998"/>
                  </a:lnTo>
                  <a:lnTo>
                    <a:pt x="598" y="2531"/>
                  </a:lnTo>
                  <a:lnTo>
                    <a:pt x="598" y="3064"/>
                  </a:lnTo>
                  <a:lnTo>
                    <a:pt x="599" y="3074"/>
                  </a:lnTo>
                  <a:lnTo>
                    <a:pt x="600" y="3084"/>
                  </a:lnTo>
                  <a:lnTo>
                    <a:pt x="602" y="3094"/>
                  </a:lnTo>
                  <a:lnTo>
                    <a:pt x="606" y="3103"/>
                  </a:lnTo>
                  <a:lnTo>
                    <a:pt x="609" y="3111"/>
                  </a:lnTo>
                  <a:lnTo>
                    <a:pt x="614" y="3120"/>
                  </a:lnTo>
                  <a:lnTo>
                    <a:pt x="619" y="3126"/>
                  </a:lnTo>
                  <a:lnTo>
                    <a:pt x="625" y="3133"/>
                  </a:lnTo>
                  <a:lnTo>
                    <a:pt x="632" y="3140"/>
                  </a:lnTo>
                  <a:lnTo>
                    <a:pt x="639" y="3144"/>
                  </a:lnTo>
                  <a:lnTo>
                    <a:pt x="647" y="3150"/>
                  </a:lnTo>
                  <a:lnTo>
                    <a:pt x="656" y="3153"/>
                  </a:lnTo>
                  <a:lnTo>
                    <a:pt x="664" y="3156"/>
                  </a:lnTo>
                  <a:lnTo>
                    <a:pt x="674" y="3158"/>
                  </a:lnTo>
                  <a:lnTo>
                    <a:pt x="684" y="3160"/>
                  </a:lnTo>
                  <a:lnTo>
                    <a:pt x="694" y="3160"/>
                  </a:lnTo>
                  <a:lnTo>
                    <a:pt x="1270" y="3160"/>
                  </a:lnTo>
                  <a:lnTo>
                    <a:pt x="1280" y="3160"/>
                  </a:lnTo>
                  <a:lnTo>
                    <a:pt x="1290" y="3158"/>
                  </a:lnTo>
                  <a:lnTo>
                    <a:pt x="1300" y="3156"/>
                  </a:lnTo>
                  <a:lnTo>
                    <a:pt x="1309" y="3153"/>
                  </a:lnTo>
                  <a:lnTo>
                    <a:pt x="1317" y="3150"/>
                  </a:lnTo>
                  <a:lnTo>
                    <a:pt x="1325" y="3144"/>
                  </a:lnTo>
                  <a:lnTo>
                    <a:pt x="1332" y="3140"/>
                  </a:lnTo>
                  <a:lnTo>
                    <a:pt x="1339" y="3133"/>
                  </a:lnTo>
                  <a:lnTo>
                    <a:pt x="1346" y="3126"/>
                  </a:lnTo>
                  <a:lnTo>
                    <a:pt x="1350" y="3120"/>
                  </a:lnTo>
                  <a:lnTo>
                    <a:pt x="1356" y="3111"/>
                  </a:lnTo>
                  <a:lnTo>
                    <a:pt x="1359" y="3103"/>
                  </a:lnTo>
                  <a:lnTo>
                    <a:pt x="1362" y="3094"/>
                  </a:lnTo>
                  <a:lnTo>
                    <a:pt x="1364" y="3084"/>
                  </a:lnTo>
                  <a:lnTo>
                    <a:pt x="1365" y="3074"/>
                  </a:lnTo>
                  <a:lnTo>
                    <a:pt x="1365" y="3064"/>
                  </a:lnTo>
                  <a:lnTo>
                    <a:pt x="1365" y="2539"/>
                  </a:lnTo>
                  <a:lnTo>
                    <a:pt x="1365" y="2014"/>
                  </a:lnTo>
                  <a:lnTo>
                    <a:pt x="1738" y="2542"/>
                  </a:lnTo>
                  <a:lnTo>
                    <a:pt x="2111" y="3070"/>
                  </a:lnTo>
                  <a:lnTo>
                    <a:pt x="2119" y="3080"/>
                  </a:lnTo>
                  <a:lnTo>
                    <a:pt x="2126" y="3090"/>
                  </a:lnTo>
                  <a:lnTo>
                    <a:pt x="2134" y="3099"/>
                  </a:lnTo>
                  <a:lnTo>
                    <a:pt x="2142" y="3108"/>
                  </a:lnTo>
                  <a:lnTo>
                    <a:pt x="2151" y="3115"/>
                  </a:lnTo>
                  <a:lnTo>
                    <a:pt x="2160" y="3123"/>
                  </a:lnTo>
                  <a:lnTo>
                    <a:pt x="2168" y="3130"/>
                  </a:lnTo>
                  <a:lnTo>
                    <a:pt x="2178" y="3136"/>
                  </a:lnTo>
                  <a:lnTo>
                    <a:pt x="2188" y="3142"/>
                  </a:lnTo>
                  <a:lnTo>
                    <a:pt x="2198" y="3146"/>
                  </a:lnTo>
                  <a:lnTo>
                    <a:pt x="2209" y="3151"/>
                  </a:lnTo>
                  <a:lnTo>
                    <a:pt x="2222" y="3154"/>
                  </a:lnTo>
                  <a:lnTo>
                    <a:pt x="2234" y="3156"/>
                  </a:lnTo>
                  <a:lnTo>
                    <a:pt x="2246" y="3158"/>
                  </a:lnTo>
                  <a:lnTo>
                    <a:pt x="2260" y="3160"/>
                  </a:lnTo>
                  <a:lnTo>
                    <a:pt x="2275" y="3160"/>
                  </a:lnTo>
                  <a:lnTo>
                    <a:pt x="2924" y="3160"/>
                  </a:lnTo>
                  <a:close/>
                  <a:moveTo>
                    <a:pt x="0" y="3899"/>
                  </a:moveTo>
                  <a:lnTo>
                    <a:pt x="1" y="3909"/>
                  </a:lnTo>
                  <a:lnTo>
                    <a:pt x="2" y="3919"/>
                  </a:lnTo>
                  <a:lnTo>
                    <a:pt x="4" y="3929"/>
                  </a:lnTo>
                  <a:lnTo>
                    <a:pt x="8" y="3938"/>
                  </a:lnTo>
                  <a:lnTo>
                    <a:pt x="11" y="3947"/>
                  </a:lnTo>
                  <a:lnTo>
                    <a:pt x="16" y="3955"/>
                  </a:lnTo>
                  <a:lnTo>
                    <a:pt x="21" y="3961"/>
                  </a:lnTo>
                  <a:lnTo>
                    <a:pt x="27" y="3968"/>
                  </a:lnTo>
                  <a:lnTo>
                    <a:pt x="33" y="3975"/>
                  </a:lnTo>
                  <a:lnTo>
                    <a:pt x="41" y="3980"/>
                  </a:lnTo>
                  <a:lnTo>
                    <a:pt x="49" y="3985"/>
                  </a:lnTo>
                  <a:lnTo>
                    <a:pt x="58" y="3988"/>
                  </a:lnTo>
                  <a:lnTo>
                    <a:pt x="66" y="3991"/>
                  </a:lnTo>
                  <a:lnTo>
                    <a:pt x="75" y="3993"/>
                  </a:lnTo>
                  <a:lnTo>
                    <a:pt x="85" y="3995"/>
                  </a:lnTo>
                  <a:lnTo>
                    <a:pt x="96" y="3996"/>
                  </a:lnTo>
                  <a:lnTo>
                    <a:pt x="942" y="3996"/>
                  </a:lnTo>
                  <a:lnTo>
                    <a:pt x="1789" y="3996"/>
                  </a:lnTo>
                  <a:lnTo>
                    <a:pt x="2635" y="3996"/>
                  </a:lnTo>
                  <a:lnTo>
                    <a:pt x="3482" y="3996"/>
                  </a:lnTo>
                  <a:lnTo>
                    <a:pt x="3493" y="3995"/>
                  </a:lnTo>
                  <a:lnTo>
                    <a:pt x="3503" y="3993"/>
                  </a:lnTo>
                  <a:lnTo>
                    <a:pt x="3512" y="3991"/>
                  </a:lnTo>
                  <a:lnTo>
                    <a:pt x="3521" y="3988"/>
                  </a:lnTo>
                  <a:lnTo>
                    <a:pt x="3529" y="3985"/>
                  </a:lnTo>
                  <a:lnTo>
                    <a:pt x="3537" y="3980"/>
                  </a:lnTo>
                  <a:lnTo>
                    <a:pt x="3545" y="3975"/>
                  </a:lnTo>
                  <a:lnTo>
                    <a:pt x="3552" y="3968"/>
                  </a:lnTo>
                  <a:lnTo>
                    <a:pt x="3557" y="3961"/>
                  </a:lnTo>
                  <a:lnTo>
                    <a:pt x="3563" y="3955"/>
                  </a:lnTo>
                  <a:lnTo>
                    <a:pt x="3567" y="3947"/>
                  </a:lnTo>
                  <a:lnTo>
                    <a:pt x="3572" y="3938"/>
                  </a:lnTo>
                  <a:lnTo>
                    <a:pt x="3574" y="3929"/>
                  </a:lnTo>
                  <a:lnTo>
                    <a:pt x="3576" y="3919"/>
                  </a:lnTo>
                  <a:lnTo>
                    <a:pt x="3577" y="3909"/>
                  </a:lnTo>
                  <a:lnTo>
                    <a:pt x="3578" y="3899"/>
                  </a:lnTo>
                  <a:lnTo>
                    <a:pt x="3578" y="3634"/>
                  </a:lnTo>
                  <a:lnTo>
                    <a:pt x="3577" y="3624"/>
                  </a:lnTo>
                  <a:lnTo>
                    <a:pt x="3576" y="3614"/>
                  </a:lnTo>
                  <a:lnTo>
                    <a:pt x="3574" y="3605"/>
                  </a:lnTo>
                  <a:lnTo>
                    <a:pt x="3572" y="3595"/>
                  </a:lnTo>
                  <a:lnTo>
                    <a:pt x="3567" y="3587"/>
                  </a:lnTo>
                  <a:lnTo>
                    <a:pt x="3563" y="3579"/>
                  </a:lnTo>
                  <a:lnTo>
                    <a:pt x="3557" y="3572"/>
                  </a:lnTo>
                  <a:lnTo>
                    <a:pt x="3552" y="3565"/>
                  </a:lnTo>
                  <a:lnTo>
                    <a:pt x="3545" y="3559"/>
                  </a:lnTo>
                  <a:lnTo>
                    <a:pt x="3537" y="3554"/>
                  </a:lnTo>
                  <a:lnTo>
                    <a:pt x="3529" y="3549"/>
                  </a:lnTo>
                  <a:lnTo>
                    <a:pt x="3521" y="3545"/>
                  </a:lnTo>
                  <a:lnTo>
                    <a:pt x="3512" y="3542"/>
                  </a:lnTo>
                  <a:lnTo>
                    <a:pt x="3503" y="3539"/>
                  </a:lnTo>
                  <a:lnTo>
                    <a:pt x="3493" y="3538"/>
                  </a:lnTo>
                  <a:lnTo>
                    <a:pt x="3482" y="3538"/>
                  </a:lnTo>
                  <a:lnTo>
                    <a:pt x="2635" y="3538"/>
                  </a:lnTo>
                  <a:lnTo>
                    <a:pt x="1789" y="3538"/>
                  </a:lnTo>
                  <a:lnTo>
                    <a:pt x="942" y="3538"/>
                  </a:lnTo>
                  <a:lnTo>
                    <a:pt x="96" y="3538"/>
                  </a:lnTo>
                  <a:lnTo>
                    <a:pt x="85" y="3538"/>
                  </a:lnTo>
                  <a:lnTo>
                    <a:pt x="75" y="3539"/>
                  </a:lnTo>
                  <a:lnTo>
                    <a:pt x="66" y="3542"/>
                  </a:lnTo>
                  <a:lnTo>
                    <a:pt x="58" y="3545"/>
                  </a:lnTo>
                  <a:lnTo>
                    <a:pt x="49" y="3549"/>
                  </a:lnTo>
                  <a:lnTo>
                    <a:pt x="41" y="3554"/>
                  </a:lnTo>
                  <a:lnTo>
                    <a:pt x="33" y="3559"/>
                  </a:lnTo>
                  <a:lnTo>
                    <a:pt x="27" y="3565"/>
                  </a:lnTo>
                  <a:lnTo>
                    <a:pt x="21" y="3572"/>
                  </a:lnTo>
                  <a:lnTo>
                    <a:pt x="16" y="3579"/>
                  </a:lnTo>
                  <a:lnTo>
                    <a:pt x="11" y="3587"/>
                  </a:lnTo>
                  <a:lnTo>
                    <a:pt x="8" y="3595"/>
                  </a:lnTo>
                  <a:lnTo>
                    <a:pt x="4" y="3605"/>
                  </a:lnTo>
                  <a:lnTo>
                    <a:pt x="2" y="3614"/>
                  </a:lnTo>
                  <a:lnTo>
                    <a:pt x="1" y="3624"/>
                  </a:lnTo>
                  <a:lnTo>
                    <a:pt x="0" y="3634"/>
                  </a:lnTo>
                  <a:lnTo>
                    <a:pt x="0" y="3899"/>
                  </a:lnTo>
                  <a:close/>
                  <a:moveTo>
                    <a:pt x="0" y="361"/>
                  </a:moveTo>
                  <a:lnTo>
                    <a:pt x="1" y="371"/>
                  </a:lnTo>
                  <a:lnTo>
                    <a:pt x="2" y="381"/>
                  </a:lnTo>
                  <a:lnTo>
                    <a:pt x="4" y="391"/>
                  </a:lnTo>
                  <a:lnTo>
                    <a:pt x="8" y="400"/>
                  </a:lnTo>
                  <a:lnTo>
                    <a:pt x="11" y="409"/>
                  </a:lnTo>
                  <a:lnTo>
                    <a:pt x="16" y="416"/>
                  </a:lnTo>
                  <a:lnTo>
                    <a:pt x="21" y="423"/>
                  </a:lnTo>
                  <a:lnTo>
                    <a:pt x="27" y="430"/>
                  </a:lnTo>
                  <a:lnTo>
                    <a:pt x="33" y="436"/>
                  </a:lnTo>
                  <a:lnTo>
                    <a:pt x="41" y="441"/>
                  </a:lnTo>
                  <a:lnTo>
                    <a:pt x="49" y="446"/>
                  </a:lnTo>
                  <a:lnTo>
                    <a:pt x="58" y="450"/>
                  </a:lnTo>
                  <a:lnTo>
                    <a:pt x="66" y="453"/>
                  </a:lnTo>
                  <a:lnTo>
                    <a:pt x="75" y="455"/>
                  </a:lnTo>
                  <a:lnTo>
                    <a:pt x="85" y="456"/>
                  </a:lnTo>
                  <a:lnTo>
                    <a:pt x="96" y="456"/>
                  </a:lnTo>
                  <a:lnTo>
                    <a:pt x="942" y="456"/>
                  </a:lnTo>
                  <a:lnTo>
                    <a:pt x="1789" y="456"/>
                  </a:lnTo>
                  <a:lnTo>
                    <a:pt x="2635" y="456"/>
                  </a:lnTo>
                  <a:lnTo>
                    <a:pt x="3482" y="456"/>
                  </a:lnTo>
                  <a:lnTo>
                    <a:pt x="3493" y="456"/>
                  </a:lnTo>
                  <a:lnTo>
                    <a:pt x="3503" y="455"/>
                  </a:lnTo>
                  <a:lnTo>
                    <a:pt x="3512" y="453"/>
                  </a:lnTo>
                  <a:lnTo>
                    <a:pt x="3521" y="450"/>
                  </a:lnTo>
                  <a:lnTo>
                    <a:pt x="3529" y="446"/>
                  </a:lnTo>
                  <a:lnTo>
                    <a:pt x="3537" y="441"/>
                  </a:lnTo>
                  <a:lnTo>
                    <a:pt x="3545" y="436"/>
                  </a:lnTo>
                  <a:lnTo>
                    <a:pt x="3552" y="430"/>
                  </a:lnTo>
                  <a:lnTo>
                    <a:pt x="3557" y="423"/>
                  </a:lnTo>
                  <a:lnTo>
                    <a:pt x="3563" y="416"/>
                  </a:lnTo>
                  <a:lnTo>
                    <a:pt x="3567" y="409"/>
                  </a:lnTo>
                  <a:lnTo>
                    <a:pt x="3572" y="400"/>
                  </a:lnTo>
                  <a:lnTo>
                    <a:pt x="3574" y="391"/>
                  </a:lnTo>
                  <a:lnTo>
                    <a:pt x="3576" y="381"/>
                  </a:lnTo>
                  <a:lnTo>
                    <a:pt x="3577" y="371"/>
                  </a:lnTo>
                  <a:lnTo>
                    <a:pt x="3578" y="361"/>
                  </a:lnTo>
                  <a:lnTo>
                    <a:pt x="3578" y="95"/>
                  </a:lnTo>
                  <a:lnTo>
                    <a:pt x="3577" y="85"/>
                  </a:lnTo>
                  <a:lnTo>
                    <a:pt x="3576" y="75"/>
                  </a:lnTo>
                  <a:lnTo>
                    <a:pt x="3574" y="65"/>
                  </a:lnTo>
                  <a:lnTo>
                    <a:pt x="3572" y="57"/>
                  </a:lnTo>
                  <a:lnTo>
                    <a:pt x="3567" y="49"/>
                  </a:lnTo>
                  <a:lnTo>
                    <a:pt x="3563" y="41"/>
                  </a:lnTo>
                  <a:lnTo>
                    <a:pt x="3557" y="33"/>
                  </a:lnTo>
                  <a:lnTo>
                    <a:pt x="3552" y="27"/>
                  </a:lnTo>
                  <a:lnTo>
                    <a:pt x="3545" y="20"/>
                  </a:lnTo>
                  <a:lnTo>
                    <a:pt x="3537" y="16"/>
                  </a:lnTo>
                  <a:lnTo>
                    <a:pt x="3529" y="11"/>
                  </a:lnTo>
                  <a:lnTo>
                    <a:pt x="3521" y="7"/>
                  </a:lnTo>
                  <a:lnTo>
                    <a:pt x="3512" y="3"/>
                  </a:lnTo>
                  <a:lnTo>
                    <a:pt x="3503" y="1"/>
                  </a:lnTo>
                  <a:lnTo>
                    <a:pt x="3493" y="0"/>
                  </a:lnTo>
                  <a:lnTo>
                    <a:pt x="3482" y="0"/>
                  </a:lnTo>
                  <a:lnTo>
                    <a:pt x="2635" y="0"/>
                  </a:lnTo>
                  <a:lnTo>
                    <a:pt x="1789" y="0"/>
                  </a:lnTo>
                  <a:lnTo>
                    <a:pt x="942" y="0"/>
                  </a:lnTo>
                  <a:lnTo>
                    <a:pt x="96" y="0"/>
                  </a:lnTo>
                  <a:lnTo>
                    <a:pt x="85" y="0"/>
                  </a:lnTo>
                  <a:lnTo>
                    <a:pt x="75" y="1"/>
                  </a:lnTo>
                  <a:lnTo>
                    <a:pt x="66" y="3"/>
                  </a:lnTo>
                  <a:lnTo>
                    <a:pt x="58" y="7"/>
                  </a:lnTo>
                  <a:lnTo>
                    <a:pt x="49" y="11"/>
                  </a:lnTo>
                  <a:lnTo>
                    <a:pt x="41" y="16"/>
                  </a:lnTo>
                  <a:lnTo>
                    <a:pt x="33" y="20"/>
                  </a:lnTo>
                  <a:lnTo>
                    <a:pt x="27" y="27"/>
                  </a:lnTo>
                  <a:lnTo>
                    <a:pt x="21" y="33"/>
                  </a:lnTo>
                  <a:lnTo>
                    <a:pt x="16" y="41"/>
                  </a:lnTo>
                  <a:lnTo>
                    <a:pt x="11" y="49"/>
                  </a:lnTo>
                  <a:lnTo>
                    <a:pt x="8" y="57"/>
                  </a:lnTo>
                  <a:lnTo>
                    <a:pt x="4" y="65"/>
                  </a:lnTo>
                  <a:lnTo>
                    <a:pt x="2" y="75"/>
                  </a:lnTo>
                  <a:lnTo>
                    <a:pt x="1" y="85"/>
                  </a:lnTo>
                  <a:lnTo>
                    <a:pt x="0" y="95"/>
                  </a:lnTo>
                  <a:lnTo>
                    <a:pt x="0" y="36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Skatta Sans Regular" pitchFamily="50" charset="0"/>
              </a:endParaRPr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C27B8C88-3890-4287-B883-574EB349BA7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579338" y="2067802"/>
              <a:ext cx="1260000" cy="1073166"/>
            </a:xfrm>
            <a:custGeom>
              <a:avLst/>
              <a:gdLst>
                <a:gd name="T0" fmla="*/ 2264 w 3082"/>
                <a:gd name="T1" fmla="*/ 744 h 2625"/>
                <a:gd name="T2" fmla="*/ 2266 w 3082"/>
                <a:gd name="T3" fmla="*/ 977 h 2625"/>
                <a:gd name="T4" fmla="*/ 2059 w 3082"/>
                <a:gd name="T5" fmla="*/ 1141 h 2625"/>
                <a:gd name="T6" fmla="*/ 2128 w 3082"/>
                <a:gd name="T7" fmla="*/ 961 h 2625"/>
                <a:gd name="T8" fmla="*/ 2534 w 3082"/>
                <a:gd name="T9" fmla="*/ 737 h 2625"/>
                <a:gd name="T10" fmla="*/ 2516 w 3082"/>
                <a:gd name="T11" fmla="*/ 927 h 2625"/>
                <a:gd name="T12" fmla="*/ 2383 w 3082"/>
                <a:gd name="T13" fmla="*/ 1154 h 2625"/>
                <a:gd name="T14" fmla="*/ 2470 w 3082"/>
                <a:gd name="T15" fmla="*/ 1025 h 2625"/>
                <a:gd name="T16" fmla="*/ 733 w 3082"/>
                <a:gd name="T17" fmla="*/ 1006 h 2625"/>
                <a:gd name="T18" fmla="*/ 885 w 3082"/>
                <a:gd name="T19" fmla="*/ 1154 h 2625"/>
                <a:gd name="T20" fmla="*/ 60 w 3082"/>
                <a:gd name="T21" fmla="*/ 1150 h 2625"/>
                <a:gd name="T22" fmla="*/ 1819 w 3082"/>
                <a:gd name="T23" fmla="*/ 1010 h 2625"/>
                <a:gd name="T24" fmla="*/ 1910 w 3082"/>
                <a:gd name="T25" fmla="*/ 1155 h 2625"/>
                <a:gd name="T26" fmla="*/ 1110 w 3082"/>
                <a:gd name="T27" fmla="*/ 1070 h 2625"/>
                <a:gd name="T28" fmla="*/ 1273 w 3082"/>
                <a:gd name="T29" fmla="*/ 1060 h 2625"/>
                <a:gd name="T30" fmla="*/ 962 w 3082"/>
                <a:gd name="T31" fmla="*/ 1091 h 2625"/>
                <a:gd name="T32" fmla="*/ 1547 w 3082"/>
                <a:gd name="T33" fmla="*/ 832 h 2625"/>
                <a:gd name="T34" fmla="*/ 1673 w 3082"/>
                <a:gd name="T35" fmla="*/ 911 h 2625"/>
                <a:gd name="T36" fmla="*/ 1380 w 3082"/>
                <a:gd name="T37" fmla="*/ 739 h 2625"/>
                <a:gd name="T38" fmla="*/ 3022 w 3082"/>
                <a:gd name="T39" fmla="*/ 1141 h 2625"/>
                <a:gd name="T40" fmla="*/ 706 w 3082"/>
                <a:gd name="T41" fmla="*/ 2392 h 2625"/>
                <a:gd name="T42" fmla="*/ 702 w 3082"/>
                <a:gd name="T43" fmla="*/ 2624 h 2625"/>
                <a:gd name="T44" fmla="*/ 1320 w 3082"/>
                <a:gd name="T45" fmla="*/ 2090 h 2625"/>
                <a:gd name="T46" fmla="*/ 1026 w 3082"/>
                <a:gd name="T47" fmla="*/ 2625 h 2625"/>
                <a:gd name="T48" fmla="*/ 1151 w 3082"/>
                <a:gd name="T49" fmla="*/ 2177 h 2625"/>
                <a:gd name="T50" fmla="*/ 1200 w 3082"/>
                <a:gd name="T51" fmla="*/ 2104 h 2625"/>
                <a:gd name="T52" fmla="*/ 1429 w 3082"/>
                <a:gd name="T53" fmla="*/ 2214 h 2625"/>
                <a:gd name="T54" fmla="*/ 1980 w 3082"/>
                <a:gd name="T55" fmla="*/ 2526 h 2625"/>
                <a:gd name="T56" fmla="*/ 1928 w 3082"/>
                <a:gd name="T57" fmla="*/ 2207 h 2625"/>
                <a:gd name="T58" fmla="*/ 2141 w 3082"/>
                <a:gd name="T59" fmla="*/ 2491 h 2625"/>
                <a:gd name="T60" fmla="*/ 1928 w 3082"/>
                <a:gd name="T61" fmla="*/ 2207 h 2625"/>
                <a:gd name="T62" fmla="*/ 2436 w 3082"/>
                <a:gd name="T63" fmla="*/ 2096 h 2625"/>
                <a:gd name="T64" fmla="*/ 2188 w 3082"/>
                <a:gd name="T65" fmla="*/ 2624 h 2625"/>
                <a:gd name="T66" fmla="*/ 2236 w 3082"/>
                <a:gd name="T67" fmla="*/ 2169 h 2625"/>
                <a:gd name="T68" fmla="*/ 2314 w 3082"/>
                <a:gd name="T69" fmla="*/ 2123 h 2625"/>
                <a:gd name="T70" fmla="*/ 1320 w 3082"/>
                <a:gd name="T71" fmla="*/ 177 h 2625"/>
                <a:gd name="T72" fmla="*/ 1094 w 3082"/>
                <a:gd name="T73" fmla="*/ 230 h 2625"/>
                <a:gd name="T74" fmla="*/ 1361 w 3082"/>
                <a:gd name="T75" fmla="*/ 54 h 2625"/>
                <a:gd name="T76" fmla="*/ 1345 w 3082"/>
                <a:gd name="T77" fmla="*/ 391 h 2625"/>
                <a:gd name="T78" fmla="*/ 1007 w 3082"/>
                <a:gd name="T79" fmla="*/ 313 h 2625"/>
                <a:gd name="T80" fmla="*/ 1174 w 3082"/>
                <a:gd name="T81" fmla="*/ 2 h 2625"/>
                <a:gd name="T82" fmla="*/ 1786 w 3082"/>
                <a:gd name="T83" fmla="*/ 89 h 2625"/>
                <a:gd name="T84" fmla="*/ 1490 w 3082"/>
                <a:gd name="T85" fmla="*/ 99 h 2625"/>
                <a:gd name="T86" fmla="*/ 2149 w 3082"/>
                <a:gd name="T87" fmla="*/ 9 h 2625"/>
                <a:gd name="T88" fmla="*/ 908 w 3082"/>
                <a:gd name="T89" fmla="*/ 365 h 2625"/>
                <a:gd name="T90" fmla="*/ 816 w 3082"/>
                <a:gd name="T91" fmla="*/ 336 h 2625"/>
                <a:gd name="T92" fmla="*/ 2672 w 3082"/>
                <a:gd name="T93" fmla="*/ 1878 h 2625"/>
                <a:gd name="T94" fmla="*/ 1737 w 3082"/>
                <a:gd name="T95" fmla="*/ 1879 h 2625"/>
                <a:gd name="T96" fmla="*/ 2104 w 3082"/>
                <a:gd name="T97" fmla="*/ 1888 h 2625"/>
                <a:gd name="T98" fmla="*/ 2174 w 3082"/>
                <a:gd name="T99" fmla="*/ 1888 h 2625"/>
                <a:gd name="T100" fmla="*/ 2719 w 3082"/>
                <a:gd name="T101" fmla="*/ 1481 h 2625"/>
                <a:gd name="T102" fmla="*/ 333 w 3082"/>
                <a:gd name="T103" fmla="*/ 1634 h 2625"/>
                <a:gd name="T104" fmla="*/ 110 w 3082"/>
                <a:gd name="T105" fmla="*/ 1707 h 2625"/>
                <a:gd name="T106" fmla="*/ 383 w 3082"/>
                <a:gd name="T107" fmla="*/ 1524 h 2625"/>
                <a:gd name="T108" fmla="*/ 351 w 3082"/>
                <a:gd name="T109" fmla="*/ 1860 h 2625"/>
                <a:gd name="T110" fmla="*/ 17 w 3082"/>
                <a:gd name="T111" fmla="*/ 1766 h 2625"/>
                <a:gd name="T112" fmla="*/ 200 w 3082"/>
                <a:gd name="T113" fmla="*/ 1464 h 2625"/>
                <a:gd name="T114" fmla="*/ 974 w 3082"/>
                <a:gd name="T115" fmla="*/ 1638 h 2625"/>
                <a:gd name="T116" fmla="*/ 1221 w 3082"/>
                <a:gd name="T117" fmla="*/ 1494 h 2625"/>
                <a:gd name="T118" fmla="*/ 1083 w 3082"/>
                <a:gd name="T119" fmla="*/ 1612 h 2625"/>
                <a:gd name="T120" fmla="*/ 1173 w 3082"/>
                <a:gd name="T121" fmla="*/ 1878 h 2625"/>
                <a:gd name="T122" fmla="*/ 1067 w 3082"/>
                <a:gd name="T123" fmla="*/ 1808 h 2625"/>
                <a:gd name="T124" fmla="*/ 777 w 3082"/>
                <a:gd name="T125" fmla="*/ 1480 h 26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082" h="2625">
                  <a:moveTo>
                    <a:pt x="1319" y="1480"/>
                  </a:moveTo>
                  <a:lnTo>
                    <a:pt x="1319" y="1478"/>
                  </a:lnTo>
                  <a:lnTo>
                    <a:pt x="1320" y="1476"/>
                  </a:lnTo>
                  <a:lnTo>
                    <a:pt x="1322" y="1473"/>
                  </a:lnTo>
                  <a:lnTo>
                    <a:pt x="1323" y="1472"/>
                  </a:lnTo>
                  <a:lnTo>
                    <a:pt x="1325" y="1471"/>
                  </a:lnTo>
                  <a:lnTo>
                    <a:pt x="1329" y="1470"/>
                  </a:lnTo>
                  <a:lnTo>
                    <a:pt x="1411" y="1470"/>
                  </a:lnTo>
                  <a:lnTo>
                    <a:pt x="1415" y="1471"/>
                  </a:lnTo>
                  <a:lnTo>
                    <a:pt x="1419" y="1473"/>
                  </a:lnTo>
                  <a:lnTo>
                    <a:pt x="1420" y="1474"/>
                  </a:lnTo>
                  <a:lnTo>
                    <a:pt x="1421" y="1476"/>
                  </a:lnTo>
                  <a:lnTo>
                    <a:pt x="1421" y="1478"/>
                  </a:lnTo>
                  <a:lnTo>
                    <a:pt x="1421" y="1480"/>
                  </a:lnTo>
                  <a:lnTo>
                    <a:pt x="1421" y="1879"/>
                  </a:lnTo>
                  <a:lnTo>
                    <a:pt x="1421" y="1881"/>
                  </a:lnTo>
                  <a:lnTo>
                    <a:pt x="1421" y="1883"/>
                  </a:lnTo>
                  <a:lnTo>
                    <a:pt x="1419" y="1886"/>
                  </a:lnTo>
                  <a:lnTo>
                    <a:pt x="1417" y="1887"/>
                  </a:lnTo>
                  <a:lnTo>
                    <a:pt x="1415" y="1888"/>
                  </a:lnTo>
                  <a:lnTo>
                    <a:pt x="1411" y="1889"/>
                  </a:lnTo>
                  <a:lnTo>
                    <a:pt x="1329" y="1889"/>
                  </a:lnTo>
                  <a:lnTo>
                    <a:pt x="1325" y="1888"/>
                  </a:lnTo>
                  <a:lnTo>
                    <a:pt x="1322" y="1886"/>
                  </a:lnTo>
                  <a:lnTo>
                    <a:pt x="1321" y="1885"/>
                  </a:lnTo>
                  <a:lnTo>
                    <a:pt x="1320" y="1883"/>
                  </a:lnTo>
                  <a:lnTo>
                    <a:pt x="1319" y="1881"/>
                  </a:lnTo>
                  <a:lnTo>
                    <a:pt x="1319" y="1879"/>
                  </a:lnTo>
                  <a:lnTo>
                    <a:pt x="1319" y="1480"/>
                  </a:lnTo>
                  <a:close/>
                  <a:moveTo>
                    <a:pt x="2184" y="729"/>
                  </a:moveTo>
                  <a:lnTo>
                    <a:pt x="2195" y="729"/>
                  </a:lnTo>
                  <a:lnTo>
                    <a:pt x="2206" y="730"/>
                  </a:lnTo>
                  <a:lnTo>
                    <a:pt x="2217" y="731"/>
                  </a:lnTo>
                  <a:lnTo>
                    <a:pt x="2227" y="733"/>
                  </a:lnTo>
                  <a:lnTo>
                    <a:pt x="2237" y="735"/>
                  </a:lnTo>
                  <a:lnTo>
                    <a:pt x="2246" y="737"/>
                  </a:lnTo>
                  <a:lnTo>
                    <a:pt x="2253" y="739"/>
                  </a:lnTo>
                  <a:lnTo>
                    <a:pt x="2259" y="741"/>
                  </a:lnTo>
                  <a:lnTo>
                    <a:pt x="2262" y="742"/>
                  </a:lnTo>
                  <a:lnTo>
                    <a:pt x="2264" y="744"/>
                  </a:lnTo>
                  <a:lnTo>
                    <a:pt x="2265" y="745"/>
                  </a:lnTo>
                  <a:lnTo>
                    <a:pt x="2266" y="747"/>
                  </a:lnTo>
                  <a:lnTo>
                    <a:pt x="2267" y="749"/>
                  </a:lnTo>
                  <a:lnTo>
                    <a:pt x="2267" y="752"/>
                  </a:lnTo>
                  <a:lnTo>
                    <a:pt x="2267" y="757"/>
                  </a:lnTo>
                  <a:lnTo>
                    <a:pt x="2248" y="818"/>
                  </a:lnTo>
                  <a:lnTo>
                    <a:pt x="2247" y="821"/>
                  </a:lnTo>
                  <a:lnTo>
                    <a:pt x="2246" y="823"/>
                  </a:lnTo>
                  <a:lnTo>
                    <a:pt x="2245" y="825"/>
                  </a:lnTo>
                  <a:lnTo>
                    <a:pt x="2243" y="826"/>
                  </a:lnTo>
                  <a:lnTo>
                    <a:pt x="2241" y="827"/>
                  </a:lnTo>
                  <a:lnTo>
                    <a:pt x="2239" y="827"/>
                  </a:lnTo>
                  <a:lnTo>
                    <a:pt x="2233" y="827"/>
                  </a:lnTo>
                  <a:lnTo>
                    <a:pt x="2223" y="823"/>
                  </a:lnTo>
                  <a:lnTo>
                    <a:pt x="2213" y="821"/>
                  </a:lnTo>
                  <a:lnTo>
                    <a:pt x="2204" y="819"/>
                  </a:lnTo>
                  <a:lnTo>
                    <a:pt x="2194" y="818"/>
                  </a:lnTo>
                  <a:lnTo>
                    <a:pt x="2188" y="819"/>
                  </a:lnTo>
                  <a:lnTo>
                    <a:pt x="2185" y="819"/>
                  </a:lnTo>
                  <a:lnTo>
                    <a:pt x="2182" y="820"/>
                  </a:lnTo>
                  <a:lnTo>
                    <a:pt x="2180" y="821"/>
                  </a:lnTo>
                  <a:lnTo>
                    <a:pt x="2177" y="823"/>
                  </a:lnTo>
                  <a:lnTo>
                    <a:pt x="2173" y="826"/>
                  </a:lnTo>
                  <a:lnTo>
                    <a:pt x="2170" y="829"/>
                  </a:lnTo>
                  <a:lnTo>
                    <a:pt x="2169" y="831"/>
                  </a:lnTo>
                  <a:lnTo>
                    <a:pt x="2168" y="834"/>
                  </a:lnTo>
                  <a:lnTo>
                    <a:pt x="2166" y="839"/>
                  </a:lnTo>
                  <a:lnTo>
                    <a:pt x="2166" y="844"/>
                  </a:lnTo>
                  <a:lnTo>
                    <a:pt x="2167" y="850"/>
                  </a:lnTo>
                  <a:lnTo>
                    <a:pt x="2168" y="856"/>
                  </a:lnTo>
                  <a:lnTo>
                    <a:pt x="2171" y="862"/>
                  </a:lnTo>
                  <a:lnTo>
                    <a:pt x="2175" y="867"/>
                  </a:lnTo>
                  <a:lnTo>
                    <a:pt x="2179" y="872"/>
                  </a:lnTo>
                  <a:lnTo>
                    <a:pt x="2184" y="878"/>
                  </a:lnTo>
                  <a:lnTo>
                    <a:pt x="2195" y="890"/>
                  </a:lnTo>
                  <a:lnTo>
                    <a:pt x="2228" y="927"/>
                  </a:lnTo>
                  <a:lnTo>
                    <a:pt x="2238" y="938"/>
                  </a:lnTo>
                  <a:lnTo>
                    <a:pt x="2248" y="950"/>
                  </a:lnTo>
                  <a:lnTo>
                    <a:pt x="2257" y="963"/>
                  </a:lnTo>
                  <a:lnTo>
                    <a:pt x="2266" y="977"/>
                  </a:lnTo>
                  <a:lnTo>
                    <a:pt x="2270" y="985"/>
                  </a:lnTo>
                  <a:lnTo>
                    <a:pt x="2273" y="992"/>
                  </a:lnTo>
                  <a:lnTo>
                    <a:pt x="2276" y="1000"/>
                  </a:lnTo>
                  <a:lnTo>
                    <a:pt x="2279" y="1007"/>
                  </a:lnTo>
                  <a:lnTo>
                    <a:pt x="2281" y="1015"/>
                  </a:lnTo>
                  <a:lnTo>
                    <a:pt x="2282" y="1023"/>
                  </a:lnTo>
                  <a:lnTo>
                    <a:pt x="2283" y="1031"/>
                  </a:lnTo>
                  <a:lnTo>
                    <a:pt x="2284" y="1039"/>
                  </a:lnTo>
                  <a:lnTo>
                    <a:pt x="2284" y="1047"/>
                  </a:lnTo>
                  <a:lnTo>
                    <a:pt x="2283" y="1054"/>
                  </a:lnTo>
                  <a:lnTo>
                    <a:pt x="2282" y="1061"/>
                  </a:lnTo>
                  <a:lnTo>
                    <a:pt x="2281" y="1068"/>
                  </a:lnTo>
                  <a:lnTo>
                    <a:pt x="2280" y="1075"/>
                  </a:lnTo>
                  <a:lnTo>
                    <a:pt x="2278" y="1081"/>
                  </a:lnTo>
                  <a:lnTo>
                    <a:pt x="2274" y="1093"/>
                  </a:lnTo>
                  <a:lnTo>
                    <a:pt x="2268" y="1104"/>
                  </a:lnTo>
                  <a:lnTo>
                    <a:pt x="2265" y="1109"/>
                  </a:lnTo>
                  <a:lnTo>
                    <a:pt x="2262" y="1114"/>
                  </a:lnTo>
                  <a:lnTo>
                    <a:pt x="2258" y="1119"/>
                  </a:lnTo>
                  <a:lnTo>
                    <a:pt x="2255" y="1123"/>
                  </a:lnTo>
                  <a:lnTo>
                    <a:pt x="2246" y="1131"/>
                  </a:lnTo>
                  <a:lnTo>
                    <a:pt x="2237" y="1139"/>
                  </a:lnTo>
                  <a:lnTo>
                    <a:pt x="2227" y="1145"/>
                  </a:lnTo>
                  <a:lnTo>
                    <a:pt x="2217" y="1150"/>
                  </a:lnTo>
                  <a:lnTo>
                    <a:pt x="2205" y="1154"/>
                  </a:lnTo>
                  <a:lnTo>
                    <a:pt x="2193" y="1158"/>
                  </a:lnTo>
                  <a:lnTo>
                    <a:pt x="2187" y="1159"/>
                  </a:lnTo>
                  <a:lnTo>
                    <a:pt x="2181" y="1160"/>
                  </a:lnTo>
                  <a:lnTo>
                    <a:pt x="2168" y="1161"/>
                  </a:lnTo>
                  <a:lnTo>
                    <a:pt x="2155" y="1162"/>
                  </a:lnTo>
                  <a:lnTo>
                    <a:pt x="2143" y="1162"/>
                  </a:lnTo>
                  <a:lnTo>
                    <a:pt x="2131" y="1161"/>
                  </a:lnTo>
                  <a:lnTo>
                    <a:pt x="2118" y="1159"/>
                  </a:lnTo>
                  <a:lnTo>
                    <a:pt x="2106" y="1157"/>
                  </a:lnTo>
                  <a:lnTo>
                    <a:pt x="2094" y="1154"/>
                  </a:lnTo>
                  <a:lnTo>
                    <a:pt x="2083" y="1151"/>
                  </a:lnTo>
                  <a:lnTo>
                    <a:pt x="2073" y="1148"/>
                  </a:lnTo>
                  <a:lnTo>
                    <a:pt x="2064" y="1144"/>
                  </a:lnTo>
                  <a:lnTo>
                    <a:pt x="2062" y="1143"/>
                  </a:lnTo>
                  <a:lnTo>
                    <a:pt x="2059" y="1141"/>
                  </a:lnTo>
                  <a:lnTo>
                    <a:pt x="2058" y="1140"/>
                  </a:lnTo>
                  <a:lnTo>
                    <a:pt x="2057" y="1138"/>
                  </a:lnTo>
                  <a:lnTo>
                    <a:pt x="2057" y="1136"/>
                  </a:lnTo>
                  <a:lnTo>
                    <a:pt x="2056" y="1134"/>
                  </a:lnTo>
                  <a:lnTo>
                    <a:pt x="2057" y="1131"/>
                  </a:lnTo>
                  <a:lnTo>
                    <a:pt x="2077" y="1065"/>
                  </a:lnTo>
                  <a:lnTo>
                    <a:pt x="2078" y="1062"/>
                  </a:lnTo>
                  <a:lnTo>
                    <a:pt x="2079" y="1060"/>
                  </a:lnTo>
                  <a:lnTo>
                    <a:pt x="2080" y="1058"/>
                  </a:lnTo>
                  <a:lnTo>
                    <a:pt x="2082" y="1057"/>
                  </a:lnTo>
                  <a:lnTo>
                    <a:pt x="2084" y="1057"/>
                  </a:lnTo>
                  <a:lnTo>
                    <a:pt x="2086" y="1057"/>
                  </a:lnTo>
                  <a:lnTo>
                    <a:pt x="2088" y="1057"/>
                  </a:lnTo>
                  <a:lnTo>
                    <a:pt x="2091" y="1058"/>
                  </a:lnTo>
                  <a:lnTo>
                    <a:pt x="2098" y="1062"/>
                  </a:lnTo>
                  <a:lnTo>
                    <a:pt x="2106" y="1064"/>
                  </a:lnTo>
                  <a:lnTo>
                    <a:pt x="2113" y="1067"/>
                  </a:lnTo>
                  <a:lnTo>
                    <a:pt x="2120" y="1069"/>
                  </a:lnTo>
                  <a:lnTo>
                    <a:pt x="2128" y="1070"/>
                  </a:lnTo>
                  <a:lnTo>
                    <a:pt x="2135" y="1071"/>
                  </a:lnTo>
                  <a:lnTo>
                    <a:pt x="2142" y="1072"/>
                  </a:lnTo>
                  <a:lnTo>
                    <a:pt x="2148" y="1072"/>
                  </a:lnTo>
                  <a:lnTo>
                    <a:pt x="2157" y="1071"/>
                  </a:lnTo>
                  <a:lnTo>
                    <a:pt x="2161" y="1071"/>
                  </a:lnTo>
                  <a:lnTo>
                    <a:pt x="2165" y="1070"/>
                  </a:lnTo>
                  <a:lnTo>
                    <a:pt x="2171" y="1067"/>
                  </a:lnTo>
                  <a:lnTo>
                    <a:pt x="2176" y="1064"/>
                  </a:lnTo>
                  <a:lnTo>
                    <a:pt x="2180" y="1060"/>
                  </a:lnTo>
                  <a:lnTo>
                    <a:pt x="2182" y="1057"/>
                  </a:lnTo>
                  <a:lnTo>
                    <a:pt x="2183" y="1055"/>
                  </a:lnTo>
                  <a:lnTo>
                    <a:pt x="2185" y="1049"/>
                  </a:lnTo>
                  <a:lnTo>
                    <a:pt x="2186" y="1042"/>
                  </a:lnTo>
                  <a:lnTo>
                    <a:pt x="2185" y="1037"/>
                  </a:lnTo>
                  <a:lnTo>
                    <a:pt x="2184" y="1031"/>
                  </a:lnTo>
                  <a:lnTo>
                    <a:pt x="2181" y="1025"/>
                  </a:lnTo>
                  <a:lnTo>
                    <a:pt x="2178" y="1020"/>
                  </a:lnTo>
                  <a:lnTo>
                    <a:pt x="2175" y="1014"/>
                  </a:lnTo>
                  <a:lnTo>
                    <a:pt x="2170" y="1008"/>
                  </a:lnTo>
                  <a:lnTo>
                    <a:pt x="2161" y="997"/>
                  </a:lnTo>
                  <a:lnTo>
                    <a:pt x="2128" y="961"/>
                  </a:lnTo>
                  <a:lnTo>
                    <a:pt x="2116" y="948"/>
                  </a:lnTo>
                  <a:lnTo>
                    <a:pt x="2106" y="935"/>
                  </a:lnTo>
                  <a:lnTo>
                    <a:pt x="2095" y="922"/>
                  </a:lnTo>
                  <a:lnTo>
                    <a:pt x="2091" y="915"/>
                  </a:lnTo>
                  <a:lnTo>
                    <a:pt x="2086" y="908"/>
                  </a:lnTo>
                  <a:lnTo>
                    <a:pt x="2082" y="900"/>
                  </a:lnTo>
                  <a:lnTo>
                    <a:pt x="2079" y="893"/>
                  </a:lnTo>
                  <a:lnTo>
                    <a:pt x="2076" y="885"/>
                  </a:lnTo>
                  <a:lnTo>
                    <a:pt x="2073" y="877"/>
                  </a:lnTo>
                  <a:lnTo>
                    <a:pt x="2071" y="868"/>
                  </a:lnTo>
                  <a:lnTo>
                    <a:pt x="2070" y="864"/>
                  </a:lnTo>
                  <a:lnTo>
                    <a:pt x="2069" y="859"/>
                  </a:lnTo>
                  <a:lnTo>
                    <a:pt x="2068" y="850"/>
                  </a:lnTo>
                  <a:lnTo>
                    <a:pt x="2068" y="841"/>
                  </a:lnTo>
                  <a:lnTo>
                    <a:pt x="2068" y="829"/>
                  </a:lnTo>
                  <a:lnTo>
                    <a:pt x="2070" y="817"/>
                  </a:lnTo>
                  <a:lnTo>
                    <a:pt x="2073" y="806"/>
                  </a:lnTo>
                  <a:lnTo>
                    <a:pt x="2077" y="795"/>
                  </a:lnTo>
                  <a:lnTo>
                    <a:pt x="2081" y="785"/>
                  </a:lnTo>
                  <a:lnTo>
                    <a:pt x="2087" y="776"/>
                  </a:lnTo>
                  <a:lnTo>
                    <a:pt x="2094" y="768"/>
                  </a:lnTo>
                  <a:lnTo>
                    <a:pt x="2101" y="760"/>
                  </a:lnTo>
                  <a:lnTo>
                    <a:pt x="2105" y="756"/>
                  </a:lnTo>
                  <a:lnTo>
                    <a:pt x="2109" y="753"/>
                  </a:lnTo>
                  <a:lnTo>
                    <a:pt x="2118" y="747"/>
                  </a:lnTo>
                  <a:lnTo>
                    <a:pt x="2123" y="744"/>
                  </a:lnTo>
                  <a:lnTo>
                    <a:pt x="2128" y="741"/>
                  </a:lnTo>
                  <a:lnTo>
                    <a:pt x="2138" y="737"/>
                  </a:lnTo>
                  <a:lnTo>
                    <a:pt x="2148" y="734"/>
                  </a:lnTo>
                  <a:lnTo>
                    <a:pt x="2160" y="731"/>
                  </a:lnTo>
                  <a:lnTo>
                    <a:pt x="2166" y="730"/>
                  </a:lnTo>
                  <a:lnTo>
                    <a:pt x="2172" y="730"/>
                  </a:lnTo>
                  <a:lnTo>
                    <a:pt x="2184" y="729"/>
                  </a:lnTo>
                  <a:close/>
                  <a:moveTo>
                    <a:pt x="2472" y="729"/>
                  </a:moveTo>
                  <a:lnTo>
                    <a:pt x="2483" y="729"/>
                  </a:lnTo>
                  <a:lnTo>
                    <a:pt x="2495" y="730"/>
                  </a:lnTo>
                  <a:lnTo>
                    <a:pt x="2505" y="731"/>
                  </a:lnTo>
                  <a:lnTo>
                    <a:pt x="2516" y="733"/>
                  </a:lnTo>
                  <a:lnTo>
                    <a:pt x="2525" y="735"/>
                  </a:lnTo>
                  <a:lnTo>
                    <a:pt x="2534" y="737"/>
                  </a:lnTo>
                  <a:lnTo>
                    <a:pt x="2542" y="739"/>
                  </a:lnTo>
                  <a:lnTo>
                    <a:pt x="2548" y="741"/>
                  </a:lnTo>
                  <a:lnTo>
                    <a:pt x="2550" y="742"/>
                  </a:lnTo>
                  <a:lnTo>
                    <a:pt x="2552" y="744"/>
                  </a:lnTo>
                  <a:lnTo>
                    <a:pt x="2554" y="745"/>
                  </a:lnTo>
                  <a:lnTo>
                    <a:pt x="2555" y="747"/>
                  </a:lnTo>
                  <a:lnTo>
                    <a:pt x="2555" y="749"/>
                  </a:lnTo>
                  <a:lnTo>
                    <a:pt x="2556" y="752"/>
                  </a:lnTo>
                  <a:lnTo>
                    <a:pt x="2555" y="757"/>
                  </a:lnTo>
                  <a:lnTo>
                    <a:pt x="2537" y="818"/>
                  </a:lnTo>
                  <a:lnTo>
                    <a:pt x="2536" y="821"/>
                  </a:lnTo>
                  <a:lnTo>
                    <a:pt x="2534" y="823"/>
                  </a:lnTo>
                  <a:lnTo>
                    <a:pt x="2533" y="825"/>
                  </a:lnTo>
                  <a:lnTo>
                    <a:pt x="2531" y="826"/>
                  </a:lnTo>
                  <a:lnTo>
                    <a:pt x="2529" y="827"/>
                  </a:lnTo>
                  <a:lnTo>
                    <a:pt x="2527" y="827"/>
                  </a:lnTo>
                  <a:lnTo>
                    <a:pt x="2522" y="827"/>
                  </a:lnTo>
                  <a:lnTo>
                    <a:pt x="2511" y="823"/>
                  </a:lnTo>
                  <a:lnTo>
                    <a:pt x="2501" y="821"/>
                  </a:lnTo>
                  <a:lnTo>
                    <a:pt x="2492" y="819"/>
                  </a:lnTo>
                  <a:lnTo>
                    <a:pt x="2483" y="818"/>
                  </a:lnTo>
                  <a:lnTo>
                    <a:pt x="2476" y="819"/>
                  </a:lnTo>
                  <a:lnTo>
                    <a:pt x="2473" y="819"/>
                  </a:lnTo>
                  <a:lnTo>
                    <a:pt x="2471" y="820"/>
                  </a:lnTo>
                  <a:lnTo>
                    <a:pt x="2468" y="821"/>
                  </a:lnTo>
                  <a:lnTo>
                    <a:pt x="2466" y="823"/>
                  </a:lnTo>
                  <a:lnTo>
                    <a:pt x="2462" y="826"/>
                  </a:lnTo>
                  <a:lnTo>
                    <a:pt x="2459" y="829"/>
                  </a:lnTo>
                  <a:lnTo>
                    <a:pt x="2457" y="831"/>
                  </a:lnTo>
                  <a:lnTo>
                    <a:pt x="2456" y="834"/>
                  </a:lnTo>
                  <a:lnTo>
                    <a:pt x="2455" y="839"/>
                  </a:lnTo>
                  <a:lnTo>
                    <a:pt x="2454" y="844"/>
                  </a:lnTo>
                  <a:lnTo>
                    <a:pt x="2455" y="850"/>
                  </a:lnTo>
                  <a:lnTo>
                    <a:pt x="2457" y="856"/>
                  </a:lnTo>
                  <a:lnTo>
                    <a:pt x="2459" y="862"/>
                  </a:lnTo>
                  <a:lnTo>
                    <a:pt x="2463" y="867"/>
                  </a:lnTo>
                  <a:lnTo>
                    <a:pt x="2467" y="872"/>
                  </a:lnTo>
                  <a:lnTo>
                    <a:pt x="2472" y="878"/>
                  </a:lnTo>
                  <a:lnTo>
                    <a:pt x="2483" y="890"/>
                  </a:lnTo>
                  <a:lnTo>
                    <a:pt x="2516" y="927"/>
                  </a:lnTo>
                  <a:lnTo>
                    <a:pt x="2526" y="938"/>
                  </a:lnTo>
                  <a:lnTo>
                    <a:pt x="2536" y="950"/>
                  </a:lnTo>
                  <a:lnTo>
                    <a:pt x="2546" y="963"/>
                  </a:lnTo>
                  <a:lnTo>
                    <a:pt x="2554" y="977"/>
                  </a:lnTo>
                  <a:lnTo>
                    <a:pt x="2558" y="985"/>
                  </a:lnTo>
                  <a:lnTo>
                    <a:pt x="2561" y="992"/>
                  </a:lnTo>
                  <a:lnTo>
                    <a:pt x="2564" y="1000"/>
                  </a:lnTo>
                  <a:lnTo>
                    <a:pt x="2567" y="1007"/>
                  </a:lnTo>
                  <a:lnTo>
                    <a:pt x="2569" y="1015"/>
                  </a:lnTo>
                  <a:lnTo>
                    <a:pt x="2571" y="1023"/>
                  </a:lnTo>
                  <a:lnTo>
                    <a:pt x="2572" y="1031"/>
                  </a:lnTo>
                  <a:lnTo>
                    <a:pt x="2572" y="1039"/>
                  </a:lnTo>
                  <a:lnTo>
                    <a:pt x="2572" y="1047"/>
                  </a:lnTo>
                  <a:lnTo>
                    <a:pt x="2571" y="1054"/>
                  </a:lnTo>
                  <a:lnTo>
                    <a:pt x="2571" y="1061"/>
                  </a:lnTo>
                  <a:lnTo>
                    <a:pt x="2569" y="1068"/>
                  </a:lnTo>
                  <a:lnTo>
                    <a:pt x="2568" y="1075"/>
                  </a:lnTo>
                  <a:lnTo>
                    <a:pt x="2566" y="1081"/>
                  </a:lnTo>
                  <a:lnTo>
                    <a:pt x="2562" y="1093"/>
                  </a:lnTo>
                  <a:lnTo>
                    <a:pt x="2557" y="1104"/>
                  </a:lnTo>
                  <a:lnTo>
                    <a:pt x="2554" y="1109"/>
                  </a:lnTo>
                  <a:lnTo>
                    <a:pt x="2550" y="1114"/>
                  </a:lnTo>
                  <a:lnTo>
                    <a:pt x="2547" y="1119"/>
                  </a:lnTo>
                  <a:lnTo>
                    <a:pt x="2543" y="1123"/>
                  </a:lnTo>
                  <a:lnTo>
                    <a:pt x="2535" y="1131"/>
                  </a:lnTo>
                  <a:lnTo>
                    <a:pt x="2526" y="1139"/>
                  </a:lnTo>
                  <a:lnTo>
                    <a:pt x="2516" y="1145"/>
                  </a:lnTo>
                  <a:lnTo>
                    <a:pt x="2510" y="1148"/>
                  </a:lnTo>
                  <a:lnTo>
                    <a:pt x="2505" y="1150"/>
                  </a:lnTo>
                  <a:lnTo>
                    <a:pt x="2494" y="1154"/>
                  </a:lnTo>
                  <a:lnTo>
                    <a:pt x="2482" y="1158"/>
                  </a:lnTo>
                  <a:lnTo>
                    <a:pt x="2476" y="1159"/>
                  </a:lnTo>
                  <a:lnTo>
                    <a:pt x="2469" y="1160"/>
                  </a:lnTo>
                  <a:lnTo>
                    <a:pt x="2456" y="1161"/>
                  </a:lnTo>
                  <a:lnTo>
                    <a:pt x="2443" y="1162"/>
                  </a:lnTo>
                  <a:lnTo>
                    <a:pt x="2431" y="1162"/>
                  </a:lnTo>
                  <a:lnTo>
                    <a:pt x="2419" y="1161"/>
                  </a:lnTo>
                  <a:lnTo>
                    <a:pt x="2407" y="1159"/>
                  </a:lnTo>
                  <a:lnTo>
                    <a:pt x="2395" y="1157"/>
                  </a:lnTo>
                  <a:lnTo>
                    <a:pt x="2383" y="1154"/>
                  </a:lnTo>
                  <a:lnTo>
                    <a:pt x="2372" y="1151"/>
                  </a:lnTo>
                  <a:lnTo>
                    <a:pt x="2362" y="1148"/>
                  </a:lnTo>
                  <a:lnTo>
                    <a:pt x="2353" y="1144"/>
                  </a:lnTo>
                  <a:lnTo>
                    <a:pt x="2350" y="1143"/>
                  </a:lnTo>
                  <a:lnTo>
                    <a:pt x="2348" y="1141"/>
                  </a:lnTo>
                  <a:lnTo>
                    <a:pt x="2346" y="1140"/>
                  </a:lnTo>
                  <a:lnTo>
                    <a:pt x="2345" y="1138"/>
                  </a:lnTo>
                  <a:lnTo>
                    <a:pt x="2345" y="1136"/>
                  </a:lnTo>
                  <a:lnTo>
                    <a:pt x="2345" y="1134"/>
                  </a:lnTo>
                  <a:lnTo>
                    <a:pt x="2346" y="1131"/>
                  </a:lnTo>
                  <a:lnTo>
                    <a:pt x="2365" y="1065"/>
                  </a:lnTo>
                  <a:lnTo>
                    <a:pt x="2366" y="1062"/>
                  </a:lnTo>
                  <a:lnTo>
                    <a:pt x="2367" y="1060"/>
                  </a:lnTo>
                  <a:lnTo>
                    <a:pt x="2369" y="1058"/>
                  </a:lnTo>
                  <a:lnTo>
                    <a:pt x="2370" y="1057"/>
                  </a:lnTo>
                  <a:lnTo>
                    <a:pt x="2372" y="1057"/>
                  </a:lnTo>
                  <a:lnTo>
                    <a:pt x="2374" y="1057"/>
                  </a:lnTo>
                  <a:lnTo>
                    <a:pt x="2377" y="1057"/>
                  </a:lnTo>
                  <a:lnTo>
                    <a:pt x="2379" y="1058"/>
                  </a:lnTo>
                  <a:lnTo>
                    <a:pt x="2387" y="1062"/>
                  </a:lnTo>
                  <a:lnTo>
                    <a:pt x="2394" y="1064"/>
                  </a:lnTo>
                  <a:lnTo>
                    <a:pt x="2401" y="1067"/>
                  </a:lnTo>
                  <a:lnTo>
                    <a:pt x="2409" y="1069"/>
                  </a:lnTo>
                  <a:lnTo>
                    <a:pt x="2416" y="1070"/>
                  </a:lnTo>
                  <a:lnTo>
                    <a:pt x="2423" y="1071"/>
                  </a:lnTo>
                  <a:lnTo>
                    <a:pt x="2430" y="1072"/>
                  </a:lnTo>
                  <a:lnTo>
                    <a:pt x="2437" y="1072"/>
                  </a:lnTo>
                  <a:lnTo>
                    <a:pt x="2446" y="1071"/>
                  </a:lnTo>
                  <a:lnTo>
                    <a:pt x="2449" y="1071"/>
                  </a:lnTo>
                  <a:lnTo>
                    <a:pt x="2453" y="1070"/>
                  </a:lnTo>
                  <a:lnTo>
                    <a:pt x="2460" y="1067"/>
                  </a:lnTo>
                  <a:lnTo>
                    <a:pt x="2465" y="1064"/>
                  </a:lnTo>
                  <a:lnTo>
                    <a:pt x="2469" y="1060"/>
                  </a:lnTo>
                  <a:lnTo>
                    <a:pt x="2470" y="1057"/>
                  </a:lnTo>
                  <a:lnTo>
                    <a:pt x="2472" y="1055"/>
                  </a:lnTo>
                  <a:lnTo>
                    <a:pt x="2473" y="1049"/>
                  </a:lnTo>
                  <a:lnTo>
                    <a:pt x="2474" y="1042"/>
                  </a:lnTo>
                  <a:lnTo>
                    <a:pt x="2473" y="1037"/>
                  </a:lnTo>
                  <a:lnTo>
                    <a:pt x="2472" y="1031"/>
                  </a:lnTo>
                  <a:lnTo>
                    <a:pt x="2470" y="1025"/>
                  </a:lnTo>
                  <a:lnTo>
                    <a:pt x="2467" y="1020"/>
                  </a:lnTo>
                  <a:lnTo>
                    <a:pt x="2463" y="1014"/>
                  </a:lnTo>
                  <a:lnTo>
                    <a:pt x="2459" y="1008"/>
                  </a:lnTo>
                  <a:lnTo>
                    <a:pt x="2449" y="997"/>
                  </a:lnTo>
                  <a:lnTo>
                    <a:pt x="2416" y="961"/>
                  </a:lnTo>
                  <a:lnTo>
                    <a:pt x="2405" y="948"/>
                  </a:lnTo>
                  <a:lnTo>
                    <a:pt x="2394" y="935"/>
                  </a:lnTo>
                  <a:lnTo>
                    <a:pt x="2384" y="922"/>
                  </a:lnTo>
                  <a:lnTo>
                    <a:pt x="2379" y="915"/>
                  </a:lnTo>
                  <a:lnTo>
                    <a:pt x="2375" y="908"/>
                  </a:lnTo>
                  <a:lnTo>
                    <a:pt x="2371" y="900"/>
                  </a:lnTo>
                  <a:lnTo>
                    <a:pt x="2367" y="893"/>
                  </a:lnTo>
                  <a:lnTo>
                    <a:pt x="2364" y="885"/>
                  </a:lnTo>
                  <a:lnTo>
                    <a:pt x="2361" y="877"/>
                  </a:lnTo>
                  <a:lnTo>
                    <a:pt x="2359" y="868"/>
                  </a:lnTo>
                  <a:lnTo>
                    <a:pt x="2358" y="864"/>
                  </a:lnTo>
                  <a:lnTo>
                    <a:pt x="2358" y="859"/>
                  </a:lnTo>
                  <a:lnTo>
                    <a:pt x="2357" y="850"/>
                  </a:lnTo>
                  <a:lnTo>
                    <a:pt x="2356" y="841"/>
                  </a:lnTo>
                  <a:lnTo>
                    <a:pt x="2357" y="829"/>
                  </a:lnTo>
                  <a:lnTo>
                    <a:pt x="2358" y="817"/>
                  </a:lnTo>
                  <a:lnTo>
                    <a:pt x="2361" y="806"/>
                  </a:lnTo>
                  <a:lnTo>
                    <a:pt x="2365" y="795"/>
                  </a:lnTo>
                  <a:lnTo>
                    <a:pt x="2370" y="785"/>
                  </a:lnTo>
                  <a:lnTo>
                    <a:pt x="2375" y="776"/>
                  </a:lnTo>
                  <a:lnTo>
                    <a:pt x="2382" y="768"/>
                  </a:lnTo>
                  <a:lnTo>
                    <a:pt x="2389" y="760"/>
                  </a:lnTo>
                  <a:lnTo>
                    <a:pt x="2393" y="756"/>
                  </a:lnTo>
                  <a:lnTo>
                    <a:pt x="2397" y="753"/>
                  </a:lnTo>
                  <a:lnTo>
                    <a:pt x="2406" y="747"/>
                  </a:lnTo>
                  <a:lnTo>
                    <a:pt x="2411" y="744"/>
                  </a:lnTo>
                  <a:lnTo>
                    <a:pt x="2416" y="741"/>
                  </a:lnTo>
                  <a:lnTo>
                    <a:pt x="2426" y="737"/>
                  </a:lnTo>
                  <a:lnTo>
                    <a:pt x="2437" y="734"/>
                  </a:lnTo>
                  <a:lnTo>
                    <a:pt x="2448" y="731"/>
                  </a:lnTo>
                  <a:lnTo>
                    <a:pt x="2454" y="730"/>
                  </a:lnTo>
                  <a:lnTo>
                    <a:pt x="2460" y="730"/>
                  </a:lnTo>
                  <a:lnTo>
                    <a:pt x="2472" y="729"/>
                  </a:lnTo>
                  <a:close/>
                  <a:moveTo>
                    <a:pt x="633" y="1006"/>
                  </a:moveTo>
                  <a:lnTo>
                    <a:pt x="733" y="1006"/>
                  </a:lnTo>
                  <a:lnTo>
                    <a:pt x="683" y="875"/>
                  </a:lnTo>
                  <a:lnTo>
                    <a:pt x="633" y="1006"/>
                  </a:lnTo>
                  <a:close/>
                  <a:moveTo>
                    <a:pt x="763" y="1088"/>
                  </a:moveTo>
                  <a:lnTo>
                    <a:pt x="603" y="1088"/>
                  </a:lnTo>
                  <a:lnTo>
                    <a:pt x="581" y="1145"/>
                  </a:lnTo>
                  <a:lnTo>
                    <a:pt x="580" y="1148"/>
                  </a:lnTo>
                  <a:lnTo>
                    <a:pt x="579" y="1150"/>
                  </a:lnTo>
                  <a:lnTo>
                    <a:pt x="577" y="1151"/>
                  </a:lnTo>
                  <a:lnTo>
                    <a:pt x="576" y="1153"/>
                  </a:lnTo>
                  <a:lnTo>
                    <a:pt x="572" y="1154"/>
                  </a:lnTo>
                  <a:lnTo>
                    <a:pt x="568" y="1155"/>
                  </a:lnTo>
                  <a:lnTo>
                    <a:pt x="489" y="1155"/>
                  </a:lnTo>
                  <a:lnTo>
                    <a:pt x="486" y="1155"/>
                  </a:lnTo>
                  <a:lnTo>
                    <a:pt x="484" y="1154"/>
                  </a:lnTo>
                  <a:lnTo>
                    <a:pt x="482" y="1153"/>
                  </a:lnTo>
                  <a:lnTo>
                    <a:pt x="481" y="1151"/>
                  </a:lnTo>
                  <a:lnTo>
                    <a:pt x="479" y="1149"/>
                  </a:lnTo>
                  <a:lnTo>
                    <a:pt x="479" y="1147"/>
                  </a:lnTo>
                  <a:lnTo>
                    <a:pt x="479" y="1144"/>
                  </a:lnTo>
                  <a:lnTo>
                    <a:pt x="480" y="1141"/>
                  </a:lnTo>
                  <a:lnTo>
                    <a:pt x="636" y="746"/>
                  </a:lnTo>
                  <a:lnTo>
                    <a:pt x="637" y="743"/>
                  </a:lnTo>
                  <a:lnTo>
                    <a:pt x="638" y="741"/>
                  </a:lnTo>
                  <a:lnTo>
                    <a:pt x="641" y="738"/>
                  </a:lnTo>
                  <a:lnTo>
                    <a:pt x="645" y="737"/>
                  </a:lnTo>
                  <a:lnTo>
                    <a:pt x="647" y="736"/>
                  </a:lnTo>
                  <a:lnTo>
                    <a:pt x="649" y="736"/>
                  </a:lnTo>
                  <a:lnTo>
                    <a:pt x="719" y="736"/>
                  </a:lnTo>
                  <a:lnTo>
                    <a:pt x="724" y="737"/>
                  </a:lnTo>
                  <a:lnTo>
                    <a:pt x="728" y="738"/>
                  </a:lnTo>
                  <a:lnTo>
                    <a:pt x="730" y="741"/>
                  </a:lnTo>
                  <a:lnTo>
                    <a:pt x="732" y="743"/>
                  </a:lnTo>
                  <a:lnTo>
                    <a:pt x="733" y="746"/>
                  </a:lnTo>
                  <a:lnTo>
                    <a:pt x="889" y="1141"/>
                  </a:lnTo>
                  <a:lnTo>
                    <a:pt x="890" y="1144"/>
                  </a:lnTo>
                  <a:lnTo>
                    <a:pt x="890" y="1147"/>
                  </a:lnTo>
                  <a:lnTo>
                    <a:pt x="890" y="1149"/>
                  </a:lnTo>
                  <a:lnTo>
                    <a:pt x="889" y="1151"/>
                  </a:lnTo>
                  <a:lnTo>
                    <a:pt x="887" y="1153"/>
                  </a:lnTo>
                  <a:lnTo>
                    <a:pt x="885" y="1154"/>
                  </a:lnTo>
                  <a:lnTo>
                    <a:pt x="883" y="1155"/>
                  </a:lnTo>
                  <a:lnTo>
                    <a:pt x="880" y="1155"/>
                  </a:lnTo>
                  <a:lnTo>
                    <a:pt x="800" y="1155"/>
                  </a:lnTo>
                  <a:lnTo>
                    <a:pt x="796" y="1154"/>
                  </a:lnTo>
                  <a:lnTo>
                    <a:pt x="794" y="1154"/>
                  </a:lnTo>
                  <a:lnTo>
                    <a:pt x="792" y="1153"/>
                  </a:lnTo>
                  <a:lnTo>
                    <a:pt x="790" y="1151"/>
                  </a:lnTo>
                  <a:lnTo>
                    <a:pt x="788" y="1150"/>
                  </a:lnTo>
                  <a:lnTo>
                    <a:pt x="787" y="1148"/>
                  </a:lnTo>
                  <a:lnTo>
                    <a:pt x="786" y="1145"/>
                  </a:lnTo>
                  <a:lnTo>
                    <a:pt x="763" y="1088"/>
                  </a:lnTo>
                  <a:close/>
                  <a:moveTo>
                    <a:pt x="292" y="912"/>
                  </a:moveTo>
                  <a:lnTo>
                    <a:pt x="428" y="1142"/>
                  </a:lnTo>
                  <a:lnTo>
                    <a:pt x="429" y="1144"/>
                  </a:lnTo>
                  <a:lnTo>
                    <a:pt x="429" y="1146"/>
                  </a:lnTo>
                  <a:lnTo>
                    <a:pt x="429" y="1148"/>
                  </a:lnTo>
                  <a:lnTo>
                    <a:pt x="429" y="1150"/>
                  </a:lnTo>
                  <a:lnTo>
                    <a:pt x="428" y="1152"/>
                  </a:lnTo>
                  <a:lnTo>
                    <a:pt x="426" y="1154"/>
                  </a:lnTo>
                  <a:lnTo>
                    <a:pt x="424" y="1154"/>
                  </a:lnTo>
                  <a:lnTo>
                    <a:pt x="421" y="1155"/>
                  </a:lnTo>
                  <a:lnTo>
                    <a:pt x="325" y="1155"/>
                  </a:lnTo>
                  <a:lnTo>
                    <a:pt x="321" y="1154"/>
                  </a:lnTo>
                  <a:lnTo>
                    <a:pt x="316" y="1152"/>
                  </a:lnTo>
                  <a:lnTo>
                    <a:pt x="315" y="1151"/>
                  </a:lnTo>
                  <a:lnTo>
                    <a:pt x="313" y="1150"/>
                  </a:lnTo>
                  <a:lnTo>
                    <a:pt x="310" y="1145"/>
                  </a:lnTo>
                  <a:lnTo>
                    <a:pt x="214" y="979"/>
                  </a:lnTo>
                  <a:lnTo>
                    <a:pt x="161" y="1044"/>
                  </a:lnTo>
                  <a:lnTo>
                    <a:pt x="161" y="1145"/>
                  </a:lnTo>
                  <a:lnTo>
                    <a:pt x="161" y="1147"/>
                  </a:lnTo>
                  <a:lnTo>
                    <a:pt x="160" y="1149"/>
                  </a:lnTo>
                  <a:lnTo>
                    <a:pt x="158" y="1152"/>
                  </a:lnTo>
                  <a:lnTo>
                    <a:pt x="157" y="1153"/>
                  </a:lnTo>
                  <a:lnTo>
                    <a:pt x="155" y="1154"/>
                  </a:lnTo>
                  <a:lnTo>
                    <a:pt x="151" y="1155"/>
                  </a:lnTo>
                  <a:lnTo>
                    <a:pt x="69" y="1155"/>
                  </a:lnTo>
                  <a:lnTo>
                    <a:pt x="65" y="1154"/>
                  </a:lnTo>
                  <a:lnTo>
                    <a:pt x="62" y="1152"/>
                  </a:lnTo>
                  <a:lnTo>
                    <a:pt x="60" y="1150"/>
                  </a:lnTo>
                  <a:lnTo>
                    <a:pt x="60" y="1149"/>
                  </a:lnTo>
                  <a:lnTo>
                    <a:pt x="59" y="1147"/>
                  </a:lnTo>
                  <a:lnTo>
                    <a:pt x="59" y="1145"/>
                  </a:lnTo>
                  <a:lnTo>
                    <a:pt x="59" y="746"/>
                  </a:lnTo>
                  <a:lnTo>
                    <a:pt x="59" y="744"/>
                  </a:lnTo>
                  <a:lnTo>
                    <a:pt x="60" y="742"/>
                  </a:lnTo>
                  <a:lnTo>
                    <a:pt x="62" y="739"/>
                  </a:lnTo>
                  <a:lnTo>
                    <a:pt x="63" y="738"/>
                  </a:lnTo>
                  <a:lnTo>
                    <a:pt x="65" y="737"/>
                  </a:lnTo>
                  <a:lnTo>
                    <a:pt x="69" y="736"/>
                  </a:lnTo>
                  <a:lnTo>
                    <a:pt x="151" y="736"/>
                  </a:lnTo>
                  <a:lnTo>
                    <a:pt x="155" y="737"/>
                  </a:lnTo>
                  <a:lnTo>
                    <a:pt x="158" y="739"/>
                  </a:lnTo>
                  <a:lnTo>
                    <a:pt x="159" y="740"/>
                  </a:lnTo>
                  <a:lnTo>
                    <a:pt x="160" y="742"/>
                  </a:lnTo>
                  <a:lnTo>
                    <a:pt x="161" y="744"/>
                  </a:lnTo>
                  <a:lnTo>
                    <a:pt x="161" y="746"/>
                  </a:lnTo>
                  <a:lnTo>
                    <a:pt x="161" y="921"/>
                  </a:lnTo>
                  <a:lnTo>
                    <a:pt x="304" y="746"/>
                  </a:lnTo>
                  <a:lnTo>
                    <a:pt x="308" y="742"/>
                  </a:lnTo>
                  <a:lnTo>
                    <a:pt x="310" y="740"/>
                  </a:lnTo>
                  <a:lnTo>
                    <a:pt x="312" y="739"/>
                  </a:lnTo>
                  <a:lnTo>
                    <a:pt x="314" y="738"/>
                  </a:lnTo>
                  <a:lnTo>
                    <a:pt x="317" y="737"/>
                  </a:lnTo>
                  <a:lnTo>
                    <a:pt x="319" y="736"/>
                  </a:lnTo>
                  <a:lnTo>
                    <a:pt x="322" y="736"/>
                  </a:lnTo>
                  <a:lnTo>
                    <a:pt x="418" y="736"/>
                  </a:lnTo>
                  <a:lnTo>
                    <a:pt x="421" y="737"/>
                  </a:lnTo>
                  <a:lnTo>
                    <a:pt x="423" y="738"/>
                  </a:lnTo>
                  <a:lnTo>
                    <a:pt x="425" y="739"/>
                  </a:lnTo>
                  <a:lnTo>
                    <a:pt x="426" y="741"/>
                  </a:lnTo>
                  <a:lnTo>
                    <a:pt x="426" y="744"/>
                  </a:lnTo>
                  <a:lnTo>
                    <a:pt x="426" y="746"/>
                  </a:lnTo>
                  <a:lnTo>
                    <a:pt x="425" y="749"/>
                  </a:lnTo>
                  <a:lnTo>
                    <a:pt x="424" y="751"/>
                  </a:lnTo>
                  <a:lnTo>
                    <a:pt x="292" y="912"/>
                  </a:lnTo>
                  <a:close/>
                  <a:moveTo>
                    <a:pt x="1819" y="1010"/>
                  </a:moveTo>
                  <a:lnTo>
                    <a:pt x="1872" y="1010"/>
                  </a:lnTo>
                  <a:lnTo>
                    <a:pt x="1845" y="883"/>
                  </a:lnTo>
                  <a:lnTo>
                    <a:pt x="1819" y="1010"/>
                  </a:lnTo>
                  <a:close/>
                  <a:moveTo>
                    <a:pt x="1887" y="1088"/>
                  </a:moveTo>
                  <a:lnTo>
                    <a:pt x="1805" y="1088"/>
                  </a:lnTo>
                  <a:lnTo>
                    <a:pt x="1793" y="1145"/>
                  </a:lnTo>
                  <a:lnTo>
                    <a:pt x="1792" y="1147"/>
                  </a:lnTo>
                  <a:lnTo>
                    <a:pt x="1791" y="1149"/>
                  </a:lnTo>
                  <a:lnTo>
                    <a:pt x="1788" y="1152"/>
                  </a:lnTo>
                  <a:lnTo>
                    <a:pt x="1787" y="1153"/>
                  </a:lnTo>
                  <a:lnTo>
                    <a:pt x="1785" y="1154"/>
                  </a:lnTo>
                  <a:lnTo>
                    <a:pt x="1783" y="1155"/>
                  </a:lnTo>
                  <a:lnTo>
                    <a:pt x="1781" y="1155"/>
                  </a:lnTo>
                  <a:lnTo>
                    <a:pt x="1708" y="1155"/>
                  </a:lnTo>
                  <a:lnTo>
                    <a:pt x="1706" y="1155"/>
                  </a:lnTo>
                  <a:lnTo>
                    <a:pt x="1704" y="1154"/>
                  </a:lnTo>
                  <a:lnTo>
                    <a:pt x="1702" y="1153"/>
                  </a:lnTo>
                  <a:lnTo>
                    <a:pt x="1701" y="1152"/>
                  </a:lnTo>
                  <a:lnTo>
                    <a:pt x="1700" y="1150"/>
                  </a:lnTo>
                  <a:lnTo>
                    <a:pt x="1700" y="1147"/>
                  </a:lnTo>
                  <a:lnTo>
                    <a:pt x="1701" y="1141"/>
                  </a:lnTo>
                  <a:lnTo>
                    <a:pt x="1793" y="746"/>
                  </a:lnTo>
                  <a:lnTo>
                    <a:pt x="1793" y="744"/>
                  </a:lnTo>
                  <a:lnTo>
                    <a:pt x="1794" y="742"/>
                  </a:lnTo>
                  <a:lnTo>
                    <a:pt x="1797" y="739"/>
                  </a:lnTo>
                  <a:lnTo>
                    <a:pt x="1799" y="738"/>
                  </a:lnTo>
                  <a:lnTo>
                    <a:pt x="1801" y="737"/>
                  </a:lnTo>
                  <a:lnTo>
                    <a:pt x="1806" y="736"/>
                  </a:lnTo>
                  <a:lnTo>
                    <a:pt x="1887" y="736"/>
                  </a:lnTo>
                  <a:lnTo>
                    <a:pt x="1889" y="736"/>
                  </a:lnTo>
                  <a:lnTo>
                    <a:pt x="1892" y="737"/>
                  </a:lnTo>
                  <a:lnTo>
                    <a:pt x="1896" y="739"/>
                  </a:lnTo>
                  <a:lnTo>
                    <a:pt x="1898" y="742"/>
                  </a:lnTo>
                  <a:lnTo>
                    <a:pt x="1899" y="744"/>
                  </a:lnTo>
                  <a:lnTo>
                    <a:pt x="1900" y="746"/>
                  </a:lnTo>
                  <a:lnTo>
                    <a:pt x="1992" y="1141"/>
                  </a:lnTo>
                  <a:lnTo>
                    <a:pt x="1993" y="1147"/>
                  </a:lnTo>
                  <a:lnTo>
                    <a:pt x="1992" y="1150"/>
                  </a:lnTo>
                  <a:lnTo>
                    <a:pt x="1992" y="1152"/>
                  </a:lnTo>
                  <a:lnTo>
                    <a:pt x="1990" y="1153"/>
                  </a:lnTo>
                  <a:lnTo>
                    <a:pt x="1989" y="1154"/>
                  </a:lnTo>
                  <a:lnTo>
                    <a:pt x="1984" y="1155"/>
                  </a:lnTo>
                  <a:lnTo>
                    <a:pt x="1910" y="1155"/>
                  </a:lnTo>
                  <a:lnTo>
                    <a:pt x="1906" y="1154"/>
                  </a:lnTo>
                  <a:lnTo>
                    <a:pt x="1902" y="1152"/>
                  </a:lnTo>
                  <a:lnTo>
                    <a:pt x="1901" y="1151"/>
                  </a:lnTo>
                  <a:lnTo>
                    <a:pt x="1900" y="1149"/>
                  </a:lnTo>
                  <a:lnTo>
                    <a:pt x="1899" y="1147"/>
                  </a:lnTo>
                  <a:lnTo>
                    <a:pt x="1898" y="1145"/>
                  </a:lnTo>
                  <a:lnTo>
                    <a:pt x="1887" y="1088"/>
                  </a:lnTo>
                  <a:close/>
                  <a:moveTo>
                    <a:pt x="937" y="991"/>
                  </a:moveTo>
                  <a:lnTo>
                    <a:pt x="937" y="746"/>
                  </a:lnTo>
                  <a:lnTo>
                    <a:pt x="937" y="744"/>
                  </a:lnTo>
                  <a:lnTo>
                    <a:pt x="938" y="742"/>
                  </a:lnTo>
                  <a:lnTo>
                    <a:pt x="940" y="739"/>
                  </a:lnTo>
                  <a:lnTo>
                    <a:pt x="941" y="738"/>
                  </a:lnTo>
                  <a:lnTo>
                    <a:pt x="943" y="737"/>
                  </a:lnTo>
                  <a:lnTo>
                    <a:pt x="947" y="736"/>
                  </a:lnTo>
                  <a:lnTo>
                    <a:pt x="1029" y="736"/>
                  </a:lnTo>
                  <a:lnTo>
                    <a:pt x="1033" y="737"/>
                  </a:lnTo>
                  <a:lnTo>
                    <a:pt x="1037" y="739"/>
                  </a:lnTo>
                  <a:lnTo>
                    <a:pt x="1038" y="740"/>
                  </a:lnTo>
                  <a:lnTo>
                    <a:pt x="1039" y="742"/>
                  </a:lnTo>
                  <a:lnTo>
                    <a:pt x="1039" y="744"/>
                  </a:lnTo>
                  <a:lnTo>
                    <a:pt x="1039" y="746"/>
                  </a:lnTo>
                  <a:lnTo>
                    <a:pt x="1039" y="986"/>
                  </a:lnTo>
                  <a:lnTo>
                    <a:pt x="1040" y="996"/>
                  </a:lnTo>
                  <a:lnTo>
                    <a:pt x="1041" y="1005"/>
                  </a:lnTo>
                  <a:lnTo>
                    <a:pt x="1042" y="1014"/>
                  </a:lnTo>
                  <a:lnTo>
                    <a:pt x="1044" y="1022"/>
                  </a:lnTo>
                  <a:lnTo>
                    <a:pt x="1047" y="1030"/>
                  </a:lnTo>
                  <a:lnTo>
                    <a:pt x="1050" y="1037"/>
                  </a:lnTo>
                  <a:lnTo>
                    <a:pt x="1054" y="1043"/>
                  </a:lnTo>
                  <a:lnTo>
                    <a:pt x="1058" y="1049"/>
                  </a:lnTo>
                  <a:lnTo>
                    <a:pt x="1063" y="1054"/>
                  </a:lnTo>
                  <a:lnTo>
                    <a:pt x="1068" y="1058"/>
                  </a:lnTo>
                  <a:lnTo>
                    <a:pt x="1074" y="1062"/>
                  </a:lnTo>
                  <a:lnTo>
                    <a:pt x="1077" y="1063"/>
                  </a:lnTo>
                  <a:lnTo>
                    <a:pt x="1080" y="1065"/>
                  </a:lnTo>
                  <a:lnTo>
                    <a:pt x="1087" y="1067"/>
                  </a:lnTo>
                  <a:lnTo>
                    <a:pt x="1094" y="1069"/>
                  </a:lnTo>
                  <a:lnTo>
                    <a:pt x="1102" y="1070"/>
                  </a:lnTo>
                  <a:lnTo>
                    <a:pt x="1110" y="1070"/>
                  </a:lnTo>
                  <a:lnTo>
                    <a:pt x="1118" y="1070"/>
                  </a:lnTo>
                  <a:lnTo>
                    <a:pt x="1126" y="1069"/>
                  </a:lnTo>
                  <a:lnTo>
                    <a:pt x="1133" y="1067"/>
                  </a:lnTo>
                  <a:lnTo>
                    <a:pt x="1140" y="1065"/>
                  </a:lnTo>
                  <a:lnTo>
                    <a:pt x="1146" y="1062"/>
                  </a:lnTo>
                  <a:lnTo>
                    <a:pt x="1149" y="1060"/>
                  </a:lnTo>
                  <a:lnTo>
                    <a:pt x="1152" y="1058"/>
                  </a:lnTo>
                  <a:lnTo>
                    <a:pt x="1157" y="1054"/>
                  </a:lnTo>
                  <a:lnTo>
                    <a:pt x="1162" y="1049"/>
                  </a:lnTo>
                  <a:lnTo>
                    <a:pt x="1166" y="1043"/>
                  </a:lnTo>
                  <a:lnTo>
                    <a:pt x="1170" y="1037"/>
                  </a:lnTo>
                  <a:lnTo>
                    <a:pt x="1173" y="1030"/>
                  </a:lnTo>
                  <a:lnTo>
                    <a:pt x="1176" y="1022"/>
                  </a:lnTo>
                  <a:lnTo>
                    <a:pt x="1178" y="1014"/>
                  </a:lnTo>
                  <a:lnTo>
                    <a:pt x="1180" y="1005"/>
                  </a:lnTo>
                  <a:lnTo>
                    <a:pt x="1180" y="996"/>
                  </a:lnTo>
                  <a:lnTo>
                    <a:pt x="1181" y="986"/>
                  </a:lnTo>
                  <a:lnTo>
                    <a:pt x="1181" y="746"/>
                  </a:lnTo>
                  <a:lnTo>
                    <a:pt x="1181" y="744"/>
                  </a:lnTo>
                  <a:lnTo>
                    <a:pt x="1182" y="742"/>
                  </a:lnTo>
                  <a:lnTo>
                    <a:pt x="1184" y="739"/>
                  </a:lnTo>
                  <a:lnTo>
                    <a:pt x="1185" y="738"/>
                  </a:lnTo>
                  <a:lnTo>
                    <a:pt x="1187" y="737"/>
                  </a:lnTo>
                  <a:lnTo>
                    <a:pt x="1191" y="736"/>
                  </a:lnTo>
                  <a:lnTo>
                    <a:pt x="1273" y="736"/>
                  </a:lnTo>
                  <a:lnTo>
                    <a:pt x="1277" y="737"/>
                  </a:lnTo>
                  <a:lnTo>
                    <a:pt x="1280" y="739"/>
                  </a:lnTo>
                  <a:lnTo>
                    <a:pt x="1281" y="740"/>
                  </a:lnTo>
                  <a:lnTo>
                    <a:pt x="1282" y="742"/>
                  </a:lnTo>
                  <a:lnTo>
                    <a:pt x="1283" y="744"/>
                  </a:lnTo>
                  <a:lnTo>
                    <a:pt x="1283" y="746"/>
                  </a:lnTo>
                  <a:lnTo>
                    <a:pt x="1283" y="991"/>
                  </a:lnTo>
                  <a:lnTo>
                    <a:pt x="1283" y="1002"/>
                  </a:lnTo>
                  <a:lnTo>
                    <a:pt x="1283" y="1007"/>
                  </a:lnTo>
                  <a:lnTo>
                    <a:pt x="1282" y="1013"/>
                  </a:lnTo>
                  <a:lnTo>
                    <a:pt x="1281" y="1023"/>
                  </a:lnTo>
                  <a:lnTo>
                    <a:pt x="1280" y="1033"/>
                  </a:lnTo>
                  <a:lnTo>
                    <a:pt x="1278" y="1042"/>
                  </a:lnTo>
                  <a:lnTo>
                    <a:pt x="1275" y="1051"/>
                  </a:lnTo>
                  <a:lnTo>
                    <a:pt x="1273" y="1060"/>
                  </a:lnTo>
                  <a:lnTo>
                    <a:pt x="1270" y="1068"/>
                  </a:lnTo>
                  <a:lnTo>
                    <a:pt x="1266" y="1076"/>
                  </a:lnTo>
                  <a:lnTo>
                    <a:pt x="1262" y="1084"/>
                  </a:lnTo>
                  <a:lnTo>
                    <a:pt x="1254" y="1098"/>
                  </a:lnTo>
                  <a:lnTo>
                    <a:pt x="1249" y="1104"/>
                  </a:lnTo>
                  <a:lnTo>
                    <a:pt x="1244" y="1110"/>
                  </a:lnTo>
                  <a:lnTo>
                    <a:pt x="1239" y="1116"/>
                  </a:lnTo>
                  <a:lnTo>
                    <a:pt x="1233" y="1121"/>
                  </a:lnTo>
                  <a:lnTo>
                    <a:pt x="1227" y="1126"/>
                  </a:lnTo>
                  <a:lnTo>
                    <a:pt x="1221" y="1131"/>
                  </a:lnTo>
                  <a:lnTo>
                    <a:pt x="1214" y="1135"/>
                  </a:lnTo>
                  <a:lnTo>
                    <a:pt x="1207" y="1139"/>
                  </a:lnTo>
                  <a:lnTo>
                    <a:pt x="1200" y="1143"/>
                  </a:lnTo>
                  <a:lnTo>
                    <a:pt x="1193" y="1146"/>
                  </a:lnTo>
                  <a:lnTo>
                    <a:pt x="1178" y="1152"/>
                  </a:lnTo>
                  <a:lnTo>
                    <a:pt x="1170" y="1154"/>
                  </a:lnTo>
                  <a:lnTo>
                    <a:pt x="1162" y="1156"/>
                  </a:lnTo>
                  <a:lnTo>
                    <a:pt x="1154" y="1158"/>
                  </a:lnTo>
                  <a:lnTo>
                    <a:pt x="1145" y="1159"/>
                  </a:lnTo>
                  <a:lnTo>
                    <a:pt x="1137" y="1160"/>
                  </a:lnTo>
                  <a:lnTo>
                    <a:pt x="1128" y="1161"/>
                  </a:lnTo>
                  <a:lnTo>
                    <a:pt x="1119" y="1162"/>
                  </a:lnTo>
                  <a:lnTo>
                    <a:pt x="1110" y="1162"/>
                  </a:lnTo>
                  <a:lnTo>
                    <a:pt x="1092" y="1161"/>
                  </a:lnTo>
                  <a:lnTo>
                    <a:pt x="1075" y="1159"/>
                  </a:lnTo>
                  <a:lnTo>
                    <a:pt x="1066" y="1158"/>
                  </a:lnTo>
                  <a:lnTo>
                    <a:pt x="1058" y="1156"/>
                  </a:lnTo>
                  <a:lnTo>
                    <a:pt x="1042" y="1152"/>
                  </a:lnTo>
                  <a:lnTo>
                    <a:pt x="1035" y="1149"/>
                  </a:lnTo>
                  <a:lnTo>
                    <a:pt x="1027" y="1146"/>
                  </a:lnTo>
                  <a:lnTo>
                    <a:pt x="1020" y="1143"/>
                  </a:lnTo>
                  <a:lnTo>
                    <a:pt x="1013" y="1139"/>
                  </a:lnTo>
                  <a:lnTo>
                    <a:pt x="1006" y="1135"/>
                  </a:lnTo>
                  <a:lnTo>
                    <a:pt x="1000" y="1131"/>
                  </a:lnTo>
                  <a:lnTo>
                    <a:pt x="993" y="1126"/>
                  </a:lnTo>
                  <a:lnTo>
                    <a:pt x="987" y="1121"/>
                  </a:lnTo>
                  <a:lnTo>
                    <a:pt x="982" y="1116"/>
                  </a:lnTo>
                  <a:lnTo>
                    <a:pt x="976" y="1110"/>
                  </a:lnTo>
                  <a:lnTo>
                    <a:pt x="966" y="1098"/>
                  </a:lnTo>
                  <a:lnTo>
                    <a:pt x="962" y="1091"/>
                  </a:lnTo>
                  <a:lnTo>
                    <a:pt x="958" y="1084"/>
                  </a:lnTo>
                  <a:lnTo>
                    <a:pt x="954" y="1076"/>
                  </a:lnTo>
                  <a:lnTo>
                    <a:pt x="951" y="1068"/>
                  </a:lnTo>
                  <a:lnTo>
                    <a:pt x="948" y="1060"/>
                  </a:lnTo>
                  <a:lnTo>
                    <a:pt x="945" y="1051"/>
                  </a:lnTo>
                  <a:lnTo>
                    <a:pt x="943" y="1042"/>
                  </a:lnTo>
                  <a:lnTo>
                    <a:pt x="941" y="1033"/>
                  </a:lnTo>
                  <a:lnTo>
                    <a:pt x="939" y="1023"/>
                  </a:lnTo>
                  <a:lnTo>
                    <a:pt x="938" y="1013"/>
                  </a:lnTo>
                  <a:lnTo>
                    <a:pt x="937" y="1002"/>
                  </a:lnTo>
                  <a:lnTo>
                    <a:pt x="937" y="991"/>
                  </a:lnTo>
                  <a:close/>
                  <a:moveTo>
                    <a:pt x="1479" y="824"/>
                  </a:moveTo>
                  <a:lnTo>
                    <a:pt x="1479" y="934"/>
                  </a:lnTo>
                  <a:lnTo>
                    <a:pt x="1514" y="934"/>
                  </a:lnTo>
                  <a:lnTo>
                    <a:pt x="1520" y="933"/>
                  </a:lnTo>
                  <a:lnTo>
                    <a:pt x="1526" y="933"/>
                  </a:lnTo>
                  <a:lnTo>
                    <a:pt x="1532" y="932"/>
                  </a:lnTo>
                  <a:lnTo>
                    <a:pt x="1538" y="930"/>
                  </a:lnTo>
                  <a:lnTo>
                    <a:pt x="1543" y="928"/>
                  </a:lnTo>
                  <a:lnTo>
                    <a:pt x="1547" y="926"/>
                  </a:lnTo>
                  <a:lnTo>
                    <a:pt x="1551" y="923"/>
                  </a:lnTo>
                  <a:lnTo>
                    <a:pt x="1555" y="919"/>
                  </a:lnTo>
                  <a:lnTo>
                    <a:pt x="1559" y="916"/>
                  </a:lnTo>
                  <a:lnTo>
                    <a:pt x="1562" y="912"/>
                  </a:lnTo>
                  <a:lnTo>
                    <a:pt x="1564" y="907"/>
                  </a:lnTo>
                  <a:lnTo>
                    <a:pt x="1566" y="902"/>
                  </a:lnTo>
                  <a:lnTo>
                    <a:pt x="1568" y="897"/>
                  </a:lnTo>
                  <a:lnTo>
                    <a:pt x="1569" y="891"/>
                  </a:lnTo>
                  <a:lnTo>
                    <a:pt x="1570" y="885"/>
                  </a:lnTo>
                  <a:lnTo>
                    <a:pt x="1570" y="879"/>
                  </a:lnTo>
                  <a:lnTo>
                    <a:pt x="1570" y="872"/>
                  </a:lnTo>
                  <a:lnTo>
                    <a:pt x="1569" y="866"/>
                  </a:lnTo>
                  <a:lnTo>
                    <a:pt x="1568" y="861"/>
                  </a:lnTo>
                  <a:lnTo>
                    <a:pt x="1566" y="855"/>
                  </a:lnTo>
                  <a:lnTo>
                    <a:pt x="1564" y="850"/>
                  </a:lnTo>
                  <a:lnTo>
                    <a:pt x="1562" y="846"/>
                  </a:lnTo>
                  <a:lnTo>
                    <a:pt x="1559" y="842"/>
                  </a:lnTo>
                  <a:lnTo>
                    <a:pt x="1555" y="838"/>
                  </a:lnTo>
                  <a:lnTo>
                    <a:pt x="1551" y="835"/>
                  </a:lnTo>
                  <a:lnTo>
                    <a:pt x="1547" y="832"/>
                  </a:lnTo>
                  <a:lnTo>
                    <a:pt x="1543" y="829"/>
                  </a:lnTo>
                  <a:lnTo>
                    <a:pt x="1538" y="827"/>
                  </a:lnTo>
                  <a:lnTo>
                    <a:pt x="1535" y="826"/>
                  </a:lnTo>
                  <a:lnTo>
                    <a:pt x="1532" y="826"/>
                  </a:lnTo>
                  <a:lnTo>
                    <a:pt x="1526" y="825"/>
                  </a:lnTo>
                  <a:lnTo>
                    <a:pt x="1520" y="824"/>
                  </a:lnTo>
                  <a:lnTo>
                    <a:pt x="1514" y="824"/>
                  </a:lnTo>
                  <a:lnTo>
                    <a:pt x="1479" y="824"/>
                  </a:lnTo>
                  <a:close/>
                  <a:moveTo>
                    <a:pt x="1514" y="736"/>
                  </a:moveTo>
                  <a:lnTo>
                    <a:pt x="1532" y="737"/>
                  </a:lnTo>
                  <a:lnTo>
                    <a:pt x="1549" y="738"/>
                  </a:lnTo>
                  <a:lnTo>
                    <a:pt x="1557" y="740"/>
                  </a:lnTo>
                  <a:lnTo>
                    <a:pt x="1565" y="741"/>
                  </a:lnTo>
                  <a:lnTo>
                    <a:pt x="1580" y="745"/>
                  </a:lnTo>
                  <a:lnTo>
                    <a:pt x="1588" y="748"/>
                  </a:lnTo>
                  <a:lnTo>
                    <a:pt x="1595" y="750"/>
                  </a:lnTo>
                  <a:lnTo>
                    <a:pt x="1608" y="757"/>
                  </a:lnTo>
                  <a:lnTo>
                    <a:pt x="1620" y="764"/>
                  </a:lnTo>
                  <a:lnTo>
                    <a:pt x="1626" y="768"/>
                  </a:lnTo>
                  <a:lnTo>
                    <a:pt x="1631" y="773"/>
                  </a:lnTo>
                  <a:lnTo>
                    <a:pt x="1637" y="777"/>
                  </a:lnTo>
                  <a:lnTo>
                    <a:pt x="1641" y="782"/>
                  </a:lnTo>
                  <a:lnTo>
                    <a:pt x="1646" y="787"/>
                  </a:lnTo>
                  <a:lnTo>
                    <a:pt x="1650" y="793"/>
                  </a:lnTo>
                  <a:lnTo>
                    <a:pt x="1654" y="798"/>
                  </a:lnTo>
                  <a:lnTo>
                    <a:pt x="1658" y="804"/>
                  </a:lnTo>
                  <a:lnTo>
                    <a:pt x="1661" y="811"/>
                  </a:lnTo>
                  <a:lnTo>
                    <a:pt x="1664" y="817"/>
                  </a:lnTo>
                  <a:lnTo>
                    <a:pt x="1667" y="824"/>
                  </a:lnTo>
                  <a:lnTo>
                    <a:pt x="1669" y="831"/>
                  </a:lnTo>
                  <a:lnTo>
                    <a:pt x="1671" y="838"/>
                  </a:lnTo>
                  <a:lnTo>
                    <a:pt x="1673" y="846"/>
                  </a:lnTo>
                  <a:lnTo>
                    <a:pt x="1674" y="854"/>
                  </a:lnTo>
                  <a:lnTo>
                    <a:pt x="1675" y="862"/>
                  </a:lnTo>
                  <a:lnTo>
                    <a:pt x="1676" y="870"/>
                  </a:lnTo>
                  <a:lnTo>
                    <a:pt x="1676" y="879"/>
                  </a:lnTo>
                  <a:lnTo>
                    <a:pt x="1676" y="887"/>
                  </a:lnTo>
                  <a:lnTo>
                    <a:pt x="1675" y="896"/>
                  </a:lnTo>
                  <a:lnTo>
                    <a:pt x="1674" y="904"/>
                  </a:lnTo>
                  <a:lnTo>
                    <a:pt x="1673" y="911"/>
                  </a:lnTo>
                  <a:lnTo>
                    <a:pt x="1669" y="926"/>
                  </a:lnTo>
                  <a:lnTo>
                    <a:pt x="1667" y="933"/>
                  </a:lnTo>
                  <a:lnTo>
                    <a:pt x="1664" y="940"/>
                  </a:lnTo>
                  <a:lnTo>
                    <a:pt x="1658" y="953"/>
                  </a:lnTo>
                  <a:lnTo>
                    <a:pt x="1654" y="959"/>
                  </a:lnTo>
                  <a:lnTo>
                    <a:pt x="1650" y="965"/>
                  </a:lnTo>
                  <a:lnTo>
                    <a:pt x="1642" y="975"/>
                  </a:lnTo>
                  <a:lnTo>
                    <a:pt x="1632" y="985"/>
                  </a:lnTo>
                  <a:lnTo>
                    <a:pt x="1626" y="989"/>
                  </a:lnTo>
                  <a:lnTo>
                    <a:pt x="1620" y="993"/>
                  </a:lnTo>
                  <a:lnTo>
                    <a:pt x="1614" y="997"/>
                  </a:lnTo>
                  <a:lnTo>
                    <a:pt x="1608" y="1001"/>
                  </a:lnTo>
                  <a:lnTo>
                    <a:pt x="1595" y="1007"/>
                  </a:lnTo>
                  <a:lnTo>
                    <a:pt x="1588" y="1009"/>
                  </a:lnTo>
                  <a:lnTo>
                    <a:pt x="1580" y="1012"/>
                  </a:lnTo>
                  <a:lnTo>
                    <a:pt x="1565" y="1016"/>
                  </a:lnTo>
                  <a:lnTo>
                    <a:pt x="1557" y="1018"/>
                  </a:lnTo>
                  <a:lnTo>
                    <a:pt x="1549" y="1019"/>
                  </a:lnTo>
                  <a:lnTo>
                    <a:pt x="1532" y="1021"/>
                  </a:lnTo>
                  <a:lnTo>
                    <a:pt x="1523" y="1021"/>
                  </a:lnTo>
                  <a:lnTo>
                    <a:pt x="1514" y="1021"/>
                  </a:lnTo>
                  <a:lnTo>
                    <a:pt x="1479" y="1021"/>
                  </a:lnTo>
                  <a:lnTo>
                    <a:pt x="1479" y="1145"/>
                  </a:lnTo>
                  <a:lnTo>
                    <a:pt x="1479" y="1147"/>
                  </a:lnTo>
                  <a:lnTo>
                    <a:pt x="1479" y="1149"/>
                  </a:lnTo>
                  <a:lnTo>
                    <a:pt x="1477" y="1152"/>
                  </a:lnTo>
                  <a:lnTo>
                    <a:pt x="1475" y="1153"/>
                  </a:lnTo>
                  <a:lnTo>
                    <a:pt x="1473" y="1154"/>
                  </a:lnTo>
                  <a:lnTo>
                    <a:pt x="1469" y="1155"/>
                  </a:lnTo>
                  <a:lnTo>
                    <a:pt x="1387" y="1155"/>
                  </a:lnTo>
                  <a:lnTo>
                    <a:pt x="1383" y="1154"/>
                  </a:lnTo>
                  <a:lnTo>
                    <a:pt x="1380" y="1152"/>
                  </a:lnTo>
                  <a:lnTo>
                    <a:pt x="1379" y="1150"/>
                  </a:lnTo>
                  <a:lnTo>
                    <a:pt x="1378" y="1149"/>
                  </a:lnTo>
                  <a:lnTo>
                    <a:pt x="1377" y="1147"/>
                  </a:lnTo>
                  <a:lnTo>
                    <a:pt x="1377" y="1145"/>
                  </a:lnTo>
                  <a:lnTo>
                    <a:pt x="1377" y="746"/>
                  </a:lnTo>
                  <a:lnTo>
                    <a:pt x="1377" y="744"/>
                  </a:lnTo>
                  <a:lnTo>
                    <a:pt x="1378" y="742"/>
                  </a:lnTo>
                  <a:lnTo>
                    <a:pt x="1380" y="739"/>
                  </a:lnTo>
                  <a:lnTo>
                    <a:pt x="1381" y="738"/>
                  </a:lnTo>
                  <a:lnTo>
                    <a:pt x="1383" y="737"/>
                  </a:lnTo>
                  <a:lnTo>
                    <a:pt x="1387" y="736"/>
                  </a:lnTo>
                  <a:lnTo>
                    <a:pt x="1514" y="736"/>
                  </a:lnTo>
                  <a:close/>
                  <a:moveTo>
                    <a:pt x="2767" y="1006"/>
                  </a:moveTo>
                  <a:lnTo>
                    <a:pt x="2866" y="1006"/>
                  </a:lnTo>
                  <a:lnTo>
                    <a:pt x="2817" y="875"/>
                  </a:lnTo>
                  <a:lnTo>
                    <a:pt x="2767" y="1006"/>
                  </a:lnTo>
                  <a:close/>
                  <a:moveTo>
                    <a:pt x="2897" y="1088"/>
                  </a:moveTo>
                  <a:lnTo>
                    <a:pt x="2737" y="1088"/>
                  </a:lnTo>
                  <a:lnTo>
                    <a:pt x="2715" y="1145"/>
                  </a:lnTo>
                  <a:lnTo>
                    <a:pt x="2714" y="1148"/>
                  </a:lnTo>
                  <a:lnTo>
                    <a:pt x="2713" y="1150"/>
                  </a:lnTo>
                  <a:lnTo>
                    <a:pt x="2711" y="1151"/>
                  </a:lnTo>
                  <a:lnTo>
                    <a:pt x="2710" y="1153"/>
                  </a:lnTo>
                  <a:lnTo>
                    <a:pt x="2706" y="1154"/>
                  </a:lnTo>
                  <a:lnTo>
                    <a:pt x="2701" y="1155"/>
                  </a:lnTo>
                  <a:lnTo>
                    <a:pt x="2623" y="1155"/>
                  </a:lnTo>
                  <a:lnTo>
                    <a:pt x="2620" y="1155"/>
                  </a:lnTo>
                  <a:lnTo>
                    <a:pt x="2618" y="1154"/>
                  </a:lnTo>
                  <a:lnTo>
                    <a:pt x="2616" y="1153"/>
                  </a:lnTo>
                  <a:lnTo>
                    <a:pt x="2614" y="1151"/>
                  </a:lnTo>
                  <a:lnTo>
                    <a:pt x="2613" y="1149"/>
                  </a:lnTo>
                  <a:lnTo>
                    <a:pt x="2613" y="1147"/>
                  </a:lnTo>
                  <a:lnTo>
                    <a:pt x="2613" y="1144"/>
                  </a:lnTo>
                  <a:lnTo>
                    <a:pt x="2614" y="1141"/>
                  </a:lnTo>
                  <a:lnTo>
                    <a:pt x="2769" y="746"/>
                  </a:lnTo>
                  <a:lnTo>
                    <a:pt x="2770" y="743"/>
                  </a:lnTo>
                  <a:lnTo>
                    <a:pt x="2772" y="741"/>
                  </a:lnTo>
                  <a:lnTo>
                    <a:pt x="2775" y="738"/>
                  </a:lnTo>
                  <a:lnTo>
                    <a:pt x="2779" y="737"/>
                  </a:lnTo>
                  <a:lnTo>
                    <a:pt x="2781" y="736"/>
                  </a:lnTo>
                  <a:lnTo>
                    <a:pt x="2783" y="736"/>
                  </a:lnTo>
                  <a:lnTo>
                    <a:pt x="2853" y="736"/>
                  </a:lnTo>
                  <a:lnTo>
                    <a:pt x="2858" y="737"/>
                  </a:lnTo>
                  <a:lnTo>
                    <a:pt x="2861" y="738"/>
                  </a:lnTo>
                  <a:lnTo>
                    <a:pt x="2864" y="741"/>
                  </a:lnTo>
                  <a:lnTo>
                    <a:pt x="2865" y="743"/>
                  </a:lnTo>
                  <a:lnTo>
                    <a:pt x="2866" y="746"/>
                  </a:lnTo>
                  <a:lnTo>
                    <a:pt x="3022" y="1141"/>
                  </a:lnTo>
                  <a:lnTo>
                    <a:pt x="3023" y="1144"/>
                  </a:lnTo>
                  <a:lnTo>
                    <a:pt x="3023" y="1147"/>
                  </a:lnTo>
                  <a:lnTo>
                    <a:pt x="3023" y="1149"/>
                  </a:lnTo>
                  <a:lnTo>
                    <a:pt x="3021" y="1151"/>
                  </a:lnTo>
                  <a:lnTo>
                    <a:pt x="3020" y="1153"/>
                  </a:lnTo>
                  <a:lnTo>
                    <a:pt x="3018" y="1154"/>
                  </a:lnTo>
                  <a:lnTo>
                    <a:pt x="3016" y="1155"/>
                  </a:lnTo>
                  <a:lnTo>
                    <a:pt x="3013" y="1155"/>
                  </a:lnTo>
                  <a:lnTo>
                    <a:pt x="2933" y="1155"/>
                  </a:lnTo>
                  <a:lnTo>
                    <a:pt x="2928" y="1154"/>
                  </a:lnTo>
                  <a:lnTo>
                    <a:pt x="2926" y="1154"/>
                  </a:lnTo>
                  <a:lnTo>
                    <a:pt x="2925" y="1153"/>
                  </a:lnTo>
                  <a:lnTo>
                    <a:pt x="2923" y="1151"/>
                  </a:lnTo>
                  <a:lnTo>
                    <a:pt x="2921" y="1150"/>
                  </a:lnTo>
                  <a:lnTo>
                    <a:pt x="2920" y="1148"/>
                  </a:lnTo>
                  <a:lnTo>
                    <a:pt x="2919" y="1145"/>
                  </a:lnTo>
                  <a:lnTo>
                    <a:pt x="2897" y="1088"/>
                  </a:lnTo>
                  <a:close/>
                  <a:moveTo>
                    <a:pt x="696" y="2625"/>
                  </a:moveTo>
                  <a:lnTo>
                    <a:pt x="614" y="2625"/>
                  </a:lnTo>
                  <a:lnTo>
                    <a:pt x="610" y="2624"/>
                  </a:lnTo>
                  <a:lnTo>
                    <a:pt x="607" y="2622"/>
                  </a:lnTo>
                  <a:lnTo>
                    <a:pt x="605" y="2621"/>
                  </a:lnTo>
                  <a:lnTo>
                    <a:pt x="605" y="2619"/>
                  </a:lnTo>
                  <a:lnTo>
                    <a:pt x="604" y="2617"/>
                  </a:lnTo>
                  <a:lnTo>
                    <a:pt x="604" y="2615"/>
                  </a:lnTo>
                  <a:lnTo>
                    <a:pt x="604" y="2217"/>
                  </a:lnTo>
                  <a:lnTo>
                    <a:pt x="604" y="2214"/>
                  </a:lnTo>
                  <a:lnTo>
                    <a:pt x="605" y="2212"/>
                  </a:lnTo>
                  <a:lnTo>
                    <a:pt x="607" y="2209"/>
                  </a:lnTo>
                  <a:lnTo>
                    <a:pt x="608" y="2208"/>
                  </a:lnTo>
                  <a:lnTo>
                    <a:pt x="610" y="2207"/>
                  </a:lnTo>
                  <a:lnTo>
                    <a:pt x="614" y="2207"/>
                  </a:lnTo>
                  <a:lnTo>
                    <a:pt x="696" y="2207"/>
                  </a:lnTo>
                  <a:lnTo>
                    <a:pt x="700" y="2207"/>
                  </a:lnTo>
                  <a:lnTo>
                    <a:pt x="703" y="2209"/>
                  </a:lnTo>
                  <a:lnTo>
                    <a:pt x="704" y="2211"/>
                  </a:lnTo>
                  <a:lnTo>
                    <a:pt x="705" y="2212"/>
                  </a:lnTo>
                  <a:lnTo>
                    <a:pt x="706" y="2214"/>
                  </a:lnTo>
                  <a:lnTo>
                    <a:pt x="706" y="2217"/>
                  </a:lnTo>
                  <a:lnTo>
                    <a:pt x="706" y="2392"/>
                  </a:lnTo>
                  <a:lnTo>
                    <a:pt x="850" y="2216"/>
                  </a:lnTo>
                  <a:lnTo>
                    <a:pt x="854" y="2212"/>
                  </a:lnTo>
                  <a:lnTo>
                    <a:pt x="856" y="2210"/>
                  </a:lnTo>
                  <a:lnTo>
                    <a:pt x="858" y="2209"/>
                  </a:lnTo>
                  <a:lnTo>
                    <a:pt x="860" y="2208"/>
                  </a:lnTo>
                  <a:lnTo>
                    <a:pt x="863" y="2207"/>
                  </a:lnTo>
                  <a:lnTo>
                    <a:pt x="865" y="2207"/>
                  </a:lnTo>
                  <a:lnTo>
                    <a:pt x="868" y="2207"/>
                  </a:lnTo>
                  <a:lnTo>
                    <a:pt x="964" y="2207"/>
                  </a:lnTo>
                  <a:lnTo>
                    <a:pt x="967" y="2207"/>
                  </a:lnTo>
                  <a:lnTo>
                    <a:pt x="969" y="2208"/>
                  </a:lnTo>
                  <a:lnTo>
                    <a:pt x="971" y="2210"/>
                  </a:lnTo>
                  <a:lnTo>
                    <a:pt x="972" y="2212"/>
                  </a:lnTo>
                  <a:lnTo>
                    <a:pt x="972" y="2214"/>
                  </a:lnTo>
                  <a:lnTo>
                    <a:pt x="972" y="2216"/>
                  </a:lnTo>
                  <a:lnTo>
                    <a:pt x="971" y="2219"/>
                  </a:lnTo>
                  <a:lnTo>
                    <a:pt x="970" y="2221"/>
                  </a:lnTo>
                  <a:lnTo>
                    <a:pt x="838" y="2382"/>
                  </a:lnTo>
                  <a:lnTo>
                    <a:pt x="974" y="2612"/>
                  </a:lnTo>
                  <a:lnTo>
                    <a:pt x="975" y="2614"/>
                  </a:lnTo>
                  <a:lnTo>
                    <a:pt x="975" y="2617"/>
                  </a:lnTo>
                  <a:lnTo>
                    <a:pt x="975" y="2619"/>
                  </a:lnTo>
                  <a:lnTo>
                    <a:pt x="975" y="2621"/>
                  </a:lnTo>
                  <a:lnTo>
                    <a:pt x="974" y="2623"/>
                  </a:lnTo>
                  <a:lnTo>
                    <a:pt x="972" y="2624"/>
                  </a:lnTo>
                  <a:lnTo>
                    <a:pt x="970" y="2625"/>
                  </a:lnTo>
                  <a:lnTo>
                    <a:pt x="967" y="2625"/>
                  </a:lnTo>
                  <a:lnTo>
                    <a:pt x="871" y="2625"/>
                  </a:lnTo>
                  <a:lnTo>
                    <a:pt x="867" y="2625"/>
                  </a:lnTo>
                  <a:lnTo>
                    <a:pt x="862" y="2623"/>
                  </a:lnTo>
                  <a:lnTo>
                    <a:pt x="861" y="2622"/>
                  </a:lnTo>
                  <a:lnTo>
                    <a:pt x="859" y="2620"/>
                  </a:lnTo>
                  <a:lnTo>
                    <a:pt x="856" y="2616"/>
                  </a:lnTo>
                  <a:lnTo>
                    <a:pt x="759" y="2450"/>
                  </a:lnTo>
                  <a:lnTo>
                    <a:pt x="706" y="2514"/>
                  </a:lnTo>
                  <a:lnTo>
                    <a:pt x="706" y="2615"/>
                  </a:lnTo>
                  <a:lnTo>
                    <a:pt x="706" y="2617"/>
                  </a:lnTo>
                  <a:lnTo>
                    <a:pt x="705" y="2619"/>
                  </a:lnTo>
                  <a:lnTo>
                    <a:pt x="703" y="2622"/>
                  </a:lnTo>
                  <a:lnTo>
                    <a:pt x="702" y="2624"/>
                  </a:lnTo>
                  <a:lnTo>
                    <a:pt x="700" y="2624"/>
                  </a:lnTo>
                  <a:lnTo>
                    <a:pt x="696" y="2625"/>
                  </a:lnTo>
                  <a:close/>
                  <a:moveTo>
                    <a:pt x="1288" y="2177"/>
                  </a:moveTo>
                  <a:lnTo>
                    <a:pt x="1283" y="2177"/>
                  </a:lnTo>
                  <a:lnTo>
                    <a:pt x="1278" y="2176"/>
                  </a:lnTo>
                  <a:lnTo>
                    <a:pt x="1273" y="2175"/>
                  </a:lnTo>
                  <a:lnTo>
                    <a:pt x="1268" y="2173"/>
                  </a:lnTo>
                  <a:lnTo>
                    <a:pt x="1260" y="2169"/>
                  </a:lnTo>
                  <a:lnTo>
                    <a:pt x="1256" y="2166"/>
                  </a:lnTo>
                  <a:lnTo>
                    <a:pt x="1253" y="2163"/>
                  </a:lnTo>
                  <a:lnTo>
                    <a:pt x="1249" y="2160"/>
                  </a:lnTo>
                  <a:lnTo>
                    <a:pt x="1247" y="2156"/>
                  </a:lnTo>
                  <a:lnTo>
                    <a:pt x="1244" y="2152"/>
                  </a:lnTo>
                  <a:lnTo>
                    <a:pt x="1242" y="2148"/>
                  </a:lnTo>
                  <a:lnTo>
                    <a:pt x="1241" y="2143"/>
                  </a:lnTo>
                  <a:lnTo>
                    <a:pt x="1240" y="2138"/>
                  </a:lnTo>
                  <a:lnTo>
                    <a:pt x="1239" y="2133"/>
                  </a:lnTo>
                  <a:lnTo>
                    <a:pt x="1239" y="2128"/>
                  </a:lnTo>
                  <a:lnTo>
                    <a:pt x="1239" y="2123"/>
                  </a:lnTo>
                  <a:lnTo>
                    <a:pt x="1240" y="2118"/>
                  </a:lnTo>
                  <a:lnTo>
                    <a:pt x="1241" y="2113"/>
                  </a:lnTo>
                  <a:lnTo>
                    <a:pt x="1242" y="2108"/>
                  </a:lnTo>
                  <a:lnTo>
                    <a:pt x="1244" y="2104"/>
                  </a:lnTo>
                  <a:lnTo>
                    <a:pt x="1247" y="2100"/>
                  </a:lnTo>
                  <a:lnTo>
                    <a:pt x="1249" y="2096"/>
                  </a:lnTo>
                  <a:lnTo>
                    <a:pt x="1253" y="2093"/>
                  </a:lnTo>
                  <a:lnTo>
                    <a:pt x="1256" y="2090"/>
                  </a:lnTo>
                  <a:lnTo>
                    <a:pt x="1260" y="2087"/>
                  </a:lnTo>
                  <a:lnTo>
                    <a:pt x="1264" y="2084"/>
                  </a:lnTo>
                  <a:lnTo>
                    <a:pt x="1268" y="2082"/>
                  </a:lnTo>
                  <a:lnTo>
                    <a:pt x="1273" y="2081"/>
                  </a:lnTo>
                  <a:lnTo>
                    <a:pt x="1278" y="2080"/>
                  </a:lnTo>
                  <a:lnTo>
                    <a:pt x="1283" y="2079"/>
                  </a:lnTo>
                  <a:lnTo>
                    <a:pt x="1288" y="2079"/>
                  </a:lnTo>
                  <a:lnTo>
                    <a:pt x="1294" y="2079"/>
                  </a:lnTo>
                  <a:lnTo>
                    <a:pt x="1299" y="2080"/>
                  </a:lnTo>
                  <a:lnTo>
                    <a:pt x="1304" y="2081"/>
                  </a:lnTo>
                  <a:lnTo>
                    <a:pt x="1308" y="2082"/>
                  </a:lnTo>
                  <a:lnTo>
                    <a:pt x="1317" y="2087"/>
                  </a:lnTo>
                  <a:lnTo>
                    <a:pt x="1320" y="2090"/>
                  </a:lnTo>
                  <a:lnTo>
                    <a:pt x="1324" y="2093"/>
                  </a:lnTo>
                  <a:lnTo>
                    <a:pt x="1327" y="2096"/>
                  </a:lnTo>
                  <a:lnTo>
                    <a:pt x="1330" y="2100"/>
                  </a:lnTo>
                  <a:lnTo>
                    <a:pt x="1332" y="2104"/>
                  </a:lnTo>
                  <a:lnTo>
                    <a:pt x="1334" y="2108"/>
                  </a:lnTo>
                  <a:lnTo>
                    <a:pt x="1336" y="2113"/>
                  </a:lnTo>
                  <a:lnTo>
                    <a:pt x="1337" y="2118"/>
                  </a:lnTo>
                  <a:lnTo>
                    <a:pt x="1338" y="2123"/>
                  </a:lnTo>
                  <a:lnTo>
                    <a:pt x="1338" y="2128"/>
                  </a:lnTo>
                  <a:lnTo>
                    <a:pt x="1338" y="2133"/>
                  </a:lnTo>
                  <a:lnTo>
                    <a:pt x="1337" y="2138"/>
                  </a:lnTo>
                  <a:lnTo>
                    <a:pt x="1336" y="2143"/>
                  </a:lnTo>
                  <a:lnTo>
                    <a:pt x="1334" y="2148"/>
                  </a:lnTo>
                  <a:lnTo>
                    <a:pt x="1332" y="2152"/>
                  </a:lnTo>
                  <a:lnTo>
                    <a:pt x="1330" y="2156"/>
                  </a:lnTo>
                  <a:lnTo>
                    <a:pt x="1327" y="2160"/>
                  </a:lnTo>
                  <a:lnTo>
                    <a:pt x="1324" y="2163"/>
                  </a:lnTo>
                  <a:lnTo>
                    <a:pt x="1320" y="2166"/>
                  </a:lnTo>
                  <a:lnTo>
                    <a:pt x="1317" y="2169"/>
                  </a:lnTo>
                  <a:lnTo>
                    <a:pt x="1313" y="2171"/>
                  </a:lnTo>
                  <a:lnTo>
                    <a:pt x="1308" y="2173"/>
                  </a:lnTo>
                  <a:lnTo>
                    <a:pt x="1304" y="2175"/>
                  </a:lnTo>
                  <a:lnTo>
                    <a:pt x="1299" y="2176"/>
                  </a:lnTo>
                  <a:lnTo>
                    <a:pt x="1294" y="2177"/>
                  </a:lnTo>
                  <a:lnTo>
                    <a:pt x="1288" y="2177"/>
                  </a:lnTo>
                  <a:close/>
                  <a:moveTo>
                    <a:pt x="1173" y="2477"/>
                  </a:moveTo>
                  <a:lnTo>
                    <a:pt x="1272" y="2477"/>
                  </a:lnTo>
                  <a:lnTo>
                    <a:pt x="1223" y="2345"/>
                  </a:lnTo>
                  <a:lnTo>
                    <a:pt x="1173" y="2477"/>
                  </a:lnTo>
                  <a:close/>
                  <a:moveTo>
                    <a:pt x="1303" y="2558"/>
                  </a:moveTo>
                  <a:lnTo>
                    <a:pt x="1143" y="2558"/>
                  </a:lnTo>
                  <a:lnTo>
                    <a:pt x="1121" y="2616"/>
                  </a:lnTo>
                  <a:lnTo>
                    <a:pt x="1120" y="2618"/>
                  </a:lnTo>
                  <a:lnTo>
                    <a:pt x="1119" y="2620"/>
                  </a:lnTo>
                  <a:lnTo>
                    <a:pt x="1117" y="2622"/>
                  </a:lnTo>
                  <a:lnTo>
                    <a:pt x="1115" y="2623"/>
                  </a:lnTo>
                  <a:lnTo>
                    <a:pt x="1112" y="2625"/>
                  </a:lnTo>
                  <a:lnTo>
                    <a:pt x="1107" y="2625"/>
                  </a:lnTo>
                  <a:lnTo>
                    <a:pt x="1029" y="2625"/>
                  </a:lnTo>
                  <a:lnTo>
                    <a:pt x="1026" y="2625"/>
                  </a:lnTo>
                  <a:lnTo>
                    <a:pt x="1024" y="2624"/>
                  </a:lnTo>
                  <a:lnTo>
                    <a:pt x="1022" y="2623"/>
                  </a:lnTo>
                  <a:lnTo>
                    <a:pt x="1020" y="2622"/>
                  </a:lnTo>
                  <a:lnTo>
                    <a:pt x="1019" y="2620"/>
                  </a:lnTo>
                  <a:lnTo>
                    <a:pt x="1019" y="2617"/>
                  </a:lnTo>
                  <a:lnTo>
                    <a:pt x="1019" y="2615"/>
                  </a:lnTo>
                  <a:lnTo>
                    <a:pt x="1020" y="2612"/>
                  </a:lnTo>
                  <a:lnTo>
                    <a:pt x="1175" y="2216"/>
                  </a:lnTo>
                  <a:lnTo>
                    <a:pt x="1176" y="2214"/>
                  </a:lnTo>
                  <a:lnTo>
                    <a:pt x="1178" y="2212"/>
                  </a:lnTo>
                  <a:lnTo>
                    <a:pt x="1181" y="2209"/>
                  </a:lnTo>
                  <a:lnTo>
                    <a:pt x="1184" y="2207"/>
                  </a:lnTo>
                  <a:lnTo>
                    <a:pt x="1187" y="2207"/>
                  </a:lnTo>
                  <a:lnTo>
                    <a:pt x="1189" y="2207"/>
                  </a:lnTo>
                  <a:lnTo>
                    <a:pt x="1259" y="2207"/>
                  </a:lnTo>
                  <a:lnTo>
                    <a:pt x="1263" y="2207"/>
                  </a:lnTo>
                  <a:lnTo>
                    <a:pt x="1267" y="2209"/>
                  </a:lnTo>
                  <a:lnTo>
                    <a:pt x="1270" y="2212"/>
                  </a:lnTo>
                  <a:lnTo>
                    <a:pt x="1271" y="2214"/>
                  </a:lnTo>
                  <a:lnTo>
                    <a:pt x="1272" y="2216"/>
                  </a:lnTo>
                  <a:lnTo>
                    <a:pt x="1428" y="2612"/>
                  </a:lnTo>
                  <a:lnTo>
                    <a:pt x="1429" y="2615"/>
                  </a:lnTo>
                  <a:lnTo>
                    <a:pt x="1429" y="2617"/>
                  </a:lnTo>
                  <a:lnTo>
                    <a:pt x="1428" y="2620"/>
                  </a:lnTo>
                  <a:lnTo>
                    <a:pt x="1427" y="2622"/>
                  </a:lnTo>
                  <a:lnTo>
                    <a:pt x="1426" y="2623"/>
                  </a:lnTo>
                  <a:lnTo>
                    <a:pt x="1424" y="2624"/>
                  </a:lnTo>
                  <a:lnTo>
                    <a:pt x="1421" y="2625"/>
                  </a:lnTo>
                  <a:lnTo>
                    <a:pt x="1419" y="2625"/>
                  </a:lnTo>
                  <a:lnTo>
                    <a:pt x="1339" y="2625"/>
                  </a:lnTo>
                  <a:lnTo>
                    <a:pt x="1334" y="2625"/>
                  </a:lnTo>
                  <a:lnTo>
                    <a:pt x="1332" y="2624"/>
                  </a:lnTo>
                  <a:lnTo>
                    <a:pt x="1330" y="2623"/>
                  </a:lnTo>
                  <a:lnTo>
                    <a:pt x="1329" y="2622"/>
                  </a:lnTo>
                  <a:lnTo>
                    <a:pt x="1327" y="2620"/>
                  </a:lnTo>
                  <a:lnTo>
                    <a:pt x="1326" y="2618"/>
                  </a:lnTo>
                  <a:lnTo>
                    <a:pt x="1325" y="2616"/>
                  </a:lnTo>
                  <a:lnTo>
                    <a:pt x="1303" y="2558"/>
                  </a:lnTo>
                  <a:close/>
                  <a:moveTo>
                    <a:pt x="1156" y="2177"/>
                  </a:moveTo>
                  <a:lnTo>
                    <a:pt x="1151" y="2177"/>
                  </a:lnTo>
                  <a:lnTo>
                    <a:pt x="1146" y="2176"/>
                  </a:lnTo>
                  <a:lnTo>
                    <a:pt x="1141" y="2175"/>
                  </a:lnTo>
                  <a:lnTo>
                    <a:pt x="1136" y="2173"/>
                  </a:lnTo>
                  <a:lnTo>
                    <a:pt x="1128" y="2169"/>
                  </a:lnTo>
                  <a:lnTo>
                    <a:pt x="1124" y="2166"/>
                  </a:lnTo>
                  <a:lnTo>
                    <a:pt x="1121" y="2163"/>
                  </a:lnTo>
                  <a:lnTo>
                    <a:pt x="1118" y="2160"/>
                  </a:lnTo>
                  <a:lnTo>
                    <a:pt x="1115" y="2156"/>
                  </a:lnTo>
                  <a:lnTo>
                    <a:pt x="1112" y="2152"/>
                  </a:lnTo>
                  <a:lnTo>
                    <a:pt x="1110" y="2148"/>
                  </a:lnTo>
                  <a:lnTo>
                    <a:pt x="1109" y="2143"/>
                  </a:lnTo>
                  <a:lnTo>
                    <a:pt x="1108" y="2138"/>
                  </a:lnTo>
                  <a:lnTo>
                    <a:pt x="1107" y="2133"/>
                  </a:lnTo>
                  <a:lnTo>
                    <a:pt x="1107" y="2128"/>
                  </a:lnTo>
                  <a:lnTo>
                    <a:pt x="1107" y="2123"/>
                  </a:lnTo>
                  <a:lnTo>
                    <a:pt x="1108" y="2118"/>
                  </a:lnTo>
                  <a:lnTo>
                    <a:pt x="1109" y="2113"/>
                  </a:lnTo>
                  <a:lnTo>
                    <a:pt x="1110" y="2108"/>
                  </a:lnTo>
                  <a:lnTo>
                    <a:pt x="1112" y="2104"/>
                  </a:lnTo>
                  <a:lnTo>
                    <a:pt x="1115" y="2100"/>
                  </a:lnTo>
                  <a:lnTo>
                    <a:pt x="1118" y="2096"/>
                  </a:lnTo>
                  <a:lnTo>
                    <a:pt x="1121" y="2093"/>
                  </a:lnTo>
                  <a:lnTo>
                    <a:pt x="1124" y="2090"/>
                  </a:lnTo>
                  <a:lnTo>
                    <a:pt x="1128" y="2087"/>
                  </a:lnTo>
                  <a:lnTo>
                    <a:pt x="1132" y="2084"/>
                  </a:lnTo>
                  <a:lnTo>
                    <a:pt x="1136" y="2082"/>
                  </a:lnTo>
                  <a:lnTo>
                    <a:pt x="1141" y="2081"/>
                  </a:lnTo>
                  <a:lnTo>
                    <a:pt x="1146" y="2080"/>
                  </a:lnTo>
                  <a:lnTo>
                    <a:pt x="1151" y="2079"/>
                  </a:lnTo>
                  <a:lnTo>
                    <a:pt x="1156" y="2079"/>
                  </a:lnTo>
                  <a:lnTo>
                    <a:pt x="1162" y="2079"/>
                  </a:lnTo>
                  <a:lnTo>
                    <a:pt x="1167" y="2080"/>
                  </a:lnTo>
                  <a:lnTo>
                    <a:pt x="1172" y="2081"/>
                  </a:lnTo>
                  <a:lnTo>
                    <a:pt x="1176" y="2082"/>
                  </a:lnTo>
                  <a:lnTo>
                    <a:pt x="1185" y="2087"/>
                  </a:lnTo>
                  <a:lnTo>
                    <a:pt x="1189" y="2090"/>
                  </a:lnTo>
                  <a:lnTo>
                    <a:pt x="1192" y="2093"/>
                  </a:lnTo>
                  <a:lnTo>
                    <a:pt x="1195" y="2096"/>
                  </a:lnTo>
                  <a:lnTo>
                    <a:pt x="1198" y="2100"/>
                  </a:lnTo>
                  <a:lnTo>
                    <a:pt x="1200" y="2104"/>
                  </a:lnTo>
                  <a:lnTo>
                    <a:pt x="1202" y="2108"/>
                  </a:lnTo>
                  <a:lnTo>
                    <a:pt x="1204" y="2113"/>
                  </a:lnTo>
                  <a:lnTo>
                    <a:pt x="1205" y="2118"/>
                  </a:lnTo>
                  <a:lnTo>
                    <a:pt x="1206" y="2123"/>
                  </a:lnTo>
                  <a:lnTo>
                    <a:pt x="1206" y="2128"/>
                  </a:lnTo>
                  <a:lnTo>
                    <a:pt x="1206" y="2133"/>
                  </a:lnTo>
                  <a:lnTo>
                    <a:pt x="1205" y="2138"/>
                  </a:lnTo>
                  <a:lnTo>
                    <a:pt x="1204" y="2143"/>
                  </a:lnTo>
                  <a:lnTo>
                    <a:pt x="1202" y="2148"/>
                  </a:lnTo>
                  <a:lnTo>
                    <a:pt x="1200" y="2152"/>
                  </a:lnTo>
                  <a:lnTo>
                    <a:pt x="1198" y="2156"/>
                  </a:lnTo>
                  <a:lnTo>
                    <a:pt x="1195" y="2160"/>
                  </a:lnTo>
                  <a:lnTo>
                    <a:pt x="1192" y="2163"/>
                  </a:lnTo>
                  <a:lnTo>
                    <a:pt x="1189" y="2166"/>
                  </a:lnTo>
                  <a:lnTo>
                    <a:pt x="1185" y="2169"/>
                  </a:lnTo>
                  <a:lnTo>
                    <a:pt x="1181" y="2171"/>
                  </a:lnTo>
                  <a:lnTo>
                    <a:pt x="1176" y="2173"/>
                  </a:lnTo>
                  <a:lnTo>
                    <a:pt x="1172" y="2175"/>
                  </a:lnTo>
                  <a:lnTo>
                    <a:pt x="1167" y="2176"/>
                  </a:lnTo>
                  <a:lnTo>
                    <a:pt x="1162" y="2177"/>
                  </a:lnTo>
                  <a:lnTo>
                    <a:pt x="1156" y="2177"/>
                  </a:lnTo>
                  <a:close/>
                  <a:moveTo>
                    <a:pt x="1624" y="2446"/>
                  </a:moveTo>
                  <a:lnTo>
                    <a:pt x="1624" y="2615"/>
                  </a:lnTo>
                  <a:lnTo>
                    <a:pt x="1624" y="2617"/>
                  </a:lnTo>
                  <a:lnTo>
                    <a:pt x="1623" y="2619"/>
                  </a:lnTo>
                  <a:lnTo>
                    <a:pt x="1622" y="2622"/>
                  </a:lnTo>
                  <a:lnTo>
                    <a:pt x="1620" y="2623"/>
                  </a:lnTo>
                  <a:lnTo>
                    <a:pt x="1619" y="2624"/>
                  </a:lnTo>
                  <a:lnTo>
                    <a:pt x="1617" y="2625"/>
                  </a:lnTo>
                  <a:lnTo>
                    <a:pt x="1615" y="2625"/>
                  </a:lnTo>
                  <a:lnTo>
                    <a:pt x="1536" y="2625"/>
                  </a:lnTo>
                  <a:lnTo>
                    <a:pt x="1532" y="2624"/>
                  </a:lnTo>
                  <a:lnTo>
                    <a:pt x="1529" y="2622"/>
                  </a:lnTo>
                  <a:lnTo>
                    <a:pt x="1527" y="2619"/>
                  </a:lnTo>
                  <a:lnTo>
                    <a:pt x="1527" y="2617"/>
                  </a:lnTo>
                  <a:lnTo>
                    <a:pt x="1526" y="2615"/>
                  </a:lnTo>
                  <a:lnTo>
                    <a:pt x="1526" y="2446"/>
                  </a:lnTo>
                  <a:lnTo>
                    <a:pt x="1430" y="2220"/>
                  </a:lnTo>
                  <a:lnTo>
                    <a:pt x="1429" y="2217"/>
                  </a:lnTo>
                  <a:lnTo>
                    <a:pt x="1429" y="2214"/>
                  </a:lnTo>
                  <a:lnTo>
                    <a:pt x="1429" y="2212"/>
                  </a:lnTo>
                  <a:lnTo>
                    <a:pt x="1430" y="2210"/>
                  </a:lnTo>
                  <a:lnTo>
                    <a:pt x="1431" y="2209"/>
                  </a:lnTo>
                  <a:lnTo>
                    <a:pt x="1432" y="2208"/>
                  </a:lnTo>
                  <a:lnTo>
                    <a:pt x="1434" y="2207"/>
                  </a:lnTo>
                  <a:lnTo>
                    <a:pt x="1437" y="2207"/>
                  </a:lnTo>
                  <a:lnTo>
                    <a:pt x="1516" y="2207"/>
                  </a:lnTo>
                  <a:lnTo>
                    <a:pt x="1520" y="2207"/>
                  </a:lnTo>
                  <a:lnTo>
                    <a:pt x="1523" y="2208"/>
                  </a:lnTo>
                  <a:lnTo>
                    <a:pt x="1524" y="2209"/>
                  </a:lnTo>
                  <a:lnTo>
                    <a:pt x="1526" y="2210"/>
                  </a:lnTo>
                  <a:lnTo>
                    <a:pt x="1528" y="2211"/>
                  </a:lnTo>
                  <a:lnTo>
                    <a:pt x="1529" y="2213"/>
                  </a:lnTo>
                  <a:lnTo>
                    <a:pt x="1530" y="2215"/>
                  </a:lnTo>
                  <a:lnTo>
                    <a:pt x="1577" y="2342"/>
                  </a:lnTo>
                  <a:lnTo>
                    <a:pt x="1621" y="2215"/>
                  </a:lnTo>
                  <a:lnTo>
                    <a:pt x="1622" y="2213"/>
                  </a:lnTo>
                  <a:lnTo>
                    <a:pt x="1623" y="2211"/>
                  </a:lnTo>
                  <a:lnTo>
                    <a:pt x="1625" y="2210"/>
                  </a:lnTo>
                  <a:lnTo>
                    <a:pt x="1627" y="2209"/>
                  </a:lnTo>
                  <a:lnTo>
                    <a:pt x="1629" y="2208"/>
                  </a:lnTo>
                  <a:lnTo>
                    <a:pt x="1631" y="2207"/>
                  </a:lnTo>
                  <a:lnTo>
                    <a:pt x="1635" y="2207"/>
                  </a:lnTo>
                  <a:lnTo>
                    <a:pt x="1712" y="2207"/>
                  </a:lnTo>
                  <a:lnTo>
                    <a:pt x="1714" y="2207"/>
                  </a:lnTo>
                  <a:lnTo>
                    <a:pt x="1716" y="2208"/>
                  </a:lnTo>
                  <a:lnTo>
                    <a:pt x="1717" y="2209"/>
                  </a:lnTo>
                  <a:lnTo>
                    <a:pt x="1718" y="2210"/>
                  </a:lnTo>
                  <a:lnTo>
                    <a:pt x="1719" y="2212"/>
                  </a:lnTo>
                  <a:lnTo>
                    <a:pt x="1719" y="2214"/>
                  </a:lnTo>
                  <a:lnTo>
                    <a:pt x="1719" y="2217"/>
                  </a:lnTo>
                  <a:lnTo>
                    <a:pt x="1718" y="2220"/>
                  </a:lnTo>
                  <a:lnTo>
                    <a:pt x="1624" y="2446"/>
                  </a:lnTo>
                  <a:close/>
                  <a:moveTo>
                    <a:pt x="1929" y="2536"/>
                  </a:moveTo>
                  <a:lnTo>
                    <a:pt x="1941" y="2536"/>
                  </a:lnTo>
                  <a:lnTo>
                    <a:pt x="1947" y="2535"/>
                  </a:lnTo>
                  <a:lnTo>
                    <a:pt x="1953" y="2534"/>
                  </a:lnTo>
                  <a:lnTo>
                    <a:pt x="1964" y="2532"/>
                  </a:lnTo>
                  <a:lnTo>
                    <a:pt x="1975" y="2528"/>
                  </a:lnTo>
                  <a:lnTo>
                    <a:pt x="1980" y="2526"/>
                  </a:lnTo>
                  <a:lnTo>
                    <a:pt x="1985" y="2524"/>
                  </a:lnTo>
                  <a:lnTo>
                    <a:pt x="1995" y="2519"/>
                  </a:lnTo>
                  <a:lnTo>
                    <a:pt x="2004" y="2512"/>
                  </a:lnTo>
                  <a:lnTo>
                    <a:pt x="2012" y="2505"/>
                  </a:lnTo>
                  <a:lnTo>
                    <a:pt x="2019" y="2497"/>
                  </a:lnTo>
                  <a:lnTo>
                    <a:pt x="2026" y="2488"/>
                  </a:lnTo>
                  <a:lnTo>
                    <a:pt x="2032" y="2478"/>
                  </a:lnTo>
                  <a:lnTo>
                    <a:pt x="2034" y="2473"/>
                  </a:lnTo>
                  <a:lnTo>
                    <a:pt x="2036" y="2467"/>
                  </a:lnTo>
                  <a:lnTo>
                    <a:pt x="2038" y="2461"/>
                  </a:lnTo>
                  <a:lnTo>
                    <a:pt x="2040" y="2455"/>
                  </a:lnTo>
                  <a:lnTo>
                    <a:pt x="2043" y="2443"/>
                  </a:lnTo>
                  <a:lnTo>
                    <a:pt x="2045" y="2430"/>
                  </a:lnTo>
                  <a:lnTo>
                    <a:pt x="2045" y="2423"/>
                  </a:lnTo>
                  <a:lnTo>
                    <a:pt x="2045" y="2416"/>
                  </a:lnTo>
                  <a:lnTo>
                    <a:pt x="2045" y="2402"/>
                  </a:lnTo>
                  <a:lnTo>
                    <a:pt x="2043" y="2388"/>
                  </a:lnTo>
                  <a:lnTo>
                    <a:pt x="2040" y="2376"/>
                  </a:lnTo>
                  <a:lnTo>
                    <a:pt x="2036" y="2364"/>
                  </a:lnTo>
                  <a:lnTo>
                    <a:pt x="2032" y="2354"/>
                  </a:lnTo>
                  <a:lnTo>
                    <a:pt x="2026" y="2344"/>
                  </a:lnTo>
                  <a:lnTo>
                    <a:pt x="2023" y="2339"/>
                  </a:lnTo>
                  <a:lnTo>
                    <a:pt x="2019" y="2335"/>
                  </a:lnTo>
                  <a:lnTo>
                    <a:pt x="2012" y="2326"/>
                  </a:lnTo>
                  <a:lnTo>
                    <a:pt x="2008" y="2323"/>
                  </a:lnTo>
                  <a:lnTo>
                    <a:pt x="2004" y="2319"/>
                  </a:lnTo>
                  <a:lnTo>
                    <a:pt x="1995" y="2313"/>
                  </a:lnTo>
                  <a:lnTo>
                    <a:pt x="1990" y="2310"/>
                  </a:lnTo>
                  <a:lnTo>
                    <a:pt x="1985" y="2308"/>
                  </a:lnTo>
                  <a:lnTo>
                    <a:pt x="1980" y="2305"/>
                  </a:lnTo>
                  <a:lnTo>
                    <a:pt x="1975" y="2303"/>
                  </a:lnTo>
                  <a:lnTo>
                    <a:pt x="1964" y="2300"/>
                  </a:lnTo>
                  <a:lnTo>
                    <a:pt x="1953" y="2297"/>
                  </a:lnTo>
                  <a:lnTo>
                    <a:pt x="1947" y="2296"/>
                  </a:lnTo>
                  <a:lnTo>
                    <a:pt x="1941" y="2296"/>
                  </a:lnTo>
                  <a:lnTo>
                    <a:pt x="1929" y="2295"/>
                  </a:lnTo>
                  <a:lnTo>
                    <a:pt x="1888" y="2295"/>
                  </a:lnTo>
                  <a:lnTo>
                    <a:pt x="1888" y="2536"/>
                  </a:lnTo>
                  <a:lnTo>
                    <a:pt x="1929" y="2536"/>
                  </a:lnTo>
                  <a:close/>
                  <a:moveTo>
                    <a:pt x="1928" y="2207"/>
                  </a:moveTo>
                  <a:lnTo>
                    <a:pt x="1941" y="2207"/>
                  </a:lnTo>
                  <a:lnTo>
                    <a:pt x="1953" y="2207"/>
                  </a:lnTo>
                  <a:lnTo>
                    <a:pt x="1966" y="2209"/>
                  </a:lnTo>
                  <a:lnTo>
                    <a:pt x="1978" y="2210"/>
                  </a:lnTo>
                  <a:lnTo>
                    <a:pt x="1989" y="2212"/>
                  </a:lnTo>
                  <a:lnTo>
                    <a:pt x="2001" y="2215"/>
                  </a:lnTo>
                  <a:lnTo>
                    <a:pt x="2011" y="2218"/>
                  </a:lnTo>
                  <a:lnTo>
                    <a:pt x="2022" y="2222"/>
                  </a:lnTo>
                  <a:lnTo>
                    <a:pt x="2032" y="2225"/>
                  </a:lnTo>
                  <a:lnTo>
                    <a:pt x="2042" y="2230"/>
                  </a:lnTo>
                  <a:lnTo>
                    <a:pt x="2051" y="2235"/>
                  </a:lnTo>
                  <a:lnTo>
                    <a:pt x="2061" y="2240"/>
                  </a:lnTo>
                  <a:lnTo>
                    <a:pt x="2069" y="2245"/>
                  </a:lnTo>
                  <a:lnTo>
                    <a:pt x="2078" y="2251"/>
                  </a:lnTo>
                  <a:lnTo>
                    <a:pt x="2085" y="2257"/>
                  </a:lnTo>
                  <a:lnTo>
                    <a:pt x="2093" y="2264"/>
                  </a:lnTo>
                  <a:lnTo>
                    <a:pt x="2100" y="2271"/>
                  </a:lnTo>
                  <a:lnTo>
                    <a:pt x="2107" y="2279"/>
                  </a:lnTo>
                  <a:lnTo>
                    <a:pt x="2113" y="2286"/>
                  </a:lnTo>
                  <a:lnTo>
                    <a:pt x="2119" y="2294"/>
                  </a:lnTo>
                  <a:lnTo>
                    <a:pt x="2121" y="2299"/>
                  </a:lnTo>
                  <a:lnTo>
                    <a:pt x="2124" y="2303"/>
                  </a:lnTo>
                  <a:lnTo>
                    <a:pt x="2129" y="2312"/>
                  </a:lnTo>
                  <a:lnTo>
                    <a:pt x="2133" y="2321"/>
                  </a:lnTo>
                  <a:lnTo>
                    <a:pt x="2137" y="2330"/>
                  </a:lnTo>
                  <a:lnTo>
                    <a:pt x="2141" y="2340"/>
                  </a:lnTo>
                  <a:lnTo>
                    <a:pt x="2144" y="2350"/>
                  </a:lnTo>
                  <a:lnTo>
                    <a:pt x="2147" y="2360"/>
                  </a:lnTo>
                  <a:lnTo>
                    <a:pt x="2149" y="2371"/>
                  </a:lnTo>
                  <a:lnTo>
                    <a:pt x="2151" y="2382"/>
                  </a:lnTo>
                  <a:lnTo>
                    <a:pt x="2152" y="2393"/>
                  </a:lnTo>
                  <a:lnTo>
                    <a:pt x="2153" y="2404"/>
                  </a:lnTo>
                  <a:lnTo>
                    <a:pt x="2153" y="2416"/>
                  </a:lnTo>
                  <a:lnTo>
                    <a:pt x="2153" y="2427"/>
                  </a:lnTo>
                  <a:lnTo>
                    <a:pt x="2152" y="2439"/>
                  </a:lnTo>
                  <a:lnTo>
                    <a:pt x="2151" y="2450"/>
                  </a:lnTo>
                  <a:lnTo>
                    <a:pt x="2149" y="2461"/>
                  </a:lnTo>
                  <a:lnTo>
                    <a:pt x="2147" y="2471"/>
                  </a:lnTo>
                  <a:lnTo>
                    <a:pt x="2144" y="2481"/>
                  </a:lnTo>
                  <a:lnTo>
                    <a:pt x="2141" y="2491"/>
                  </a:lnTo>
                  <a:lnTo>
                    <a:pt x="2137" y="2501"/>
                  </a:lnTo>
                  <a:lnTo>
                    <a:pt x="2133" y="2511"/>
                  </a:lnTo>
                  <a:lnTo>
                    <a:pt x="2129" y="2520"/>
                  </a:lnTo>
                  <a:lnTo>
                    <a:pt x="2124" y="2528"/>
                  </a:lnTo>
                  <a:lnTo>
                    <a:pt x="2119" y="2537"/>
                  </a:lnTo>
                  <a:lnTo>
                    <a:pt x="2113" y="2545"/>
                  </a:lnTo>
                  <a:lnTo>
                    <a:pt x="2107" y="2553"/>
                  </a:lnTo>
                  <a:lnTo>
                    <a:pt x="2100" y="2560"/>
                  </a:lnTo>
                  <a:lnTo>
                    <a:pt x="2093" y="2567"/>
                  </a:lnTo>
                  <a:lnTo>
                    <a:pt x="2085" y="2574"/>
                  </a:lnTo>
                  <a:lnTo>
                    <a:pt x="2078" y="2580"/>
                  </a:lnTo>
                  <a:lnTo>
                    <a:pt x="2069" y="2586"/>
                  </a:lnTo>
                  <a:lnTo>
                    <a:pt x="2061" y="2592"/>
                  </a:lnTo>
                  <a:lnTo>
                    <a:pt x="2051" y="2597"/>
                  </a:lnTo>
                  <a:lnTo>
                    <a:pt x="2042" y="2602"/>
                  </a:lnTo>
                  <a:lnTo>
                    <a:pt x="2032" y="2606"/>
                  </a:lnTo>
                  <a:lnTo>
                    <a:pt x="2022" y="2610"/>
                  </a:lnTo>
                  <a:lnTo>
                    <a:pt x="2011" y="2613"/>
                  </a:lnTo>
                  <a:lnTo>
                    <a:pt x="2001" y="2616"/>
                  </a:lnTo>
                  <a:lnTo>
                    <a:pt x="1989" y="2619"/>
                  </a:lnTo>
                  <a:lnTo>
                    <a:pt x="1978" y="2621"/>
                  </a:lnTo>
                  <a:lnTo>
                    <a:pt x="1966" y="2623"/>
                  </a:lnTo>
                  <a:lnTo>
                    <a:pt x="1953" y="2624"/>
                  </a:lnTo>
                  <a:lnTo>
                    <a:pt x="1941" y="2625"/>
                  </a:lnTo>
                  <a:lnTo>
                    <a:pt x="1928" y="2625"/>
                  </a:lnTo>
                  <a:lnTo>
                    <a:pt x="1795" y="2625"/>
                  </a:lnTo>
                  <a:lnTo>
                    <a:pt x="1791" y="2624"/>
                  </a:lnTo>
                  <a:lnTo>
                    <a:pt x="1788" y="2622"/>
                  </a:lnTo>
                  <a:lnTo>
                    <a:pt x="1787" y="2621"/>
                  </a:lnTo>
                  <a:lnTo>
                    <a:pt x="1786" y="2619"/>
                  </a:lnTo>
                  <a:lnTo>
                    <a:pt x="1785" y="2617"/>
                  </a:lnTo>
                  <a:lnTo>
                    <a:pt x="1785" y="2615"/>
                  </a:lnTo>
                  <a:lnTo>
                    <a:pt x="1785" y="2217"/>
                  </a:lnTo>
                  <a:lnTo>
                    <a:pt x="1785" y="2214"/>
                  </a:lnTo>
                  <a:lnTo>
                    <a:pt x="1786" y="2212"/>
                  </a:lnTo>
                  <a:lnTo>
                    <a:pt x="1788" y="2209"/>
                  </a:lnTo>
                  <a:lnTo>
                    <a:pt x="1789" y="2208"/>
                  </a:lnTo>
                  <a:lnTo>
                    <a:pt x="1791" y="2207"/>
                  </a:lnTo>
                  <a:lnTo>
                    <a:pt x="1795" y="2207"/>
                  </a:lnTo>
                  <a:lnTo>
                    <a:pt x="1928" y="2207"/>
                  </a:lnTo>
                  <a:close/>
                  <a:moveTo>
                    <a:pt x="2397" y="2177"/>
                  </a:moveTo>
                  <a:lnTo>
                    <a:pt x="2392" y="2177"/>
                  </a:lnTo>
                  <a:lnTo>
                    <a:pt x="2386" y="2176"/>
                  </a:lnTo>
                  <a:lnTo>
                    <a:pt x="2382" y="2175"/>
                  </a:lnTo>
                  <a:lnTo>
                    <a:pt x="2377" y="2173"/>
                  </a:lnTo>
                  <a:lnTo>
                    <a:pt x="2368" y="2169"/>
                  </a:lnTo>
                  <a:lnTo>
                    <a:pt x="2365" y="2166"/>
                  </a:lnTo>
                  <a:lnTo>
                    <a:pt x="2361" y="2163"/>
                  </a:lnTo>
                  <a:lnTo>
                    <a:pt x="2358" y="2160"/>
                  </a:lnTo>
                  <a:lnTo>
                    <a:pt x="2355" y="2156"/>
                  </a:lnTo>
                  <a:lnTo>
                    <a:pt x="2353" y="2152"/>
                  </a:lnTo>
                  <a:lnTo>
                    <a:pt x="2351" y="2148"/>
                  </a:lnTo>
                  <a:lnTo>
                    <a:pt x="2349" y="2143"/>
                  </a:lnTo>
                  <a:lnTo>
                    <a:pt x="2348" y="2138"/>
                  </a:lnTo>
                  <a:lnTo>
                    <a:pt x="2347" y="2133"/>
                  </a:lnTo>
                  <a:lnTo>
                    <a:pt x="2347" y="2128"/>
                  </a:lnTo>
                  <a:lnTo>
                    <a:pt x="2347" y="2123"/>
                  </a:lnTo>
                  <a:lnTo>
                    <a:pt x="2348" y="2118"/>
                  </a:lnTo>
                  <a:lnTo>
                    <a:pt x="2349" y="2113"/>
                  </a:lnTo>
                  <a:lnTo>
                    <a:pt x="2351" y="2108"/>
                  </a:lnTo>
                  <a:lnTo>
                    <a:pt x="2353" y="2104"/>
                  </a:lnTo>
                  <a:lnTo>
                    <a:pt x="2355" y="2100"/>
                  </a:lnTo>
                  <a:lnTo>
                    <a:pt x="2358" y="2096"/>
                  </a:lnTo>
                  <a:lnTo>
                    <a:pt x="2361" y="2093"/>
                  </a:lnTo>
                  <a:lnTo>
                    <a:pt x="2365" y="2090"/>
                  </a:lnTo>
                  <a:lnTo>
                    <a:pt x="2368" y="2087"/>
                  </a:lnTo>
                  <a:lnTo>
                    <a:pt x="2373" y="2084"/>
                  </a:lnTo>
                  <a:lnTo>
                    <a:pt x="2377" y="2082"/>
                  </a:lnTo>
                  <a:lnTo>
                    <a:pt x="2382" y="2081"/>
                  </a:lnTo>
                  <a:lnTo>
                    <a:pt x="2386" y="2080"/>
                  </a:lnTo>
                  <a:lnTo>
                    <a:pt x="2392" y="2079"/>
                  </a:lnTo>
                  <a:lnTo>
                    <a:pt x="2397" y="2079"/>
                  </a:lnTo>
                  <a:lnTo>
                    <a:pt x="2402" y="2079"/>
                  </a:lnTo>
                  <a:lnTo>
                    <a:pt x="2407" y="2080"/>
                  </a:lnTo>
                  <a:lnTo>
                    <a:pt x="2412" y="2081"/>
                  </a:lnTo>
                  <a:lnTo>
                    <a:pt x="2417" y="2082"/>
                  </a:lnTo>
                  <a:lnTo>
                    <a:pt x="2425" y="2087"/>
                  </a:lnTo>
                  <a:lnTo>
                    <a:pt x="2429" y="2090"/>
                  </a:lnTo>
                  <a:lnTo>
                    <a:pt x="2433" y="2093"/>
                  </a:lnTo>
                  <a:lnTo>
                    <a:pt x="2436" y="2096"/>
                  </a:lnTo>
                  <a:lnTo>
                    <a:pt x="2438" y="2100"/>
                  </a:lnTo>
                  <a:lnTo>
                    <a:pt x="2441" y="2104"/>
                  </a:lnTo>
                  <a:lnTo>
                    <a:pt x="2443" y="2108"/>
                  </a:lnTo>
                  <a:lnTo>
                    <a:pt x="2444" y="2113"/>
                  </a:lnTo>
                  <a:lnTo>
                    <a:pt x="2446" y="2118"/>
                  </a:lnTo>
                  <a:lnTo>
                    <a:pt x="2446" y="2123"/>
                  </a:lnTo>
                  <a:lnTo>
                    <a:pt x="2447" y="2128"/>
                  </a:lnTo>
                  <a:lnTo>
                    <a:pt x="2446" y="2133"/>
                  </a:lnTo>
                  <a:lnTo>
                    <a:pt x="2446" y="2138"/>
                  </a:lnTo>
                  <a:lnTo>
                    <a:pt x="2444" y="2143"/>
                  </a:lnTo>
                  <a:lnTo>
                    <a:pt x="2443" y="2148"/>
                  </a:lnTo>
                  <a:lnTo>
                    <a:pt x="2441" y="2152"/>
                  </a:lnTo>
                  <a:lnTo>
                    <a:pt x="2438" y="2156"/>
                  </a:lnTo>
                  <a:lnTo>
                    <a:pt x="2436" y="2160"/>
                  </a:lnTo>
                  <a:lnTo>
                    <a:pt x="2433" y="2163"/>
                  </a:lnTo>
                  <a:lnTo>
                    <a:pt x="2429" y="2166"/>
                  </a:lnTo>
                  <a:lnTo>
                    <a:pt x="2425" y="2169"/>
                  </a:lnTo>
                  <a:lnTo>
                    <a:pt x="2421" y="2171"/>
                  </a:lnTo>
                  <a:lnTo>
                    <a:pt x="2417" y="2173"/>
                  </a:lnTo>
                  <a:lnTo>
                    <a:pt x="2412" y="2175"/>
                  </a:lnTo>
                  <a:lnTo>
                    <a:pt x="2407" y="2176"/>
                  </a:lnTo>
                  <a:lnTo>
                    <a:pt x="2402" y="2177"/>
                  </a:lnTo>
                  <a:lnTo>
                    <a:pt x="2397" y="2177"/>
                  </a:lnTo>
                  <a:close/>
                  <a:moveTo>
                    <a:pt x="2303" y="2480"/>
                  </a:moveTo>
                  <a:lnTo>
                    <a:pt x="2357" y="2480"/>
                  </a:lnTo>
                  <a:lnTo>
                    <a:pt x="2331" y="2354"/>
                  </a:lnTo>
                  <a:lnTo>
                    <a:pt x="2303" y="2480"/>
                  </a:lnTo>
                  <a:close/>
                  <a:moveTo>
                    <a:pt x="2372" y="2558"/>
                  </a:moveTo>
                  <a:lnTo>
                    <a:pt x="2289" y="2558"/>
                  </a:lnTo>
                  <a:lnTo>
                    <a:pt x="2277" y="2615"/>
                  </a:lnTo>
                  <a:lnTo>
                    <a:pt x="2276" y="2618"/>
                  </a:lnTo>
                  <a:lnTo>
                    <a:pt x="2275" y="2620"/>
                  </a:lnTo>
                  <a:lnTo>
                    <a:pt x="2273" y="2623"/>
                  </a:lnTo>
                  <a:lnTo>
                    <a:pt x="2271" y="2624"/>
                  </a:lnTo>
                  <a:lnTo>
                    <a:pt x="2269" y="2625"/>
                  </a:lnTo>
                  <a:lnTo>
                    <a:pt x="2267" y="2625"/>
                  </a:lnTo>
                  <a:lnTo>
                    <a:pt x="2265" y="2625"/>
                  </a:lnTo>
                  <a:lnTo>
                    <a:pt x="2192" y="2625"/>
                  </a:lnTo>
                  <a:lnTo>
                    <a:pt x="2190" y="2625"/>
                  </a:lnTo>
                  <a:lnTo>
                    <a:pt x="2188" y="2624"/>
                  </a:lnTo>
                  <a:lnTo>
                    <a:pt x="2187" y="2623"/>
                  </a:lnTo>
                  <a:lnTo>
                    <a:pt x="2185" y="2622"/>
                  </a:lnTo>
                  <a:lnTo>
                    <a:pt x="2184" y="2620"/>
                  </a:lnTo>
                  <a:lnTo>
                    <a:pt x="2184" y="2618"/>
                  </a:lnTo>
                  <a:lnTo>
                    <a:pt x="2185" y="2612"/>
                  </a:lnTo>
                  <a:lnTo>
                    <a:pt x="2277" y="2217"/>
                  </a:lnTo>
                  <a:lnTo>
                    <a:pt x="2278" y="2214"/>
                  </a:lnTo>
                  <a:lnTo>
                    <a:pt x="2279" y="2212"/>
                  </a:lnTo>
                  <a:lnTo>
                    <a:pt x="2281" y="2209"/>
                  </a:lnTo>
                  <a:lnTo>
                    <a:pt x="2283" y="2208"/>
                  </a:lnTo>
                  <a:lnTo>
                    <a:pt x="2285" y="2207"/>
                  </a:lnTo>
                  <a:lnTo>
                    <a:pt x="2290" y="2207"/>
                  </a:lnTo>
                  <a:lnTo>
                    <a:pt x="2372" y="2207"/>
                  </a:lnTo>
                  <a:lnTo>
                    <a:pt x="2375" y="2207"/>
                  </a:lnTo>
                  <a:lnTo>
                    <a:pt x="2377" y="2207"/>
                  </a:lnTo>
                  <a:lnTo>
                    <a:pt x="2381" y="2209"/>
                  </a:lnTo>
                  <a:lnTo>
                    <a:pt x="2384" y="2212"/>
                  </a:lnTo>
                  <a:lnTo>
                    <a:pt x="2384" y="2214"/>
                  </a:lnTo>
                  <a:lnTo>
                    <a:pt x="2385" y="2217"/>
                  </a:lnTo>
                  <a:lnTo>
                    <a:pt x="2477" y="2612"/>
                  </a:lnTo>
                  <a:lnTo>
                    <a:pt x="2478" y="2618"/>
                  </a:lnTo>
                  <a:lnTo>
                    <a:pt x="2478" y="2620"/>
                  </a:lnTo>
                  <a:lnTo>
                    <a:pt x="2477" y="2622"/>
                  </a:lnTo>
                  <a:lnTo>
                    <a:pt x="2476" y="2623"/>
                  </a:lnTo>
                  <a:lnTo>
                    <a:pt x="2474" y="2624"/>
                  </a:lnTo>
                  <a:lnTo>
                    <a:pt x="2470" y="2625"/>
                  </a:lnTo>
                  <a:lnTo>
                    <a:pt x="2395" y="2625"/>
                  </a:lnTo>
                  <a:lnTo>
                    <a:pt x="2391" y="2625"/>
                  </a:lnTo>
                  <a:lnTo>
                    <a:pt x="2388" y="2623"/>
                  </a:lnTo>
                  <a:lnTo>
                    <a:pt x="2386" y="2621"/>
                  </a:lnTo>
                  <a:lnTo>
                    <a:pt x="2385" y="2620"/>
                  </a:lnTo>
                  <a:lnTo>
                    <a:pt x="2384" y="2618"/>
                  </a:lnTo>
                  <a:lnTo>
                    <a:pt x="2383" y="2615"/>
                  </a:lnTo>
                  <a:lnTo>
                    <a:pt x="2372" y="2558"/>
                  </a:lnTo>
                  <a:close/>
                  <a:moveTo>
                    <a:pt x="2264" y="2177"/>
                  </a:moveTo>
                  <a:lnTo>
                    <a:pt x="2259" y="2177"/>
                  </a:lnTo>
                  <a:lnTo>
                    <a:pt x="2254" y="2176"/>
                  </a:lnTo>
                  <a:lnTo>
                    <a:pt x="2249" y="2175"/>
                  </a:lnTo>
                  <a:lnTo>
                    <a:pt x="2244" y="2173"/>
                  </a:lnTo>
                  <a:lnTo>
                    <a:pt x="2236" y="2169"/>
                  </a:lnTo>
                  <a:lnTo>
                    <a:pt x="2232" y="2166"/>
                  </a:lnTo>
                  <a:lnTo>
                    <a:pt x="2228" y="2163"/>
                  </a:lnTo>
                  <a:lnTo>
                    <a:pt x="2225" y="2160"/>
                  </a:lnTo>
                  <a:lnTo>
                    <a:pt x="2222" y="2156"/>
                  </a:lnTo>
                  <a:lnTo>
                    <a:pt x="2220" y="2152"/>
                  </a:lnTo>
                  <a:lnTo>
                    <a:pt x="2218" y="2148"/>
                  </a:lnTo>
                  <a:lnTo>
                    <a:pt x="2216" y="2143"/>
                  </a:lnTo>
                  <a:lnTo>
                    <a:pt x="2215" y="2138"/>
                  </a:lnTo>
                  <a:lnTo>
                    <a:pt x="2215" y="2133"/>
                  </a:lnTo>
                  <a:lnTo>
                    <a:pt x="2214" y="2128"/>
                  </a:lnTo>
                  <a:lnTo>
                    <a:pt x="2215" y="2123"/>
                  </a:lnTo>
                  <a:lnTo>
                    <a:pt x="2215" y="2118"/>
                  </a:lnTo>
                  <a:lnTo>
                    <a:pt x="2216" y="2113"/>
                  </a:lnTo>
                  <a:lnTo>
                    <a:pt x="2218" y="2108"/>
                  </a:lnTo>
                  <a:lnTo>
                    <a:pt x="2220" y="2104"/>
                  </a:lnTo>
                  <a:lnTo>
                    <a:pt x="2222" y="2100"/>
                  </a:lnTo>
                  <a:lnTo>
                    <a:pt x="2225" y="2096"/>
                  </a:lnTo>
                  <a:lnTo>
                    <a:pt x="2228" y="2093"/>
                  </a:lnTo>
                  <a:lnTo>
                    <a:pt x="2232" y="2090"/>
                  </a:lnTo>
                  <a:lnTo>
                    <a:pt x="2236" y="2087"/>
                  </a:lnTo>
                  <a:lnTo>
                    <a:pt x="2240" y="2084"/>
                  </a:lnTo>
                  <a:lnTo>
                    <a:pt x="2244" y="2082"/>
                  </a:lnTo>
                  <a:lnTo>
                    <a:pt x="2249" y="2081"/>
                  </a:lnTo>
                  <a:lnTo>
                    <a:pt x="2254" y="2080"/>
                  </a:lnTo>
                  <a:lnTo>
                    <a:pt x="2259" y="2079"/>
                  </a:lnTo>
                  <a:lnTo>
                    <a:pt x="2264" y="2079"/>
                  </a:lnTo>
                  <a:lnTo>
                    <a:pt x="2269" y="2079"/>
                  </a:lnTo>
                  <a:lnTo>
                    <a:pt x="2274" y="2080"/>
                  </a:lnTo>
                  <a:lnTo>
                    <a:pt x="2279" y="2081"/>
                  </a:lnTo>
                  <a:lnTo>
                    <a:pt x="2284" y="2082"/>
                  </a:lnTo>
                  <a:lnTo>
                    <a:pt x="2292" y="2087"/>
                  </a:lnTo>
                  <a:lnTo>
                    <a:pt x="2296" y="2090"/>
                  </a:lnTo>
                  <a:lnTo>
                    <a:pt x="2300" y="2093"/>
                  </a:lnTo>
                  <a:lnTo>
                    <a:pt x="2303" y="2096"/>
                  </a:lnTo>
                  <a:lnTo>
                    <a:pt x="2306" y="2100"/>
                  </a:lnTo>
                  <a:lnTo>
                    <a:pt x="2308" y="2104"/>
                  </a:lnTo>
                  <a:lnTo>
                    <a:pt x="2310" y="2108"/>
                  </a:lnTo>
                  <a:lnTo>
                    <a:pt x="2313" y="2113"/>
                  </a:lnTo>
                  <a:lnTo>
                    <a:pt x="2314" y="2118"/>
                  </a:lnTo>
                  <a:lnTo>
                    <a:pt x="2314" y="2123"/>
                  </a:lnTo>
                  <a:lnTo>
                    <a:pt x="2315" y="2128"/>
                  </a:lnTo>
                  <a:lnTo>
                    <a:pt x="2314" y="2133"/>
                  </a:lnTo>
                  <a:lnTo>
                    <a:pt x="2314" y="2138"/>
                  </a:lnTo>
                  <a:lnTo>
                    <a:pt x="2313" y="2143"/>
                  </a:lnTo>
                  <a:lnTo>
                    <a:pt x="2310" y="2148"/>
                  </a:lnTo>
                  <a:lnTo>
                    <a:pt x="2308" y="2152"/>
                  </a:lnTo>
                  <a:lnTo>
                    <a:pt x="2306" y="2156"/>
                  </a:lnTo>
                  <a:lnTo>
                    <a:pt x="2303" y="2160"/>
                  </a:lnTo>
                  <a:lnTo>
                    <a:pt x="2300" y="2163"/>
                  </a:lnTo>
                  <a:lnTo>
                    <a:pt x="2296" y="2166"/>
                  </a:lnTo>
                  <a:lnTo>
                    <a:pt x="2292" y="2169"/>
                  </a:lnTo>
                  <a:lnTo>
                    <a:pt x="2288" y="2171"/>
                  </a:lnTo>
                  <a:lnTo>
                    <a:pt x="2284" y="2173"/>
                  </a:lnTo>
                  <a:lnTo>
                    <a:pt x="2279" y="2175"/>
                  </a:lnTo>
                  <a:lnTo>
                    <a:pt x="2274" y="2176"/>
                  </a:lnTo>
                  <a:lnTo>
                    <a:pt x="2269" y="2177"/>
                  </a:lnTo>
                  <a:lnTo>
                    <a:pt x="2264" y="2177"/>
                  </a:lnTo>
                  <a:close/>
                  <a:moveTo>
                    <a:pt x="1209" y="341"/>
                  </a:moveTo>
                  <a:lnTo>
                    <a:pt x="1221" y="341"/>
                  </a:lnTo>
                  <a:lnTo>
                    <a:pt x="1233" y="339"/>
                  </a:lnTo>
                  <a:lnTo>
                    <a:pt x="1244" y="336"/>
                  </a:lnTo>
                  <a:lnTo>
                    <a:pt x="1250" y="334"/>
                  </a:lnTo>
                  <a:lnTo>
                    <a:pt x="1255" y="332"/>
                  </a:lnTo>
                  <a:lnTo>
                    <a:pt x="1265" y="327"/>
                  </a:lnTo>
                  <a:lnTo>
                    <a:pt x="1275" y="322"/>
                  </a:lnTo>
                  <a:lnTo>
                    <a:pt x="1284" y="315"/>
                  </a:lnTo>
                  <a:lnTo>
                    <a:pt x="1292" y="307"/>
                  </a:lnTo>
                  <a:lnTo>
                    <a:pt x="1299" y="299"/>
                  </a:lnTo>
                  <a:lnTo>
                    <a:pt x="1306" y="289"/>
                  </a:lnTo>
                  <a:lnTo>
                    <a:pt x="1311" y="279"/>
                  </a:lnTo>
                  <a:lnTo>
                    <a:pt x="1316" y="268"/>
                  </a:lnTo>
                  <a:lnTo>
                    <a:pt x="1318" y="262"/>
                  </a:lnTo>
                  <a:lnTo>
                    <a:pt x="1320" y="256"/>
                  </a:lnTo>
                  <a:lnTo>
                    <a:pt x="1323" y="243"/>
                  </a:lnTo>
                  <a:lnTo>
                    <a:pt x="1324" y="230"/>
                  </a:lnTo>
                  <a:lnTo>
                    <a:pt x="1325" y="223"/>
                  </a:lnTo>
                  <a:lnTo>
                    <a:pt x="1325" y="216"/>
                  </a:lnTo>
                  <a:lnTo>
                    <a:pt x="1324" y="202"/>
                  </a:lnTo>
                  <a:lnTo>
                    <a:pt x="1323" y="189"/>
                  </a:lnTo>
                  <a:lnTo>
                    <a:pt x="1320" y="177"/>
                  </a:lnTo>
                  <a:lnTo>
                    <a:pt x="1318" y="171"/>
                  </a:lnTo>
                  <a:lnTo>
                    <a:pt x="1316" y="165"/>
                  </a:lnTo>
                  <a:lnTo>
                    <a:pt x="1311" y="154"/>
                  </a:lnTo>
                  <a:lnTo>
                    <a:pt x="1306" y="144"/>
                  </a:lnTo>
                  <a:lnTo>
                    <a:pt x="1299" y="134"/>
                  </a:lnTo>
                  <a:lnTo>
                    <a:pt x="1296" y="130"/>
                  </a:lnTo>
                  <a:lnTo>
                    <a:pt x="1292" y="126"/>
                  </a:lnTo>
                  <a:lnTo>
                    <a:pt x="1288" y="122"/>
                  </a:lnTo>
                  <a:lnTo>
                    <a:pt x="1284" y="118"/>
                  </a:lnTo>
                  <a:lnTo>
                    <a:pt x="1279" y="114"/>
                  </a:lnTo>
                  <a:lnTo>
                    <a:pt x="1275" y="111"/>
                  </a:lnTo>
                  <a:lnTo>
                    <a:pt x="1265" y="105"/>
                  </a:lnTo>
                  <a:lnTo>
                    <a:pt x="1260" y="103"/>
                  </a:lnTo>
                  <a:lnTo>
                    <a:pt x="1255" y="100"/>
                  </a:lnTo>
                  <a:lnTo>
                    <a:pt x="1250" y="98"/>
                  </a:lnTo>
                  <a:lnTo>
                    <a:pt x="1244" y="97"/>
                  </a:lnTo>
                  <a:lnTo>
                    <a:pt x="1233" y="94"/>
                  </a:lnTo>
                  <a:lnTo>
                    <a:pt x="1221" y="92"/>
                  </a:lnTo>
                  <a:lnTo>
                    <a:pt x="1215" y="92"/>
                  </a:lnTo>
                  <a:lnTo>
                    <a:pt x="1209" y="92"/>
                  </a:lnTo>
                  <a:lnTo>
                    <a:pt x="1197" y="92"/>
                  </a:lnTo>
                  <a:lnTo>
                    <a:pt x="1185" y="94"/>
                  </a:lnTo>
                  <a:lnTo>
                    <a:pt x="1174" y="97"/>
                  </a:lnTo>
                  <a:lnTo>
                    <a:pt x="1169" y="98"/>
                  </a:lnTo>
                  <a:lnTo>
                    <a:pt x="1163" y="100"/>
                  </a:lnTo>
                  <a:lnTo>
                    <a:pt x="1153" y="105"/>
                  </a:lnTo>
                  <a:lnTo>
                    <a:pt x="1144" y="111"/>
                  </a:lnTo>
                  <a:lnTo>
                    <a:pt x="1135" y="118"/>
                  </a:lnTo>
                  <a:lnTo>
                    <a:pt x="1127" y="126"/>
                  </a:lnTo>
                  <a:lnTo>
                    <a:pt x="1119" y="134"/>
                  </a:lnTo>
                  <a:lnTo>
                    <a:pt x="1113" y="144"/>
                  </a:lnTo>
                  <a:lnTo>
                    <a:pt x="1107" y="154"/>
                  </a:lnTo>
                  <a:lnTo>
                    <a:pt x="1102" y="165"/>
                  </a:lnTo>
                  <a:lnTo>
                    <a:pt x="1100" y="171"/>
                  </a:lnTo>
                  <a:lnTo>
                    <a:pt x="1098" y="177"/>
                  </a:lnTo>
                  <a:lnTo>
                    <a:pt x="1096" y="189"/>
                  </a:lnTo>
                  <a:lnTo>
                    <a:pt x="1094" y="202"/>
                  </a:lnTo>
                  <a:lnTo>
                    <a:pt x="1093" y="209"/>
                  </a:lnTo>
                  <a:lnTo>
                    <a:pt x="1093" y="216"/>
                  </a:lnTo>
                  <a:lnTo>
                    <a:pt x="1094" y="230"/>
                  </a:lnTo>
                  <a:lnTo>
                    <a:pt x="1096" y="243"/>
                  </a:lnTo>
                  <a:lnTo>
                    <a:pt x="1098" y="256"/>
                  </a:lnTo>
                  <a:lnTo>
                    <a:pt x="1100" y="262"/>
                  </a:lnTo>
                  <a:lnTo>
                    <a:pt x="1102" y="268"/>
                  </a:lnTo>
                  <a:lnTo>
                    <a:pt x="1107" y="279"/>
                  </a:lnTo>
                  <a:lnTo>
                    <a:pt x="1113" y="289"/>
                  </a:lnTo>
                  <a:lnTo>
                    <a:pt x="1119" y="299"/>
                  </a:lnTo>
                  <a:lnTo>
                    <a:pt x="1123" y="303"/>
                  </a:lnTo>
                  <a:lnTo>
                    <a:pt x="1127" y="307"/>
                  </a:lnTo>
                  <a:lnTo>
                    <a:pt x="1131" y="311"/>
                  </a:lnTo>
                  <a:lnTo>
                    <a:pt x="1135" y="315"/>
                  </a:lnTo>
                  <a:lnTo>
                    <a:pt x="1139" y="318"/>
                  </a:lnTo>
                  <a:lnTo>
                    <a:pt x="1144" y="322"/>
                  </a:lnTo>
                  <a:lnTo>
                    <a:pt x="1153" y="327"/>
                  </a:lnTo>
                  <a:lnTo>
                    <a:pt x="1158" y="330"/>
                  </a:lnTo>
                  <a:lnTo>
                    <a:pt x="1163" y="332"/>
                  </a:lnTo>
                  <a:lnTo>
                    <a:pt x="1169" y="334"/>
                  </a:lnTo>
                  <a:lnTo>
                    <a:pt x="1174" y="336"/>
                  </a:lnTo>
                  <a:lnTo>
                    <a:pt x="1185" y="339"/>
                  </a:lnTo>
                  <a:lnTo>
                    <a:pt x="1197" y="341"/>
                  </a:lnTo>
                  <a:lnTo>
                    <a:pt x="1203" y="341"/>
                  </a:lnTo>
                  <a:lnTo>
                    <a:pt x="1209" y="341"/>
                  </a:lnTo>
                  <a:close/>
                  <a:moveTo>
                    <a:pt x="1209" y="0"/>
                  </a:moveTo>
                  <a:lnTo>
                    <a:pt x="1221" y="0"/>
                  </a:lnTo>
                  <a:lnTo>
                    <a:pt x="1233" y="1"/>
                  </a:lnTo>
                  <a:lnTo>
                    <a:pt x="1244" y="2"/>
                  </a:lnTo>
                  <a:lnTo>
                    <a:pt x="1256" y="4"/>
                  </a:lnTo>
                  <a:lnTo>
                    <a:pt x="1267" y="6"/>
                  </a:lnTo>
                  <a:lnTo>
                    <a:pt x="1277" y="9"/>
                  </a:lnTo>
                  <a:lnTo>
                    <a:pt x="1288" y="12"/>
                  </a:lnTo>
                  <a:lnTo>
                    <a:pt x="1298" y="16"/>
                  </a:lnTo>
                  <a:lnTo>
                    <a:pt x="1308" y="20"/>
                  </a:lnTo>
                  <a:lnTo>
                    <a:pt x="1318" y="25"/>
                  </a:lnTo>
                  <a:lnTo>
                    <a:pt x="1327" y="30"/>
                  </a:lnTo>
                  <a:lnTo>
                    <a:pt x="1336" y="35"/>
                  </a:lnTo>
                  <a:lnTo>
                    <a:pt x="1345" y="41"/>
                  </a:lnTo>
                  <a:lnTo>
                    <a:pt x="1349" y="44"/>
                  </a:lnTo>
                  <a:lnTo>
                    <a:pt x="1353" y="47"/>
                  </a:lnTo>
                  <a:lnTo>
                    <a:pt x="1357" y="51"/>
                  </a:lnTo>
                  <a:lnTo>
                    <a:pt x="1361" y="54"/>
                  </a:lnTo>
                  <a:lnTo>
                    <a:pt x="1369" y="61"/>
                  </a:lnTo>
                  <a:lnTo>
                    <a:pt x="1373" y="65"/>
                  </a:lnTo>
                  <a:lnTo>
                    <a:pt x="1376" y="69"/>
                  </a:lnTo>
                  <a:lnTo>
                    <a:pt x="1383" y="76"/>
                  </a:lnTo>
                  <a:lnTo>
                    <a:pt x="1390" y="84"/>
                  </a:lnTo>
                  <a:lnTo>
                    <a:pt x="1393" y="89"/>
                  </a:lnTo>
                  <a:lnTo>
                    <a:pt x="1396" y="93"/>
                  </a:lnTo>
                  <a:lnTo>
                    <a:pt x="1401" y="102"/>
                  </a:lnTo>
                  <a:lnTo>
                    <a:pt x="1407" y="111"/>
                  </a:lnTo>
                  <a:lnTo>
                    <a:pt x="1411" y="120"/>
                  </a:lnTo>
                  <a:lnTo>
                    <a:pt x="1416" y="130"/>
                  </a:lnTo>
                  <a:lnTo>
                    <a:pt x="1418" y="135"/>
                  </a:lnTo>
                  <a:lnTo>
                    <a:pt x="1420" y="140"/>
                  </a:lnTo>
                  <a:lnTo>
                    <a:pt x="1423" y="150"/>
                  </a:lnTo>
                  <a:lnTo>
                    <a:pt x="1426" y="160"/>
                  </a:lnTo>
                  <a:lnTo>
                    <a:pt x="1428" y="171"/>
                  </a:lnTo>
                  <a:lnTo>
                    <a:pt x="1430" y="182"/>
                  </a:lnTo>
                  <a:lnTo>
                    <a:pt x="1432" y="193"/>
                  </a:lnTo>
                  <a:lnTo>
                    <a:pt x="1432" y="199"/>
                  </a:lnTo>
                  <a:lnTo>
                    <a:pt x="1432" y="205"/>
                  </a:lnTo>
                  <a:lnTo>
                    <a:pt x="1433" y="216"/>
                  </a:lnTo>
                  <a:lnTo>
                    <a:pt x="1432" y="228"/>
                  </a:lnTo>
                  <a:lnTo>
                    <a:pt x="1432" y="239"/>
                  </a:lnTo>
                  <a:lnTo>
                    <a:pt x="1430" y="251"/>
                  </a:lnTo>
                  <a:lnTo>
                    <a:pt x="1428" y="262"/>
                  </a:lnTo>
                  <a:lnTo>
                    <a:pt x="1426" y="272"/>
                  </a:lnTo>
                  <a:lnTo>
                    <a:pt x="1423" y="283"/>
                  </a:lnTo>
                  <a:lnTo>
                    <a:pt x="1420" y="293"/>
                  </a:lnTo>
                  <a:lnTo>
                    <a:pt x="1416" y="303"/>
                  </a:lnTo>
                  <a:lnTo>
                    <a:pt x="1411" y="313"/>
                  </a:lnTo>
                  <a:lnTo>
                    <a:pt x="1407" y="322"/>
                  </a:lnTo>
                  <a:lnTo>
                    <a:pt x="1401" y="331"/>
                  </a:lnTo>
                  <a:lnTo>
                    <a:pt x="1396" y="340"/>
                  </a:lnTo>
                  <a:lnTo>
                    <a:pt x="1390" y="348"/>
                  </a:lnTo>
                  <a:lnTo>
                    <a:pt x="1383" y="356"/>
                  </a:lnTo>
                  <a:lnTo>
                    <a:pt x="1376" y="364"/>
                  </a:lnTo>
                  <a:lnTo>
                    <a:pt x="1369" y="372"/>
                  </a:lnTo>
                  <a:lnTo>
                    <a:pt x="1361" y="379"/>
                  </a:lnTo>
                  <a:lnTo>
                    <a:pt x="1353" y="385"/>
                  </a:lnTo>
                  <a:lnTo>
                    <a:pt x="1345" y="391"/>
                  </a:lnTo>
                  <a:lnTo>
                    <a:pt x="1336" y="397"/>
                  </a:lnTo>
                  <a:lnTo>
                    <a:pt x="1327" y="403"/>
                  </a:lnTo>
                  <a:lnTo>
                    <a:pt x="1318" y="408"/>
                  </a:lnTo>
                  <a:lnTo>
                    <a:pt x="1308" y="412"/>
                  </a:lnTo>
                  <a:lnTo>
                    <a:pt x="1298" y="417"/>
                  </a:lnTo>
                  <a:lnTo>
                    <a:pt x="1288" y="420"/>
                  </a:lnTo>
                  <a:lnTo>
                    <a:pt x="1277" y="424"/>
                  </a:lnTo>
                  <a:lnTo>
                    <a:pt x="1267" y="426"/>
                  </a:lnTo>
                  <a:lnTo>
                    <a:pt x="1256" y="429"/>
                  </a:lnTo>
                  <a:lnTo>
                    <a:pt x="1244" y="430"/>
                  </a:lnTo>
                  <a:lnTo>
                    <a:pt x="1233" y="432"/>
                  </a:lnTo>
                  <a:lnTo>
                    <a:pt x="1221" y="433"/>
                  </a:lnTo>
                  <a:lnTo>
                    <a:pt x="1209" y="433"/>
                  </a:lnTo>
                  <a:lnTo>
                    <a:pt x="1197" y="433"/>
                  </a:lnTo>
                  <a:lnTo>
                    <a:pt x="1186" y="432"/>
                  </a:lnTo>
                  <a:lnTo>
                    <a:pt x="1174" y="430"/>
                  </a:lnTo>
                  <a:lnTo>
                    <a:pt x="1163" y="429"/>
                  </a:lnTo>
                  <a:lnTo>
                    <a:pt x="1152" y="426"/>
                  </a:lnTo>
                  <a:lnTo>
                    <a:pt x="1141" y="424"/>
                  </a:lnTo>
                  <a:lnTo>
                    <a:pt x="1130" y="420"/>
                  </a:lnTo>
                  <a:lnTo>
                    <a:pt x="1120" y="417"/>
                  </a:lnTo>
                  <a:lnTo>
                    <a:pt x="1110" y="412"/>
                  </a:lnTo>
                  <a:lnTo>
                    <a:pt x="1100" y="408"/>
                  </a:lnTo>
                  <a:lnTo>
                    <a:pt x="1091" y="403"/>
                  </a:lnTo>
                  <a:lnTo>
                    <a:pt x="1082" y="397"/>
                  </a:lnTo>
                  <a:lnTo>
                    <a:pt x="1073" y="391"/>
                  </a:lnTo>
                  <a:lnTo>
                    <a:pt x="1069" y="388"/>
                  </a:lnTo>
                  <a:lnTo>
                    <a:pt x="1065" y="385"/>
                  </a:lnTo>
                  <a:lnTo>
                    <a:pt x="1061" y="382"/>
                  </a:lnTo>
                  <a:lnTo>
                    <a:pt x="1057" y="379"/>
                  </a:lnTo>
                  <a:lnTo>
                    <a:pt x="1049" y="372"/>
                  </a:lnTo>
                  <a:lnTo>
                    <a:pt x="1046" y="368"/>
                  </a:lnTo>
                  <a:lnTo>
                    <a:pt x="1042" y="364"/>
                  </a:lnTo>
                  <a:lnTo>
                    <a:pt x="1035" y="356"/>
                  </a:lnTo>
                  <a:lnTo>
                    <a:pt x="1029" y="348"/>
                  </a:lnTo>
                  <a:lnTo>
                    <a:pt x="1026" y="344"/>
                  </a:lnTo>
                  <a:lnTo>
                    <a:pt x="1023" y="340"/>
                  </a:lnTo>
                  <a:lnTo>
                    <a:pt x="1017" y="331"/>
                  </a:lnTo>
                  <a:lnTo>
                    <a:pt x="1012" y="322"/>
                  </a:lnTo>
                  <a:lnTo>
                    <a:pt x="1007" y="313"/>
                  </a:lnTo>
                  <a:lnTo>
                    <a:pt x="1003" y="303"/>
                  </a:lnTo>
                  <a:lnTo>
                    <a:pt x="1001" y="298"/>
                  </a:lnTo>
                  <a:lnTo>
                    <a:pt x="999" y="293"/>
                  </a:lnTo>
                  <a:lnTo>
                    <a:pt x="995" y="283"/>
                  </a:lnTo>
                  <a:lnTo>
                    <a:pt x="992" y="272"/>
                  </a:lnTo>
                  <a:lnTo>
                    <a:pt x="990" y="262"/>
                  </a:lnTo>
                  <a:lnTo>
                    <a:pt x="988" y="251"/>
                  </a:lnTo>
                  <a:lnTo>
                    <a:pt x="987" y="239"/>
                  </a:lnTo>
                  <a:lnTo>
                    <a:pt x="986" y="234"/>
                  </a:lnTo>
                  <a:lnTo>
                    <a:pt x="986" y="228"/>
                  </a:lnTo>
                  <a:lnTo>
                    <a:pt x="986" y="216"/>
                  </a:lnTo>
                  <a:lnTo>
                    <a:pt x="986" y="205"/>
                  </a:lnTo>
                  <a:lnTo>
                    <a:pt x="987" y="193"/>
                  </a:lnTo>
                  <a:lnTo>
                    <a:pt x="988" y="182"/>
                  </a:lnTo>
                  <a:lnTo>
                    <a:pt x="990" y="171"/>
                  </a:lnTo>
                  <a:lnTo>
                    <a:pt x="992" y="160"/>
                  </a:lnTo>
                  <a:lnTo>
                    <a:pt x="995" y="150"/>
                  </a:lnTo>
                  <a:lnTo>
                    <a:pt x="999" y="140"/>
                  </a:lnTo>
                  <a:lnTo>
                    <a:pt x="1003" y="130"/>
                  </a:lnTo>
                  <a:lnTo>
                    <a:pt x="1007" y="120"/>
                  </a:lnTo>
                  <a:lnTo>
                    <a:pt x="1012" y="111"/>
                  </a:lnTo>
                  <a:lnTo>
                    <a:pt x="1017" y="102"/>
                  </a:lnTo>
                  <a:lnTo>
                    <a:pt x="1023" y="93"/>
                  </a:lnTo>
                  <a:lnTo>
                    <a:pt x="1029" y="84"/>
                  </a:lnTo>
                  <a:lnTo>
                    <a:pt x="1035" y="76"/>
                  </a:lnTo>
                  <a:lnTo>
                    <a:pt x="1042" y="69"/>
                  </a:lnTo>
                  <a:lnTo>
                    <a:pt x="1049" y="61"/>
                  </a:lnTo>
                  <a:lnTo>
                    <a:pt x="1057" y="54"/>
                  </a:lnTo>
                  <a:lnTo>
                    <a:pt x="1065" y="47"/>
                  </a:lnTo>
                  <a:lnTo>
                    <a:pt x="1073" y="41"/>
                  </a:lnTo>
                  <a:lnTo>
                    <a:pt x="1082" y="35"/>
                  </a:lnTo>
                  <a:lnTo>
                    <a:pt x="1091" y="30"/>
                  </a:lnTo>
                  <a:lnTo>
                    <a:pt x="1100" y="25"/>
                  </a:lnTo>
                  <a:lnTo>
                    <a:pt x="1110" y="20"/>
                  </a:lnTo>
                  <a:lnTo>
                    <a:pt x="1120" y="16"/>
                  </a:lnTo>
                  <a:lnTo>
                    <a:pt x="1130" y="12"/>
                  </a:lnTo>
                  <a:lnTo>
                    <a:pt x="1141" y="9"/>
                  </a:lnTo>
                  <a:lnTo>
                    <a:pt x="1152" y="6"/>
                  </a:lnTo>
                  <a:lnTo>
                    <a:pt x="1163" y="4"/>
                  </a:lnTo>
                  <a:lnTo>
                    <a:pt x="1174" y="2"/>
                  </a:lnTo>
                  <a:lnTo>
                    <a:pt x="1186" y="1"/>
                  </a:lnTo>
                  <a:lnTo>
                    <a:pt x="1197" y="0"/>
                  </a:lnTo>
                  <a:lnTo>
                    <a:pt x="1209" y="0"/>
                  </a:lnTo>
                  <a:close/>
                  <a:moveTo>
                    <a:pt x="2022" y="7"/>
                  </a:moveTo>
                  <a:lnTo>
                    <a:pt x="2026" y="8"/>
                  </a:lnTo>
                  <a:lnTo>
                    <a:pt x="2028" y="8"/>
                  </a:lnTo>
                  <a:lnTo>
                    <a:pt x="2029" y="10"/>
                  </a:lnTo>
                  <a:lnTo>
                    <a:pt x="2030" y="11"/>
                  </a:lnTo>
                  <a:lnTo>
                    <a:pt x="2031" y="13"/>
                  </a:lnTo>
                  <a:lnTo>
                    <a:pt x="2031" y="16"/>
                  </a:lnTo>
                  <a:lnTo>
                    <a:pt x="2031" y="19"/>
                  </a:lnTo>
                  <a:lnTo>
                    <a:pt x="2017" y="88"/>
                  </a:lnTo>
                  <a:lnTo>
                    <a:pt x="2015" y="93"/>
                  </a:lnTo>
                  <a:lnTo>
                    <a:pt x="2013" y="96"/>
                  </a:lnTo>
                  <a:lnTo>
                    <a:pt x="2012" y="97"/>
                  </a:lnTo>
                  <a:lnTo>
                    <a:pt x="2010" y="98"/>
                  </a:lnTo>
                  <a:lnTo>
                    <a:pt x="2008" y="99"/>
                  </a:lnTo>
                  <a:lnTo>
                    <a:pt x="2005" y="99"/>
                  </a:lnTo>
                  <a:lnTo>
                    <a:pt x="1950" y="99"/>
                  </a:lnTo>
                  <a:lnTo>
                    <a:pt x="1950" y="416"/>
                  </a:lnTo>
                  <a:lnTo>
                    <a:pt x="1949" y="418"/>
                  </a:lnTo>
                  <a:lnTo>
                    <a:pt x="1949" y="420"/>
                  </a:lnTo>
                  <a:lnTo>
                    <a:pt x="1947" y="423"/>
                  </a:lnTo>
                  <a:lnTo>
                    <a:pt x="1945" y="424"/>
                  </a:lnTo>
                  <a:lnTo>
                    <a:pt x="1944" y="425"/>
                  </a:lnTo>
                  <a:lnTo>
                    <a:pt x="1940" y="426"/>
                  </a:lnTo>
                  <a:lnTo>
                    <a:pt x="1861" y="426"/>
                  </a:lnTo>
                  <a:lnTo>
                    <a:pt x="1858" y="425"/>
                  </a:lnTo>
                  <a:lnTo>
                    <a:pt x="1855" y="423"/>
                  </a:lnTo>
                  <a:lnTo>
                    <a:pt x="1854" y="421"/>
                  </a:lnTo>
                  <a:lnTo>
                    <a:pt x="1853" y="420"/>
                  </a:lnTo>
                  <a:lnTo>
                    <a:pt x="1853" y="418"/>
                  </a:lnTo>
                  <a:lnTo>
                    <a:pt x="1853" y="416"/>
                  </a:lnTo>
                  <a:lnTo>
                    <a:pt x="1853" y="99"/>
                  </a:lnTo>
                  <a:lnTo>
                    <a:pt x="1796" y="99"/>
                  </a:lnTo>
                  <a:lnTo>
                    <a:pt x="1792" y="98"/>
                  </a:lnTo>
                  <a:lnTo>
                    <a:pt x="1789" y="96"/>
                  </a:lnTo>
                  <a:lnTo>
                    <a:pt x="1787" y="93"/>
                  </a:lnTo>
                  <a:lnTo>
                    <a:pt x="1786" y="91"/>
                  </a:lnTo>
                  <a:lnTo>
                    <a:pt x="1786" y="89"/>
                  </a:lnTo>
                  <a:lnTo>
                    <a:pt x="1786" y="17"/>
                  </a:lnTo>
                  <a:lnTo>
                    <a:pt x="1786" y="15"/>
                  </a:lnTo>
                  <a:lnTo>
                    <a:pt x="1787" y="13"/>
                  </a:lnTo>
                  <a:lnTo>
                    <a:pt x="1789" y="10"/>
                  </a:lnTo>
                  <a:lnTo>
                    <a:pt x="1790" y="9"/>
                  </a:lnTo>
                  <a:lnTo>
                    <a:pt x="1792" y="8"/>
                  </a:lnTo>
                  <a:lnTo>
                    <a:pt x="1796" y="7"/>
                  </a:lnTo>
                  <a:lnTo>
                    <a:pt x="2022" y="7"/>
                  </a:lnTo>
                  <a:close/>
                  <a:moveTo>
                    <a:pt x="1716" y="7"/>
                  </a:moveTo>
                  <a:lnTo>
                    <a:pt x="1720" y="8"/>
                  </a:lnTo>
                  <a:lnTo>
                    <a:pt x="1722" y="8"/>
                  </a:lnTo>
                  <a:lnTo>
                    <a:pt x="1723" y="10"/>
                  </a:lnTo>
                  <a:lnTo>
                    <a:pt x="1724" y="11"/>
                  </a:lnTo>
                  <a:lnTo>
                    <a:pt x="1725" y="13"/>
                  </a:lnTo>
                  <a:lnTo>
                    <a:pt x="1725" y="16"/>
                  </a:lnTo>
                  <a:lnTo>
                    <a:pt x="1725" y="19"/>
                  </a:lnTo>
                  <a:lnTo>
                    <a:pt x="1711" y="88"/>
                  </a:lnTo>
                  <a:lnTo>
                    <a:pt x="1710" y="93"/>
                  </a:lnTo>
                  <a:lnTo>
                    <a:pt x="1707" y="96"/>
                  </a:lnTo>
                  <a:lnTo>
                    <a:pt x="1706" y="97"/>
                  </a:lnTo>
                  <a:lnTo>
                    <a:pt x="1704" y="98"/>
                  </a:lnTo>
                  <a:lnTo>
                    <a:pt x="1702" y="99"/>
                  </a:lnTo>
                  <a:lnTo>
                    <a:pt x="1699" y="99"/>
                  </a:lnTo>
                  <a:lnTo>
                    <a:pt x="1653" y="99"/>
                  </a:lnTo>
                  <a:lnTo>
                    <a:pt x="1653" y="416"/>
                  </a:lnTo>
                  <a:lnTo>
                    <a:pt x="1653" y="418"/>
                  </a:lnTo>
                  <a:lnTo>
                    <a:pt x="1652" y="420"/>
                  </a:lnTo>
                  <a:lnTo>
                    <a:pt x="1650" y="423"/>
                  </a:lnTo>
                  <a:lnTo>
                    <a:pt x="1649" y="424"/>
                  </a:lnTo>
                  <a:lnTo>
                    <a:pt x="1647" y="425"/>
                  </a:lnTo>
                  <a:lnTo>
                    <a:pt x="1644" y="426"/>
                  </a:lnTo>
                  <a:lnTo>
                    <a:pt x="1565" y="426"/>
                  </a:lnTo>
                  <a:lnTo>
                    <a:pt x="1561" y="425"/>
                  </a:lnTo>
                  <a:lnTo>
                    <a:pt x="1558" y="423"/>
                  </a:lnTo>
                  <a:lnTo>
                    <a:pt x="1557" y="421"/>
                  </a:lnTo>
                  <a:lnTo>
                    <a:pt x="1557" y="420"/>
                  </a:lnTo>
                  <a:lnTo>
                    <a:pt x="1556" y="418"/>
                  </a:lnTo>
                  <a:lnTo>
                    <a:pt x="1556" y="416"/>
                  </a:lnTo>
                  <a:lnTo>
                    <a:pt x="1556" y="99"/>
                  </a:lnTo>
                  <a:lnTo>
                    <a:pt x="1490" y="99"/>
                  </a:lnTo>
                  <a:lnTo>
                    <a:pt x="1486" y="98"/>
                  </a:lnTo>
                  <a:lnTo>
                    <a:pt x="1483" y="96"/>
                  </a:lnTo>
                  <a:lnTo>
                    <a:pt x="1481" y="93"/>
                  </a:lnTo>
                  <a:lnTo>
                    <a:pt x="1481" y="91"/>
                  </a:lnTo>
                  <a:lnTo>
                    <a:pt x="1480" y="89"/>
                  </a:lnTo>
                  <a:lnTo>
                    <a:pt x="1480" y="17"/>
                  </a:lnTo>
                  <a:lnTo>
                    <a:pt x="1481" y="15"/>
                  </a:lnTo>
                  <a:lnTo>
                    <a:pt x="1481" y="13"/>
                  </a:lnTo>
                  <a:lnTo>
                    <a:pt x="1483" y="10"/>
                  </a:lnTo>
                  <a:lnTo>
                    <a:pt x="1484" y="9"/>
                  </a:lnTo>
                  <a:lnTo>
                    <a:pt x="1486" y="8"/>
                  </a:lnTo>
                  <a:lnTo>
                    <a:pt x="1490" y="7"/>
                  </a:lnTo>
                  <a:lnTo>
                    <a:pt x="1716" y="7"/>
                  </a:lnTo>
                  <a:close/>
                  <a:moveTo>
                    <a:pt x="2168" y="281"/>
                  </a:moveTo>
                  <a:lnTo>
                    <a:pt x="2222" y="281"/>
                  </a:lnTo>
                  <a:lnTo>
                    <a:pt x="2195" y="154"/>
                  </a:lnTo>
                  <a:lnTo>
                    <a:pt x="2168" y="281"/>
                  </a:lnTo>
                  <a:close/>
                  <a:moveTo>
                    <a:pt x="2236" y="359"/>
                  </a:moveTo>
                  <a:lnTo>
                    <a:pt x="2154" y="359"/>
                  </a:lnTo>
                  <a:lnTo>
                    <a:pt x="2142" y="416"/>
                  </a:lnTo>
                  <a:lnTo>
                    <a:pt x="2142" y="418"/>
                  </a:lnTo>
                  <a:lnTo>
                    <a:pt x="2141" y="420"/>
                  </a:lnTo>
                  <a:lnTo>
                    <a:pt x="2138" y="423"/>
                  </a:lnTo>
                  <a:lnTo>
                    <a:pt x="2136" y="424"/>
                  </a:lnTo>
                  <a:lnTo>
                    <a:pt x="2135" y="425"/>
                  </a:lnTo>
                  <a:lnTo>
                    <a:pt x="2133" y="426"/>
                  </a:lnTo>
                  <a:lnTo>
                    <a:pt x="2131" y="426"/>
                  </a:lnTo>
                  <a:lnTo>
                    <a:pt x="2058" y="426"/>
                  </a:lnTo>
                  <a:lnTo>
                    <a:pt x="2056" y="425"/>
                  </a:lnTo>
                  <a:lnTo>
                    <a:pt x="2054" y="425"/>
                  </a:lnTo>
                  <a:lnTo>
                    <a:pt x="2052" y="424"/>
                  </a:lnTo>
                  <a:lnTo>
                    <a:pt x="2051" y="422"/>
                  </a:lnTo>
                  <a:lnTo>
                    <a:pt x="2050" y="421"/>
                  </a:lnTo>
                  <a:lnTo>
                    <a:pt x="2049" y="418"/>
                  </a:lnTo>
                  <a:lnTo>
                    <a:pt x="2050" y="412"/>
                  </a:lnTo>
                  <a:lnTo>
                    <a:pt x="2142" y="17"/>
                  </a:lnTo>
                  <a:lnTo>
                    <a:pt x="2143" y="15"/>
                  </a:lnTo>
                  <a:lnTo>
                    <a:pt x="2144" y="13"/>
                  </a:lnTo>
                  <a:lnTo>
                    <a:pt x="2147" y="10"/>
                  </a:lnTo>
                  <a:lnTo>
                    <a:pt x="2149" y="9"/>
                  </a:lnTo>
                  <a:lnTo>
                    <a:pt x="2151" y="8"/>
                  </a:lnTo>
                  <a:lnTo>
                    <a:pt x="2155" y="7"/>
                  </a:lnTo>
                  <a:lnTo>
                    <a:pt x="2236" y="7"/>
                  </a:lnTo>
                  <a:lnTo>
                    <a:pt x="2239" y="7"/>
                  </a:lnTo>
                  <a:lnTo>
                    <a:pt x="2241" y="8"/>
                  </a:lnTo>
                  <a:lnTo>
                    <a:pt x="2245" y="10"/>
                  </a:lnTo>
                  <a:lnTo>
                    <a:pt x="2248" y="13"/>
                  </a:lnTo>
                  <a:lnTo>
                    <a:pt x="2249" y="15"/>
                  </a:lnTo>
                  <a:lnTo>
                    <a:pt x="2249" y="17"/>
                  </a:lnTo>
                  <a:lnTo>
                    <a:pt x="2343" y="412"/>
                  </a:lnTo>
                  <a:lnTo>
                    <a:pt x="2343" y="418"/>
                  </a:lnTo>
                  <a:lnTo>
                    <a:pt x="2343" y="421"/>
                  </a:lnTo>
                  <a:lnTo>
                    <a:pt x="2342" y="422"/>
                  </a:lnTo>
                  <a:lnTo>
                    <a:pt x="2341" y="424"/>
                  </a:lnTo>
                  <a:lnTo>
                    <a:pt x="2339" y="425"/>
                  </a:lnTo>
                  <a:lnTo>
                    <a:pt x="2335" y="426"/>
                  </a:lnTo>
                  <a:lnTo>
                    <a:pt x="2260" y="426"/>
                  </a:lnTo>
                  <a:lnTo>
                    <a:pt x="2256" y="425"/>
                  </a:lnTo>
                  <a:lnTo>
                    <a:pt x="2252" y="423"/>
                  </a:lnTo>
                  <a:lnTo>
                    <a:pt x="2251" y="422"/>
                  </a:lnTo>
                  <a:lnTo>
                    <a:pt x="2249" y="420"/>
                  </a:lnTo>
                  <a:lnTo>
                    <a:pt x="2248" y="418"/>
                  </a:lnTo>
                  <a:lnTo>
                    <a:pt x="2248" y="416"/>
                  </a:lnTo>
                  <a:lnTo>
                    <a:pt x="2236" y="359"/>
                  </a:lnTo>
                  <a:close/>
                  <a:moveTo>
                    <a:pt x="912" y="4"/>
                  </a:moveTo>
                  <a:lnTo>
                    <a:pt x="915" y="5"/>
                  </a:lnTo>
                  <a:lnTo>
                    <a:pt x="918" y="7"/>
                  </a:lnTo>
                  <a:lnTo>
                    <a:pt x="919" y="9"/>
                  </a:lnTo>
                  <a:lnTo>
                    <a:pt x="920" y="10"/>
                  </a:lnTo>
                  <a:lnTo>
                    <a:pt x="921" y="12"/>
                  </a:lnTo>
                  <a:lnTo>
                    <a:pt x="921" y="14"/>
                  </a:lnTo>
                  <a:lnTo>
                    <a:pt x="921" y="291"/>
                  </a:lnTo>
                  <a:lnTo>
                    <a:pt x="921" y="301"/>
                  </a:lnTo>
                  <a:lnTo>
                    <a:pt x="920" y="310"/>
                  </a:lnTo>
                  <a:lnTo>
                    <a:pt x="919" y="320"/>
                  </a:lnTo>
                  <a:lnTo>
                    <a:pt x="918" y="328"/>
                  </a:lnTo>
                  <a:lnTo>
                    <a:pt x="917" y="336"/>
                  </a:lnTo>
                  <a:lnTo>
                    <a:pt x="915" y="344"/>
                  </a:lnTo>
                  <a:lnTo>
                    <a:pt x="911" y="359"/>
                  </a:lnTo>
                  <a:lnTo>
                    <a:pt x="908" y="365"/>
                  </a:lnTo>
                  <a:lnTo>
                    <a:pt x="906" y="372"/>
                  </a:lnTo>
                  <a:lnTo>
                    <a:pt x="899" y="383"/>
                  </a:lnTo>
                  <a:lnTo>
                    <a:pt x="896" y="388"/>
                  </a:lnTo>
                  <a:lnTo>
                    <a:pt x="893" y="393"/>
                  </a:lnTo>
                  <a:lnTo>
                    <a:pt x="885" y="401"/>
                  </a:lnTo>
                  <a:lnTo>
                    <a:pt x="877" y="408"/>
                  </a:lnTo>
                  <a:lnTo>
                    <a:pt x="872" y="411"/>
                  </a:lnTo>
                  <a:lnTo>
                    <a:pt x="868" y="414"/>
                  </a:lnTo>
                  <a:lnTo>
                    <a:pt x="858" y="419"/>
                  </a:lnTo>
                  <a:lnTo>
                    <a:pt x="849" y="422"/>
                  </a:lnTo>
                  <a:lnTo>
                    <a:pt x="839" y="425"/>
                  </a:lnTo>
                  <a:lnTo>
                    <a:pt x="829" y="427"/>
                  </a:lnTo>
                  <a:lnTo>
                    <a:pt x="819" y="428"/>
                  </a:lnTo>
                  <a:lnTo>
                    <a:pt x="808" y="428"/>
                  </a:lnTo>
                  <a:lnTo>
                    <a:pt x="796" y="428"/>
                  </a:lnTo>
                  <a:lnTo>
                    <a:pt x="784" y="427"/>
                  </a:lnTo>
                  <a:lnTo>
                    <a:pt x="774" y="425"/>
                  </a:lnTo>
                  <a:lnTo>
                    <a:pt x="764" y="423"/>
                  </a:lnTo>
                  <a:lnTo>
                    <a:pt x="759" y="421"/>
                  </a:lnTo>
                  <a:lnTo>
                    <a:pt x="756" y="419"/>
                  </a:lnTo>
                  <a:lnTo>
                    <a:pt x="753" y="415"/>
                  </a:lnTo>
                  <a:lnTo>
                    <a:pt x="752" y="411"/>
                  </a:lnTo>
                  <a:lnTo>
                    <a:pt x="739" y="353"/>
                  </a:lnTo>
                  <a:lnTo>
                    <a:pt x="738" y="350"/>
                  </a:lnTo>
                  <a:lnTo>
                    <a:pt x="739" y="347"/>
                  </a:lnTo>
                  <a:lnTo>
                    <a:pt x="739" y="345"/>
                  </a:lnTo>
                  <a:lnTo>
                    <a:pt x="741" y="344"/>
                  </a:lnTo>
                  <a:lnTo>
                    <a:pt x="742" y="342"/>
                  </a:lnTo>
                  <a:lnTo>
                    <a:pt x="744" y="341"/>
                  </a:lnTo>
                  <a:lnTo>
                    <a:pt x="746" y="341"/>
                  </a:lnTo>
                  <a:lnTo>
                    <a:pt x="749" y="341"/>
                  </a:lnTo>
                  <a:lnTo>
                    <a:pt x="763" y="344"/>
                  </a:lnTo>
                  <a:lnTo>
                    <a:pt x="773" y="346"/>
                  </a:lnTo>
                  <a:lnTo>
                    <a:pt x="785" y="346"/>
                  </a:lnTo>
                  <a:lnTo>
                    <a:pt x="791" y="346"/>
                  </a:lnTo>
                  <a:lnTo>
                    <a:pt x="797" y="345"/>
                  </a:lnTo>
                  <a:lnTo>
                    <a:pt x="803" y="344"/>
                  </a:lnTo>
                  <a:lnTo>
                    <a:pt x="808" y="342"/>
                  </a:lnTo>
                  <a:lnTo>
                    <a:pt x="812" y="339"/>
                  </a:lnTo>
                  <a:lnTo>
                    <a:pt x="816" y="336"/>
                  </a:lnTo>
                  <a:lnTo>
                    <a:pt x="817" y="335"/>
                  </a:lnTo>
                  <a:lnTo>
                    <a:pt x="819" y="333"/>
                  </a:lnTo>
                  <a:lnTo>
                    <a:pt x="821" y="328"/>
                  </a:lnTo>
                  <a:lnTo>
                    <a:pt x="824" y="323"/>
                  </a:lnTo>
                  <a:lnTo>
                    <a:pt x="825" y="318"/>
                  </a:lnTo>
                  <a:lnTo>
                    <a:pt x="827" y="311"/>
                  </a:lnTo>
                  <a:lnTo>
                    <a:pt x="828" y="304"/>
                  </a:lnTo>
                  <a:lnTo>
                    <a:pt x="829" y="297"/>
                  </a:lnTo>
                  <a:lnTo>
                    <a:pt x="829" y="288"/>
                  </a:lnTo>
                  <a:lnTo>
                    <a:pt x="830" y="269"/>
                  </a:lnTo>
                  <a:lnTo>
                    <a:pt x="830" y="14"/>
                  </a:lnTo>
                  <a:lnTo>
                    <a:pt x="830" y="12"/>
                  </a:lnTo>
                  <a:lnTo>
                    <a:pt x="830" y="10"/>
                  </a:lnTo>
                  <a:lnTo>
                    <a:pt x="832" y="7"/>
                  </a:lnTo>
                  <a:lnTo>
                    <a:pt x="833" y="6"/>
                  </a:lnTo>
                  <a:lnTo>
                    <a:pt x="835" y="5"/>
                  </a:lnTo>
                  <a:lnTo>
                    <a:pt x="837" y="5"/>
                  </a:lnTo>
                  <a:lnTo>
                    <a:pt x="838" y="4"/>
                  </a:lnTo>
                  <a:lnTo>
                    <a:pt x="912" y="4"/>
                  </a:lnTo>
                  <a:close/>
                  <a:moveTo>
                    <a:pt x="2826" y="1740"/>
                  </a:moveTo>
                  <a:lnTo>
                    <a:pt x="2925" y="1740"/>
                  </a:lnTo>
                  <a:lnTo>
                    <a:pt x="2875" y="1609"/>
                  </a:lnTo>
                  <a:lnTo>
                    <a:pt x="2826" y="1740"/>
                  </a:lnTo>
                  <a:close/>
                  <a:moveTo>
                    <a:pt x="2956" y="1822"/>
                  </a:moveTo>
                  <a:lnTo>
                    <a:pt x="2796" y="1822"/>
                  </a:lnTo>
                  <a:lnTo>
                    <a:pt x="2774" y="1879"/>
                  </a:lnTo>
                  <a:lnTo>
                    <a:pt x="2773" y="1882"/>
                  </a:lnTo>
                  <a:lnTo>
                    <a:pt x="2771" y="1884"/>
                  </a:lnTo>
                  <a:lnTo>
                    <a:pt x="2770" y="1885"/>
                  </a:lnTo>
                  <a:lnTo>
                    <a:pt x="2768" y="1887"/>
                  </a:lnTo>
                  <a:lnTo>
                    <a:pt x="2764" y="1888"/>
                  </a:lnTo>
                  <a:lnTo>
                    <a:pt x="2760" y="1889"/>
                  </a:lnTo>
                  <a:lnTo>
                    <a:pt x="2681" y="1889"/>
                  </a:lnTo>
                  <a:lnTo>
                    <a:pt x="2679" y="1889"/>
                  </a:lnTo>
                  <a:lnTo>
                    <a:pt x="2677" y="1888"/>
                  </a:lnTo>
                  <a:lnTo>
                    <a:pt x="2675" y="1887"/>
                  </a:lnTo>
                  <a:lnTo>
                    <a:pt x="2673" y="1885"/>
                  </a:lnTo>
                  <a:lnTo>
                    <a:pt x="2672" y="1883"/>
                  </a:lnTo>
                  <a:lnTo>
                    <a:pt x="2671" y="1881"/>
                  </a:lnTo>
                  <a:lnTo>
                    <a:pt x="2672" y="1878"/>
                  </a:lnTo>
                  <a:lnTo>
                    <a:pt x="2673" y="1875"/>
                  </a:lnTo>
                  <a:lnTo>
                    <a:pt x="2828" y="1480"/>
                  </a:lnTo>
                  <a:lnTo>
                    <a:pt x="2829" y="1477"/>
                  </a:lnTo>
                  <a:lnTo>
                    <a:pt x="2830" y="1475"/>
                  </a:lnTo>
                  <a:lnTo>
                    <a:pt x="2833" y="1472"/>
                  </a:lnTo>
                  <a:lnTo>
                    <a:pt x="2837" y="1471"/>
                  </a:lnTo>
                  <a:lnTo>
                    <a:pt x="2839" y="1470"/>
                  </a:lnTo>
                  <a:lnTo>
                    <a:pt x="2842" y="1470"/>
                  </a:lnTo>
                  <a:lnTo>
                    <a:pt x="2911" y="1470"/>
                  </a:lnTo>
                  <a:lnTo>
                    <a:pt x="2916" y="1471"/>
                  </a:lnTo>
                  <a:lnTo>
                    <a:pt x="2920" y="1472"/>
                  </a:lnTo>
                  <a:lnTo>
                    <a:pt x="2923" y="1475"/>
                  </a:lnTo>
                  <a:lnTo>
                    <a:pt x="2924" y="1477"/>
                  </a:lnTo>
                  <a:lnTo>
                    <a:pt x="2925" y="1480"/>
                  </a:lnTo>
                  <a:lnTo>
                    <a:pt x="3081" y="1875"/>
                  </a:lnTo>
                  <a:lnTo>
                    <a:pt x="3082" y="1878"/>
                  </a:lnTo>
                  <a:lnTo>
                    <a:pt x="3082" y="1881"/>
                  </a:lnTo>
                  <a:lnTo>
                    <a:pt x="3081" y="1883"/>
                  </a:lnTo>
                  <a:lnTo>
                    <a:pt x="3080" y="1885"/>
                  </a:lnTo>
                  <a:lnTo>
                    <a:pt x="3079" y="1887"/>
                  </a:lnTo>
                  <a:lnTo>
                    <a:pt x="3077" y="1888"/>
                  </a:lnTo>
                  <a:lnTo>
                    <a:pt x="3074" y="1889"/>
                  </a:lnTo>
                  <a:lnTo>
                    <a:pt x="3072" y="1889"/>
                  </a:lnTo>
                  <a:lnTo>
                    <a:pt x="2991" y="1889"/>
                  </a:lnTo>
                  <a:lnTo>
                    <a:pt x="2987" y="1888"/>
                  </a:lnTo>
                  <a:lnTo>
                    <a:pt x="2985" y="1888"/>
                  </a:lnTo>
                  <a:lnTo>
                    <a:pt x="2983" y="1887"/>
                  </a:lnTo>
                  <a:lnTo>
                    <a:pt x="2981" y="1885"/>
                  </a:lnTo>
                  <a:lnTo>
                    <a:pt x="2980" y="1884"/>
                  </a:lnTo>
                  <a:lnTo>
                    <a:pt x="2979" y="1882"/>
                  </a:lnTo>
                  <a:lnTo>
                    <a:pt x="2978" y="1879"/>
                  </a:lnTo>
                  <a:lnTo>
                    <a:pt x="2956" y="1822"/>
                  </a:lnTo>
                  <a:close/>
                  <a:moveTo>
                    <a:pt x="1829" y="1889"/>
                  </a:moveTo>
                  <a:lnTo>
                    <a:pt x="1747" y="1889"/>
                  </a:lnTo>
                  <a:lnTo>
                    <a:pt x="1743" y="1888"/>
                  </a:lnTo>
                  <a:lnTo>
                    <a:pt x="1739" y="1886"/>
                  </a:lnTo>
                  <a:lnTo>
                    <a:pt x="1738" y="1885"/>
                  </a:lnTo>
                  <a:lnTo>
                    <a:pt x="1737" y="1883"/>
                  </a:lnTo>
                  <a:lnTo>
                    <a:pt x="1737" y="1881"/>
                  </a:lnTo>
                  <a:lnTo>
                    <a:pt x="1737" y="1879"/>
                  </a:lnTo>
                  <a:lnTo>
                    <a:pt x="1737" y="1480"/>
                  </a:lnTo>
                  <a:lnTo>
                    <a:pt x="1737" y="1478"/>
                  </a:lnTo>
                  <a:lnTo>
                    <a:pt x="1737" y="1476"/>
                  </a:lnTo>
                  <a:lnTo>
                    <a:pt x="1739" y="1473"/>
                  </a:lnTo>
                  <a:lnTo>
                    <a:pt x="1741" y="1472"/>
                  </a:lnTo>
                  <a:lnTo>
                    <a:pt x="1743" y="1471"/>
                  </a:lnTo>
                  <a:lnTo>
                    <a:pt x="1747" y="1470"/>
                  </a:lnTo>
                  <a:lnTo>
                    <a:pt x="1829" y="1470"/>
                  </a:lnTo>
                  <a:lnTo>
                    <a:pt x="1833" y="1471"/>
                  </a:lnTo>
                  <a:lnTo>
                    <a:pt x="1836" y="1473"/>
                  </a:lnTo>
                  <a:lnTo>
                    <a:pt x="1837" y="1474"/>
                  </a:lnTo>
                  <a:lnTo>
                    <a:pt x="1838" y="1476"/>
                  </a:lnTo>
                  <a:lnTo>
                    <a:pt x="1839" y="1478"/>
                  </a:lnTo>
                  <a:lnTo>
                    <a:pt x="1839" y="1480"/>
                  </a:lnTo>
                  <a:lnTo>
                    <a:pt x="1839" y="1655"/>
                  </a:lnTo>
                  <a:lnTo>
                    <a:pt x="1982" y="1480"/>
                  </a:lnTo>
                  <a:lnTo>
                    <a:pt x="1986" y="1476"/>
                  </a:lnTo>
                  <a:lnTo>
                    <a:pt x="1987" y="1474"/>
                  </a:lnTo>
                  <a:lnTo>
                    <a:pt x="1990" y="1473"/>
                  </a:lnTo>
                  <a:lnTo>
                    <a:pt x="1992" y="1472"/>
                  </a:lnTo>
                  <a:lnTo>
                    <a:pt x="1994" y="1471"/>
                  </a:lnTo>
                  <a:lnTo>
                    <a:pt x="1997" y="1470"/>
                  </a:lnTo>
                  <a:lnTo>
                    <a:pt x="2000" y="1470"/>
                  </a:lnTo>
                  <a:lnTo>
                    <a:pt x="2095" y="1470"/>
                  </a:lnTo>
                  <a:lnTo>
                    <a:pt x="2098" y="1471"/>
                  </a:lnTo>
                  <a:lnTo>
                    <a:pt x="2101" y="1472"/>
                  </a:lnTo>
                  <a:lnTo>
                    <a:pt x="2102" y="1473"/>
                  </a:lnTo>
                  <a:lnTo>
                    <a:pt x="2103" y="1475"/>
                  </a:lnTo>
                  <a:lnTo>
                    <a:pt x="2104" y="1478"/>
                  </a:lnTo>
                  <a:lnTo>
                    <a:pt x="2104" y="1480"/>
                  </a:lnTo>
                  <a:lnTo>
                    <a:pt x="2103" y="1483"/>
                  </a:lnTo>
                  <a:lnTo>
                    <a:pt x="2101" y="1485"/>
                  </a:lnTo>
                  <a:lnTo>
                    <a:pt x="1970" y="1646"/>
                  </a:lnTo>
                  <a:lnTo>
                    <a:pt x="2105" y="1876"/>
                  </a:lnTo>
                  <a:lnTo>
                    <a:pt x="2107" y="1878"/>
                  </a:lnTo>
                  <a:lnTo>
                    <a:pt x="2107" y="1880"/>
                  </a:lnTo>
                  <a:lnTo>
                    <a:pt x="2107" y="1883"/>
                  </a:lnTo>
                  <a:lnTo>
                    <a:pt x="2106" y="1885"/>
                  </a:lnTo>
                  <a:lnTo>
                    <a:pt x="2105" y="1886"/>
                  </a:lnTo>
                  <a:lnTo>
                    <a:pt x="2104" y="1888"/>
                  </a:lnTo>
                  <a:lnTo>
                    <a:pt x="2102" y="1888"/>
                  </a:lnTo>
                  <a:lnTo>
                    <a:pt x="2099" y="1889"/>
                  </a:lnTo>
                  <a:lnTo>
                    <a:pt x="2003" y="1889"/>
                  </a:lnTo>
                  <a:lnTo>
                    <a:pt x="1998" y="1888"/>
                  </a:lnTo>
                  <a:lnTo>
                    <a:pt x="1994" y="1887"/>
                  </a:lnTo>
                  <a:lnTo>
                    <a:pt x="1992" y="1885"/>
                  </a:lnTo>
                  <a:lnTo>
                    <a:pt x="1991" y="1884"/>
                  </a:lnTo>
                  <a:lnTo>
                    <a:pt x="1988" y="1879"/>
                  </a:lnTo>
                  <a:lnTo>
                    <a:pt x="1892" y="1713"/>
                  </a:lnTo>
                  <a:lnTo>
                    <a:pt x="1839" y="1778"/>
                  </a:lnTo>
                  <a:lnTo>
                    <a:pt x="1839" y="1879"/>
                  </a:lnTo>
                  <a:lnTo>
                    <a:pt x="1839" y="1881"/>
                  </a:lnTo>
                  <a:lnTo>
                    <a:pt x="1838" y="1883"/>
                  </a:lnTo>
                  <a:lnTo>
                    <a:pt x="1836" y="1886"/>
                  </a:lnTo>
                  <a:lnTo>
                    <a:pt x="1835" y="1887"/>
                  </a:lnTo>
                  <a:lnTo>
                    <a:pt x="1833" y="1888"/>
                  </a:lnTo>
                  <a:lnTo>
                    <a:pt x="1829" y="1889"/>
                  </a:lnTo>
                  <a:close/>
                  <a:moveTo>
                    <a:pt x="2168" y="1480"/>
                  </a:moveTo>
                  <a:lnTo>
                    <a:pt x="2168" y="1478"/>
                  </a:lnTo>
                  <a:lnTo>
                    <a:pt x="2168" y="1476"/>
                  </a:lnTo>
                  <a:lnTo>
                    <a:pt x="2171" y="1473"/>
                  </a:lnTo>
                  <a:lnTo>
                    <a:pt x="2172" y="1472"/>
                  </a:lnTo>
                  <a:lnTo>
                    <a:pt x="2174" y="1471"/>
                  </a:lnTo>
                  <a:lnTo>
                    <a:pt x="2178" y="1470"/>
                  </a:lnTo>
                  <a:lnTo>
                    <a:pt x="2260" y="1470"/>
                  </a:lnTo>
                  <a:lnTo>
                    <a:pt x="2264" y="1471"/>
                  </a:lnTo>
                  <a:lnTo>
                    <a:pt x="2267" y="1473"/>
                  </a:lnTo>
                  <a:lnTo>
                    <a:pt x="2268" y="1474"/>
                  </a:lnTo>
                  <a:lnTo>
                    <a:pt x="2269" y="1476"/>
                  </a:lnTo>
                  <a:lnTo>
                    <a:pt x="2270" y="1478"/>
                  </a:lnTo>
                  <a:lnTo>
                    <a:pt x="2270" y="1480"/>
                  </a:lnTo>
                  <a:lnTo>
                    <a:pt x="2270" y="1879"/>
                  </a:lnTo>
                  <a:lnTo>
                    <a:pt x="2270" y="1881"/>
                  </a:lnTo>
                  <a:lnTo>
                    <a:pt x="2269" y="1883"/>
                  </a:lnTo>
                  <a:lnTo>
                    <a:pt x="2267" y="1886"/>
                  </a:lnTo>
                  <a:lnTo>
                    <a:pt x="2266" y="1887"/>
                  </a:lnTo>
                  <a:lnTo>
                    <a:pt x="2264" y="1888"/>
                  </a:lnTo>
                  <a:lnTo>
                    <a:pt x="2260" y="1889"/>
                  </a:lnTo>
                  <a:lnTo>
                    <a:pt x="2178" y="1889"/>
                  </a:lnTo>
                  <a:lnTo>
                    <a:pt x="2174" y="1888"/>
                  </a:lnTo>
                  <a:lnTo>
                    <a:pt x="2171" y="1886"/>
                  </a:lnTo>
                  <a:lnTo>
                    <a:pt x="2169" y="1885"/>
                  </a:lnTo>
                  <a:lnTo>
                    <a:pt x="2168" y="1883"/>
                  </a:lnTo>
                  <a:lnTo>
                    <a:pt x="2168" y="1881"/>
                  </a:lnTo>
                  <a:lnTo>
                    <a:pt x="2168" y="1879"/>
                  </a:lnTo>
                  <a:lnTo>
                    <a:pt x="2168" y="1480"/>
                  </a:lnTo>
                  <a:close/>
                  <a:moveTo>
                    <a:pt x="2470" y="1879"/>
                  </a:moveTo>
                  <a:lnTo>
                    <a:pt x="2323" y="1484"/>
                  </a:lnTo>
                  <a:lnTo>
                    <a:pt x="2322" y="1481"/>
                  </a:lnTo>
                  <a:lnTo>
                    <a:pt x="2322" y="1478"/>
                  </a:lnTo>
                  <a:lnTo>
                    <a:pt x="2322" y="1476"/>
                  </a:lnTo>
                  <a:lnTo>
                    <a:pt x="2323" y="1474"/>
                  </a:lnTo>
                  <a:lnTo>
                    <a:pt x="2325" y="1472"/>
                  </a:lnTo>
                  <a:lnTo>
                    <a:pt x="2327" y="1471"/>
                  </a:lnTo>
                  <a:lnTo>
                    <a:pt x="2329" y="1470"/>
                  </a:lnTo>
                  <a:lnTo>
                    <a:pt x="2332" y="1470"/>
                  </a:lnTo>
                  <a:lnTo>
                    <a:pt x="2415" y="1470"/>
                  </a:lnTo>
                  <a:lnTo>
                    <a:pt x="2419" y="1471"/>
                  </a:lnTo>
                  <a:lnTo>
                    <a:pt x="2421" y="1471"/>
                  </a:lnTo>
                  <a:lnTo>
                    <a:pt x="2423" y="1472"/>
                  </a:lnTo>
                  <a:lnTo>
                    <a:pt x="2425" y="1474"/>
                  </a:lnTo>
                  <a:lnTo>
                    <a:pt x="2426" y="1475"/>
                  </a:lnTo>
                  <a:lnTo>
                    <a:pt x="2428" y="1477"/>
                  </a:lnTo>
                  <a:lnTo>
                    <a:pt x="2429" y="1480"/>
                  </a:lnTo>
                  <a:lnTo>
                    <a:pt x="2521" y="1734"/>
                  </a:lnTo>
                  <a:lnTo>
                    <a:pt x="2614" y="1480"/>
                  </a:lnTo>
                  <a:lnTo>
                    <a:pt x="2615" y="1477"/>
                  </a:lnTo>
                  <a:lnTo>
                    <a:pt x="2616" y="1475"/>
                  </a:lnTo>
                  <a:lnTo>
                    <a:pt x="2618" y="1474"/>
                  </a:lnTo>
                  <a:lnTo>
                    <a:pt x="2619" y="1472"/>
                  </a:lnTo>
                  <a:lnTo>
                    <a:pt x="2623" y="1471"/>
                  </a:lnTo>
                  <a:lnTo>
                    <a:pt x="2627" y="1470"/>
                  </a:lnTo>
                  <a:lnTo>
                    <a:pt x="2709" y="1470"/>
                  </a:lnTo>
                  <a:lnTo>
                    <a:pt x="2711" y="1470"/>
                  </a:lnTo>
                  <a:lnTo>
                    <a:pt x="2714" y="1471"/>
                  </a:lnTo>
                  <a:lnTo>
                    <a:pt x="2716" y="1472"/>
                  </a:lnTo>
                  <a:lnTo>
                    <a:pt x="2717" y="1474"/>
                  </a:lnTo>
                  <a:lnTo>
                    <a:pt x="2718" y="1476"/>
                  </a:lnTo>
                  <a:lnTo>
                    <a:pt x="2719" y="1478"/>
                  </a:lnTo>
                  <a:lnTo>
                    <a:pt x="2719" y="1481"/>
                  </a:lnTo>
                  <a:lnTo>
                    <a:pt x="2718" y="1484"/>
                  </a:lnTo>
                  <a:lnTo>
                    <a:pt x="2571" y="1879"/>
                  </a:lnTo>
                  <a:lnTo>
                    <a:pt x="2569" y="1883"/>
                  </a:lnTo>
                  <a:lnTo>
                    <a:pt x="2567" y="1885"/>
                  </a:lnTo>
                  <a:lnTo>
                    <a:pt x="2566" y="1886"/>
                  </a:lnTo>
                  <a:lnTo>
                    <a:pt x="2564" y="1887"/>
                  </a:lnTo>
                  <a:lnTo>
                    <a:pt x="2562" y="1888"/>
                  </a:lnTo>
                  <a:lnTo>
                    <a:pt x="2560" y="1889"/>
                  </a:lnTo>
                  <a:lnTo>
                    <a:pt x="2557" y="1889"/>
                  </a:lnTo>
                  <a:lnTo>
                    <a:pt x="2484" y="1889"/>
                  </a:lnTo>
                  <a:lnTo>
                    <a:pt x="2481" y="1889"/>
                  </a:lnTo>
                  <a:lnTo>
                    <a:pt x="2479" y="1888"/>
                  </a:lnTo>
                  <a:lnTo>
                    <a:pt x="2475" y="1886"/>
                  </a:lnTo>
                  <a:lnTo>
                    <a:pt x="2473" y="1885"/>
                  </a:lnTo>
                  <a:lnTo>
                    <a:pt x="2472" y="1883"/>
                  </a:lnTo>
                  <a:lnTo>
                    <a:pt x="2470" y="1879"/>
                  </a:lnTo>
                  <a:close/>
                  <a:moveTo>
                    <a:pt x="224" y="1804"/>
                  </a:moveTo>
                  <a:lnTo>
                    <a:pt x="236" y="1804"/>
                  </a:lnTo>
                  <a:lnTo>
                    <a:pt x="247" y="1802"/>
                  </a:lnTo>
                  <a:lnTo>
                    <a:pt x="259" y="1799"/>
                  </a:lnTo>
                  <a:lnTo>
                    <a:pt x="264" y="1797"/>
                  </a:lnTo>
                  <a:lnTo>
                    <a:pt x="269" y="1795"/>
                  </a:lnTo>
                  <a:lnTo>
                    <a:pt x="280" y="1791"/>
                  </a:lnTo>
                  <a:lnTo>
                    <a:pt x="289" y="1785"/>
                  </a:lnTo>
                  <a:lnTo>
                    <a:pt x="298" y="1778"/>
                  </a:lnTo>
                  <a:lnTo>
                    <a:pt x="306" y="1770"/>
                  </a:lnTo>
                  <a:lnTo>
                    <a:pt x="314" y="1762"/>
                  </a:lnTo>
                  <a:lnTo>
                    <a:pt x="320" y="1752"/>
                  </a:lnTo>
                  <a:lnTo>
                    <a:pt x="326" y="1742"/>
                  </a:lnTo>
                  <a:lnTo>
                    <a:pt x="331" y="1731"/>
                  </a:lnTo>
                  <a:lnTo>
                    <a:pt x="333" y="1725"/>
                  </a:lnTo>
                  <a:lnTo>
                    <a:pt x="334" y="1719"/>
                  </a:lnTo>
                  <a:lnTo>
                    <a:pt x="337" y="1707"/>
                  </a:lnTo>
                  <a:lnTo>
                    <a:pt x="339" y="1693"/>
                  </a:lnTo>
                  <a:lnTo>
                    <a:pt x="339" y="1687"/>
                  </a:lnTo>
                  <a:lnTo>
                    <a:pt x="340" y="1680"/>
                  </a:lnTo>
                  <a:lnTo>
                    <a:pt x="339" y="1666"/>
                  </a:lnTo>
                  <a:lnTo>
                    <a:pt x="337" y="1652"/>
                  </a:lnTo>
                  <a:lnTo>
                    <a:pt x="334" y="1640"/>
                  </a:lnTo>
                  <a:lnTo>
                    <a:pt x="333" y="1634"/>
                  </a:lnTo>
                  <a:lnTo>
                    <a:pt x="331" y="1628"/>
                  </a:lnTo>
                  <a:lnTo>
                    <a:pt x="326" y="1617"/>
                  </a:lnTo>
                  <a:lnTo>
                    <a:pt x="320" y="1607"/>
                  </a:lnTo>
                  <a:lnTo>
                    <a:pt x="314" y="1597"/>
                  </a:lnTo>
                  <a:lnTo>
                    <a:pt x="310" y="1593"/>
                  </a:lnTo>
                  <a:lnTo>
                    <a:pt x="306" y="1589"/>
                  </a:lnTo>
                  <a:lnTo>
                    <a:pt x="302" y="1585"/>
                  </a:lnTo>
                  <a:lnTo>
                    <a:pt x="298" y="1581"/>
                  </a:lnTo>
                  <a:lnTo>
                    <a:pt x="294" y="1578"/>
                  </a:lnTo>
                  <a:lnTo>
                    <a:pt x="289" y="1574"/>
                  </a:lnTo>
                  <a:lnTo>
                    <a:pt x="280" y="1568"/>
                  </a:lnTo>
                  <a:lnTo>
                    <a:pt x="275" y="1566"/>
                  </a:lnTo>
                  <a:lnTo>
                    <a:pt x="269" y="1564"/>
                  </a:lnTo>
                  <a:lnTo>
                    <a:pt x="264" y="1562"/>
                  </a:lnTo>
                  <a:lnTo>
                    <a:pt x="259" y="1560"/>
                  </a:lnTo>
                  <a:lnTo>
                    <a:pt x="247" y="1557"/>
                  </a:lnTo>
                  <a:lnTo>
                    <a:pt x="236" y="1555"/>
                  </a:lnTo>
                  <a:lnTo>
                    <a:pt x="230" y="1555"/>
                  </a:lnTo>
                  <a:lnTo>
                    <a:pt x="224" y="1555"/>
                  </a:lnTo>
                  <a:lnTo>
                    <a:pt x="212" y="1555"/>
                  </a:lnTo>
                  <a:lnTo>
                    <a:pt x="200" y="1557"/>
                  </a:lnTo>
                  <a:lnTo>
                    <a:pt x="189" y="1560"/>
                  </a:lnTo>
                  <a:lnTo>
                    <a:pt x="183" y="1562"/>
                  </a:lnTo>
                  <a:lnTo>
                    <a:pt x="178" y="1564"/>
                  </a:lnTo>
                  <a:lnTo>
                    <a:pt x="168" y="1568"/>
                  </a:lnTo>
                  <a:lnTo>
                    <a:pt x="158" y="1574"/>
                  </a:lnTo>
                  <a:lnTo>
                    <a:pt x="149" y="1581"/>
                  </a:lnTo>
                  <a:lnTo>
                    <a:pt x="141" y="1589"/>
                  </a:lnTo>
                  <a:lnTo>
                    <a:pt x="134" y="1597"/>
                  </a:lnTo>
                  <a:lnTo>
                    <a:pt x="127" y="1607"/>
                  </a:lnTo>
                  <a:lnTo>
                    <a:pt x="121" y="1617"/>
                  </a:lnTo>
                  <a:lnTo>
                    <a:pt x="117" y="1628"/>
                  </a:lnTo>
                  <a:lnTo>
                    <a:pt x="115" y="1634"/>
                  </a:lnTo>
                  <a:lnTo>
                    <a:pt x="113" y="1640"/>
                  </a:lnTo>
                  <a:lnTo>
                    <a:pt x="110" y="1652"/>
                  </a:lnTo>
                  <a:lnTo>
                    <a:pt x="108" y="1666"/>
                  </a:lnTo>
                  <a:lnTo>
                    <a:pt x="108" y="1672"/>
                  </a:lnTo>
                  <a:lnTo>
                    <a:pt x="108" y="1680"/>
                  </a:lnTo>
                  <a:lnTo>
                    <a:pt x="108" y="1693"/>
                  </a:lnTo>
                  <a:lnTo>
                    <a:pt x="110" y="1707"/>
                  </a:lnTo>
                  <a:lnTo>
                    <a:pt x="113" y="1719"/>
                  </a:lnTo>
                  <a:lnTo>
                    <a:pt x="115" y="1725"/>
                  </a:lnTo>
                  <a:lnTo>
                    <a:pt x="117" y="1731"/>
                  </a:lnTo>
                  <a:lnTo>
                    <a:pt x="121" y="1742"/>
                  </a:lnTo>
                  <a:lnTo>
                    <a:pt x="127" y="1752"/>
                  </a:lnTo>
                  <a:lnTo>
                    <a:pt x="134" y="1762"/>
                  </a:lnTo>
                  <a:lnTo>
                    <a:pt x="137" y="1766"/>
                  </a:lnTo>
                  <a:lnTo>
                    <a:pt x="141" y="1770"/>
                  </a:lnTo>
                  <a:lnTo>
                    <a:pt x="145" y="1774"/>
                  </a:lnTo>
                  <a:lnTo>
                    <a:pt x="149" y="1778"/>
                  </a:lnTo>
                  <a:lnTo>
                    <a:pt x="154" y="1781"/>
                  </a:lnTo>
                  <a:lnTo>
                    <a:pt x="158" y="1785"/>
                  </a:lnTo>
                  <a:lnTo>
                    <a:pt x="168" y="1791"/>
                  </a:lnTo>
                  <a:lnTo>
                    <a:pt x="173" y="1793"/>
                  </a:lnTo>
                  <a:lnTo>
                    <a:pt x="178" y="1795"/>
                  </a:lnTo>
                  <a:lnTo>
                    <a:pt x="183" y="1797"/>
                  </a:lnTo>
                  <a:lnTo>
                    <a:pt x="189" y="1799"/>
                  </a:lnTo>
                  <a:lnTo>
                    <a:pt x="200" y="1802"/>
                  </a:lnTo>
                  <a:lnTo>
                    <a:pt x="212" y="1804"/>
                  </a:lnTo>
                  <a:lnTo>
                    <a:pt x="218" y="1804"/>
                  </a:lnTo>
                  <a:lnTo>
                    <a:pt x="224" y="1804"/>
                  </a:lnTo>
                  <a:close/>
                  <a:moveTo>
                    <a:pt x="224" y="1463"/>
                  </a:moveTo>
                  <a:lnTo>
                    <a:pt x="236" y="1463"/>
                  </a:lnTo>
                  <a:lnTo>
                    <a:pt x="247" y="1464"/>
                  </a:lnTo>
                  <a:lnTo>
                    <a:pt x="259" y="1465"/>
                  </a:lnTo>
                  <a:lnTo>
                    <a:pt x="270" y="1467"/>
                  </a:lnTo>
                  <a:lnTo>
                    <a:pt x="281" y="1470"/>
                  </a:lnTo>
                  <a:lnTo>
                    <a:pt x="292" y="1472"/>
                  </a:lnTo>
                  <a:lnTo>
                    <a:pt x="302" y="1476"/>
                  </a:lnTo>
                  <a:lnTo>
                    <a:pt x="313" y="1479"/>
                  </a:lnTo>
                  <a:lnTo>
                    <a:pt x="323" y="1483"/>
                  </a:lnTo>
                  <a:lnTo>
                    <a:pt x="332" y="1488"/>
                  </a:lnTo>
                  <a:lnTo>
                    <a:pt x="342" y="1493"/>
                  </a:lnTo>
                  <a:lnTo>
                    <a:pt x="351" y="1499"/>
                  </a:lnTo>
                  <a:lnTo>
                    <a:pt x="359" y="1504"/>
                  </a:lnTo>
                  <a:lnTo>
                    <a:pt x="364" y="1507"/>
                  </a:lnTo>
                  <a:lnTo>
                    <a:pt x="368" y="1511"/>
                  </a:lnTo>
                  <a:lnTo>
                    <a:pt x="372" y="1514"/>
                  </a:lnTo>
                  <a:lnTo>
                    <a:pt x="376" y="1517"/>
                  </a:lnTo>
                  <a:lnTo>
                    <a:pt x="383" y="1524"/>
                  </a:lnTo>
                  <a:lnTo>
                    <a:pt x="387" y="1528"/>
                  </a:lnTo>
                  <a:lnTo>
                    <a:pt x="391" y="1532"/>
                  </a:lnTo>
                  <a:lnTo>
                    <a:pt x="398" y="1539"/>
                  </a:lnTo>
                  <a:lnTo>
                    <a:pt x="404" y="1548"/>
                  </a:lnTo>
                  <a:lnTo>
                    <a:pt x="407" y="1552"/>
                  </a:lnTo>
                  <a:lnTo>
                    <a:pt x="410" y="1556"/>
                  </a:lnTo>
                  <a:lnTo>
                    <a:pt x="416" y="1565"/>
                  </a:lnTo>
                  <a:lnTo>
                    <a:pt x="421" y="1574"/>
                  </a:lnTo>
                  <a:lnTo>
                    <a:pt x="426" y="1583"/>
                  </a:lnTo>
                  <a:lnTo>
                    <a:pt x="430" y="1593"/>
                  </a:lnTo>
                  <a:lnTo>
                    <a:pt x="432" y="1598"/>
                  </a:lnTo>
                  <a:lnTo>
                    <a:pt x="434" y="1603"/>
                  </a:lnTo>
                  <a:lnTo>
                    <a:pt x="437" y="1613"/>
                  </a:lnTo>
                  <a:lnTo>
                    <a:pt x="440" y="1623"/>
                  </a:lnTo>
                  <a:lnTo>
                    <a:pt x="443" y="1634"/>
                  </a:lnTo>
                  <a:lnTo>
                    <a:pt x="445" y="1645"/>
                  </a:lnTo>
                  <a:lnTo>
                    <a:pt x="446" y="1656"/>
                  </a:lnTo>
                  <a:lnTo>
                    <a:pt x="446" y="1662"/>
                  </a:lnTo>
                  <a:lnTo>
                    <a:pt x="447" y="1668"/>
                  </a:lnTo>
                  <a:lnTo>
                    <a:pt x="447" y="1680"/>
                  </a:lnTo>
                  <a:lnTo>
                    <a:pt x="447" y="1691"/>
                  </a:lnTo>
                  <a:lnTo>
                    <a:pt x="446" y="1703"/>
                  </a:lnTo>
                  <a:lnTo>
                    <a:pt x="445" y="1714"/>
                  </a:lnTo>
                  <a:lnTo>
                    <a:pt x="443" y="1725"/>
                  </a:lnTo>
                  <a:lnTo>
                    <a:pt x="440" y="1736"/>
                  </a:lnTo>
                  <a:lnTo>
                    <a:pt x="437" y="1746"/>
                  </a:lnTo>
                  <a:lnTo>
                    <a:pt x="434" y="1756"/>
                  </a:lnTo>
                  <a:lnTo>
                    <a:pt x="430" y="1766"/>
                  </a:lnTo>
                  <a:lnTo>
                    <a:pt x="426" y="1776"/>
                  </a:lnTo>
                  <a:lnTo>
                    <a:pt x="421" y="1785"/>
                  </a:lnTo>
                  <a:lnTo>
                    <a:pt x="416" y="1794"/>
                  </a:lnTo>
                  <a:lnTo>
                    <a:pt x="410" y="1803"/>
                  </a:lnTo>
                  <a:lnTo>
                    <a:pt x="404" y="1811"/>
                  </a:lnTo>
                  <a:lnTo>
                    <a:pt x="398" y="1820"/>
                  </a:lnTo>
                  <a:lnTo>
                    <a:pt x="391" y="1827"/>
                  </a:lnTo>
                  <a:lnTo>
                    <a:pt x="383" y="1835"/>
                  </a:lnTo>
                  <a:lnTo>
                    <a:pt x="376" y="1842"/>
                  </a:lnTo>
                  <a:lnTo>
                    <a:pt x="368" y="1848"/>
                  </a:lnTo>
                  <a:lnTo>
                    <a:pt x="359" y="1855"/>
                  </a:lnTo>
                  <a:lnTo>
                    <a:pt x="351" y="1860"/>
                  </a:lnTo>
                  <a:lnTo>
                    <a:pt x="342" y="1866"/>
                  </a:lnTo>
                  <a:lnTo>
                    <a:pt x="332" y="1871"/>
                  </a:lnTo>
                  <a:lnTo>
                    <a:pt x="323" y="1876"/>
                  </a:lnTo>
                  <a:lnTo>
                    <a:pt x="313" y="1880"/>
                  </a:lnTo>
                  <a:lnTo>
                    <a:pt x="302" y="1883"/>
                  </a:lnTo>
                  <a:lnTo>
                    <a:pt x="292" y="1887"/>
                  </a:lnTo>
                  <a:lnTo>
                    <a:pt x="281" y="1889"/>
                  </a:lnTo>
                  <a:lnTo>
                    <a:pt x="270" y="1892"/>
                  </a:lnTo>
                  <a:lnTo>
                    <a:pt x="259" y="1894"/>
                  </a:lnTo>
                  <a:lnTo>
                    <a:pt x="247" y="1895"/>
                  </a:lnTo>
                  <a:lnTo>
                    <a:pt x="236" y="1896"/>
                  </a:lnTo>
                  <a:lnTo>
                    <a:pt x="224" y="1896"/>
                  </a:lnTo>
                  <a:lnTo>
                    <a:pt x="212" y="1896"/>
                  </a:lnTo>
                  <a:lnTo>
                    <a:pt x="200" y="1895"/>
                  </a:lnTo>
                  <a:lnTo>
                    <a:pt x="188" y="1894"/>
                  </a:lnTo>
                  <a:lnTo>
                    <a:pt x="177" y="1892"/>
                  </a:lnTo>
                  <a:lnTo>
                    <a:pt x="166" y="1889"/>
                  </a:lnTo>
                  <a:lnTo>
                    <a:pt x="155" y="1887"/>
                  </a:lnTo>
                  <a:lnTo>
                    <a:pt x="145" y="1883"/>
                  </a:lnTo>
                  <a:lnTo>
                    <a:pt x="135" y="1880"/>
                  </a:lnTo>
                  <a:lnTo>
                    <a:pt x="125" y="1876"/>
                  </a:lnTo>
                  <a:lnTo>
                    <a:pt x="115" y="1871"/>
                  </a:lnTo>
                  <a:lnTo>
                    <a:pt x="106" y="1866"/>
                  </a:lnTo>
                  <a:lnTo>
                    <a:pt x="97" y="1860"/>
                  </a:lnTo>
                  <a:lnTo>
                    <a:pt x="88" y="1855"/>
                  </a:lnTo>
                  <a:lnTo>
                    <a:pt x="84" y="1852"/>
                  </a:lnTo>
                  <a:lnTo>
                    <a:pt x="79" y="1848"/>
                  </a:lnTo>
                  <a:lnTo>
                    <a:pt x="75" y="1845"/>
                  </a:lnTo>
                  <a:lnTo>
                    <a:pt x="71" y="1842"/>
                  </a:lnTo>
                  <a:lnTo>
                    <a:pt x="64" y="1835"/>
                  </a:lnTo>
                  <a:lnTo>
                    <a:pt x="60" y="1831"/>
                  </a:lnTo>
                  <a:lnTo>
                    <a:pt x="56" y="1827"/>
                  </a:lnTo>
                  <a:lnTo>
                    <a:pt x="50" y="1820"/>
                  </a:lnTo>
                  <a:lnTo>
                    <a:pt x="43" y="1811"/>
                  </a:lnTo>
                  <a:lnTo>
                    <a:pt x="40" y="1807"/>
                  </a:lnTo>
                  <a:lnTo>
                    <a:pt x="37" y="1803"/>
                  </a:lnTo>
                  <a:lnTo>
                    <a:pt x="31" y="1794"/>
                  </a:lnTo>
                  <a:lnTo>
                    <a:pt x="26" y="1785"/>
                  </a:lnTo>
                  <a:lnTo>
                    <a:pt x="21" y="1776"/>
                  </a:lnTo>
                  <a:lnTo>
                    <a:pt x="17" y="1766"/>
                  </a:lnTo>
                  <a:lnTo>
                    <a:pt x="15" y="1761"/>
                  </a:lnTo>
                  <a:lnTo>
                    <a:pt x="13" y="1756"/>
                  </a:lnTo>
                  <a:lnTo>
                    <a:pt x="10" y="1746"/>
                  </a:lnTo>
                  <a:lnTo>
                    <a:pt x="7" y="1736"/>
                  </a:lnTo>
                  <a:lnTo>
                    <a:pt x="4" y="1725"/>
                  </a:lnTo>
                  <a:lnTo>
                    <a:pt x="3" y="1714"/>
                  </a:lnTo>
                  <a:lnTo>
                    <a:pt x="1" y="1703"/>
                  </a:lnTo>
                  <a:lnTo>
                    <a:pt x="1" y="1697"/>
                  </a:lnTo>
                  <a:lnTo>
                    <a:pt x="0" y="1691"/>
                  </a:lnTo>
                  <a:lnTo>
                    <a:pt x="0" y="1680"/>
                  </a:lnTo>
                  <a:lnTo>
                    <a:pt x="0" y="1668"/>
                  </a:lnTo>
                  <a:lnTo>
                    <a:pt x="1" y="1656"/>
                  </a:lnTo>
                  <a:lnTo>
                    <a:pt x="3" y="1645"/>
                  </a:lnTo>
                  <a:lnTo>
                    <a:pt x="4" y="1634"/>
                  </a:lnTo>
                  <a:lnTo>
                    <a:pt x="7" y="1623"/>
                  </a:lnTo>
                  <a:lnTo>
                    <a:pt x="10" y="1613"/>
                  </a:lnTo>
                  <a:lnTo>
                    <a:pt x="13" y="1603"/>
                  </a:lnTo>
                  <a:lnTo>
                    <a:pt x="17" y="1593"/>
                  </a:lnTo>
                  <a:lnTo>
                    <a:pt x="21" y="1583"/>
                  </a:lnTo>
                  <a:lnTo>
                    <a:pt x="26" y="1574"/>
                  </a:lnTo>
                  <a:lnTo>
                    <a:pt x="31" y="1565"/>
                  </a:lnTo>
                  <a:lnTo>
                    <a:pt x="37" y="1556"/>
                  </a:lnTo>
                  <a:lnTo>
                    <a:pt x="43" y="1548"/>
                  </a:lnTo>
                  <a:lnTo>
                    <a:pt x="50" y="1539"/>
                  </a:lnTo>
                  <a:lnTo>
                    <a:pt x="56" y="1532"/>
                  </a:lnTo>
                  <a:lnTo>
                    <a:pt x="64" y="1524"/>
                  </a:lnTo>
                  <a:lnTo>
                    <a:pt x="71" y="1517"/>
                  </a:lnTo>
                  <a:lnTo>
                    <a:pt x="79" y="1511"/>
                  </a:lnTo>
                  <a:lnTo>
                    <a:pt x="88" y="1504"/>
                  </a:lnTo>
                  <a:lnTo>
                    <a:pt x="97" y="1499"/>
                  </a:lnTo>
                  <a:lnTo>
                    <a:pt x="106" y="1493"/>
                  </a:lnTo>
                  <a:lnTo>
                    <a:pt x="115" y="1488"/>
                  </a:lnTo>
                  <a:lnTo>
                    <a:pt x="125" y="1483"/>
                  </a:lnTo>
                  <a:lnTo>
                    <a:pt x="135" y="1479"/>
                  </a:lnTo>
                  <a:lnTo>
                    <a:pt x="145" y="1476"/>
                  </a:lnTo>
                  <a:lnTo>
                    <a:pt x="155" y="1472"/>
                  </a:lnTo>
                  <a:lnTo>
                    <a:pt x="166" y="1470"/>
                  </a:lnTo>
                  <a:lnTo>
                    <a:pt x="177" y="1467"/>
                  </a:lnTo>
                  <a:lnTo>
                    <a:pt x="188" y="1465"/>
                  </a:lnTo>
                  <a:lnTo>
                    <a:pt x="200" y="1464"/>
                  </a:lnTo>
                  <a:lnTo>
                    <a:pt x="212" y="1463"/>
                  </a:lnTo>
                  <a:lnTo>
                    <a:pt x="224" y="1463"/>
                  </a:lnTo>
                  <a:close/>
                  <a:moveTo>
                    <a:pt x="1090" y="1810"/>
                  </a:moveTo>
                  <a:lnTo>
                    <a:pt x="1096" y="1809"/>
                  </a:lnTo>
                  <a:lnTo>
                    <a:pt x="1102" y="1809"/>
                  </a:lnTo>
                  <a:lnTo>
                    <a:pt x="1112" y="1807"/>
                  </a:lnTo>
                  <a:lnTo>
                    <a:pt x="1116" y="1806"/>
                  </a:lnTo>
                  <a:lnTo>
                    <a:pt x="1120" y="1804"/>
                  </a:lnTo>
                  <a:lnTo>
                    <a:pt x="1128" y="1800"/>
                  </a:lnTo>
                  <a:lnTo>
                    <a:pt x="1131" y="1798"/>
                  </a:lnTo>
                  <a:lnTo>
                    <a:pt x="1133" y="1795"/>
                  </a:lnTo>
                  <a:lnTo>
                    <a:pt x="1136" y="1792"/>
                  </a:lnTo>
                  <a:lnTo>
                    <a:pt x="1138" y="1789"/>
                  </a:lnTo>
                  <a:lnTo>
                    <a:pt x="1139" y="1786"/>
                  </a:lnTo>
                  <a:lnTo>
                    <a:pt x="1140" y="1782"/>
                  </a:lnTo>
                  <a:lnTo>
                    <a:pt x="1141" y="1779"/>
                  </a:lnTo>
                  <a:lnTo>
                    <a:pt x="1141" y="1775"/>
                  </a:lnTo>
                  <a:lnTo>
                    <a:pt x="1141" y="1771"/>
                  </a:lnTo>
                  <a:lnTo>
                    <a:pt x="1140" y="1767"/>
                  </a:lnTo>
                  <a:lnTo>
                    <a:pt x="1139" y="1763"/>
                  </a:lnTo>
                  <a:lnTo>
                    <a:pt x="1138" y="1760"/>
                  </a:lnTo>
                  <a:lnTo>
                    <a:pt x="1134" y="1754"/>
                  </a:lnTo>
                  <a:lnTo>
                    <a:pt x="1130" y="1749"/>
                  </a:lnTo>
                  <a:lnTo>
                    <a:pt x="1127" y="1747"/>
                  </a:lnTo>
                  <a:lnTo>
                    <a:pt x="1124" y="1744"/>
                  </a:lnTo>
                  <a:lnTo>
                    <a:pt x="1120" y="1742"/>
                  </a:lnTo>
                  <a:lnTo>
                    <a:pt x="1116" y="1740"/>
                  </a:lnTo>
                  <a:lnTo>
                    <a:pt x="1099" y="1732"/>
                  </a:lnTo>
                  <a:lnTo>
                    <a:pt x="1038" y="1703"/>
                  </a:lnTo>
                  <a:lnTo>
                    <a:pt x="1031" y="1699"/>
                  </a:lnTo>
                  <a:lnTo>
                    <a:pt x="1023" y="1695"/>
                  </a:lnTo>
                  <a:lnTo>
                    <a:pt x="1016" y="1691"/>
                  </a:lnTo>
                  <a:lnTo>
                    <a:pt x="1010" y="1686"/>
                  </a:lnTo>
                  <a:lnTo>
                    <a:pt x="1003" y="1680"/>
                  </a:lnTo>
                  <a:lnTo>
                    <a:pt x="997" y="1674"/>
                  </a:lnTo>
                  <a:lnTo>
                    <a:pt x="992" y="1668"/>
                  </a:lnTo>
                  <a:lnTo>
                    <a:pt x="986" y="1661"/>
                  </a:lnTo>
                  <a:lnTo>
                    <a:pt x="982" y="1654"/>
                  </a:lnTo>
                  <a:lnTo>
                    <a:pt x="978" y="1646"/>
                  </a:lnTo>
                  <a:lnTo>
                    <a:pt x="974" y="1638"/>
                  </a:lnTo>
                  <a:lnTo>
                    <a:pt x="971" y="1629"/>
                  </a:lnTo>
                  <a:lnTo>
                    <a:pt x="969" y="1620"/>
                  </a:lnTo>
                  <a:lnTo>
                    <a:pt x="967" y="1610"/>
                  </a:lnTo>
                  <a:lnTo>
                    <a:pt x="966" y="1600"/>
                  </a:lnTo>
                  <a:lnTo>
                    <a:pt x="965" y="1590"/>
                  </a:lnTo>
                  <a:lnTo>
                    <a:pt x="966" y="1583"/>
                  </a:lnTo>
                  <a:lnTo>
                    <a:pt x="966" y="1576"/>
                  </a:lnTo>
                  <a:lnTo>
                    <a:pt x="967" y="1570"/>
                  </a:lnTo>
                  <a:lnTo>
                    <a:pt x="968" y="1563"/>
                  </a:lnTo>
                  <a:lnTo>
                    <a:pt x="971" y="1551"/>
                  </a:lnTo>
                  <a:lnTo>
                    <a:pt x="973" y="1545"/>
                  </a:lnTo>
                  <a:lnTo>
                    <a:pt x="976" y="1539"/>
                  </a:lnTo>
                  <a:lnTo>
                    <a:pt x="979" y="1534"/>
                  </a:lnTo>
                  <a:lnTo>
                    <a:pt x="982" y="1528"/>
                  </a:lnTo>
                  <a:lnTo>
                    <a:pt x="988" y="1518"/>
                  </a:lnTo>
                  <a:lnTo>
                    <a:pt x="996" y="1508"/>
                  </a:lnTo>
                  <a:lnTo>
                    <a:pt x="1005" y="1499"/>
                  </a:lnTo>
                  <a:lnTo>
                    <a:pt x="1015" y="1491"/>
                  </a:lnTo>
                  <a:lnTo>
                    <a:pt x="1026" y="1484"/>
                  </a:lnTo>
                  <a:lnTo>
                    <a:pt x="1037" y="1478"/>
                  </a:lnTo>
                  <a:lnTo>
                    <a:pt x="1044" y="1475"/>
                  </a:lnTo>
                  <a:lnTo>
                    <a:pt x="1050" y="1473"/>
                  </a:lnTo>
                  <a:lnTo>
                    <a:pt x="1063" y="1469"/>
                  </a:lnTo>
                  <a:lnTo>
                    <a:pt x="1070" y="1467"/>
                  </a:lnTo>
                  <a:lnTo>
                    <a:pt x="1077" y="1466"/>
                  </a:lnTo>
                  <a:lnTo>
                    <a:pt x="1085" y="1464"/>
                  </a:lnTo>
                  <a:lnTo>
                    <a:pt x="1092" y="1464"/>
                  </a:lnTo>
                  <a:lnTo>
                    <a:pt x="1107" y="1463"/>
                  </a:lnTo>
                  <a:lnTo>
                    <a:pt x="1122" y="1464"/>
                  </a:lnTo>
                  <a:lnTo>
                    <a:pt x="1137" y="1465"/>
                  </a:lnTo>
                  <a:lnTo>
                    <a:pt x="1145" y="1466"/>
                  </a:lnTo>
                  <a:lnTo>
                    <a:pt x="1152" y="1467"/>
                  </a:lnTo>
                  <a:lnTo>
                    <a:pt x="1159" y="1468"/>
                  </a:lnTo>
                  <a:lnTo>
                    <a:pt x="1166" y="1470"/>
                  </a:lnTo>
                  <a:lnTo>
                    <a:pt x="1180" y="1474"/>
                  </a:lnTo>
                  <a:lnTo>
                    <a:pt x="1193" y="1479"/>
                  </a:lnTo>
                  <a:lnTo>
                    <a:pt x="1206" y="1484"/>
                  </a:lnTo>
                  <a:lnTo>
                    <a:pt x="1217" y="1490"/>
                  </a:lnTo>
                  <a:lnTo>
                    <a:pt x="1219" y="1492"/>
                  </a:lnTo>
                  <a:lnTo>
                    <a:pt x="1221" y="1494"/>
                  </a:lnTo>
                  <a:lnTo>
                    <a:pt x="1222" y="1496"/>
                  </a:lnTo>
                  <a:lnTo>
                    <a:pt x="1223" y="1498"/>
                  </a:lnTo>
                  <a:lnTo>
                    <a:pt x="1223" y="1502"/>
                  </a:lnTo>
                  <a:lnTo>
                    <a:pt x="1221" y="1507"/>
                  </a:lnTo>
                  <a:lnTo>
                    <a:pt x="1197" y="1562"/>
                  </a:lnTo>
                  <a:lnTo>
                    <a:pt x="1194" y="1567"/>
                  </a:lnTo>
                  <a:lnTo>
                    <a:pt x="1192" y="1569"/>
                  </a:lnTo>
                  <a:lnTo>
                    <a:pt x="1191" y="1570"/>
                  </a:lnTo>
                  <a:lnTo>
                    <a:pt x="1186" y="1570"/>
                  </a:lnTo>
                  <a:lnTo>
                    <a:pt x="1184" y="1570"/>
                  </a:lnTo>
                  <a:lnTo>
                    <a:pt x="1181" y="1569"/>
                  </a:lnTo>
                  <a:lnTo>
                    <a:pt x="1172" y="1565"/>
                  </a:lnTo>
                  <a:lnTo>
                    <a:pt x="1164" y="1561"/>
                  </a:lnTo>
                  <a:lnTo>
                    <a:pt x="1156" y="1558"/>
                  </a:lnTo>
                  <a:lnTo>
                    <a:pt x="1147" y="1555"/>
                  </a:lnTo>
                  <a:lnTo>
                    <a:pt x="1139" y="1552"/>
                  </a:lnTo>
                  <a:lnTo>
                    <a:pt x="1130" y="1551"/>
                  </a:lnTo>
                  <a:lnTo>
                    <a:pt x="1121" y="1550"/>
                  </a:lnTo>
                  <a:lnTo>
                    <a:pt x="1111" y="1549"/>
                  </a:lnTo>
                  <a:lnTo>
                    <a:pt x="1101" y="1550"/>
                  </a:lnTo>
                  <a:lnTo>
                    <a:pt x="1092" y="1552"/>
                  </a:lnTo>
                  <a:lnTo>
                    <a:pt x="1088" y="1553"/>
                  </a:lnTo>
                  <a:lnTo>
                    <a:pt x="1085" y="1555"/>
                  </a:lnTo>
                  <a:lnTo>
                    <a:pt x="1078" y="1559"/>
                  </a:lnTo>
                  <a:lnTo>
                    <a:pt x="1075" y="1561"/>
                  </a:lnTo>
                  <a:lnTo>
                    <a:pt x="1073" y="1564"/>
                  </a:lnTo>
                  <a:lnTo>
                    <a:pt x="1071" y="1567"/>
                  </a:lnTo>
                  <a:lnTo>
                    <a:pt x="1069" y="1570"/>
                  </a:lnTo>
                  <a:lnTo>
                    <a:pt x="1068" y="1573"/>
                  </a:lnTo>
                  <a:lnTo>
                    <a:pt x="1067" y="1576"/>
                  </a:lnTo>
                  <a:lnTo>
                    <a:pt x="1067" y="1580"/>
                  </a:lnTo>
                  <a:lnTo>
                    <a:pt x="1067" y="1583"/>
                  </a:lnTo>
                  <a:lnTo>
                    <a:pt x="1067" y="1587"/>
                  </a:lnTo>
                  <a:lnTo>
                    <a:pt x="1067" y="1590"/>
                  </a:lnTo>
                  <a:lnTo>
                    <a:pt x="1069" y="1597"/>
                  </a:lnTo>
                  <a:lnTo>
                    <a:pt x="1073" y="1602"/>
                  </a:lnTo>
                  <a:lnTo>
                    <a:pt x="1075" y="1605"/>
                  </a:lnTo>
                  <a:lnTo>
                    <a:pt x="1077" y="1608"/>
                  </a:lnTo>
                  <a:lnTo>
                    <a:pt x="1080" y="1610"/>
                  </a:lnTo>
                  <a:lnTo>
                    <a:pt x="1083" y="1612"/>
                  </a:lnTo>
                  <a:lnTo>
                    <a:pt x="1090" y="1617"/>
                  </a:lnTo>
                  <a:lnTo>
                    <a:pt x="1098" y="1621"/>
                  </a:lnTo>
                  <a:lnTo>
                    <a:pt x="1108" y="1626"/>
                  </a:lnTo>
                  <a:lnTo>
                    <a:pt x="1170" y="1655"/>
                  </a:lnTo>
                  <a:lnTo>
                    <a:pt x="1178" y="1659"/>
                  </a:lnTo>
                  <a:lnTo>
                    <a:pt x="1185" y="1663"/>
                  </a:lnTo>
                  <a:lnTo>
                    <a:pt x="1193" y="1667"/>
                  </a:lnTo>
                  <a:lnTo>
                    <a:pt x="1199" y="1672"/>
                  </a:lnTo>
                  <a:lnTo>
                    <a:pt x="1206" y="1678"/>
                  </a:lnTo>
                  <a:lnTo>
                    <a:pt x="1212" y="1684"/>
                  </a:lnTo>
                  <a:lnTo>
                    <a:pt x="1217" y="1690"/>
                  </a:lnTo>
                  <a:lnTo>
                    <a:pt x="1222" y="1696"/>
                  </a:lnTo>
                  <a:lnTo>
                    <a:pt x="1225" y="1700"/>
                  </a:lnTo>
                  <a:lnTo>
                    <a:pt x="1227" y="1703"/>
                  </a:lnTo>
                  <a:lnTo>
                    <a:pt x="1231" y="1711"/>
                  </a:lnTo>
                  <a:lnTo>
                    <a:pt x="1234" y="1719"/>
                  </a:lnTo>
                  <a:lnTo>
                    <a:pt x="1237" y="1727"/>
                  </a:lnTo>
                  <a:lnTo>
                    <a:pt x="1239" y="1731"/>
                  </a:lnTo>
                  <a:lnTo>
                    <a:pt x="1240" y="1736"/>
                  </a:lnTo>
                  <a:lnTo>
                    <a:pt x="1241" y="1745"/>
                  </a:lnTo>
                  <a:lnTo>
                    <a:pt x="1242" y="1755"/>
                  </a:lnTo>
                  <a:lnTo>
                    <a:pt x="1243" y="1766"/>
                  </a:lnTo>
                  <a:lnTo>
                    <a:pt x="1243" y="1773"/>
                  </a:lnTo>
                  <a:lnTo>
                    <a:pt x="1242" y="1780"/>
                  </a:lnTo>
                  <a:lnTo>
                    <a:pt x="1240" y="1793"/>
                  </a:lnTo>
                  <a:lnTo>
                    <a:pt x="1238" y="1799"/>
                  </a:lnTo>
                  <a:lnTo>
                    <a:pt x="1236" y="1806"/>
                  </a:lnTo>
                  <a:lnTo>
                    <a:pt x="1232" y="1818"/>
                  </a:lnTo>
                  <a:lnTo>
                    <a:pt x="1229" y="1824"/>
                  </a:lnTo>
                  <a:lnTo>
                    <a:pt x="1226" y="1829"/>
                  </a:lnTo>
                  <a:lnTo>
                    <a:pt x="1222" y="1835"/>
                  </a:lnTo>
                  <a:lnTo>
                    <a:pt x="1218" y="1840"/>
                  </a:lnTo>
                  <a:lnTo>
                    <a:pt x="1214" y="1845"/>
                  </a:lnTo>
                  <a:lnTo>
                    <a:pt x="1210" y="1850"/>
                  </a:lnTo>
                  <a:lnTo>
                    <a:pt x="1206" y="1855"/>
                  </a:lnTo>
                  <a:lnTo>
                    <a:pt x="1201" y="1859"/>
                  </a:lnTo>
                  <a:lnTo>
                    <a:pt x="1196" y="1863"/>
                  </a:lnTo>
                  <a:lnTo>
                    <a:pt x="1190" y="1867"/>
                  </a:lnTo>
                  <a:lnTo>
                    <a:pt x="1179" y="1875"/>
                  </a:lnTo>
                  <a:lnTo>
                    <a:pt x="1173" y="1878"/>
                  </a:lnTo>
                  <a:lnTo>
                    <a:pt x="1166" y="1881"/>
                  </a:lnTo>
                  <a:lnTo>
                    <a:pt x="1160" y="1884"/>
                  </a:lnTo>
                  <a:lnTo>
                    <a:pt x="1153" y="1886"/>
                  </a:lnTo>
                  <a:lnTo>
                    <a:pt x="1139" y="1890"/>
                  </a:lnTo>
                  <a:lnTo>
                    <a:pt x="1132" y="1892"/>
                  </a:lnTo>
                  <a:lnTo>
                    <a:pt x="1124" y="1893"/>
                  </a:lnTo>
                  <a:lnTo>
                    <a:pt x="1117" y="1895"/>
                  </a:lnTo>
                  <a:lnTo>
                    <a:pt x="1109" y="1895"/>
                  </a:lnTo>
                  <a:lnTo>
                    <a:pt x="1093" y="1896"/>
                  </a:lnTo>
                  <a:lnTo>
                    <a:pt x="1075" y="1895"/>
                  </a:lnTo>
                  <a:lnTo>
                    <a:pt x="1066" y="1894"/>
                  </a:lnTo>
                  <a:lnTo>
                    <a:pt x="1057" y="1893"/>
                  </a:lnTo>
                  <a:lnTo>
                    <a:pt x="1048" y="1891"/>
                  </a:lnTo>
                  <a:lnTo>
                    <a:pt x="1040" y="1890"/>
                  </a:lnTo>
                  <a:lnTo>
                    <a:pt x="1031" y="1887"/>
                  </a:lnTo>
                  <a:lnTo>
                    <a:pt x="1023" y="1885"/>
                  </a:lnTo>
                  <a:lnTo>
                    <a:pt x="1007" y="1880"/>
                  </a:lnTo>
                  <a:lnTo>
                    <a:pt x="992" y="1873"/>
                  </a:lnTo>
                  <a:lnTo>
                    <a:pt x="977" y="1866"/>
                  </a:lnTo>
                  <a:lnTo>
                    <a:pt x="964" y="1859"/>
                  </a:lnTo>
                  <a:lnTo>
                    <a:pt x="961" y="1857"/>
                  </a:lnTo>
                  <a:lnTo>
                    <a:pt x="959" y="1854"/>
                  </a:lnTo>
                  <a:lnTo>
                    <a:pt x="958" y="1852"/>
                  </a:lnTo>
                  <a:lnTo>
                    <a:pt x="957" y="1850"/>
                  </a:lnTo>
                  <a:lnTo>
                    <a:pt x="958" y="1846"/>
                  </a:lnTo>
                  <a:lnTo>
                    <a:pt x="960" y="1842"/>
                  </a:lnTo>
                  <a:lnTo>
                    <a:pt x="984" y="1787"/>
                  </a:lnTo>
                  <a:lnTo>
                    <a:pt x="987" y="1782"/>
                  </a:lnTo>
                  <a:lnTo>
                    <a:pt x="989" y="1780"/>
                  </a:lnTo>
                  <a:lnTo>
                    <a:pt x="990" y="1779"/>
                  </a:lnTo>
                  <a:lnTo>
                    <a:pt x="993" y="1778"/>
                  </a:lnTo>
                  <a:lnTo>
                    <a:pt x="995" y="1778"/>
                  </a:lnTo>
                  <a:lnTo>
                    <a:pt x="997" y="1779"/>
                  </a:lnTo>
                  <a:lnTo>
                    <a:pt x="1000" y="1780"/>
                  </a:lnTo>
                  <a:lnTo>
                    <a:pt x="1012" y="1787"/>
                  </a:lnTo>
                  <a:lnTo>
                    <a:pt x="1023" y="1792"/>
                  </a:lnTo>
                  <a:lnTo>
                    <a:pt x="1034" y="1797"/>
                  </a:lnTo>
                  <a:lnTo>
                    <a:pt x="1045" y="1802"/>
                  </a:lnTo>
                  <a:lnTo>
                    <a:pt x="1056" y="1805"/>
                  </a:lnTo>
                  <a:lnTo>
                    <a:pt x="1067" y="1808"/>
                  </a:lnTo>
                  <a:lnTo>
                    <a:pt x="1079" y="1809"/>
                  </a:lnTo>
                  <a:lnTo>
                    <a:pt x="1090" y="1810"/>
                  </a:lnTo>
                  <a:close/>
                  <a:moveTo>
                    <a:pt x="512" y="1480"/>
                  </a:moveTo>
                  <a:lnTo>
                    <a:pt x="512" y="1478"/>
                  </a:lnTo>
                  <a:lnTo>
                    <a:pt x="513" y="1476"/>
                  </a:lnTo>
                  <a:lnTo>
                    <a:pt x="515" y="1473"/>
                  </a:lnTo>
                  <a:lnTo>
                    <a:pt x="516" y="1472"/>
                  </a:lnTo>
                  <a:lnTo>
                    <a:pt x="518" y="1471"/>
                  </a:lnTo>
                  <a:lnTo>
                    <a:pt x="522" y="1470"/>
                  </a:lnTo>
                  <a:lnTo>
                    <a:pt x="606" y="1470"/>
                  </a:lnTo>
                  <a:lnTo>
                    <a:pt x="609" y="1471"/>
                  </a:lnTo>
                  <a:lnTo>
                    <a:pt x="612" y="1473"/>
                  </a:lnTo>
                  <a:lnTo>
                    <a:pt x="613" y="1474"/>
                  </a:lnTo>
                  <a:lnTo>
                    <a:pt x="614" y="1476"/>
                  </a:lnTo>
                  <a:lnTo>
                    <a:pt x="614" y="1478"/>
                  </a:lnTo>
                  <a:lnTo>
                    <a:pt x="615" y="1480"/>
                  </a:lnTo>
                  <a:lnTo>
                    <a:pt x="615" y="1797"/>
                  </a:lnTo>
                  <a:lnTo>
                    <a:pt x="689" y="1797"/>
                  </a:lnTo>
                  <a:lnTo>
                    <a:pt x="693" y="1797"/>
                  </a:lnTo>
                  <a:lnTo>
                    <a:pt x="696" y="1799"/>
                  </a:lnTo>
                  <a:lnTo>
                    <a:pt x="697" y="1801"/>
                  </a:lnTo>
                  <a:lnTo>
                    <a:pt x="697" y="1803"/>
                  </a:lnTo>
                  <a:lnTo>
                    <a:pt x="698" y="1804"/>
                  </a:lnTo>
                  <a:lnTo>
                    <a:pt x="698" y="1807"/>
                  </a:lnTo>
                  <a:lnTo>
                    <a:pt x="698" y="1879"/>
                  </a:lnTo>
                  <a:lnTo>
                    <a:pt x="698" y="1881"/>
                  </a:lnTo>
                  <a:lnTo>
                    <a:pt x="697" y="1883"/>
                  </a:lnTo>
                  <a:lnTo>
                    <a:pt x="696" y="1886"/>
                  </a:lnTo>
                  <a:lnTo>
                    <a:pt x="694" y="1887"/>
                  </a:lnTo>
                  <a:lnTo>
                    <a:pt x="693" y="1888"/>
                  </a:lnTo>
                  <a:lnTo>
                    <a:pt x="691" y="1889"/>
                  </a:lnTo>
                  <a:lnTo>
                    <a:pt x="689" y="1889"/>
                  </a:lnTo>
                  <a:lnTo>
                    <a:pt x="522" y="1889"/>
                  </a:lnTo>
                  <a:lnTo>
                    <a:pt x="518" y="1888"/>
                  </a:lnTo>
                  <a:lnTo>
                    <a:pt x="515" y="1886"/>
                  </a:lnTo>
                  <a:lnTo>
                    <a:pt x="513" y="1883"/>
                  </a:lnTo>
                  <a:lnTo>
                    <a:pt x="512" y="1881"/>
                  </a:lnTo>
                  <a:lnTo>
                    <a:pt x="512" y="1879"/>
                  </a:lnTo>
                  <a:lnTo>
                    <a:pt x="512" y="1480"/>
                  </a:lnTo>
                  <a:close/>
                  <a:moveTo>
                    <a:pt x="777" y="1480"/>
                  </a:moveTo>
                  <a:lnTo>
                    <a:pt x="777" y="1478"/>
                  </a:lnTo>
                  <a:lnTo>
                    <a:pt x="778" y="1476"/>
                  </a:lnTo>
                  <a:lnTo>
                    <a:pt x="780" y="1473"/>
                  </a:lnTo>
                  <a:lnTo>
                    <a:pt x="781" y="1472"/>
                  </a:lnTo>
                  <a:lnTo>
                    <a:pt x="783" y="1471"/>
                  </a:lnTo>
                  <a:lnTo>
                    <a:pt x="787" y="1470"/>
                  </a:lnTo>
                  <a:lnTo>
                    <a:pt x="869" y="1470"/>
                  </a:lnTo>
                  <a:lnTo>
                    <a:pt x="873" y="1471"/>
                  </a:lnTo>
                  <a:lnTo>
                    <a:pt x="876" y="1473"/>
                  </a:lnTo>
                  <a:lnTo>
                    <a:pt x="878" y="1474"/>
                  </a:lnTo>
                  <a:lnTo>
                    <a:pt x="879" y="1476"/>
                  </a:lnTo>
                  <a:lnTo>
                    <a:pt x="879" y="1478"/>
                  </a:lnTo>
                  <a:lnTo>
                    <a:pt x="879" y="1480"/>
                  </a:lnTo>
                  <a:lnTo>
                    <a:pt x="879" y="1879"/>
                  </a:lnTo>
                  <a:lnTo>
                    <a:pt x="879" y="1881"/>
                  </a:lnTo>
                  <a:lnTo>
                    <a:pt x="879" y="1883"/>
                  </a:lnTo>
                  <a:lnTo>
                    <a:pt x="876" y="1886"/>
                  </a:lnTo>
                  <a:lnTo>
                    <a:pt x="875" y="1887"/>
                  </a:lnTo>
                  <a:lnTo>
                    <a:pt x="873" y="1888"/>
                  </a:lnTo>
                  <a:lnTo>
                    <a:pt x="869" y="1889"/>
                  </a:lnTo>
                  <a:lnTo>
                    <a:pt x="787" y="1889"/>
                  </a:lnTo>
                  <a:lnTo>
                    <a:pt x="783" y="1888"/>
                  </a:lnTo>
                  <a:lnTo>
                    <a:pt x="780" y="1886"/>
                  </a:lnTo>
                  <a:lnTo>
                    <a:pt x="779" y="1885"/>
                  </a:lnTo>
                  <a:lnTo>
                    <a:pt x="778" y="1883"/>
                  </a:lnTo>
                  <a:lnTo>
                    <a:pt x="777" y="1881"/>
                  </a:lnTo>
                  <a:lnTo>
                    <a:pt x="777" y="1879"/>
                  </a:lnTo>
                  <a:lnTo>
                    <a:pt x="777" y="148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623015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lhuet Bei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749EE90-93C9-41D6-95B2-F04067254816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RIA - RKL yrittäjäpäivä 1.11.202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7946855-F0F5-4EE8-AF71-94DDEE0D089F}"/>
              </a:ext>
            </a:extLst>
          </p:cNvPr>
          <p:cNvGrpSpPr/>
          <p:nvPr userDrawn="1"/>
        </p:nvGrpSpPr>
        <p:grpSpPr>
          <a:xfrm>
            <a:off x="0" y="4077072"/>
            <a:ext cx="9874285" cy="1872000"/>
            <a:chOff x="0" y="4077072"/>
            <a:chExt cx="9874285" cy="1872000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1DC6FC56-D6F1-41FA-81BE-FAB57953F580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0" y="4077072"/>
              <a:ext cx="9874285" cy="1872000"/>
            </a:xfrm>
            <a:custGeom>
              <a:avLst/>
              <a:gdLst>
                <a:gd name="T0" fmla="*/ 10894 w 23040"/>
                <a:gd name="T1" fmla="*/ 3037 h 4369"/>
                <a:gd name="T2" fmla="*/ 10931 w 23040"/>
                <a:gd name="T3" fmla="*/ 2661 h 4369"/>
                <a:gd name="T4" fmla="*/ 13479 w 23040"/>
                <a:gd name="T5" fmla="*/ 2241 h 4369"/>
                <a:gd name="T6" fmla="*/ 12981 w 23040"/>
                <a:gd name="T7" fmla="*/ 1865 h 4369"/>
                <a:gd name="T8" fmla="*/ 13222 w 23040"/>
                <a:gd name="T9" fmla="*/ 1543 h 4369"/>
                <a:gd name="T10" fmla="*/ 13525 w 23040"/>
                <a:gd name="T11" fmla="*/ 3907 h 4369"/>
                <a:gd name="T12" fmla="*/ 12729 w 23040"/>
                <a:gd name="T13" fmla="*/ 3813 h 4369"/>
                <a:gd name="T14" fmla="*/ 10912 w 23040"/>
                <a:gd name="T15" fmla="*/ 2402 h 4369"/>
                <a:gd name="T16" fmla="*/ 16652 w 23040"/>
                <a:gd name="T17" fmla="*/ 970 h 4369"/>
                <a:gd name="T18" fmla="*/ 16232 w 23040"/>
                <a:gd name="T19" fmla="*/ 332 h 4369"/>
                <a:gd name="T20" fmla="*/ 15103 w 23040"/>
                <a:gd name="T21" fmla="*/ 2262 h 4369"/>
                <a:gd name="T22" fmla="*/ 12814 w 23040"/>
                <a:gd name="T23" fmla="*/ 2991 h 4369"/>
                <a:gd name="T24" fmla="*/ 11678 w 23040"/>
                <a:gd name="T25" fmla="*/ 3172 h 4369"/>
                <a:gd name="T26" fmla="*/ 12355 w 23040"/>
                <a:gd name="T27" fmla="*/ 2838 h 4369"/>
                <a:gd name="T28" fmla="*/ 12184 w 23040"/>
                <a:gd name="T29" fmla="*/ 4304 h 4369"/>
                <a:gd name="T30" fmla="*/ 11739 w 23040"/>
                <a:gd name="T31" fmla="*/ 2627 h 4369"/>
                <a:gd name="T32" fmla="*/ 11666 w 23040"/>
                <a:gd name="T33" fmla="*/ 2291 h 4369"/>
                <a:gd name="T34" fmla="*/ 11184 w 23040"/>
                <a:gd name="T35" fmla="*/ 3107 h 4369"/>
                <a:gd name="T36" fmla="*/ 11469 w 23040"/>
                <a:gd name="T37" fmla="*/ 1044 h 4369"/>
                <a:gd name="T38" fmla="*/ 13150 w 23040"/>
                <a:gd name="T39" fmla="*/ 754 h 4369"/>
                <a:gd name="T40" fmla="*/ 16863 w 23040"/>
                <a:gd name="T41" fmla="*/ 4331 h 4369"/>
                <a:gd name="T42" fmla="*/ 14362 w 23040"/>
                <a:gd name="T43" fmla="*/ 3771 h 4369"/>
                <a:gd name="T44" fmla="*/ 14362 w 23040"/>
                <a:gd name="T45" fmla="*/ 3373 h 4369"/>
                <a:gd name="T46" fmla="*/ 14105 w 23040"/>
                <a:gd name="T47" fmla="*/ 3277 h 4369"/>
                <a:gd name="T48" fmla="*/ 14091 w 23040"/>
                <a:gd name="T49" fmla="*/ 2881 h 4369"/>
                <a:gd name="T50" fmla="*/ 20731 w 23040"/>
                <a:gd name="T51" fmla="*/ 4008 h 4369"/>
                <a:gd name="T52" fmla="*/ 19002 w 23040"/>
                <a:gd name="T53" fmla="*/ 3795 h 4369"/>
                <a:gd name="T54" fmla="*/ 19052 w 23040"/>
                <a:gd name="T55" fmla="*/ 3549 h 4369"/>
                <a:gd name="T56" fmla="*/ 19727 w 23040"/>
                <a:gd name="T57" fmla="*/ 3547 h 4369"/>
                <a:gd name="T58" fmla="*/ 21772 w 23040"/>
                <a:gd name="T59" fmla="*/ 1759 h 4369"/>
                <a:gd name="T60" fmla="*/ 20169 w 23040"/>
                <a:gd name="T61" fmla="*/ 1874 h 4369"/>
                <a:gd name="T62" fmla="*/ 18388 w 23040"/>
                <a:gd name="T63" fmla="*/ 2546 h 4369"/>
                <a:gd name="T64" fmla="*/ 19509 w 23040"/>
                <a:gd name="T65" fmla="*/ 3625 h 4369"/>
                <a:gd name="T66" fmla="*/ 18969 w 23040"/>
                <a:gd name="T67" fmla="*/ 3381 h 4369"/>
                <a:gd name="T68" fmla="*/ 2798 w 23040"/>
                <a:gd name="T69" fmla="*/ 3193 h 4369"/>
                <a:gd name="T70" fmla="*/ 440 w 23040"/>
                <a:gd name="T71" fmla="*/ 2751 h 4369"/>
                <a:gd name="T72" fmla="*/ 2868 w 23040"/>
                <a:gd name="T73" fmla="*/ 4141 h 4369"/>
                <a:gd name="T74" fmla="*/ 837 w 23040"/>
                <a:gd name="T75" fmla="*/ 3250 h 4369"/>
                <a:gd name="T76" fmla="*/ 823 w 23040"/>
                <a:gd name="T77" fmla="*/ 3336 h 4369"/>
                <a:gd name="T78" fmla="*/ 1107 w 23040"/>
                <a:gd name="T79" fmla="*/ 3717 h 4369"/>
                <a:gd name="T80" fmla="*/ 1080 w 23040"/>
                <a:gd name="T81" fmla="*/ 3810 h 4369"/>
                <a:gd name="T82" fmla="*/ 188 w 23040"/>
                <a:gd name="T83" fmla="*/ 1799 h 4369"/>
                <a:gd name="T84" fmla="*/ 2556 w 23040"/>
                <a:gd name="T85" fmla="*/ 2016 h 4369"/>
                <a:gd name="T86" fmla="*/ 2583 w 23040"/>
                <a:gd name="T87" fmla="*/ 2578 h 4369"/>
                <a:gd name="T88" fmla="*/ 8182 w 23040"/>
                <a:gd name="T89" fmla="*/ 2792 h 4369"/>
                <a:gd name="T90" fmla="*/ 9070 w 23040"/>
                <a:gd name="T91" fmla="*/ 2753 h 4369"/>
                <a:gd name="T92" fmla="*/ 6863 w 23040"/>
                <a:gd name="T93" fmla="*/ 2176 h 4369"/>
                <a:gd name="T94" fmla="*/ 6215 w 23040"/>
                <a:gd name="T95" fmla="*/ 2702 h 4369"/>
                <a:gd name="T96" fmla="*/ 7097 w 23040"/>
                <a:gd name="T97" fmla="*/ 2957 h 4369"/>
                <a:gd name="T98" fmla="*/ 6454 w 23040"/>
                <a:gd name="T99" fmla="*/ 3498 h 4369"/>
                <a:gd name="T100" fmla="*/ 6384 w 23040"/>
                <a:gd name="T101" fmla="*/ 4003 h 4369"/>
                <a:gd name="T102" fmla="*/ 8037 w 23040"/>
                <a:gd name="T103" fmla="*/ 2925 h 4369"/>
                <a:gd name="T104" fmla="*/ 8332 w 23040"/>
                <a:gd name="T105" fmla="*/ 3308 h 4369"/>
                <a:gd name="T106" fmla="*/ 8296 w 23040"/>
                <a:gd name="T107" fmla="*/ 3424 h 4369"/>
                <a:gd name="T108" fmla="*/ 8598 w 23040"/>
                <a:gd name="T109" fmla="*/ 3792 h 4369"/>
                <a:gd name="T110" fmla="*/ 5650 w 23040"/>
                <a:gd name="T111" fmla="*/ 1956 h 4369"/>
                <a:gd name="T112" fmla="*/ 8119 w 23040"/>
                <a:gd name="T113" fmla="*/ 245 h 4369"/>
                <a:gd name="T114" fmla="*/ 4680 w 23040"/>
                <a:gd name="T115" fmla="*/ 942 h 4369"/>
                <a:gd name="T116" fmla="*/ 5027 w 23040"/>
                <a:gd name="T117" fmla="*/ 2616 h 4369"/>
                <a:gd name="T118" fmla="*/ 4991 w 23040"/>
                <a:gd name="T119" fmla="*/ 2732 h 4369"/>
                <a:gd name="T120" fmla="*/ 5292 w 23040"/>
                <a:gd name="T121" fmla="*/ 3101 h 4369"/>
                <a:gd name="T122" fmla="*/ 5252 w 23040"/>
                <a:gd name="T123" fmla="*/ 3235 h 4369"/>
                <a:gd name="T124" fmla="*/ 3326 w 23040"/>
                <a:gd name="T125" fmla="*/ 3951 h 4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040" h="4369">
                  <a:moveTo>
                    <a:pt x="10933" y="3163"/>
                  </a:moveTo>
                  <a:lnTo>
                    <a:pt x="10933" y="3274"/>
                  </a:lnTo>
                  <a:lnTo>
                    <a:pt x="10931" y="3283"/>
                  </a:lnTo>
                  <a:lnTo>
                    <a:pt x="10926" y="3290"/>
                  </a:lnTo>
                  <a:lnTo>
                    <a:pt x="10920" y="3294"/>
                  </a:lnTo>
                  <a:lnTo>
                    <a:pt x="10912" y="3295"/>
                  </a:lnTo>
                  <a:lnTo>
                    <a:pt x="10906" y="3294"/>
                  </a:lnTo>
                  <a:lnTo>
                    <a:pt x="10899" y="3290"/>
                  </a:lnTo>
                  <a:lnTo>
                    <a:pt x="10894" y="3283"/>
                  </a:lnTo>
                  <a:lnTo>
                    <a:pt x="10893" y="3274"/>
                  </a:lnTo>
                  <a:lnTo>
                    <a:pt x="10893" y="3163"/>
                  </a:lnTo>
                  <a:lnTo>
                    <a:pt x="10894" y="3154"/>
                  </a:lnTo>
                  <a:lnTo>
                    <a:pt x="10899" y="3148"/>
                  </a:lnTo>
                  <a:lnTo>
                    <a:pt x="10906" y="3144"/>
                  </a:lnTo>
                  <a:lnTo>
                    <a:pt x="10912" y="3143"/>
                  </a:lnTo>
                  <a:lnTo>
                    <a:pt x="10920" y="3144"/>
                  </a:lnTo>
                  <a:lnTo>
                    <a:pt x="10926" y="3148"/>
                  </a:lnTo>
                  <a:lnTo>
                    <a:pt x="10931" y="3154"/>
                  </a:lnTo>
                  <a:lnTo>
                    <a:pt x="10933" y="3163"/>
                  </a:lnTo>
                  <a:close/>
                  <a:moveTo>
                    <a:pt x="10670" y="3163"/>
                  </a:moveTo>
                  <a:lnTo>
                    <a:pt x="10670" y="3274"/>
                  </a:lnTo>
                  <a:lnTo>
                    <a:pt x="10669" y="3283"/>
                  </a:lnTo>
                  <a:lnTo>
                    <a:pt x="10663" y="3290"/>
                  </a:lnTo>
                  <a:lnTo>
                    <a:pt x="10657" y="3294"/>
                  </a:lnTo>
                  <a:lnTo>
                    <a:pt x="10649" y="3295"/>
                  </a:lnTo>
                  <a:lnTo>
                    <a:pt x="10643" y="3294"/>
                  </a:lnTo>
                  <a:lnTo>
                    <a:pt x="10637" y="3290"/>
                  </a:lnTo>
                  <a:lnTo>
                    <a:pt x="10631" y="3283"/>
                  </a:lnTo>
                  <a:lnTo>
                    <a:pt x="10630" y="3274"/>
                  </a:lnTo>
                  <a:lnTo>
                    <a:pt x="10630" y="3163"/>
                  </a:lnTo>
                  <a:lnTo>
                    <a:pt x="10631" y="3154"/>
                  </a:lnTo>
                  <a:lnTo>
                    <a:pt x="10637" y="3148"/>
                  </a:lnTo>
                  <a:lnTo>
                    <a:pt x="10643" y="3144"/>
                  </a:lnTo>
                  <a:lnTo>
                    <a:pt x="10649" y="3143"/>
                  </a:lnTo>
                  <a:lnTo>
                    <a:pt x="10657" y="3144"/>
                  </a:lnTo>
                  <a:lnTo>
                    <a:pt x="10663" y="3148"/>
                  </a:lnTo>
                  <a:lnTo>
                    <a:pt x="10669" y="3154"/>
                  </a:lnTo>
                  <a:lnTo>
                    <a:pt x="10670" y="3163"/>
                  </a:lnTo>
                  <a:close/>
                  <a:moveTo>
                    <a:pt x="10407" y="3163"/>
                  </a:moveTo>
                  <a:lnTo>
                    <a:pt x="10407" y="3274"/>
                  </a:lnTo>
                  <a:lnTo>
                    <a:pt x="10404" y="3283"/>
                  </a:lnTo>
                  <a:lnTo>
                    <a:pt x="10401" y="3290"/>
                  </a:lnTo>
                  <a:lnTo>
                    <a:pt x="10394" y="3294"/>
                  </a:lnTo>
                  <a:lnTo>
                    <a:pt x="10386" y="3295"/>
                  </a:lnTo>
                  <a:lnTo>
                    <a:pt x="10379" y="3294"/>
                  </a:lnTo>
                  <a:lnTo>
                    <a:pt x="10372" y="3290"/>
                  </a:lnTo>
                  <a:lnTo>
                    <a:pt x="10369" y="3283"/>
                  </a:lnTo>
                  <a:lnTo>
                    <a:pt x="10366" y="3274"/>
                  </a:lnTo>
                  <a:lnTo>
                    <a:pt x="10366" y="3163"/>
                  </a:lnTo>
                  <a:lnTo>
                    <a:pt x="10369" y="3154"/>
                  </a:lnTo>
                  <a:lnTo>
                    <a:pt x="10372" y="3148"/>
                  </a:lnTo>
                  <a:lnTo>
                    <a:pt x="10379" y="3144"/>
                  </a:lnTo>
                  <a:lnTo>
                    <a:pt x="10386" y="3143"/>
                  </a:lnTo>
                  <a:lnTo>
                    <a:pt x="10394" y="3144"/>
                  </a:lnTo>
                  <a:lnTo>
                    <a:pt x="10401" y="3148"/>
                  </a:lnTo>
                  <a:lnTo>
                    <a:pt x="10404" y="3154"/>
                  </a:lnTo>
                  <a:lnTo>
                    <a:pt x="10407" y="3163"/>
                  </a:lnTo>
                  <a:close/>
                  <a:moveTo>
                    <a:pt x="10143" y="3163"/>
                  </a:moveTo>
                  <a:lnTo>
                    <a:pt x="10143" y="3274"/>
                  </a:lnTo>
                  <a:lnTo>
                    <a:pt x="10142" y="3283"/>
                  </a:lnTo>
                  <a:lnTo>
                    <a:pt x="10138" y="3290"/>
                  </a:lnTo>
                  <a:lnTo>
                    <a:pt x="10131" y="3294"/>
                  </a:lnTo>
                  <a:lnTo>
                    <a:pt x="10124" y="3295"/>
                  </a:lnTo>
                  <a:lnTo>
                    <a:pt x="10116" y="3294"/>
                  </a:lnTo>
                  <a:lnTo>
                    <a:pt x="10109" y="3290"/>
                  </a:lnTo>
                  <a:lnTo>
                    <a:pt x="10106" y="3283"/>
                  </a:lnTo>
                  <a:lnTo>
                    <a:pt x="10103" y="3274"/>
                  </a:lnTo>
                  <a:lnTo>
                    <a:pt x="10103" y="3163"/>
                  </a:lnTo>
                  <a:lnTo>
                    <a:pt x="10106" y="3154"/>
                  </a:lnTo>
                  <a:lnTo>
                    <a:pt x="10109" y="3148"/>
                  </a:lnTo>
                  <a:lnTo>
                    <a:pt x="10116" y="3144"/>
                  </a:lnTo>
                  <a:lnTo>
                    <a:pt x="10124" y="3143"/>
                  </a:lnTo>
                  <a:lnTo>
                    <a:pt x="10131" y="3144"/>
                  </a:lnTo>
                  <a:lnTo>
                    <a:pt x="10138" y="3148"/>
                  </a:lnTo>
                  <a:lnTo>
                    <a:pt x="10142" y="3154"/>
                  </a:lnTo>
                  <a:lnTo>
                    <a:pt x="10143" y="3163"/>
                  </a:lnTo>
                  <a:close/>
                  <a:moveTo>
                    <a:pt x="9880" y="3163"/>
                  </a:moveTo>
                  <a:lnTo>
                    <a:pt x="9880" y="3274"/>
                  </a:lnTo>
                  <a:lnTo>
                    <a:pt x="9879" y="3283"/>
                  </a:lnTo>
                  <a:lnTo>
                    <a:pt x="9874" y="3290"/>
                  </a:lnTo>
                  <a:lnTo>
                    <a:pt x="9867" y="3294"/>
                  </a:lnTo>
                  <a:lnTo>
                    <a:pt x="9861" y="3295"/>
                  </a:lnTo>
                  <a:lnTo>
                    <a:pt x="9853" y="3294"/>
                  </a:lnTo>
                  <a:lnTo>
                    <a:pt x="9847" y="3290"/>
                  </a:lnTo>
                  <a:lnTo>
                    <a:pt x="9841" y="3283"/>
                  </a:lnTo>
                  <a:lnTo>
                    <a:pt x="9840" y="3274"/>
                  </a:lnTo>
                  <a:lnTo>
                    <a:pt x="9840" y="3163"/>
                  </a:lnTo>
                  <a:lnTo>
                    <a:pt x="9841" y="3154"/>
                  </a:lnTo>
                  <a:lnTo>
                    <a:pt x="9847" y="3148"/>
                  </a:lnTo>
                  <a:lnTo>
                    <a:pt x="9853" y="3144"/>
                  </a:lnTo>
                  <a:lnTo>
                    <a:pt x="9861" y="3143"/>
                  </a:lnTo>
                  <a:lnTo>
                    <a:pt x="9867" y="3144"/>
                  </a:lnTo>
                  <a:lnTo>
                    <a:pt x="9874" y="3148"/>
                  </a:lnTo>
                  <a:lnTo>
                    <a:pt x="9879" y="3154"/>
                  </a:lnTo>
                  <a:lnTo>
                    <a:pt x="9880" y="3163"/>
                  </a:lnTo>
                  <a:close/>
                  <a:moveTo>
                    <a:pt x="9617" y="3163"/>
                  </a:moveTo>
                  <a:lnTo>
                    <a:pt x="9617" y="3274"/>
                  </a:lnTo>
                  <a:lnTo>
                    <a:pt x="9616" y="3283"/>
                  </a:lnTo>
                  <a:lnTo>
                    <a:pt x="9611" y="3290"/>
                  </a:lnTo>
                  <a:lnTo>
                    <a:pt x="9604" y="3294"/>
                  </a:lnTo>
                  <a:lnTo>
                    <a:pt x="9598" y="3295"/>
                  </a:lnTo>
                  <a:lnTo>
                    <a:pt x="9590" y="3294"/>
                  </a:lnTo>
                  <a:lnTo>
                    <a:pt x="9584" y="3290"/>
                  </a:lnTo>
                  <a:lnTo>
                    <a:pt x="9579" y="3283"/>
                  </a:lnTo>
                  <a:lnTo>
                    <a:pt x="9577" y="3274"/>
                  </a:lnTo>
                  <a:lnTo>
                    <a:pt x="9577" y="3163"/>
                  </a:lnTo>
                  <a:lnTo>
                    <a:pt x="9579" y="3154"/>
                  </a:lnTo>
                  <a:lnTo>
                    <a:pt x="9584" y="3148"/>
                  </a:lnTo>
                  <a:lnTo>
                    <a:pt x="9590" y="3144"/>
                  </a:lnTo>
                  <a:lnTo>
                    <a:pt x="9598" y="3143"/>
                  </a:lnTo>
                  <a:lnTo>
                    <a:pt x="9604" y="3144"/>
                  </a:lnTo>
                  <a:lnTo>
                    <a:pt x="9611" y="3148"/>
                  </a:lnTo>
                  <a:lnTo>
                    <a:pt x="9616" y="3154"/>
                  </a:lnTo>
                  <a:lnTo>
                    <a:pt x="9617" y="3163"/>
                  </a:lnTo>
                  <a:close/>
                  <a:moveTo>
                    <a:pt x="10933" y="2916"/>
                  </a:moveTo>
                  <a:lnTo>
                    <a:pt x="10933" y="3028"/>
                  </a:lnTo>
                  <a:lnTo>
                    <a:pt x="10931" y="3037"/>
                  </a:lnTo>
                  <a:lnTo>
                    <a:pt x="10926" y="3043"/>
                  </a:lnTo>
                  <a:lnTo>
                    <a:pt x="10920" y="3047"/>
                  </a:lnTo>
                  <a:lnTo>
                    <a:pt x="10912" y="3048"/>
                  </a:lnTo>
                  <a:lnTo>
                    <a:pt x="10906" y="3047"/>
                  </a:lnTo>
                  <a:lnTo>
                    <a:pt x="10899" y="3043"/>
                  </a:lnTo>
                  <a:lnTo>
                    <a:pt x="10894" y="3037"/>
                  </a:lnTo>
                  <a:lnTo>
                    <a:pt x="10893" y="3028"/>
                  </a:lnTo>
                  <a:lnTo>
                    <a:pt x="10893" y="2916"/>
                  </a:lnTo>
                  <a:lnTo>
                    <a:pt x="10894" y="2907"/>
                  </a:lnTo>
                  <a:lnTo>
                    <a:pt x="10899" y="2901"/>
                  </a:lnTo>
                  <a:lnTo>
                    <a:pt x="10906" y="2897"/>
                  </a:lnTo>
                  <a:lnTo>
                    <a:pt x="10912" y="2896"/>
                  </a:lnTo>
                  <a:lnTo>
                    <a:pt x="10920" y="2897"/>
                  </a:lnTo>
                  <a:lnTo>
                    <a:pt x="10926" y="2901"/>
                  </a:lnTo>
                  <a:lnTo>
                    <a:pt x="10931" y="2907"/>
                  </a:lnTo>
                  <a:lnTo>
                    <a:pt x="10933" y="2916"/>
                  </a:lnTo>
                  <a:close/>
                  <a:moveTo>
                    <a:pt x="10670" y="2916"/>
                  </a:moveTo>
                  <a:lnTo>
                    <a:pt x="10670" y="3028"/>
                  </a:lnTo>
                  <a:lnTo>
                    <a:pt x="10669" y="3037"/>
                  </a:lnTo>
                  <a:lnTo>
                    <a:pt x="10663" y="3043"/>
                  </a:lnTo>
                  <a:lnTo>
                    <a:pt x="10657" y="3047"/>
                  </a:lnTo>
                  <a:lnTo>
                    <a:pt x="10649" y="3048"/>
                  </a:lnTo>
                  <a:lnTo>
                    <a:pt x="10643" y="3047"/>
                  </a:lnTo>
                  <a:lnTo>
                    <a:pt x="10637" y="3043"/>
                  </a:lnTo>
                  <a:lnTo>
                    <a:pt x="10631" y="3037"/>
                  </a:lnTo>
                  <a:lnTo>
                    <a:pt x="10630" y="3028"/>
                  </a:lnTo>
                  <a:lnTo>
                    <a:pt x="10630" y="2916"/>
                  </a:lnTo>
                  <a:lnTo>
                    <a:pt x="10631" y="2907"/>
                  </a:lnTo>
                  <a:lnTo>
                    <a:pt x="10637" y="2901"/>
                  </a:lnTo>
                  <a:lnTo>
                    <a:pt x="10643" y="2897"/>
                  </a:lnTo>
                  <a:lnTo>
                    <a:pt x="10649" y="2896"/>
                  </a:lnTo>
                  <a:lnTo>
                    <a:pt x="10657" y="2897"/>
                  </a:lnTo>
                  <a:lnTo>
                    <a:pt x="10663" y="2901"/>
                  </a:lnTo>
                  <a:lnTo>
                    <a:pt x="10669" y="2907"/>
                  </a:lnTo>
                  <a:lnTo>
                    <a:pt x="10670" y="2916"/>
                  </a:lnTo>
                  <a:close/>
                  <a:moveTo>
                    <a:pt x="10407" y="2916"/>
                  </a:moveTo>
                  <a:lnTo>
                    <a:pt x="10407" y="3028"/>
                  </a:lnTo>
                  <a:lnTo>
                    <a:pt x="10404" y="3037"/>
                  </a:lnTo>
                  <a:lnTo>
                    <a:pt x="10401" y="3043"/>
                  </a:lnTo>
                  <a:lnTo>
                    <a:pt x="10394" y="3047"/>
                  </a:lnTo>
                  <a:lnTo>
                    <a:pt x="10386" y="3048"/>
                  </a:lnTo>
                  <a:lnTo>
                    <a:pt x="10379" y="3047"/>
                  </a:lnTo>
                  <a:lnTo>
                    <a:pt x="10372" y="3043"/>
                  </a:lnTo>
                  <a:lnTo>
                    <a:pt x="10369" y="3037"/>
                  </a:lnTo>
                  <a:lnTo>
                    <a:pt x="10366" y="3028"/>
                  </a:lnTo>
                  <a:lnTo>
                    <a:pt x="10366" y="2916"/>
                  </a:lnTo>
                  <a:lnTo>
                    <a:pt x="10369" y="2907"/>
                  </a:lnTo>
                  <a:lnTo>
                    <a:pt x="10372" y="2901"/>
                  </a:lnTo>
                  <a:lnTo>
                    <a:pt x="10379" y="2897"/>
                  </a:lnTo>
                  <a:lnTo>
                    <a:pt x="10386" y="2896"/>
                  </a:lnTo>
                  <a:lnTo>
                    <a:pt x="10394" y="2897"/>
                  </a:lnTo>
                  <a:lnTo>
                    <a:pt x="10401" y="2901"/>
                  </a:lnTo>
                  <a:lnTo>
                    <a:pt x="10404" y="2907"/>
                  </a:lnTo>
                  <a:lnTo>
                    <a:pt x="10407" y="2916"/>
                  </a:lnTo>
                  <a:close/>
                  <a:moveTo>
                    <a:pt x="10143" y="2916"/>
                  </a:moveTo>
                  <a:lnTo>
                    <a:pt x="10143" y="3028"/>
                  </a:lnTo>
                  <a:lnTo>
                    <a:pt x="10142" y="3037"/>
                  </a:lnTo>
                  <a:lnTo>
                    <a:pt x="10138" y="3043"/>
                  </a:lnTo>
                  <a:lnTo>
                    <a:pt x="10131" y="3047"/>
                  </a:lnTo>
                  <a:lnTo>
                    <a:pt x="10124" y="3048"/>
                  </a:lnTo>
                  <a:lnTo>
                    <a:pt x="10116" y="3047"/>
                  </a:lnTo>
                  <a:lnTo>
                    <a:pt x="10109" y="3043"/>
                  </a:lnTo>
                  <a:lnTo>
                    <a:pt x="10106" y="3037"/>
                  </a:lnTo>
                  <a:lnTo>
                    <a:pt x="10103" y="3028"/>
                  </a:lnTo>
                  <a:lnTo>
                    <a:pt x="10103" y="2916"/>
                  </a:lnTo>
                  <a:lnTo>
                    <a:pt x="10106" y="2907"/>
                  </a:lnTo>
                  <a:lnTo>
                    <a:pt x="10109" y="2901"/>
                  </a:lnTo>
                  <a:lnTo>
                    <a:pt x="10116" y="2897"/>
                  </a:lnTo>
                  <a:lnTo>
                    <a:pt x="10124" y="2896"/>
                  </a:lnTo>
                  <a:lnTo>
                    <a:pt x="10131" y="2897"/>
                  </a:lnTo>
                  <a:lnTo>
                    <a:pt x="10138" y="2901"/>
                  </a:lnTo>
                  <a:lnTo>
                    <a:pt x="10142" y="2907"/>
                  </a:lnTo>
                  <a:lnTo>
                    <a:pt x="10143" y="2916"/>
                  </a:lnTo>
                  <a:close/>
                  <a:moveTo>
                    <a:pt x="9880" y="2916"/>
                  </a:moveTo>
                  <a:lnTo>
                    <a:pt x="9880" y="3028"/>
                  </a:lnTo>
                  <a:lnTo>
                    <a:pt x="9879" y="3037"/>
                  </a:lnTo>
                  <a:lnTo>
                    <a:pt x="9874" y="3043"/>
                  </a:lnTo>
                  <a:lnTo>
                    <a:pt x="9867" y="3047"/>
                  </a:lnTo>
                  <a:lnTo>
                    <a:pt x="9861" y="3048"/>
                  </a:lnTo>
                  <a:lnTo>
                    <a:pt x="9853" y="3047"/>
                  </a:lnTo>
                  <a:lnTo>
                    <a:pt x="9847" y="3043"/>
                  </a:lnTo>
                  <a:lnTo>
                    <a:pt x="9841" y="3037"/>
                  </a:lnTo>
                  <a:lnTo>
                    <a:pt x="9840" y="3028"/>
                  </a:lnTo>
                  <a:lnTo>
                    <a:pt x="9840" y="2916"/>
                  </a:lnTo>
                  <a:lnTo>
                    <a:pt x="9841" y="2907"/>
                  </a:lnTo>
                  <a:lnTo>
                    <a:pt x="9847" y="2901"/>
                  </a:lnTo>
                  <a:lnTo>
                    <a:pt x="9853" y="2897"/>
                  </a:lnTo>
                  <a:lnTo>
                    <a:pt x="9861" y="2896"/>
                  </a:lnTo>
                  <a:lnTo>
                    <a:pt x="9867" y="2897"/>
                  </a:lnTo>
                  <a:lnTo>
                    <a:pt x="9874" y="2901"/>
                  </a:lnTo>
                  <a:lnTo>
                    <a:pt x="9879" y="2907"/>
                  </a:lnTo>
                  <a:lnTo>
                    <a:pt x="9880" y="2916"/>
                  </a:lnTo>
                  <a:close/>
                  <a:moveTo>
                    <a:pt x="9617" y="2916"/>
                  </a:moveTo>
                  <a:lnTo>
                    <a:pt x="9617" y="3028"/>
                  </a:lnTo>
                  <a:lnTo>
                    <a:pt x="9616" y="3037"/>
                  </a:lnTo>
                  <a:lnTo>
                    <a:pt x="9611" y="3043"/>
                  </a:lnTo>
                  <a:lnTo>
                    <a:pt x="9604" y="3047"/>
                  </a:lnTo>
                  <a:lnTo>
                    <a:pt x="9598" y="3048"/>
                  </a:lnTo>
                  <a:lnTo>
                    <a:pt x="9590" y="3047"/>
                  </a:lnTo>
                  <a:lnTo>
                    <a:pt x="9584" y="3043"/>
                  </a:lnTo>
                  <a:lnTo>
                    <a:pt x="9579" y="3037"/>
                  </a:lnTo>
                  <a:lnTo>
                    <a:pt x="9577" y="3028"/>
                  </a:lnTo>
                  <a:lnTo>
                    <a:pt x="9577" y="2916"/>
                  </a:lnTo>
                  <a:lnTo>
                    <a:pt x="9579" y="2907"/>
                  </a:lnTo>
                  <a:lnTo>
                    <a:pt x="9584" y="2901"/>
                  </a:lnTo>
                  <a:lnTo>
                    <a:pt x="9590" y="2897"/>
                  </a:lnTo>
                  <a:lnTo>
                    <a:pt x="9598" y="2896"/>
                  </a:lnTo>
                  <a:lnTo>
                    <a:pt x="9604" y="2897"/>
                  </a:lnTo>
                  <a:lnTo>
                    <a:pt x="9611" y="2901"/>
                  </a:lnTo>
                  <a:lnTo>
                    <a:pt x="9616" y="2907"/>
                  </a:lnTo>
                  <a:lnTo>
                    <a:pt x="9617" y="2916"/>
                  </a:lnTo>
                  <a:close/>
                  <a:moveTo>
                    <a:pt x="10933" y="2670"/>
                  </a:moveTo>
                  <a:lnTo>
                    <a:pt x="10933" y="2782"/>
                  </a:lnTo>
                  <a:lnTo>
                    <a:pt x="10931" y="2790"/>
                  </a:lnTo>
                  <a:lnTo>
                    <a:pt x="10926" y="2796"/>
                  </a:lnTo>
                  <a:lnTo>
                    <a:pt x="10920" y="2800"/>
                  </a:lnTo>
                  <a:lnTo>
                    <a:pt x="10912" y="2801"/>
                  </a:lnTo>
                  <a:lnTo>
                    <a:pt x="10906" y="2800"/>
                  </a:lnTo>
                  <a:lnTo>
                    <a:pt x="10899" y="2796"/>
                  </a:lnTo>
                  <a:lnTo>
                    <a:pt x="10894" y="2790"/>
                  </a:lnTo>
                  <a:lnTo>
                    <a:pt x="10893" y="2782"/>
                  </a:lnTo>
                  <a:lnTo>
                    <a:pt x="10893" y="2670"/>
                  </a:lnTo>
                  <a:lnTo>
                    <a:pt x="10894" y="2661"/>
                  </a:lnTo>
                  <a:lnTo>
                    <a:pt x="10899" y="2654"/>
                  </a:lnTo>
                  <a:lnTo>
                    <a:pt x="10906" y="2650"/>
                  </a:lnTo>
                  <a:lnTo>
                    <a:pt x="10912" y="2649"/>
                  </a:lnTo>
                  <a:lnTo>
                    <a:pt x="10920" y="2650"/>
                  </a:lnTo>
                  <a:lnTo>
                    <a:pt x="10926" y="2654"/>
                  </a:lnTo>
                  <a:lnTo>
                    <a:pt x="10931" y="2661"/>
                  </a:lnTo>
                  <a:lnTo>
                    <a:pt x="10933" y="2670"/>
                  </a:lnTo>
                  <a:close/>
                  <a:moveTo>
                    <a:pt x="10670" y="2670"/>
                  </a:moveTo>
                  <a:lnTo>
                    <a:pt x="10670" y="2782"/>
                  </a:lnTo>
                  <a:lnTo>
                    <a:pt x="10669" y="2790"/>
                  </a:lnTo>
                  <a:lnTo>
                    <a:pt x="10663" y="2796"/>
                  </a:lnTo>
                  <a:lnTo>
                    <a:pt x="10657" y="2800"/>
                  </a:lnTo>
                  <a:lnTo>
                    <a:pt x="10649" y="2801"/>
                  </a:lnTo>
                  <a:lnTo>
                    <a:pt x="10643" y="2800"/>
                  </a:lnTo>
                  <a:lnTo>
                    <a:pt x="10637" y="2796"/>
                  </a:lnTo>
                  <a:lnTo>
                    <a:pt x="10631" y="2790"/>
                  </a:lnTo>
                  <a:lnTo>
                    <a:pt x="10630" y="2782"/>
                  </a:lnTo>
                  <a:lnTo>
                    <a:pt x="10630" y="2670"/>
                  </a:lnTo>
                  <a:lnTo>
                    <a:pt x="10631" y="2661"/>
                  </a:lnTo>
                  <a:lnTo>
                    <a:pt x="10637" y="2654"/>
                  </a:lnTo>
                  <a:lnTo>
                    <a:pt x="10643" y="2650"/>
                  </a:lnTo>
                  <a:lnTo>
                    <a:pt x="10649" y="2649"/>
                  </a:lnTo>
                  <a:lnTo>
                    <a:pt x="10657" y="2650"/>
                  </a:lnTo>
                  <a:lnTo>
                    <a:pt x="10663" y="2654"/>
                  </a:lnTo>
                  <a:lnTo>
                    <a:pt x="10669" y="2661"/>
                  </a:lnTo>
                  <a:lnTo>
                    <a:pt x="10670" y="2670"/>
                  </a:lnTo>
                  <a:close/>
                  <a:moveTo>
                    <a:pt x="10407" y="2670"/>
                  </a:moveTo>
                  <a:lnTo>
                    <a:pt x="10407" y="2782"/>
                  </a:lnTo>
                  <a:lnTo>
                    <a:pt x="10404" y="2790"/>
                  </a:lnTo>
                  <a:lnTo>
                    <a:pt x="10401" y="2796"/>
                  </a:lnTo>
                  <a:lnTo>
                    <a:pt x="10394" y="2800"/>
                  </a:lnTo>
                  <a:lnTo>
                    <a:pt x="10386" y="2801"/>
                  </a:lnTo>
                  <a:lnTo>
                    <a:pt x="10379" y="2800"/>
                  </a:lnTo>
                  <a:lnTo>
                    <a:pt x="10372" y="2796"/>
                  </a:lnTo>
                  <a:lnTo>
                    <a:pt x="10369" y="2790"/>
                  </a:lnTo>
                  <a:lnTo>
                    <a:pt x="10366" y="2782"/>
                  </a:lnTo>
                  <a:lnTo>
                    <a:pt x="10366" y="2670"/>
                  </a:lnTo>
                  <a:lnTo>
                    <a:pt x="10369" y="2661"/>
                  </a:lnTo>
                  <a:lnTo>
                    <a:pt x="10372" y="2654"/>
                  </a:lnTo>
                  <a:lnTo>
                    <a:pt x="10379" y="2650"/>
                  </a:lnTo>
                  <a:lnTo>
                    <a:pt x="10386" y="2649"/>
                  </a:lnTo>
                  <a:lnTo>
                    <a:pt x="10394" y="2650"/>
                  </a:lnTo>
                  <a:lnTo>
                    <a:pt x="10401" y="2654"/>
                  </a:lnTo>
                  <a:lnTo>
                    <a:pt x="10404" y="2661"/>
                  </a:lnTo>
                  <a:lnTo>
                    <a:pt x="10407" y="2670"/>
                  </a:lnTo>
                  <a:close/>
                  <a:moveTo>
                    <a:pt x="10143" y="2670"/>
                  </a:moveTo>
                  <a:lnTo>
                    <a:pt x="10143" y="2782"/>
                  </a:lnTo>
                  <a:lnTo>
                    <a:pt x="10142" y="2790"/>
                  </a:lnTo>
                  <a:lnTo>
                    <a:pt x="10138" y="2796"/>
                  </a:lnTo>
                  <a:lnTo>
                    <a:pt x="10131" y="2800"/>
                  </a:lnTo>
                  <a:lnTo>
                    <a:pt x="10124" y="2801"/>
                  </a:lnTo>
                  <a:lnTo>
                    <a:pt x="10116" y="2800"/>
                  </a:lnTo>
                  <a:lnTo>
                    <a:pt x="10109" y="2796"/>
                  </a:lnTo>
                  <a:lnTo>
                    <a:pt x="10106" y="2790"/>
                  </a:lnTo>
                  <a:lnTo>
                    <a:pt x="10103" y="2782"/>
                  </a:lnTo>
                  <a:lnTo>
                    <a:pt x="10103" y="2670"/>
                  </a:lnTo>
                  <a:lnTo>
                    <a:pt x="10106" y="2661"/>
                  </a:lnTo>
                  <a:lnTo>
                    <a:pt x="10109" y="2654"/>
                  </a:lnTo>
                  <a:lnTo>
                    <a:pt x="10116" y="2650"/>
                  </a:lnTo>
                  <a:lnTo>
                    <a:pt x="10124" y="2649"/>
                  </a:lnTo>
                  <a:lnTo>
                    <a:pt x="10131" y="2650"/>
                  </a:lnTo>
                  <a:lnTo>
                    <a:pt x="10138" y="2654"/>
                  </a:lnTo>
                  <a:lnTo>
                    <a:pt x="10142" y="2661"/>
                  </a:lnTo>
                  <a:lnTo>
                    <a:pt x="10143" y="2670"/>
                  </a:lnTo>
                  <a:close/>
                  <a:moveTo>
                    <a:pt x="9880" y="2670"/>
                  </a:moveTo>
                  <a:lnTo>
                    <a:pt x="9880" y="2782"/>
                  </a:lnTo>
                  <a:lnTo>
                    <a:pt x="9879" y="2790"/>
                  </a:lnTo>
                  <a:lnTo>
                    <a:pt x="9874" y="2796"/>
                  </a:lnTo>
                  <a:lnTo>
                    <a:pt x="9867" y="2800"/>
                  </a:lnTo>
                  <a:lnTo>
                    <a:pt x="9861" y="2801"/>
                  </a:lnTo>
                  <a:lnTo>
                    <a:pt x="9853" y="2800"/>
                  </a:lnTo>
                  <a:lnTo>
                    <a:pt x="9847" y="2796"/>
                  </a:lnTo>
                  <a:lnTo>
                    <a:pt x="9841" y="2790"/>
                  </a:lnTo>
                  <a:lnTo>
                    <a:pt x="9840" y="2782"/>
                  </a:lnTo>
                  <a:lnTo>
                    <a:pt x="9840" y="2670"/>
                  </a:lnTo>
                  <a:lnTo>
                    <a:pt x="9841" y="2661"/>
                  </a:lnTo>
                  <a:lnTo>
                    <a:pt x="9847" y="2654"/>
                  </a:lnTo>
                  <a:lnTo>
                    <a:pt x="9853" y="2650"/>
                  </a:lnTo>
                  <a:lnTo>
                    <a:pt x="9861" y="2649"/>
                  </a:lnTo>
                  <a:lnTo>
                    <a:pt x="9867" y="2650"/>
                  </a:lnTo>
                  <a:lnTo>
                    <a:pt x="9874" y="2654"/>
                  </a:lnTo>
                  <a:lnTo>
                    <a:pt x="9879" y="2661"/>
                  </a:lnTo>
                  <a:lnTo>
                    <a:pt x="9880" y="2670"/>
                  </a:lnTo>
                  <a:close/>
                  <a:moveTo>
                    <a:pt x="9617" y="2670"/>
                  </a:moveTo>
                  <a:lnTo>
                    <a:pt x="9617" y="2782"/>
                  </a:lnTo>
                  <a:lnTo>
                    <a:pt x="9616" y="2790"/>
                  </a:lnTo>
                  <a:lnTo>
                    <a:pt x="9611" y="2796"/>
                  </a:lnTo>
                  <a:lnTo>
                    <a:pt x="9604" y="2800"/>
                  </a:lnTo>
                  <a:lnTo>
                    <a:pt x="9598" y="2801"/>
                  </a:lnTo>
                  <a:lnTo>
                    <a:pt x="9590" y="2800"/>
                  </a:lnTo>
                  <a:lnTo>
                    <a:pt x="9584" y="2796"/>
                  </a:lnTo>
                  <a:lnTo>
                    <a:pt x="9579" y="2790"/>
                  </a:lnTo>
                  <a:lnTo>
                    <a:pt x="9577" y="2782"/>
                  </a:lnTo>
                  <a:lnTo>
                    <a:pt x="9577" y="2670"/>
                  </a:lnTo>
                  <a:lnTo>
                    <a:pt x="9579" y="2661"/>
                  </a:lnTo>
                  <a:lnTo>
                    <a:pt x="9584" y="2654"/>
                  </a:lnTo>
                  <a:lnTo>
                    <a:pt x="9590" y="2650"/>
                  </a:lnTo>
                  <a:lnTo>
                    <a:pt x="9598" y="2649"/>
                  </a:lnTo>
                  <a:lnTo>
                    <a:pt x="9604" y="2650"/>
                  </a:lnTo>
                  <a:lnTo>
                    <a:pt x="9611" y="2654"/>
                  </a:lnTo>
                  <a:lnTo>
                    <a:pt x="9616" y="2661"/>
                  </a:lnTo>
                  <a:lnTo>
                    <a:pt x="9617" y="2670"/>
                  </a:lnTo>
                  <a:close/>
                  <a:moveTo>
                    <a:pt x="13776" y="2113"/>
                  </a:moveTo>
                  <a:lnTo>
                    <a:pt x="13776" y="2226"/>
                  </a:lnTo>
                  <a:lnTo>
                    <a:pt x="13774" y="2235"/>
                  </a:lnTo>
                  <a:lnTo>
                    <a:pt x="13769" y="2241"/>
                  </a:lnTo>
                  <a:lnTo>
                    <a:pt x="13763" y="2245"/>
                  </a:lnTo>
                  <a:lnTo>
                    <a:pt x="13756" y="2246"/>
                  </a:lnTo>
                  <a:lnTo>
                    <a:pt x="13749" y="2245"/>
                  </a:lnTo>
                  <a:lnTo>
                    <a:pt x="13742" y="2241"/>
                  </a:lnTo>
                  <a:lnTo>
                    <a:pt x="13737" y="2235"/>
                  </a:lnTo>
                  <a:lnTo>
                    <a:pt x="13736" y="2226"/>
                  </a:lnTo>
                  <a:lnTo>
                    <a:pt x="13736" y="2113"/>
                  </a:lnTo>
                  <a:lnTo>
                    <a:pt x="13737" y="2106"/>
                  </a:lnTo>
                  <a:lnTo>
                    <a:pt x="13742" y="2099"/>
                  </a:lnTo>
                  <a:lnTo>
                    <a:pt x="13749" y="2095"/>
                  </a:lnTo>
                  <a:lnTo>
                    <a:pt x="13756" y="2094"/>
                  </a:lnTo>
                  <a:lnTo>
                    <a:pt x="13763" y="2095"/>
                  </a:lnTo>
                  <a:lnTo>
                    <a:pt x="13769" y="2099"/>
                  </a:lnTo>
                  <a:lnTo>
                    <a:pt x="13774" y="2106"/>
                  </a:lnTo>
                  <a:lnTo>
                    <a:pt x="13776" y="2113"/>
                  </a:lnTo>
                  <a:close/>
                  <a:moveTo>
                    <a:pt x="13513" y="2113"/>
                  </a:moveTo>
                  <a:lnTo>
                    <a:pt x="13513" y="2226"/>
                  </a:lnTo>
                  <a:lnTo>
                    <a:pt x="13511" y="2235"/>
                  </a:lnTo>
                  <a:lnTo>
                    <a:pt x="13506" y="2241"/>
                  </a:lnTo>
                  <a:lnTo>
                    <a:pt x="13500" y="2245"/>
                  </a:lnTo>
                  <a:lnTo>
                    <a:pt x="13492" y="2246"/>
                  </a:lnTo>
                  <a:lnTo>
                    <a:pt x="13486" y="2245"/>
                  </a:lnTo>
                  <a:lnTo>
                    <a:pt x="13479" y="2241"/>
                  </a:lnTo>
                  <a:lnTo>
                    <a:pt x="13474" y="2235"/>
                  </a:lnTo>
                  <a:lnTo>
                    <a:pt x="13473" y="2226"/>
                  </a:lnTo>
                  <a:lnTo>
                    <a:pt x="13473" y="2113"/>
                  </a:lnTo>
                  <a:lnTo>
                    <a:pt x="13474" y="2106"/>
                  </a:lnTo>
                  <a:lnTo>
                    <a:pt x="13479" y="2099"/>
                  </a:lnTo>
                  <a:lnTo>
                    <a:pt x="13486" y="2095"/>
                  </a:lnTo>
                  <a:lnTo>
                    <a:pt x="13492" y="2094"/>
                  </a:lnTo>
                  <a:lnTo>
                    <a:pt x="13500" y="2095"/>
                  </a:lnTo>
                  <a:lnTo>
                    <a:pt x="13506" y="2099"/>
                  </a:lnTo>
                  <a:lnTo>
                    <a:pt x="13511" y="2106"/>
                  </a:lnTo>
                  <a:lnTo>
                    <a:pt x="13513" y="2113"/>
                  </a:lnTo>
                  <a:close/>
                  <a:moveTo>
                    <a:pt x="13250" y="2113"/>
                  </a:moveTo>
                  <a:lnTo>
                    <a:pt x="13250" y="2226"/>
                  </a:lnTo>
                  <a:lnTo>
                    <a:pt x="13247" y="2235"/>
                  </a:lnTo>
                  <a:lnTo>
                    <a:pt x="13243" y="2241"/>
                  </a:lnTo>
                  <a:lnTo>
                    <a:pt x="13237" y="2245"/>
                  </a:lnTo>
                  <a:lnTo>
                    <a:pt x="13229" y="2246"/>
                  </a:lnTo>
                  <a:lnTo>
                    <a:pt x="13222" y="2245"/>
                  </a:lnTo>
                  <a:lnTo>
                    <a:pt x="13215" y="2241"/>
                  </a:lnTo>
                  <a:lnTo>
                    <a:pt x="13211" y="2235"/>
                  </a:lnTo>
                  <a:lnTo>
                    <a:pt x="13210" y="2226"/>
                  </a:lnTo>
                  <a:lnTo>
                    <a:pt x="13210" y="2113"/>
                  </a:lnTo>
                  <a:lnTo>
                    <a:pt x="13211" y="2106"/>
                  </a:lnTo>
                  <a:lnTo>
                    <a:pt x="13215" y="2099"/>
                  </a:lnTo>
                  <a:lnTo>
                    <a:pt x="13222" y="2095"/>
                  </a:lnTo>
                  <a:lnTo>
                    <a:pt x="13229" y="2094"/>
                  </a:lnTo>
                  <a:lnTo>
                    <a:pt x="13237" y="2095"/>
                  </a:lnTo>
                  <a:lnTo>
                    <a:pt x="13243" y="2099"/>
                  </a:lnTo>
                  <a:lnTo>
                    <a:pt x="13247" y="2106"/>
                  </a:lnTo>
                  <a:lnTo>
                    <a:pt x="13250" y="2113"/>
                  </a:lnTo>
                  <a:close/>
                  <a:moveTo>
                    <a:pt x="12987" y="2113"/>
                  </a:moveTo>
                  <a:lnTo>
                    <a:pt x="12987" y="2226"/>
                  </a:lnTo>
                  <a:lnTo>
                    <a:pt x="12984" y="2235"/>
                  </a:lnTo>
                  <a:lnTo>
                    <a:pt x="12981" y="2241"/>
                  </a:lnTo>
                  <a:lnTo>
                    <a:pt x="12974" y="2245"/>
                  </a:lnTo>
                  <a:lnTo>
                    <a:pt x="12966" y="2246"/>
                  </a:lnTo>
                  <a:lnTo>
                    <a:pt x="12959" y="2245"/>
                  </a:lnTo>
                  <a:lnTo>
                    <a:pt x="12952" y="2241"/>
                  </a:lnTo>
                  <a:lnTo>
                    <a:pt x="12948" y="2235"/>
                  </a:lnTo>
                  <a:lnTo>
                    <a:pt x="12946" y="2226"/>
                  </a:lnTo>
                  <a:lnTo>
                    <a:pt x="12946" y="2113"/>
                  </a:lnTo>
                  <a:lnTo>
                    <a:pt x="12948" y="2106"/>
                  </a:lnTo>
                  <a:lnTo>
                    <a:pt x="12952" y="2099"/>
                  </a:lnTo>
                  <a:lnTo>
                    <a:pt x="12959" y="2095"/>
                  </a:lnTo>
                  <a:lnTo>
                    <a:pt x="12966" y="2094"/>
                  </a:lnTo>
                  <a:lnTo>
                    <a:pt x="12974" y="2095"/>
                  </a:lnTo>
                  <a:lnTo>
                    <a:pt x="12981" y="2099"/>
                  </a:lnTo>
                  <a:lnTo>
                    <a:pt x="12984" y="2106"/>
                  </a:lnTo>
                  <a:lnTo>
                    <a:pt x="12987" y="2113"/>
                  </a:lnTo>
                  <a:close/>
                  <a:moveTo>
                    <a:pt x="13776" y="1879"/>
                  </a:moveTo>
                  <a:lnTo>
                    <a:pt x="13776" y="1992"/>
                  </a:lnTo>
                  <a:lnTo>
                    <a:pt x="13774" y="2001"/>
                  </a:lnTo>
                  <a:lnTo>
                    <a:pt x="13769" y="2007"/>
                  </a:lnTo>
                  <a:lnTo>
                    <a:pt x="13763" y="2011"/>
                  </a:lnTo>
                  <a:lnTo>
                    <a:pt x="13756" y="2012"/>
                  </a:lnTo>
                  <a:lnTo>
                    <a:pt x="13749" y="2011"/>
                  </a:lnTo>
                  <a:lnTo>
                    <a:pt x="13742" y="2007"/>
                  </a:lnTo>
                  <a:lnTo>
                    <a:pt x="13737" y="2001"/>
                  </a:lnTo>
                  <a:lnTo>
                    <a:pt x="13736" y="1992"/>
                  </a:lnTo>
                  <a:lnTo>
                    <a:pt x="13736" y="1879"/>
                  </a:lnTo>
                  <a:lnTo>
                    <a:pt x="13737" y="1872"/>
                  </a:lnTo>
                  <a:lnTo>
                    <a:pt x="13742" y="1865"/>
                  </a:lnTo>
                  <a:lnTo>
                    <a:pt x="13749" y="1861"/>
                  </a:lnTo>
                  <a:lnTo>
                    <a:pt x="13756" y="1860"/>
                  </a:lnTo>
                  <a:lnTo>
                    <a:pt x="13763" y="1861"/>
                  </a:lnTo>
                  <a:lnTo>
                    <a:pt x="13769" y="1865"/>
                  </a:lnTo>
                  <a:lnTo>
                    <a:pt x="13774" y="1872"/>
                  </a:lnTo>
                  <a:lnTo>
                    <a:pt x="13776" y="1879"/>
                  </a:lnTo>
                  <a:close/>
                  <a:moveTo>
                    <a:pt x="13513" y="1879"/>
                  </a:moveTo>
                  <a:lnTo>
                    <a:pt x="13513" y="1992"/>
                  </a:lnTo>
                  <a:lnTo>
                    <a:pt x="13511" y="2001"/>
                  </a:lnTo>
                  <a:lnTo>
                    <a:pt x="13506" y="2007"/>
                  </a:lnTo>
                  <a:lnTo>
                    <a:pt x="13500" y="2011"/>
                  </a:lnTo>
                  <a:lnTo>
                    <a:pt x="13492" y="2012"/>
                  </a:lnTo>
                  <a:lnTo>
                    <a:pt x="13486" y="2011"/>
                  </a:lnTo>
                  <a:lnTo>
                    <a:pt x="13479" y="2007"/>
                  </a:lnTo>
                  <a:lnTo>
                    <a:pt x="13474" y="2001"/>
                  </a:lnTo>
                  <a:lnTo>
                    <a:pt x="13473" y="1992"/>
                  </a:lnTo>
                  <a:lnTo>
                    <a:pt x="13473" y="1879"/>
                  </a:lnTo>
                  <a:lnTo>
                    <a:pt x="13474" y="1872"/>
                  </a:lnTo>
                  <a:lnTo>
                    <a:pt x="13479" y="1865"/>
                  </a:lnTo>
                  <a:lnTo>
                    <a:pt x="13486" y="1861"/>
                  </a:lnTo>
                  <a:lnTo>
                    <a:pt x="13492" y="1860"/>
                  </a:lnTo>
                  <a:lnTo>
                    <a:pt x="13500" y="1861"/>
                  </a:lnTo>
                  <a:lnTo>
                    <a:pt x="13506" y="1865"/>
                  </a:lnTo>
                  <a:lnTo>
                    <a:pt x="13511" y="1872"/>
                  </a:lnTo>
                  <a:lnTo>
                    <a:pt x="13513" y="1879"/>
                  </a:lnTo>
                  <a:close/>
                  <a:moveTo>
                    <a:pt x="13250" y="1879"/>
                  </a:moveTo>
                  <a:lnTo>
                    <a:pt x="13250" y="1992"/>
                  </a:lnTo>
                  <a:lnTo>
                    <a:pt x="13247" y="2001"/>
                  </a:lnTo>
                  <a:lnTo>
                    <a:pt x="13243" y="2007"/>
                  </a:lnTo>
                  <a:lnTo>
                    <a:pt x="13237" y="2011"/>
                  </a:lnTo>
                  <a:lnTo>
                    <a:pt x="13229" y="2012"/>
                  </a:lnTo>
                  <a:lnTo>
                    <a:pt x="13222" y="2011"/>
                  </a:lnTo>
                  <a:lnTo>
                    <a:pt x="13215" y="2007"/>
                  </a:lnTo>
                  <a:lnTo>
                    <a:pt x="13211" y="2001"/>
                  </a:lnTo>
                  <a:lnTo>
                    <a:pt x="13210" y="1992"/>
                  </a:lnTo>
                  <a:lnTo>
                    <a:pt x="13210" y="1879"/>
                  </a:lnTo>
                  <a:lnTo>
                    <a:pt x="13211" y="1872"/>
                  </a:lnTo>
                  <a:lnTo>
                    <a:pt x="13215" y="1865"/>
                  </a:lnTo>
                  <a:lnTo>
                    <a:pt x="13222" y="1861"/>
                  </a:lnTo>
                  <a:lnTo>
                    <a:pt x="13229" y="1860"/>
                  </a:lnTo>
                  <a:lnTo>
                    <a:pt x="13237" y="1861"/>
                  </a:lnTo>
                  <a:lnTo>
                    <a:pt x="13243" y="1865"/>
                  </a:lnTo>
                  <a:lnTo>
                    <a:pt x="13247" y="1872"/>
                  </a:lnTo>
                  <a:lnTo>
                    <a:pt x="13250" y="1879"/>
                  </a:lnTo>
                  <a:close/>
                  <a:moveTo>
                    <a:pt x="12987" y="1879"/>
                  </a:moveTo>
                  <a:lnTo>
                    <a:pt x="12987" y="1992"/>
                  </a:lnTo>
                  <a:lnTo>
                    <a:pt x="12984" y="2001"/>
                  </a:lnTo>
                  <a:lnTo>
                    <a:pt x="12981" y="2007"/>
                  </a:lnTo>
                  <a:lnTo>
                    <a:pt x="12974" y="2011"/>
                  </a:lnTo>
                  <a:lnTo>
                    <a:pt x="12966" y="2012"/>
                  </a:lnTo>
                  <a:lnTo>
                    <a:pt x="12959" y="2011"/>
                  </a:lnTo>
                  <a:lnTo>
                    <a:pt x="12952" y="2007"/>
                  </a:lnTo>
                  <a:lnTo>
                    <a:pt x="12948" y="2001"/>
                  </a:lnTo>
                  <a:lnTo>
                    <a:pt x="12946" y="1992"/>
                  </a:lnTo>
                  <a:lnTo>
                    <a:pt x="12946" y="1879"/>
                  </a:lnTo>
                  <a:lnTo>
                    <a:pt x="12948" y="1872"/>
                  </a:lnTo>
                  <a:lnTo>
                    <a:pt x="12952" y="1865"/>
                  </a:lnTo>
                  <a:lnTo>
                    <a:pt x="12959" y="1861"/>
                  </a:lnTo>
                  <a:lnTo>
                    <a:pt x="12966" y="1860"/>
                  </a:lnTo>
                  <a:lnTo>
                    <a:pt x="12974" y="1861"/>
                  </a:lnTo>
                  <a:lnTo>
                    <a:pt x="12981" y="1865"/>
                  </a:lnTo>
                  <a:lnTo>
                    <a:pt x="12984" y="1872"/>
                  </a:lnTo>
                  <a:lnTo>
                    <a:pt x="12987" y="1879"/>
                  </a:lnTo>
                  <a:close/>
                  <a:moveTo>
                    <a:pt x="13776" y="1645"/>
                  </a:moveTo>
                  <a:lnTo>
                    <a:pt x="13776" y="1758"/>
                  </a:lnTo>
                  <a:lnTo>
                    <a:pt x="13774" y="1767"/>
                  </a:lnTo>
                  <a:lnTo>
                    <a:pt x="13769" y="1773"/>
                  </a:lnTo>
                  <a:lnTo>
                    <a:pt x="13763" y="1777"/>
                  </a:lnTo>
                  <a:lnTo>
                    <a:pt x="13756" y="1778"/>
                  </a:lnTo>
                  <a:lnTo>
                    <a:pt x="13749" y="1777"/>
                  </a:lnTo>
                  <a:lnTo>
                    <a:pt x="13742" y="1773"/>
                  </a:lnTo>
                  <a:lnTo>
                    <a:pt x="13737" y="1767"/>
                  </a:lnTo>
                  <a:lnTo>
                    <a:pt x="13736" y="1758"/>
                  </a:lnTo>
                  <a:lnTo>
                    <a:pt x="13736" y="1645"/>
                  </a:lnTo>
                  <a:lnTo>
                    <a:pt x="13737" y="1636"/>
                  </a:lnTo>
                  <a:lnTo>
                    <a:pt x="13742" y="1631"/>
                  </a:lnTo>
                  <a:lnTo>
                    <a:pt x="13749" y="1627"/>
                  </a:lnTo>
                  <a:lnTo>
                    <a:pt x="13756" y="1626"/>
                  </a:lnTo>
                  <a:lnTo>
                    <a:pt x="13763" y="1627"/>
                  </a:lnTo>
                  <a:lnTo>
                    <a:pt x="13769" y="1631"/>
                  </a:lnTo>
                  <a:lnTo>
                    <a:pt x="13774" y="1636"/>
                  </a:lnTo>
                  <a:lnTo>
                    <a:pt x="13776" y="1645"/>
                  </a:lnTo>
                  <a:close/>
                  <a:moveTo>
                    <a:pt x="13513" y="1645"/>
                  </a:moveTo>
                  <a:lnTo>
                    <a:pt x="13513" y="1758"/>
                  </a:lnTo>
                  <a:lnTo>
                    <a:pt x="13511" y="1767"/>
                  </a:lnTo>
                  <a:lnTo>
                    <a:pt x="13506" y="1773"/>
                  </a:lnTo>
                  <a:lnTo>
                    <a:pt x="13500" y="1777"/>
                  </a:lnTo>
                  <a:lnTo>
                    <a:pt x="13492" y="1778"/>
                  </a:lnTo>
                  <a:lnTo>
                    <a:pt x="13486" y="1777"/>
                  </a:lnTo>
                  <a:lnTo>
                    <a:pt x="13479" y="1773"/>
                  </a:lnTo>
                  <a:lnTo>
                    <a:pt x="13474" y="1767"/>
                  </a:lnTo>
                  <a:lnTo>
                    <a:pt x="13473" y="1758"/>
                  </a:lnTo>
                  <a:lnTo>
                    <a:pt x="13473" y="1645"/>
                  </a:lnTo>
                  <a:lnTo>
                    <a:pt x="13474" y="1636"/>
                  </a:lnTo>
                  <a:lnTo>
                    <a:pt x="13479" y="1631"/>
                  </a:lnTo>
                  <a:lnTo>
                    <a:pt x="13486" y="1627"/>
                  </a:lnTo>
                  <a:lnTo>
                    <a:pt x="13492" y="1626"/>
                  </a:lnTo>
                  <a:lnTo>
                    <a:pt x="13500" y="1627"/>
                  </a:lnTo>
                  <a:lnTo>
                    <a:pt x="13506" y="1631"/>
                  </a:lnTo>
                  <a:lnTo>
                    <a:pt x="13511" y="1636"/>
                  </a:lnTo>
                  <a:lnTo>
                    <a:pt x="13513" y="1645"/>
                  </a:lnTo>
                  <a:close/>
                  <a:moveTo>
                    <a:pt x="13250" y="1645"/>
                  </a:moveTo>
                  <a:lnTo>
                    <a:pt x="13250" y="1758"/>
                  </a:lnTo>
                  <a:lnTo>
                    <a:pt x="13247" y="1767"/>
                  </a:lnTo>
                  <a:lnTo>
                    <a:pt x="13243" y="1773"/>
                  </a:lnTo>
                  <a:lnTo>
                    <a:pt x="13237" y="1777"/>
                  </a:lnTo>
                  <a:lnTo>
                    <a:pt x="13229" y="1778"/>
                  </a:lnTo>
                  <a:lnTo>
                    <a:pt x="13222" y="1777"/>
                  </a:lnTo>
                  <a:lnTo>
                    <a:pt x="13215" y="1773"/>
                  </a:lnTo>
                  <a:lnTo>
                    <a:pt x="13211" y="1767"/>
                  </a:lnTo>
                  <a:lnTo>
                    <a:pt x="13210" y="1758"/>
                  </a:lnTo>
                  <a:lnTo>
                    <a:pt x="13210" y="1645"/>
                  </a:lnTo>
                  <a:lnTo>
                    <a:pt x="13211" y="1636"/>
                  </a:lnTo>
                  <a:lnTo>
                    <a:pt x="13215" y="1631"/>
                  </a:lnTo>
                  <a:lnTo>
                    <a:pt x="13222" y="1627"/>
                  </a:lnTo>
                  <a:lnTo>
                    <a:pt x="13229" y="1626"/>
                  </a:lnTo>
                  <a:lnTo>
                    <a:pt x="13237" y="1627"/>
                  </a:lnTo>
                  <a:lnTo>
                    <a:pt x="13243" y="1631"/>
                  </a:lnTo>
                  <a:lnTo>
                    <a:pt x="13247" y="1636"/>
                  </a:lnTo>
                  <a:lnTo>
                    <a:pt x="13250" y="1645"/>
                  </a:lnTo>
                  <a:close/>
                  <a:moveTo>
                    <a:pt x="12987" y="1645"/>
                  </a:moveTo>
                  <a:lnTo>
                    <a:pt x="12987" y="1758"/>
                  </a:lnTo>
                  <a:lnTo>
                    <a:pt x="12984" y="1767"/>
                  </a:lnTo>
                  <a:lnTo>
                    <a:pt x="12981" y="1773"/>
                  </a:lnTo>
                  <a:lnTo>
                    <a:pt x="12974" y="1777"/>
                  </a:lnTo>
                  <a:lnTo>
                    <a:pt x="12966" y="1778"/>
                  </a:lnTo>
                  <a:lnTo>
                    <a:pt x="12959" y="1777"/>
                  </a:lnTo>
                  <a:lnTo>
                    <a:pt x="12952" y="1773"/>
                  </a:lnTo>
                  <a:lnTo>
                    <a:pt x="12948" y="1767"/>
                  </a:lnTo>
                  <a:lnTo>
                    <a:pt x="12946" y="1758"/>
                  </a:lnTo>
                  <a:lnTo>
                    <a:pt x="12946" y="1645"/>
                  </a:lnTo>
                  <a:lnTo>
                    <a:pt x="12948" y="1636"/>
                  </a:lnTo>
                  <a:lnTo>
                    <a:pt x="12952" y="1631"/>
                  </a:lnTo>
                  <a:lnTo>
                    <a:pt x="12959" y="1627"/>
                  </a:lnTo>
                  <a:lnTo>
                    <a:pt x="12966" y="1626"/>
                  </a:lnTo>
                  <a:lnTo>
                    <a:pt x="12974" y="1627"/>
                  </a:lnTo>
                  <a:lnTo>
                    <a:pt x="12981" y="1631"/>
                  </a:lnTo>
                  <a:lnTo>
                    <a:pt x="12984" y="1636"/>
                  </a:lnTo>
                  <a:lnTo>
                    <a:pt x="12987" y="1645"/>
                  </a:lnTo>
                  <a:close/>
                  <a:moveTo>
                    <a:pt x="13776" y="1411"/>
                  </a:moveTo>
                  <a:lnTo>
                    <a:pt x="13776" y="1524"/>
                  </a:lnTo>
                  <a:lnTo>
                    <a:pt x="13774" y="1533"/>
                  </a:lnTo>
                  <a:lnTo>
                    <a:pt x="13769" y="1539"/>
                  </a:lnTo>
                  <a:lnTo>
                    <a:pt x="13763" y="1543"/>
                  </a:lnTo>
                  <a:lnTo>
                    <a:pt x="13756" y="1544"/>
                  </a:lnTo>
                  <a:lnTo>
                    <a:pt x="13749" y="1543"/>
                  </a:lnTo>
                  <a:lnTo>
                    <a:pt x="13742" y="1539"/>
                  </a:lnTo>
                  <a:lnTo>
                    <a:pt x="13737" y="1533"/>
                  </a:lnTo>
                  <a:lnTo>
                    <a:pt x="13736" y="1524"/>
                  </a:lnTo>
                  <a:lnTo>
                    <a:pt x="13736" y="1411"/>
                  </a:lnTo>
                  <a:lnTo>
                    <a:pt x="13737" y="1402"/>
                  </a:lnTo>
                  <a:lnTo>
                    <a:pt x="13742" y="1397"/>
                  </a:lnTo>
                  <a:lnTo>
                    <a:pt x="13749" y="1393"/>
                  </a:lnTo>
                  <a:lnTo>
                    <a:pt x="13756" y="1392"/>
                  </a:lnTo>
                  <a:lnTo>
                    <a:pt x="13763" y="1393"/>
                  </a:lnTo>
                  <a:lnTo>
                    <a:pt x="13769" y="1397"/>
                  </a:lnTo>
                  <a:lnTo>
                    <a:pt x="13774" y="1402"/>
                  </a:lnTo>
                  <a:lnTo>
                    <a:pt x="13776" y="1411"/>
                  </a:lnTo>
                  <a:close/>
                  <a:moveTo>
                    <a:pt x="13513" y="1411"/>
                  </a:moveTo>
                  <a:lnTo>
                    <a:pt x="13513" y="1524"/>
                  </a:lnTo>
                  <a:lnTo>
                    <a:pt x="13511" y="1533"/>
                  </a:lnTo>
                  <a:lnTo>
                    <a:pt x="13506" y="1539"/>
                  </a:lnTo>
                  <a:lnTo>
                    <a:pt x="13500" y="1543"/>
                  </a:lnTo>
                  <a:lnTo>
                    <a:pt x="13492" y="1544"/>
                  </a:lnTo>
                  <a:lnTo>
                    <a:pt x="13486" y="1543"/>
                  </a:lnTo>
                  <a:lnTo>
                    <a:pt x="13479" y="1539"/>
                  </a:lnTo>
                  <a:lnTo>
                    <a:pt x="13474" y="1533"/>
                  </a:lnTo>
                  <a:lnTo>
                    <a:pt x="13473" y="1524"/>
                  </a:lnTo>
                  <a:lnTo>
                    <a:pt x="13473" y="1411"/>
                  </a:lnTo>
                  <a:lnTo>
                    <a:pt x="13474" y="1402"/>
                  </a:lnTo>
                  <a:lnTo>
                    <a:pt x="13479" y="1397"/>
                  </a:lnTo>
                  <a:lnTo>
                    <a:pt x="13486" y="1393"/>
                  </a:lnTo>
                  <a:lnTo>
                    <a:pt x="13492" y="1392"/>
                  </a:lnTo>
                  <a:lnTo>
                    <a:pt x="13500" y="1393"/>
                  </a:lnTo>
                  <a:lnTo>
                    <a:pt x="13506" y="1397"/>
                  </a:lnTo>
                  <a:lnTo>
                    <a:pt x="13511" y="1402"/>
                  </a:lnTo>
                  <a:lnTo>
                    <a:pt x="13513" y="1411"/>
                  </a:lnTo>
                  <a:close/>
                  <a:moveTo>
                    <a:pt x="13250" y="1411"/>
                  </a:moveTo>
                  <a:lnTo>
                    <a:pt x="13250" y="1524"/>
                  </a:lnTo>
                  <a:lnTo>
                    <a:pt x="13247" y="1533"/>
                  </a:lnTo>
                  <a:lnTo>
                    <a:pt x="13243" y="1539"/>
                  </a:lnTo>
                  <a:lnTo>
                    <a:pt x="13237" y="1543"/>
                  </a:lnTo>
                  <a:lnTo>
                    <a:pt x="13229" y="1544"/>
                  </a:lnTo>
                  <a:lnTo>
                    <a:pt x="13222" y="1543"/>
                  </a:lnTo>
                  <a:lnTo>
                    <a:pt x="13215" y="1539"/>
                  </a:lnTo>
                  <a:lnTo>
                    <a:pt x="13211" y="1533"/>
                  </a:lnTo>
                  <a:lnTo>
                    <a:pt x="13210" y="1524"/>
                  </a:lnTo>
                  <a:lnTo>
                    <a:pt x="13210" y="1411"/>
                  </a:lnTo>
                  <a:lnTo>
                    <a:pt x="13211" y="1402"/>
                  </a:lnTo>
                  <a:lnTo>
                    <a:pt x="13215" y="1397"/>
                  </a:lnTo>
                  <a:lnTo>
                    <a:pt x="13222" y="1393"/>
                  </a:lnTo>
                  <a:lnTo>
                    <a:pt x="13229" y="1392"/>
                  </a:lnTo>
                  <a:lnTo>
                    <a:pt x="13237" y="1393"/>
                  </a:lnTo>
                  <a:lnTo>
                    <a:pt x="13243" y="1397"/>
                  </a:lnTo>
                  <a:lnTo>
                    <a:pt x="13247" y="1402"/>
                  </a:lnTo>
                  <a:lnTo>
                    <a:pt x="13250" y="1411"/>
                  </a:lnTo>
                  <a:close/>
                  <a:moveTo>
                    <a:pt x="12987" y="1411"/>
                  </a:moveTo>
                  <a:lnTo>
                    <a:pt x="12987" y="1524"/>
                  </a:lnTo>
                  <a:lnTo>
                    <a:pt x="12984" y="1533"/>
                  </a:lnTo>
                  <a:lnTo>
                    <a:pt x="12981" y="1539"/>
                  </a:lnTo>
                  <a:lnTo>
                    <a:pt x="12974" y="1543"/>
                  </a:lnTo>
                  <a:lnTo>
                    <a:pt x="12966" y="1544"/>
                  </a:lnTo>
                  <a:lnTo>
                    <a:pt x="12959" y="1543"/>
                  </a:lnTo>
                  <a:lnTo>
                    <a:pt x="12952" y="1539"/>
                  </a:lnTo>
                  <a:lnTo>
                    <a:pt x="12948" y="1533"/>
                  </a:lnTo>
                  <a:lnTo>
                    <a:pt x="12946" y="1524"/>
                  </a:lnTo>
                  <a:lnTo>
                    <a:pt x="12946" y="1411"/>
                  </a:lnTo>
                  <a:lnTo>
                    <a:pt x="12948" y="1402"/>
                  </a:lnTo>
                  <a:lnTo>
                    <a:pt x="12952" y="1397"/>
                  </a:lnTo>
                  <a:lnTo>
                    <a:pt x="12959" y="1393"/>
                  </a:lnTo>
                  <a:lnTo>
                    <a:pt x="12966" y="1392"/>
                  </a:lnTo>
                  <a:lnTo>
                    <a:pt x="12974" y="1393"/>
                  </a:lnTo>
                  <a:lnTo>
                    <a:pt x="12981" y="1397"/>
                  </a:lnTo>
                  <a:lnTo>
                    <a:pt x="12984" y="1402"/>
                  </a:lnTo>
                  <a:lnTo>
                    <a:pt x="12987" y="1411"/>
                  </a:lnTo>
                  <a:close/>
                  <a:moveTo>
                    <a:pt x="13776" y="1177"/>
                  </a:moveTo>
                  <a:lnTo>
                    <a:pt x="13776" y="1290"/>
                  </a:lnTo>
                  <a:lnTo>
                    <a:pt x="13774" y="1299"/>
                  </a:lnTo>
                  <a:lnTo>
                    <a:pt x="13769" y="1305"/>
                  </a:lnTo>
                  <a:lnTo>
                    <a:pt x="13763" y="1309"/>
                  </a:lnTo>
                  <a:lnTo>
                    <a:pt x="13756" y="1309"/>
                  </a:lnTo>
                  <a:lnTo>
                    <a:pt x="13749" y="1309"/>
                  </a:lnTo>
                  <a:lnTo>
                    <a:pt x="13742" y="1305"/>
                  </a:lnTo>
                  <a:lnTo>
                    <a:pt x="13737" y="1299"/>
                  </a:lnTo>
                  <a:lnTo>
                    <a:pt x="13736" y="1290"/>
                  </a:lnTo>
                  <a:lnTo>
                    <a:pt x="13736" y="1177"/>
                  </a:lnTo>
                  <a:lnTo>
                    <a:pt x="13737" y="1168"/>
                  </a:lnTo>
                  <a:lnTo>
                    <a:pt x="13742" y="1163"/>
                  </a:lnTo>
                  <a:lnTo>
                    <a:pt x="13749" y="1159"/>
                  </a:lnTo>
                  <a:lnTo>
                    <a:pt x="13756" y="1158"/>
                  </a:lnTo>
                  <a:lnTo>
                    <a:pt x="13763" y="1159"/>
                  </a:lnTo>
                  <a:lnTo>
                    <a:pt x="13769" y="1163"/>
                  </a:lnTo>
                  <a:lnTo>
                    <a:pt x="13774" y="1168"/>
                  </a:lnTo>
                  <a:lnTo>
                    <a:pt x="13776" y="1177"/>
                  </a:lnTo>
                  <a:close/>
                  <a:moveTo>
                    <a:pt x="13513" y="1177"/>
                  </a:moveTo>
                  <a:lnTo>
                    <a:pt x="13513" y="1290"/>
                  </a:lnTo>
                  <a:lnTo>
                    <a:pt x="13511" y="1299"/>
                  </a:lnTo>
                  <a:lnTo>
                    <a:pt x="13506" y="1305"/>
                  </a:lnTo>
                  <a:lnTo>
                    <a:pt x="13500" y="1309"/>
                  </a:lnTo>
                  <a:lnTo>
                    <a:pt x="13492" y="1309"/>
                  </a:lnTo>
                  <a:lnTo>
                    <a:pt x="13486" y="1309"/>
                  </a:lnTo>
                  <a:lnTo>
                    <a:pt x="13479" y="1305"/>
                  </a:lnTo>
                  <a:lnTo>
                    <a:pt x="13474" y="1299"/>
                  </a:lnTo>
                  <a:lnTo>
                    <a:pt x="13473" y="1290"/>
                  </a:lnTo>
                  <a:lnTo>
                    <a:pt x="13473" y="1177"/>
                  </a:lnTo>
                  <a:lnTo>
                    <a:pt x="13474" y="1168"/>
                  </a:lnTo>
                  <a:lnTo>
                    <a:pt x="13479" y="1163"/>
                  </a:lnTo>
                  <a:lnTo>
                    <a:pt x="13486" y="1159"/>
                  </a:lnTo>
                  <a:lnTo>
                    <a:pt x="13492" y="1158"/>
                  </a:lnTo>
                  <a:lnTo>
                    <a:pt x="13500" y="1159"/>
                  </a:lnTo>
                  <a:lnTo>
                    <a:pt x="13506" y="1163"/>
                  </a:lnTo>
                  <a:lnTo>
                    <a:pt x="13511" y="1168"/>
                  </a:lnTo>
                  <a:lnTo>
                    <a:pt x="13513" y="1177"/>
                  </a:lnTo>
                  <a:close/>
                  <a:moveTo>
                    <a:pt x="13250" y="1177"/>
                  </a:moveTo>
                  <a:lnTo>
                    <a:pt x="13250" y="1290"/>
                  </a:lnTo>
                  <a:lnTo>
                    <a:pt x="13247" y="1299"/>
                  </a:lnTo>
                  <a:lnTo>
                    <a:pt x="13243" y="1305"/>
                  </a:lnTo>
                  <a:lnTo>
                    <a:pt x="13237" y="1309"/>
                  </a:lnTo>
                  <a:lnTo>
                    <a:pt x="13229" y="1309"/>
                  </a:lnTo>
                  <a:lnTo>
                    <a:pt x="13222" y="1309"/>
                  </a:lnTo>
                  <a:lnTo>
                    <a:pt x="13215" y="1305"/>
                  </a:lnTo>
                  <a:lnTo>
                    <a:pt x="13211" y="1299"/>
                  </a:lnTo>
                  <a:lnTo>
                    <a:pt x="13210" y="1290"/>
                  </a:lnTo>
                  <a:lnTo>
                    <a:pt x="13210" y="1177"/>
                  </a:lnTo>
                  <a:lnTo>
                    <a:pt x="13211" y="1168"/>
                  </a:lnTo>
                  <a:lnTo>
                    <a:pt x="13215" y="1163"/>
                  </a:lnTo>
                  <a:lnTo>
                    <a:pt x="13222" y="1159"/>
                  </a:lnTo>
                  <a:lnTo>
                    <a:pt x="13229" y="1158"/>
                  </a:lnTo>
                  <a:lnTo>
                    <a:pt x="13237" y="1159"/>
                  </a:lnTo>
                  <a:lnTo>
                    <a:pt x="13243" y="1163"/>
                  </a:lnTo>
                  <a:lnTo>
                    <a:pt x="13247" y="1168"/>
                  </a:lnTo>
                  <a:lnTo>
                    <a:pt x="13250" y="1177"/>
                  </a:lnTo>
                  <a:close/>
                  <a:moveTo>
                    <a:pt x="12987" y="1177"/>
                  </a:moveTo>
                  <a:lnTo>
                    <a:pt x="12987" y="1290"/>
                  </a:lnTo>
                  <a:lnTo>
                    <a:pt x="12984" y="1299"/>
                  </a:lnTo>
                  <a:lnTo>
                    <a:pt x="12981" y="1305"/>
                  </a:lnTo>
                  <a:lnTo>
                    <a:pt x="12974" y="1309"/>
                  </a:lnTo>
                  <a:lnTo>
                    <a:pt x="12966" y="1309"/>
                  </a:lnTo>
                  <a:lnTo>
                    <a:pt x="12959" y="1309"/>
                  </a:lnTo>
                  <a:lnTo>
                    <a:pt x="12952" y="1305"/>
                  </a:lnTo>
                  <a:lnTo>
                    <a:pt x="12948" y="1299"/>
                  </a:lnTo>
                  <a:lnTo>
                    <a:pt x="12946" y="1290"/>
                  </a:lnTo>
                  <a:lnTo>
                    <a:pt x="12946" y="1177"/>
                  </a:lnTo>
                  <a:lnTo>
                    <a:pt x="12948" y="1168"/>
                  </a:lnTo>
                  <a:lnTo>
                    <a:pt x="12952" y="1163"/>
                  </a:lnTo>
                  <a:lnTo>
                    <a:pt x="12959" y="1159"/>
                  </a:lnTo>
                  <a:lnTo>
                    <a:pt x="12966" y="1158"/>
                  </a:lnTo>
                  <a:lnTo>
                    <a:pt x="12974" y="1159"/>
                  </a:lnTo>
                  <a:lnTo>
                    <a:pt x="12981" y="1163"/>
                  </a:lnTo>
                  <a:lnTo>
                    <a:pt x="12984" y="1168"/>
                  </a:lnTo>
                  <a:lnTo>
                    <a:pt x="12987" y="1177"/>
                  </a:lnTo>
                  <a:close/>
                  <a:moveTo>
                    <a:pt x="13538" y="3927"/>
                  </a:moveTo>
                  <a:lnTo>
                    <a:pt x="13538" y="4038"/>
                  </a:lnTo>
                  <a:lnTo>
                    <a:pt x="13536" y="4047"/>
                  </a:lnTo>
                  <a:lnTo>
                    <a:pt x="13532" y="4053"/>
                  </a:lnTo>
                  <a:lnTo>
                    <a:pt x="13525" y="4057"/>
                  </a:lnTo>
                  <a:lnTo>
                    <a:pt x="13518" y="4058"/>
                  </a:lnTo>
                  <a:lnTo>
                    <a:pt x="13510" y="4057"/>
                  </a:lnTo>
                  <a:lnTo>
                    <a:pt x="13504" y="4053"/>
                  </a:lnTo>
                  <a:lnTo>
                    <a:pt x="13500" y="4047"/>
                  </a:lnTo>
                  <a:lnTo>
                    <a:pt x="13497" y="4038"/>
                  </a:lnTo>
                  <a:lnTo>
                    <a:pt x="13497" y="3927"/>
                  </a:lnTo>
                  <a:lnTo>
                    <a:pt x="13500" y="3918"/>
                  </a:lnTo>
                  <a:lnTo>
                    <a:pt x="13504" y="3911"/>
                  </a:lnTo>
                  <a:lnTo>
                    <a:pt x="13510" y="3907"/>
                  </a:lnTo>
                  <a:lnTo>
                    <a:pt x="13518" y="3906"/>
                  </a:lnTo>
                  <a:lnTo>
                    <a:pt x="13525" y="3907"/>
                  </a:lnTo>
                  <a:lnTo>
                    <a:pt x="13532" y="3911"/>
                  </a:lnTo>
                  <a:lnTo>
                    <a:pt x="13536" y="3918"/>
                  </a:lnTo>
                  <a:lnTo>
                    <a:pt x="13538" y="3927"/>
                  </a:lnTo>
                  <a:close/>
                  <a:moveTo>
                    <a:pt x="13274" y="3927"/>
                  </a:moveTo>
                  <a:lnTo>
                    <a:pt x="13274" y="4038"/>
                  </a:lnTo>
                  <a:lnTo>
                    <a:pt x="13273" y="4047"/>
                  </a:lnTo>
                  <a:lnTo>
                    <a:pt x="13269" y="4053"/>
                  </a:lnTo>
                  <a:lnTo>
                    <a:pt x="13263" y="4057"/>
                  </a:lnTo>
                  <a:lnTo>
                    <a:pt x="13255" y="4058"/>
                  </a:lnTo>
                  <a:lnTo>
                    <a:pt x="13247" y="4057"/>
                  </a:lnTo>
                  <a:lnTo>
                    <a:pt x="13241" y="4053"/>
                  </a:lnTo>
                  <a:lnTo>
                    <a:pt x="13237" y="4047"/>
                  </a:lnTo>
                  <a:lnTo>
                    <a:pt x="13234" y="4038"/>
                  </a:lnTo>
                  <a:lnTo>
                    <a:pt x="13234" y="3927"/>
                  </a:lnTo>
                  <a:lnTo>
                    <a:pt x="13237" y="3918"/>
                  </a:lnTo>
                  <a:lnTo>
                    <a:pt x="13241" y="3911"/>
                  </a:lnTo>
                  <a:lnTo>
                    <a:pt x="13247" y="3907"/>
                  </a:lnTo>
                  <a:lnTo>
                    <a:pt x="13255" y="3906"/>
                  </a:lnTo>
                  <a:lnTo>
                    <a:pt x="13263" y="3907"/>
                  </a:lnTo>
                  <a:lnTo>
                    <a:pt x="13269" y="3911"/>
                  </a:lnTo>
                  <a:lnTo>
                    <a:pt x="13273" y="3918"/>
                  </a:lnTo>
                  <a:lnTo>
                    <a:pt x="13274" y="3927"/>
                  </a:lnTo>
                  <a:close/>
                  <a:moveTo>
                    <a:pt x="13011" y="3927"/>
                  </a:moveTo>
                  <a:lnTo>
                    <a:pt x="13011" y="4038"/>
                  </a:lnTo>
                  <a:lnTo>
                    <a:pt x="13010" y="4047"/>
                  </a:lnTo>
                  <a:lnTo>
                    <a:pt x="13005" y="4053"/>
                  </a:lnTo>
                  <a:lnTo>
                    <a:pt x="12998" y="4057"/>
                  </a:lnTo>
                  <a:lnTo>
                    <a:pt x="12992" y="4058"/>
                  </a:lnTo>
                  <a:lnTo>
                    <a:pt x="12984" y="4057"/>
                  </a:lnTo>
                  <a:lnTo>
                    <a:pt x="12978" y="4053"/>
                  </a:lnTo>
                  <a:lnTo>
                    <a:pt x="12973" y="4047"/>
                  </a:lnTo>
                  <a:lnTo>
                    <a:pt x="12972" y="4038"/>
                  </a:lnTo>
                  <a:lnTo>
                    <a:pt x="12972" y="3927"/>
                  </a:lnTo>
                  <a:lnTo>
                    <a:pt x="12973" y="3918"/>
                  </a:lnTo>
                  <a:lnTo>
                    <a:pt x="12978" y="3911"/>
                  </a:lnTo>
                  <a:lnTo>
                    <a:pt x="12984" y="3907"/>
                  </a:lnTo>
                  <a:lnTo>
                    <a:pt x="12992" y="3906"/>
                  </a:lnTo>
                  <a:lnTo>
                    <a:pt x="12998" y="3907"/>
                  </a:lnTo>
                  <a:lnTo>
                    <a:pt x="13005" y="3911"/>
                  </a:lnTo>
                  <a:lnTo>
                    <a:pt x="13010" y="3918"/>
                  </a:lnTo>
                  <a:lnTo>
                    <a:pt x="13011" y="3927"/>
                  </a:lnTo>
                  <a:close/>
                  <a:moveTo>
                    <a:pt x="12748" y="3927"/>
                  </a:moveTo>
                  <a:lnTo>
                    <a:pt x="12748" y="4038"/>
                  </a:lnTo>
                  <a:lnTo>
                    <a:pt x="12747" y="4047"/>
                  </a:lnTo>
                  <a:lnTo>
                    <a:pt x="12742" y="4053"/>
                  </a:lnTo>
                  <a:lnTo>
                    <a:pt x="12736" y="4057"/>
                  </a:lnTo>
                  <a:lnTo>
                    <a:pt x="12729" y="4058"/>
                  </a:lnTo>
                  <a:lnTo>
                    <a:pt x="12721" y="4057"/>
                  </a:lnTo>
                  <a:lnTo>
                    <a:pt x="12715" y="4053"/>
                  </a:lnTo>
                  <a:lnTo>
                    <a:pt x="12710" y="4047"/>
                  </a:lnTo>
                  <a:lnTo>
                    <a:pt x="12709" y="4038"/>
                  </a:lnTo>
                  <a:lnTo>
                    <a:pt x="12709" y="3927"/>
                  </a:lnTo>
                  <a:lnTo>
                    <a:pt x="12710" y="3918"/>
                  </a:lnTo>
                  <a:lnTo>
                    <a:pt x="12715" y="3911"/>
                  </a:lnTo>
                  <a:lnTo>
                    <a:pt x="12721" y="3907"/>
                  </a:lnTo>
                  <a:lnTo>
                    <a:pt x="12729" y="3906"/>
                  </a:lnTo>
                  <a:lnTo>
                    <a:pt x="12736" y="3907"/>
                  </a:lnTo>
                  <a:lnTo>
                    <a:pt x="12742" y="3911"/>
                  </a:lnTo>
                  <a:lnTo>
                    <a:pt x="12747" y="3918"/>
                  </a:lnTo>
                  <a:lnTo>
                    <a:pt x="12748" y="3927"/>
                  </a:lnTo>
                  <a:close/>
                  <a:moveTo>
                    <a:pt x="13538" y="3681"/>
                  </a:moveTo>
                  <a:lnTo>
                    <a:pt x="13538" y="3792"/>
                  </a:lnTo>
                  <a:lnTo>
                    <a:pt x="13536" y="3801"/>
                  </a:lnTo>
                  <a:lnTo>
                    <a:pt x="13532" y="3808"/>
                  </a:lnTo>
                  <a:lnTo>
                    <a:pt x="13525" y="3811"/>
                  </a:lnTo>
                  <a:lnTo>
                    <a:pt x="13518" y="3813"/>
                  </a:lnTo>
                  <a:lnTo>
                    <a:pt x="13510" y="3811"/>
                  </a:lnTo>
                  <a:lnTo>
                    <a:pt x="13504" y="3808"/>
                  </a:lnTo>
                  <a:lnTo>
                    <a:pt x="13500" y="3801"/>
                  </a:lnTo>
                  <a:lnTo>
                    <a:pt x="13497" y="3792"/>
                  </a:lnTo>
                  <a:lnTo>
                    <a:pt x="13497" y="3681"/>
                  </a:lnTo>
                  <a:lnTo>
                    <a:pt x="13500" y="3672"/>
                  </a:lnTo>
                  <a:lnTo>
                    <a:pt x="13504" y="3666"/>
                  </a:lnTo>
                  <a:lnTo>
                    <a:pt x="13510" y="3662"/>
                  </a:lnTo>
                  <a:lnTo>
                    <a:pt x="13518" y="3661"/>
                  </a:lnTo>
                  <a:lnTo>
                    <a:pt x="13525" y="3662"/>
                  </a:lnTo>
                  <a:lnTo>
                    <a:pt x="13532" y="3666"/>
                  </a:lnTo>
                  <a:lnTo>
                    <a:pt x="13536" y="3672"/>
                  </a:lnTo>
                  <a:lnTo>
                    <a:pt x="13538" y="3681"/>
                  </a:lnTo>
                  <a:close/>
                  <a:moveTo>
                    <a:pt x="13274" y="3681"/>
                  </a:moveTo>
                  <a:lnTo>
                    <a:pt x="13274" y="3792"/>
                  </a:lnTo>
                  <a:lnTo>
                    <a:pt x="13273" y="3801"/>
                  </a:lnTo>
                  <a:lnTo>
                    <a:pt x="13269" y="3808"/>
                  </a:lnTo>
                  <a:lnTo>
                    <a:pt x="13263" y="3811"/>
                  </a:lnTo>
                  <a:lnTo>
                    <a:pt x="13255" y="3813"/>
                  </a:lnTo>
                  <a:lnTo>
                    <a:pt x="13247" y="3811"/>
                  </a:lnTo>
                  <a:lnTo>
                    <a:pt x="13241" y="3808"/>
                  </a:lnTo>
                  <a:lnTo>
                    <a:pt x="13237" y="3801"/>
                  </a:lnTo>
                  <a:lnTo>
                    <a:pt x="13234" y="3792"/>
                  </a:lnTo>
                  <a:lnTo>
                    <a:pt x="13234" y="3681"/>
                  </a:lnTo>
                  <a:lnTo>
                    <a:pt x="13237" y="3672"/>
                  </a:lnTo>
                  <a:lnTo>
                    <a:pt x="13241" y="3666"/>
                  </a:lnTo>
                  <a:lnTo>
                    <a:pt x="13247" y="3662"/>
                  </a:lnTo>
                  <a:lnTo>
                    <a:pt x="13255" y="3661"/>
                  </a:lnTo>
                  <a:lnTo>
                    <a:pt x="13263" y="3662"/>
                  </a:lnTo>
                  <a:lnTo>
                    <a:pt x="13269" y="3666"/>
                  </a:lnTo>
                  <a:lnTo>
                    <a:pt x="13273" y="3672"/>
                  </a:lnTo>
                  <a:lnTo>
                    <a:pt x="13274" y="3681"/>
                  </a:lnTo>
                  <a:close/>
                  <a:moveTo>
                    <a:pt x="13011" y="3681"/>
                  </a:moveTo>
                  <a:lnTo>
                    <a:pt x="13011" y="3792"/>
                  </a:lnTo>
                  <a:lnTo>
                    <a:pt x="13010" y="3801"/>
                  </a:lnTo>
                  <a:lnTo>
                    <a:pt x="13005" y="3808"/>
                  </a:lnTo>
                  <a:lnTo>
                    <a:pt x="12998" y="3811"/>
                  </a:lnTo>
                  <a:lnTo>
                    <a:pt x="12992" y="3813"/>
                  </a:lnTo>
                  <a:lnTo>
                    <a:pt x="12984" y="3811"/>
                  </a:lnTo>
                  <a:lnTo>
                    <a:pt x="12978" y="3808"/>
                  </a:lnTo>
                  <a:lnTo>
                    <a:pt x="12973" y="3801"/>
                  </a:lnTo>
                  <a:lnTo>
                    <a:pt x="12972" y="3792"/>
                  </a:lnTo>
                  <a:lnTo>
                    <a:pt x="12972" y="3681"/>
                  </a:lnTo>
                  <a:lnTo>
                    <a:pt x="12973" y="3672"/>
                  </a:lnTo>
                  <a:lnTo>
                    <a:pt x="12978" y="3666"/>
                  </a:lnTo>
                  <a:lnTo>
                    <a:pt x="12984" y="3662"/>
                  </a:lnTo>
                  <a:lnTo>
                    <a:pt x="12992" y="3661"/>
                  </a:lnTo>
                  <a:lnTo>
                    <a:pt x="12998" y="3662"/>
                  </a:lnTo>
                  <a:lnTo>
                    <a:pt x="13005" y="3666"/>
                  </a:lnTo>
                  <a:lnTo>
                    <a:pt x="13010" y="3672"/>
                  </a:lnTo>
                  <a:lnTo>
                    <a:pt x="13011" y="3681"/>
                  </a:lnTo>
                  <a:close/>
                  <a:moveTo>
                    <a:pt x="12748" y="3681"/>
                  </a:moveTo>
                  <a:lnTo>
                    <a:pt x="12748" y="3792"/>
                  </a:lnTo>
                  <a:lnTo>
                    <a:pt x="12747" y="3801"/>
                  </a:lnTo>
                  <a:lnTo>
                    <a:pt x="12742" y="3808"/>
                  </a:lnTo>
                  <a:lnTo>
                    <a:pt x="12736" y="3811"/>
                  </a:lnTo>
                  <a:lnTo>
                    <a:pt x="12729" y="3813"/>
                  </a:lnTo>
                  <a:lnTo>
                    <a:pt x="12721" y="3811"/>
                  </a:lnTo>
                  <a:lnTo>
                    <a:pt x="12715" y="3808"/>
                  </a:lnTo>
                  <a:lnTo>
                    <a:pt x="12710" y="3801"/>
                  </a:lnTo>
                  <a:lnTo>
                    <a:pt x="12709" y="3792"/>
                  </a:lnTo>
                  <a:lnTo>
                    <a:pt x="12709" y="3681"/>
                  </a:lnTo>
                  <a:lnTo>
                    <a:pt x="12710" y="3672"/>
                  </a:lnTo>
                  <a:lnTo>
                    <a:pt x="12715" y="3666"/>
                  </a:lnTo>
                  <a:lnTo>
                    <a:pt x="12721" y="3662"/>
                  </a:lnTo>
                  <a:lnTo>
                    <a:pt x="12729" y="3661"/>
                  </a:lnTo>
                  <a:lnTo>
                    <a:pt x="12736" y="3662"/>
                  </a:lnTo>
                  <a:lnTo>
                    <a:pt x="12742" y="3666"/>
                  </a:lnTo>
                  <a:lnTo>
                    <a:pt x="12747" y="3672"/>
                  </a:lnTo>
                  <a:lnTo>
                    <a:pt x="12748" y="3681"/>
                  </a:lnTo>
                  <a:close/>
                  <a:moveTo>
                    <a:pt x="13538" y="3436"/>
                  </a:moveTo>
                  <a:lnTo>
                    <a:pt x="13538" y="3547"/>
                  </a:lnTo>
                  <a:lnTo>
                    <a:pt x="13536" y="3556"/>
                  </a:lnTo>
                  <a:lnTo>
                    <a:pt x="13532" y="3562"/>
                  </a:lnTo>
                  <a:lnTo>
                    <a:pt x="13525" y="3566"/>
                  </a:lnTo>
                  <a:lnTo>
                    <a:pt x="13518" y="3567"/>
                  </a:lnTo>
                  <a:lnTo>
                    <a:pt x="13510" y="3566"/>
                  </a:lnTo>
                  <a:lnTo>
                    <a:pt x="13504" y="3562"/>
                  </a:lnTo>
                  <a:lnTo>
                    <a:pt x="13500" y="3556"/>
                  </a:lnTo>
                  <a:lnTo>
                    <a:pt x="13497" y="3547"/>
                  </a:lnTo>
                  <a:lnTo>
                    <a:pt x="13497" y="3436"/>
                  </a:lnTo>
                  <a:lnTo>
                    <a:pt x="13500" y="3427"/>
                  </a:lnTo>
                  <a:lnTo>
                    <a:pt x="13504" y="3420"/>
                  </a:lnTo>
                  <a:lnTo>
                    <a:pt x="13510" y="3416"/>
                  </a:lnTo>
                  <a:lnTo>
                    <a:pt x="13518" y="3415"/>
                  </a:lnTo>
                  <a:lnTo>
                    <a:pt x="13525" y="3416"/>
                  </a:lnTo>
                  <a:lnTo>
                    <a:pt x="13532" y="3420"/>
                  </a:lnTo>
                  <a:lnTo>
                    <a:pt x="13536" y="3427"/>
                  </a:lnTo>
                  <a:lnTo>
                    <a:pt x="13538" y="3436"/>
                  </a:lnTo>
                  <a:close/>
                  <a:moveTo>
                    <a:pt x="13274" y="3436"/>
                  </a:moveTo>
                  <a:lnTo>
                    <a:pt x="13274" y="3547"/>
                  </a:lnTo>
                  <a:lnTo>
                    <a:pt x="13273" y="3556"/>
                  </a:lnTo>
                  <a:lnTo>
                    <a:pt x="13269" y="3562"/>
                  </a:lnTo>
                  <a:lnTo>
                    <a:pt x="13263" y="3566"/>
                  </a:lnTo>
                  <a:lnTo>
                    <a:pt x="13255" y="3567"/>
                  </a:lnTo>
                  <a:lnTo>
                    <a:pt x="13247" y="3566"/>
                  </a:lnTo>
                  <a:lnTo>
                    <a:pt x="13241" y="3562"/>
                  </a:lnTo>
                  <a:lnTo>
                    <a:pt x="13237" y="3556"/>
                  </a:lnTo>
                  <a:lnTo>
                    <a:pt x="13234" y="3547"/>
                  </a:lnTo>
                  <a:lnTo>
                    <a:pt x="13234" y="3436"/>
                  </a:lnTo>
                  <a:lnTo>
                    <a:pt x="13237" y="3427"/>
                  </a:lnTo>
                  <a:lnTo>
                    <a:pt x="13241" y="3420"/>
                  </a:lnTo>
                  <a:lnTo>
                    <a:pt x="13247" y="3416"/>
                  </a:lnTo>
                  <a:lnTo>
                    <a:pt x="13255" y="3415"/>
                  </a:lnTo>
                  <a:lnTo>
                    <a:pt x="13263" y="3416"/>
                  </a:lnTo>
                  <a:lnTo>
                    <a:pt x="13269" y="3420"/>
                  </a:lnTo>
                  <a:lnTo>
                    <a:pt x="13273" y="3427"/>
                  </a:lnTo>
                  <a:lnTo>
                    <a:pt x="13274" y="3436"/>
                  </a:lnTo>
                  <a:close/>
                  <a:moveTo>
                    <a:pt x="13011" y="3436"/>
                  </a:moveTo>
                  <a:lnTo>
                    <a:pt x="13011" y="3547"/>
                  </a:lnTo>
                  <a:lnTo>
                    <a:pt x="13010" y="3556"/>
                  </a:lnTo>
                  <a:lnTo>
                    <a:pt x="13005" y="3562"/>
                  </a:lnTo>
                  <a:lnTo>
                    <a:pt x="12998" y="3566"/>
                  </a:lnTo>
                  <a:lnTo>
                    <a:pt x="12992" y="3567"/>
                  </a:lnTo>
                  <a:lnTo>
                    <a:pt x="12984" y="3566"/>
                  </a:lnTo>
                  <a:lnTo>
                    <a:pt x="12978" y="3562"/>
                  </a:lnTo>
                  <a:lnTo>
                    <a:pt x="12973" y="3556"/>
                  </a:lnTo>
                  <a:lnTo>
                    <a:pt x="12972" y="3547"/>
                  </a:lnTo>
                  <a:lnTo>
                    <a:pt x="12972" y="3436"/>
                  </a:lnTo>
                  <a:lnTo>
                    <a:pt x="12973" y="3427"/>
                  </a:lnTo>
                  <a:lnTo>
                    <a:pt x="12978" y="3420"/>
                  </a:lnTo>
                  <a:lnTo>
                    <a:pt x="12984" y="3416"/>
                  </a:lnTo>
                  <a:lnTo>
                    <a:pt x="12992" y="3415"/>
                  </a:lnTo>
                  <a:lnTo>
                    <a:pt x="12998" y="3416"/>
                  </a:lnTo>
                  <a:lnTo>
                    <a:pt x="13005" y="3420"/>
                  </a:lnTo>
                  <a:lnTo>
                    <a:pt x="13010" y="3427"/>
                  </a:lnTo>
                  <a:lnTo>
                    <a:pt x="13011" y="3436"/>
                  </a:lnTo>
                  <a:close/>
                  <a:moveTo>
                    <a:pt x="12748" y="3436"/>
                  </a:moveTo>
                  <a:lnTo>
                    <a:pt x="12748" y="3547"/>
                  </a:lnTo>
                  <a:lnTo>
                    <a:pt x="12747" y="3556"/>
                  </a:lnTo>
                  <a:lnTo>
                    <a:pt x="12742" y="3562"/>
                  </a:lnTo>
                  <a:lnTo>
                    <a:pt x="12736" y="3566"/>
                  </a:lnTo>
                  <a:lnTo>
                    <a:pt x="12729" y="3567"/>
                  </a:lnTo>
                  <a:lnTo>
                    <a:pt x="12721" y="3566"/>
                  </a:lnTo>
                  <a:lnTo>
                    <a:pt x="12715" y="3562"/>
                  </a:lnTo>
                  <a:lnTo>
                    <a:pt x="12710" y="3556"/>
                  </a:lnTo>
                  <a:lnTo>
                    <a:pt x="12709" y="3547"/>
                  </a:lnTo>
                  <a:lnTo>
                    <a:pt x="12709" y="3436"/>
                  </a:lnTo>
                  <a:lnTo>
                    <a:pt x="12710" y="3427"/>
                  </a:lnTo>
                  <a:lnTo>
                    <a:pt x="12715" y="3420"/>
                  </a:lnTo>
                  <a:lnTo>
                    <a:pt x="12721" y="3416"/>
                  </a:lnTo>
                  <a:lnTo>
                    <a:pt x="12729" y="3415"/>
                  </a:lnTo>
                  <a:lnTo>
                    <a:pt x="12736" y="3416"/>
                  </a:lnTo>
                  <a:lnTo>
                    <a:pt x="12742" y="3420"/>
                  </a:lnTo>
                  <a:lnTo>
                    <a:pt x="12747" y="3427"/>
                  </a:lnTo>
                  <a:lnTo>
                    <a:pt x="12748" y="3436"/>
                  </a:lnTo>
                  <a:close/>
                  <a:moveTo>
                    <a:pt x="12486" y="3436"/>
                  </a:moveTo>
                  <a:lnTo>
                    <a:pt x="12486" y="3547"/>
                  </a:lnTo>
                  <a:lnTo>
                    <a:pt x="12484" y="3556"/>
                  </a:lnTo>
                  <a:lnTo>
                    <a:pt x="12479" y="3562"/>
                  </a:lnTo>
                  <a:lnTo>
                    <a:pt x="12473" y="3566"/>
                  </a:lnTo>
                  <a:lnTo>
                    <a:pt x="12465" y="3567"/>
                  </a:lnTo>
                  <a:lnTo>
                    <a:pt x="12459" y="3566"/>
                  </a:lnTo>
                  <a:lnTo>
                    <a:pt x="12452" y="3562"/>
                  </a:lnTo>
                  <a:lnTo>
                    <a:pt x="12447" y="3556"/>
                  </a:lnTo>
                  <a:lnTo>
                    <a:pt x="12446" y="3547"/>
                  </a:lnTo>
                  <a:lnTo>
                    <a:pt x="12446" y="3436"/>
                  </a:lnTo>
                  <a:lnTo>
                    <a:pt x="12447" y="3427"/>
                  </a:lnTo>
                  <a:lnTo>
                    <a:pt x="12452" y="3420"/>
                  </a:lnTo>
                  <a:lnTo>
                    <a:pt x="12459" y="3416"/>
                  </a:lnTo>
                  <a:lnTo>
                    <a:pt x="12465" y="3415"/>
                  </a:lnTo>
                  <a:lnTo>
                    <a:pt x="12473" y="3416"/>
                  </a:lnTo>
                  <a:lnTo>
                    <a:pt x="12479" y="3420"/>
                  </a:lnTo>
                  <a:lnTo>
                    <a:pt x="12484" y="3427"/>
                  </a:lnTo>
                  <a:lnTo>
                    <a:pt x="12486" y="3436"/>
                  </a:lnTo>
                  <a:close/>
                  <a:moveTo>
                    <a:pt x="10933" y="2423"/>
                  </a:moveTo>
                  <a:lnTo>
                    <a:pt x="10933" y="2535"/>
                  </a:lnTo>
                  <a:lnTo>
                    <a:pt x="10931" y="2543"/>
                  </a:lnTo>
                  <a:lnTo>
                    <a:pt x="10926" y="2549"/>
                  </a:lnTo>
                  <a:lnTo>
                    <a:pt x="10920" y="2553"/>
                  </a:lnTo>
                  <a:lnTo>
                    <a:pt x="10912" y="2555"/>
                  </a:lnTo>
                  <a:lnTo>
                    <a:pt x="10906" y="2553"/>
                  </a:lnTo>
                  <a:lnTo>
                    <a:pt x="10899" y="2549"/>
                  </a:lnTo>
                  <a:lnTo>
                    <a:pt x="10894" y="2543"/>
                  </a:lnTo>
                  <a:lnTo>
                    <a:pt x="10893" y="2535"/>
                  </a:lnTo>
                  <a:lnTo>
                    <a:pt x="10893" y="2423"/>
                  </a:lnTo>
                  <a:lnTo>
                    <a:pt x="10894" y="2414"/>
                  </a:lnTo>
                  <a:lnTo>
                    <a:pt x="10899" y="2407"/>
                  </a:lnTo>
                  <a:lnTo>
                    <a:pt x="10906" y="2404"/>
                  </a:lnTo>
                  <a:lnTo>
                    <a:pt x="10912" y="2402"/>
                  </a:lnTo>
                  <a:lnTo>
                    <a:pt x="10920" y="2404"/>
                  </a:lnTo>
                  <a:lnTo>
                    <a:pt x="10926" y="2407"/>
                  </a:lnTo>
                  <a:lnTo>
                    <a:pt x="10931" y="2414"/>
                  </a:lnTo>
                  <a:lnTo>
                    <a:pt x="10933" y="2423"/>
                  </a:lnTo>
                  <a:close/>
                  <a:moveTo>
                    <a:pt x="10670" y="2423"/>
                  </a:moveTo>
                  <a:lnTo>
                    <a:pt x="10670" y="2535"/>
                  </a:lnTo>
                  <a:lnTo>
                    <a:pt x="10669" y="2543"/>
                  </a:lnTo>
                  <a:lnTo>
                    <a:pt x="10663" y="2549"/>
                  </a:lnTo>
                  <a:lnTo>
                    <a:pt x="10657" y="2553"/>
                  </a:lnTo>
                  <a:lnTo>
                    <a:pt x="10649" y="2555"/>
                  </a:lnTo>
                  <a:lnTo>
                    <a:pt x="10643" y="2553"/>
                  </a:lnTo>
                  <a:lnTo>
                    <a:pt x="10637" y="2549"/>
                  </a:lnTo>
                  <a:lnTo>
                    <a:pt x="10631" y="2543"/>
                  </a:lnTo>
                  <a:lnTo>
                    <a:pt x="10630" y="2535"/>
                  </a:lnTo>
                  <a:lnTo>
                    <a:pt x="10630" y="2423"/>
                  </a:lnTo>
                  <a:lnTo>
                    <a:pt x="10631" y="2414"/>
                  </a:lnTo>
                  <a:lnTo>
                    <a:pt x="10637" y="2407"/>
                  </a:lnTo>
                  <a:lnTo>
                    <a:pt x="10643" y="2404"/>
                  </a:lnTo>
                  <a:lnTo>
                    <a:pt x="10649" y="2402"/>
                  </a:lnTo>
                  <a:lnTo>
                    <a:pt x="10657" y="2404"/>
                  </a:lnTo>
                  <a:lnTo>
                    <a:pt x="10663" y="2407"/>
                  </a:lnTo>
                  <a:lnTo>
                    <a:pt x="10669" y="2414"/>
                  </a:lnTo>
                  <a:lnTo>
                    <a:pt x="10670" y="2423"/>
                  </a:lnTo>
                  <a:close/>
                  <a:moveTo>
                    <a:pt x="10407" y="2423"/>
                  </a:moveTo>
                  <a:lnTo>
                    <a:pt x="10407" y="2535"/>
                  </a:lnTo>
                  <a:lnTo>
                    <a:pt x="10404" y="2543"/>
                  </a:lnTo>
                  <a:lnTo>
                    <a:pt x="10401" y="2549"/>
                  </a:lnTo>
                  <a:lnTo>
                    <a:pt x="10394" y="2553"/>
                  </a:lnTo>
                  <a:lnTo>
                    <a:pt x="10386" y="2555"/>
                  </a:lnTo>
                  <a:lnTo>
                    <a:pt x="10379" y="2553"/>
                  </a:lnTo>
                  <a:lnTo>
                    <a:pt x="10372" y="2549"/>
                  </a:lnTo>
                  <a:lnTo>
                    <a:pt x="10369" y="2543"/>
                  </a:lnTo>
                  <a:lnTo>
                    <a:pt x="10366" y="2535"/>
                  </a:lnTo>
                  <a:lnTo>
                    <a:pt x="10366" y="2423"/>
                  </a:lnTo>
                  <a:lnTo>
                    <a:pt x="10369" y="2414"/>
                  </a:lnTo>
                  <a:lnTo>
                    <a:pt x="10372" y="2407"/>
                  </a:lnTo>
                  <a:lnTo>
                    <a:pt x="10379" y="2404"/>
                  </a:lnTo>
                  <a:lnTo>
                    <a:pt x="10386" y="2402"/>
                  </a:lnTo>
                  <a:lnTo>
                    <a:pt x="10394" y="2404"/>
                  </a:lnTo>
                  <a:lnTo>
                    <a:pt x="10401" y="2407"/>
                  </a:lnTo>
                  <a:lnTo>
                    <a:pt x="10404" y="2414"/>
                  </a:lnTo>
                  <a:lnTo>
                    <a:pt x="10407" y="2423"/>
                  </a:lnTo>
                  <a:close/>
                  <a:moveTo>
                    <a:pt x="10143" y="2423"/>
                  </a:moveTo>
                  <a:lnTo>
                    <a:pt x="10143" y="2535"/>
                  </a:lnTo>
                  <a:lnTo>
                    <a:pt x="10142" y="2543"/>
                  </a:lnTo>
                  <a:lnTo>
                    <a:pt x="10138" y="2549"/>
                  </a:lnTo>
                  <a:lnTo>
                    <a:pt x="10131" y="2553"/>
                  </a:lnTo>
                  <a:lnTo>
                    <a:pt x="10124" y="2555"/>
                  </a:lnTo>
                  <a:lnTo>
                    <a:pt x="10116" y="2553"/>
                  </a:lnTo>
                  <a:lnTo>
                    <a:pt x="10109" y="2549"/>
                  </a:lnTo>
                  <a:lnTo>
                    <a:pt x="10106" y="2543"/>
                  </a:lnTo>
                  <a:lnTo>
                    <a:pt x="10103" y="2535"/>
                  </a:lnTo>
                  <a:lnTo>
                    <a:pt x="10103" y="2423"/>
                  </a:lnTo>
                  <a:lnTo>
                    <a:pt x="10106" y="2414"/>
                  </a:lnTo>
                  <a:lnTo>
                    <a:pt x="10109" y="2407"/>
                  </a:lnTo>
                  <a:lnTo>
                    <a:pt x="10116" y="2404"/>
                  </a:lnTo>
                  <a:lnTo>
                    <a:pt x="10124" y="2402"/>
                  </a:lnTo>
                  <a:lnTo>
                    <a:pt x="10131" y="2404"/>
                  </a:lnTo>
                  <a:lnTo>
                    <a:pt x="10138" y="2407"/>
                  </a:lnTo>
                  <a:lnTo>
                    <a:pt x="10142" y="2414"/>
                  </a:lnTo>
                  <a:lnTo>
                    <a:pt x="10143" y="2423"/>
                  </a:lnTo>
                  <a:close/>
                  <a:moveTo>
                    <a:pt x="9880" y="2423"/>
                  </a:moveTo>
                  <a:lnTo>
                    <a:pt x="9880" y="2535"/>
                  </a:lnTo>
                  <a:lnTo>
                    <a:pt x="9879" y="2543"/>
                  </a:lnTo>
                  <a:lnTo>
                    <a:pt x="9874" y="2549"/>
                  </a:lnTo>
                  <a:lnTo>
                    <a:pt x="9867" y="2553"/>
                  </a:lnTo>
                  <a:lnTo>
                    <a:pt x="9861" y="2555"/>
                  </a:lnTo>
                  <a:lnTo>
                    <a:pt x="9853" y="2553"/>
                  </a:lnTo>
                  <a:lnTo>
                    <a:pt x="9847" y="2549"/>
                  </a:lnTo>
                  <a:lnTo>
                    <a:pt x="9841" y="2543"/>
                  </a:lnTo>
                  <a:lnTo>
                    <a:pt x="9840" y="2535"/>
                  </a:lnTo>
                  <a:lnTo>
                    <a:pt x="9840" y="2423"/>
                  </a:lnTo>
                  <a:lnTo>
                    <a:pt x="9841" y="2414"/>
                  </a:lnTo>
                  <a:lnTo>
                    <a:pt x="9847" y="2407"/>
                  </a:lnTo>
                  <a:lnTo>
                    <a:pt x="9853" y="2404"/>
                  </a:lnTo>
                  <a:lnTo>
                    <a:pt x="9861" y="2402"/>
                  </a:lnTo>
                  <a:lnTo>
                    <a:pt x="9867" y="2404"/>
                  </a:lnTo>
                  <a:lnTo>
                    <a:pt x="9874" y="2407"/>
                  </a:lnTo>
                  <a:lnTo>
                    <a:pt x="9879" y="2414"/>
                  </a:lnTo>
                  <a:lnTo>
                    <a:pt x="9880" y="2423"/>
                  </a:lnTo>
                  <a:close/>
                  <a:moveTo>
                    <a:pt x="9617" y="2423"/>
                  </a:moveTo>
                  <a:lnTo>
                    <a:pt x="9617" y="2535"/>
                  </a:lnTo>
                  <a:lnTo>
                    <a:pt x="9616" y="2543"/>
                  </a:lnTo>
                  <a:lnTo>
                    <a:pt x="9611" y="2549"/>
                  </a:lnTo>
                  <a:lnTo>
                    <a:pt x="9604" y="2553"/>
                  </a:lnTo>
                  <a:lnTo>
                    <a:pt x="9598" y="2555"/>
                  </a:lnTo>
                  <a:lnTo>
                    <a:pt x="9590" y="2553"/>
                  </a:lnTo>
                  <a:lnTo>
                    <a:pt x="9584" y="2549"/>
                  </a:lnTo>
                  <a:lnTo>
                    <a:pt x="9579" y="2543"/>
                  </a:lnTo>
                  <a:lnTo>
                    <a:pt x="9577" y="2535"/>
                  </a:lnTo>
                  <a:lnTo>
                    <a:pt x="9577" y="2423"/>
                  </a:lnTo>
                  <a:lnTo>
                    <a:pt x="9579" y="2414"/>
                  </a:lnTo>
                  <a:lnTo>
                    <a:pt x="9584" y="2407"/>
                  </a:lnTo>
                  <a:lnTo>
                    <a:pt x="9590" y="2404"/>
                  </a:lnTo>
                  <a:lnTo>
                    <a:pt x="9598" y="2402"/>
                  </a:lnTo>
                  <a:lnTo>
                    <a:pt x="9604" y="2404"/>
                  </a:lnTo>
                  <a:lnTo>
                    <a:pt x="9611" y="2407"/>
                  </a:lnTo>
                  <a:lnTo>
                    <a:pt x="9616" y="2414"/>
                  </a:lnTo>
                  <a:lnTo>
                    <a:pt x="9617" y="2423"/>
                  </a:lnTo>
                  <a:close/>
                  <a:moveTo>
                    <a:pt x="16589" y="796"/>
                  </a:moveTo>
                  <a:lnTo>
                    <a:pt x="16589" y="847"/>
                  </a:lnTo>
                  <a:lnTo>
                    <a:pt x="16588" y="859"/>
                  </a:lnTo>
                  <a:lnTo>
                    <a:pt x="16584" y="869"/>
                  </a:lnTo>
                  <a:lnTo>
                    <a:pt x="16576" y="878"/>
                  </a:lnTo>
                  <a:lnTo>
                    <a:pt x="16566" y="883"/>
                  </a:lnTo>
                  <a:lnTo>
                    <a:pt x="16556" y="890"/>
                  </a:lnTo>
                  <a:lnTo>
                    <a:pt x="16547" y="896"/>
                  </a:lnTo>
                  <a:lnTo>
                    <a:pt x="16534" y="913"/>
                  </a:lnTo>
                  <a:lnTo>
                    <a:pt x="16529" y="923"/>
                  </a:lnTo>
                  <a:lnTo>
                    <a:pt x="16526" y="934"/>
                  </a:lnTo>
                  <a:lnTo>
                    <a:pt x="16526" y="956"/>
                  </a:lnTo>
                  <a:lnTo>
                    <a:pt x="16530" y="968"/>
                  </a:lnTo>
                  <a:lnTo>
                    <a:pt x="16535" y="978"/>
                  </a:lnTo>
                  <a:lnTo>
                    <a:pt x="16541" y="987"/>
                  </a:lnTo>
                  <a:lnTo>
                    <a:pt x="16549" y="996"/>
                  </a:lnTo>
                  <a:lnTo>
                    <a:pt x="16568" y="1006"/>
                  </a:lnTo>
                  <a:lnTo>
                    <a:pt x="16591" y="1011"/>
                  </a:lnTo>
                  <a:lnTo>
                    <a:pt x="16604" y="1009"/>
                  </a:lnTo>
                  <a:lnTo>
                    <a:pt x="16617" y="1005"/>
                  </a:lnTo>
                  <a:lnTo>
                    <a:pt x="16629" y="1000"/>
                  </a:lnTo>
                  <a:lnTo>
                    <a:pt x="16638" y="991"/>
                  </a:lnTo>
                  <a:lnTo>
                    <a:pt x="16647" y="982"/>
                  </a:lnTo>
                  <a:lnTo>
                    <a:pt x="16652" y="970"/>
                  </a:lnTo>
                  <a:lnTo>
                    <a:pt x="16656" y="957"/>
                  </a:lnTo>
                  <a:lnTo>
                    <a:pt x="16657" y="945"/>
                  </a:lnTo>
                  <a:lnTo>
                    <a:pt x="16659" y="936"/>
                  </a:lnTo>
                  <a:lnTo>
                    <a:pt x="16663" y="929"/>
                  </a:lnTo>
                  <a:lnTo>
                    <a:pt x="16670" y="925"/>
                  </a:lnTo>
                  <a:lnTo>
                    <a:pt x="16677" y="924"/>
                  </a:lnTo>
                  <a:lnTo>
                    <a:pt x="16685" y="925"/>
                  </a:lnTo>
                  <a:lnTo>
                    <a:pt x="16691" y="929"/>
                  </a:lnTo>
                  <a:lnTo>
                    <a:pt x="16695" y="936"/>
                  </a:lnTo>
                  <a:lnTo>
                    <a:pt x="16698" y="945"/>
                  </a:lnTo>
                  <a:lnTo>
                    <a:pt x="16695" y="966"/>
                  </a:lnTo>
                  <a:lnTo>
                    <a:pt x="16689" y="986"/>
                  </a:lnTo>
                  <a:lnTo>
                    <a:pt x="16679" y="1003"/>
                  </a:lnTo>
                  <a:lnTo>
                    <a:pt x="16666" y="1020"/>
                  </a:lnTo>
                  <a:lnTo>
                    <a:pt x="16650" y="1033"/>
                  </a:lnTo>
                  <a:lnTo>
                    <a:pt x="16632" y="1042"/>
                  </a:lnTo>
                  <a:lnTo>
                    <a:pt x="16612" y="1048"/>
                  </a:lnTo>
                  <a:lnTo>
                    <a:pt x="16591" y="1051"/>
                  </a:lnTo>
                  <a:lnTo>
                    <a:pt x="16572" y="1048"/>
                  </a:lnTo>
                  <a:lnTo>
                    <a:pt x="16556" y="1044"/>
                  </a:lnTo>
                  <a:lnTo>
                    <a:pt x="16539" y="1037"/>
                  </a:lnTo>
                  <a:lnTo>
                    <a:pt x="16523" y="1025"/>
                  </a:lnTo>
                  <a:lnTo>
                    <a:pt x="16511" y="1014"/>
                  </a:lnTo>
                  <a:lnTo>
                    <a:pt x="16500" y="998"/>
                  </a:lnTo>
                  <a:lnTo>
                    <a:pt x="16495" y="991"/>
                  </a:lnTo>
                  <a:lnTo>
                    <a:pt x="16491" y="982"/>
                  </a:lnTo>
                  <a:lnTo>
                    <a:pt x="16488" y="964"/>
                  </a:lnTo>
                  <a:lnTo>
                    <a:pt x="16485" y="945"/>
                  </a:lnTo>
                  <a:lnTo>
                    <a:pt x="16486" y="928"/>
                  </a:lnTo>
                  <a:lnTo>
                    <a:pt x="16490" y="910"/>
                  </a:lnTo>
                  <a:lnTo>
                    <a:pt x="16498" y="895"/>
                  </a:lnTo>
                  <a:lnTo>
                    <a:pt x="16507" y="879"/>
                  </a:lnTo>
                  <a:lnTo>
                    <a:pt x="16518" y="867"/>
                  </a:lnTo>
                  <a:lnTo>
                    <a:pt x="16532" y="856"/>
                  </a:lnTo>
                  <a:lnTo>
                    <a:pt x="16549" y="847"/>
                  </a:lnTo>
                  <a:lnTo>
                    <a:pt x="16549" y="796"/>
                  </a:lnTo>
                  <a:lnTo>
                    <a:pt x="16550" y="787"/>
                  </a:lnTo>
                  <a:lnTo>
                    <a:pt x="16556" y="782"/>
                  </a:lnTo>
                  <a:lnTo>
                    <a:pt x="16562" y="778"/>
                  </a:lnTo>
                  <a:lnTo>
                    <a:pt x="16568" y="777"/>
                  </a:lnTo>
                  <a:lnTo>
                    <a:pt x="16576" y="778"/>
                  </a:lnTo>
                  <a:lnTo>
                    <a:pt x="16582" y="782"/>
                  </a:lnTo>
                  <a:lnTo>
                    <a:pt x="16588" y="787"/>
                  </a:lnTo>
                  <a:lnTo>
                    <a:pt x="16589" y="796"/>
                  </a:lnTo>
                  <a:close/>
                  <a:moveTo>
                    <a:pt x="17183" y="112"/>
                  </a:moveTo>
                  <a:lnTo>
                    <a:pt x="17100" y="225"/>
                  </a:lnTo>
                  <a:lnTo>
                    <a:pt x="17100" y="309"/>
                  </a:lnTo>
                  <a:lnTo>
                    <a:pt x="17183" y="309"/>
                  </a:lnTo>
                  <a:lnTo>
                    <a:pt x="17183" y="112"/>
                  </a:lnTo>
                  <a:close/>
                  <a:moveTo>
                    <a:pt x="17059" y="309"/>
                  </a:moveTo>
                  <a:lnTo>
                    <a:pt x="17059" y="218"/>
                  </a:lnTo>
                  <a:lnTo>
                    <a:pt x="17063" y="207"/>
                  </a:lnTo>
                  <a:lnTo>
                    <a:pt x="17175" y="55"/>
                  </a:lnTo>
                  <a:lnTo>
                    <a:pt x="16382" y="309"/>
                  </a:lnTo>
                  <a:lnTo>
                    <a:pt x="16906" y="309"/>
                  </a:lnTo>
                  <a:lnTo>
                    <a:pt x="17015" y="309"/>
                  </a:lnTo>
                  <a:lnTo>
                    <a:pt x="17059" y="309"/>
                  </a:lnTo>
                  <a:close/>
                  <a:moveTo>
                    <a:pt x="17222" y="309"/>
                  </a:moveTo>
                  <a:lnTo>
                    <a:pt x="17388" y="309"/>
                  </a:lnTo>
                  <a:lnTo>
                    <a:pt x="17222" y="80"/>
                  </a:lnTo>
                  <a:lnTo>
                    <a:pt x="17222" y="309"/>
                  </a:lnTo>
                  <a:close/>
                  <a:moveTo>
                    <a:pt x="17183" y="481"/>
                  </a:moveTo>
                  <a:lnTo>
                    <a:pt x="17015" y="481"/>
                  </a:lnTo>
                  <a:lnTo>
                    <a:pt x="17007" y="478"/>
                  </a:lnTo>
                  <a:lnTo>
                    <a:pt x="17000" y="474"/>
                  </a:lnTo>
                  <a:lnTo>
                    <a:pt x="16995" y="468"/>
                  </a:lnTo>
                  <a:lnTo>
                    <a:pt x="16994" y="460"/>
                  </a:lnTo>
                  <a:lnTo>
                    <a:pt x="16994" y="349"/>
                  </a:lnTo>
                  <a:lnTo>
                    <a:pt x="16926" y="349"/>
                  </a:lnTo>
                  <a:lnTo>
                    <a:pt x="16926" y="552"/>
                  </a:lnTo>
                  <a:lnTo>
                    <a:pt x="17067" y="552"/>
                  </a:lnTo>
                  <a:lnTo>
                    <a:pt x="17183" y="552"/>
                  </a:lnTo>
                  <a:lnTo>
                    <a:pt x="17183" y="481"/>
                  </a:lnTo>
                  <a:close/>
                  <a:moveTo>
                    <a:pt x="17222" y="349"/>
                  </a:moveTo>
                  <a:lnTo>
                    <a:pt x="17222" y="460"/>
                  </a:lnTo>
                  <a:lnTo>
                    <a:pt x="17222" y="573"/>
                  </a:lnTo>
                  <a:lnTo>
                    <a:pt x="17222" y="1413"/>
                  </a:lnTo>
                  <a:lnTo>
                    <a:pt x="17222" y="2253"/>
                  </a:lnTo>
                  <a:lnTo>
                    <a:pt x="17220" y="2262"/>
                  </a:lnTo>
                  <a:lnTo>
                    <a:pt x="17216" y="2268"/>
                  </a:lnTo>
                  <a:lnTo>
                    <a:pt x="17209" y="2272"/>
                  </a:lnTo>
                  <a:lnTo>
                    <a:pt x="17202" y="2273"/>
                  </a:lnTo>
                  <a:lnTo>
                    <a:pt x="17194" y="2272"/>
                  </a:lnTo>
                  <a:lnTo>
                    <a:pt x="17188" y="2268"/>
                  </a:lnTo>
                  <a:lnTo>
                    <a:pt x="17184" y="2262"/>
                  </a:lnTo>
                  <a:lnTo>
                    <a:pt x="17183" y="2253"/>
                  </a:lnTo>
                  <a:lnTo>
                    <a:pt x="17183" y="1422"/>
                  </a:lnTo>
                  <a:lnTo>
                    <a:pt x="17183" y="592"/>
                  </a:lnTo>
                  <a:lnTo>
                    <a:pt x="17088" y="592"/>
                  </a:lnTo>
                  <a:lnTo>
                    <a:pt x="17088" y="1422"/>
                  </a:lnTo>
                  <a:lnTo>
                    <a:pt x="17088" y="2253"/>
                  </a:lnTo>
                  <a:lnTo>
                    <a:pt x="17085" y="2262"/>
                  </a:lnTo>
                  <a:lnTo>
                    <a:pt x="17081" y="2268"/>
                  </a:lnTo>
                  <a:lnTo>
                    <a:pt x="17075" y="2272"/>
                  </a:lnTo>
                  <a:lnTo>
                    <a:pt x="17067" y="2273"/>
                  </a:lnTo>
                  <a:lnTo>
                    <a:pt x="17059" y="2272"/>
                  </a:lnTo>
                  <a:lnTo>
                    <a:pt x="17053" y="2268"/>
                  </a:lnTo>
                  <a:lnTo>
                    <a:pt x="17049" y="2262"/>
                  </a:lnTo>
                  <a:lnTo>
                    <a:pt x="17047" y="2253"/>
                  </a:lnTo>
                  <a:lnTo>
                    <a:pt x="17047" y="1422"/>
                  </a:lnTo>
                  <a:lnTo>
                    <a:pt x="17047" y="592"/>
                  </a:lnTo>
                  <a:lnTo>
                    <a:pt x="16906" y="592"/>
                  </a:lnTo>
                  <a:lnTo>
                    <a:pt x="16898" y="590"/>
                  </a:lnTo>
                  <a:lnTo>
                    <a:pt x="16891" y="587"/>
                  </a:lnTo>
                  <a:lnTo>
                    <a:pt x="16888" y="580"/>
                  </a:lnTo>
                  <a:lnTo>
                    <a:pt x="16886" y="573"/>
                  </a:lnTo>
                  <a:lnTo>
                    <a:pt x="16886" y="349"/>
                  </a:lnTo>
                  <a:lnTo>
                    <a:pt x="16584" y="349"/>
                  </a:lnTo>
                  <a:lnTo>
                    <a:pt x="16584" y="740"/>
                  </a:lnTo>
                  <a:lnTo>
                    <a:pt x="16581" y="749"/>
                  </a:lnTo>
                  <a:lnTo>
                    <a:pt x="16577" y="755"/>
                  </a:lnTo>
                  <a:lnTo>
                    <a:pt x="16571" y="759"/>
                  </a:lnTo>
                  <a:lnTo>
                    <a:pt x="16563" y="761"/>
                  </a:lnTo>
                  <a:lnTo>
                    <a:pt x="16556" y="759"/>
                  </a:lnTo>
                  <a:lnTo>
                    <a:pt x="16549" y="755"/>
                  </a:lnTo>
                  <a:lnTo>
                    <a:pt x="16545" y="749"/>
                  </a:lnTo>
                  <a:lnTo>
                    <a:pt x="16544" y="740"/>
                  </a:lnTo>
                  <a:lnTo>
                    <a:pt x="16544" y="349"/>
                  </a:lnTo>
                  <a:lnTo>
                    <a:pt x="16255" y="349"/>
                  </a:lnTo>
                  <a:lnTo>
                    <a:pt x="16246" y="348"/>
                  </a:lnTo>
                  <a:lnTo>
                    <a:pt x="16239" y="344"/>
                  </a:lnTo>
                  <a:lnTo>
                    <a:pt x="16235" y="339"/>
                  </a:lnTo>
                  <a:lnTo>
                    <a:pt x="16232" y="332"/>
                  </a:lnTo>
                  <a:lnTo>
                    <a:pt x="16232" y="326"/>
                  </a:lnTo>
                  <a:lnTo>
                    <a:pt x="16235" y="319"/>
                  </a:lnTo>
                  <a:lnTo>
                    <a:pt x="16241" y="314"/>
                  </a:lnTo>
                  <a:lnTo>
                    <a:pt x="16249" y="310"/>
                  </a:lnTo>
                  <a:lnTo>
                    <a:pt x="17184" y="9"/>
                  </a:lnTo>
                  <a:lnTo>
                    <a:pt x="17188" y="5"/>
                  </a:lnTo>
                  <a:lnTo>
                    <a:pt x="17192" y="2"/>
                  </a:lnTo>
                  <a:lnTo>
                    <a:pt x="17203" y="0"/>
                  </a:lnTo>
                  <a:lnTo>
                    <a:pt x="17213" y="2"/>
                  </a:lnTo>
                  <a:lnTo>
                    <a:pt x="17220" y="10"/>
                  </a:lnTo>
                  <a:lnTo>
                    <a:pt x="17443" y="317"/>
                  </a:lnTo>
                  <a:lnTo>
                    <a:pt x="17447" y="323"/>
                  </a:lnTo>
                  <a:lnTo>
                    <a:pt x="17449" y="328"/>
                  </a:lnTo>
                  <a:lnTo>
                    <a:pt x="17447" y="339"/>
                  </a:lnTo>
                  <a:lnTo>
                    <a:pt x="17440" y="346"/>
                  </a:lnTo>
                  <a:lnTo>
                    <a:pt x="17427" y="349"/>
                  </a:lnTo>
                  <a:lnTo>
                    <a:pt x="17222" y="349"/>
                  </a:lnTo>
                  <a:close/>
                  <a:moveTo>
                    <a:pt x="17183" y="349"/>
                  </a:moveTo>
                  <a:lnTo>
                    <a:pt x="17034" y="349"/>
                  </a:lnTo>
                  <a:lnTo>
                    <a:pt x="17034" y="440"/>
                  </a:lnTo>
                  <a:lnTo>
                    <a:pt x="17183" y="440"/>
                  </a:lnTo>
                  <a:lnTo>
                    <a:pt x="17183" y="349"/>
                  </a:lnTo>
                  <a:close/>
                  <a:moveTo>
                    <a:pt x="15662" y="1363"/>
                  </a:moveTo>
                  <a:lnTo>
                    <a:pt x="15676" y="1370"/>
                  </a:lnTo>
                  <a:lnTo>
                    <a:pt x="15687" y="1379"/>
                  </a:lnTo>
                  <a:lnTo>
                    <a:pt x="15696" y="1391"/>
                  </a:lnTo>
                  <a:lnTo>
                    <a:pt x="15704" y="1404"/>
                  </a:lnTo>
                  <a:lnTo>
                    <a:pt x="15709" y="1417"/>
                  </a:lnTo>
                  <a:lnTo>
                    <a:pt x="15713" y="1431"/>
                  </a:lnTo>
                  <a:lnTo>
                    <a:pt x="15713" y="1461"/>
                  </a:lnTo>
                  <a:lnTo>
                    <a:pt x="15709" y="1477"/>
                  </a:lnTo>
                  <a:lnTo>
                    <a:pt x="15702" y="1491"/>
                  </a:lnTo>
                  <a:lnTo>
                    <a:pt x="15693" y="1503"/>
                  </a:lnTo>
                  <a:lnTo>
                    <a:pt x="15681" y="1515"/>
                  </a:lnTo>
                  <a:lnTo>
                    <a:pt x="15668" y="1524"/>
                  </a:lnTo>
                  <a:lnTo>
                    <a:pt x="15654" y="1530"/>
                  </a:lnTo>
                  <a:lnTo>
                    <a:pt x="15640" y="1534"/>
                  </a:lnTo>
                  <a:lnTo>
                    <a:pt x="15623" y="1535"/>
                  </a:lnTo>
                  <a:lnTo>
                    <a:pt x="15605" y="1534"/>
                  </a:lnTo>
                  <a:lnTo>
                    <a:pt x="15589" y="1529"/>
                  </a:lnTo>
                  <a:lnTo>
                    <a:pt x="15573" y="1520"/>
                  </a:lnTo>
                  <a:lnTo>
                    <a:pt x="15559" y="1509"/>
                  </a:lnTo>
                  <a:lnTo>
                    <a:pt x="15549" y="1496"/>
                  </a:lnTo>
                  <a:lnTo>
                    <a:pt x="15540" y="1480"/>
                  </a:lnTo>
                  <a:lnTo>
                    <a:pt x="15535" y="1464"/>
                  </a:lnTo>
                  <a:lnTo>
                    <a:pt x="15532" y="1445"/>
                  </a:lnTo>
                  <a:lnTo>
                    <a:pt x="15535" y="1437"/>
                  </a:lnTo>
                  <a:lnTo>
                    <a:pt x="15539" y="1431"/>
                  </a:lnTo>
                  <a:lnTo>
                    <a:pt x="15545" y="1427"/>
                  </a:lnTo>
                  <a:lnTo>
                    <a:pt x="15553" y="1425"/>
                  </a:lnTo>
                  <a:lnTo>
                    <a:pt x="15560" y="1427"/>
                  </a:lnTo>
                  <a:lnTo>
                    <a:pt x="15567" y="1431"/>
                  </a:lnTo>
                  <a:lnTo>
                    <a:pt x="15571" y="1437"/>
                  </a:lnTo>
                  <a:lnTo>
                    <a:pt x="15573" y="1445"/>
                  </a:lnTo>
                  <a:lnTo>
                    <a:pt x="15573" y="1455"/>
                  </a:lnTo>
                  <a:lnTo>
                    <a:pt x="15577" y="1465"/>
                  </a:lnTo>
                  <a:lnTo>
                    <a:pt x="15581" y="1474"/>
                  </a:lnTo>
                  <a:lnTo>
                    <a:pt x="15587" y="1480"/>
                  </a:lnTo>
                  <a:lnTo>
                    <a:pt x="15595" y="1487"/>
                  </a:lnTo>
                  <a:lnTo>
                    <a:pt x="15604" y="1492"/>
                  </a:lnTo>
                  <a:lnTo>
                    <a:pt x="15623" y="1496"/>
                  </a:lnTo>
                  <a:lnTo>
                    <a:pt x="15641" y="1492"/>
                  </a:lnTo>
                  <a:lnTo>
                    <a:pt x="15655" y="1484"/>
                  </a:lnTo>
                  <a:lnTo>
                    <a:pt x="15662" y="1478"/>
                  </a:lnTo>
                  <a:lnTo>
                    <a:pt x="15667" y="1470"/>
                  </a:lnTo>
                  <a:lnTo>
                    <a:pt x="15673" y="1455"/>
                  </a:lnTo>
                  <a:lnTo>
                    <a:pt x="15675" y="1436"/>
                  </a:lnTo>
                  <a:lnTo>
                    <a:pt x="15669" y="1423"/>
                  </a:lnTo>
                  <a:lnTo>
                    <a:pt x="15662" y="1413"/>
                  </a:lnTo>
                  <a:lnTo>
                    <a:pt x="15652" y="1405"/>
                  </a:lnTo>
                  <a:lnTo>
                    <a:pt x="15631" y="1390"/>
                  </a:lnTo>
                  <a:lnTo>
                    <a:pt x="15625" y="1379"/>
                  </a:lnTo>
                  <a:lnTo>
                    <a:pt x="15622" y="1365"/>
                  </a:lnTo>
                  <a:lnTo>
                    <a:pt x="15622" y="1323"/>
                  </a:lnTo>
                  <a:lnTo>
                    <a:pt x="15623" y="1314"/>
                  </a:lnTo>
                  <a:lnTo>
                    <a:pt x="15628" y="1308"/>
                  </a:lnTo>
                  <a:lnTo>
                    <a:pt x="15635" y="1305"/>
                  </a:lnTo>
                  <a:lnTo>
                    <a:pt x="15643" y="1304"/>
                  </a:lnTo>
                  <a:lnTo>
                    <a:pt x="15649" y="1305"/>
                  </a:lnTo>
                  <a:lnTo>
                    <a:pt x="15655" y="1308"/>
                  </a:lnTo>
                  <a:lnTo>
                    <a:pt x="15660" y="1314"/>
                  </a:lnTo>
                  <a:lnTo>
                    <a:pt x="15662" y="1323"/>
                  </a:lnTo>
                  <a:lnTo>
                    <a:pt x="15662" y="1363"/>
                  </a:lnTo>
                  <a:close/>
                  <a:moveTo>
                    <a:pt x="15667" y="963"/>
                  </a:moveTo>
                  <a:lnTo>
                    <a:pt x="15667" y="1277"/>
                  </a:lnTo>
                  <a:lnTo>
                    <a:pt x="15664" y="1286"/>
                  </a:lnTo>
                  <a:lnTo>
                    <a:pt x="15660" y="1292"/>
                  </a:lnTo>
                  <a:lnTo>
                    <a:pt x="15654" y="1296"/>
                  </a:lnTo>
                  <a:lnTo>
                    <a:pt x="15646" y="1298"/>
                  </a:lnTo>
                  <a:lnTo>
                    <a:pt x="15639" y="1296"/>
                  </a:lnTo>
                  <a:lnTo>
                    <a:pt x="15632" y="1292"/>
                  </a:lnTo>
                  <a:lnTo>
                    <a:pt x="15628" y="1286"/>
                  </a:lnTo>
                  <a:lnTo>
                    <a:pt x="15627" y="1277"/>
                  </a:lnTo>
                  <a:lnTo>
                    <a:pt x="15627" y="963"/>
                  </a:lnTo>
                  <a:lnTo>
                    <a:pt x="15385" y="963"/>
                  </a:lnTo>
                  <a:lnTo>
                    <a:pt x="15385" y="1139"/>
                  </a:lnTo>
                  <a:lnTo>
                    <a:pt x="15384" y="1147"/>
                  </a:lnTo>
                  <a:lnTo>
                    <a:pt x="15378" y="1153"/>
                  </a:lnTo>
                  <a:lnTo>
                    <a:pt x="15372" y="1157"/>
                  </a:lnTo>
                  <a:lnTo>
                    <a:pt x="15366" y="1158"/>
                  </a:lnTo>
                  <a:lnTo>
                    <a:pt x="15253" y="1158"/>
                  </a:lnTo>
                  <a:lnTo>
                    <a:pt x="15253" y="1705"/>
                  </a:lnTo>
                  <a:lnTo>
                    <a:pt x="15253" y="2253"/>
                  </a:lnTo>
                  <a:lnTo>
                    <a:pt x="15250" y="2262"/>
                  </a:lnTo>
                  <a:lnTo>
                    <a:pt x="15246" y="2268"/>
                  </a:lnTo>
                  <a:lnTo>
                    <a:pt x="15240" y="2272"/>
                  </a:lnTo>
                  <a:lnTo>
                    <a:pt x="15232" y="2273"/>
                  </a:lnTo>
                  <a:lnTo>
                    <a:pt x="15225" y="2272"/>
                  </a:lnTo>
                  <a:lnTo>
                    <a:pt x="15218" y="2268"/>
                  </a:lnTo>
                  <a:lnTo>
                    <a:pt x="15214" y="2262"/>
                  </a:lnTo>
                  <a:lnTo>
                    <a:pt x="15213" y="2253"/>
                  </a:lnTo>
                  <a:lnTo>
                    <a:pt x="15213" y="1705"/>
                  </a:lnTo>
                  <a:lnTo>
                    <a:pt x="15213" y="1158"/>
                  </a:lnTo>
                  <a:lnTo>
                    <a:pt x="15141" y="1158"/>
                  </a:lnTo>
                  <a:lnTo>
                    <a:pt x="15141" y="1705"/>
                  </a:lnTo>
                  <a:lnTo>
                    <a:pt x="15141" y="2253"/>
                  </a:lnTo>
                  <a:lnTo>
                    <a:pt x="15140" y="2262"/>
                  </a:lnTo>
                  <a:lnTo>
                    <a:pt x="15135" y="2268"/>
                  </a:lnTo>
                  <a:lnTo>
                    <a:pt x="15128" y="2272"/>
                  </a:lnTo>
                  <a:lnTo>
                    <a:pt x="15122" y="2273"/>
                  </a:lnTo>
                  <a:lnTo>
                    <a:pt x="15114" y="2272"/>
                  </a:lnTo>
                  <a:lnTo>
                    <a:pt x="15108" y="2268"/>
                  </a:lnTo>
                  <a:lnTo>
                    <a:pt x="15103" y="2262"/>
                  </a:lnTo>
                  <a:lnTo>
                    <a:pt x="15101" y="2253"/>
                  </a:lnTo>
                  <a:lnTo>
                    <a:pt x="15101" y="1695"/>
                  </a:lnTo>
                  <a:lnTo>
                    <a:pt x="15101" y="1139"/>
                  </a:lnTo>
                  <a:lnTo>
                    <a:pt x="15101" y="1047"/>
                  </a:lnTo>
                  <a:lnTo>
                    <a:pt x="15101" y="963"/>
                  </a:lnTo>
                  <a:lnTo>
                    <a:pt x="14931" y="963"/>
                  </a:lnTo>
                  <a:lnTo>
                    <a:pt x="14918" y="960"/>
                  </a:lnTo>
                  <a:lnTo>
                    <a:pt x="14913" y="956"/>
                  </a:lnTo>
                  <a:lnTo>
                    <a:pt x="14910" y="952"/>
                  </a:lnTo>
                  <a:lnTo>
                    <a:pt x="14909" y="947"/>
                  </a:lnTo>
                  <a:lnTo>
                    <a:pt x="14909" y="942"/>
                  </a:lnTo>
                  <a:lnTo>
                    <a:pt x="14914" y="931"/>
                  </a:lnTo>
                  <a:lnTo>
                    <a:pt x="15105" y="680"/>
                  </a:lnTo>
                  <a:lnTo>
                    <a:pt x="15116" y="675"/>
                  </a:lnTo>
                  <a:lnTo>
                    <a:pt x="15127" y="674"/>
                  </a:lnTo>
                  <a:lnTo>
                    <a:pt x="15907" y="924"/>
                  </a:lnTo>
                  <a:lnTo>
                    <a:pt x="15920" y="933"/>
                  </a:lnTo>
                  <a:lnTo>
                    <a:pt x="15922" y="940"/>
                  </a:lnTo>
                  <a:lnTo>
                    <a:pt x="15923" y="946"/>
                  </a:lnTo>
                  <a:lnTo>
                    <a:pt x="15921" y="952"/>
                  </a:lnTo>
                  <a:lnTo>
                    <a:pt x="15916" y="957"/>
                  </a:lnTo>
                  <a:lnTo>
                    <a:pt x="15909" y="961"/>
                  </a:lnTo>
                  <a:lnTo>
                    <a:pt x="15900" y="963"/>
                  </a:lnTo>
                  <a:lnTo>
                    <a:pt x="15667" y="963"/>
                  </a:lnTo>
                  <a:close/>
                  <a:moveTo>
                    <a:pt x="15167" y="727"/>
                  </a:moveTo>
                  <a:lnTo>
                    <a:pt x="15240" y="828"/>
                  </a:lnTo>
                  <a:lnTo>
                    <a:pt x="15244" y="840"/>
                  </a:lnTo>
                  <a:lnTo>
                    <a:pt x="15244" y="923"/>
                  </a:lnTo>
                  <a:lnTo>
                    <a:pt x="15276" y="923"/>
                  </a:lnTo>
                  <a:lnTo>
                    <a:pt x="15366" y="923"/>
                  </a:lnTo>
                  <a:lnTo>
                    <a:pt x="15773" y="923"/>
                  </a:lnTo>
                  <a:lnTo>
                    <a:pt x="15167" y="727"/>
                  </a:lnTo>
                  <a:close/>
                  <a:moveTo>
                    <a:pt x="15203" y="923"/>
                  </a:moveTo>
                  <a:lnTo>
                    <a:pt x="15203" y="846"/>
                  </a:lnTo>
                  <a:lnTo>
                    <a:pt x="15141" y="762"/>
                  </a:lnTo>
                  <a:lnTo>
                    <a:pt x="15141" y="923"/>
                  </a:lnTo>
                  <a:lnTo>
                    <a:pt x="15203" y="923"/>
                  </a:lnTo>
                  <a:close/>
                  <a:moveTo>
                    <a:pt x="15101" y="752"/>
                  </a:moveTo>
                  <a:lnTo>
                    <a:pt x="14971" y="923"/>
                  </a:lnTo>
                  <a:lnTo>
                    <a:pt x="15101" y="923"/>
                  </a:lnTo>
                  <a:lnTo>
                    <a:pt x="15101" y="752"/>
                  </a:lnTo>
                  <a:close/>
                  <a:moveTo>
                    <a:pt x="15296" y="963"/>
                  </a:moveTo>
                  <a:lnTo>
                    <a:pt x="15296" y="1047"/>
                  </a:lnTo>
                  <a:lnTo>
                    <a:pt x="15295" y="1055"/>
                  </a:lnTo>
                  <a:lnTo>
                    <a:pt x="15290" y="1061"/>
                  </a:lnTo>
                  <a:lnTo>
                    <a:pt x="15283" y="1065"/>
                  </a:lnTo>
                  <a:lnTo>
                    <a:pt x="15276" y="1066"/>
                  </a:lnTo>
                  <a:lnTo>
                    <a:pt x="15141" y="1066"/>
                  </a:lnTo>
                  <a:lnTo>
                    <a:pt x="15141" y="1119"/>
                  </a:lnTo>
                  <a:lnTo>
                    <a:pt x="15232" y="1119"/>
                  </a:lnTo>
                  <a:lnTo>
                    <a:pt x="15345" y="1119"/>
                  </a:lnTo>
                  <a:lnTo>
                    <a:pt x="15345" y="963"/>
                  </a:lnTo>
                  <a:lnTo>
                    <a:pt x="15296" y="963"/>
                  </a:lnTo>
                  <a:close/>
                  <a:moveTo>
                    <a:pt x="15257" y="963"/>
                  </a:moveTo>
                  <a:lnTo>
                    <a:pt x="15141" y="963"/>
                  </a:lnTo>
                  <a:lnTo>
                    <a:pt x="15141" y="1027"/>
                  </a:lnTo>
                  <a:lnTo>
                    <a:pt x="15257" y="1027"/>
                  </a:lnTo>
                  <a:lnTo>
                    <a:pt x="15257" y="963"/>
                  </a:lnTo>
                  <a:close/>
                  <a:moveTo>
                    <a:pt x="12486" y="3681"/>
                  </a:moveTo>
                  <a:lnTo>
                    <a:pt x="12486" y="3792"/>
                  </a:lnTo>
                  <a:lnTo>
                    <a:pt x="12484" y="3800"/>
                  </a:lnTo>
                  <a:lnTo>
                    <a:pt x="12482" y="3805"/>
                  </a:lnTo>
                  <a:lnTo>
                    <a:pt x="12523" y="3838"/>
                  </a:lnTo>
                  <a:lnTo>
                    <a:pt x="12559" y="3875"/>
                  </a:lnTo>
                  <a:lnTo>
                    <a:pt x="12592" y="3918"/>
                  </a:lnTo>
                  <a:lnTo>
                    <a:pt x="12606" y="3939"/>
                  </a:lnTo>
                  <a:lnTo>
                    <a:pt x="12619" y="3962"/>
                  </a:lnTo>
                  <a:lnTo>
                    <a:pt x="12641" y="4011"/>
                  </a:lnTo>
                  <a:lnTo>
                    <a:pt x="12657" y="4062"/>
                  </a:lnTo>
                  <a:lnTo>
                    <a:pt x="12666" y="4116"/>
                  </a:lnTo>
                  <a:lnTo>
                    <a:pt x="12670" y="4171"/>
                  </a:lnTo>
                  <a:lnTo>
                    <a:pt x="12666" y="4226"/>
                  </a:lnTo>
                  <a:lnTo>
                    <a:pt x="12661" y="4265"/>
                  </a:lnTo>
                  <a:lnTo>
                    <a:pt x="12654" y="4304"/>
                  </a:lnTo>
                  <a:lnTo>
                    <a:pt x="13197" y="4304"/>
                  </a:lnTo>
                  <a:lnTo>
                    <a:pt x="13741" y="4304"/>
                  </a:lnTo>
                  <a:lnTo>
                    <a:pt x="13741" y="3764"/>
                  </a:lnTo>
                  <a:lnTo>
                    <a:pt x="13741" y="3225"/>
                  </a:lnTo>
                  <a:lnTo>
                    <a:pt x="13183" y="3225"/>
                  </a:lnTo>
                  <a:lnTo>
                    <a:pt x="12625" y="3225"/>
                  </a:lnTo>
                  <a:lnTo>
                    <a:pt x="12616" y="3222"/>
                  </a:lnTo>
                  <a:lnTo>
                    <a:pt x="12610" y="3218"/>
                  </a:lnTo>
                  <a:lnTo>
                    <a:pt x="12606" y="3212"/>
                  </a:lnTo>
                  <a:lnTo>
                    <a:pt x="12606" y="3204"/>
                  </a:lnTo>
                  <a:lnTo>
                    <a:pt x="12606" y="3196"/>
                  </a:lnTo>
                  <a:lnTo>
                    <a:pt x="12610" y="3190"/>
                  </a:lnTo>
                  <a:lnTo>
                    <a:pt x="12616" y="3186"/>
                  </a:lnTo>
                  <a:lnTo>
                    <a:pt x="12625" y="3184"/>
                  </a:lnTo>
                  <a:lnTo>
                    <a:pt x="12793" y="3184"/>
                  </a:lnTo>
                  <a:lnTo>
                    <a:pt x="12793" y="3031"/>
                  </a:lnTo>
                  <a:lnTo>
                    <a:pt x="12353" y="3031"/>
                  </a:lnTo>
                  <a:lnTo>
                    <a:pt x="12353" y="3184"/>
                  </a:lnTo>
                  <a:lnTo>
                    <a:pt x="12493" y="3184"/>
                  </a:lnTo>
                  <a:lnTo>
                    <a:pt x="12502" y="3186"/>
                  </a:lnTo>
                  <a:lnTo>
                    <a:pt x="12509" y="3190"/>
                  </a:lnTo>
                  <a:lnTo>
                    <a:pt x="12512" y="3196"/>
                  </a:lnTo>
                  <a:lnTo>
                    <a:pt x="12514" y="3204"/>
                  </a:lnTo>
                  <a:lnTo>
                    <a:pt x="12512" y="3212"/>
                  </a:lnTo>
                  <a:lnTo>
                    <a:pt x="12509" y="3218"/>
                  </a:lnTo>
                  <a:lnTo>
                    <a:pt x="12502" y="3222"/>
                  </a:lnTo>
                  <a:lnTo>
                    <a:pt x="12493" y="3225"/>
                  </a:lnTo>
                  <a:lnTo>
                    <a:pt x="12236" y="3225"/>
                  </a:lnTo>
                  <a:lnTo>
                    <a:pt x="12236" y="3670"/>
                  </a:lnTo>
                  <a:lnTo>
                    <a:pt x="12233" y="3679"/>
                  </a:lnTo>
                  <a:lnTo>
                    <a:pt x="12229" y="3685"/>
                  </a:lnTo>
                  <a:lnTo>
                    <a:pt x="12223" y="3689"/>
                  </a:lnTo>
                  <a:lnTo>
                    <a:pt x="12215" y="3690"/>
                  </a:lnTo>
                  <a:lnTo>
                    <a:pt x="12207" y="3689"/>
                  </a:lnTo>
                  <a:lnTo>
                    <a:pt x="12201" y="3685"/>
                  </a:lnTo>
                  <a:lnTo>
                    <a:pt x="12197" y="3679"/>
                  </a:lnTo>
                  <a:lnTo>
                    <a:pt x="12194" y="3670"/>
                  </a:lnTo>
                  <a:lnTo>
                    <a:pt x="12194" y="3204"/>
                  </a:lnTo>
                  <a:lnTo>
                    <a:pt x="12197" y="3196"/>
                  </a:lnTo>
                  <a:lnTo>
                    <a:pt x="12201" y="3190"/>
                  </a:lnTo>
                  <a:lnTo>
                    <a:pt x="12207" y="3186"/>
                  </a:lnTo>
                  <a:lnTo>
                    <a:pt x="12215" y="3184"/>
                  </a:lnTo>
                  <a:lnTo>
                    <a:pt x="12314" y="3184"/>
                  </a:lnTo>
                  <a:lnTo>
                    <a:pt x="12314" y="3011"/>
                  </a:lnTo>
                  <a:lnTo>
                    <a:pt x="12315" y="3003"/>
                  </a:lnTo>
                  <a:lnTo>
                    <a:pt x="12319" y="2997"/>
                  </a:lnTo>
                  <a:lnTo>
                    <a:pt x="12325" y="2993"/>
                  </a:lnTo>
                  <a:lnTo>
                    <a:pt x="12333" y="2991"/>
                  </a:lnTo>
                  <a:lnTo>
                    <a:pt x="12814" y="2991"/>
                  </a:lnTo>
                  <a:lnTo>
                    <a:pt x="12822" y="2993"/>
                  </a:lnTo>
                  <a:lnTo>
                    <a:pt x="12828" y="2997"/>
                  </a:lnTo>
                  <a:lnTo>
                    <a:pt x="12832" y="3003"/>
                  </a:lnTo>
                  <a:lnTo>
                    <a:pt x="12833" y="3011"/>
                  </a:lnTo>
                  <a:lnTo>
                    <a:pt x="12833" y="3184"/>
                  </a:lnTo>
                  <a:lnTo>
                    <a:pt x="13761" y="3184"/>
                  </a:lnTo>
                  <a:lnTo>
                    <a:pt x="13769" y="3186"/>
                  </a:lnTo>
                  <a:lnTo>
                    <a:pt x="13776" y="3190"/>
                  </a:lnTo>
                  <a:lnTo>
                    <a:pt x="13779" y="3196"/>
                  </a:lnTo>
                  <a:lnTo>
                    <a:pt x="13782" y="3204"/>
                  </a:lnTo>
                  <a:lnTo>
                    <a:pt x="13782" y="3764"/>
                  </a:lnTo>
                  <a:lnTo>
                    <a:pt x="13782" y="4324"/>
                  </a:lnTo>
                  <a:lnTo>
                    <a:pt x="13779" y="4332"/>
                  </a:lnTo>
                  <a:lnTo>
                    <a:pt x="13776" y="4338"/>
                  </a:lnTo>
                  <a:lnTo>
                    <a:pt x="13769" y="4342"/>
                  </a:lnTo>
                  <a:lnTo>
                    <a:pt x="13761" y="4343"/>
                  </a:lnTo>
                  <a:lnTo>
                    <a:pt x="13197" y="4343"/>
                  </a:lnTo>
                  <a:lnTo>
                    <a:pt x="12633" y="4343"/>
                  </a:lnTo>
                  <a:lnTo>
                    <a:pt x="12628" y="4347"/>
                  </a:lnTo>
                  <a:lnTo>
                    <a:pt x="12621" y="4349"/>
                  </a:lnTo>
                  <a:lnTo>
                    <a:pt x="12016" y="4349"/>
                  </a:lnTo>
                  <a:lnTo>
                    <a:pt x="11412" y="4349"/>
                  </a:lnTo>
                  <a:lnTo>
                    <a:pt x="11403" y="4346"/>
                  </a:lnTo>
                  <a:lnTo>
                    <a:pt x="11397" y="4341"/>
                  </a:lnTo>
                  <a:lnTo>
                    <a:pt x="11388" y="4334"/>
                  </a:lnTo>
                  <a:lnTo>
                    <a:pt x="11385" y="4329"/>
                  </a:lnTo>
                  <a:lnTo>
                    <a:pt x="11385" y="4323"/>
                  </a:lnTo>
                  <a:lnTo>
                    <a:pt x="11385" y="3936"/>
                  </a:lnTo>
                  <a:lnTo>
                    <a:pt x="11346" y="3930"/>
                  </a:lnTo>
                  <a:lnTo>
                    <a:pt x="11307" y="3924"/>
                  </a:lnTo>
                  <a:lnTo>
                    <a:pt x="11271" y="3913"/>
                  </a:lnTo>
                  <a:lnTo>
                    <a:pt x="11235" y="3898"/>
                  </a:lnTo>
                  <a:lnTo>
                    <a:pt x="11202" y="3881"/>
                  </a:lnTo>
                  <a:lnTo>
                    <a:pt x="11171" y="3860"/>
                  </a:lnTo>
                  <a:lnTo>
                    <a:pt x="11142" y="3837"/>
                  </a:lnTo>
                  <a:lnTo>
                    <a:pt x="11115" y="3811"/>
                  </a:lnTo>
                  <a:lnTo>
                    <a:pt x="11090" y="3783"/>
                  </a:lnTo>
                  <a:lnTo>
                    <a:pt x="11069" y="3753"/>
                  </a:lnTo>
                  <a:lnTo>
                    <a:pt x="11049" y="3721"/>
                  </a:lnTo>
                  <a:lnTo>
                    <a:pt x="11034" y="3686"/>
                  </a:lnTo>
                  <a:lnTo>
                    <a:pt x="11021" y="3650"/>
                  </a:lnTo>
                  <a:lnTo>
                    <a:pt x="11011" y="3613"/>
                  </a:lnTo>
                  <a:lnTo>
                    <a:pt x="11006" y="3575"/>
                  </a:lnTo>
                  <a:lnTo>
                    <a:pt x="11005" y="3535"/>
                  </a:lnTo>
                  <a:lnTo>
                    <a:pt x="11006" y="3494"/>
                  </a:lnTo>
                  <a:lnTo>
                    <a:pt x="11012" y="3453"/>
                  </a:lnTo>
                  <a:lnTo>
                    <a:pt x="11022" y="3415"/>
                  </a:lnTo>
                  <a:lnTo>
                    <a:pt x="11035" y="3379"/>
                  </a:lnTo>
                  <a:lnTo>
                    <a:pt x="11052" y="3343"/>
                  </a:lnTo>
                  <a:lnTo>
                    <a:pt x="11072" y="3310"/>
                  </a:lnTo>
                  <a:lnTo>
                    <a:pt x="11096" y="3280"/>
                  </a:lnTo>
                  <a:lnTo>
                    <a:pt x="11121" y="3251"/>
                  </a:lnTo>
                  <a:lnTo>
                    <a:pt x="11151" y="3226"/>
                  </a:lnTo>
                  <a:lnTo>
                    <a:pt x="11181" y="3203"/>
                  </a:lnTo>
                  <a:lnTo>
                    <a:pt x="11214" y="3182"/>
                  </a:lnTo>
                  <a:lnTo>
                    <a:pt x="11249" y="3166"/>
                  </a:lnTo>
                  <a:lnTo>
                    <a:pt x="11287" y="3152"/>
                  </a:lnTo>
                  <a:lnTo>
                    <a:pt x="11325" y="3143"/>
                  </a:lnTo>
                  <a:lnTo>
                    <a:pt x="11365" y="3136"/>
                  </a:lnTo>
                  <a:lnTo>
                    <a:pt x="11406" y="3134"/>
                  </a:lnTo>
                  <a:lnTo>
                    <a:pt x="11447" y="3136"/>
                  </a:lnTo>
                  <a:lnTo>
                    <a:pt x="11487" y="3143"/>
                  </a:lnTo>
                  <a:lnTo>
                    <a:pt x="11525" y="3152"/>
                  </a:lnTo>
                  <a:lnTo>
                    <a:pt x="11562" y="3166"/>
                  </a:lnTo>
                  <a:lnTo>
                    <a:pt x="11597" y="3182"/>
                  </a:lnTo>
                  <a:lnTo>
                    <a:pt x="11630" y="3203"/>
                  </a:lnTo>
                  <a:lnTo>
                    <a:pt x="11661" y="3226"/>
                  </a:lnTo>
                  <a:lnTo>
                    <a:pt x="11689" y="3251"/>
                  </a:lnTo>
                  <a:lnTo>
                    <a:pt x="11716" y="3280"/>
                  </a:lnTo>
                  <a:lnTo>
                    <a:pt x="11739" y="3310"/>
                  </a:lnTo>
                  <a:lnTo>
                    <a:pt x="11759" y="3343"/>
                  </a:lnTo>
                  <a:lnTo>
                    <a:pt x="11775" y="3379"/>
                  </a:lnTo>
                  <a:lnTo>
                    <a:pt x="11789" y="3415"/>
                  </a:lnTo>
                  <a:lnTo>
                    <a:pt x="11800" y="3453"/>
                  </a:lnTo>
                  <a:lnTo>
                    <a:pt x="11805" y="3494"/>
                  </a:lnTo>
                  <a:lnTo>
                    <a:pt x="11807" y="3535"/>
                  </a:lnTo>
                  <a:lnTo>
                    <a:pt x="11806" y="3575"/>
                  </a:lnTo>
                  <a:lnTo>
                    <a:pt x="11800" y="3613"/>
                  </a:lnTo>
                  <a:lnTo>
                    <a:pt x="11791" y="3650"/>
                  </a:lnTo>
                  <a:lnTo>
                    <a:pt x="11778" y="3686"/>
                  </a:lnTo>
                  <a:lnTo>
                    <a:pt x="11761" y="3721"/>
                  </a:lnTo>
                  <a:lnTo>
                    <a:pt x="11743" y="3753"/>
                  </a:lnTo>
                  <a:lnTo>
                    <a:pt x="11720" y="3783"/>
                  </a:lnTo>
                  <a:lnTo>
                    <a:pt x="11696" y="3811"/>
                  </a:lnTo>
                  <a:lnTo>
                    <a:pt x="11669" y="3837"/>
                  </a:lnTo>
                  <a:lnTo>
                    <a:pt x="11639" y="3860"/>
                  </a:lnTo>
                  <a:lnTo>
                    <a:pt x="11608" y="3881"/>
                  </a:lnTo>
                  <a:lnTo>
                    <a:pt x="11575" y="3898"/>
                  </a:lnTo>
                  <a:lnTo>
                    <a:pt x="11539" y="3913"/>
                  </a:lnTo>
                  <a:lnTo>
                    <a:pt x="11502" y="3924"/>
                  </a:lnTo>
                  <a:lnTo>
                    <a:pt x="11465" y="3932"/>
                  </a:lnTo>
                  <a:lnTo>
                    <a:pt x="11425" y="3936"/>
                  </a:lnTo>
                  <a:lnTo>
                    <a:pt x="11425" y="4205"/>
                  </a:lnTo>
                  <a:lnTo>
                    <a:pt x="11443" y="4178"/>
                  </a:lnTo>
                  <a:lnTo>
                    <a:pt x="11464" y="4153"/>
                  </a:lnTo>
                  <a:lnTo>
                    <a:pt x="11488" y="4130"/>
                  </a:lnTo>
                  <a:lnTo>
                    <a:pt x="11516" y="4108"/>
                  </a:lnTo>
                  <a:lnTo>
                    <a:pt x="11549" y="4090"/>
                  </a:lnTo>
                  <a:lnTo>
                    <a:pt x="11585" y="4076"/>
                  </a:lnTo>
                  <a:lnTo>
                    <a:pt x="11625" y="4067"/>
                  </a:lnTo>
                  <a:lnTo>
                    <a:pt x="11646" y="4065"/>
                  </a:lnTo>
                  <a:lnTo>
                    <a:pt x="11669" y="4065"/>
                  </a:lnTo>
                  <a:lnTo>
                    <a:pt x="11685" y="4066"/>
                  </a:lnTo>
                  <a:lnTo>
                    <a:pt x="11702" y="4069"/>
                  </a:lnTo>
                  <a:lnTo>
                    <a:pt x="11719" y="4074"/>
                  </a:lnTo>
                  <a:lnTo>
                    <a:pt x="11734" y="4080"/>
                  </a:lnTo>
                  <a:lnTo>
                    <a:pt x="11766" y="4092"/>
                  </a:lnTo>
                  <a:lnTo>
                    <a:pt x="11783" y="4095"/>
                  </a:lnTo>
                  <a:lnTo>
                    <a:pt x="11800" y="4097"/>
                  </a:lnTo>
                  <a:lnTo>
                    <a:pt x="11814" y="4095"/>
                  </a:lnTo>
                  <a:lnTo>
                    <a:pt x="11825" y="4090"/>
                  </a:lnTo>
                  <a:lnTo>
                    <a:pt x="11837" y="4084"/>
                  </a:lnTo>
                  <a:lnTo>
                    <a:pt x="11847" y="4076"/>
                  </a:lnTo>
                  <a:lnTo>
                    <a:pt x="11847" y="3213"/>
                  </a:lnTo>
                  <a:lnTo>
                    <a:pt x="11833" y="3208"/>
                  </a:lnTo>
                  <a:lnTo>
                    <a:pt x="11820" y="3199"/>
                  </a:lnTo>
                  <a:lnTo>
                    <a:pt x="11796" y="3182"/>
                  </a:lnTo>
                  <a:lnTo>
                    <a:pt x="11784" y="3173"/>
                  </a:lnTo>
                  <a:lnTo>
                    <a:pt x="11771" y="3167"/>
                  </a:lnTo>
                  <a:lnTo>
                    <a:pt x="11757" y="3163"/>
                  </a:lnTo>
                  <a:lnTo>
                    <a:pt x="11742" y="3163"/>
                  </a:lnTo>
                  <a:lnTo>
                    <a:pt x="11696" y="3170"/>
                  </a:lnTo>
                  <a:lnTo>
                    <a:pt x="11678" y="3172"/>
                  </a:lnTo>
                  <a:lnTo>
                    <a:pt x="11661" y="3171"/>
                  </a:lnTo>
                  <a:lnTo>
                    <a:pt x="11646" y="3166"/>
                  </a:lnTo>
                  <a:lnTo>
                    <a:pt x="11632" y="3156"/>
                  </a:lnTo>
                  <a:lnTo>
                    <a:pt x="11624" y="3148"/>
                  </a:lnTo>
                  <a:lnTo>
                    <a:pt x="11617" y="3139"/>
                  </a:lnTo>
                  <a:lnTo>
                    <a:pt x="11602" y="3115"/>
                  </a:lnTo>
                  <a:lnTo>
                    <a:pt x="11591" y="3093"/>
                  </a:lnTo>
                  <a:lnTo>
                    <a:pt x="11580" y="3079"/>
                  </a:lnTo>
                  <a:lnTo>
                    <a:pt x="11570" y="3070"/>
                  </a:lnTo>
                  <a:lnTo>
                    <a:pt x="11561" y="3065"/>
                  </a:lnTo>
                  <a:lnTo>
                    <a:pt x="11537" y="3060"/>
                  </a:lnTo>
                  <a:lnTo>
                    <a:pt x="11520" y="3055"/>
                  </a:lnTo>
                  <a:lnTo>
                    <a:pt x="11498" y="3047"/>
                  </a:lnTo>
                  <a:lnTo>
                    <a:pt x="11475" y="3033"/>
                  </a:lnTo>
                  <a:lnTo>
                    <a:pt x="11467" y="3024"/>
                  </a:lnTo>
                  <a:lnTo>
                    <a:pt x="11462" y="3015"/>
                  </a:lnTo>
                  <a:lnTo>
                    <a:pt x="11456" y="2996"/>
                  </a:lnTo>
                  <a:lnTo>
                    <a:pt x="11453" y="2974"/>
                  </a:lnTo>
                  <a:lnTo>
                    <a:pt x="11453" y="2953"/>
                  </a:lnTo>
                  <a:lnTo>
                    <a:pt x="11451" y="2933"/>
                  </a:lnTo>
                  <a:lnTo>
                    <a:pt x="11446" y="2913"/>
                  </a:lnTo>
                  <a:lnTo>
                    <a:pt x="11440" y="2904"/>
                  </a:lnTo>
                  <a:lnTo>
                    <a:pt x="11434" y="2896"/>
                  </a:lnTo>
                  <a:lnTo>
                    <a:pt x="11399" y="2864"/>
                  </a:lnTo>
                  <a:lnTo>
                    <a:pt x="11387" y="2851"/>
                  </a:lnTo>
                  <a:lnTo>
                    <a:pt x="11376" y="2837"/>
                  </a:lnTo>
                  <a:lnTo>
                    <a:pt x="11371" y="2823"/>
                  </a:lnTo>
                  <a:lnTo>
                    <a:pt x="11370" y="2805"/>
                  </a:lnTo>
                  <a:lnTo>
                    <a:pt x="11375" y="2783"/>
                  </a:lnTo>
                  <a:lnTo>
                    <a:pt x="11384" y="2757"/>
                  </a:lnTo>
                  <a:lnTo>
                    <a:pt x="11394" y="2734"/>
                  </a:lnTo>
                  <a:lnTo>
                    <a:pt x="11398" y="2722"/>
                  </a:lnTo>
                  <a:lnTo>
                    <a:pt x="11401" y="2711"/>
                  </a:lnTo>
                  <a:lnTo>
                    <a:pt x="11397" y="2689"/>
                  </a:lnTo>
                  <a:lnTo>
                    <a:pt x="11389" y="2670"/>
                  </a:lnTo>
                  <a:lnTo>
                    <a:pt x="11380" y="2650"/>
                  </a:lnTo>
                  <a:lnTo>
                    <a:pt x="11373" y="2633"/>
                  </a:lnTo>
                  <a:lnTo>
                    <a:pt x="11369" y="2613"/>
                  </a:lnTo>
                  <a:lnTo>
                    <a:pt x="11373" y="2593"/>
                  </a:lnTo>
                  <a:lnTo>
                    <a:pt x="11378" y="2581"/>
                  </a:lnTo>
                  <a:lnTo>
                    <a:pt x="11387" y="2570"/>
                  </a:lnTo>
                  <a:lnTo>
                    <a:pt x="11412" y="2543"/>
                  </a:lnTo>
                  <a:lnTo>
                    <a:pt x="11430" y="2526"/>
                  </a:lnTo>
                  <a:lnTo>
                    <a:pt x="11442" y="2512"/>
                  </a:lnTo>
                  <a:lnTo>
                    <a:pt x="11448" y="2502"/>
                  </a:lnTo>
                  <a:lnTo>
                    <a:pt x="11451" y="2492"/>
                  </a:lnTo>
                  <a:lnTo>
                    <a:pt x="11452" y="2466"/>
                  </a:lnTo>
                  <a:lnTo>
                    <a:pt x="11456" y="2427"/>
                  </a:lnTo>
                  <a:lnTo>
                    <a:pt x="11460" y="2413"/>
                  </a:lnTo>
                  <a:lnTo>
                    <a:pt x="11465" y="2401"/>
                  </a:lnTo>
                  <a:lnTo>
                    <a:pt x="11471" y="2392"/>
                  </a:lnTo>
                  <a:lnTo>
                    <a:pt x="11479" y="2384"/>
                  </a:lnTo>
                  <a:lnTo>
                    <a:pt x="11497" y="2374"/>
                  </a:lnTo>
                  <a:lnTo>
                    <a:pt x="11516" y="2368"/>
                  </a:lnTo>
                  <a:lnTo>
                    <a:pt x="11537" y="2363"/>
                  </a:lnTo>
                  <a:lnTo>
                    <a:pt x="11557" y="2356"/>
                  </a:lnTo>
                  <a:lnTo>
                    <a:pt x="11566" y="2351"/>
                  </a:lnTo>
                  <a:lnTo>
                    <a:pt x="11575" y="2346"/>
                  </a:lnTo>
                  <a:lnTo>
                    <a:pt x="11582" y="2340"/>
                  </a:lnTo>
                  <a:lnTo>
                    <a:pt x="11589" y="2331"/>
                  </a:lnTo>
                  <a:lnTo>
                    <a:pt x="11612" y="2291"/>
                  </a:lnTo>
                  <a:lnTo>
                    <a:pt x="11623" y="2275"/>
                  </a:lnTo>
                  <a:lnTo>
                    <a:pt x="11633" y="2263"/>
                  </a:lnTo>
                  <a:lnTo>
                    <a:pt x="11647" y="2254"/>
                  </a:lnTo>
                  <a:lnTo>
                    <a:pt x="11664" y="2249"/>
                  </a:lnTo>
                  <a:lnTo>
                    <a:pt x="11685" y="2248"/>
                  </a:lnTo>
                  <a:lnTo>
                    <a:pt x="11714" y="2251"/>
                  </a:lnTo>
                  <a:lnTo>
                    <a:pt x="11743" y="2257"/>
                  </a:lnTo>
                  <a:lnTo>
                    <a:pt x="11762" y="2257"/>
                  </a:lnTo>
                  <a:lnTo>
                    <a:pt x="11780" y="2249"/>
                  </a:lnTo>
                  <a:lnTo>
                    <a:pt x="11805" y="2231"/>
                  </a:lnTo>
                  <a:lnTo>
                    <a:pt x="11832" y="2213"/>
                  </a:lnTo>
                  <a:lnTo>
                    <a:pt x="11848" y="2207"/>
                  </a:lnTo>
                  <a:lnTo>
                    <a:pt x="11866" y="2204"/>
                  </a:lnTo>
                  <a:lnTo>
                    <a:pt x="11885" y="2207"/>
                  </a:lnTo>
                  <a:lnTo>
                    <a:pt x="11901" y="2213"/>
                  </a:lnTo>
                  <a:lnTo>
                    <a:pt x="11916" y="2222"/>
                  </a:lnTo>
                  <a:lnTo>
                    <a:pt x="11930" y="2232"/>
                  </a:lnTo>
                  <a:lnTo>
                    <a:pt x="11943" y="2243"/>
                  </a:lnTo>
                  <a:lnTo>
                    <a:pt x="11959" y="2251"/>
                  </a:lnTo>
                  <a:lnTo>
                    <a:pt x="11974" y="2257"/>
                  </a:lnTo>
                  <a:lnTo>
                    <a:pt x="11992" y="2257"/>
                  </a:lnTo>
                  <a:lnTo>
                    <a:pt x="12037" y="2250"/>
                  </a:lnTo>
                  <a:lnTo>
                    <a:pt x="12056" y="2248"/>
                  </a:lnTo>
                  <a:lnTo>
                    <a:pt x="12073" y="2249"/>
                  </a:lnTo>
                  <a:lnTo>
                    <a:pt x="12088" y="2254"/>
                  </a:lnTo>
                  <a:lnTo>
                    <a:pt x="12102" y="2264"/>
                  </a:lnTo>
                  <a:lnTo>
                    <a:pt x="12109" y="2272"/>
                  </a:lnTo>
                  <a:lnTo>
                    <a:pt x="12116" y="2281"/>
                  </a:lnTo>
                  <a:lnTo>
                    <a:pt x="12130" y="2305"/>
                  </a:lnTo>
                  <a:lnTo>
                    <a:pt x="12143" y="2327"/>
                  </a:lnTo>
                  <a:lnTo>
                    <a:pt x="12153" y="2341"/>
                  </a:lnTo>
                  <a:lnTo>
                    <a:pt x="12162" y="2350"/>
                  </a:lnTo>
                  <a:lnTo>
                    <a:pt x="12173" y="2355"/>
                  </a:lnTo>
                  <a:lnTo>
                    <a:pt x="12197" y="2360"/>
                  </a:lnTo>
                  <a:lnTo>
                    <a:pt x="12214" y="2365"/>
                  </a:lnTo>
                  <a:lnTo>
                    <a:pt x="12234" y="2373"/>
                  </a:lnTo>
                  <a:lnTo>
                    <a:pt x="12257" y="2388"/>
                  </a:lnTo>
                  <a:lnTo>
                    <a:pt x="12265" y="2396"/>
                  </a:lnTo>
                  <a:lnTo>
                    <a:pt x="12271" y="2405"/>
                  </a:lnTo>
                  <a:lnTo>
                    <a:pt x="12278" y="2425"/>
                  </a:lnTo>
                  <a:lnTo>
                    <a:pt x="12279" y="2446"/>
                  </a:lnTo>
                  <a:lnTo>
                    <a:pt x="12280" y="2466"/>
                  </a:lnTo>
                  <a:lnTo>
                    <a:pt x="12282" y="2488"/>
                  </a:lnTo>
                  <a:lnTo>
                    <a:pt x="12287" y="2507"/>
                  </a:lnTo>
                  <a:lnTo>
                    <a:pt x="12292" y="2516"/>
                  </a:lnTo>
                  <a:lnTo>
                    <a:pt x="12300" y="2524"/>
                  </a:lnTo>
                  <a:lnTo>
                    <a:pt x="12333" y="2556"/>
                  </a:lnTo>
                  <a:lnTo>
                    <a:pt x="12347" y="2569"/>
                  </a:lnTo>
                  <a:lnTo>
                    <a:pt x="12356" y="2583"/>
                  </a:lnTo>
                  <a:lnTo>
                    <a:pt x="12361" y="2598"/>
                  </a:lnTo>
                  <a:lnTo>
                    <a:pt x="12362" y="2615"/>
                  </a:lnTo>
                  <a:lnTo>
                    <a:pt x="12359" y="2636"/>
                  </a:lnTo>
                  <a:lnTo>
                    <a:pt x="12348" y="2663"/>
                  </a:lnTo>
                  <a:lnTo>
                    <a:pt x="12337" y="2690"/>
                  </a:lnTo>
                  <a:lnTo>
                    <a:pt x="12333" y="2711"/>
                  </a:lnTo>
                  <a:lnTo>
                    <a:pt x="12336" y="2731"/>
                  </a:lnTo>
                  <a:lnTo>
                    <a:pt x="12343" y="2750"/>
                  </a:lnTo>
                  <a:lnTo>
                    <a:pt x="12352" y="2769"/>
                  </a:lnTo>
                  <a:lnTo>
                    <a:pt x="12360" y="2787"/>
                  </a:lnTo>
                  <a:lnTo>
                    <a:pt x="12364" y="2806"/>
                  </a:lnTo>
                  <a:lnTo>
                    <a:pt x="12360" y="2828"/>
                  </a:lnTo>
                  <a:lnTo>
                    <a:pt x="12355" y="2838"/>
                  </a:lnTo>
                  <a:lnTo>
                    <a:pt x="12347" y="2851"/>
                  </a:lnTo>
                  <a:lnTo>
                    <a:pt x="12321" y="2877"/>
                  </a:lnTo>
                  <a:lnTo>
                    <a:pt x="12302" y="2893"/>
                  </a:lnTo>
                  <a:lnTo>
                    <a:pt x="12291" y="2907"/>
                  </a:lnTo>
                  <a:lnTo>
                    <a:pt x="12284" y="2918"/>
                  </a:lnTo>
                  <a:lnTo>
                    <a:pt x="12282" y="2929"/>
                  </a:lnTo>
                  <a:lnTo>
                    <a:pt x="12282" y="2953"/>
                  </a:lnTo>
                  <a:lnTo>
                    <a:pt x="12278" y="2993"/>
                  </a:lnTo>
                  <a:lnTo>
                    <a:pt x="12274" y="3007"/>
                  </a:lnTo>
                  <a:lnTo>
                    <a:pt x="12269" y="3019"/>
                  </a:lnTo>
                  <a:lnTo>
                    <a:pt x="12262" y="3028"/>
                  </a:lnTo>
                  <a:lnTo>
                    <a:pt x="12255" y="3035"/>
                  </a:lnTo>
                  <a:lnTo>
                    <a:pt x="12237" y="3046"/>
                  </a:lnTo>
                  <a:lnTo>
                    <a:pt x="12216" y="3053"/>
                  </a:lnTo>
                  <a:lnTo>
                    <a:pt x="12196" y="3058"/>
                  </a:lnTo>
                  <a:lnTo>
                    <a:pt x="12177" y="3065"/>
                  </a:lnTo>
                  <a:lnTo>
                    <a:pt x="12168" y="3069"/>
                  </a:lnTo>
                  <a:lnTo>
                    <a:pt x="12159" y="3074"/>
                  </a:lnTo>
                  <a:lnTo>
                    <a:pt x="12151" y="3081"/>
                  </a:lnTo>
                  <a:lnTo>
                    <a:pt x="12144" y="3089"/>
                  </a:lnTo>
                  <a:lnTo>
                    <a:pt x="12121" y="3130"/>
                  </a:lnTo>
                  <a:lnTo>
                    <a:pt x="12111" y="3145"/>
                  </a:lnTo>
                  <a:lnTo>
                    <a:pt x="12100" y="3158"/>
                  </a:lnTo>
                  <a:lnTo>
                    <a:pt x="12087" y="3167"/>
                  </a:lnTo>
                  <a:lnTo>
                    <a:pt x="12070" y="3171"/>
                  </a:lnTo>
                  <a:lnTo>
                    <a:pt x="12048" y="3172"/>
                  </a:lnTo>
                  <a:lnTo>
                    <a:pt x="12020" y="3168"/>
                  </a:lnTo>
                  <a:lnTo>
                    <a:pt x="11989" y="3163"/>
                  </a:lnTo>
                  <a:lnTo>
                    <a:pt x="11971" y="3163"/>
                  </a:lnTo>
                  <a:lnTo>
                    <a:pt x="11953" y="3172"/>
                  </a:lnTo>
                  <a:lnTo>
                    <a:pt x="11929" y="3189"/>
                  </a:lnTo>
                  <a:lnTo>
                    <a:pt x="11910" y="3202"/>
                  </a:lnTo>
                  <a:lnTo>
                    <a:pt x="11887" y="3213"/>
                  </a:lnTo>
                  <a:lnTo>
                    <a:pt x="11887" y="4017"/>
                  </a:lnTo>
                  <a:lnTo>
                    <a:pt x="11933" y="3925"/>
                  </a:lnTo>
                  <a:lnTo>
                    <a:pt x="11961" y="3877"/>
                  </a:lnTo>
                  <a:lnTo>
                    <a:pt x="11994" y="3829"/>
                  </a:lnTo>
                  <a:lnTo>
                    <a:pt x="12014" y="3808"/>
                  </a:lnTo>
                  <a:lnTo>
                    <a:pt x="12035" y="3787"/>
                  </a:lnTo>
                  <a:lnTo>
                    <a:pt x="12060" y="3769"/>
                  </a:lnTo>
                  <a:lnTo>
                    <a:pt x="12073" y="3762"/>
                  </a:lnTo>
                  <a:lnTo>
                    <a:pt x="12085" y="3754"/>
                  </a:lnTo>
                  <a:lnTo>
                    <a:pt x="12115" y="3741"/>
                  </a:lnTo>
                  <a:lnTo>
                    <a:pt x="12148" y="3731"/>
                  </a:lnTo>
                  <a:lnTo>
                    <a:pt x="12184" y="3725"/>
                  </a:lnTo>
                  <a:lnTo>
                    <a:pt x="12224" y="3723"/>
                  </a:lnTo>
                  <a:lnTo>
                    <a:pt x="12283" y="3727"/>
                  </a:lnTo>
                  <a:lnTo>
                    <a:pt x="12341" y="3739"/>
                  </a:lnTo>
                  <a:lnTo>
                    <a:pt x="12368" y="3748"/>
                  </a:lnTo>
                  <a:lnTo>
                    <a:pt x="12395" y="3758"/>
                  </a:lnTo>
                  <a:lnTo>
                    <a:pt x="12420" y="3769"/>
                  </a:lnTo>
                  <a:lnTo>
                    <a:pt x="12446" y="3782"/>
                  </a:lnTo>
                  <a:lnTo>
                    <a:pt x="12446" y="3681"/>
                  </a:lnTo>
                  <a:lnTo>
                    <a:pt x="12447" y="3672"/>
                  </a:lnTo>
                  <a:lnTo>
                    <a:pt x="12452" y="3666"/>
                  </a:lnTo>
                  <a:lnTo>
                    <a:pt x="12459" y="3662"/>
                  </a:lnTo>
                  <a:lnTo>
                    <a:pt x="12465" y="3661"/>
                  </a:lnTo>
                  <a:lnTo>
                    <a:pt x="12473" y="3662"/>
                  </a:lnTo>
                  <a:lnTo>
                    <a:pt x="12479" y="3666"/>
                  </a:lnTo>
                  <a:lnTo>
                    <a:pt x="12484" y="3672"/>
                  </a:lnTo>
                  <a:lnTo>
                    <a:pt x="12486" y="3681"/>
                  </a:lnTo>
                  <a:close/>
                  <a:moveTo>
                    <a:pt x="12630" y="4171"/>
                  </a:moveTo>
                  <a:lnTo>
                    <a:pt x="12628" y="4130"/>
                  </a:lnTo>
                  <a:lnTo>
                    <a:pt x="12621" y="4089"/>
                  </a:lnTo>
                  <a:lnTo>
                    <a:pt x="12613" y="4051"/>
                  </a:lnTo>
                  <a:lnTo>
                    <a:pt x="12598" y="4012"/>
                  </a:lnTo>
                  <a:lnTo>
                    <a:pt x="12582" y="3976"/>
                  </a:lnTo>
                  <a:lnTo>
                    <a:pt x="12561" y="3943"/>
                  </a:lnTo>
                  <a:lnTo>
                    <a:pt x="12537" y="3911"/>
                  </a:lnTo>
                  <a:lnTo>
                    <a:pt x="12511" y="3883"/>
                  </a:lnTo>
                  <a:lnTo>
                    <a:pt x="12482" y="3856"/>
                  </a:lnTo>
                  <a:lnTo>
                    <a:pt x="12451" y="3833"/>
                  </a:lnTo>
                  <a:lnTo>
                    <a:pt x="12418" y="3813"/>
                  </a:lnTo>
                  <a:lnTo>
                    <a:pt x="12382" y="3795"/>
                  </a:lnTo>
                  <a:lnTo>
                    <a:pt x="12345" y="3781"/>
                  </a:lnTo>
                  <a:lnTo>
                    <a:pt x="12306" y="3772"/>
                  </a:lnTo>
                  <a:lnTo>
                    <a:pt x="12265" y="3765"/>
                  </a:lnTo>
                  <a:lnTo>
                    <a:pt x="12224" y="3763"/>
                  </a:lnTo>
                  <a:lnTo>
                    <a:pt x="12197" y="3764"/>
                  </a:lnTo>
                  <a:lnTo>
                    <a:pt x="12173" y="3767"/>
                  </a:lnTo>
                  <a:lnTo>
                    <a:pt x="12150" y="3772"/>
                  </a:lnTo>
                  <a:lnTo>
                    <a:pt x="12128" y="3780"/>
                  </a:lnTo>
                  <a:lnTo>
                    <a:pt x="12089" y="3797"/>
                  </a:lnTo>
                  <a:lnTo>
                    <a:pt x="12073" y="3809"/>
                  </a:lnTo>
                  <a:lnTo>
                    <a:pt x="12057" y="3822"/>
                  </a:lnTo>
                  <a:lnTo>
                    <a:pt x="12029" y="3850"/>
                  </a:lnTo>
                  <a:lnTo>
                    <a:pt x="12005" y="3881"/>
                  </a:lnTo>
                  <a:lnTo>
                    <a:pt x="11984" y="3915"/>
                  </a:lnTo>
                  <a:lnTo>
                    <a:pt x="11965" y="3950"/>
                  </a:lnTo>
                  <a:lnTo>
                    <a:pt x="11932" y="4017"/>
                  </a:lnTo>
                  <a:lnTo>
                    <a:pt x="11915" y="4049"/>
                  </a:lnTo>
                  <a:lnTo>
                    <a:pt x="11897" y="4077"/>
                  </a:lnTo>
                  <a:lnTo>
                    <a:pt x="11878" y="4102"/>
                  </a:lnTo>
                  <a:lnTo>
                    <a:pt x="11866" y="4112"/>
                  </a:lnTo>
                  <a:lnTo>
                    <a:pt x="11855" y="4120"/>
                  </a:lnTo>
                  <a:lnTo>
                    <a:pt x="11843" y="4127"/>
                  </a:lnTo>
                  <a:lnTo>
                    <a:pt x="11830" y="4132"/>
                  </a:lnTo>
                  <a:lnTo>
                    <a:pt x="11800" y="4136"/>
                  </a:lnTo>
                  <a:lnTo>
                    <a:pt x="11783" y="4135"/>
                  </a:lnTo>
                  <a:lnTo>
                    <a:pt x="11766" y="4131"/>
                  </a:lnTo>
                  <a:lnTo>
                    <a:pt x="11750" y="4126"/>
                  </a:lnTo>
                  <a:lnTo>
                    <a:pt x="11734" y="4120"/>
                  </a:lnTo>
                  <a:lnTo>
                    <a:pt x="11702" y="4109"/>
                  </a:lnTo>
                  <a:lnTo>
                    <a:pt x="11685" y="4106"/>
                  </a:lnTo>
                  <a:lnTo>
                    <a:pt x="11669" y="4104"/>
                  </a:lnTo>
                  <a:lnTo>
                    <a:pt x="11625" y="4108"/>
                  </a:lnTo>
                  <a:lnTo>
                    <a:pt x="11603" y="4112"/>
                  </a:lnTo>
                  <a:lnTo>
                    <a:pt x="11584" y="4118"/>
                  </a:lnTo>
                  <a:lnTo>
                    <a:pt x="11565" y="4127"/>
                  </a:lnTo>
                  <a:lnTo>
                    <a:pt x="11546" y="4136"/>
                  </a:lnTo>
                  <a:lnTo>
                    <a:pt x="11529" y="4148"/>
                  </a:lnTo>
                  <a:lnTo>
                    <a:pt x="11512" y="4161"/>
                  </a:lnTo>
                  <a:lnTo>
                    <a:pt x="11498" y="4175"/>
                  </a:lnTo>
                  <a:lnTo>
                    <a:pt x="11484" y="4190"/>
                  </a:lnTo>
                  <a:lnTo>
                    <a:pt x="11471" y="4208"/>
                  </a:lnTo>
                  <a:lnTo>
                    <a:pt x="11461" y="4226"/>
                  </a:lnTo>
                  <a:lnTo>
                    <a:pt x="11452" y="4245"/>
                  </a:lnTo>
                  <a:lnTo>
                    <a:pt x="11444" y="4265"/>
                  </a:lnTo>
                  <a:lnTo>
                    <a:pt x="11438" y="4286"/>
                  </a:lnTo>
                  <a:lnTo>
                    <a:pt x="11434" y="4309"/>
                  </a:lnTo>
                  <a:lnTo>
                    <a:pt x="12171" y="4309"/>
                  </a:lnTo>
                  <a:lnTo>
                    <a:pt x="12177" y="4305"/>
                  </a:lnTo>
                  <a:lnTo>
                    <a:pt x="12184" y="4304"/>
                  </a:lnTo>
                  <a:lnTo>
                    <a:pt x="12609" y="4304"/>
                  </a:lnTo>
                  <a:lnTo>
                    <a:pt x="12618" y="4271"/>
                  </a:lnTo>
                  <a:lnTo>
                    <a:pt x="12625" y="4239"/>
                  </a:lnTo>
                  <a:lnTo>
                    <a:pt x="12629" y="4204"/>
                  </a:lnTo>
                  <a:lnTo>
                    <a:pt x="12630" y="4171"/>
                  </a:lnTo>
                  <a:close/>
                  <a:moveTo>
                    <a:pt x="11425" y="3810"/>
                  </a:moveTo>
                  <a:lnTo>
                    <a:pt x="11524" y="3712"/>
                  </a:lnTo>
                  <a:lnTo>
                    <a:pt x="11532" y="3707"/>
                  </a:lnTo>
                  <a:lnTo>
                    <a:pt x="11539" y="3705"/>
                  </a:lnTo>
                  <a:lnTo>
                    <a:pt x="11547" y="3707"/>
                  </a:lnTo>
                  <a:lnTo>
                    <a:pt x="11553" y="3712"/>
                  </a:lnTo>
                  <a:lnTo>
                    <a:pt x="11557" y="3717"/>
                  </a:lnTo>
                  <a:lnTo>
                    <a:pt x="11558" y="3725"/>
                  </a:lnTo>
                  <a:lnTo>
                    <a:pt x="11557" y="3732"/>
                  </a:lnTo>
                  <a:lnTo>
                    <a:pt x="11553" y="3740"/>
                  </a:lnTo>
                  <a:lnTo>
                    <a:pt x="11426" y="3866"/>
                  </a:lnTo>
                  <a:lnTo>
                    <a:pt x="11425" y="3895"/>
                  </a:lnTo>
                  <a:lnTo>
                    <a:pt x="11460" y="3892"/>
                  </a:lnTo>
                  <a:lnTo>
                    <a:pt x="11494" y="3884"/>
                  </a:lnTo>
                  <a:lnTo>
                    <a:pt x="11528" y="3874"/>
                  </a:lnTo>
                  <a:lnTo>
                    <a:pt x="11558" y="3861"/>
                  </a:lnTo>
                  <a:lnTo>
                    <a:pt x="11589" y="3846"/>
                  </a:lnTo>
                  <a:lnTo>
                    <a:pt x="11617" y="3828"/>
                  </a:lnTo>
                  <a:lnTo>
                    <a:pt x="11643" y="3806"/>
                  </a:lnTo>
                  <a:lnTo>
                    <a:pt x="11667" y="3783"/>
                  </a:lnTo>
                  <a:lnTo>
                    <a:pt x="11689" y="3758"/>
                  </a:lnTo>
                  <a:lnTo>
                    <a:pt x="11710" y="3731"/>
                  </a:lnTo>
                  <a:lnTo>
                    <a:pt x="11726" y="3702"/>
                  </a:lnTo>
                  <a:lnTo>
                    <a:pt x="11741" y="3671"/>
                  </a:lnTo>
                  <a:lnTo>
                    <a:pt x="11752" y="3639"/>
                  </a:lnTo>
                  <a:lnTo>
                    <a:pt x="11761" y="3606"/>
                  </a:lnTo>
                  <a:lnTo>
                    <a:pt x="11766" y="3571"/>
                  </a:lnTo>
                  <a:lnTo>
                    <a:pt x="11767" y="3535"/>
                  </a:lnTo>
                  <a:lnTo>
                    <a:pt x="11765" y="3498"/>
                  </a:lnTo>
                  <a:lnTo>
                    <a:pt x="11760" y="3462"/>
                  </a:lnTo>
                  <a:lnTo>
                    <a:pt x="11751" y="3428"/>
                  </a:lnTo>
                  <a:lnTo>
                    <a:pt x="11739" y="3395"/>
                  </a:lnTo>
                  <a:lnTo>
                    <a:pt x="11724" y="3363"/>
                  </a:lnTo>
                  <a:lnTo>
                    <a:pt x="11706" y="3333"/>
                  </a:lnTo>
                  <a:lnTo>
                    <a:pt x="11684" y="3305"/>
                  </a:lnTo>
                  <a:lnTo>
                    <a:pt x="11661" y="3280"/>
                  </a:lnTo>
                  <a:lnTo>
                    <a:pt x="11635" y="3257"/>
                  </a:lnTo>
                  <a:lnTo>
                    <a:pt x="11608" y="3236"/>
                  </a:lnTo>
                  <a:lnTo>
                    <a:pt x="11578" y="3218"/>
                  </a:lnTo>
                  <a:lnTo>
                    <a:pt x="11547" y="3203"/>
                  </a:lnTo>
                  <a:lnTo>
                    <a:pt x="11530" y="3196"/>
                  </a:lnTo>
                  <a:lnTo>
                    <a:pt x="11514" y="3190"/>
                  </a:lnTo>
                  <a:lnTo>
                    <a:pt x="11479" y="3181"/>
                  </a:lnTo>
                  <a:lnTo>
                    <a:pt x="11443" y="3176"/>
                  </a:lnTo>
                  <a:lnTo>
                    <a:pt x="11406" y="3175"/>
                  </a:lnTo>
                  <a:lnTo>
                    <a:pt x="11369" y="3176"/>
                  </a:lnTo>
                  <a:lnTo>
                    <a:pt x="11333" y="3181"/>
                  </a:lnTo>
                  <a:lnTo>
                    <a:pt x="11298" y="3190"/>
                  </a:lnTo>
                  <a:lnTo>
                    <a:pt x="11265" y="3203"/>
                  </a:lnTo>
                  <a:lnTo>
                    <a:pt x="11233" y="3218"/>
                  </a:lnTo>
                  <a:lnTo>
                    <a:pt x="11203" y="3236"/>
                  </a:lnTo>
                  <a:lnTo>
                    <a:pt x="11175" y="3257"/>
                  </a:lnTo>
                  <a:lnTo>
                    <a:pt x="11149" y="3280"/>
                  </a:lnTo>
                  <a:lnTo>
                    <a:pt x="11126" y="3305"/>
                  </a:lnTo>
                  <a:lnTo>
                    <a:pt x="11106" y="3333"/>
                  </a:lnTo>
                  <a:lnTo>
                    <a:pt x="11088" y="3363"/>
                  </a:lnTo>
                  <a:lnTo>
                    <a:pt x="11072" y="3395"/>
                  </a:lnTo>
                  <a:lnTo>
                    <a:pt x="11066" y="3411"/>
                  </a:lnTo>
                  <a:lnTo>
                    <a:pt x="11060" y="3428"/>
                  </a:lnTo>
                  <a:lnTo>
                    <a:pt x="11051" y="3462"/>
                  </a:lnTo>
                  <a:lnTo>
                    <a:pt x="11046" y="3498"/>
                  </a:lnTo>
                  <a:lnTo>
                    <a:pt x="11044" y="3535"/>
                  </a:lnTo>
                  <a:lnTo>
                    <a:pt x="11046" y="3570"/>
                  </a:lnTo>
                  <a:lnTo>
                    <a:pt x="11051" y="3606"/>
                  </a:lnTo>
                  <a:lnTo>
                    <a:pt x="11060" y="3639"/>
                  </a:lnTo>
                  <a:lnTo>
                    <a:pt x="11070" y="3671"/>
                  </a:lnTo>
                  <a:lnTo>
                    <a:pt x="11085" y="3702"/>
                  </a:lnTo>
                  <a:lnTo>
                    <a:pt x="11102" y="3731"/>
                  </a:lnTo>
                  <a:lnTo>
                    <a:pt x="11121" y="3758"/>
                  </a:lnTo>
                  <a:lnTo>
                    <a:pt x="11143" y="3783"/>
                  </a:lnTo>
                  <a:lnTo>
                    <a:pt x="11167" y="3806"/>
                  </a:lnTo>
                  <a:lnTo>
                    <a:pt x="11193" y="3827"/>
                  </a:lnTo>
                  <a:lnTo>
                    <a:pt x="11221" y="3846"/>
                  </a:lnTo>
                  <a:lnTo>
                    <a:pt x="11252" y="3861"/>
                  </a:lnTo>
                  <a:lnTo>
                    <a:pt x="11283" y="3874"/>
                  </a:lnTo>
                  <a:lnTo>
                    <a:pt x="11316" y="3884"/>
                  </a:lnTo>
                  <a:lnTo>
                    <a:pt x="11349" y="3891"/>
                  </a:lnTo>
                  <a:lnTo>
                    <a:pt x="11385" y="3895"/>
                  </a:lnTo>
                  <a:lnTo>
                    <a:pt x="11385" y="3757"/>
                  </a:lnTo>
                  <a:lnTo>
                    <a:pt x="11258" y="3631"/>
                  </a:lnTo>
                  <a:lnTo>
                    <a:pt x="11253" y="3624"/>
                  </a:lnTo>
                  <a:lnTo>
                    <a:pt x="11252" y="3616"/>
                  </a:lnTo>
                  <a:lnTo>
                    <a:pt x="11255" y="3608"/>
                  </a:lnTo>
                  <a:lnTo>
                    <a:pt x="11258" y="3602"/>
                  </a:lnTo>
                  <a:lnTo>
                    <a:pt x="11265" y="3598"/>
                  </a:lnTo>
                  <a:lnTo>
                    <a:pt x="11271" y="3597"/>
                  </a:lnTo>
                  <a:lnTo>
                    <a:pt x="11279" y="3598"/>
                  </a:lnTo>
                  <a:lnTo>
                    <a:pt x="11287" y="3602"/>
                  </a:lnTo>
                  <a:lnTo>
                    <a:pt x="11385" y="3700"/>
                  </a:lnTo>
                  <a:lnTo>
                    <a:pt x="11385" y="3589"/>
                  </a:lnTo>
                  <a:lnTo>
                    <a:pt x="11385" y="3581"/>
                  </a:lnTo>
                  <a:lnTo>
                    <a:pt x="11385" y="3447"/>
                  </a:lnTo>
                  <a:lnTo>
                    <a:pt x="11387" y="3439"/>
                  </a:lnTo>
                  <a:lnTo>
                    <a:pt x="11392" y="3433"/>
                  </a:lnTo>
                  <a:lnTo>
                    <a:pt x="11398" y="3429"/>
                  </a:lnTo>
                  <a:lnTo>
                    <a:pt x="11405" y="3428"/>
                  </a:lnTo>
                  <a:lnTo>
                    <a:pt x="11412" y="3429"/>
                  </a:lnTo>
                  <a:lnTo>
                    <a:pt x="11419" y="3433"/>
                  </a:lnTo>
                  <a:lnTo>
                    <a:pt x="11424" y="3439"/>
                  </a:lnTo>
                  <a:lnTo>
                    <a:pt x="11425" y="3447"/>
                  </a:lnTo>
                  <a:lnTo>
                    <a:pt x="11425" y="3537"/>
                  </a:lnTo>
                  <a:lnTo>
                    <a:pt x="11517" y="3445"/>
                  </a:lnTo>
                  <a:lnTo>
                    <a:pt x="11525" y="3439"/>
                  </a:lnTo>
                  <a:lnTo>
                    <a:pt x="11533" y="3438"/>
                  </a:lnTo>
                  <a:lnTo>
                    <a:pt x="11541" y="3441"/>
                  </a:lnTo>
                  <a:lnTo>
                    <a:pt x="11546" y="3445"/>
                  </a:lnTo>
                  <a:lnTo>
                    <a:pt x="11551" y="3451"/>
                  </a:lnTo>
                  <a:lnTo>
                    <a:pt x="11552" y="3457"/>
                  </a:lnTo>
                  <a:lnTo>
                    <a:pt x="11551" y="3465"/>
                  </a:lnTo>
                  <a:lnTo>
                    <a:pt x="11546" y="3473"/>
                  </a:lnTo>
                  <a:lnTo>
                    <a:pt x="11425" y="3593"/>
                  </a:lnTo>
                  <a:lnTo>
                    <a:pt x="11425" y="3810"/>
                  </a:lnTo>
                  <a:close/>
                  <a:moveTo>
                    <a:pt x="11847" y="2875"/>
                  </a:moveTo>
                  <a:lnTo>
                    <a:pt x="11847" y="2753"/>
                  </a:lnTo>
                  <a:lnTo>
                    <a:pt x="11743" y="2650"/>
                  </a:lnTo>
                  <a:lnTo>
                    <a:pt x="11738" y="2643"/>
                  </a:lnTo>
                  <a:lnTo>
                    <a:pt x="11737" y="2635"/>
                  </a:lnTo>
                  <a:lnTo>
                    <a:pt x="11739" y="2627"/>
                  </a:lnTo>
                  <a:lnTo>
                    <a:pt x="11743" y="2622"/>
                  </a:lnTo>
                  <a:lnTo>
                    <a:pt x="11750" y="2617"/>
                  </a:lnTo>
                  <a:lnTo>
                    <a:pt x="11757" y="2616"/>
                  </a:lnTo>
                  <a:lnTo>
                    <a:pt x="11764" y="2617"/>
                  </a:lnTo>
                  <a:lnTo>
                    <a:pt x="11771" y="2622"/>
                  </a:lnTo>
                  <a:lnTo>
                    <a:pt x="11847" y="2696"/>
                  </a:lnTo>
                  <a:lnTo>
                    <a:pt x="11847" y="2643"/>
                  </a:lnTo>
                  <a:lnTo>
                    <a:pt x="11848" y="2634"/>
                  </a:lnTo>
                  <a:lnTo>
                    <a:pt x="11853" y="2627"/>
                  </a:lnTo>
                  <a:lnTo>
                    <a:pt x="11860" y="2624"/>
                  </a:lnTo>
                  <a:lnTo>
                    <a:pt x="11866" y="2622"/>
                  </a:lnTo>
                  <a:lnTo>
                    <a:pt x="11874" y="2624"/>
                  </a:lnTo>
                  <a:lnTo>
                    <a:pt x="11880" y="2627"/>
                  </a:lnTo>
                  <a:lnTo>
                    <a:pt x="11885" y="2634"/>
                  </a:lnTo>
                  <a:lnTo>
                    <a:pt x="11887" y="2643"/>
                  </a:lnTo>
                  <a:lnTo>
                    <a:pt x="11887" y="2741"/>
                  </a:lnTo>
                  <a:lnTo>
                    <a:pt x="11887" y="2748"/>
                  </a:lnTo>
                  <a:lnTo>
                    <a:pt x="11887" y="2831"/>
                  </a:lnTo>
                  <a:lnTo>
                    <a:pt x="12024" y="2693"/>
                  </a:lnTo>
                  <a:lnTo>
                    <a:pt x="12032" y="2688"/>
                  </a:lnTo>
                  <a:lnTo>
                    <a:pt x="12039" y="2686"/>
                  </a:lnTo>
                  <a:lnTo>
                    <a:pt x="12047" y="2689"/>
                  </a:lnTo>
                  <a:lnTo>
                    <a:pt x="12052" y="2693"/>
                  </a:lnTo>
                  <a:lnTo>
                    <a:pt x="12057" y="2699"/>
                  </a:lnTo>
                  <a:lnTo>
                    <a:pt x="12059" y="2707"/>
                  </a:lnTo>
                  <a:lnTo>
                    <a:pt x="12057" y="2714"/>
                  </a:lnTo>
                  <a:lnTo>
                    <a:pt x="12052" y="2721"/>
                  </a:lnTo>
                  <a:lnTo>
                    <a:pt x="11887" y="2887"/>
                  </a:lnTo>
                  <a:lnTo>
                    <a:pt x="11887" y="2960"/>
                  </a:lnTo>
                  <a:lnTo>
                    <a:pt x="11887" y="2968"/>
                  </a:lnTo>
                  <a:lnTo>
                    <a:pt x="11887" y="3172"/>
                  </a:lnTo>
                  <a:lnTo>
                    <a:pt x="11897" y="3164"/>
                  </a:lnTo>
                  <a:lnTo>
                    <a:pt x="11907" y="3156"/>
                  </a:lnTo>
                  <a:lnTo>
                    <a:pt x="11919" y="3147"/>
                  </a:lnTo>
                  <a:lnTo>
                    <a:pt x="11932" y="3138"/>
                  </a:lnTo>
                  <a:lnTo>
                    <a:pt x="11947" y="3130"/>
                  </a:lnTo>
                  <a:lnTo>
                    <a:pt x="11968" y="3126"/>
                  </a:lnTo>
                  <a:lnTo>
                    <a:pt x="11993" y="3125"/>
                  </a:lnTo>
                  <a:lnTo>
                    <a:pt x="12027" y="3129"/>
                  </a:lnTo>
                  <a:lnTo>
                    <a:pt x="12043" y="3131"/>
                  </a:lnTo>
                  <a:lnTo>
                    <a:pt x="12056" y="3131"/>
                  </a:lnTo>
                  <a:lnTo>
                    <a:pt x="12066" y="3129"/>
                  </a:lnTo>
                  <a:lnTo>
                    <a:pt x="12075" y="3125"/>
                  </a:lnTo>
                  <a:lnTo>
                    <a:pt x="12088" y="3112"/>
                  </a:lnTo>
                  <a:lnTo>
                    <a:pt x="12097" y="3097"/>
                  </a:lnTo>
                  <a:lnTo>
                    <a:pt x="12106" y="3078"/>
                  </a:lnTo>
                  <a:lnTo>
                    <a:pt x="12118" y="3058"/>
                  </a:lnTo>
                  <a:lnTo>
                    <a:pt x="12135" y="3040"/>
                  </a:lnTo>
                  <a:lnTo>
                    <a:pt x="12148" y="3033"/>
                  </a:lnTo>
                  <a:lnTo>
                    <a:pt x="12162" y="3026"/>
                  </a:lnTo>
                  <a:lnTo>
                    <a:pt x="12211" y="3012"/>
                  </a:lnTo>
                  <a:lnTo>
                    <a:pt x="12224" y="3007"/>
                  </a:lnTo>
                  <a:lnTo>
                    <a:pt x="12232" y="3001"/>
                  </a:lnTo>
                  <a:lnTo>
                    <a:pt x="12237" y="2992"/>
                  </a:lnTo>
                  <a:lnTo>
                    <a:pt x="12238" y="2978"/>
                  </a:lnTo>
                  <a:lnTo>
                    <a:pt x="12242" y="2928"/>
                  </a:lnTo>
                  <a:lnTo>
                    <a:pt x="12244" y="2911"/>
                  </a:lnTo>
                  <a:lnTo>
                    <a:pt x="12250" y="2897"/>
                  </a:lnTo>
                  <a:lnTo>
                    <a:pt x="12262" y="2875"/>
                  </a:lnTo>
                  <a:lnTo>
                    <a:pt x="12270" y="2868"/>
                  </a:lnTo>
                  <a:lnTo>
                    <a:pt x="12279" y="2860"/>
                  </a:lnTo>
                  <a:lnTo>
                    <a:pt x="12296" y="2847"/>
                  </a:lnTo>
                  <a:lnTo>
                    <a:pt x="12310" y="2836"/>
                  </a:lnTo>
                  <a:lnTo>
                    <a:pt x="12315" y="2828"/>
                  </a:lnTo>
                  <a:lnTo>
                    <a:pt x="12319" y="2821"/>
                  </a:lnTo>
                  <a:lnTo>
                    <a:pt x="12320" y="2812"/>
                  </a:lnTo>
                  <a:lnTo>
                    <a:pt x="12320" y="2801"/>
                  </a:lnTo>
                  <a:lnTo>
                    <a:pt x="12312" y="2773"/>
                  </a:lnTo>
                  <a:lnTo>
                    <a:pt x="12300" y="2743"/>
                  </a:lnTo>
                  <a:lnTo>
                    <a:pt x="12294" y="2727"/>
                  </a:lnTo>
                  <a:lnTo>
                    <a:pt x="12293" y="2711"/>
                  </a:lnTo>
                  <a:lnTo>
                    <a:pt x="12294" y="2693"/>
                  </a:lnTo>
                  <a:lnTo>
                    <a:pt x="12300" y="2676"/>
                  </a:lnTo>
                  <a:lnTo>
                    <a:pt x="12318" y="2629"/>
                  </a:lnTo>
                  <a:lnTo>
                    <a:pt x="12323" y="2616"/>
                  </a:lnTo>
                  <a:lnTo>
                    <a:pt x="12323" y="2606"/>
                  </a:lnTo>
                  <a:lnTo>
                    <a:pt x="12319" y="2598"/>
                  </a:lnTo>
                  <a:lnTo>
                    <a:pt x="12309" y="2588"/>
                  </a:lnTo>
                  <a:lnTo>
                    <a:pt x="12271" y="2553"/>
                  </a:lnTo>
                  <a:lnTo>
                    <a:pt x="12261" y="2540"/>
                  </a:lnTo>
                  <a:lnTo>
                    <a:pt x="12252" y="2529"/>
                  </a:lnTo>
                  <a:lnTo>
                    <a:pt x="12247" y="2516"/>
                  </a:lnTo>
                  <a:lnTo>
                    <a:pt x="12243" y="2505"/>
                  </a:lnTo>
                  <a:lnTo>
                    <a:pt x="12242" y="2483"/>
                  </a:lnTo>
                  <a:lnTo>
                    <a:pt x="12242" y="2461"/>
                  </a:lnTo>
                  <a:lnTo>
                    <a:pt x="12241" y="2443"/>
                  </a:lnTo>
                  <a:lnTo>
                    <a:pt x="12238" y="2434"/>
                  </a:lnTo>
                  <a:lnTo>
                    <a:pt x="12236" y="2427"/>
                  </a:lnTo>
                  <a:lnTo>
                    <a:pt x="12229" y="2419"/>
                  </a:lnTo>
                  <a:lnTo>
                    <a:pt x="12220" y="2413"/>
                  </a:lnTo>
                  <a:lnTo>
                    <a:pt x="12209" y="2406"/>
                  </a:lnTo>
                  <a:lnTo>
                    <a:pt x="12193" y="2401"/>
                  </a:lnTo>
                  <a:lnTo>
                    <a:pt x="12164" y="2393"/>
                  </a:lnTo>
                  <a:lnTo>
                    <a:pt x="12143" y="2384"/>
                  </a:lnTo>
                  <a:lnTo>
                    <a:pt x="12129" y="2376"/>
                  </a:lnTo>
                  <a:lnTo>
                    <a:pt x="12120" y="2365"/>
                  </a:lnTo>
                  <a:lnTo>
                    <a:pt x="12106" y="2340"/>
                  </a:lnTo>
                  <a:lnTo>
                    <a:pt x="12096" y="2322"/>
                  </a:lnTo>
                  <a:lnTo>
                    <a:pt x="12082" y="2301"/>
                  </a:lnTo>
                  <a:lnTo>
                    <a:pt x="12077" y="2295"/>
                  </a:lnTo>
                  <a:lnTo>
                    <a:pt x="12070" y="2291"/>
                  </a:lnTo>
                  <a:lnTo>
                    <a:pt x="12055" y="2287"/>
                  </a:lnTo>
                  <a:lnTo>
                    <a:pt x="12038" y="2289"/>
                  </a:lnTo>
                  <a:lnTo>
                    <a:pt x="12020" y="2292"/>
                  </a:lnTo>
                  <a:lnTo>
                    <a:pt x="12000" y="2296"/>
                  </a:lnTo>
                  <a:lnTo>
                    <a:pt x="11978" y="2296"/>
                  </a:lnTo>
                  <a:lnTo>
                    <a:pt x="11955" y="2292"/>
                  </a:lnTo>
                  <a:lnTo>
                    <a:pt x="11930" y="2281"/>
                  </a:lnTo>
                  <a:lnTo>
                    <a:pt x="11900" y="2259"/>
                  </a:lnTo>
                  <a:lnTo>
                    <a:pt x="11882" y="2248"/>
                  </a:lnTo>
                  <a:lnTo>
                    <a:pt x="11866" y="2244"/>
                  </a:lnTo>
                  <a:lnTo>
                    <a:pt x="11851" y="2246"/>
                  </a:lnTo>
                  <a:lnTo>
                    <a:pt x="11843" y="2250"/>
                  </a:lnTo>
                  <a:lnTo>
                    <a:pt x="11837" y="2254"/>
                  </a:lnTo>
                  <a:lnTo>
                    <a:pt x="11812" y="2276"/>
                  </a:lnTo>
                  <a:lnTo>
                    <a:pt x="11796" y="2286"/>
                  </a:lnTo>
                  <a:lnTo>
                    <a:pt x="11774" y="2294"/>
                  </a:lnTo>
                  <a:lnTo>
                    <a:pt x="11744" y="2295"/>
                  </a:lnTo>
                  <a:lnTo>
                    <a:pt x="11726" y="2294"/>
                  </a:lnTo>
                  <a:lnTo>
                    <a:pt x="11706" y="2291"/>
                  </a:lnTo>
                  <a:lnTo>
                    <a:pt x="11691" y="2289"/>
                  </a:lnTo>
                  <a:lnTo>
                    <a:pt x="11676" y="2289"/>
                  </a:lnTo>
                  <a:lnTo>
                    <a:pt x="11666" y="2291"/>
                  </a:lnTo>
                  <a:lnTo>
                    <a:pt x="11658" y="2295"/>
                  </a:lnTo>
                  <a:lnTo>
                    <a:pt x="11646" y="2308"/>
                  </a:lnTo>
                  <a:lnTo>
                    <a:pt x="11637" y="2324"/>
                  </a:lnTo>
                  <a:lnTo>
                    <a:pt x="11628" y="2342"/>
                  </a:lnTo>
                  <a:lnTo>
                    <a:pt x="11616" y="2361"/>
                  </a:lnTo>
                  <a:lnTo>
                    <a:pt x="11598" y="2379"/>
                  </a:lnTo>
                  <a:lnTo>
                    <a:pt x="11585" y="2387"/>
                  </a:lnTo>
                  <a:lnTo>
                    <a:pt x="11570" y="2393"/>
                  </a:lnTo>
                  <a:lnTo>
                    <a:pt x="11521" y="2409"/>
                  </a:lnTo>
                  <a:lnTo>
                    <a:pt x="11508" y="2414"/>
                  </a:lnTo>
                  <a:lnTo>
                    <a:pt x="11501" y="2419"/>
                  </a:lnTo>
                  <a:lnTo>
                    <a:pt x="11497" y="2428"/>
                  </a:lnTo>
                  <a:lnTo>
                    <a:pt x="11494" y="2442"/>
                  </a:lnTo>
                  <a:lnTo>
                    <a:pt x="11491" y="2492"/>
                  </a:lnTo>
                  <a:lnTo>
                    <a:pt x="11488" y="2509"/>
                  </a:lnTo>
                  <a:lnTo>
                    <a:pt x="11484" y="2523"/>
                  </a:lnTo>
                  <a:lnTo>
                    <a:pt x="11470" y="2544"/>
                  </a:lnTo>
                  <a:lnTo>
                    <a:pt x="11462" y="2552"/>
                  </a:lnTo>
                  <a:lnTo>
                    <a:pt x="11455" y="2560"/>
                  </a:lnTo>
                  <a:lnTo>
                    <a:pt x="11438" y="2572"/>
                  </a:lnTo>
                  <a:lnTo>
                    <a:pt x="11424" y="2585"/>
                  </a:lnTo>
                  <a:lnTo>
                    <a:pt x="11419" y="2592"/>
                  </a:lnTo>
                  <a:lnTo>
                    <a:pt x="11415" y="2599"/>
                  </a:lnTo>
                  <a:lnTo>
                    <a:pt x="11412" y="2608"/>
                  </a:lnTo>
                  <a:lnTo>
                    <a:pt x="11412" y="2620"/>
                  </a:lnTo>
                  <a:lnTo>
                    <a:pt x="11421" y="2647"/>
                  </a:lnTo>
                  <a:lnTo>
                    <a:pt x="11434" y="2677"/>
                  </a:lnTo>
                  <a:lnTo>
                    <a:pt x="11438" y="2694"/>
                  </a:lnTo>
                  <a:lnTo>
                    <a:pt x="11440" y="2711"/>
                  </a:lnTo>
                  <a:lnTo>
                    <a:pt x="11438" y="2732"/>
                  </a:lnTo>
                  <a:lnTo>
                    <a:pt x="11432" y="2751"/>
                  </a:lnTo>
                  <a:lnTo>
                    <a:pt x="11416" y="2782"/>
                  </a:lnTo>
                  <a:lnTo>
                    <a:pt x="11411" y="2797"/>
                  </a:lnTo>
                  <a:lnTo>
                    <a:pt x="11411" y="2805"/>
                  </a:lnTo>
                  <a:lnTo>
                    <a:pt x="11412" y="2812"/>
                  </a:lnTo>
                  <a:lnTo>
                    <a:pt x="11420" y="2828"/>
                  </a:lnTo>
                  <a:lnTo>
                    <a:pt x="11438" y="2847"/>
                  </a:lnTo>
                  <a:lnTo>
                    <a:pt x="11461" y="2868"/>
                  </a:lnTo>
                  <a:lnTo>
                    <a:pt x="11476" y="2884"/>
                  </a:lnTo>
                  <a:lnTo>
                    <a:pt x="11484" y="2899"/>
                  </a:lnTo>
                  <a:lnTo>
                    <a:pt x="11488" y="2911"/>
                  </a:lnTo>
                  <a:lnTo>
                    <a:pt x="11491" y="2941"/>
                  </a:lnTo>
                  <a:lnTo>
                    <a:pt x="11491" y="2960"/>
                  </a:lnTo>
                  <a:lnTo>
                    <a:pt x="11494" y="2985"/>
                  </a:lnTo>
                  <a:lnTo>
                    <a:pt x="11502" y="3000"/>
                  </a:lnTo>
                  <a:lnTo>
                    <a:pt x="11514" y="3010"/>
                  </a:lnTo>
                  <a:lnTo>
                    <a:pt x="11529" y="3015"/>
                  </a:lnTo>
                  <a:lnTo>
                    <a:pt x="11547" y="3020"/>
                  </a:lnTo>
                  <a:lnTo>
                    <a:pt x="11567" y="3026"/>
                  </a:lnTo>
                  <a:lnTo>
                    <a:pt x="11587" y="3034"/>
                  </a:lnTo>
                  <a:lnTo>
                    <a:pt x="11606" y="3048"/>
                  </a:lnTo>
                  <a:lnTo>
                    <a:pt x="11615" y="3057"/>
                  </a:lnTo>
                  <a:lnTo>
                    <a:pt x="11623" y="3069"/>
                  </a:lnTo>
                  <a:lnTo>
                    <a:pt x="11648" y="3112"/>
                  </a:lnTo>
                  <a:lnTo>
                    <a:pt x="11656" y="3124"/>
                  </a:lnTo>
                  <a:lnTo>
                    <a:pt x="11664" y="3130"/>
                  </a:lnTo>
                  <a:lnTo>
                    <a:pt x="11673" y="3133"/>
                  </a:lnTo>
                  <a:lnTo>
                    <a:pt x="11687" y="3131"/>
                  </a:lnTo>
                  <a:lnTo>
                    <a:pt x="11737" y="3124"/>
                  </a:lnTo>
                  <a:lnTo>
                    <a:pt x="11757" y="3124"/>
                  </a:lnTo>
                  <a:lnTo>
                    <a:pt x="11774" y="3126"/>
                  </a:lnTo>
                  <a:lnTo>
                    <a:pt x="11789" y="3131"/>
                  </a:lnTo>
                  <a:lnTo>
                    <a:pt x="11803" y="3139"/>
                  </a:lnTo>
                  <a:lnTo>
                    <a:pt x="11826" y="3156"/>
                  </a:lnTo>
                  <a:lnTo>
                    <a:pt x="11847" y="3171"/>
                  </a:lnTo>
                  <a:lnTo>
                    <a:pt x="11847" y="2973"/>
                  </a:lnTo>
                  <a:lnTo>
                    <a:pt x="11769" y="2895"/>
                  </a:lnTo>
                  <a:lnTo>
                    <a:pt x="11764" y="2887"/>
                  </a:lnTo>
                  <a:lnTo>
                    <a:pt x="11762" y="2879"/>
                  </a:lnTo>
                  <a:lnTo>
                    <a:pt x="11765" y="2873"/>
                  </a:lnTo>
                  <a:lnTo>
                    <a:pt x="11769" y="2867"/>
                  </a:lnTo>
                  <a:lnTo>
                    <a:pt x="11775" y="2863"/>
                  </a:lnTo>
                  <a:lnTo>
                    <a:pt x="11782" y="2860"/>
                  </a:lnTo>
                  <a:lnTo>
                    <a:pt x="11789" y="2861"/>
                  </a:lnTo>
                  <a:lnTo>
                    <a:pt x="11797" y="2867"/>
                  </a:lnTo>
                  <a:lnTo>
                    <a:pt x="11847" y="2916"/>
                  </a:lnTo>
                  <a:lnTo>
                    <a:pt x="11847" y="2882"/>
                  </a:lnTo>
                  <a:lnTo>
                    <a:pt x="11847" y="2875"/>
                  </a:lnTo>
                  <a:close/>
                  <a:moveTo>
                    <a:pt x="11887" y="2960"/>
                  </a:moveTo>
                  <a:lnTo>
                    <a:pt x="11887" y="2968"/>
                  </a:lnTo>
                  <a:lnTo>
                    <a:pt x="11887" y="2960"/>
                  </a:lnTo>
                  <a:close/>
                  <a:moveTo>
                    <a:pt x="11887" y="2741"/>
                  </a:moveTo>
                  <a:lnTo>
                    <a:pt x="11887" y="2748"/>
                  </a:lnTo>
                  <a:lnTo>
                    <a:pt x="11887" y="2741"/>
                  </a:lnTo>
                  <a:close/>
                  <a:moveTo>
                    <a:pt x="11847" y="2882"/>
                  </a:moveTo>
                  <a:lnTo>
                    <a:pt x="11847" y="2875"/>
                  </a:lnTo>
                  <a:lnTo>
                    <a:pt x="11847" y="2882"/>
                  </a:lnTo>
                  <a:close/>
                  <a:moveTo>
                    <a:pt x="9740" y="1741"/>
                  </a:moveTo>
                  <a:lnTo>
                    <a:pt x="9740" y="1619"/>
                  </a:lnTo>
                  <a:lnTo>
                    <a:pt x="9741" y="1611"/>
                  </a:lnTo>
                  <a:lnTo>
                    <a:pt x="9747" y="1604"/>
                  </a:lnTo>
                  <a:lnTo>
                    <a:pt x="9753" y="1601"/>
                  </a:lnTo>
                  <a:lnTo>
                    <a:pt x="9761" y="1599"/>
                  </a:lnTo>
                  <a:lnTo>
                    <a:pt x="10006" y="1599"/>
                  </a:lnTo>
                  <a:lnTo>
                    <a:pt x="10013" y="1601"/>
                  </a:lnTo>
                  <a:lnTo>
                    <a:pt x="10020" y="1604"/>
                  </a:lnTo>
                  <a:lnTo>
                    <a:pt x="10024" y="1611"/>
                  </a:lnTo>
                  <a:lnTo>
                    <a:pt x="10026" y="1619"/>
                  </a:lnTo>
                  <a:lnTo>
                    <a:pt x="10026" y="1741"/>
                  </a:lnTo>
                  <a:lnTo>
                    <a:pt x="10978" y="1741"/>
                  </a:lnTo>
                  <a:lnTo>
                    <a:pt x="10987" y="1744"/>
                  </a:lnTo>
                  <a:lnTo>
                    <a:pt x="10994" y="1749"/>
                  </a:lnTo>
                  <a:lnTo>
                    <a:pt x="11211" y="2048"/>
                  </a:lnTo>
                  <a:lnTo>
                    <a:pt x="11235" y="2048"/>
                  </a:lnTo>
                  <a:lnTo>
                    <a:pt x="11242" y="2051"/>
                  </a:lnTo>
                  <a:lnTo>
                    <a:pt x="11248" y="2055"/>
                  </a:lnTo>
                  <a:lnTo>
                    <a:pt x="11253" y="2061"/>
                  </a:lnTo>
                  <a:lnTo>
                    <a:pt x="11255" y="2069"/>
                  </a:lnTo>
                  <a:lnTo>
                    <a:pt x="11255" y="2241"/>
                  </a:lnTo>
                  <a:lnTo>
                    <a:pt x="11253" y="2249"/>
                  </a:lnTo>
                  <a:lnTo>
                    <a:pt x="11248" y="2255"/>
                  </a:lnTo>
                  <a:lnTo>
                    <a:pt x="11242" y="2260"/>
                  </a:lnTo>
                  <a:lnTo>
                    <a:pt x="11235" y="2262"/>
                  </a:lnTo>
                  <a:lnTo>
                    <a:pt x="11224" y="2262"/>
                  </a:lnTo>
                  <a:lnTo>
                    <a:pt x="11224" y="3107"/>
                  </a:lnTo>
                  <a:lnTo>
                    <a:pt x="11223" y="3116"/>
                  </a:lnTo>
                  <a:lnTo>
                    <a:pt x="11217" y="3122"/>
                  </a:lnTo>
                  <a:lnTo>
                    <a:pt x="11211" y="3126"/>
                  </a:lnTo>
                  <a:lnTo>
                    <a:pt x="11205" y="3127"/>
                  </a:lnTo>
                  <a:lnTo>
                    <a:pt x="11197" y="3126"/>
                  </a:lnTo>
                  <a:lnTo>
                    <a:pt x="11190" y="3122"/>
                  </a:lnTo>
                  <a:lnTo>
                    <a:pt x="11185" y="3116"/>
                  </a:lnTo>
                  <a:lnTo>
                    <a:pt x="11184" y="3107"/>
                  </a:lnTo>
                  <a:lnTo>
                    <a:pt x="11184" y="2262"/>
                  </a:lnTo>
                  <a:lnTo>
                    <a:pt x="10285" y="2262"/>
                  </a:lnTo>
                  <a:lnTo>
                    <a:pt x="9388" y="2262"/>
                  </a:lnTo>
                  <a:lnTo>
                    <a:pt x="9388" y="3282"/>
                  </a:lnTo>
                  <a:lnTo>
                    <a:pt x="9388" y="4304"/>
                  </a:lnTo>
                  <a:lnTo>
                    <a:pt x="10285" y="4304"/>
                  </a:lnTo>
                  <a:lnTo>
                    <a:pt x="11184" y="4304"/>
                  </a:lnTo>
                  <a:lnTo>
                    <a:pt x="11184" y="3976"/>
                  </a:lnTo>
                  <a:lnTo>
                    <a:pt x="11185" y="3969"/>
                  </a:lnTo>
                  <a:lnTo>
                    <a:pt x="11190" y="3962"/>
                  </a:lnTo>
                  <a:lnTo>
                    <a:pt x="11197" y="3959"/>
                  </a:lnTo>
                  <a:lnTo>
                    <a:pt x="11205" y="3957"/>
                  </a:lnTo>
                  <a:lnTo>
                    <a:pt x="11211" y="3959"/>
                  </a:lnTo>
                  <a:lnTo>
                    <a:pt x="11217" y="3962"/>
                  </a:lnTo>
                  <a:lnTo>
                    <a:pt x="11223" y="3969"/>
                  </a:lnTo>
                  <a:lnTo>
                    <a:pt x="11224" y="3976"/>
                  </a:lnTo>
                  <a:lnTo>
                    <a:pt x="11224" y="4324"/>
                  </a:lnTo>
                  <a:lnTo>
                    <a:pt x="11223" y="4332"/>
                  </a:lnTo>
                  <a:lnTo>
                    <a:pt x="11217" y="4338"/>
                  </a:lnTo>
                  <a:lnTo>
                    <a:pt x="11211" y="4342"/>
                  </a:lnTo>
                  <a:lnTo>
                    <a:pt x="11205" y="4343"/>
                  </a:lnTo>
                  <a:lnTo>
                    <a:pt x="10285" y="4343"/>
                  </a:lnTo>
                  <a:lnTo>
                    <a:pt x="9367" y="4343"/>
                  </a:lnTo>
                  <a:lnTo>
                    <a:pt x="9361" y="4342"/>
                  </a:lnTo>
                  <a:lnTo>
                    <a:pt x="9354" y="4338"/>
                  </a:lnTo>
                  <a:lnTo>
                    <a:pt x="9349" y="4332"/>
                  </a:lnTo>
                  <a:lnTo>
                    <a:pt x="9348" y="4324"/>
                  </a:lnTo>
                  <a:lnTo>
                    <a:pt x="9348" y="3808"/>
                  </a:lnTo>
                  <a:lnTo>
                    <a:pt x="9348" y="3292"/>
                  </a:lnTo>
                  <a:lnTo>
                    <a:pt x="9348" y="2777"/>
                  </a:lnTo>
                  <a:lnTo>
                    <a:pt x="9348" y="2262"/>
                  </a:lnTo>
                  <a:lnTo>
                    <a:pt x="9336" y="2262"/>
                  </a:lnTo>
                  <a:lnTo>
                    <a:pt x="9329" y="2260"/>
                  </a:lnTo>
                  <a:lnTo>
                    <a:pt x="9322" y="2255"/>
                  </a:lnTo>
                  <a:lnTo>
                    <a:pt x="9318" y="2249"/>
                  </a:lnTo>
                  <a:lnTo>
                    <a:pt x="9317" y="2241"/>
                  </a:lnTo>
                  <a:lnTo>
                    <a:pt x="9317" y="2069"/>
                  </a:lnTo>
                  <a:lnTo>
                    <a:pt x="9318" y="2061"/>
                  </a:lnTo>
                  <a:lnTo>
                    <a:pt x="9322" y="2055"/>
                  </a:lnTo>
                  <a:lnTo>
                    <a:pt x="9329" y="2051"/>
                  </a:lnTo>
                  <a:lnTo>
                    <a:pt x="9336" y="2048"/>
                  </a:lnTo>
                  <a:lnTo>
                    <a:pt x="9364" y="2048"/>
                  </a:lnTo>
                  <a:lnTo>
                    <a:pt x="9581" y="1749"/>
                  </a:lnTo>
                  <a:lnTo>
                    <a:pt x="9589" y="1744"/>
                  </a:lnTo>
                  <a:lnTo>
                    <a:pt x="9598" y="1741"/>
                  </a:lnTo>
                  <a:lnTo>
                    <a:pt x="9740" y="1741"/>
                  </a:lnTo>
                  <a:close/>
                  <a:moveTo>
                    <a:pt x="9985" y="1741"/>
                  </a:moveTo>
                  <a:lnTo>
                    <a:pt x="9985" y="1639"/>
                  </a:lnTo>
                  <a:lnTo>
                    <a:pt x="9780" y="1639"/>
                  </a:lnTo>
                  <a:lnTo>
                    <a:pt x="9780" y="1741"/>
                  </a:lnTo>
                  <a:lnTo>
                    <a:pt x="9799" y="1741"/>
                  </a:lnTo>
                  <a:lnTo>
                    <a:pt x="9808" y="1743"/>
                  </a:lnTo>
                  <a:lnTo>
                    <a:pt x="9815" y="1748"/>
                  </a:lnTo>
                  <a:lnTo>
                    <a:pt x="9818" y="1754"/>
                  </a:lnTo>
                  <a:lnTo>
                    <a:pt x="9820" y="1762"/>
                  </a:lnTo>
                  <a:lnTo>
                    <a:pt x="9818" y="1768"/>
                  </a:lnTo>
                  <a:lnTo>
                    <a:pt x="9815" y="1775"/>
                  </a:lnTo>
                  <a:lnTo>
                    <a:pt x="9808" y="1780"/>
                  </a:lnTo>
                  <a:lnTo>
                    <a:pt x="9799" y="1781"/>
                  </a:lnTo>
                  <a:lnTo>
                    <a:pt x="9607" y="1781"/>
                  </a:lnTo>
                  <a:lnTo>
                    <a:pt x="9413" y="2048"/>
                  </a:lnTo>
                  <a:lnTo>
                    <a:pt x="10288" y="2048"/>
                  </a:lnTo>
                  <a:lnTo>
                    <a:pt x="11162" y="2048"/>
                  </a:lnTo>
                  <a:lnTo>
                    <a:pt x="10967" y="1781"/>
                  </a:lnTo>
                  <a:lnTo>
                    <a:pt x="9953" y="1781"/>
                  </a:lnTo>
                  <a:lnTo>
                    <a:pt x="9944" y="1780"/>
                  </a:lnTo>
                  <a:lnTo>
                    <a:pt x="9938" y="1775"/>
                  </a:lnTo>
                  <a:lnTo>
                    <a:pt x="9934" y="1768"/>
                  </a:lnTo>
                  <a:lnTo>
                    <a:pt x="9933" y="1762"/>
                  </a:lnTo>
                  <a:lnTo>
                    <a:pt x="9934" y="1754"/>
                  </a:lnTo>
                  <a:lnTo>
                    <a:pt x="9938" y="1748"/>
                  </a:lnTo>
                  <a:lnTo>
                    <a:pt x="9944" y="1743"/>
                  </a:lnTo>
                  <a:lnTo>
                    <a:pt x="9953" y="1741"/>
                  </a:lnTo>
                  <a:lnTo>
                    <a:pt x="9985" y="1741"/>
                  </a:lnTo>
                  <a:close/>
                  <a:moveTo>
                    <a:pt x="9372" y="2089"/>
                  </a:moveTo>
                  <a:lnTo>
                    <a:pt x="9357" y="2089"/>
                  </a:lnTo>
                  <a:lnTo>
                    <a:pt x="9357" y="2222"/>
                  </a:lnTo>
                  <a:lnTo>
                    <a:pt x="10285" y="2222"/>
                  </a:lnTo>
                  <a:lnTo>
                    <a:pt x="11215" y="2222"/>
                  </a:lnTo>
                  <a:lnTo>
                    <a:pt x="11215" y="2089"/>
                  </a:lnTo>
                  <a:lnTo>
                    <a:pt x="11205" y="2089"/>
                  </a:lnTo>
                  <a:lnTo>
                    <a:pt x="11198" y="2089"/>
                  </a:lnTo>
                  <a:lnTo>
                    <a:pt x="10288" y="2089"/>
                  </a:lnTo>
                  <a:lnTo>
                    <a:pt x="9379" y="2089"/>
                  </a:lnTo>
                  <a:lnTo>
                    <a:pt x="9372" y="2089"/>
                  </a:lnTo>
                  <a:close/>
                  <a:moveTo>
                    <a:pt x="11205" y="2089"/>
                  </a:moveTo>
                  <a:lnTo>
                    <a:pt x="11198" y="2089"/>
                  </a:lnTo>
                  <a:lnTo>
                    <a:pt x="11205" y="2089"/>
                  </a:lnTo>
                  <a:close/>
                  <a:moveTo>
                    <a:pt x="9379" y="2089"/>
                  </a:moveTo>
                  <a:lnTo>
                    <a:pt x="9372" y="2089"/>
                  </a:lnTo>
                  <a:lnTo>
                    <a:pt x="9379" y="2089"/>
                  </a:lnTo>
                  <a:close/>
                  <a:moveTo>
                    <a:pt x="11106" y="1136"/>
                  </a:moveTo>
                  <a:lnTo>
                    <a:pt x="11083" y="1126"/>
                  </a:lnTo>
                  <a:lnTo>
                    <a:pt x="11056" y="1122"/>
                  </a:lnTo>
                  <a:lnTo>
                    <a:pt x="11035" y="1125"/>
                  </a:lnTo>
                  <a:lnTo>
                    <a:pt x="11017" y="1130"/>
                  </a:lnTo>
                  <a:lnTo>
                    <a:pt x="10999" y="1140"/>
                  </a:lnTo>
                  <a:lnTo>
                    <a:pt x="10985" y="1152"/>
                  </a:lnTo>
                  <a:lnTo>
                    <a:pt x="10972" y="1167"/>
                  </a:lnTo>
                  <a:lnTo>
                    <a:pt x="10963" y="1185"/>
                  </a:lnTo>
                  <a:lnTo>
                    <a:pt x="10957" y="1204"/>
                  </a:lnTo>
                  <a:lnTo>
                    <a:pt x="10956" y="1225"/>
                  </a:lnTo>
                  <a:lnTo>
                    <a:pt x="10958" y="1246"/>
                  </a:lnTo>
                  <a:lnTo>
                    <a:pt x="11683" y="1245"/>
                  </a:lnTo>
                  <a:lnTo>
                    <a:pt x="11683" y="1227"/>
                  </a:lnTo>
                  <a:lnTo>
                    <a:pt x="11682" y="1208"/>
                  </a:lnTo>
                  <a:lnTo>
                    <a:pt x="11675" y="1190"/>
                  </a:lnTo>
                  <a:lnTo>
                    <a:pt x="11666" y="1174"/>
                  </a:lnTo>
                  <a:lnTo>
                    <a:pt x="11653" y="1159"/>
                  </a:lnTo>
                  <a:lnTo>
                    <a:pt x="11647" y="1153"/>
                  </a:lnTo>
                  <a:lnTo>
                    <a:pt x="11639" y="1148"/>
                  </a:lnTo>
                  <a:lnTo>
                    <a:pt x="11621" y="1139"/>
                  </a:lnTo>
                  <a:lnTo>
                    <a:pt x="11603" y="1133"/>
                  </a:lnTo>
                  <a:lnTo>
                    <a:pt x="11583" y="1131"/>
                  </a:lnTo>
                  <a:lnTo>
                    <a:pt x="11558" y="1134"/>
                  </a:lnTo>
                  <a:lnTo>
                    <a:pt x="11542" y="1138"/>
                  </a:lnTo>
                  <a:lnTo>
                    <a:pt x="11523" y="1139"/>
                  </a:lnTo>
                  <a:lnTo>
                    <a:pt x="11489" y="1133"/>
                  </a:lnTo>
                  <a:lnTo>
                    <a:pt x="11489" y="1113"/>
                  </a:lnTo>
                  <a:lnTo>
                    <a:pt x="11487" y="1096"/>
                  </a:lnTo>
                  <a:lnTo>
                    <a:pt x="11482" y="1078"/>
                  </a:lnTo>
                  <a:lnTo>
                    <a:pt x="11476" y="1061"/>
                  </a:lnTo>
                  <a:lnTo>
                    <a:pt x="11469" y="1044"/>
                  </a:lnTo>
                  <a:lnTo>
                    <a:pt x="11460" y="1030"/>
                  </a:lnTo>
                  <a:lnTo>
                    <a:pt x="11451" y="1016"/>
                  </a:lnTo>
                  <a:lnTo>
                    <a:pt x="11439" y="1002"/>
                  </a:lnTo>
                  <a:lnTo>
                    <a:pt x="11412" y="980"/>
                  </a:lnTo>
                  <a:lnTo>
                    <a:pt x="11383" y="964"/>
                  </a:lnTo>
                  <a:lnTo>
                    <a:pt x="11366" y="957"/>
                  </a:lnTo>
                  <a:lnTo>
                    <a:pt x="11349" y="954"/>
                  </a:lnTo>
                  <a:lnTo>
                    <a:pt x="11312" y="950"/>
                  </a:lnTo>
                  <a:lnTo>
                    <a:pt x="11278" y="954"/>
                  </a:lnTo>
                  <a:lnTo>
                    <a:pt x="11261" y="957"/>
                  </a:lnTo>
                  <a:lnTo>
                    <a:pt x="11246" y="963"/>
                  </a:lnTo>
                  <a:lnTo>
                    <a:pt x="11230" y="970"/>
                  </a:lnTo>
                  <a:lnTo>
                    <a:pt x="11216" y="978"/>
                  </a:lnTo>
                  <a:lnTo>
                    <a:pt x="11190" y="998"/>
                  </a:lnTo>
                  <a:lnTo>
                    <a:pt x="11170" y="1024"/>
                  </a:lnTo>
                  <a:lnTo>
                    <a:pt x="11153" y="1053"/>
                  </a:lnTo>
                  <a:lnTo>
                    <a:pt x="11147" y="1069"/>
                  </a:lnTo>
                  <a:lnTo>
                    <a:pt x="11142" y="1085"/>
                  </a:lnTo>
                  <a:lnTo>
                    <a:pt x="11138" y="1102"/>
                  </a:lnTo>
                  <a:lnTo>
                    <a:pt x="11137" y="1120"/>
                  </a:lnTo>
                  <a:lnTo>
                    <a:pt x="11134" y="1131"/>
                  </a:lnTo>
                  <a:lnTo>
                    <a:pt x="11126" y="1138"/>
                  </a:lnTo>
                  <a:lnTo>
                    <a:pt x="11122" y="1139"/>
                  </a:lnTo>
                  <a:lnTo>
                    <a:pt x="11117" y="1140"/>
                  </a:lnTo>
                  <a:lnTo>
                    <a:pt x="11106" y="1136"/>
                  </a:lnTo>
                  <a:close/>
                  <a:moveTo>
                    <a:pt x="11528" y="1106"/>
                  </a:moveTo>
                  <a:lnTo>
                    <a:pt x="11539" y="1098"/>
                  </a:lnTo>
                  <a:lnTo>
                    <a:pt x="11555" y="1094"/>
                  </a:lnTo>
                  <a:lnTo>
                    <a:pt x="11583" y="1090"/>
                  </a:lnTo>
                  <a:lnTo>
                    <a:pt x="11611" y="1094"/>
                  </a:lnTo>
                  <a:lnTo>
                    <a:pt x="11624" y="1097"/>
                  </a:lnTo>
                  <a:lnTo>
                    <a:pt x="11637" y="1102"/>
                  </a:lnTo>
                  <a:lnTo>
                    <a:pt x="11660" y="1115"/>
                  </a:lnTo>
                  <a:lnTo>
                    <a:pt x="11682" y="1131"/>
                  </a:lnTo>
                  <a:lnTo>
                    <a:pt x="11698" y="1151"/>
                  </a:lnTo>
                  <a:lnTo>
                    <a:pt x="11712" y="1174"/>
                  </a:lnTo>
                  <a:lnTo>
                    <a:pt x="11720" y="1199"/>
                  </a:lnTo>
                  <a:lnTo>
                    <a:pt x="11723" y="1213"/>
                  </a:lnTo>
                  <a:lnTo>
                    <a:pt x="11723" y="1227"/>
                  </a:lnTo>
                  <a:lnTo>
                    <a:pt x="11723" y="1243"/>
                  </a:lnTo>
                  <a:lnTo>
                    <a:pt x="11721" y="1262"/>
                  </a:lnTo>
                  <a:lnTo>
                    <a:pt x="11714" y="1278"/>
                  </a:lnTo>
                  <a:lnTo>
                    <a:pt x="11707" y="1284"/>
                  </a:lnTo>
                  <a:lnTo>
                    <a:pt x="11700" y="1285"/>
                  </a:lnTo>
                  <a:lnTo>
                    <a:pt x="10943" y="1286"/>
                  </a:lnTo>
                  <a:lnTo>
                    <a:pt x="10934" y="1285"/>
                  </a:lnTo>
                  <a:lnTo>
                    <a:pt x="10928" y="1280"/>
                  </a:lnTo>
                  <a:lnTo>
                    <a:pt x="10924" y="1271"/>
                  </a:lnTo>
                  <a:lnTo>
                    <a:pt x="10920" y="1262"/>
                  </a:lnTo>
                  <a:lnTo>
                    <a:pt x="10916" y="1240"/>
                  </a:lnTo>
                  <a:lnTo>
                    <a:pt x="10915" y="1225"/>
                  </a:lnTo>
                  <a:lnTo>
                    <a:pt x="10919" y="1197"/>
                  </a:lnTo>
                  <a:lnTo>
                    <a:pt x="10926" y="1170"/>
                  </a:lnTo>
                  <a:lnTo>
                    <a:pt x="10939" y="1145"/>
                  </a:lnTo>
                  <a:lnTo>
                    <a:pt x="10956" y="1125"/>
                  </a:lnTo>
                  <a:lnTo>
                    <a:pt x="10978" y="1107"/>
                  </a:lnTo>
                  <a:lnTo>
                    <a:pt x="10989" y="1099"/>
                  </a:lnTo>
                  <a:lnTo>
                    <a:pt x="11001" y="1094"/>
                  </a:lnTo>
                  <a:lnTo>
                    <a:pt x="11028" y="1085"/>
                  </a:lnTo>
                  <a:lnTo>
                    <a:pt x="11042" y="1083"/>
                  </a:lnTo>
                  <a:lnTo>
                    <a:pt x="11056" y="1083"/>
                  </a:lnTo>
                  <a:lnTo>
                    <a:pt x="11079" y="1084"/>
                  </a:lnTo>
                  <a:lnTo>
                    <a:pt x="11101" y="1089"/>
                  </a:lnTo>
                  <a:lnTo>
                    <a:pt x="11110" y="1052"/>
                  </a:lnTo>
                  <a:lnTo>
                    <a:pt x="11126" y="1019"/>
                  </a:lnTo>
                  <a:lnTo>
                    <a:pt x="11147" y="988"/>
                  </a:lnTo>
                  <a:lnTo>
                    <a:pt x="11173" y="961"/>
                  </a:lnTo>
                  <a:lnTo>
                    <a:pt x="11202" y="940"/>
                  </a:lnTo>
                  <a:lnTo>
                    <a:pt x="11237" y="923"/>
                  </a:lnTo>
                  <a:lnTo>
                    <a:pt x="11274" y="913"/>
                  </a:lnTo>
                  <a:lnTo>
                    <a:pt x="11312" y="910"/>
                  </a:lnTo>
                  <a:lnTo>
                    <a:pt x="11355" y="914"/>
                  </a:lnTo>
                  <a:lnTo>
                    <a:pt x="11374" y="918"/>
                  </a:lnTo>
                  <a:lnTo>
                    <a:pt x="11393" y="925"/>
                  </a:lnTo>
                  <a:lnTo>
                    <a:pt x="11428" y="942"/>
                  </a:lnTo>
                  <a:lnTo>
                    <a:pt x="11444" y="954"/>
                  </a:lnTo>
                  <a:lnTo>
                    <a:pt x="11458" y="966"/>
                  </a:lnTo>
                  <a:lnTo>
                    <a:pt x="11473" y="980"/>
                  </a:lnTo>
                  <a:lnTo>
                    <a:pt x="11485" y="996"/>
                  </a:lnTo>
                  <a:lnTo>
                    <a:pt x="11506" y="1029"/>
                  </a:lnTo>
                  <a:lnTo>
                    <a:pt x="11514" y="1047"/>
                  </a:lnTo>
                  <a:lnTo>
                    <a:pt x="11520" y="1066"/>
                  </a:lnTo>
                  <a:lnTo>
                    <a:pt x="11525" y="1085"/>
                  </a:lnTo>
                  <a:lnTo>
                    <a:pt x="11528" y="1106"/>
                  </a:lnTo>
                  <a:close/>
                  <a:moveTo>
                    <a:pt x="13515" y="644"/>
                  </a:moveTo>
                  <a:lnTo>
                    <a:pt x="13404" y="644"/>
                  </a:lnTo>
                  <a:lnTo>
                    <a:pt x="13404" y="754"/>
                  </a:lnTo>
                  <a:lnTo>
                    <a:pt x="13515" y="754"/>
                  </a:lnTo>
                  <a:lnTo>
                    <a:pt x="13515" y="644"/>
                  </a:lnTo>
                  <a:close/>
                  <a:moveTo>
                    <a:pt x="13534" y="605"/>
                  </a:moveTo>
                  <a:lnTo>
                    <a:pt x="13542" y="606"/>
                  </a:lnTo>
                  <a:lnTo>
                    <a:pt x="13549" y="611"/>
                  </a:lnTo>
                  <a:lnTo>
                    <a:pt x="13552" y="617"/>
                  </a:lnTo>
                  <a:lnTo>
                    <a:pt x="13555" y="624"/>
                  </a:lnTo>
                  <a:lnTo>
                    <a:pt x="13555" y="754"/>
                  </a:lnTo>
                  <a:lnTo>
                    <a:pt x="14078" y="754"/>
                  </a:lnTo>
                  <a:lnTo>
                    <a:pt x="14086" y="757"/>
                  </a:lnTo>
                  <a:lnTo>
                    <a:pt x="14092" y="761"/>
                  </a:lnTo>
                  <a:lnTo>
                    <a:pt x="14097" y="767"/>
                  </a:lnTo>
                  <a:lnTo>
                    <a:pt x="14099" y="775"/>
                  </a:lnTo>
                  <a:lnTo>
                    <a:pt x="14099" y="1471"/>
                  </a:lnTo>
                  <a:lnTo>
                    <a:pt x="14099" y="2170"/>
                  </a:lnTo>
                  <a:lnTo>
                    <a:pt x="14097" y="2177"/>
                  </a:lnTo>
                  <a:lnTo>
                    <a:pt x="14092" y="2184"/>
                  </a:lnTo>
                  <a:lnTo>
                    <a:pt x="14086" y="2188"/>
                  </a:lnTo>
                  <a:lnTo>
                    <a:pt x="14078" y="2189"/>
                  </a:lnTo>
                  <a:lnTo>
                    <a:pt x="14072" y="2188"/>
                  </a:lnTo>
                  <a:lnTo>
                    <a:pt x="14065" y="2184"/>
                  </a:lnTo>
                  <a:lnTo>
                    <a:pt x="14060" y="2177"/>
                  </a:lnTo>
                  <a:lnTo>
                    <a:pt x="14059" y="2170"/>
                  </a:lnTo>
                  <a:lnTo>
                    <a:pt x="14059" y="1482"/>
                  </a:lnTo>
                  <a:lnTo>
                    <a:pt x="14059" y="795"/>
                  </a:lnTo>
                  <a:lnTo>
                    <a:pt x="13534" y="795"/>
                  </a:lnTo>
                  <a:lnTo>
                    <a:pt x="13384" y="795"/>
                  </a:lnTo>
                  <a:lnTo>
                    <a:pt x="13150" y="795"/>
                  </a:lnTo>
                  <a:lnTo>
                    <a:pt x="13141" y="793"/>
                  </a:lnTo>
                  <a:lnTo>
                    <a:pt x="13134" y="789"/>
                  </a:lnTo>
                  <a:lnTo>
                    <a:pt x="13131" y="782"/>
                  </a:lnTo>
                  <a:lnTo>
                    <a:pt x="13129" y="775"/>
                  </a:lnTo>
                  <a:lnTo>
                    <a:pt x="13131" y="767"/>
                  </a:lnTo>
                  <a:lnTo>
                    <a:pt x="13134" y="761"/>
                  </a:lnTo>
                  <a:lnTo>
                    <a:pt x="13141" y="757"/>
                  </a:lnTo>
                  <a:lnTo>
                    <a:pt x="13150" y="754"/>
                  </a:lnTo>
                  <a:lnTo>
                    <a:pt x="13201" y="754"/>
                  </a:lnTo>
                  <a:lnTo>
                    <a:pt x="13201" y="612"/>
                  </a:lnTo>
                  <a:lnTo>
                    <a:pt x="12798" y="612"/>
                  </a:lnTo>
                  <a:lnTo>
                    <a:pt x="12798" y="754"/>
                  </a:lnTo>
                  <a:lnTo>
                    <a:pt x="12852" y="754"/>
                  </a:lnTo>
                  <a:lnTo>
                    <a:pt x="12861" y="757"/>
                  </a:lnTo>
                  <a:lnTo>
                    <a:pt x="12868" y="761"/>
                  </a:lnTo>
                  <a:lnTo>
                    <a:pt x="12872" y="767"/>
                  </a:lnTo>
                  <a:lnTo>
                    <a:pt x="12873" y="775"/>
                  </a:lnTo>
                  <a:lnTo>
                    <a:pt x="12872" y="782"/>
                  </a:lnTo>
                  <a:lnTo>
                    <a:pt x="12868" y="789"/>
                  </a:lnTo>
                  <a:lnTo>
                    <a:pt x="12861" y="793"/>
                  </a:lnTo>
                  <a:lnTo>
                    <a:pt x="12852" y="795"/>
                  </a:lnTo>
                  <a:lnTo>
                    <a:pt x="12664" y="795"/>
                  </a:lnTo>
                  <a:lnTo>
                    <a:pt x="12664" y="1810"/>
                  </a:lnTo>
                  <a:lnTo>
                    <a:pt x="12664" y="2826"/>
                  </a:lnTo>
                  <a:lnTo>
                    <a:pt x="12661" y="2835"/>
                  </a:lnTo>
                  <a:lnTo>
                    <a:pt x="12657" y="2840"/>
                  </a:lnTo>
                  <a:lnTo>
                    <a:pt x="12651" y="2844"/>
                  </a:lnTo>
                  <a:lnTo>
                    <a:pt x="12643" y="2845"/>
                  </a:lnTo>
                  <a:lnTo>
                    <a:pt x="12636" y="2844"/>
                  </a:lnTo>
                  <a:lnTo>
                    <a:pt x="12629" y="2840"/>
                  </a:lnTo>
                  <a:lnTo>
                    <a:pt x="12625" y="2835"/>
                  </a:lnTo>
                  <a:lnTo>
                    <a:pt x="12624" y="2826"/>
                  </a:lnTo>
                  <a:lnTo>
                    <a:pt x="12624" y="2313"/>
                  </a:lnTo>
                  <a:lnTo>
                    <a:pt x="12624" y="1800"/>
                  </a:lnTo>
                  <a:lnTo>
                    <a:pt x="12624" y="1287"/>
                  </a:lnTo>
                  <a:lnTo>
                    <a:pt x="12624" y="775"/>
                  </a:lnTo>
                  <a:lnTo>
                    <a:pt x="12625" y="767"/>
                  </a:lnTo>
                  <a:lnTo>
                    <a:pt x="12629" y="761"/>
                  </a:lnTo>
                  <a:lnTo>
                    <a:pt x="12636" y="757"/>
                  </a:lnTo>
                  <a:lnTo>
                    <a:pt x="12643" y="754"/>
                  </a:lnTo>
                  <a:lnTo>
                    <a:pt x="12759" y="754"/>
                  </a:lnTo>
                  <a:lnTo>
                    <a:pt x="12759" y="592"/>
                  </a:lnTo>
                  <a:lnTo>
                    <a:pt x="12760" y="584"/>
                  </a:lnTo>
                  <a:lnTo>
                    <a:pt x="12764" y="578"/>
                  </a:lnTo>
                  <a:lnTo>
                    <a:pt x="12770" y="574"/>
                  </a:lnTo>
                  <a:lnTo>
                    <a:pt x="12778" y="573"/>
                  </a:lnTo>
                  <a:lnTo>
                    <a:pt x="13220" y="573"/>
                  </a:lnTo>
                  <a:lnTo>
                    <a:pt x="13228" y="574"/>
                  </a:lnTo>
                  <a:lnTo>
                    <a:pt x="13234" y="578"/>
                  </a:lnTo>
                  <a:lnTo>
                    <a:pt x="13240" y="584"/>
                  </a:lnTo>
                  <a:lnTo>
                    <a:pt x="13241" y="592"/>
                  </a:lnTo>
                  <a:lnTo>
                    <a:pt x="13241" y="754"/>
                  </a:lnTo>
                  <a:lnTo>
                    <a:pt x="13364" y="754"/>
                  </a:lnTo>
                  <a:lnTo>
                    <a:pt x="13364" y="624"/>
                  </a:lnTo>
                  <a:lnTo>
                    <a:pt x="13365" y="617"/>
                  </a:lnTo>
                  <a:lnTo>
                    <a:pt x="13370" y="611"/>
                  </a:lnTo>
                  <a:lnTo>
                    <a:pt x="13377" y="606"/>
                  </a:lnTo>
                  <a:lnTo>
                    <a:pt x="13384" y="605"/>
                  </a:lnTo>
                  <a:lnTo>
                    <a:pt x="13534" y="605"/>
                  </a:lnTo>
                  <a:close/>
                  <a:moveTo>
                    <a:pt x="15835" y="2587"/>
                  </a:moveTo>
                  <a:lnTo>
                    <a:pt x="15677" y="2587"/>
                  </a:lnTo>
                  <a:lnTo>
                    <a:pt x="15677" y="3445"/>
                  </a:lnTo>
                  <a:lnTo>
                    <a:pt x="15677" y="4304"/>
                  </a:lnTo>
                  <a:lnTo>
                    <a:pt x="16008" y="4304"/>
                  </a:lnTo>
                  <a:lnTo>
                    <a:pt x="16008" y="3419"/>
                  </a:lnTo>
                  <a:lnTo>
                    <a:pt x="16008" y="2534"/>
                  </a:lnTo>
                  <a:lnTo>
                    <a:pt x="16009" y="2525"/>
                  </a:lnTo>
                  <a:lnTo>
                    <a:pt x="16012" y="2519"/>
                  </a:lnTo>
                  <a:lnTo>
                    <a:pt x="16016" y="2515"/>
                  </a:lnTo>
                  <a:lnTo>
                    <a:pt x="16021" y="2511"/>
                  </a:lnTo>
                  <a:lnTo>
                    <a:pt x="16027" y="2511"/>
                  </a:lnTo>
                  <a:lnTo>
                    <a:pt x="16032" y="2512"/>
                  </a:lnTo>
                  <a:lnTo>
                    <a:pt x="16039" y="2516"/>
                  </a:lnTo>
                  <a:lnTo>
                    <a:pt x="16045" y="2523"/>
                  </a:lnTo>
                  <a:lnTo>
                    <a:pt x="16536" y="3199"/>
                  </a:lnTo>
                  <a:lnTo>
                    <a:pt x="16536" y="2534"/>
                  </a:lnTo>
                  <a:lnTo>
                    <a:pt x="16538" y="2525"/>
                  </a:lnTo>
                  <a:lnTo>
                    <a:pt x="16540" y="2519"/>
                  </a:lnTo>
                  <a:lnTo>
                    <a:pt x="16544" y="2515"/>
                  </a:lnTo>
                  <a:lnTo>
                    <a:pt x="16549" y="2511"/>
                  </a:lnTo>
                  <a:lnTo>
                    <a:pt x="16556" y="2511"/>
                  </a:lnTo>
                  <a:lnTo>
                    <a:pt x="16562" y="2512"/>
                  </a:lnTo>
                  <a:lnTo>
                    <a:pt x="16567" y="2516"/>
                  </a:lnTo>
                  <a:lnTo>
                    <a:pt x="16573" y="2523"/>
                  </a:lnTo>
                  <a:lnTo>
                    <a:pt x="17076" y="3214"/>
                  </a:lnTo>
                  <a:lnTo>
                    <a:pt x="17076" y="2534"/>
                  </a:lnTo>
                  <a:lnTo>
                    <a:pt x="17077" y="2525"/>
                  </a:lnTo>
                  <a:lnTo>
                    <a:pt x="17080" y="2519"/>
                  </a:lnTo>
                  <a:lnTo>
                    <a:pt x="17084" y="2515"/>
                  </a:lnTo>
                  <a:lnTo>
                    <a:pt x="17089" y="2511"/>
                  </a:lnTo>
                  <a:lnTo>
                    <a:pt x="17094" y="2511"/>
                  </a:lnTo>
                  <a:lnTo>
                    <a:pt x="17100" y="2512"/>
                  </a:lnTo>
                  <a:lnTo>
                    <a:pt x="17107" y="2516"/>
                  </a:lnTo>
                  <a:lnTo>
                    <a:pt x="17112" y="2523"/>
                  </a:lnTo>
                  <a:lnTo>
                    <a:pt x="17640" y="3249"/>
                  </a:lnTo>
                  <a:lnTo>
                    <a:pt x="17644" y="3258"/>
                  </a:lnTo>
                  <a:lnTo>
                    <a:pt x="17644" y="3265"/>
                  </a:lnTo>
                  <a:lnTo>
                    <a:pt x="17642" y="3272"/>
                  </a:lnTo>
                  <a:lnTo>
                    <a:pt x="17636" y="3277"/>
                  </a:lnTo>
                  <a:lnTo>
                    <a:pt x="17630" y="3281"/>
                  </a:lnTo>
                  <a:lnTo>
                    <a:pt x="17622" y="3281"/>
                  </a:lnTo>
                  <a:lnTo>
                    <a:pt x="17615" y="3280"/>
                  </a:lnTo>
                  <a:lnTo>
                    <a:pt x="17608" y="3273"/>
                  </a:lnTo>
                  <a:lnTo>
                    <a:pt x="17116" y="2595"/>
                  </a:lnTo>
                  <a:lnTo>
                    <a:pt x="17116" y="3262"/>
                  </a:lnTo>
                  <a:lnTo>
                    <a:pt x="17113" y="3271"/>
                  </a:lnTo>
                  <a:lnTo>
                    <a:pt x="17108" y="3278"/>
                  </a:lnTo>
                  <a:lnTo>
                    <a:pt x="17099" y="3281"/>
                  </a:lnTo>
                  <a:lnTo>
                    <a:pt x="17090" y="3281"/>
                  </a:lnTo>
                  <a:lnTo>
                    <a:pt x="17080" y="3281"/>
                  </a:lnTo>
                  <a:lnTo>
                    <a:pt x="17074" y="3278"/>
                  </a:lnTo>
                  <a:lnTo>
                    <a:pt x="17070" y="3273"/>
                  </a:lnTo>
                  <a:lnTo>
                    <a:pt x="16577" y="2595"/>
                  </a:lnTo>
                  <a:lnTo>
                    <a:pt x="16577" y="3258"/>
                  </a:lnTo>
                  <a:lnTo>
                    <a:pt x="16577" y="3264"/>
                  </a:lnTo>
                  <a:lnTo>
                    <a:pt x="16575" y="3269"/>
                  </a:lnTo>
                  <a:lnTo>
                    <a:pt x="16571" y="3276"/>
                  </a:lnTo>
                  <a:lnTo>
                    <a:pt x="16563" y="3281"/>
                  </a:lnTo>
                  <a:lnTo>
                    <a:pt x="16554" y="3281"/>
                  </a:lnTo>
                  <a:lnTo>
                    <a:pt x="16547" y="3278"/>
                  </a:lnTo>
                  <a:lnTo>
                    <a:pt x="16541" y="3276"/>
                  </a:lnTo>
                  <a:lnTo>
                    <a:pt x="16539" y="3271"/>
                  </a:lnTo>
                  <a:lnTo>
                    <a:pt x="16049" y="2595"/>
                  </a:lnTo>
                  <a:lnTo>
                    <a:pt x="16049" y="3450"/>
                  </a:lnTo>
                  <a:lnTo>
                    <a:pt x="16049" y="4304"/>
                  </a:lnTo>
                  <a:lnTo>
                    <a:pt x="16844" y="4304"/>
                  </a:lnTo>
                  <a:lnTo>
                    <a:pt x="16853" y="4305"/>
                  </a:lnTo>
                  <a:lnTo>
                    <a:pt x="16859" y="4310"/>
                  </a:lnTo>
                  <a:lnTo>
                    <a:pt x="16863" y="4317"/>
                  </a:lnTo>
                  <a:lnTo>
                    <a:pt x="16865" y="4324"/>
                  </a:lnTo>
                  <a:lnTo>
                    <a:pt x="16863" y="4331"/>
                  </a:lnTo>
                  <a:lnTo>
                    <a:pt x="16859" y="4337"/>
                  </a:lnTo>
                  <a:lnTo>
                    <a:pt x="16853" y="4342"/>
                  </a:lnTo>
                  <a:lnTo>
                    <a:pt x="16844" y="4343"/>
                  </a:lnTo>
                  <a:lnTo>
                    <a:pt x="16250" y="4343"/>
                  </a:lnTo>
                  <a:lnTo>
                    <a:pt x="15657" y="4343"/>
                  </a:lnTo>
                  <a:lnTo>
                    <a:pt x="14760" y="4343"/>
                  </a:lnTo>
                  <a:lnTo>
                    <a:pt x="13864" y="4343"/>
                  </a:lnTo>
                  <a:lnTo>
                    <a:pt x="13856" y="4342"/>
                  </a:lnTo>
                  <a:lnTo>
                    <a:pt x="13850" y="4338"/>
                  </a:lnTo>
                  <a:lnTo>
                    <a:pt x="13846" y="4332"/>
                  </a:lnTo>
                  <a:lnTo>
                    <a:pt x="13843" y="4324"/>
                  </a:lnTo>
                  <a:lnTo>
                    <a:pt x="13843" y="3455"/>
                  </a:lnTo>
                  <a:lnTo>
                    <a:pt x="13843" y="2587"/>
                  </a:lnTo>
                  <a:lnTo>
                    <a:pt x="13686" y="2587"/>
                  </a:lnTo>
                  <a:lnTo>
                    <a:pt x="13677" y="2585"/>
                  </a:lnTo>
                  <a:lnTo>
                    <a:pt x="13670" y="2581"/>
                  </a:lnTo>
                  <a:lnTo>
                    <a:pt x="13667" y="2575"/>
                  </a:lnTo>
                  <a:lnTo>
                    <a:pt x="13665" y="2567"/>
                  </a:lnTo>
                  <a:lnTo>
                    <a:pt x="13667" y="2560"/>
                  </a:lnTo>
                  <a:lnTo>
                    <a:pt x="13670" y="2553"/>
                  </a:lnTo>
                  <a:lnTo>
                    <a:pt x="13677" y="2549"/>
                  </a:lnTo>
                  <a:lnTo>
                    <a:pt x="13686" y="2547"/>
                  </a:lnTo>
                  <a:lnTo>
                    <a:pt x="13963" y="2547"/>
                  </a:lnTo>
                  <a:lnTo>
                    <a:pt x="13963" y="2374"/>
                  </a:lnTo>
                  <a:lnTo>
                    <a:pt x="13964" y="2367"/>
                  </a:lnTo>
                  <a:lnTo>
                    <a:pt x="13968" y="2360"/>
                  </a:lnTo>
                  <a:lnTo>
                    <a:pt x="13974" y="2355"/>
                  </a:lnTo>
                  <a:lnTo>
                    <a:pt x="13982" y="2354"/>
                  </a:lnTo>
                  <a:lnTo>
                    <a:pt x="14750" y="2354"/>
                  </a:lnTo>
                  <a:lnTo>
                    <a:pt x="15519" y="2354"/>
                  </a:lnTo>
                  <a:lnTo>
                    <a:pt x="15527" y="2355"/>
                  </a:lnTo>
                  <a:lnTo>
                    <a:pt x="15534" y="2360"/>
                  </a:lnTo>
                  <a:lnTo>
                    <a:pt x="15537" y="2367"/>
                  </a:lnTo>
                  <a:lnTo>
                    <a:pt x="15539" y="2374"/>
                  </a:lnTo>
                  <a:lnTo>
                    <a:pt x="15539" y="2547"/>
                  </a:lnTo>
                  <a:lnTo>
                    <a:pt x="15835" y="2547"/>
                  </a:lnTo>
                  <a:lnTo>
                    <a:pt x="15844" y="2549"/>
                  </a:lnTo>
                  <a:lnTo>
                    <a:pt x="15850" y="2553"/>
                  </a:lnTo>
                  <a:lnTo>
                    <a:pt x="15854" y="2560"/>
                  </a:lnTo>
                  <a:lnTo>
                    <a:pt x="15855" y="2567"/>
                  </a:lnTo>
                  <a:lnTo>
                    <a:pt x="15854" y="2575"/>
                  </a:lnTo>
                  <a:lnTo>
                    <a:pt x="15850" y="2581"/>
                  </a:lnTo>
                  <a:lnTo>
                    <a:pt x="15844" y="2585"/>
                  </a:lnTo>
                  <a:lnTo>
                    <a:pt x="15835" y="2587"/>
                  </a:lnTo>
                  <a:close/>
                  <a:moveTo>
                    <a:pt x="15636" y="2587"/>
                  </a:moveTo>
                  <a:lnTo>
                    <a:pt x="14760" y="2587"/>
                  </a:lnTo>
                  <a:lnTo>
                    <a:pt x="13885" y="2587"/>
                  </a:lnTo>
                  <a:lnTo>
                    <a:pt x="13885" y="3445"/>
                  </a:lnTo>
                  <a:lnTo>
                    <a:pt x="13885" y="4304"/>
                  </a:lnTo>
                  <a:lnTo>
                    <a:pt x="14760" y="4304"/>
                  </a:lnTo>
                  <a:lnTo>
                    <a:pt x="15636" y="4304"/>
                  </a:lnTo>
                  <a:lnTo>
                    <a:pt x="15636" y="3445"/>
                  </a:lnTo>
                  <a:lnTo>
                    <a:pt x="15636" y="2587"/>
                  </a:lnTo>
                  <a:close/>
                  <a:moveTo>
                    <a:pt x="14002" y="2547"/>
                  </a:moveTo>
                  <a:lnTo>
                    <a:pt x="14750" y="2547"/>
                  </a:lnTo>
                  <a:lnTo>
                    <a:pt x="15499" y="2547"/>
                  </a:lnTo>
                  <a:lnTo>
                    <a:pt x="15499" y="2393"/>
                  </a:lnTo>
                  <a:lnTo>
                    <a:pt x="14750" y="2393"/>
                  </a:lnTo>
                  <a:lnTo>
                    <a:pt x="14002" y="2393"/>
                  </a:lnTo>
                  <a:lnTo>
                    <a:pt x="14002" y="2547"/>
                  </a:lnTo>
                  <a:close/>
                  <a:moveTo>
                    <a:pt x="15171" y="3639"/>
                  </a:moveTo>
                  <a:lnTo>
                    <a:pt x="15171" y="3751"/>
                  </a:lnTo>
                  <a:lnTo>
                    <a:pt x="15168" y="3760"/>
                  </a:lnTo>
                  <a:lnTo>
                    <a:pt x="15164" y="3765"/>
                  </a:lnTo>
                  <a:lnTo>
                    <a:pt x="15158" y="3769"/>
                  </a:lnTo>
                  <a:lnTo>
                    <a:pt x="15150" y="3771"/>
                  </a:lnTo>
                  <a:lnTo>
                    <a:pt x="15142" y="3769"/>
                  </a:lnTo>
                  <a:lnTo>
                    <a:pt x="15136" y="3765"/>
                  </a:lnTo>
                  <a:lnTo>
                    <a:pt x="15132" y="3760"/>
                  </a:lnTo>
                  <a:lnTo>
                    <a:pt x="15131" y="3751"/>
                  </a:lnTo>
                  <a:lnTo>
                    <a:pt x="15131" y="3639"/>
                  </a:lnTo>
                  <a:lnTo>
                    <a:pt x="15132" y="3630"/>
                  </a:lnTo>
                  <a:lnTo>
                    <a:pt x="15136" y="3624"/>
                  </a:lnTo>
                  <a:lnTo>
                    <a:pt x="15142" y="3620"/>
                  </a:lnTo>
                  <a:lnTo>
                    <a:pt x="15150" y="3618"/>
                  </a:lnTo>
                  <a:lnTo>
                    <a:pt x="15158" y="3620"/>
                  </a:lnTo>
                  <a:lnTo>
                    <a:pt x="15164" y="3624"/>
                  </a:lnTo>
                  <a:lnTo>
                    <a:pt x="15168" y="3630"/>
                  </a:lnTo>
                  <a:lnTo>
                    <a:pt x="15171" y="3639"/>
                  </a:lnTo>
                  <a:close/>
                  <a:moveTo>
                    <a:pt x="14908" y="3639"/>
                  </a:moveTo>
                  <a:lnTo>
                    <a:pt x="14908" y="3751"/>
                  </a:lnTo>
                  <a:lnTo>
                    <a:pt x="14905" y="3760"/>
                  </a:lnTo>
                  <a:lnTo>
                    <a:pt x="14901" y="3765"/>
                  </a:lnTo>
                  <a:lnTo>
                    <a:pt x="14895" y="3769"/>
                  </a:lnTo>
                  <a:lnTo>
                    <a:pt x="14887" y="3771"/>
                  </a:lnTo>
                  <a:lnTo>
                    <a:pt x="14880" y="3769"/>
                  </a:lnTo>
                  <a:lnTo>
                    <a:pt x="14873" y="3765"/>
                  </a:lnTo>
                  <a:lnTo>
                    <a:pt x="14869" y="3760"/>
                  </a:lnTo>
                  <a:lnTo>
                    <a:pt x="14867" y="3751"/>
                  </a:lnTo>
                  <a:lnTo>
                    <a:pt x="14867" y="3639"/>
                  </a:lnTo>
                  <a:lnTo>
                    <a:pt x="14869" y="3630"/>
                  </a:lnTo>
                  <a:lnTo>
                    <a:pt x="14873" y="3624"/>
                  </a:lnTo>
                  <a:lnTo>
                    <a:pt x="14880" y="3620"/>
                  </a:lnTo>
                  <a:lnTo>
                    <a:pt x="14887" y="3618"/>
                  </a:lnTo>
                  <a:lnTo>
                    <a:pt x="14895" y="3620"/>
                  </a:lnTo>
                  <a:lnTo>
                    <a:pt x="14901" y="3624"/>
                  </a:lnTo>
                  <a:lnTo>
                    <a:pt x="14905" y="3630"/>
                  </a:lnTo>
                  <a:lnTo>
                    <a:pt x="14908" y="3639"/>
                  </a:lnTo>
                  <a:close/>
                  <a:moveTo>
                    <a:pt x="14644" y="3639"/>
                  </a:moveTo>
                  <a:lnTo>
                    <a:pt x="14644" y="3751"/>
                  </a:lnTo>
                  <a:lnTo>
                    <a:pt x="14642" y="3760"/>
                  </a:lnTo>
                  <a:lnTo>
                    <a:pt x="14637" y="3765"/>
                  </a:lnTo>
                  <a:lnTo>
                    <a:pt x="14631" y="3769"/>
                  </a:lnTo>
                  <a:lnTo>
                    <a:pt x="14624" y="3771"/>
                  </a:lnTo>
                  <a:lnTo>
                    <a:pt x="14617" y="3769"/>
                  </a:lnTo>
                  <a:lnTo>
                    <a:pt x="14610" y="3765"/>
                  </a:lnTo>
                  <a:lnTo>
                    <a:pt x="14606" y="3760"/>
                  </a:lnTo>
                  <a:lnTo>
                    <a:pt x="14604" y="3751"/>
                  </a:lnTo>
                  <a:lnTo>
                    <a:pt x="14604" y="3639"/>
                  </a:lnTo>
                  <a:lnTo>
                    <a:pt x="14606" y="3630"/>
                  </a:lnTo>
                  <a:lnTo>
                    <a:pt x="14610" y="3624"/>
                  </a:lnTo>
                  <a:lnTo>
                    <a:pt x="14617" y="3620"/>
                  </a:lnTo>
                  <a:lnTo>
                    <a:pt x="14624" y="3618"/>
                  </a:lnTo>
                  <a:lnTo>
                    <a:pt x="14631" y="3620"/>
                  </a:lnTo>
                  <a:lnTo>
                    <a:pt x="14637" y="3624"/>
                  </a:lnTo>
                  <a:lnTo>
                    <a:pt x="14642" y="3630"/>
                  </a:lnTo>
                  <a:lnTo>
                    <a:pt x="14644" y="3639"/>
                  </a:lnTo>
                  <a:close/>
                  <a:moveTo>
                    <a:pt x="14381" y="3639"/>
                  </a:moveTo>
                  <a:lnTo>
                    <a:pt x="14381" y="3751"/>
                  </a:lnTo>
                  <a:lnTo>
                    <a:pt x="14379" y="3760"/>
                  </a:lnTo>
                  <a:lnTo>
                    <a:pt x="14374" y="3765"/>
                  </a:lnTo>
                  <a:lnTo>
                    <a:pt x="14368" y="3769"/>
                  </a:lnTo>
                  <a:lnTo>
                    <a:pt x="14362" y="3771"/>
                  </a:lnTo>
                  <a:lnTo>
                    <a:pt x="14354" y="3769"/>
                  </a:lnTo>
                  <a:lnTo>
                    <a:pt x="14347" y="3765"/>
                  </a:lnTo>
                  <a:lnTo>
                    <a:pt x="14342" y="3760"/>
                  </a:lnTo>
                  <a:lnTo>
                    <a:pt x="14341" y="3751"/>
                  </a:lnTo>
                  <a:lnTo>
                    <a:pt x="14341" y="3639"/>
                  </a:lnTo>
                  <a:lnTo>
                    <a:pt x="14342" y="3630"/>
                  </a:lnTo>
                  <a:lnTo>
                    <a:pt x="14347" y="3624"/>
                  </a:lnTo>
                  <a:lnTo>
                    <a:pt x="14354" y="3620"/>
                  </a:lnTo>
                  <a:lnTo>
                    <a:pt x="14362" y="3618"/>
                  </a:lnTo>
                  <a:lnTo>
                    <a:pt x="14368" y="3620"/>
                  </a:lnTo>
                  <a:lnTo>
                    <a:pt x="14374" y="3624"/>
                  </a:lnTo>
                  <a:lnTo>
                    <a:pt x="14379" y="3630"/>
                  </a:lnTo>
                  <a:lnTo>
                    <a:pt x="14381" y="3639"/>
                  </a:lnTo>
                  <a:close/>
                  <a:moveTo>
                    <a:pt x="14118" y="3639"/>
                  </a:moveTo>
                  <a:lnTo>
                    <a:pt x="14118" y="3751"/>
                  </a:lnTo>
                  <a:lnTo>
                    <a:pt x="14117" y="3760"/>
                  </a:lnTo>
                  <a:lnTo>
                    <a:pt x="14111" y="3765"/>
                  </a:lnTo>
                  <a:lnTo>
                    <a:pt x="14105" y="3769"/>
                  </a:lnTo>
                  <a:lnTo>
                    <a:pt x="14097" y="3771"/>
                  </a:lnTo>
                  <a:lnTo>
                    <a:pt x="14091" y="3769"/>
                  </a:lnTo>
                  <a:lnTo>
                    <a:pt x="14085" y="3765"/>
                  </a:lnTo>
                  <a:lnTo>
                    <a:pt x="14079" y="3760"/>
                  </a:lnTo>
                  <a:lnTo>
                    <a:pt x="14078" y="3751"/>
                  </a:lnTo>
                  <a:lnTo>
                    <a:pt x="14078" y="3639"/>
                  </a:lnTo>
                  <a:lnTo>
                    <a:pt x="14079" y="3630"/>
                  </a:lnTo>
                  <a:lnTo>
                    <a:pt x="14085" y="3624"/>
                  </a:lnTo>
                  <a:lnTo>
                    <a:pt x="14091" y="3620"/>
                  </a:lnTo>
                  <a:lnTo>
                    <a:pt x="14097" y="3618"/>
                  </a:lnTo>
                  <a:lnTo>
                    <a:pt x="14105" y="3620"/>
                  </a:lnTo>
                  <a:lnTo>
                    <a:pt x="14111" y="3624"/>
                  </a:lnTo>
                  <a:lnTo>
                    <a:pt x="14117" y="3630"/>
                  </a:lnTo>
                  <a:lnTo>
                    <a:pt x="14118" y="3639"/>
                  </a:lnTo>
                  <a:close/>
                  <a:moveTo>
                    <a:pt x="15434" y="3392"/>
                  </a:moveTo>
                  <a:lnTo>
                    <a:pt x="15434" y="3505"/>
                  </a:lnTo>
                  <a:lnTo>
                    <a:pt x="15432" y="3514"/>
                  </a:lnTo>
                  <a:lnTo>
                    <a:pt x="15427" y="3520"/>
                  </a:lnTo>
                  <a:lnTo>
                    <a:pt x="15421" y="3524"/>
                  </a:lnTo>
                  <a:lnTo>
                    <a:pt x="15413" y="3524"/>
                  </a:lnTo>
                  <a:lnTo>
                    <a:pt x="15407" y="3524"/>
                  </a:lnTo>
                  <a:lnTo>
                    <a:pt x="15400" y="3520"/>
                  </a:lnTo>
                  <a:lnTo>
                    <a:pt x="15395" y="3514"/>
                  </a:lnTo>
                  <a:lnTo>
                    <a:pt x="15394" y="3505"/>
                  </a:lnTo>
                  <a:lnTo>
                    <a:pt x="15394" y="3392"/>
                  </a:lnTo>
                  <a:lnTo>
                    <a:pt x="15395" y="3383"/>
                  </a:lnTo>
                  <a:lnTo>
                    <a:pt x="15400" y="3378"/>
                  </a:lnTo>
                  <a:lnTo>
                    <a:pt x="15407" y="3374"/>
                  </a:lnTo>
                  <a:lnTo>
                    <a:pt x="15413" y="3373"/>
                  </a:lnTo>
                  <a:lnTo>
                    <a:pt x="15421" y="3374"/>
                  </a:lnTo>
                  <a:lnTo>
                    <a:pt x="15427" y="3378"/>
                  </a:lnTo>
                  <a:lnTo>
                    <a:pt x="15432" y="3383"/>
                  </a:lnTo>
                  <a:lnTo>
                    <a:pt x="15434" y="3392"/>
                  </a:lnTo>
                  <a:close/>
                  <a:moveTo>
                    <a:pt x="15171" y="3392"/>
                  </a:moveTo>
                  <a:lnTo>
                    <a:pt x="15171" y="3505"/>
                  </a:lnTo>
                  <a:lnTo>
                    <a:pt x="15168" y="3514"/>
                  </a:lnTo>
                  <a:lnTo>
                    <a:pt x="15164" y="3520"/>
                  </a:lnTo>
                  <a:lnTo>
                    <a:pt x="15158" y="3524"/>
                  </a:lnTo>
                  <a:lnTo>
                    <a:pt x="15150" y="3524"/>
                  </a:lnTo>
                  <a:lnTo>
                    <a:pt x="15142" y="3524"/>
                  </a:lnTo>
                  <a:lnTo>
                    <a:pt x="15136" y="3520"/>
                  </a:lnTo>
                  <a:lnTo>
                    <a:pt x="15132" y="3514"/>
                  </a:lnTo>
                  <a:lnTo>
                    <a:pt x="15131" y="3505"/>
                  </a:lnTo>
                  <a:lnTo>
                    <a:pt x="15131" y="3392"/>
                  </a:lnTo>
                  <a:lnTo>
                    <a:pt x="15132" y="3383"/>
                  </a:lnTo>
                  <a:lnTo>
                    <a:pt x="15136" y="3378"/>
                  </a:lnTo>
                  <a:lnTo>
                    <a:pt x="15142" y="3374"/>
                  </a:lnTo>
                  <a:lnTo>
                    <a:pt x="15150" y="3373"/>
                  </a:lnTo>
                  <a:lnTo>
                    <a:pt x="15158" y="3374"/>
                  </a:lnTo>
                  <a:lnTo>
                    <a:pt x="15164" y="3378"/>
                  </a:lnTo>
                  <a:lnTo>
                    <a:pt x="15168" y="3383"/>
                  </a:lnTo>
                  <a:lnTo>
                    <a:pt x="15171" y="3392"/>
                  </a:lnTo>
                  <a:close/>
                  <a:moveTo>
                    <a:pt x="14908" y="3392"/>
                  </a:moveTo>
                  <a:lnTo>
                    <a:pt x="14908" y="3505"/>
                  </a:lnTo>
                  <a:lnTo>
                    <a:pt x="14905" y="3514"/>
                  </a:lnTo>
                  <a:lnTo>
                    <a:pt x="14901" y="3520"/>
                  </a:lnTo>
                  <a:lnTo>
                    <a:pt x="14895" y="3524"/>
                  </a:lnTo>
                  <a:lnTo>
                    <a:pt x="14887" y="3524"/>
                  </a:lnTo>
                  <a:lnTo>
                    <a:pt x="14880" y="3524"/>
                  </a:lnTo>
                  <a:lnTo>
                    <a:pt x="14873" y="3520"/>
                  </a:lnTo>
                  <a:lnTo>
                    <a:pt x="14869" y="3514"/>
                  </a:lnTo>
                  <a:lnTo>
                    <a:pt x="14867" y="3505"/>
                  </a:lnTo>
                  <a:lnTo>
                    <a:pt x="14867" y="3392"/>
                  </a:lnTo>
                  <a:lnTo>
                    <a:pt x="14869" y="3383"/>
                  </a:lnTo>
                  <a:lnTo>
                    <a:pt x="14873" y="3378"/>
                  </a:lnTo>
                  <a:lnTo>
                    <a:pt x="14880" y="3374"/>
                  </a:lnTo>
                  <a:lnTo>
                    <a:pt x="14887" y="3373"/>
                  </a:lnTo>
                  <a:lnTo>
                    <a:pt x="14895" y="3374"/>
                  </a:lnTo>
                  <a:lnTo>
                    <a:pt x="14901" y="3378"/>
                  </a:lnTo>
                  <a:lnTo>
                    <a:pt x="14905" y="3383"/>
                  </a:lnTo>
                  <a:lnTo>
                    <a:pt x="14908" y="3392"/>
                  </a:lnTo>
                  <a:close/>
                  <a:moveTo>
                    <a:pt x="14644" y="3392"/>
                  </a:moveTo>
                  <a:lnTo>
                    <a:pt x="14644" y="3505"/>
                  </a:lnTo>
                  <a:lnTo>
                    <a:pt x="14642" y="3514"/>
                  </a:lnTo>
                  <a:lnTo>
                    <a:pt x="14637" y="3520"/>
                  </a:lnTo>
                  <a:lnTo>
                    <a:pt x="14631" y="3524"/>
                  </a:lnTo>
                  <a:lnTo>
                    <a:pt x="14624" y="3524"/>
                  </a:lnTo>
                  <a:lnTo>
                    <a:pt x="14617" y="3524"/>
                  </a:lnTo>
                  <a:lnTo>
                    <a:pt x="14610" y="3520"/>
                  </a:lnTo>
                  <a:lnTo>
                    <a:pt x="14606" y="3514"/>
                  </a:lnTo>
                  <a:lnTo>
                    <a:pt x="14604" y="3505"/>
                  </a:lnTo>
                  <a:lnTo>
                    <a:pt x="14604" y="3392"/>
                  </a:lnTo>
                  <a:lnTo>
                    <a:pt x="14606" y="3383"/>
                  </a:lnTo>
                  <a:lnTo>
                    <a:pt x="14610" y="3378"/>
                  </a:lnTo>
                  <a:lnTo>
                    <a:pt x="14617" y="3374"/>
                  </a:lnTo>
                  <a:lnTo>
                    <a:pt x="14624" y="3373"/>
                  </a:lnTo>
                  <a:lnTo>
                    <a:pt x="14631" y="3374"/>
                  </a:lnTo>
                  <a:lnTo>
                    <a:pt x="14637" y="3378"/>
                  </a:lnTo>
                  <a:lnTo>
                    <a:pt x="14642" y="3383"/>
                  </a:lnTo>
                  <a:lnTo>
                    <a:pt x="14644" y="3392"/>
                  </a:lnTo>
                  <a:close/>
                  <a:moveTo>
                    <a:pt x="14381" y="3392"/>
                  </a:moveTo>
                  <a:lnTo>
                    <a:pt x="14381" y="3505"/>
                  </a:lnTo>
                  <a:lnTo>
                    <a:pt x="14379" y="3514"/>
                  </a:lnTo>
                  <a:lnTo>
                    <a:pt x="14374" y="3520"/>
                  </a:lnTo>
                  <a:lnTo>
                    <a:pt x="14368" y="3524"/>
                  </a:lnTo>
                  <a:lnTo>
                    <a:pt x="14362" y="3524"/>
                  </a:lnTo>
                  <a:lnTo>
                    <a:pt x="14354" y="3524"/>
                  </a:lnTo>
                  <a:lnTo>
                    <a:pt x="14347" y="3520"/>
                  </a:lnTo>
                  <a:lnTo>
                    <a:pt x="14342" y="3514"/>
                  </a:lnTo>
                  <a:lnTo>
                    <a:pt x="14341" y="3505"/>
                  </a:lnTo>
                  <a:lnTo>
                    <a:pt x="14341" y="3392"/>
                  </a:lnTo>
                  <a:lnTo>
                    <a:pt x="14342" y="3383"/>
                  </a:lnTo>
                  <a:lnTo>
                    <a:pt x="14347" y="3378"/>
                  </a:lnTo>
                  <a:lnTo>
                    <a:pt x="14354" y="3374"/>
                  </a:lnTo>
                  <a:lnTo>
                    <a:pt x="14362" y="3373"/>
                  </a:lnTo>
                  <a:lnTo>
                    <a:pt x="14368" y="3374"/>
                  </a:lnTo>
                  <a:lnTo>
                    <a:pt x="14374" y="3378"/>
                  </a:lnTo>
                  <a:lnTo>
                    <a:pt x="14379" y="3383"/>
                  </a:lnTo>
                  <a:lnTo>
                    <a:pt x="14381" y="3392"/>
                  </a:lnTo>
                  <a:close/>
                  <a:moveTo>
                    <a:pt x="14118" y="3392"/>
                  </a:moveTo>
                  <a:lnTo>
                    <a:pt x="14118" y="3505"/>
                  </a:lnTo>
                  <a:lnTo>
                    <a:pt x="14117" y="3514"/>
                  </a:lnTo>
                  <a:lnTo>
                    <a:pt x="14111" y="3520"/>
                  </a:lnTo>
                  <a:lnTo>
                    <a:pt x="14105" y="3524"/>
                  </a:lnTo>
                  <a:lnTo>
                    <a:pt x="14097" y="3524"/>
                  </a:lnTo>
                  <a:lnTo>
                    <a:pt x="14091" y="3524"/>
                  </a:lnTo>
                  <a:lnTo>
                    <a:pt x="14085" y="3520"/>
                  </a:lnTo>
                  <a:lnTo>
                    <a:pt x="14079" y="3514"/>
                  </a:lnTo>
                  <a:lnTo>
                    <a:pt x="14078" y="3505"/>
                  </a:lnTo>
                  <a:lnTo>
                    <a:pt x="14078" y="3392"/>
                  </a:lnTo>
                  <a:lnTo>
                    <a:pt x="14079" y="3383"/>
                  </a:lnTo>
                  <a:lnTo>
                    <a:pt x="14085" y="3378"/>
                  </a:lnTo>
                  <a:lnTo>
                    <a:pt x="14091" y="3374"/>
                  </a:lnTo>
                  <a:lnTo>
                    <a:pt x="14097" y="3373"/>
                  </a:lnTo>
                  <a:lnTo>
                    <a:pt x="14105" y="3374"/>
                  </a:lnTo>
                  <a:lnTo>
                    <a:pt x="14111" y="3378"/>
                  </a:lnTo>
                  <a:lnTo>
                    <a:pt x="14117" y="3383"/>
                  </a:lnTo>
                  <a:lnTo>
                    <a:pt x="14118" y="3392"/>
                  </a:lnTo>
                  <a:close/>
                  <a:moveTo>
                    <a:pt x="15434" y="3145"/>
                  </a:moveTo>
                  <a:lnTo>
                    <a:pt x="15434" y="3258"/>
                  </a:lnTo>
                  <a:lnTo>
                    <a:pt x="15432" y="3267"/>
                  </a:lnTo>
                  <a:lnTo>
                    <a:pt x="15427" y="3273"/>
                  </a:lnTo>
                  <a:lnTo>
                    <a:pt x="15421" y="3277"/>
                  </a:lnTo>
                  <a:lnTo>
                    <a:pt x="15413" y="3278"/>
                  </a:lnTo>
                  <a:lnTo>
                    <a:pt x="15407" y="3277"/>
                  </a:lnTo>
                  <a:lnTo>
                    <a:pt x="15400" y="3273"/>
                  </a:lnTo>
                  <a:lnTo>
                    <a:pt x="15395" y="3267"/>
                  </a:lnTo>
                  <a:lnTo>
                    <a:pt x="15394" y="3258"/>
                  </a:lnTo>
                  <a:lnTo>
                    <a:pt x="15394" y="3145"/>
                  </a:lnTo>
                  <a:lnTo>
                    <a:pt x="15395" y="3138"/>
                  </a:lnTo>
                  <a:lnTo>
                    <a:pt x="15400" y="3131"/>
                  </a:lnTo>
                  <a:lnTo>
                    <a:pt x="15407" y="3127"/>
                  </a:lnTo>
                  <a:lnTo>
                    <a:pt x="15413" y="3126"/>
                  </a:lnTo>
                  <a:lnTo>
                    <a:pt x="15421" y="3127"/>
                  </a:lnTo>
                  <a:lnTo>
                    <a:pt x="15427" y="3131"/>
                  </a:lnTo>
                  <a:lnTo>
                    <a:pt x="15432" y="3138"/>
                  </a:lnTo>
                  <a:lnTo>
                    <a:pt x="15434" y="3145"/>
                  </a:lnTo>
                  <a:close/>
                  <a:moveTo>
                    <a:pt x="15171" y="3145"/>
                  </a:moveTo>
                  <a:lnTo>
                    <a:pt x="15171" y="3258"/>
                  </a:lnTo>
                  <a:lnTo>
                    <a:pt x="15168" y="3267"/>
                  </a:lnTo>
                  <a:lnTo>
                    <a:pt x="15164" y="3273"/>
                  </a:lnTo>
                  <a:lnTo>
                    <a:pt x="15158" y="3277"/>
                  </a:lnTo>
                  <a:lnTo>
                    <a:pt x="15150" y="3278"/>
                  </a:lnTo>
                  <a:lnTo>
                    <a:pt x="15142" y="3277"/>
                  </a:lnTo>
                  <a:lnTo>
                    <a:pt x="15136" y="3273"/>
                  </a:lnTo>
                  <a:lnTo>
                    <a:pt x="15132" y="3267"/>
                  </a:lnTo>
                  <a:lnTo>
                    <a:pt x="15131" y="3258"/>
                  </a:lnTo>
                  <a:lnTo>
                    <a:pt x="15131" y="3145"/>
                  </a:lnTo>
                  <a:lnTo>
                    <a:pt x="15132" y="3138"/>
                  </a:lnTo>
                  <a:lnTo>
                    <a:pt x="15136" y="3131"/>
                  </a:lnTo>
                  <a:lnTo>
                    <a:pt x="15142" y="3127"/>
                  </a:lnTo>
                  <a:lnTo>
                    <a:pt x="15150" y="3126"/>
                  </a:lnTo>
                  <a:lnTo>
                    <a:pt x="15158" y="3127"/>
                  </a:lnTo>
                  <a:lnTo>
                    <a:pt x="15164" y="3131"/>
                  </a:lnTo>
                  <a:lnTo>
                    <a:pt x="15168" y="3138"/>
                  </a:lnTo>
                  <a:lnTo>
                    <a:pt x="15171" y="3145"/>
                  </a:lnTo>
                  <a:close/>
                  <a:moveTo>
                    <a:pt x="14908" y="3145"/>
                  </a:moveTo>
                  <a:lnTo>
                    <a:pt x="14908" y="3258"/>
                  </a:lnTo>
                  <a:lnTo>
                    <a:pt x="14905" y="3267"/>
                  </a:lnTo>
                  <a:lnTo>
                    <a:pt x="14901" y="3273"/>
                  </a:lnTo>
                  <a:lnTo>
                    <a:pt x="14895" y="3277"/>
                  </a:lnTo>
                  <a:lnTo>
                    <a:pt x="14887" y="3278"/>
                  </a:lnTo>
                  <a:lnTo>
                    <a:pt x="14880" y="3277"/>
                  </a:lnTo>
                  <a:lnTo>
                    <a:pt x="14873" y="3273"/>
                  </a:lnTo>
                  <a:lnTo>
                    <a:pt x="14869" y="3267"/>
                  </a:lnTo>
                  <a:lnTo>
                    <a:pt x="14867" y="3258"/>
                  </a:lnTo>
                  <a:lnTo>
                    <a:pt x="14867" y="3145"/>
                  </a:lnTo>
                  <a:lnTo>
                    <a:pt x="14869" y="3138"/>
                  </a:lnTo>
                  <a:lnTo>
                    <a:pt x="14873" y="3131"/>
                  </a:lnTo>
                  <a:lnTo>
                    <a:pt x="14880" y="3127"/>
                  </a:lnTo>
                  <a:lnTo>
                    <a:pt x="14887" y="3126"/>
                  </a:lnTo>
                  <a:lnTo>
                    <a:pt x="14895" y="3127"/>
                  </a:lnTo>
                  <a:lnTo>
                    <a:pt x="14901" y="3131"/>
                  </a:lnTo>
                  <a:lnTo>
                    <a:pt x="14905" y="3138"/>
                  </a:lnTo>
                  <a:lnTo>
                    <a:pt x="14908" y="3145"/>
                  </a:lnTo>
                  <a:close/>
                  <a:moveTo>
                    <a:pt x="14644" y="3145"/>
                  </a:moveTo>
                  <a:lnTo>
                    <a:pt x="14644" y="3258"/>
                  </a:lnTo>
                  <a:lnTo>
                    <a:pt x="14642" y="3267"/>
                  </a:lnTo>
                  <a:lnTo>
                    <a:pt x="14637" y="3273"/>
                  </a:lnTo>
                  <a:lnTo>
                    <a:pt x="14631" y="3277"/>
                  </a:lnTo>
                  <a:lnTo>
                    <a:pt x="14624" y="3278"/>
                  </a:lnTo>
                  <a:lnTo>
                    <a:pt x="14617" y="3277"/>
                  </a:lnTo>
                  <a:lnTo>
                    <a:pt x="14610" y="3273"/>
                  </a:lnTo>
                  <a:lnTo>
                    <a:pt x="14606" y="3267"/>
                  </a:lnTo>
                  <a:lnTo>
                    <a:pt x="14604" y="3258"/>
                  </a:lnTo>
                  <a:lnTo>
                    <a:pt x="14604" y="3145"/>
                  </a:lnTo>
                  <a:lnTo>
                    <a:pt x="14606" y="3138"/>
                  </a:lnTo>
                  <a:lnTo>
                    <a:pt x="14610" y="3131"/>
                  </a:lnTo>
                  <a:lnTo>
                    <a:pt x="14617" y="3127"/>
                  </a:lnTo>
                  <a:lnTo>
                    <a:pt x="14624" y="3126"/>
                  </a:lnTo>
                  <a:lnTo>
                    <a:pt x="14631" y="3127"/>
                  </a:lnTo>
                  <a:lnTo>
                    <a:pt x="14637" y="3131"/>
                  </a:lnTo>
                  <a:lnTo>
                    <a:pt x="14642" y="3138"/>
                  </a:lnTo>
                  <a:lnTo>
                    <a:pt x="14644" y="3145"/>
                  </a:lnTo>
                  <a:close/>
                  <a:moveTo>
                    <a:pt x="14381" y="3145"/>
                  </a:moveTo>
                  <a:lnTo>
                    <a:pt x="14381" y="3258"/>
                  </a:lnTo>
                  <a:lnTo>
                    <a:pt x="14379" y="3267"/>
                  </a:lnTo>
                  <a:lnTo>
                    <a:pt x="14374" y="3273"/>
                  </a:lnTo>
                  <a:lnTo>
                    <a:pt x="14368" y="3277"/>
                  </a:lnTo>
                  <a:lnTo>
                    <a:pt x="14362" y="3278"/>
                  </a:lnTo>
                  <a:lnTo>
                    <a:pt x="14354" y="3277"/>
                  </a:lnTo>
                  <a:lnTo>
                    <a:pt x="14347" y="3273"/>
                  </a:lnTo>
                  <a:lnTo>
                    <a:pt x="14342" y="3267"/>
                  </a:lnTo>
                  <a:lnTo>
                    <a:pt x="14341" y="3258"/>
                  </a:lnTo>
                  <a:lnTo>
                    <a:pt x="14341" y="3145"/>
                  </a:lnTo>
                  <a:lnTo>
                    <a:pt x="14342" y="3138"/>
                  </a:lnTo>
                  <a:lnTo>
                    <a:pt x="14347" y="3131"/>
                  </a:lnTo>
                  <a:lnTo>
                    <a:pt x="14354" y="3127"/>
                  </a:lnTo>
                  <a:lnTo>
                    <a:pt x="14362" y="3126"/>
                  </a:lnTo>
                  <a:lnTo>
                    <a:pt x="14368" y="3127"/>
                  </a:lnTo>
                  <a:lnTo>
                    <a:pt x="14374" y="3131"/>
                  </a:lnTo>
                  <a:lnTo>
                    <a:pt x="14379" y="3138"/>
                  </a:lnTo>
                  <a:lnTo>
                    <a:pt x="14381" y="3145"/>
                  </a:lnTo>
                  <a:close/>
                  <a:moveTo>
                    <a:pt x="14118" y="3145"/>
                  </a:moveTo>
                  <a:lnTo>
                    <a:pt x="14118" y="3258"/>
                  </a:lnTo>
                  <a:lnTo>
                    <a:pt x="14117" y="3267"/>
                  </a:lnTo>
                  <a:lnTo>
                    <a:pt x="14111" y="3273"/>
                  </a:lnTo>
                  <a:lnTo>
                    <a:pt x="14105" y="3277"/>
                  </a:lnTo>
                  <a:lnTo>
                    <a:pt x="14097" y="3278"/>
                  </a:lnTo>
                  <a:lnTo>
                    <a:pt x="14091" y="3277"/>
                  </a:lnTo>
                  <a:lnTo>
                    <a:pt x="14085" y="3273"/>
                  </a:lnTo>
                  <a:lnTo>
                    <a:pt x="14079" y="3267"/>
                  </a:lnTo>
                  <a:lnTo>
                    <a:pt x="14078" y="3258"/>
                  </a:lnTo>
                  <a:lnTo>
                    <a:pt x="14078" y="3145"/>
                  </a:lnTo>
                  <a:lnTo>
                    <a:pt x="14079" y="3138"/>
                  </a:lnTo>
                  <a:lnTo>
                    <a:pt x="14085" y="3131"/>
                  </a:lnTo>
                  <a:lnTo>
                    <a:pt x="14091" y="3127"/>
                  </a:lnTo>
                  <a:lnTo>
                    <a:pt x="14097" y="3126"/>
                  </a:lnTo>
                  <a:lnTo>
                    <a:pt x="14105" y="3127"/>
                  </a:lnTo>
                  <a:lnTo>
                    <a:pt x="14111" y="3131"/>
                  </a:lnTo>
                  <a:lnTo>
                    <a:pt x="14117" y="3138"/>
                  </a:lnTo>
                  <a:lnTo>
                    <a:pt x="14118" y="3145"/>
                  </a:lnTo>
                  <a:close/>
                  <a:moveTo>
                    <a:pt x="15434" y="2900"/>
                  </a:moveTo>
                  <a:lnTo>
                    <a:pt x="15434" y="3011"/>
                  </a:lnTo>
                  <a:lnTo>
                    <a:pt x="15432" y="3020"/>
                  </a:lnTo>
                  <a:lnTo>
                    <a:pt x="15427" y="3026"/>
                  </a:lnTo>
                  <a:lnTo>
                    <a:pt x="15421" y="3030"/>
                  </a:lnTo>
                  <a:lnTo>
                    <a:pt x="15413" y="3031"/>
                  </a:lnTo>
                  <a:lnTo>
                    <a:pt x="15407" y="3030"/>
                  </a:lnTo>
                  <a:lnTo>
                    <a:pt x="15400" y="3026"/>
                  </a:lnTo>
                  <a:lnTo>
                    <a:pt x="15395" y="3020"/>
                  </a:lnTo>
                  <a:lnTo>
                    <a:pt x="15394" y="3011"/>
                  </a:lnTo>
                  <a:lnTo>
                    <a:pt x="15394" y="2900"/>
                  </a:lnTo>
                  <a:lnTo>
                    <a:pt x="15395" y="2891"/>
                  </a:lnTo>
                  <a:lnTo>
                    <a:pt x="15400" y="2884"/>
                  </a:lnTo>
                  <a:lnTo>
                    <a:pt x="15407" y="2881"/>
                  </a:lnTo>
                  <a:lnTo>
                    <a:pt x="15413" y="2879"/>
                  </a:lnTo>
                  <a:lnTo>
                    <a:pt x="15421" y="2881"/>
                  </a:lnTo>
                  <a:lnTo>
                    <a:pt x="15427" y="2884"/>
                  </a:lnTo>
                  <a:lnTo>
                    <a:pt x="15432" y="2891"/>
                  </a:lnTo>
                  <a:lnTo>
                    <a:pt x="15434" y="2900"/>
                  </a:lnTo>
                  <a:close/>
                  <a:moveTo>
                    <a:pt x="15171" y="2900"/>
                  </a:moveTo>
                  <a:lnTo>
                    <a:pt x="15171" y="3011"/>
                  </a:lnTo>
                  <a:lnTo>
                    <a:pt x="15168" y="3020"/>
                  </a:lnTo>
                  <a:lnTo>
                    <a:pt x="15164" y="3026"/>
                  </a:lnTo>
                  <a:lnTo>
                    <a:pt x="15158" y="3030"/>
                  </a:lnTo>
                  <a:lnTo>
                    <a:pt x="15150" y="3031"/>
                  </a:lnTo>
                  <a:lnTo>
                    <a:pt x="15142" y="3030"/>
                  </a:lnTo>
                  <a:lnTo>
                    <a:pt x="15136" y="3026"/>
                  </a:lnTo>
                  <a:lnTo>
                    <a:pt x="15132" y="3020"/>
                  </a:lnTo>
                  <a:lnTo>
                    <a:pt x="15131" y="3011"/>
                  </a:lnTo>
                  <a:lnTo>
                    <a:pt x="15131" y="2900"/>
                  </a:lnTo>
                  <a:lnTo>
                    <a:pt x="15132" y="2891"/>
                  </a:lnTo>
                  <a:lnTo>
                    <a:pt x="15136" y="2884"/>
                  </a:lnTo>
                  <a:lnTo>
                    <a:pt x="15142" y="2881"/>
                  </a:lnTo>
                  <a:lnTo>
                    <a:pt x="15150" y="2879"/>
                  </a:lnTo>
                  <a:lnTo>
                    <a:pt x="15158" y="2881"/>
                  </a:lnTo>
                  <a:lnTo>
                    <a:pt x="15164" y="2884"/>
                  </a:lnTo>
                  <a:lnTo>
                    <a:pt x="15168" y="2891"/>
                  </a:lnTo>
                  <a:lnTo>
                    <a:pt x="15171" y="2900"/>
                  </a:lnTo>
                  <a:close/>
                  <a:moveTo>
                    <a:pt x="14908" y="2900"/>
                  </a:moveTo>
                  <a:lnTo>
                    <a:pt x="14908" y="3011"/>
                  </a:lnTo>
                  <a:lnTo>
                    <a:pt x="14905" y="3020"/>
                  </a:lnTo>
                  <a:lnTo>
                    <a:pt x="14901" y="3026"/>
                  </a:lnTo>
                  <a:lnTo>
                    <a:pt x="14895" y="3030"/>
                  </a:lnTo>
                  <a:lnTo>
                    <a:pt x="14887" y="3031"/>
                  </a:lnTo>
                  <a:lnTo>
                    <a:pt x="14880" y="3030"/>
                  </a:lnTo>
                  <a:lnTo>
                    <a:pt x="14873" y="3026"/>
                  </a:lnTo>
                  <a:lnTo>
                    <a:pt x="14869" y="3020"/>
                  </a:lnTo>
                  <a:lnTo>
                    <a:pt x="14867" y="3011"/>
                  </a:lnTo>
                  <a:lnTo>
                    <a:pt x="14867" y="2900"/>
                  </a:lnTo>
                  <a:lnTo>
                    <a:pt x="14869" y="2891"/>
                  </a:lnTo>
                  <a:lnTo>
                    <a:pt x="14873" y="2884"/>
                  </a:lnTo>
                  <a:lnTo>
                    <a:pt x="14880" y="2881"/>
                  </a:lnTo>
                  <a:lnTo>
                    <a:pt x="14887" y="2879"/>
                  </a:lnTo>
                  <a:lnTo>
                    <a:pt x="14895" y="2881"/>
                  </a:lnTo>
                  <a:lnTo>
                    <a:pt x="14901" y="2884"/>
                  </a:lnTo>
                  <a:lnTo>
                    <a:pt x="14905" y="2891"/>
                  </a:lnTo>
                  <a:lnTo>
                    <a:pt x="14908" y="2900"/>
                  </a:lnTo>
                  <a:close/>
                  <a:moveTo>
                    <a:pt x="14644" y="2900"/>
                  </a:moveTo>
                  <a:lnTo>
                    <a:pt x="14644" y="3011"/>
                  </a:lnTo>
                  <a:lnTo>
                    <a:pt x="14642" y="3020"/>
                  </a:lnTo>
                  <a:lnTo>
                    <a:pt x="14637" y="3026"/>
                  </a:lnTo>
                  <a:lnTo>
                    <a:pt x="14631" y="3030"/>
                  </a:lnTo>
                  <a:lnTo>
                    <a:pt x="14624" y="3031"/>
                  </a:lnTo>
                  <a:lnTo>
                    <a:pt x="14617" y="3030"/>
                  </a:lnTo>
                  <a:lnTo>
                    <a:pt x="14610" y="3026"/>
                  </a:lnTo>
                  <a:lnTo>
                    <a:pt x="14606" y="3020"/>
                  </a:lnTo>
                  <a:lnTo>
                    <a:pt x="14604" y="3011"/>
                  </a:lnTo>
                  <a:lnTo>
                    <a:pt x="14604" y="2900"/>
                  </a:lnTo>
                  <a:lnTo>
                    <a:pt x="14606" y="2891"/>
                  </a:lnTo>
                  <a:lnTo>
                    <a:pt x="14610" y="2884"/>
                  </a:lnTo>
                  <a:lnTo>
                    <a:pt x="14617" y="2881"/>
                  </a:lnTo>
                  <a:lnTo>
                    <a:pt x="14624" y="2879"/>
                  </a:lnTo>
                  <a:lnTo>
                    <a:pt x="14631" y="2881"/>
                  </a:lnTo>
                  <a:lnTo>
                    <a:pt x="14637" y="2884"/>
                  </a:lnTo>
                  <a:lnTo>
                    <a:pt x="14642" y="2891"/>
                  </a:lnTo>
                  <a:lnTo>
                    <a:pt x="14644" y="2900"/>
                  </a:lnTo>
                  <a:close/>
                  <a:moveTo>
                    <a:pt x="14381" y="2900"/>
                  </a:moveTo>
                  <a:lnTo>
                    <a:pt x="14381" y="3011"/>
                  </a:lnTo>
                  <a:lnTo>
                    <a:pt x="14379" y="3020"/>
                  </a:lnTo>
                  <a:lnTo>
                    <a:pt x="14374" y="3026"/>
                  </a:lnTo>
                  <a:lnTo>
                    <a:pt x="14368" y="3030"/>
                  </a:lnTo>
                  <a:lnTo>
                    <a:pt x="14362" y="3031"/>
                  </a:lnTo>
                  <a:lnTo>
                    <a:pt x="14354" y="3030"/>
                  </a:lnTo>
                  <a:lnTo>
                    <a:pt x="14347" y="3026"/>
                  </a:lnTo>
                  <a:lnTo>
                    <a:pt x="14342" y="3020"/>
                  </a:lnTo>
                  <a:lnTo>
                    <a:pt x="14341" y="3011"/>
                  </a:lnTo>
                  <a:lnTo>
                    <a:pt x="14341" y="2900"/>
                  </a:lnTo>
                  <a:lnTo>
                    <a:pt x="14342" y="2891"/>
                  </a:lnTo>
                  <a:lnTo>
                    <a:pt x="14347" y="2884"/>
                  </a:lnTo>
                  <a:lnTo>
                    <a:pt x="14354" y="2881"/>
                  </a:lnTo>
                  <a:lnTo>
                    <a:pt x="14362" y="2879"/>
                  </a:lnTo>
                  <a:lnTo>
                    <a:pt x="14368" y="2881"/>
                  </a:lnTo>
                  <a:lnTo>
                    <a:pt x="14374" y="2884"/>
                  </a:lnTo>
                  <a:lnTo>
                    <a:pt x="14379" y="2891"/>
                  </a:lnTo>
                  <a:lnTo>
                    <a:pt x="14381" y="2900"/>
                  </a:lnTo>
                  <a:close/>
                  <a:moveTo>
                    <a:pt x="14118" y="2900"/>
                  </a:moveTo>
                  <a:lnTo>
                    <a:pt x="14118" y="3011"/>
                  </a:lnTo>
                  <a:lnTo>
                    <a:pt x="14117" y="3020"/>
                  </a:lnTo>
                  <a:lnTo>
                    <a:pt x="14111" y="3026"/>
                  </a:lnTo>
                  <a:lnTo>
                    <a:pt x="14105" y="3030"/>
                  </a:lnTo>
                  <a:lnTo>
                    <a:pt x="14097" y="3031"/>
                  </a:lnTo>
                  <a:lnTo>
                    <a:pt x="14091" y="3030"/>
                  </a:lnTo>
                  <a:lnTo>
                    <a:pt x="14085" y="3026"/>
                  </a:lnTo>
                  <a:lnTo>
                    <a:pt x="14079" y="3020"/>
                  </a:lnTo>
                  <a:lnTo>
                    <a:pt x="14078" y="3011"/>
                  </a:lnTo>
                  <a:lnTo>
                    <a:pt x="14078" y="2900"/>
                  </a:lnTo>
                  <a:lnTo>
                    <a:pt x="14079" y="2891"/>
                  </a:lnTo>
                  <a:lnTo>
                    <a:pt x="14085" y="2884"/>
                  </a:lnTo>
                  <a:lnTo>
                    <a:pt x="14091" y="2881"/>
                  </a:lnTo>
                  <a:lnTo>
                    <a:pt x="14097" y="2879"/>
                  </a:lnTo>
                  <a:lnTo>
                    <a:pt x="14105" y="2881"/>
                  </a:lnTo>
                  <a:lnTo>
                    <a:pt x="14111" y="2884"/>
                  </a:lnTo>
                  <a:lnTo>
                    <a:pt x="14117" y="2891"/>
                  </a:lnTo>
                  <a:lnTo>
                    <a:pt x="14118" y="2900"/>
                  </a:lnTo>
                  <a:close/>
                  <a:moveTo>
                    <a:pt x="15434" y="3639"/>
                  </a:moveTo>
                  <a:lnTo>
                    <a:pt x="15434" y="3751"/>
                  </a:lnTo>
                  <a:lnTo>
                    <a:pt x="15432" y="3760"/>
                  </a:lnTo>
                  <a:lnTo>
                    <a:pt x="15427" y="3765"/>
                  </a:lnTo>
                  <a:lnTo>
                    <a:pt x="15421" y="3769"/>
                  </a:lnTo>
                  <a:lnTo>
                    <a:pt x="15413" y="3771"/>
                  </a:lnTo>
                  <a:lnTo>
                    <a:pt x="15407" y="3769"/>
                  </a:lnTo>
                  <a:lnTo>
                    <a:pt x="15400" y="3765"/>
                  </a:lnTo>
                  <a:lnTo>
                    <a:pt x="15395" y="3760"/>
                  </a:lnTo>
                  <a:lnTo>
                    <a:pt x="15394" y="3751"/>
                  </a:lnTo>
                  <a:lnTo>
                    <a:pt x="15394" y="3639"/>
                  </a:lnTo>
                  <a:lnTo>
                    <a:pt x="15395" y="3630"/>
                  </a:lnTo>
                  <a:lnTo>
                    <a:pt x="15400" y="3624"/>
                  </a:lnTo>
                  <a:lnTo>
                    <a:pt x="15407" y="3620"/>
                  </a:lnTo>
                  <a:lnTo>
                    <a:pt x="15413" y="3618"/>
                  </a:lnTo>
                  <a:lnTo>
                    <a:pt x="15421" y="3620"/>
                  </a:lnTo>
                  <a:lnTo>
                    <a:pt x="15427" y="3624"/>
                  </a:lnTo>
                  <a:lnTo>
                    <a:pt x="15432" y="3630"/>
                  </a:lnTo>
                  <a:lnTo>
                    <a:pt x="15434" y="3639"/>
                  </a:lnTo>
                  <a:close/>
                  <a:moveTo>
                    <a:pt x="18172" y="964"/>
                  </a:moveTo>
                  <a:lnTo>
                    <a:pt x="17643" y="964"/>
                  </a:lnTo>
                  <a:lnTo>
                    <a:pt x="17643" y="1019"/>
                  </a:lnTo>
                  <a:lnTo>
                    <a:pt x="18172" y="1019"/>
                  </a:lnTo>
                  <a:lnTo>
                    <a:pt x="18172" y="964"/>
                  </a:lnTo>
                  <a:close/>
                  <a:moveTo>
                    <a:pt x="17665" y="1323"/>
                  </a:moveTo>
                  <a:lnTo>
                    <a:pt x="18163" y="2010"/>
                  </a:lnTo>
                  <a:lnTo>
                    <a:pt x="18134" y="1058"/>
                  </a:lnTo>
                  <a:lnTo>
                    <a:pt x="17680" y="1058"/>
                  </a:lnTo>
                  <a:lnTo>
                    <a:pt x="17665" y="1322"/>
                  </a:lnTo>
                  <a:lnTo>
                    <a:pt x="17665" y="1323"/>
                  </a:lnTo>
                  <a:close/>
                  <a:moveTo>
                    <a:pt x="17638" y="1754"/>
                  </a:moveTo>
                  <a:lnTo>
                    <a:pt x="18179" y="2500"/>
                  </a:lnTo>
                  <a:lnTo>
                    <a:pt x="18166" y="2079"/>
                  </a:lnTo>
                  <a:lnTo>
                    <a:pt x="18161" y="2074"/>
                  </a:lnTo>
                  <a:lnTo>
                    <a:pt x="17661" y="1385"/>
                  </a:lnTo>
                  <a:lnTo>
                    <a:pt x="17638" y="1754"/>
                  </a:lnTo>
                  <a:close/>
                  <a:moveTo>
                    <a:pt x="17611" y="2186"/>
                  </a:moveTo>
                  <a:lnTo>
                    <a:pt x="18194" y="2989"/>
                  </a:lnTo>
                  <a:lnTo>
                    <a:pt x="18181" y="2571"/>
                  </a:lnTo>
                  <a:lnTo>
                    <a:pt x="17634" y="1817"/>
                  </a:lnTo>
                  <a:lnTo>
                    <a:pt x="17611" y="2186"/>
                  </a:lnTo>
                  <a:close/>
                  <a:moveTo>
                    <a:pt x="22919" y="2556"/>
                  </a:moveTo>
                  <a:lnTo>
                    <a:pt x="22895" y="2525"/>
                  </a:lnTo>
                  <a:lnTo>
                    <a:pt x="22869" y="2494"/>
                  </a:lnTo>
                  <a:lnTo>
                    <a:pt x="22841" y="2464"/>
                  </a:lnTo>
                  <a:lnTo>
                    <a:pt x="22812" y="2434"/>
                  </a:lnTo>
                  <a:lnTo>
                    <a:pt x="22748" y="2377"/>
                  </a:lnTo>
                  <a:lnTo>
                    <a:pt x="22714" y="2350"/>
                  </a:lnTo>
                  <a:lnTo>
                    <a:pt x="22678" y="2323"/>
                  </a:lnTo>
                  <a:lnTo>
                    <a:pt x="22603" y="2272"/>
                  </a:lnTo>
                  <a:lnTo>
                    <a:pt x="22522" y="2225"/>
                  </a:lnTo>
                  <a:lnTo>
                    <a:pt x="22436" y="2181"/>
                  </a:lnTo>
                  <a:lnTo>
                    <a:pt x="22346" y="2142"/>
                  </a:lnTo>
                  <a:lnTo>
                    <a:pt x="22250" y="2104"/>
                  </a:lnTo>
                  <a:lnTo>
                    <a:pt x="22151" y="2072"/>
                  </a:lnTo>
                  <a:lnTo>
                    <a:pt x="22048" y="2046"/>
                  </a:lnTo>
                  <a:lnTo>
                    <a:pt x="21995" y="2033"/>
                  </a:lnTo>
                  <a:lnTo>
                    <a:pt x="21941" y="2023"/>
                  </a:lnTo>
                  <a:lnTo>
                    <a:pt x="21831" y="2003"/>
                  </a:lnTo>
                  <a:lnTo>
                    <a:pt x="21774" y="1997"/>
                  </a:lnTo>
                  <a:lnTo>
                    <a:pt x="21718" y="1991"/>
                  </a:lnTo>
                  <a:lnTo>
                    <a:pt x="21601" y="1983"/>
                  </a:lnTo>
                  <a:lnTo>
                    <a:pt x="21483" y="1980"/>
                  </a:lnTo>
                  <a:lnTo>
                    <a:pt x="21365" y="1983"/>
                  </a:lnTo>
                  <a:lnTo>
                    <a:pt x="21249" y="1991"/>
                  </a:lnTo>
                  <a:lnTo>
                    <a:pt x="21136" y="2003"/>
                  </a:lnTo>
                  <a:lnTo>
                    <a:pt x="21026" y="2023"/>
                  </a:lnTo>
                  <a:lnTo>
                    <a:pt x="20972" y="2033"/>
                  </a:lnTo>
                  <a:lnTo>
                    <a:pt x="20919" y="2046"/>
                  </a:lnTo>
                  <a:lnTo>
                    <a:pt x="20815" y="2072"/>
                  </a:lnTo>
                  <a:lnTo>
                    <a:pt x="20717" y="2104"/>
                  </a:lnTo>
                  <a:lnTo>
                    <a:pt x="20622" y="2142"/>
                  </a:lnTo>
                  <a:lnTo>
                    <a:pt x="20531" y="2181"/>
                  </a:lnTo>
                  <a:lnTo>
                    <a:pt x="20445" y="2225"/>
                  </a:lnTo>
                  <a:lnTo>
                    <a:pt x="20364" y="2272"/>
                  </a:lnTo>
                  <a:lnTo>
                    <a:pt x="20288" y="2323"/>
                  </a:lnTo>
                  <a:lnTo>
                    <a:pt x="20219" y="2377"/>
                  </a:lnTo>
                  <a:lnTo>
                    <a:pt x="20187" y="2405"/>
                  </a:lnTo>
                  <a:lnTo>
                    <a:pt x="20155" y="2434"/>
                  </a:lnTo>
                  <a:lnTo>
                    <a:pt x="20125" y="2464"/>
                  </a:lnTo>
                  <a:lnTo>
                    <a:pt x="20098" y="2494"/>
                  </a:lnTo>
                  <a:lnTo>
                    <a:pt x="20047" y="2556"/>
                  </a:lnTo>
                  <a:lnTo>
                    <a:pt x="20765" y="2556"/>
                  </a:lnTo>
                  <a:lnTo>
                    <a:pt x="21483" y="2556"/>
                  </a:lnTo>
                  <a:lnTo>
                    <a:pt x="22201" y="2556"/>
                  </a:lnTo>
                  <a:lnTo>
                    <a:pt x="22919" y="2556"/>
                  </a:lnTo>
                  <a:close/>
                  <a:moveTo>
                    <a:pt x="21733" y="1952"/>
                  </a:moveTo>
                  <a:lnTo>
                    <a:pt x="21733" y="1794"/>
                  </a:lnTo>
                  <a:lnTo>
                    <a:pt x="21235" y="1794"/>
                  </a:lnTo>
                  <a:lnTo>
                    <a:pt x="21235" y="1952"/>
                  </a:lnTo>
                  <a:lnTo>
                    <a:pt x="21295" y="1947"/>
                  </a:lnTo>
                  <a:lnTo>
                    <a:pt x="21358" y="1943"/>
                  </a:lnTo>
                  <a:lnTo>
                    <a:pt x="21420" y="1941"/>
                  </a:lnTo>
                  <a:lnTo>
                    <a:pt x="21483" y="1939"/>
                  </a:lnTo>
                  <a:lnTo>
                    <a:pt x="21609" y="1943"/>
                  </a:lnTo>
                  <a:lnTo>
                    <a:pt x="21733" y="1952"/>
                  </a:lnTo>
                  <a:close/>
                  <a:moveTo>
                    <a:pt x="20024" y="2977"/>
                  </a:moveTo>
                  <a:lnTo>
                    <a:pt x="20754" y="2977"/>
                  </a:lnTo>
                  <a:lnTo>
                    <a:pt x="21483" y="2977"/>
                  </a:lnTo>
                  <a:lnTo>
                    <a:pt x="22213" y="2977"/>
                  </a:lnTo>
                  <a:lnTo>
                    <a:pt x="22943" y="2977"/>
                  </a:lnTo>
                  <a:lnTo>
                    <a:pt x="22943" y="2750"/>
                  </a:lnTo>
                  <a:lnTo>
                    <a:pt x="22213" y="2750"/>
                  </a:lnTo>
                  <a:lnTo>
                    <a:pt x="21483" y="2750"/>
                  </a:lnTo>
                  <a:lnTo>
                    <a:pt x="20754" y="2750"/>
                  </a:lnTo>
                  <a:lnTo>
                    <a:pt x="20024" y="2750"/>
                  </a:lnTo>
                  <a:lnTo>
                    <a:pt x="20024" y="2977"/>
                  </a:lnTo>
                  <a:close/>
                  <a:moveTo>
                    <a:pt x="20768" y="4017"/>
                  </a:moveTo>
                  <a:lnTo>
                    <a:pt x="20768" y="4324"/>
                  </a:lnTo>
                  <a:lnTo>
                    <a:pt x="20974" y="4324"/>
                  </a:lnTo>
                  <a:lnTo>
                    <a:pt x="20974" y="3670"/>
                  </a:lnTo>
                  <a:lnTo>
                    <a:pt x="20974" y="3016"/>
                  </a:lnTo>
                  <a:lnTo>
                    <a:pt x="20523" y="3016"/>
                  </a:lnTo>
                  <a:lnTo>
                    <a:pt x="20523" y="3670"/>
                  </a:lnTo>
                  <a:lnTo>
                    <a:pt x="20523" y="4324"/>
                  </a:lnTo>
                  <a:lnTo>
                    <a:pt x="20728" y="4324"/>
                  </a:lnTo>
                  <a:lnTo>
                    <a:pt x="20728" y="4017"/>
                  </a:lnTo>
                  <a:lnTo>
                    <a:pt x="20731" y="4008"/>
                  </a:lnTo>
                  <a:lnTo>
                    <a:pt x="20734" y="4002"/>
                  </a:lnTo>
                  <a:lnTo>
                    <a:pt x="20741" y="3998"/>
                  </a:lnTo>
                  <a:lnTo>
                    <a:pt x="20749" y="3997"/>
                  </a:lnTo>
                  <a:lnTo>
                    <a:pt x="20756" y="3998"/>
                  </a:lnTo>
                  <a:lnTo>
                    <a:pt x="20763" y="4002"/>
                  </a:lnTo>
                  <a:lnTo>
                    <a:pt x="20767" y="4008"/>
                  </a:lnTo>
                  <a:lnTo>
                    <a:pt x="20768" y="4017"/>
                  </a:lnTo>
                  <a:close/>
                  <a:moveTo>
                    <a:pt x="21260" y="4017"/>
                  </a:moveTo>
                  <a:lnTo>
                    <a:pt x="21260" y="4324"/>
                  </a:lnTo>
                  <a:lnTo>
                    <a:pt x="21467" y="4324"/>
                  </a:lnTo>
                  <a:lnTo>
                    <a:pt x="21467" y="3670"/>
                  </a:lnTo>
                  <a:lnTo>
                    <a:pt x="21467" y="3016"/>
                  </a:lnTo>
                  <a:lnTo>
                    <a:pt x="21014" y="3016"/>
                  </a:lnTo>
                  <a:lnTo>
                    <a:pt x="21014" y="3670"/>
                  </a:lnTo>
                  <a:lnTo>
                    <a:pt x="21014" y="4324"/>
                  </a:lnTo>
                  <a:lnTo>
                    <a:pt x="21220" y="4324"/>
                  </a:lnTo>
                  <a:lnTo>
                    <a:pt x="21220" y="4017"/>
                  </a:lnTo>
                  <a:lnTo>
                    <a:pt x="21222" y="4008"/>
                  </a:lnTo>
                  <a:lnTo>
                    <a:pt x="21227" y="4002"/>
                  </a:lnTo>
                  <a:lnTo>
                    <a:pt x="21233" y="3998"/>
                  </a:lnTo>
                  <a:lnTo>
                    <a:pt x="21241" y="3997"/>
                  </a:lnTo>
                  <a:lnTo>
                    <a:pt x="21247" y="3998"/>
                  </a:lnTo>
                  <a:lnTo>
                    <a:pt x="21254" y="4002"/>
                  </a:lnTo>
                  <a:lnTo>
                    <a:pt x="21259" y="4008"/>
                  </a:lnTo>
                  <a:lnTo>
                    <a:pt x="21260" y="4017"/>
                  </a:lnTo>
                  <a:close/>
                  <a:moveTo>
                    <a:pt x="21753" y="4017"/>
                  </a:moveTo>
                  <a:lnTo>
                    <a:pt x="21753" y="4324"/>
                  </a:lnTo>
                  <a:lnTo>
                    <a:pt x="21959" y="4324"/>
                  </a:lnTo>
                  <a:lnTo>
                    <a:pt x="21959" y="3670"/>
                  </a:lnTo>
                  <a:lnTo>
                    <a:pt x="21959" y="3016"/>
                  </a:lnTo>
                  <a:lnTo>
                    <a:pt x="21506" y="3016"/>
                  </a:lnTo>
                  <a:lnTo>
                    <a:pt x="21506" y="3670"/>
                  </a:lnTo>
                  <a:lnTo>
                    <a:pt x="21506" y="4324"/>
                  </a:lnTo>
                  <a:lnTo>
                    <a:pt x="21713" y="4324"/>
                  </a:lnTo>
                  <a:lnTo>
                    <a:pt x="21713" y="4017"/>
                  </a:lnTo>
                  <a:lnTo>
                    <a:pt x="21714" y="4008"/>
                  </a:lnTo>
                  <a:lnTo>
                    <a:pt x="21719" y="4002"/>
                  </a:lnTo>
                  <a:lnTo>
                    <a:pt x="21726" y="3998"/>
                  </a:lnTo>
                  <a:lnTo>
                    <a:pt x="21732" y="3997"/>
                  </a:lnTo>
                  <a:lnTo>
                    <a:pt x="21740" y="3998"/>
                  </a:lnTo>
                  <a:lnTo>
                    <a:pt x="21746" y="4002"/>
                  </a:lnTo>
                  <a:lnTo>
                    <a:pt x="21751" y="4008"/>
                  </a:lnTo>
                  <a:lnTo>
                    <a:pt x="21753" y="4017"/>
                  </a:lnTo>
                  <a:close/>
                  <a:moveTo>
                    <a:pt x="22245" y="4017"/>
                  </a:moveTo>
                  <a:lnTo>
                    <a:pt x="22245" y="4324"/>
                  </a:lnTo>
                  <a:lnTo>
                    <a:pt x="22450" y="4324"/>
                  </a:lnTo>
                  <a:lnTo>
                    <a:pt x="22450" y="3670"/>
                  </a:lnTo>
                  <a:lnTo>
                    <a:pt x="22450" y="3016"/>
                  </a:lnTo>
                  <a:lnTo>
                    <a:pt x="21999" y="3016"/>
                  </a:lnTo>
                  <a:lnTo>
                    <a:pt x="21999" y="3670"/>
                  </a:lnTo>
                  <a:lnTo>
                    <a:pt x="21999" y="4324"/>
                  </a:lnTo>
                  <a:lnTo>
                    <a:pt x="22205" y="4324"/>
                  </a:lnTo>
                  <a:lnTo>
                    <a:pt x="22205" y="4017"/>
                  </a:lnTo>
                  <a:lnTo>
                    <a:pt x="22207" y="4008"/>
                  </a:lnTo>
                  <a:lnTo>
                    <a:pt x="22210" y="4002"/>
                  </a:lnTo>
                  <a:lnTo>
                    <a:pt x="22217" y="3998"/>
                  </a:lnTo>
                  <a:lnTo>
                    <a:pt x="22224" y="3997"/>
                  </a:lnTo>
                  <a:lnTo>
                    <a:pt x="22232" y="3998"/>
                  </a:lnTo>
                  <a:lnTo>
                    <a:pt x="22239" y="4002"/>
                  </a:lnTo>
                  <a:lnTo>
                    <a:pt x="22242" y="4008"/>
                  </a:lnTo>
                  <a:lnTo>
                    <a:pt x="22245" y="4017"/>
                  </a:lnTo>
                  <a:close/>
                  <a:moveTo>
                    <a:pt x="22737" y="4017"/>
                  </a:moveTo>
                  <a:lnTo>
                    <a:pt x="22737" y="4324"/>
                  </a:lnTo>
                  <a:lnTo>
                    <a:pt x="22943" y="4324"/>
                  </a:lnTo>
                  <a:lnTo>
                    <a:pt x="22943" y="3670"/>
                  </a:lnTo>
                  <a:lnTo>
                    <a:pt x="22943" y="3016"/>
                  </a:lnTo>
                  <a:lnTo>
                    <a:pt x="22491" y="3016"/>
                  </a:lnTo>
                  <a:lnTo>
                    <a:pt x="22491" y="3670"/>
                  </a:lnTo>
                  <a:lnTo>
                    <a:pt x="22491" y="4324"/>
                  </a:lnTo>
                  <a:lnTo>
                    <a:pt x="22696" y="4324"/>
                  </a:lnTo>
                  <a:lnTo>
                    <a:pt x="22696" y="4017"/>
                  </a:lnTo>
                  <a:lnTo>
                    <a:pt x="22699" y="4008"/>
                  </a:lnTo>
                  <a:lnTo>
                    <a:pt x="22703" y="4002"/>
                  </a:lnTo>
                  <a:lnTo>
                    <a:pt x="22709" y="3998"/>
                  </a:lnTo>
                  <a:lnTo>
                    <a:pt x="22717" y="3997"/>
                  </a:lnTo>
                  <a:lnTo>
                    <a:pt x="22725" y="3998"/>
                  </a:lnTo>
                  <a:lnTo>
                    <a:pt x="22731" y="4002"/>
                  </a:lnTo>
                  <a:lnTo>
                    <a:pt x="22735" y="4008"/>
                  </a:lnTo>
                  <a:lnTo>
                    <a:pt x="22737" y="4017"/>
                  </a:lnTo>
                  <a:close/>
                  <a:moveTo>
                    <a:pt x="21727" y="1754"/>
                  </a:moveTo>
                  <a:lnTo>
                    <a:pt x="21714" y="1740"/>
                  </a:lnTo>
                  <a:lnTo>
                    <a:pt x="21696" y="1727"/>
                  </a:lnTo>
                  <a:lnTo>
                    <a:pt x="21673" y="1714"/>
                  </a:lnTo>
                  <a:lnTo>
                    <a:pt x="21645" y="1703"/>
                  </a:lnTo>
                  <a:lnTo>
                    <a:pt x="21612" y="1693"/>
                  </a:lnTo>
                  <a:lnTo>
                    <a:pt x="21573" y="1686"/>
                  </a:lnTo>
                  <a:lnTo>
                    <a:pt x="21531" y="1681"/>
                  </a:lnTo>
                  <a:lnTo>
                    <a:pt x="21483" y="1679"/>
                  </a:lnTo>
                  <a:lnTo>
                    <a:pt x="21437" y="1681"/>
                  </a:lnTo>
                  <a:lnTo>
                    <a:pt x="21394" y="1686"/>
                  </a:lnTo>
                  <a:lnTo>
                    <a:pt x="21356" y="1693"/>
                  </a:lnTo>
                  <a:lnTo>
                    <a:pt x="21322" y="1703"/>
                  </a:lnTo>
                  <a:lnTo>
                    <a:pt x="21294" y="1714"/>
                  </a:lnTo>
                  <a:lnTo>
                    <a:pt x="21270" y="1727"/>
                  </a:lnTo>
                  <a:lnTo>
                    <a:pt x="21253" y="1740"/>
                  </a:lnTo>
                  <a:lnTo>
                    <a:pt x="21241" y="1754"/>
                  </a:lnTo>
                  <a:lnTo>
                    <a:pt x="21727" y="1754"/>
                  </a:lnTo>
                  <a:close/>
                  <a:moveTo>
                    <a:pt x="19597" y="4131"/>
                  </a:moveTo>
                  <a:lnTo>
                    <a:pt x="19564" y="4135"/>
                  </a:lnTo>
                  <a:lnTo>
                    <a:pt x="19532" y="4145"/>
                  </a:lnTo>
                  <a:lnTo>
                    <a:pt x="19500" y="4154"/>
                  </a:lnTo>
                  <a:lnTo>
                    <a:pt x="19465" y="4159"/>
                  </a:lnTo>
                  <a:lnTo>
                    <a:pt x="19436" y="4154"/>
                  </a:lnTo>
                  <a:lnTo>
                    <a:pt x="19423" y="4149"/>
                  </a:lnTo>
                  <a:lnTo>
                    <a:pt x="19410" y="4143"/>
                  </a:lnTo>
                  <a:lnTo>
                    <a:pt x="19388" y="4125"/>
                  </a:lnTo>
                  <a:lnTo>
                    <a:pt x="19369" y="4100"/>
                  </a:lnTo>
                  <a:lnTo>
                    <a:pt x="19351" y="4072"/>
                  </a:lnTo>
                  <a:lnTo>
                    <a:pt x="19334" y="4040"/>
                  </a:lnTo>
                  <a:lnTo>
                    <a:pt x="19300" y="3973"/>
                  </a:lnTo>
                  <a:lnTo>
                    <a:pt x="19282" y="3937"/>
                  </a:lnTo>
                  <a:lnTo>
                    <a:pt x="19260" y="3904"/>
                  </a:lnTo>
                  <a:lnTo>
                    <a:pt x="19235" y="3872"/>
                  </a:lnTo>
                  <a:lnTo>
                    <a:pt x="19209" y="3843"/>
                  </a:lnTo>
                  <a:lnTo>
                    <a:pt x="19175" y="3820"/>
                  </a:lnTo>
                  <a:lnTo>
                    <a:pt x="19157" y="3810"/>
                  </a:lnTo>
                  <a:lnTo>
                    <a:pt x="19138" y="3801"/>
                  </a:lnTo>
                  <a:lnTo>
                    <a:pt x="19116" y="3795"/>
                  </a:lnTo>
                  <a:lnTo>
                    <a:pt x="19093" y="3790"/>
                  </a:lnTo>
                  <a:lnTo>
                    <a:pt x="19069" y="3787"/>
                  </a:lnTo>
                  <a:lnTo>
                    <a:pt x="19042" y="3786"/>
                  </a:lnTo>
                  <a:lnTo>
                    <a:pt x="19014" y="3790"/>
                  </a:lnTo>
                  <a:lnTo>
                    <a:pt x="19002" y="3795"/>
                  </a:lnTo>
                  <a:lnTo>
                    <a:pt x="18993" y="3801"/>
                  </a:lnTo>
                  <a:lnTo>
                    <a:pt x="18974" y="3817"/>
                  </a:lnTo>
                  <a:lnTo>
                    <a:pt x="18952" y="3836"/>
                  </a:lnTo>
                  <a:lnTo>
                    <a:pt x="18925" y="3854"/>
                  </a:lnTo>
                  <a:lnTo>
                    <a:pt x="18908" y="3863"/>
                  </a:lnTo>
                  <a:lnTo>
                    <a:pt x="18889" y="3869"/>
                  </a:lnTo>
                  <a:lnTo>
                    <a:pt x="18865" y="3875"/>
                  </a:lnTo>
                  <a:lnTo>
                    <a:pt x="18838" y="3881"/>
                  </a:lnTo>
                  <a:lnTo>
                    <a:pt x="18806" y="3884"/>
                  </a:lnTo>
                  <a:lnTo>
                    <a:pt x="18769" y="3886"/>
                  </a:lnTo>
                  <a:lnTo>
                    <a:pt x="18742" y="3883"/>
                  </a:lnTo>
                  <a:lnTo>
                    <a:pt x="18720" y="3879"/>
                  </a:lnTo>
                  <a:lnTo>
                    <a:pt x="18688" y="3868"/>
                  </a:lnTo>
                  <a:lnTo>
                    <a:pt x="18662" y="3855"/>
                  </a:lnTo>
                  <a:lnTo>
                    <a:pt x="18649" y="3851"/>
                  </a:lnTo>
                  <a:lnTo>
                    <a:pt x="18637" y="3850"/>
                  </a:lnTo>
                  <a:lnTo>
                    <a:pt x="18615" y="3851"/>
                  </a:lnTo>
                  <a:lnTo>
                    <a:pt x="18594" y="3856"/>
                  </a:lnTo>
                  <a:lnTo>
                    <a:pt x="18575" y="3864"/>
                  </a:lnTo>
                  <a:lnTo>
                    <a:pt x="18557" y="3875"/>
                  </a:lnTo>
                  <a:lnTo>
                    <a:pt x="18540" y="3888"/>
                  </a:lnTo>
                  <a:lnTo>
                    <a:pt x="18524" y="3902"/>
                  </a:lnTo>
                  <a:lnTo>
                    <a:pt x="18494" y="3936"/>
                  </a:lnTo>
                  <a:lnTo>
                    <a:pt x="18467" y="3973"/>
                  </a:lnTo>
                  <a:lnTo>
                    <a:pt x="18442" y="4011"/>
                  </a:lnTo>
                  <a:lnTo>
                    <a:pt x="18416" y="4047"/>
                  </a:lnTo>
                  <a:lnTo>
                    <a:pt x="18389" y="4077"/>
                  </a:lnTo>
                  <a:lnTo>
                    <a:pt x="18366" y="4097"/>
                  </a:lnTo>
                  <a:lnTo>
                    <a:pt x="18337" y="4116"/>
                  </a:lnTo>
                  <a:lnTo>
                    <a:pt x="18266" y="4155"/>
                  </a:lnTo>
                  <a:lnTo>
                    <a:pt x="18261" y="4161"/>
                  </a:lnTo>
                  <a:lnTo>
                    <a:pt x="18253" y="4163"/>
                  </a:lnTo>
                  <a:lnTo>
                    <a:pt x="18207" y="4191"/>
                  </a:lnTo>
                  <a:lnTo>
                    <a:pt x="18169" y="4221"/>
                  </a:lnTo>
                  <a:lnTo>
                    <a:pt x="18153" y="4236"/>
                  </a:lnTo>
                  <a:lnTo>
                    <a:pt x="18147" y="4245"/>
                  </a:lnTo>
                  <a:lnTo>
                    <a:pt x="18142" y="4253"/>
                  </a:lnTo>
                  <a:lnTo>
                    <a:pt x="18134" y="4269"/>
                  </a:lnTo>
                  <a:lnTo>
                    <a:pt x="18131" y="4287"/>
                  </a:lnTo>
                  <a:lnTo>
                    <a:pt x="18133" y="4308"/>
                  </a:lnTo>
                  <a:lnTo>
                    <a:pt x="18137" y="4329"/>
                  </a:lnTo>
                  <a:lnTo>
                    <a:pt x="18256" y="4329"/>
                  </a:lnTo>
                  <a:lnTo>
                    <a:pt x="18261" y="4329"/>
                  </a:lnTo>
                  <a:lnTo>
                    <a:pt x="19046" y="4329"/>
                  </a:lnTo>
                  <a:lnTo>
                    <a:pt x="19830" y="4329"/>
                  </a:lnTo>
                  <a:lnTo>
                    <a:pt x="19825" y="4308"/>
                  </a:lnTo>
                  <a:lnTo>
                    <a:pt x="19819" y="4286"/>
                  </a:lnTo>
                  <a:lnTo>
                    <a:pt x="19810" y="4265"/>
                  </a:lnTo>
                  <a:lnTo>
                    <a:pt x="19801" y="4248"/>
                  </a:lnTo>
                  <a:lnTo>
                    <a:pt x="19778" y="4213"/>
                  </a:lnTo>
                  <a:lnTo>
                    <a:pt x="19764" y="4198"/>
                  </a:lnTo>
                  <a:lnTo>
                    <a:pt x="19748" y="4185"/>
                  </a:lnTo>
                  <a:lnTo>
                    <a:pt x="19733" y="4172"/>
                  </a:lnTo>
                  <a:lnTo>
                    <a:pt x="19716" y="4162"/>
                  </a:lnTo>
                  <a:lnTo>
                    <a:pt x="19698" y="4153"/>
                  </a:lnTo>
                  <a:lnTo>
                    <a:pt x="19679" y="4145"/>
                  </a:lnTo>
                  <a:lnTo>
                    <a:pt x="19660" y="4139"/>
                  </a:lnTo>
                  <a:lnTo>
                    <a:pt x="19639" y="4134"/>
                  </a:lnTo>
                  <a:lnTo>
                    <a:pt x="19597" y="4131"/>
                  </a:lnTo>
                  <a:close/>
                  <a:moveTo>
                    <a:pt x="18860" y="2743"/>
                  </a:moveTo>
                  <a:lnTo>
                    <a:pt x="18742" y="2904"/>
                  </a:lnTo>
                  <a:lnTo>
                    <a:pt x="18742" y="3047"/>
                  </a:lnTo>
                  <a:lnTo>
                    <a:pt x="18794" y="3040"/>
                  </a:lnTo>
                  <a:lnTo>
                    <a:pt x="18803" y="3039"/>
                  </a:lnTo>
                  <a:lnTo>
                    <a:pt x="18811" y="3043"/>
                  </a:lnTo>
                  <a:lnTo>
                    <a:pt x="18815" y="3048"/>
                  </a:lnTo>
                  <a:lnTo>
                    <a:pt x="18819" y="3056"/>
                  </a:lnTo>
                  <a:lnTo>
                    <a:pt x="18819" y="3062"/>
                  </a:lnTo>
                  <a:lnTo>
                    <a:pt x="18816" y="3070"/>
                  </a:lnTo>
                  <a:lnTo>
                    <a:pt x="18811" y="3075"/>
                  </a:lnTo>
                  <a:lnTo>
                    <a:pt x="18802" y="3079"/>
                  </a:lnTo>
                  <a:lnTo>
                    <a:pt x="18773" y="3084"/>
                  </a:lnTo>
                  <a:lnTo>
                    <a:pt x="18742" y="3086"/>
                  </a:lnTo>
                  <a:lnTo>
                    <a:pt x="18742" y="3827"/>
                  </a:lnTo>
                  <a:lnTo>
                    <a:pt x="18741" y="3836"/>
                  </a:lnTo>
                  <a:lnTo>
                    <a:pt x="18735" y="3842"/>
                  </a:lnTo>
                  <a:lnTo>
                    <a:pt x="18751" y="3845"/>
                  </a:lnTo>
                  <a:lnTo>
                    <a:pt x="18769" y="3845"/>
                  </a:lnTo>
                  <a:lnTo>
                    <a:pt x="18798" y="3845"/>
                  </a:lnTo>
                  <a:lnTo>
                    <a:pt x="18825" y="3843"/>
                  </a:lnTo>
                  <a:lnTo>
                    <a:pt x="18850" y="3840"/>
                  </a:lnTo>
                  <a:lnTo>
                    <a:pt x="18871" y="3835"/>
                  </a:lnTo>
                  <a:lnTo>
                    <a:pt x="18892" y="3826"/>
                  </a:lnTo>
                  <a:lnTo>
                    <a:pt x="18911" y="3815"/>
                  </a:lnTo>
                  <a:lnTo>
                    <a:pt x="18952" y="3782"/>
                  </a:lnTo>
                  <a:lnTo>
                    <a:pt x="18973" y="3767"/>
                  </a:lnTo>
                  <a:lnTo>
                    <a:pt x="18982" y="3760"/>
                  </a:lnTo>
                  <a:lnTo>
                    <a:pt x="18992" y="3755"/>
                  </a:lnTo>
                  <a:lnTo>
                    <a:pt x="19015" y="3748"/>
                  </a:lnTo>
                  <a:lnTo>
                    <a:pt x="19042" y="3745"/>
                  </a:lnTo>
                  <a:lnTo>
                    <a:pt x="19075" y="3748"/>
                  </a:lnTo>
                  <a:lnTo>
                    <a:pt x="19107" y="3751"/>
                  </a:lnTo>
                  <a:lnTo>
                    <a:pt x="19135" y="3758"/>
                  </a:lnTo>
                  <a:lnTo>
                    <a:pt x="19162" y="3768"/>
                  </a:lnTo>
                  <a:lnTo>
                    <a:pt x="19187" y="3780"/>
                  </a:lnTo>
                  <a:lnTo>
                    <a:pt x="19209" y="3794"/>
                  </a:lnTo>
                  <a:lnTo>
                    <a:pt x="19229" y="3809"/>
                  </a:lnTo>
                  <a:lnTo>
                    <a:pt x="19248" y="3827"/>
                  </a:lnTo>
                  <a:lnTo>
                    <a:pt x="19282" y="3866"/>
                  </a:lnTo>
                  <a:lnTo>
                    <a:pt x="19311" y="3911"/>
                  </a:lnTo>
                  <a:lnTo>
                    <a:pt x="19338" y="3960"/>
                  </a:lnTo>
                  <a:lnTo>
                    <a:pt x="19364" y="4012"/>
                  </a:lnTo>
                  <a:lnTo>
                    <a:pt x="19369" y="4021"/>
                  </a:lnTo>
                  <a:lnTo>
                    <a:pt x="19369" y="3649"/>
                  </a:lnTo>
                  <a:lnTo>
                    <a:pt x="19334" y="3663"/>
                  </a:lnTo>
                  <a:lnTo>
                    <a:pt x="19319" y="3670"/>
                  </a:lnTo>
                  <a:lnTo>
                    <a:pt x="19302" y="3676"/>
                  </a:lnTo>
                  <a:lnTo>
                    <a:pt x="19284" y="3676"/>
                  </a:lnTo>
                  <a:lnTo>
                    <a:pt x="19275" y="3675"/>
                  </a:lnTo>
                  <a:lnTo>
                    <a:pt x="19265" y="3671"/>
                  </a:lnTo>
                  <a:lnTo>
                    <a:pt x="19255" y="3666"/>
                  </a:lnTo>
                  <a:lnTo>
                    <a:pt x="19244" y="3658"/>
                  </a:lnTo>
                  <a:lnTo>
                    <a:pt x="19221" y="3634"/>
                  </a:lnTo>
                  <a:lnTo>
                    <a:pt x="19205" y="3616"/>
                  </a:lnTo>
                  <a:lnTo>
                    <a:pt x="19191" y="3604"/>
                  </a:lnTo>
                  <a:lnTo>
                    <a:pt x="19180" y="3598"/>
                  </a:lnTo>
                  <a:lnTo>
                    <a:pt x="19169" y="3595"/>
                  </a:lnTo>
                  <a:lnTo>
                    <a:pt x="19144" y="3594"/>
                  </a:lnTo>
                  <a:lnTo>
                    <a:pt x="19105" y="3590"/>
                  </a:lnTo>
                  <a:lnTo>
                    <a:pt x="19091" y="3586"/>
                  </a:lnTo>
                  <a:lnTo>
                    <a:pt x="19079" y="3581"/>
                  </a:lnTo>
                  <a:lnTo>
                    <a:pt x="19062" y="3567"/>
                  </a:lnTo>
                  <a:lnTo>
                    <a:pt x="19052" y="3549"/>
                  </a:lnTo>
                  <a:lnTo>
                    <a:pt x="19044" y="3530"/>
                  </a:lnTo>
                  <a:lnTo>
                    <a:pt x="19039" y="3510"/>
                  </a:lnTo>
                  <a:lnTo>
                    <a:pt x="19033" y="3489"/>
                  </a:lnTo>
                  <a:lnTo>
                    <a:pt x="19029" y="3480"/>
                  </a:lnTo>
                  <a:lnTo>
                    <a:pt x="19024" y="3471"/>
                  </a:lnTo>
                  <a:lnTo>
                    <a:pt x="19016" y="3464"/>
                  </a:lnTo>
                  <a:lnTo>
                    <a:pt x="19009" y="3457"/>
                  </a:lnTo>
                  <a:lnTo>
                    <a:pt x="18967" y="3434"/>
                  </a:lnTo>
                  <a:lnTo>
                    <a:pt x="18952" y="3424"/>
                  </a:lnTo>
                  <a:lnTo>
                    <a:pt x="18939" y="3414"/>
                  </a:lnTo>
                  <a:lnTo>
                    <a:pt x="18930" y="3400"/>
                  </a:lnTo>
                  <a:lnTo>
                    <a:pt x="18926" y="3383"/>
                  </a:lnTo>
                  <a:lnTo>
                    <a:pt x="18925" y="3361"/>
                  </a:lnTo>
                  <a:lnTo>
                    <a:pt x="18929" y="3333"/>
                  </a:lnTo>
                  <a:lnTo>
                    <a:pt x="18934" y="3304"/>
                  </a:lnTo>
                  <a:lnTo>
                    <a:pt x="18934" y="3285"/>
                  </a:lnTo>
                  <a:lnTo>
                    <a:pt x="18925" y="3267"/>
                  </a:lnTo>
                  <a:lnTo>
                    <a:pt x="18908" y="3242"/>
                  </a:lnTo>
                  <a:lnTo>
                    <a:pt x="18891" y="3216"/>
                  </a:lnTo>
                  <a:lnTo>
                    <a:pt x="18884" y="3199"/>
                  </a:lnTo>
                  <a:lnTo>
                    <a:pt x="18882" y="3181"/>
                  </a:lnTo>
                  <a:lnTo>
                    <a:pt x="18884" y="3162"/>
                  </a:lnTo>
                  <a:lnTo>
                    <a:pt x="18891" y="3145"/>
                  </a:lnTo>
                  <a:lnTo>
                    <a:pt x="18908" y="3118"/>
                  </a:lnTo>
                  <a:lnTo>
                    <a:pt x="18923" y="3098"/>
                  </a:lnTo>
                  <a:lnTo>
                    <a:pt x="18930" y="3083"/>
                  </a:lnTo>
                  <a:lnTo>
                    <a:pt x="18934" y="3070"/>
                  </a:lnTo>
                  <a:lnTo>
                    <a:pt x="18935" y="3060"/>
                  </a:lnTo>
                  <a:lnTo>
                    <a:pt x="18929" y="3035"/>
                  </a:lnTo>
                  <a:lnTo>
                    <a:pt x="18925" y="2996"/>
                  </a:lnTo>
                  <a:lnTo>
                    <a:pt x="18928" y="2969"/>
                  </a:lnTo>
                  <a:lnTo>
                    <a:pt x="18932" y="2959"/>
                  </a:lnTo>
                  <a:lnTo>
                    <a:pt x="18938" y="2950"/>
                  </a:lnTo>
                  <a:lnTo>
                    <a:pt x="18944" y="2942"/>
                  </a:lnTo>
                  <a:lnTo>
                    <a:pt x="18952" y="2936"/>
                  </a:lnTo>
                  <a:lnTo>
                    <a:pt x="18970" y="2924"/>
                  </a:lnTo>
                  <a:lnTo>
                    <a:pt x="19007" y="2904"/>
                  </a:lnTo>
                  <a:lnTo>
                    <a:pt x="19023" y="2891"/>
                  </a:lnTo>
                  <a:lnTo>
                    <a:pt x="19033" y="2872"/>
                  </a:lnTo>
                  <a:lnTo>
                    <a:pt x="19047" y="2828"/>
                  </a:lnTo>
                  <a:lnTo>
                    <a:pt x="19053" y="2810"/>
                  </a:lnTo>
                  <a:lnTo>
                    <a:pt x="19061" y="2796"/>
                  </a:lnTo>
                  <a:lnTo>
                    <a:pt x="19073" y="2785"/>
                  </a:lnTo>
                  <a:lnTo>
                    <a:pt x="19088" y="2776"/>
                  </a:lnTo>
                  <a:lnTo>
                    <a:pt x="19109" y="2771"/>
                  </a:lnTo>
                  <a:lnTo>
                    <a:pt x="19138" y="2768"/>
                  </a:lnTo>
                  <a:lnTo>
                    <a:pt x="19162" y="2766"/>
                  </a:lnTo>
                  <a:lnTo>
                    <a:pt x="19180" y="2763"/>
                  </a:lnTo>
                  <a:lnTo>
                    <a:pt x="19192" y="2758"/>
                  </a:lnTo>
                  <a:lnTo>
                    <a:pt x="19201" y="2751"/>
                  </a:lnTo>
                  <a:lnTo>
                    <a:pt x="19216" y="2732"/>
                  </a:lnTo>
                  <a:lnTo>
                    <a:pt x="19228" y="2719"/>
                  </a:lnTo>
                  <a:lnTo>
                    <a:pt x="19243" y="2704"/>
                  </a:lnTo>
                  <a:lnTo>
                    <a:pt x="19265" y="2690"/>
                  </a:lnTo>
                  <a:lnTo>
                    <a:pt x="19274" y="2686"/>
                  </a:lnTo>
                  <a:lnTo>
                    <a:pt x="19284" y="2685"/>
                  </a:lnTo>
                  <a:lnTo>
                    <a:pt x="19302" y="2686"/>
                  </a:lnTo>
                  <a:lnTo>
                    <a:pt x="19319" y="2691"/>
                  </a:lnTo>
                  <a:lnTo>
                    <a:pt x="19352" y="2707"/>
                  </a:lnTo>
                  <a:lnTo>
                    <a:pt x="19370" y="2713"/>
                  </a:lnTo>
                  <a:lnTo>
                    <a:pt x="19388" y="2716"/>
                  </a:lnTo>
                  <a:lnTo>
                    <a:pt x="19410" y="2712"/>
                  </a:lnTo>
                  <a:lnTo>
                    <a:pt x="19429" y="2705"/>
                  </a:lnTo>
                  <a:lnTo>
                    <a:pt x="19448" y="2696"/>
                  </a:lnTo>
                  <a:lnTo>
                    <a:pt x="19466" y="2689"/>
                  </a:lnTo>
                  <a:lnTo>
                    <a:pt x="19486" y="2685"/>
                  </a:lnTo>
                  <a:lnTo>
                    <a:pt x="19506" y="2688"/>
                  </a:lnTo>
                  <a:lnTo>
                    <a:pt x="19518" y="2694"/>
                  </a:lnTo>
                  <a:lnTo>
                    <a:pt x="19529" y="2702"/>
                  </a:lnTo>
                  <a:lnTo>
                    <a:pt x="19556" y="2727"/>
                  </a:lnTo>
                  <a:lnTo>
                    <a:pt x="19573" y="2746"/>
                  </a:lnTo>
                  <a:lnTo>
                    <a:pt x="19586" y="2758"/>
                  </a:lnTo>
                  <a:lnTo>
                    <a:pt x="19597" y="2764"/>
                  </a:lnTo>
                  <a:lnTo>
                    <a:pt x="19607" y="2767"/>
                  </a:lnTo>
                  <a:lnTo>
                    <a:pt x="19633" y="2767"/>
                  </a:lnTo>
                  <a:lnTo>
                    <a:pt x="19673" y="2771"/>
                  </a:lnTo>
                  <a:lnTo>
                    <a:pt x="19687" y="2774"/>
                  </a:lnTo>
                  <a:lnTo>
                    <a:pt x="19698" y="2780"/>
                  </a:lnTo>
                  <a:lnTo>
                    <a:pt x="19715" y="2794"/>
                  </a:lnTo>
                  <a:lnTo>
                    <a:pt x="19725" y="2812"/>
                  </a:lnTo>
                  <a:lnTo>
                    <a:pt x="19732" y="2832"/>
                  </a:lnTo>
                  <a:lnTo>
                    <a:pt x="19737" y="2852"/>
                  </a:lnTo>
                  <a:lnTo>
                    <a:pt x="19743" y="2872"/>
                  </a:lnTo>
                  <a:lnTo>
                    <a:pt x="19748" y="2881"/>
                  </a:lnTo>
                  <a:lnTo>
                    <a:pt x="19754" y="2890"/>
                  </a:lnTo>
                  <a:lnTo>
                    <a:pt x="19760" y="2897"/>
                  </a:lnTo>
                  <a:lnTo>
                    <a:pt x="19769" y="2904"/>
                  </a:lnTo>
                  <a:lnTo>
                    <a:pt x="19809" y="2927"/>
                  </a:lnTo>
                  <a:lnTo>
                    <a:pt x="19825" y="2937"/>
                  </a:lnTo>
                  <a:lnTo>
                    <a:pt x="19837" y="2948"/>
                  </a:lnTo>
                  <a:lnTo>
                    <a:pt x="19846" y="2961"/>
                  </a:lnTo>
                  <a:lnTo>
                    <a:pt x="19851" y="2978"/>
                  </a:lnTo>
                  <a:lnTo>
                    <a:pt x="19852" y="3000"/>
                  </a:lnTo>
                  <a:lnTo>
                    <a:pt x="19848" y="3028"/>
                  </a:lnTo>
                  <a:lnTo>
                    <a:pt x="19843" y="3057"/>
                  </a:lnTo>
                  <a:lnTo>
                    <a:pt x="19843" y="3076"/>
                  </a:lnTo>
                  <a:lnTo>
                    <a:pt x="19851" y="3094"/>
                  </a:lnTo>
                  <a:lnTo>
                    <a:pt x="19869" y="3118"/>
                  </a:lnTo>
                  <a:lnTo>
                    <a:pt x="19887" y="3145"/>
                  </a:lnTo>
                  <a:lnTo>
                    <a:pt x="19893" y="3162"/>
                  </a:lnTo>
                  <a:lnTo>
                    <a:pt x="19896" y="3181"/>
                  </a:lnTo>
                  <a:lnTo>
                    <a:pt x="19893" y="3199"/>
                  </a:lnTo>
                  <a:lnTo>
                    <a:pt x="19887" y="3216"/>
                  </a:lnTo>
                  <a:lnTo>
                    <a:pt x="19878" y="3230"/>
                  </a:lnTo>
                  <a:lnTo>
                    <a:pt x="19868" y="3244"/>
                  </a:lnTo>
                  <a:lnTo>
                    <a:pt x="19857" y="3258"/>
                  </a:lnTo>
                  <a:lnTo>
                    <a:pt x="19848" y="3272"/>
                  </a:lnTo>
                  <a:lnTo>
                    <a:pt x="19843" y="3287"/>
                  </a:lnTo>
                  <a:lnTo>
                    <a:pt x="19843" y="3305"/>
                  </a:lnTo>
                  <a:lnTo>
                    <a:pt x="19850" y="3351"/>
                  </a:lnTo>
                  <a:lnTo>
                    <a:pt x="19852" y="3369"/>
                  </a:lnTo>
                  <a:lnTo>
                    <a:pt x="19851" y="3386"/>
                  </a:lnTo>
                  <a:lnTo>
                    <a:pt x="19846" y="3401"/>
                  </a:lnTo>
                  <a:lnTo>
                    <a:pt x="19836" y="3415"/>
                  </a:lnTo>
                  <a:lnTo>
                    <a:pt x="19819" y="3429"/>
                  </a:lnTo>
                  <a:lnTo>
                    <a:pt x="19795" y="3445"/>
                  </a:lnTo>
                  <a:lnTo>
                    <a:pt x="19773" y="3456"/>
                  </a:lnTo>
                  <a:lnTo>
                    <a:pt x="19759" y="3466"/>
                  </a:lnTo>
                  <a:lnTo>
                    <a:pt x="19750" y="3476"/>
                  </a:lnTo>
                  <a:lnTo>
                    <a:pt x="19745" y="3485"/>
                  </a:lnTo>
                  <a:lnTo>
                    <a:pt x="19739" y="3510"/>
                  </a:lnTo>
                  <a:lnTo>
                    <a:pt x="19734" y="3526"/>
                  </a:lnTo>
                  <a:lnTo>
                    <a:pt x="19727" y="3547"/>
                  </a:lnTo>
                  <a:lnTo>
                    <a:pt x="19711" y="3570"/>
                  </a:lnTo>
                  <a:lnTo>
                    <a:pt x="19704" y="3579"/>
                  </a:lnTo>
                  <a:lnTo>
                    <a:pt x="19695" y="3584"/>
                  </a:lnTo>
                  <a:lnTo>
                    <a:pt x="19674" y="3590"/>
                  </a:lnTo>
                  <a:lnTo>
                    <a:pt x="19653" y="3593"/>
                  </a:lnTo>
                  <a:lnTo>
                    <a:pt x="19632" y="3593"/>
                  </a:lnTo>
                  <a:lnTo>
                    <a:pt x="19611" y="3594"/>
                  </a:lnTo>
                  <a:lnTo>
                    <a:pt x="19592" y="3601"/>
                  </a:lnTo>
                  <a:lnTo>
                    <a:pt x="19583" y="3606"/>
                  </a:lnTo>
                  <a:lnTo>
                    <a:pt x="19575" y="3612"/>
                  </a:lnTo>
                  <a:lnTo>
                    <a:pt x="19543" y="3647"/>
                  </a:lnTo>
                  <a:lnTo>
                    <a:pt x="19530" y="3659"/>
                  </a:lnTo>
                  <a:lnTo>
                    <a:pt x="19516" y="3668"/>
                  </a:lnTo>
                  <a:lnTo>
                    <a:pt x="19501" y="3675"/>
                  </a:lnTo>
                  <a:lnTo>
                    <a:pt x="19484" y="3676"/>
                  </a:lnTo>
                  <a:lnTo>
                    <a:pt x="19462" y="3671"/>
                  </a:lnTo>
                  <a:lnTo>
                    <a:pt x="19436" y="3661"/>
                  </a:lnTo>
                  <a:lnTo>
                    <a:pt x="19409" y="3649"/>
                  </a:lnTo>
                  <a:lnTo>
                    <a:pt x="19409" y="4083"/>
                  </a:lnTo>
                  <a:lnTo>
                    <a:pt x="19409" y="4086"/>
                  </a:lnTo>
                  <a:lnTo>
                    <a:pt x="19420" y="4099"/>
                  </a:lnTo>
                  <a:lnTo>
                    <a:pt x="19434" y="4109"/>
                  </a:lnTo>
                  <a:lnTo>
                    <a:pt x="19448" y="4117"/>
                  </a:lnTo>
                  <a:lnTo>
                    <a:pt x="19465" y="4118"/>
                  </a:lnTo>
                  <a:lnTo>
                    <a:pt x="19498" y="4115"/>
                  </a:lnTo>
                  <a:lnTo>
                    <a:pt x="19530" y="4104"/>
                  </a:lnTo>
                  <a:lnTo>
                    <a:pt x="19564" y="4095"/>
                  </a:lnTo>
                  <a:lnTo>
                    <a:pt x="19597" y="4090"/>
                  </a:lnTo>
                  <a:lnTo>
                    <a:pt x="19629" y="4093"/>
                  </a:lnTo>
                  <a:lnTo>
                    <a:pt x="19660" y="4098"/>
                  </a:lnTo>
                  <a:lnTo>
                    <a:pt x="19688" y="4106"/>
                  </a:lnTo>
                  <a:lnTo>
                    <a:pt x="19715" y="4116"/>
                  </a:lnTo>
                  <a:lnTo>
                    <a:pt x="19739" y="4130"/>
                  </a:lnTo>
                  <a:lnTo>
                    <a:pt x="19761" y="4144"/>
                  </a:lnTo>
                  <a:lnTo>
                    <a:pt x="19782" y="4161"/>
                  </a:lnTo>
                  <a:lnTo>
                    <a:pt x="19800" y="4178"/>
                  </a:lnTo>
                  <a:lnTo>
                    <a:pt x="19830" y="4217"/>
                  </a:lnTo>
                  <a:lnTo>
                    <a:pt x="19842" y="4236"/>
                  </a:lnTo>
                  <a:lnTo>
                    <a:pt x="19852" y="4255"/>
                  </a:lnTo>
                  <a:lnTo>
                    <a:pt x="19861" y="4274"/>
                  </a:lnTo>
                  <a:lnTo>
                    <a:pt x="19866" y="4292"/>
                  </a:lnTo>
                  <a:lnTo>
                    <a:pt x="19871" y="4309"/>
                  </a:lnTo>
                  <a:lnTo>
                    <a:pt x="19874" y="4324"/>
                  </a:lnTo>
                  <a:lnTo>
                    <a:pt x="20236" y="4324"/>
                  </a:lnTo>
                  <a:lnTo>
                    <a:pt x="20236" y="4017"/>
                  </a:lnTo>
                  <a:lnTo>
                    <a:pt x="20238" y="4008"/>
                  </a:lnTo>
                  <a:lnTo>
                    <a:pt x="20242" y="4002"/>
                  </a:lnTo>
                  <a:lnTo>
                    <a:pt x="20248" y="3998"/>
                  </a:lnTo>
                  <a:lnTo>
                    <a:pt x="20256" y="3997"/>
                  </a:lnTo>
                  <a:lnTo>
                    <a:pt x="20264" y="3998"/>
                  </a:lnTo>
                  <a:lnTo>
                    <a:pt x="20270" y="4002"/>
                  </a:lnTo>
                  <a:lnTo>
                    <a:pt x="20274" y="4008"/>
                  </a:lnTo>
                  <a:lnTo>
                    <a:pt x="20277" y="4017"/>
                  </a:lnTo>
                  <a:lnTo>
                    <a:pt x="20277" y="4324"/>
                  </a:lnTo>
                  <a:lnTo>
                    <a:pt x="20482" y="4324"/>
                  </a:lnTo>
                  <a:lnTo>
                    <a:pt x="20482" y="3670"/>
                  </a:lnTo>
                  <a:lnTo>
                    <a:pt x="20482" y="3016"/>
                  </a:lnTo>
                  <a:lnTo>
                    <a:pt x="20024" y="3016"/>
                  </a:lnTo>
                  <a:lnTo>
                    <a:pt x="20024" y="3584"/>
                  </a:lnTo>
                  <a:lnTo>
                    <a:pt x="20024" y="4152"/>
                  </a:lnTo>
                  <a:lnTo>
                    <a:pt x="20023" y="4161"/>
                  </a:lnTo>
                  <a:lnTo>
                    <a:pt x="20018" y="4167"/>
                  </a:lnTo>
                  <a:lnTo>
                    <a:pt x="20011" y="4171"/>
                  </a:lnTo>
                  <a:lnTo>
                    <a:pt x="20005" y="4172"/>
                  </a:lnTo>
                  <a:lnTo>
                    <a:pt x="19997" y="4171"/>
                  </a:lnTo>
                  <a:lnTo>
                    <a:pt x="19991" y="4167"/>
                  </a:lnTo>
                  <a:lnTo>
                    <a:pt x="19986" y="4161"/>
                  </a:lnTo>
                  <a:lnTo>
                    <a:pt x="19984" y="4152"/>
                  </a:lnTo>
                  <a:lnTo>
                    <a:pt x="19984" y="3451"/>
                  </a:lnTo>
                  <a:lnTo>
                    <a:pt x="19984" y="2750"/>
                  </a:lnTo>
                  <a:lnTo>
                    <a:pt x="19946" y="2750"/>
                  </a:lnTo>
                  <a:lnTo>
                    <a:pt x="19939" y="2748"/>
                  </a:lnTo>
                  <a:lnTo>
                    <a:pt x="19933" y="2744"/>
                  </a:lnTo>
                  <a:lnTo>
                    <a:pt x="19928" y="2737"/>
                  </a:lnTo>
                  <a:lnTo>
                    <a:pt x="19927" y="2730"/>
                  </a:lnTo>
                  <a:lnTo>
                    <a:pt x="19927" y="2576"/>
                  </a:lnTo>
                  <a:lnTo>
                    <a:pt x="19928" y="2569"/>
                  </a:lnTo>
                  <a:lnTo>
                    <a:pt x="19933" y="2562"/>
                  </a:lnTo>
                  <a:lnTo>
                    <a:pt x="19939" y="2558"/>
                  </a:lnTo>
                  <a:lnTo>
                    <a:pt x="19946" y="2556"/>
                  </a:lnTo>
                  <a:lnTo>
                    <a:pt x="19998" y="2556"/>
                  </a:lnTo>
                  <a:lnTo>
                    <a:pt x="20041" y="2500"/>
                  </a:lnTo>
                  <a:lnTo>
                    <a:pt x="20089" y="2443"/>
                  </a:lnTo>
                  <a:lnTo>
                    <a:pt x="20116" y="2418"/>
                  </a:lnTo>
                  <a:lnTo>
                    <a:pt x="20143" y="2391"/>
                  </a:lnTo>
                  <a:lnTo>
                    <a:pt x="20201" y="2340"/>
                  </a:lnTo>
                  <a:lnTo>
                    <a:pt x="20264" y="2292"/>
                  </a:lnTo>
                  <a:lnTo>
                    <a:pt x="20331" y="2246"/>
                  </a:lnTo>
                  <a:lnTo>
                    <a:pt x="20402" y="2203"/>
                  </a:lnTo>
                  <a:lnTo>
                    <a:pt x="20477" y="2163"/>
                  </a:lnTo>
                  <a:lnTo>
                    <a:pt x="20556" y="2126"/>
                  </a:lnTo>
                  <a:lnTo>
                    <a:pt x="20638" y="2092"/>
                  </a:lnTo>
                  <a:lnTo>
                    <a:pt x="20681" y="2075"/>
                  </a:lnTo>
                  <a:lnTo>
                    <a:pt x="20724" y="2060"/>
                  </a:lnTo>
                  <a:lnTo>
                    <a:pt x="20813" y="2033"/>
                  </a:lnTo>
                  <a:lnTo>
                    <a:pt x="20904" y="2009"/>
                  </a:lnTo>
                  <a:lnTo>
                    <a:pt x="20999" y="1987"/>
                  </a:lnTo>
                  <a:lnTo>
                    <a:pt x="21095" y="1970"/>
                  </a:lnTo>
                  <a:lnTo>
                    <a:pt x="21194" y="1956"/>
                  </a:lnTo>
                  <a:lnTo>
                    <a:pt x="21194" y="1775"/>
                  </a:lnTo>
                  <a:lnTo>
                    <a:pt x="21196" y="1759"/>
                  </a:lnTo>
                  <a:lnTo>
                    <a:pt x="21200" y="1744"/>
                  </a:lnTo>
                  <a:lnTo>
                    <a:pt x="21209" y="1730"/>
                  </a:lnTo>
                  <a:lnTo>
                    <a:pt x="21219" y="1717"/>
                  </a:lnTo>
                  <a:lnTo>
                    <a:pt x="21232" y="1705"/>
                  </a:lnTo>
                  <a:lnTo>
                    <a:pt x="21247" y="1694"/>
                  </a:lnTo>
                  <a:lnTo>
                    <a:pt x="21265" y="1684"/>
                  </a:lnTo>
                  <a:lnTo>
                    <a:pt x="21285" y="1675"/>
                  </a:lnTo>
                  <a:lnTo>
                    <a:pt x="21329" y="1659"/>
                  </a:lnTo>
                  <a:lnTo>
                    <a:pt x="21378" y="1648"/>
                  </a:lnTo>
                  <a:lnTo>
                    <a:pt x="21429" y="1642"/>
                  </a:lnTo>
                  <a:lnTo>
                    <a:pt x="21483" y="1639"/>
                  </a:lnTo>
                  <a:lnTo>
                    <a:pt x="21537" y="1642"/>
                  </a:lnTo>
                  <a:lnTo>
                    <a:pt x="21590" y="1648"/>
                  </a:lnTo>
                  <a:lnTo>
                    <a:pt x="21614" y="1653"/>
                  </a:lnTo>
                  <a:lnTo>
                    <a:pt x="21638" y="1659"/>
                  </a:lnTo>
                  <a:lnTo>
                    <a:pt x="21660" y="1666"/>
                  </a:lnTo>
                  <a:lnTo>
                    <a:pt x="21682" y="1675"/>
                  </a:lnTo>
                  <a:lnTo>
                    <a:pt x="21719" y="1694"/>
                  </a:lnTo>
                  <a:lnTo>
                    <a:pt x="21747" y="1717"/>
                  </a:lnTo>
                  <a:lnTo>
                    <a:pt x="21759" y="1730"/>
                  </a:lnTo>
                  <a:lnTo>
                    <a:pt x="21767" y="1744"/>
                  </a:lnTo>
                  <a:lnTo>
                    <a:pt x="21772" y="1759"/>
                  </a:lnTo>
                  <a:lnTo>
                    <a:pt x="21773" y="1775"/>
                  </a:lnTo>
                  <a:lnTo>
                    <a:pt x="21773" y="1956"/>
                  </a:lnTo>
                  <a:lnTo>
                    <a:pt x="21872" y="1970"/>
                  </a:lnTo>
                  <a:lnTo>
                    <a:pt x="21969" y="1987"/>
                  </a:lnTo>
                  <a:lnTo>
                    <a:pt x="22063" y="2009"/>
                  </a:lnTo>
                  <a:lnTo>
                    <a:pt x="22155" y="2033"/>
                  </a:lnTo>
                  <a:lnTo>
                    <a:pt x="22244" y="2060"/>
                  </a:lnTo>
                  <a:lnTo>
                    <a:pt x="22328" y="2092"/>
                  </a:lnTo>
                  <a:lnTo>
                    <a:pt x="22412" y="2126"/>
                  </a:lnTo>
                  <a:lnTo>
                    <a:pt x="22490" y="2163"/>
                  </a:lnTo>
                  <a:lnTo>
                    <a:pt x="22566" y="2203"/>
                  </a:lnTo>
                  <a:lnTo>
                    <a:pt x="22601" y="2225"/>
                  </a:lnTo>
                  <a:lnTo>
                    <a:pt x="22636" y="2246"/>
                  </a:lnTo>
                  <a:lnTo>
                    <a:pt x="22703" y="2292"/>
                  </a:lnTo>
                  <a:lnTo>
                    <a:pt x="22766" y="2340"/>
                  </a:lnTo>
                  <a:lnTo>
                    <a:pt x="22795" y="2365"/>
                  </a:lnTo>
                  <a:lnTo>
                    <a:pt x="22825" y="2391"/>
                  </a:lnTo>
                  <a:lnTo>
                    <a:pt x="22877" y="2445"/>
                  </a:lnTo>
                  <a:lnTo>
                    <a:pt x="22926" y="2500"/>
                  </a:lnTo>
                  <a:lnTo>
                    <a:pt x="22969" y="2556"/>
                  </a:lnTo>
                  <a:lnTo>
                    <a:pt x="23021" y="2556"/>
                  </a:lnTo>
                  <a:lnTo>
                    <a:pt x="23028" y="2558"/>
                  </a:lnTo>
                  <a:lnTo>
                    <a:pt x="23035" y="2562"/>
                  </a:lnTo>
                  <a:lnTo>
                    <a:pt x="23039" y="2569"/>
                  </a:lnTo>
                  <a:lnTo>
                    <a:pt x="23040" y="2576"/>
                  </a:lnTo>
                  <a:lnTo>
                    <a:pt x="23040" y="2730"/>
                  </a:lnTo>
                  <a:lnTo>
                    <a:pt x="23039" y="2737"/>
                  </a:lnTo>
                  <a:lnTo>
                    <a:pt x="23035" y="2744"/>
                  </a:lnTo>
                  <a:lnTo>
                    <a:pt x="23028" y="2748"/>
                  </a:lnTo>
                  <a:lnTo>
                    <a:pt x="23021" y="2750"/>
                  </a:lnTo>
                  <a:lnTo>
                    <a:pt x="22982" y="2750"/>
                  </a:lnTo>
                  <a:lnTo>
                    <a:pt x="22982" y="3547"/>
                  </a:lnTo>
                  <a:lnTo>
                    <a:pt x="22982" y="4345"/>
                  </a:lnTo>
                  <a:lnTo>
                    <a:pt x="22981" y="4352"/>
                  </a:lnTo>
                  <a:lnTo>
                    <a:pt x="22977" y="4359"/>
                  </a:lnTo>
                  <a:lnTo>
                    <a:pt x="22971" y="4363"/>
                  </a:lnTo>
                  <a:lnTo>
                    <a:pt x="22963" y="4365"/>
                  </a:lnTo>
                  <a:lnTo>
                    <a:pt x="22717" y="4365"/>
                  </a:lnTo>
                  <a:lnTo>
                    <a:pt x="21733" y="4365"/>
                  </a:lnTo>
                  <a:lnTo>
                    <a:pt x="21241" y="4365"/>
                  </a:lnTo>
                  <a:lnTo>
                    <a:pt x="20749" y="4365"/>
                  </a:lnTo>
                  <a:lnTo>
                    <a:pt x="20257" y="4365"/>
                  </a:lnTo>
                  <a:lnTo>
                    <a:pt x="19865" y="4365"/>
                  </a:lnTo>
                  <a:lnTo>
                    <a:pt x="19859" y="4368"/>
                  </a:lnTo>
                  <a:lnTo>
                    <a:pt x="19852" y="4369"/>
                  </a:lnTo>
                  <a:lnTo>
                    <a:pt x="18987" y="4369"/>
                  </a:lnTo>
                  <a:lnTo>
                    <a:pt x="18122" y="4369"/>
                  </a:lnTo>
                  <a:lnTo>
                    <a:pt x="18119" y="4369"/>
                  </a:lnTo>
                  <a:lnTo>
                    <a:pt x="17558" y="4369"/>
                  </a:lnTo>
                  <a:lnTo>
                    <a:pt x="17549" y="4366"/>
                  </a:lnTo>
                  <a:lnTo>
                    <a:pt x="17543" y="4363"/>
                  </a:lnTo>
                  <a:lnTo>
                    <a:pt x="17540" y="4356"/>
                  </a:lnTo>
                  <a:lnTo>
                    <a:pt x="17539" y="4349"/>
                  </a:lnTo>
                  <a:lnTo>
                    <a:pt x="17540" y="4341"/>
                  </a:lnTo>
                  <a:lnTo>
                    <a:pt x="17543" y="4334"/>
                  </a:lnTo>
                  <a:lnTo>
                    <a:pt x="17549" y="4331"/>
                  </a:lnTo>
                  <a:lnTo>
                    <a:pt x="17558" y="4329"/>
                  </a:lnTo>
                  <a:lnTo>
                    <a:pt x="18096" y="4329"/>
                  </a:lnTo>
                  <a:lnTo>
                    <a:pt x="18092" y="4305"/>
                  </a:lnTo>
                  <a:lnTo>
                    <a:pt x="18090" y="4287"/>
                  </a:lnTo>
                  <a:lnTo>
                    <a:pt x="18094" y="4262"/>
                  </a:lnTo>
                  <a:lnTo>
                    <a:pt x="18103" y="4237"/>
                  </a:lnTo>
                  <a:lnTo>
                    <a:pt x="18116" y="4216"/>
                  </a:lnTo>
                  <a:lnTo>
                    <a:pt x="18134" y="4196"/>
                  </a:lnTo>
                  <a:lnTo>
                    <a:pt x="18155" y="4178"/>
                  </a:lnTo>
                  <a:lnTo>
                    <a:pt x="18178" y="4162"/>
                  </a:lnTo>
                  <a:lnTo>
                    <a:pt x="18230" y="4131"/>
                  </a:lnTo>
                  <a:lnTo>
                    <a:pt x="18213" y="3595"/>
                  </a:lnTo>
                  <a:lnTo>
                    <a:pt x="18197" y="3061"/>
                  </a:lnTo>
                  <a:lnTo>
                    <a:pt x="17607" y="2249"/>
                  </a:lnTo>
                  <a:lnTo>
                    <a:pt x="17579" y="2705"/>
                  </a:lnTo>
                  <a:lnTo>
                    <a:pt x="17576" y="2714"/>
                  </a:lnTo>
                  <a:lnTo>
                    <a:pt x="17571" y="2719"/>
                  </a:lnTo>
                  <a:lnTo>
                    <a:pt x="17557" y="2725"/>
                  </a:lnTo>
                  <a:lnTo>
                    <a:pt x="17551" y="2722"/>
                  </a:lnTo>
                  <a:lnTo>
                    <a:pt x="17544" y="2718"/>
                  </a:lnTo>
                  <a:lnTo>
                    <a:pt x="17540" y="2712"/>
                  </a:lnTo>
                  <a:lnTo>
                    <a:pt x="17539" y="2703"/>
                  </a:lnTo>
                  <a:lnTo>
                    <a:pt x="17570" y="2195"/>
                  </a:lnTo>
                  <a:lnTo>
                    <a:pt x="17571" y="2188"/>
                  </a:lnTo>
                  <a:lnTo>
                    <a:pt x="17597" y="1763"/>
                  </a:lnTo>
                  <a:lnTo>
                    <a:pt x="17597" y="1755"/>
                  </a:lnTo>
                  <a:lnTo>
                    <a:pt x="17640" y="1058"/>
                  </a:lnTo>
                  <a:lnTo>
                    <a:pt x="17622" y="1058"/>
                  </a:lnTo>
                  <a:lnTo>
                    <a:pt x="17615" y="1057"/>
                  </a:lnTo>
                  <a:lnTo>
                    <a:pt x="17608" y="1053"/>
                  </a:lnTo>
                  <a:lnTo>
                    <a:pt x="17604" y="1047"/>
                  </a:lnTo>
                  <a:lnTo>
                    <a:pt x="17603" y="1039"/>
                  </a:lnTo>
                  <a:lnTo>
                    <a:pt x="17603" y="943"/>
                  </a:lnTo>
                  <a:lnTo>
                    <a:pt x="17604" y="936"/>
                  </a:lnTo>
                  <a:lnTo>
                    <a:pt x="17608" y="929"/>
                  </a:lnTo>
                  <a:lnTo>
                    <a:pt x="17615" y="925"/>
                  </a:lnTo>
                  <a:lnTo>
                    <a:pt x="17622" y="924"/>
                  </a:lnTo>
                  <a:lnTo>
                    <a:pt x="18192" y="924"/>
                  </a:lnTo>
                  <a:lnTo>
                    <a:pt x="18199" y="925"/>
                  </a:lnTo>
                  <a:lnTo>
                    <a:pt x="18206" y="929"/>
                  </a:lnTo>
                  <a:lnTo>
                    <a:pt x="18211" y="936"/>
                  </a:lnTo>
                  <a:lnTo>
                    <a:pt x="18212" y="943"/>
                  </a:lnTo>
                  <a:lnTo>
                    <a:pt x="18212" y="1039"/>
                  </a:lnTo>
                  <a:lnTo>
                    <a:pt x="18211" y="1047"/>
                  </a:lnTo>
                  <a:lnTo>
                    <a:pt x="18206" y="1053"/>
                  </a:lnTo>
                  <a:lnTo>
                    <a:pt x="18199" y="1057"/>
                  </a:lnTo>
                  <a:lnTo>
                    <a:pt x="18192" y="1058"/>
                  </a:lnTo>
                  <a:lnTo>
                    <a:pt x="18174" y="1058"/>
                  </a:lnTo>
                  <a:lnTo>
                    <a:pt x="18201" y="1919"/>
                  </a:lnTo>
                  <a:lnTo>
                    <a:pt x="18930" y="1919"/>
                  </a:lnTo>
                  <a:lnTo>
                    <a:pt x="19661" y="1919"/>
                  </a:lnTo>
                  <a:lnTo>
                    <a:pt x="19698" y="1158"/>
                  </a:lnTo>
                  <a:lnTo>
                    <a:pt x="19736" y="399"/>
                  </a:lnTo>
                  <a:lnTo>
                    <a:pt x="19738" y="392"/>
                  </a:lnTo>
                  <a:lnTo>
                    <a:pt x="19742" y="386"/>
                  </a:lnTo>
                  <a:lnTo>
                    <a:pt x="19748" y="382"/>
                  </a:lnTo>
                  <a:lnTo>
                    <a:pt x="19756" y="381"/>
                  </a:lnTo>
                  <a:lnTo>
                    <a:pt x="20084" y="381"/>
                  </a:lnTo>
                  <a:lnTo>
                    <a:pt x="20092" y="382"/>
                  </a:lnTo>
                  <a:lnTo>
                    <a:pt x="20098" y="386"/>
                  </a:lnTo>
                  <a:lnTo>
                    <a:pt x="20102" y="392"/>
                  </a:lnTo>
                  <a:lnTo>
                    <a:pt x="20105" y="399"/>
                  </a:lnTo>
                  <a:lnTo>
                    <a:pt x="20142" y="1126"/>
                  </a:lnTo>
                  <a:lnTo>
                    <a:pt x="20181" y="1855"/>
                  </a:lnTo>
                  <a:lnTo>
                    <a:pt x="20179" y="1864"/>
                  </a:lnTo>
                  <a:lnTo>
                    <a:pt x="20175" y="1870"/>
                  </a:lnTo>
                  <a:lnTo>
                    <a:pt x="20169" y="1874"/>
                  </a:lnTo>
                  <a:lnTo>
                    <a:pt x="20161" y="1877"/>
                  </a:lnTo>
                  <a:lnTo>
                    <a:pt x="20147" y="1872"/>
                  </a:lnTo>
                  <a:lnTo>
                    <a:pt x="20143" y="1867"/>
                  </a:lnTo>
                  <a:lnTo>
                    <a:pt x="20141" y="1858"/>
                  </a:lnTo>
                  <a:lnTo>
                    <a:pt x="20102" y="1139"/>
                  </a:lnTo>
                  <a:lnTo>
                    <a:pt x="20065" y="420"/>
                  </a:lnTo>
                  <a:lnTo>
                    <a:pt x="19775" y="420"/>
                  </a:lnTo>
                  <a:lnTo>
                    <a:pt x="19737" y="1180"/>
                  </a:lnTo>
                  <a:lnTo>
                    <a:pt x="19700" y="1939"/>
                  </a:lnTo>
                  <a:lnTo>
                    <a:pt x="19700" y="1942"/>
                  </a:lnTo>
                  <a:lnTo>
                    <a:pt x="19698" y="1947"/>
                  </a:lnTo>
                  <a:lnTo>
                    <a:pt x="19695" y="1952"/>
                  </a:lnTo>
                  <a:lnTo>
                    <a:pt x="19688" y="1956"/>
                  </a:lnTo>
                  <a:lnTo>
                    <a:pt x="19682" y="1959"/>
                  </a:lnTo>
                  <a:lnTo>
                    <a:pt x="18942" y="1959"/>
                  </a:lnTo>
                  <a:lnTo>
                    <a:pt x="18202" y="1959"/>
                  </a:lnTo>
                  <a:lnTo>
                    <a:pt x="18221" y="2560"/>
                  </a:lnTo>
                  <a:lnTo>
                    <a:pt x="18221" y="2567"/>
                  </a:lnTo>
                  <a:lnTo>
                    <a:pt x="18244" y="3338"/>
                  </a:lnTo>
                  <a:lnTo>
                    <a:pt x="18269" y="4111"/>
                  </a:lnTo>
                  <a:lnTo>
                    <a:pt x="18320" y="4081"/>
                  </a:lnTo>
                  <a:lnTo>
                    <a:pt x="18342" y="4066"/>
                  </a:lnTo>
                  <a:lnTo>
                    <a:pt x="18361" y="4049"/>
                  </a:lnTo>
                  <a:lnTo>
                    <a:pt x="18392" y="4015"/>
                  </a:lnTo>
                  <a:lnTo>
                    <a:pt x="18419" y="3976"/>
                  </a:lnTo>
                  <a:lnTo>
                    <a:pt x="18447" y="3936"/>
                  </a:lnTo>
                  <a:lnTo>
                    <a:pt x="18475" y="3897"/>
                  </a:lnTo>
                  <a:lnTo>
                    <a:pt x="18506" y="3863"/>
                  </a:lnTo>
                  <a:lnTo>
                    <a:pt x="18524" y="3849"/>
                  </a:lnTo>
                  <a:lnTo>
                    <a:pt x="18542" y="3835"/>
                  </a:lnTo>
                  <a:lnTo>
                    <a:pt x="18562" y="3824"/>
                  </a:lnTo>
                  <a:lnTo>
                    <a:pt x="18585" y="3817"/>
                  </a:lnTo>
                  <a:lnTo>
                    <a:pt x="18610" y="3811"/>
                  </a:lnTo>
                  <a:lnTo>
                    <a:pt x="18637" y="3810"/>
                  </a:lnTo>
                  <a:lnTo>
                    <a:pt x="18656" y="3811"/>
                  </a:lnTo>
                  <a:lnTo>
                    <a:pt x="18673" y="3817"/>
                  </a:lnTo>
                  <a:lnTo>
                    <a:pt x="18702" y="3831"/>
                  </a:lnTo>
                  <a:lnTo>
                    <a:pt x="18702" y="3827"/>
                  </a:lnTo>
                  <a:lnTo>
                    <a:pt x="18702" y="3086"/>
                  </a:lnTo>
                  <a:lnTo>
                    <a:pt x="18664" y="3083"/>
                  </a:lnTo>
                  <a:lnTo>
                    <a:pt x="18625" y="3075"/>
                  </a:lnTo>
                  <a:lnTo>
                    <a:pt x="18588" y="3065"/>
                  </a:lnTo>
                  <a:lnTo>
                    <a:pt x="18553" y="3051"/>
                  </a:lnTo>
                  <a:lnTo>
                    <a:pt x="18519" y="3033"/>
                  </a:lnTo>
                  <a:lnTo>
                    <a:pt x="18488" y="3012"/>
                  </a:lnTo>
                  <a:lnTo>
                    <a:pt x="18458" y="2989"/>
                  </a:lnTo>
                  <a:lnTo>
                    <a:pt x="18431" y="2964"/>
                  </a:lnTo>
                  <a:lnTo>
                    <a:pt x="18407" y="2936"/>
                  </a:lnTo>
                  <a:lnTo>
                    <a:pt x="18385" y="2905"/>
                  </a:lnTo>
                  <a:lnTo>
                    <a:pt x="18366" y="2873"/>
                  </a:lnTo>
                  <a:lnTo>
                    <a:pt x="18349" y="2838"/>
                  </a:lnTo>
                  <a:lnTo>
                    <a:pt x="18337" y="2803"/>
                  </a:lnTo>
                  <a:lnTo>
                    <a:pt x="18328" y="2766"/>
                  </a:lnTo>
                  <a:lnTo>
                    <a:pt x="18322" y="2726"/>
                  </a:lnTo>
                  <a:lnTo>
                    <a:pt x="18320" y="2686"/>
                  </a:lnTo>
                  <a:lnTo>
                    <a:pt x="18322" y="2645"/>
                  </a:lnTo>
                  <a:lnTo>
                    <a:pt x="18328" y="2606"/>
                  </a:lnTo>
                  <a:lnTo>
                    <a:pt x="18338" y="2567"/>
                  </a:lnTo>
                  <a:lnTo>
                    <a:pt x="18352" y="2530"/>
                  </a:lnTo>
                  <a:lnTo>
                    <a:pt x="18369" y="2496"/>
                  </a:lnTo>
                  <a:lnTo>
                    <a:pt x="18388" y="2462"/>
                  </a:lnTo>
                  <a:lnTo>
                    <a:pt x="18412" y="2432"/>
                  </a:lnTo>
                  <a:lnTo>
                    <a:pt x="18438" y="2404"/>
                  </a:lnTo>
                  <a:lnTo>
                    <a:pt x="18466" y="2377"/>
                  </a:lnTo>
                  <a:lnTo>
                    <a:pt x="18497" y="2354"/>
                  </a:lnTo>
                  <a:lnTo>
                    <a:pt x="18530" y="2335"/>
                  </a:lnTo>
                  <a:lnTo>
                    <a:pt x="18565" y="2317"/>
                  </a:lnTo>
                  <a:lnTo>
                    <a:pt x="18602" y="2304"/>
                  </a:lnTo>
                  <a:lnTo>
                    <a:pt x="18640" y="2294"/>
                  </a:lnTo>
                  <a:lnTo>
                    <a:pt x="18680" y="2287"/>
                  </a:lnTo>
                  <a:lnTo>
                    <a:pt x="18721" y="2286"/>
                  </a:lnTo>
                  <a:lnTo>
                    <a:pt x="18764" y="2287"/>
                  </a:lnTo>
                  <a:lnTo>
                    <a:pt x="18803" y="2294"/>
                  </a:lnTo>
                  <a:lnTo>
                    <a:pt x="18842" y="2304"/>
                  </a:lnTo>
                  <a:lnTo>
                    <a:pt x="18879" y="2318"/>
                  </a:lnTo>
                  <a:lnTo>
                    <a:pt x="18914" y="2335"/>
                  </a:lnTo>
                  <a:lnTo>
                    <a:pt x="18947" y="2355"/>
                  </a:lnTo>
                  <a:lnTo>
                    <a:pt x="18978" y="2378"/>
                  </a:lnTo>
                  <a:lnTo>
                    <a:pt x="19007" y="2404"/>
                  </a:lnTo>
                  <a:lnTo>
                    <a:pt x="19033" y="2433"/>
                  </a:lnTo>
                  <a:lnTo>
                    <a:pt x="19056" y="2464"/>
                  </a:lnTo>
                  <a:lnTo>
                    <a:pt x="19075" y="2497"/>
                  </a:lnTo>
                  <a:lnTo>
                    <a:pt x="19092" y="2532"/>
                  </a:lnTo>
                  <a:lnTo>
                    <a:pt x="19106" y="2569"/>
                  </a:lnTo>
                  <a:lnTo>
                    <a:pt x="19115" y="2607"/>
                  </a:lnTo>
                  <a:lnTo>
                    <a:pt x="19121" y="2645"/>
                  </a:lnTo>
                  <a:lnTo>
                    <a:pt x="19124" y="2686"/>
                  </a:lnTo>
                  <a:lnTo>
                    <a:pt x="19121" y="2695"/>
                  </a:lnTo>
                  <a:lnTo>
                    <a:pt x="19118" y="2702"/>
                  </a:lnTo>
                  <a:lnTo>
                    <a:pt x="19111" y="2705"/>
                  </a:lnTo>
                  <a:lnTo>
                    <a:pt x="19103" y="2707"/>
                  </a:lnTo>
                  <a:lnTo>
                    <a:pt x="19096" y="2705"/>
                  </a:lnTo>
                  <a:lnTo>
                    <a:pt x="19089" y="2702"/>
                  </a:lnTo>
                  <a:lnTo>
                    <a:pt x="19085" y="2695"/>
                  </a:lnTo>
                  <a:lnTo>
                    <a:pt x="19083" y="2686"/>
                  </a:lnTo>
                  <a:lnTo>
                    <a:pt x="19082" y="2650"/>
                  </a:lnTo>
                  <a:lnTo>
                    <a:pt x="19076" y="2615"/>
                  </a:lnTo>
                  <a:lnTo>
                    <a:pt x="19067" y="2580"/>
                  </a:lnTo>
                  <a:lnTo>
                    <a:pt x="19055" y="2547"/>
                  </a:lnTo>
                  <a:lnTo>
                    <a:pt x="19041" y="2515"/>
                  </a:lnTo>
                  <a:lnTo>
                    <a:pt x="19023" y="2485"/>
                  </a:lnTo>
                  <a:lnTo>
                    <a:pt x="19002" y="2457"/>
                  </a:lnTo>
                  <a:lnTo>
                    <a:pt x="18978" y="2432"/>
                  </a:lnTo>
                  <a:lnTo>
                    <a:pt x="18952" y="2409"/>
                  </a:lnTo>
                  <a:lnTo>
                    <a:pt x="18925" y="2388"/>
                  </a:lnTo>
                  <a:lnTo>
                    <a:pt x="18894" y="2369"/>
                  </a:lnTo>
                  <a:lnTo>
                    <a:pt x="18864" y="2354"/>
                  </a:lnTo>
                  <a:lnTo>
                    <a:pt x="18830" y="2342"/>
                  </a:lnTo>
                  <a:lnTo>
                    <a:pt x="18796" y="2333"/>
                  </a:lnTo>
                  <a:lnTo>
                    <a:pt x="18758" y="2328"/>
                  </a:lnTo>
                  <a:lnTo>
                    <a:pt x="18721" y="2326"/>
                  </a:lnTo>
                  <a:lnTo>
                    <a:pt x="18684" y="2328"/>
                  </a:lnTo>
                  <a:lnTo>
                    <a:pt x="18648" y="2333"/>
                  </a:lnTo>
                  <a:lnTo>
                    <a:pt x="18614" y="2342"/>
                  </a:lnTo>
                  <a:lnTo>
                    <a:pt x="18580" y="2354"/>
                  </a:lnTo>
                  <a:lnTo>
                    <a:pt x="18549" y="2369"/>
                  </a:lnTo>
                  <a:lnTo>
                    <a:pt x="18520" y="2387"/>
                  </a:lnTo>
                  <a:lnTo>
                    <a:pt x="18492" y="2407"/>
                  </a:lnTo>
                  <a:lnTo>
                    <a:pt x="18466" y="2432"/>
                  </a:lnTo>
                  <a:lnTo>
                    <a:pt x="18443" y="2457"/>
                  </a:lnTo>
                  <a:lnTo>
                    <a:pt x="18421" y="2484"/>
                  </a:lnTo>
                  <a:lnTo>
                    <a:pt x="18403" y="2515"/>
                  </a:lnTo>
                  <a:lnTo>
                    <a:pt x="18388" y="2546"/>
                  </a:lnTo>
                  <a:lnTo>
                    <a:pt x="18381" y="2562"/>
                  </a:lnTo>
                  <a:lnTo>
                    <a:pt x="18376" y="2579"/>
                  </a:lnTo>
                  <a:lnTo>
                    <a:pt x="18367" y="2613"/>
                  </a:lnTo>
                  <a:lnTo>
                    <a:pt x="18362" y="2649"/>
                  </a:lnTo>
                  <a:lnTo>
                    <a:pt x="18360" y="2686"/>
                  </a:lnTo>
                  <a:lnTo>
                    <a:pt x="18362" y="2722"/>
                  </a:lnTo>
                  <a:lnTo>
                    <a:pt x="18367" y="2757"/>
                  </a:lnTo>
                  <a:lnTo>
                    <a:pt x="18375" y="2790"/>
                  </a:lnTo>
                  <a:lnTo>
                    <a:pt x="18387" y="2823"/>
                  </a:lnTo>
                  <a:lnTo>
                    <a:pt x="18401" y="2854"/>
                  </a:lnTo>
                  <a:lnTo>
                    <a:pt x="18417" y="2882"/>
                  </a:lnTo>
                  <a:lnTo>
                    <a:pt x="18438" y="2910"/>
                  </a:lnTo>
                  <a:lnTo>
                    <a:pt x="18460" y="2936"/>
                  </a:lnTo>
                  <a:lnTo>
                    <a:pt x="18484" y="2959"/>
                  </a:lnTo>
                  <a:lnTo>
                    <a:pt x="18510" y="2979"/>
                  </a:lnTo>
                  <a:lnTo>
                    <a:pt x="18538" y="2997"/>
                  </a:lnTo>
                  <a:lnTo>
                    <a:pt x="18569" y="3014"/>
                  </a:lnTo>
                  <a:lnTo>
                    <a:pt x="18599" y="3026"/>
                  </a:lnTo>
                  <a:lnTo>
                    <a:pt x="18633" y="3037"/>
                  </a:lnTo>
                  <a:lnTo>
                    <a:pt x="18667" y="3043"/>
                  </a:lnTo>
                  <a:lnTo>
                    <a:pt x="18702" y="3047"/>
                  </a:lnTo>
                  <a:lnTo>
                    <a:pt x="18702" y="3011"/>
                  </a:lnTo>
                  <a:lnTo>
                    <a:pt x="18701" y="3008"/>
                  </a:lnTo>
                  <a:lnTo>
                    <a:pt x="18597" y="2865"/>
                  </a:lnTo>
                  <a:lnTo>
                    <a:pt x="18593" y="2858"/>
                  </a:lnTo>
                  <a:lnTo>
                    <a:pt x="18593" y="2850"/>
                  </a:lnTo>
                  <a:lnTo>
                    <a:pt x="18596" y="2842"/>
                  </a:lnTo>
                  <a:lnTo>
                    <a:pt x="18601" y="2837"/>
                  </a:lnTo>
                  <a:lnTo>
                    <a:pt x="18607" y="2835"/>
                  </a:lnTo>
                  <a:lnTo>
                    <a:pt x="18615" y="2833"/>
                  </a:lnTo>
                  <a:lnTo>
                    <a:pt x="18623" y="2836"/>
                  </a:lnTo>
                  <a:lnTo>
                    <a:pt x="18629" y="2842"/>
                  </a:lnTo>
                  <a:lnTo>
                    <a:pt x="18702" y="2943"/>
                  </a:lnTo>
                  <a:lnTo>
                    <a:pt x="18702" y="2901"/>
                  </a:lnTo>
                  <a:lnTo>
                    <a:pt x="18702" y="2895"/>
                  </a:lnTo>
                  <a:lnTo>
                    <a:pt x="18702" y="2744"/>
                  </a:lnTo>
                  <a:lnTo>
                    <a:pt x="18606" y="2611"/>
                  </a:lnTo>
                  <a:lnTo>
                    <a:pt x="18602" y="2603"/>
                  </a:lnTo>
                  <a:lnTo>
                    <a:pt x="18602" y="2595"/>
                  </a:lnTo>
                  <a:lnTo>
                    <a:pt x="18606" y="2588"/>
                  </a:lnTo>
                  <a:lnTo>
                    <a:pt x="18611" y="2583"/>
                  </a:lnTo>
                  <a:lnTo>
                    <a:pt x="18617" y="2580"/>
                  </a:lnTo>
                  <a:lnTo>
                    <a:pt x="18625" y="2579"/>
                  </a:lnTo>
                  <a:lnTo>
                    <a:pt x="18633" y="2581"/>
                  </a:lnTo>
                  <a:lnTo>
                    <a:pt x="18639" y="2588"/>
                  </a:lnTo>
                  <a:lnTo>
                    <a:pt x="18702" y="2675"/>
                  </a:lnTo>
                  <a:lnTo>
                    <a:pt x="18702" y="2599"/>
                  </a:lnTo>
                  <a:lnTo>
                    <a:pt x="18705" y="2590"/>
                  </a:lnTo>
                  <a:lnTo>
                    <a:pt x="18708" y="2584"/>
                  </a:lnTo>
                  <a:lnTo>
                    <a:pt x="18715" y="2580"/>
                  </a:lnTo>
                  <a:lnTo>
                    <a:pt x="18723" y="2579"/>
                  </a:lnTo>
                  <a:lnTo>
                    <a:pt x="18730" y="2580"/>
                  </a:lnTo>
                  <a:lnTo>
                    <a:pt x="18737" y="2584"/>
                  </a:lnTo>
                  <a:lnTo>
                    <a:pt x="18741" y="2590"/>
                  </a:lnTo>
                  <a:lnTo>
                    <a:pt x="18742" y="2599"/>
                  </a:lnTo>
                  <a:lnTo>
                    <a:pt x="18742" y="2734"/>
                  </a:lnTo>
                  <a:lnTo>
                    <a:pt x="18742" y="2740"/>
                  </a:lnTo>
                  <a:lnTo>
                    <a:pt x="18742" y="2836"/>
                  </a:lnTo>
                  <a:lnTo>
                    <a:pt x="18828" y="2718"/>
                  </a:lnTo>
                  <a:lnTo>
                    <a:pt x="18834" y="2712"/>
                  </a:lnTo>
                  <a:lnTo>
                    <a:pt x="18842" y="2711"/>
                  </a:lnTo>
                  <a:lnTo>
                    <a:pt x="18856" y="2714"/>
                  </a:lnTo>
                  <a:lnTo>
                    <a:pt x="18861" y="2719"/>
                  </a:lnTo>
                  <a:lnTo>
                    <a:pt x="18864" y="2726"/>
                  </a:lnTo>
                  <a:lnTo>
                    <a:pt x="18864" y="2734"/>
                  </a:lnTo>
                  <a:lnTo>
                    <a:pt x="18860" y="2743"/>
                  </a:lnTo>
                  <a:close/>
                  <a:moveTo>
                    <a:pt x="20006" y="2597"/>
                  </a:moveTo>
                  <a:lnTo>
                    <a:pt x="19966" y="2597"/>
                  </a:lnTo>
                  <a:lnTo>
                    <a:pt x="19966" y="2709"/>
                  </a:lnTo>
                  <a:lnTo>
                    <a:pt x="20724" y="2709"/>
                  </a:lnTo>
                  <a:lnTo>
                    <a:pt x="21483" y="2709"/>
                  </a:lnTo>
                  <a:lnTo>
                    <a:pt x="22241" y="2709"/>
                  </a:lnTo>
                  <a:lnTo>
                    <a:pt x="23000" y="2709"/>
                  </a:lnTo>
                  <a:lnTo>
                    <a:pt x="23000" y="2597"/>
                  </a:lnTo>
                  <a:lnTo>
                    <a:pt x="22962" y="2597"/>
                  </a:lnTo>
                  <a:lnTo>
                    <a:pt x="22954" y="2597"/>
                  </a:lnTo>
                  <a:lnTo>
                    <a:pt x="22218" y="2597"/>
                  </a:lnTo>
                  <a:lnTo>
                    <a:pt x="21483" y="2597"/>
                  </a:lnTo>
                  <a:lnTo>
                    <a:pt x="20747" y="2597"/>
                  </a:lnTo>
                  <a:lnTo>
                    <a:pt x="20013" y="2597"/>
                  </a:lnTo>
                  <a:lnTo>
                    <a:pt x="20006" y="2597"/>
                  </a:lnTo>
                  <a:close/>
                  <a:moveTo>
                    <a:pt x="19369" y="3221"/>
                  </a:moveTo>
                  <a:lnTo>
                    <a:pt x="19369" y="3011"/>
                  </a:lnTo>
                  <a:lnTo>
                    <a:pt x="19370" y="3002"/>
                  </a:lnTo>
                  <a:lnTo>
                    <a:pt x="19375" y="2996"/>
                  </a:lnTo>
                  <a:lnTo>
                    <a:pt x="19382" y="2992"/>
                  </a:lnTo>
                  <a:lnTo>
                    <a:pt x="19388" y="2991"/>
                  </a:lnTo>
                  <a:lnTo>
                    <a:pt x="19396" y="2992"/>
                  </a:lnTo>
                  <a:lnTo>
                    <a:pt x="19402" y="2996"/>
                  </a:lnTo>
                  <a:lnTo>
                    <a:pt x="19407" y="3002"/>
                  </a:lnTo>
                  <a:lnTo>
                    <a:pt x="19409" y="3011"/>
                  </a:lnTo>
                  <a:lnTo>
                    <a:pt x="19409" y="3162"/>
                  </a:lnTo>
                  <a:lnTo>
                    <a:pt x="19442" y="3116"/>
                  </a:lnTo>
                  <a:lnTo>
                    <a:pt x="19448" y="3111"/>
                  </a:lnTo>
                  <a:lnTo>
                    <a:pt x="19456" y="3108"/>
                  </a:lnTo>
                  <a:lnTo>
                    <a:pt x="19470" y="3112"/>
                  </a:lnTo>
                  <a:lnTo>
                    <a:pt x="19475" y="3117"/>
                  </a:lnTo>
                  <a:lnTo>
                    <a:pt x="19478" y="3124"/>
                  </a:lnTo>
                  <a:lnTo>
                    <a:pt x="19478" y="3131"/>
                  </a:lnTo>
                  <a:lnTo>
                    <a:pt x="19474" y="3140"/>
                  </a:lnTo>
                  <a:lnTo>
                    <a:pt x="19409" y="3231"/>
                  </a:lnTo>
                  <a:lnTo>
                    <a:pt x="19409" y="3413"/>
                  </a:lnTo>
                  <a:lnTo>
                    <a:pt x="19432" y="3381"/>
                  </a:lnTo>
                  <a:lnTo>
                    <a:pt x="19438" y="3374"/>
                  </a:lnTo>
                  <a:lnTo>
                    <a:pt x="19446" y="3372"/>
                  </a:lnTo>
                  <a:lnTo>
                    <a:pt x="19460" y="3375"/>
                  </a:lnTo>
                  <a:lnTo>
                    <a:pt x="19465" y="3382"/>
                  </a:lnTo>
                  <a:lnTo>
                    <a:pt x="19468" y="3388"/>
                  </a:lnTo>
                  <a:lnTo>
                    <a:pt x="19468" y="3396"/>
                  </a:lnTo>
                  <a:lnTo>
                    <a:pt x="19464" y="3404"/>
                  </a:lnTo>
                  <a:lnTo>
                    <a:pt x="19409" y="3480"/>
                  </a:lnTo>
                  <a:lnTo>
                    <a:pt x="19409" y="3491"/>
                  </a:lnTo>
                  <a:lnTo>
                    <a:pt x="19409" y="3498"/>
                  </a:lnTo>
                  <a:lnTo>
                    <a:pt x="19409" y="3608"/>
                  </a:lnTo>
                  <a:lnTo>
                    <a:pt x="19425" y="3613"/>
                  </a:lnTo>
                  <a:lnTo>
                    <a:pt x="19441" y="3620"/>
                  </a:lnTo>
                  <a:lnTo>
                    <a:pt x="19455" y="3627"/>
                  </a:lnTo>
                  <a:lnTo>
                    <a:pt x="19468" y="3632"/>
                  </a:lnTo>
                  <a:lnTo>
                    <a:pt x="19480" y="3635"/>
                  </a:lnTo>
                  <a:lnTo>
                    <a:pt x="19488" y="3635"/>
                  </a:lnTo>
                  <a:lnTo>
                    <a:pt x="19494" y="3632"/>
                  </a:lnTo>
                  <a:lnTo>
                    <a:pt x="19501" y="3630"/>
                  </a:lnTo>
                  <a:lnTo>
                    <a:pt x="19509" y="3625"/>
                  </a:lnTo>
                  <a:lnTo>
                    <a:pt x="19525" y="3608"/>
                  </a:lnTo>
                  <a:lnTo>
                    <a:pt x="19547" y="3585"/>
                  </a:lnTo>
                  <a:lnTo>
                    <a:pt x="19562" y="3570"/>
                  </a:lnTo>
                  <a:lnTo>
                    <a:pt x="19577" y="3562"/>
                  </a:lnTo>
                  <a:lnTo>
                    <a:pt x="19591" y="3558"/>
                  </a:lnTo>
                  <a:lnTo>
                    <a:pt x="19620" y="3556"/>
                  </a:lnTo>
                  <a:lnTo>
                    <a:pt x="19639" y="3554"/>
                  </a:lnTo>
                  <a:lnTo>
                    <a:pt x="19664" y="3552"/>
                  </a:lnTo>
                  <a:lnTo>
                    <a:pt x="19679" y="3544"/>
                  </a:lnTo>
                  <a:lnTo>
                    <a:pt x="19684" y="3539"/>
                  </a:lnTo>
                  <a:lnTo>
                    <a:pt x="19688" y="3533"/>
                  </a:lnTo>
                  <a:lnTo>
                    <a:pt x="19695" y="3517"/>
                  </a:lnTo>
                  <a:lnTo>
                    <a:pt x="19700" y="3499"/>
                  </a:lnTo>
                  <a:lnTo>
                    <a:pt x="19705" y="3479"/>
                  </a:lnTo>
                  <a:lnTo>
                    <a:pt x="19714" y="3460"/>
                  </a:lnTo>
                  <a:lnTo>
                    <a:pt x="19728" y="3441"/>
                  </a:lnTo>
                  <a:lnTo>
                    <a:pt x="19737" y="3432"/>
                  </a:lnTo>
                  <a:lnTo>
                    <a:pt x="19748" y="3424"/>
                  </a:lnTo>
                  <a:lnTo>
                    <a:pt x="19792" y="3398"/>
                  </a:lnTo>
                  <a:lnTo>
                    <a:pt x="19804" y="3391"/>
                  </a:lnTo>
                  <a:lnTo>
                    <a:pt x="19810" y="3383"/>
                  </a:lnTo>
                  <a:lnTo>
                    <a:pt x="19813" y="3373"/>
                  </a:lnTo>
                  <a:lnTo>
                    <a:pt x="19811" y="3360"/>
                  </a:lnTo>
                  <a:lnTo>
                    <a:pt x="19804" y="3310"/>
                  </a:lnTo>
                  <a:lnTo>
                    <a:pt x="19804" y="3286"/>
                  </a:lnTo>
                  <a:lnTo>
                    <a:pt x="19807" y="3265"/>
                  </a:lnTo>
                  <a:lnTo>
                    <a:pt x="19816" y="3248"/>
                  </a:lnTo>
                  <a:lnTo>
                    <a:pt x="19827" y="3232"/>
                  </a:lnTo>
                  <a:lnTo>
                    <a:pt x="19847" y="3207"/>
                  </a:lnTo>
                  <a:lnTo>
                    <a:pt x="19854" y="3194"/>
                  </a:lnTo>
                  <a:lnTo>
                    <a:pt x="19856" y="3181"/>
                  </a:lnTo>
                  <a:lnTo>
                    <a:pt x="19854" y="3164"/>
                  </a:lnTo>
                  <a:lnTo>
                    <a:pt x="19850" y="3158"/>
                  </a:lnTo>
                  <a:lnTo>
                    <a:pt x="19846" y="3152"/>
                  </a:lnTo>
                  <a:lnTo>
                    <a:pt x="19824" y="3126"/>
                  </a:lnTo>
                  <a:lnTo>
                    <a:pt x="19814" y="3109"/>
                  </a:lnTo>
                  <a:lnTo>
                    <a:pt x="19806" y="3088"/>
                  </a:lnTo>
                  <a:lnTo>
                    <a:pt x="19805" y="3060"/>
                  </a:lnTo>
                  <a:lnTo>
                    <a:pt x="19806" y="3042"/>
                  </a:lnTo>
                  <a:lnTo>
                    <a:pt x="19809" y="3020"/>
                  </a:lnTo>
                  <a:lnTo>
                    <a:pt x="19811" y="3005"/>
                  </a:lnTo>
                  <a:lnTo>
                    <a:pt x="19811" y="2992"/>
                  </a:lnTo>
                  <a:lnTo>
                    <a:pt x="19809" y="2982"/>
                  </a:lnTo>
                  <a:lnTo>
                    <a:pt x="19805" y="2973"/>
                  </a:lnTo>
                  <a:lnTo>
                    <a:pt x="19792" y="2960"/>
                  </a:lnTo>
                  <a:lnTo>
                    <a:pt x="19775" y="2951"/>
                  </a:lnTo>
                  <a:lnTo>
                    <a:pt x="19757" y="2942"/>
                  </a:lnTo>
                  <a:lnTo>
                    <a:pt x="19738" y="2930"/>
                  </a:lnTo>
                  <a:lnTo>
                    <a:pt x="19720" y="2913"/>
                  </a:lnTo>
                  <a:lnTo>
                    <a:pt x="19712" y="2900"/>
                  </a:lnTo>
                  <a:lnTo>
                    <a:pt x="19706" y="2884"/>
                  </a:lnTo>
                  <a:lnTo>
                    <a:pt x="19691" y="2837"/>
                  </a:lnTo>
                  <a:lnTo>
                    <a:pt x="19686" y="2824"/>
                  </a:lnTo>
                  <a:lnTo>
                    <a:pt x="19683" y="2819"/>
                  </a:lnTo>
                  <a:lnTo>
                    <a:pt x="19680" y="2815"/>
                  </a:lnTo>
                  <a:lnTo>
                    <a:pt x="19671" y="2812"/>
                  </a:lnTo>
                  <a:lnTo>
                    <a:pt x="19657" y="2810"/>
                  </a:lnTo>
                  <a:lnTo>
                    <a:pt x="19607" y="2806"/>
                  </a:lnTo>
                  <a:lnTo>
                    <a:pt x="19591" y="2803"/>
                  </a:lnTo>
                  <a:lnTo>
                    <a:pt x="19577" y="2799"/>
                  </a:lnTo>
                  <a:lnTo>
                    <a:pt x="19555" y="2786"/>
                  </a:lnTo>
                  <a:lnTo>
                    <a:pt x="19547" y="2778"/>
                  </a:lnTo>
                  <a:lnTo>
                    <a:pt x="19539" y="2769"/>
                  </a:lnTo>
                  <a:lnTo>
                    <a:pt x="19527" y="2753"/>
                  </a:lnTo>
                  <a:lnTo>
                    <a:pt x="19514" y="2739"/>
                  </a:lnTo>
                  <a:lnTo>
                    <a:pt x="19507" y="2734"/>
                  </a:lnTo>
                  <a:lnTo>
                    <a:pt x="19500" y="2730"/>
                  </a:lnTo>
                  <a:lnTo>
                    <a:pt x="19491" y="2727"/>
                  </a:lnTo>
                  <a:lnTo>
                    <a:pt x="19479" y="2728"/>
                  </a:lnTo>
                  <a:lnTo>
                    <a:pt x="19452" y="2736"/>
                  </a:lnTo>
                  <a:lnTo>
                    <a:pt x="19421" y="2749"/>
                  </a:lnTo>
                  <a:lnTo>
                    <a:pt x="19405" y="2754"/>
                  </a:lnTo>
                  <a:lnTo>
                    <a:pt x="19388" y="2755"/>
                  </a:lnTo>
                  <a:lnTo>
                    <a:pt x="19366" y="2753"/>
                  </a:lnTo>
                  <a:lnTo>
                    <a:pt x="19347" y="2746"/>
                  </a:lnTo>
                  <a:lnTo>
                    <a:pt x="19316" y="2731"/>
                  </a:lnTo>
                  <a:lnTo>
                    <a:pt x="19301" y="2727"/>
                  </a:lnTo>
                  <a:lnTo>
                    <a:pt x="19293" y="2726"/>
                  </a:lnTo>
                  <a:lnTo>
                    <a:pt x="19287" y="2727"/>
                  </a:lnTo>
                  <a:lnTo>
                    <a:pt x="19270" y="2736"/>
                  </a:lnTo>
                  <a:lnTo>
                    <a:pt x="19251" y="2753"/>
                  </a:lnTo>
                  <a:lnTo>
                    <a:pt x="19230" y="2776"/>
                  </a:lnTo>
                  <a:lnTo>
                    <a:pt x="19214" y="2791"/>
                  </a:lnTo>
                  <a:lnTo>
                    <a:pt x="19200" y="2799"/>
                  </a:lnTo>
                  <a:lnTo>
                    <a:pt x="19187" y="2804"/>
                  </a:lnTo>
                  <a:lnTo>
                    <a:pt x="19157" y="2805"/>
                  </a:lnTo>
                  <a:lnTo>
                    <a:pt x="19138" y="2806"/>
                  </a:lnTo>
                  <a:lnTo>
                    <a:pt x="19112" y="2810"/>
                  </a:lnTo>
                  <a:lnTo>
                    <a:pt x="19098" y="2817"/>
                  </a:lnTo>
                  <a:lnTo>
                    <a:pt x="19093" y="2822"/>
                  </a:lnTo>
                  <a:lnTo>
                    <a:pt x="19088" y="2828"/>
                  </a:lnTo>
                  <a:lnTo>
                    <a:pt x="19082" y="2844"/>
                  </a:lnTo>
                  <a:lnTo>
                    <a:pt x="19078" y="2863"/>
                  </a:lnTo>
                  <a:lnTo>
                    <a:pt x="19071" y="2882"/>
                  </a:lnTo>
                  <a:lnTo>
                    <a:pt x="19064" y="2902"/>
                  </a:lnTo>
                  <a:lnTo>
                    <a:pt x="19050" y="2920"/>
                  </a:lnTo>
                  <a:lnTo>
                    <a:pt x="19041" y="2929"/>
                  </a:lnTo>
                  <a:lnTo>
                    <a:pt x="19029" y="2937"/>
                  </a:lnTo>
                  <a:lnTo>
                    <a:pt x="18985" y="2962"/>
                  </a:lnTo>
                  <a:lnTo>
                    <a:pt x="18974" y="2970"/>
                  </a:lnTo>
                  <a:lnTo>
                    <a:pt x="18967" y="2978"/>
                  </a:lnTo>
                  <a:lnTo>
                    <a:pt x="18965" y="2988"/>
                  </a:lnTo>
                  <a:lnTo>
                    <a:pt x="18966" y="3002"/>
                  </a:lnTo>
                  <a:lnTo>
                    <a:pt x="18974" y="3052"/>
                  </a:lnTo>
                  <a:lnTo>
                    <a:pt x="18974" y="3079"/>
                  </a:lnTo>
                  <a:lnTo>
                    <a:pt x="18967" y="3101"/>
                  </a:lnTo>
                  <a:lnTo>
                    <a:pt x="18956" y="3121"/>
                  </a:lnTo>
                  <a:lnTo>
                    <a:pt x="18941" y="3143"/>
                  </a:lnTo>
                  <a:lnTo>
                    <a:pt x="18926" y="3164"/>
                  </a:lnTo>
                  <a:lnTo>
                    <a:pt x="18923" y="3172"/>
                  </a:lnTo>
                  <a:lnTo>
                    <a:pt x="18921" y="3181"/>
                  </a:lnTo>
                  <a:lnTo>
                    <a:pt x="18924" y="3196"/>
                  </a:lnTo>
                  <a:lnTo>
                    <a:pt x="18928" y="3204"/>
                  </a:lnTo>
                  <a:lnTo>
                    <a:pt x="18932" y="3211"/>
                  </a:lnTo>
                  <a:lnTo>
                    <a:pt x="18953" y="3235"/>
                  </a:lnTo>
                  <a:lnTo>
                    <a:pt x="18964" y="3251"/>
                  </a:lnTo>
                  <a:lnTo>
                    <a:pt x="18970" y="3273"/>
                  </a:lnTo>
                  <a:lnTo>
                    <a:pt x="18973" y="3303"/>
                  </a:lnTo>
                  <a:lnTo>
                    <a:pt x="18971" y="3320"/>
                  </a:lnTo>
                  <a:lnTo>
                    <a:pt x="18969" y="3341"/>
                  </a:lnTo>
                  <a:lnTo>
                    <a:pt x="18966" y="3356"/>
                  </a:lnTo>
                  <a:lnTo>
                    <a:pt x="18966" y="3369"/>
                  </a:lnTo>
                  <a:lnTo>
                    <a:pt x="18969" y="3381"/>
                  </a:lnTo>
                  <a:lnTo>
                    <a:pt x="18973" y="3388"/>
                  </a:lnTo>
                  <a:lnTo>
                    <a:pt x="18984" y="3401"/>
                  </a:lnTo>
                  <a:lnTo>
                    <a:pt x="19001" y="3410"/>
                  </a:lnTo>
                  <a:lnTo>
                    <a:pt x="19020" y="3419"/>
                  </a:lnTo>
                  <a:lnTo>
                    <a:pt x="19039" y="3430"/>
                  </a:lnTo>
                  <a:lnTo>
                    <a:pt x="19057" y="3448"/>
                  </a:lnTo>
                  <a:lnTo>
                    <a:pt x="19065" y="3461"/>
                  </a:lnTo>
                  <a:lnTo>
                    <a:pt x="19071" y="3476"/>
                  </a:lnTo>
                  <a:lnTo>
                    <a:pt x="19085" y="3524"/>
                  </a:lnTo>
                  <a:lnTo>
                    <a:pt x="19091" y="3538"/>
                  </a:lnTo>
                  <a:lnTo>
                    <a:pt x="19093" y="3542"/>
                  </a:lnTo>
                  <a:lnTo>
                    <a:pt x="19097" y="3546"/>
                  </a:lnTo>
                  <a:lnTo>
                    <a:pt x="19106" y="3549"/>
                  </a:lnTo>
                  <a:lnTo>
                    <a:pt x="19120" y="3551"/>
                  </a:lnTo>
                  <a:lnTo>
                    <a:pt x="19170" y="3556"/>
                  </a:lnTo>
                  <a:lnTo>
                    <a:pt x="19187" y="3558"/>
                  </a:lnTo>
                  <a:lnTo>
                    <a:pt x="19201" y="3562"/>
                  </a:lnTo>
                  <a:lnTo>
                    <a:pt x="19221" y="3576"/>
                  </a:lnTo>
                  <a:lnTo>
                    <a:pt x="19230" y="3584"/>
                  </a:lnTo>
                  <a:lnTo>
                    <a:pt x="19238" y="3592"/>
                  </a:lnTo>
                  <a:lnTo>
                    <a:pt x="19251" y="3608"/>
                  </a:lnTo>
                  <a:lnTo>
                    <a:pt x="19262" y="3622"/>
                  </a:lnTo>
                  <a:lnTo>
                    <a:pt x="19270" y="3627"/>
                  </a:lnTo>
                  <a:lnTo>
                    <a:pt x="19278" y="3631"/>
                  </a:lnTo>
                  <a:lnTo>
                    <a:pt x="19287" y="3634"/>
                  </a:lnTo>
                  <a:lnTo>
                    <a:pt x="19297" y="3634"/>
                  </a:lnTo>
                  <a:lnTo>
                    <a:pt x="19325" y="3625"/>
                  </a:lnTo>
                  <a:lnTo>
                    <a:pt x="19347" y="3616"/>
                  </a:lnTo>
                  <a:lnTo>
                    <a:pt x="19369" y="3608"/>
                  </a:lnTo>
                  <a:lnTo>
                    <a:pt x="19369" y="3506"/>
                  </a:lnTo>
                  <a:lnTo>
                    <a:pt x="19364" y="3502"/>
                  </a:lnTo>
                  <a:lnTo>
                    <a:pt x="19360" y="3498"/>
                  </a:lnTo>
                  <a:lnTo>
                    <a:pt x="19359" y="3487"/>
                  </a:lnTo>
                  <a:lnTo>
                    <a:pt x="19264" y="3358"/>
                  </a:lnTo>
                  <a:lnTo>
                    <a:pt x="19260" y="3349"/>
                  </a:lnTo>
                  <a:lnTo>
                    <a:pt x="19260" y="3341"/>
                  </a:lnTo>
                  <a:lnTo>
                    <a:pt x="19264" y="3335"/>
                  </a:lnTo>
                  <a:lnTo>
                    <a:pt x="19269" y="3329"/>
                  </a:lnTo>
                  <a:lnTo>
                    <a:pt x="19275" y="3326"/>
                  </a:lnTo>
                  <a:lnTo>
                    <a:pt x="19283" y="3326"/>
                  </a:lnTo>
                  <a:lnTo>
                    <a:pt x="19289" y="3328"/>
                  </a:lnTo>
                  <a:lnTo>
                    <a:pt x="19297" y="3333"/>
                  </a:lnTo>
                  <a:lnTo>
                    <a:pt x="19369" y="3433"/>
                  </a:lnTo>
                  <a:lnTo>
                    <a:pt x="19369" y="3320"/>
                  </a:lnTo>
                  <a:lnTo>
                    <a:pt x="19262" y="3176"/>
                  </a:lnTo>
                  <a:lnTo>
                    <a:pt x="19259" y="3167"/>
                  </a:lnTo>
                  <a:lnTo>
                    <a:pt x="19259" y="3159"/>
                  </a:lnTo>
                  <a:lnTo>
                    <a:pt x="19262" y="3153"/>
                  </a:lnTo>
                  <a:lnTo>
                    <a:pt x="19268" y="3148"/>
                  </a:lnTo>
                  <a:lnTo>
                    <a:pt x="19274" y="3144"/>
                  </a:lnTo>
                  <a:lnTo>
                    <a:pt x="19282" y="3144"/>
                  </a:lnTo>
                  <a:lnTo>
                    <a:pt x="19289" y="3147"/>
                  </a:lnTo>
                  <a:lnTo>
                    <a:pt x="19296" y="3152"/>
                  </a:lnTo>
                  <a:lnTo>
                    <a:pt x="19369" y="3253"/>
                  </a:lnTo>
                  <a:lnTo>
                    <a:pt x="19369" y="3227"/>
                  </a:lnTo>
                  <a:lnTo>
                    <a:pt x="19369" y="3221"/>
                  </a:lnTo>
                  <a:close/>
                  <a:moveTo>
                    <a:pt x="22962" y="2597"/>
                  </a:moveTo>
                  <a:lnTo>
                    <a:pt x="22954" y="2597"/>
                  </a:lnTo>
                  <a:lnTo>
                    <a:pt x="22962" y="2597"/>
                  </a:lnTo>
                  <a:close/>
                  <a:moveTo>
                    <a:pt x="20013" y="2597"/>
                  </a:moveTo>
                  <a:lnTo>
                    <a:pt x="20006" y="2597"/>
                  </a:lnTo>
                  <a:lnTo>
                    <a:pt x="20013" y="2597"/>
                  </a:lnTo>
                  <a:close/>
                  <a:moveTo>
                    <a:pt x="19409" y="3491"/>
                  </a:moveTo>
                  <a:lnTo>
                    <a:pt x="19409" y="3498"/>
                  </a:lnTo>
                  <a:lnTo>
                    <a:pt x="19409" y="3491"/>
                  </a:lnTo>
                  <a:close/>
                  <a:moveTo>
                    <a:pt x="19369" y="3227"/>
                  </a:moveTo>
                  <a:lnTo>
                    <a:pt x="19369" y="3221"/>
                  </a:lnTo>
                  <a:lnTo>
                    <a:pt x="19369" y="3227"/>
                  </a:lnTo>
                  <a:close/>
                  <a:moveTo>
                    <a:pt x="20708" y="1885"/>
                  </a:moveTo>
                  <a:lnTo>
                    <a:pt x="20672" y="1152"/>
                  </a:lnTo>
                  <a:lnTo>
                    <a:pt x="20636" y="420"/>
                  </a:lnTo>
                  <a:lnTo>
                    <a:pt x="20345" y="420"/>
                  </a:lnTo>
                  <a:lnTo>
                    <a:pt x="20306" y="1139"/>
                  </a:lnTo>
                  <a:lnTo>
                    <a:pt x="20269" y="1858"/>
                  </a:lnTo>
                  <a:lnTo>
                    <a:pt x="20268" y="1867"/>
                  </a:lnTo>
                  <a:lnTo>
                    <a:pt x="20263" y="1872"/>
                  </a:lnTo>
                  <a:lnTo>
                    <a:pt x="20256" y="1876"/>
                  </a:lnTo>
                  <a:lnTo>
                    <a:pt x="20248" y="1877"/>
                  </a:lnTo>
                  <a:lnTo>
                    <a:pt x="20241" y="1874"/>
                  </a:lnTo>
                  <a:lnTo>
                    <a:pt x="20234" y="1870"/>
                  </a:lnTo>
                  <a:lnTo>
                    <a:pt x="20231" y="1864"/>
                  </a:lnTo>
                  <a:lnTo>
                    <a:pt x="20229" y="1855"/>
                  </a:lnTo>
                  <a:lnTo>
                    <a:pt x="20268" y="1126"/>
                  </a:lnTo>
                  <a:lnTo>
                    <a:pt x="20306" y="399"/>
                  </a:lnTo>
                  <a:lnTo>
                    <a:pt x="20307" y="392"/>
                  </a:lnTo>
                  <a:lnTo>
                    <a:pt x="20313" y="386"/>
                  </a:lnTo>
                  <a:lnTo>
                    <a:pt x="20318" y="382"/>
                  </a:lnTo>
                  <a:lnTo>
                    <a:pt x="20325" y="381"/>
                  </a:lnTo>
                  <a:lnTo>
                    <a:pt x="20655" y="381"/>
                  </a:lnTo>
                  <a:lnTo>
                    <a:pt x="20661" y="382"/>
                  </a:lnTo>
                  <a:lnTo>
                    <a:pt x="20668" y="386"/>
                  </a:lnTo>
                  <a:lnTo>
                    <a:pt x="20673" y="392"/>
                  </a:lnTo>
                  <a:lnTo>
                    <a:pt x="20674" y="399"/>
                  </a:lnTo>
                  <a:lnTo>
                    <a:pt x="20710" y="1140"/>
                  </a:lnTo>
                  <a:lnTo>
                    <a:pt x="20747" y="1882"/>
                  </a:lnTo>
                  <a:lnTo>
                    <a:pt x="20746" y="1891"/>
                  </a:lnTo>
                  <a:lnTo>
                    <a:pt x="20742" y="1897"/>
                  </a:lnTo>
                  <a:lnTo>
                    <a:pt x="20736" y="1901"/>
                  </a:lnTo>
                  <a:lnTo>
                    <a:pt x="20728" y="1902"/>
                  </a:lnTo>
                  <a:lnTo>
                    <a:pt x="20715" y="1899"/>
                  </a:lnTo>
                  <a:lnTo>
                    <a:pt x="20710" y="1892"/>
                  </a:lnTo>
                  <a:lnTo>
                    <a:pt x="20708" y="1885"/>
                  </a:lnTo>
                  <a:close/>
                  <a:moveTo>
                    <a:pt x="2868" y="3476"/>
                  </a:moveTo>
                  <a:lnTo>
                    <a:pt x="2980" y="3323"/>
                  </a:lnTo>
                  <a:lnTo>
                    <a:pt x="2953" y="3268"/>
                  </a:lnTo>
                  <a:lnTo>
                    <a:pt x="2939" y="3245"/>
                  </a:lnTo>
                  <a:lnTo>
                    <a:pt x="2925" y="3225"/>
                  </a:lnTo>
                  <a:lnTo>
                    <a:pt x="2911" y="3207"/>
                  </a:lnTo>
                  <a:lnTo>
                    <a:pt x="2897" y="3193"/>
                  </a:lnTo>
                  <a:lnTo>
                    <a:pt x="2883" y="3181"/>
                  </a:lnTo>
                  <a:lnTo>
                    <a:pt x="2868" y="3175"/>
                  </a:lnTo>
                  <a:lnTo>
                    <a:pt x="2868" y="3476"/>
                  </a:lnTo>
                  <a:close/>
                  <a:moveTo>
                    <a:pt x="2998" y="3365"/>
                  </a:moveTo>
                  <a:lnTo>
                    <a:pt x="2868" y="3544"/>
                  </a:lnTo>
                  <a:lnTo>
                    <a:pt x="2868" y="3753"/>
                  </a:lnTo>
                  <a:lnTo>
                    <a:pt x="3045" y="3507"/>
                  </a:lnTo>
                  <a:lnTo>
                    <a:pt x="3027" y="3445"/>
                  </a:lnTo>
                  <a:lnTo>
                    <a:pt x="2998" y="3365"/>
                  </a:lnTo>
                  <a:close/>
                  <a:moveTo>
                    <a:pt x="2716" y="3324"/>
                  </a:moveTo>
                  <a:lnTo>
                    <a:pt x="2829" y="3479"/>
                  </a:lnTo>
                  <a:lnTo>
                    <a:pt x="2829" y="3173"/>
                  </a:lnTo>
                  <a:lnTo>
                    <a:pt x="2813" y="3181"/>
                  </a:lnTo>
                  <a:lnTo>
                    <a:pt x="2798" y="3193"/>
                  </a:lnTo>
                  <a:lnTo>
                    <a:pt x="2790" y="3199"/>
                  </a:lnTo>
                  <a:lnTo>
                    <a:pt x="2783" y="3207"/>
                  </a:lnTo>
                  <a:lnTo>
                    <a:pt x="2768" y="3225"/>
                  </a:lnTo>
                  <a:lnTo>
                    <a:pt x="2742" y="3269"/>
                  </a:lnTo>
                  <a:lnTo>
                    <a:pt x="2715" y="3323"/>
                  </a:lnTo>
                  <a:lnTo>
                    <a:pt x="2716" y="3324"/>
                  </a:lnTo>
                  <a:close/>
                  <a:moveTo>
                    <a:pt x="3060" y="3557"/>
                  </a:moveTo>
                  <a:lnTo>
                    <a:pt x="2868" y="3820"/>
                  </a:lnTo>
                  <a:lnTo>
                    <a:pt x="2868" y="4028"/>
                  </a:lnTo>
                  <a:lnTo>
                    <a:pt x="3089" y="3725"/>
                  </a:lnTo>
                  <a:lnTo>
                    <a:pt x="3094" y="3718"/>
                  </a:lnTo>
                  <a:lnTo>
                    <a:pt x="3080" y="3640"/>
                  </a:lnTo>
                  <a:lnTo>
                    <a:pt x="3060" y="3557"/>
                  </a:lnTo>
                  <a:close/>
                  <a:moveTo>
                    <a:pt x="2654" y="3515"/>
                  </a:moveTo>
                  <a:lnTo>
                    <a:pt x="2829" y="3754"/>
                  </a:lnTo>
                  <a:lnTo>
                    <a:pt x="2829" y="3547"/>
                  </a:lnTo>
                  <a:lnTo>
                    <a:pt x="2698" y="3367"/>
                  </a:lnTo>
                  <a:lnTo>
                    <a:pt x="2672" y="3437"/>
                  </a:lnTo>
                  <a:lnTo>
                    <a:pt x="2650" y="3511"/>
                  </a:lnTo>
                  <a:lnTo>
                    <a:pt x="2654" y="3515"/>
                  </a:lnTo>
                  <a:close/>
                  <a:moveTo>
                    <a:pt x="3103" y="3773"/>
                  </a:moveTo>
                  <a:lnTo>
                    <a:pt x="2868" y="4095"/>
                  </a:lnTo>
                  <a:lnTo>
                    <a:pt x="2868" y="4102"/>
                  </a:lnTo>
                  <a:lnTo>
                    <a:pt x="2893" y="4098"/>
                  </a:lnTo>
                  <a:lnTo>
                    <a:pt x="2917" y="4093"/>
                  </a:lnTo>
                  <a:lnTo>
                    <a:pt x="2940" y="4085"/>
                  </a:lnTo>
                  <a:lnTo>
                    <a:pt x="2962" y="4076"/>
                  </a:lnTo>
                  <a:lnTo>
                    <a:pt x="2983" y="4065"/>
                  </a:lnTo>
                  <a:lnTo>
                    <a:pt x="3003" y="4051"/>
                  </a:lnTo>
                  <a:lnTo>
                    <a:pt x="3021" y="4037"/>
                  </a:lnTo>
                  <a:lnTo>
                    <a:pt x="3038" y="4020"/>
                  </a:lnTo>
                  <a:lnTo>
                    <a:pt x="3067" y="3982"/>
                  </a:lnTo>
                  <a:lnTo>
                    <a:pt x="3079" y="3961"/>
                  </a:lnTo>
                  <a:lnTo>
                    <a:pt x="3089" y="3939"/>
                  </a:lnTo>
                  <a:lnTo>
                    <a:pt x="3097" y="3916"/>
                  </a:lnTo>
                  <a:lnTo>
                    <a:pt x="3103" y="3893"/>
                  </a:lnTo>
                  <a:lnTo>
                    <a:pt x="3107" y="3868"/>
                  </a:lnTo>
                  <a:lnTo>
                    <a:pt x="3108" y="3843"/>
                  </a:lnTo>
                  <a:lnTo>
                    <a:pt x="3107" y="3811"/>
                  </a:lnTo>
                  <a:lnTo>
                    <a:pt x="3103" y="3773"/>
                  </a:lnTo>
                  <a:close/>
                  <a:moveTo>
                    <a:pt x="2603" y="3719"/>
                  </a:moveTo>
                  <a:lnTo>
                    <a:pt x="2829" y="4012"/>
                  </a:lnTo>
                  <a:lnTo>
                    <a:pt x="2829" y="3822"/>
                  </a:lnTo>
                  <a:lnTo>
                    <a:pt x="2638" y="3560"/>
                  </a:lnTo>
                  <a:lnTo>
                    <a:pt x="2618" y="3644"/>
                  </a:lnTo>
                  <a:lnTo>
                    <a:pt x="2603" y="3719"/>
                  </a:lnTo>
                  <a:close/>
                  <a:moveTo>
                    <a:pt x="2784" y="1296"/>
                  </a:moveTo>
                  <a:lnTo>
                    <a:pt x="2784" y="1465"/>
                  </a:lnTo>
                  <a:lnTo>
                    <a:pt x="2781" y="1474"/>
                  </a:lnTo>
                  <a:lnTo>
                    <a:pt x="2777" y="1480"/>
                  </a:lnTo>
                  <a:lnTo>
                    <a:pt x="2771" y="1484"/>
                  </a:lnTo>
                  <a:lnTo>
                    <a:pt x="2763" y="1486"/>
                  </a:lnTo>
                  <a:lnTo>
                    <a:pt x="2756" y="1484"/>
                  </a:lnTo>
                  <a:lnTo>
                    <a:pt x="2749" y="1480"/>
                  </a:lnTo>
                  <a:lnTo>
                    <a:pt x="2745" y="1474"/>
                  </a:lnTo>
                  <a:lnTo>
                    <a:pt x="2743" y="1465"/>
                  </a:lnTo>
                  <a:lnTo>
                    <a:pt x="2743" y="1296"/>
                  </a:lnTo>
                  <a:lnTo>
                    <a:pt x="2650" y="1296"/>
                  </a:lnTo>
                  <a:lnTo>
                    <a:pt x="2650" y="1465"/>
                  </a:lnTo>
                  <a:lnTo>
                    <a:pt x="2649" y="1474"/>
                  </a:lnTo>
                  <a:lnTo>
                    <a:pt x="2644" y="1480"/>
                  </a:lnTo>
                  <a:lnTo>
                    <a:pt x="2638" y="1484"/>
                  </a:lnTo>
                  <a:lnTo>
                    <a:pt x="2631" y="1486"/>
                  </a:lnTo>
                  <a:lnTo>
                    <a:pt x="2624" y="1484"/>
                  </a:lnTo>
                  <a:lnTo>
                    <a:pt x="2617" y="1480"/>
                  </a:lnTo>
                  <a:lnTo>
                    <a:pt x="2612" y="1474"/>
                  </a:lnTo>
                  <a:lnTo>
                    <a:pt x="2611" y="1465"/>
                  </a:lnTo>
                  <a:lnTo>
                    <a:pt x="2611" y="1296"/>
                  </a:lnTo>
                  <a:lnTo>
                    <a:pt x="2518" y="1296"/>
                  </a:lnTo>
                  <a:lnTo>
                    <a:pt x="2518" y="1465"/>
                  </a:lnTo>
                  <a:lnTo>
                    <a:pt x="2516" y="1474"/>
                  </a:lnTo>
                  <a:lnTo>
                    <a:pt x="2512" y="1480"/>
                  </a:lnTo>
                  <a:lnTo>
                    <a:pt x="2506" y="1484"/>
                  </a:lnTo>
                  <a:lnTo>
                    <a:pt x="2498" y="1486"/>
                  </a:lnTo>
                  <a:lnTo>
                    <a:pt x="2490" y="1484"/>
                  </a:lnTo>
                  <a:lnTo>
                    <a:pt x="2484" y="1480"/>
                  </a:lnTo>
                  <a:lnTo>
                    <a:pt x="2480" y="1474"/>
                  </a:lnTo>
                  <a:lnTo>
                    <a:pt x="2477" y="1465"/>
                  </a:lnTo>
                  <a:lnTo>
                    <a:pt x="2477" y="1296"/>
                  </a:lnTo>
                  <a:lnTo>
                    <a:pt x="2385" y="1296"/>
                  </a:lnTo>
                  <a:lnTo>
                    <a:pt x="2385" y="1465"/>
                  </a:lnTo>
                  <a:lnTo>
                    <a:pt x="2384" y="1474"/>
                  </a:lnTo>
                  <a:lnTo>
                    <a:pt x="2379" y="1480"/>
                  </a:lnTo>
                  <a:lnTo>
                    <a:pt x="2372" y="1484"/>
                  </a:lnTo>
                  <a:lnTo>
                    <a:pt x="2366" y="1486"/>
                  </a:lnTo>
                  <a:lnTo>
                    <a:pt x="2358" y="1484"/>
                  </a:lnTo>
                  <a:lnTo>
                    <a:pt x="2352" y="1480"/>
                  </a:lnTo>
                  <a:lnTo>
                    <a:pt x="2347" y="1474"/>
                  </a:lnTo>
                  <a:lnTo>
                    <a:pt x="2345" y="1465"/>
                  </a:lnTo>
                  <a:lnTo>
                    <a:pt x="2345" y="1296"/>
                  </a:lnTo>
                  <a:lnTo>
                    <a:pt x="2282" y="1296"/>
                  </a:lnTo>
                  <a:lnTo>
                    <a:pt x="2282" y="1634"/>
                  </a:lnTo>
                  <a:lnTo>
                    <a:pt x="2852" y="1634"/>
                  </a:lnTo>
                  <a:lnTo>
                    <a:pt x="2852" y="1296"/>
                  </a:lnTo>
                  <a:lnTo>
                    <a:pt x="2784" y="1296"/>
                  </a:lnTo>
                  <a:close/>
                  <a:moveTo>
                    <a:pt x="332" y="4356"/>
                  </a:moveTo>
                  <a:lnTo>
                    <a:pt x="322" y="4359"/>
                  </a:lnTo>
                  <a:lnTo>
                    <a:pt x="313" y="4356"/>
                  </a:lnTo>
                  <a:lnTo>
                    <a:pt x="0" y="4356"/>
                  </a:lnTo>
                  <a:lnTo>
                    <a:pt x="0" y="4317"/>
                  </a:lnTo>
                  <a:lnTo>
                    <a:pt x="64" y="4317"/>
                  </a:lnTo>
                  <a:lnTo>
                    <a:pt x="64" y="3833"/>
                  </a:lnTo>
                  <a:lnTo>
                    <a:pt x="0" y="3833"/>
                  </a:lnTo>
                  <a:lnTo>
                    <a:pt x="0" y="3792"/>
                  </a:lnTo>
                  <a:lnTo>
                    <a:pt x="197" y="3792"/>
                  </a:lnTo>
                  <a:lnTo>
                    <a:pt x="206" y="3795"/>
                  </a:lnTo>
                  <a:lnTo>
                    <a:pt x="213" y="3799"/>
                  </a:lnTo>
                  <a:lnTo>
                    <a:pt x="217" y="3805"/>
                  </a:lnTo>
                  <a:lnTo>
                    <a:pt x="218" y="3813"/>
                  </a:lnTo>
                  <a:lnTo>
                    <a:pt x="217" y="3820"/>
                  </a:lnTo>
                  <a:lnTo>
                    <a:pt x="213" y="3827"/>
                  </a:lnTo>
                  <a:lnTo>
                    <a:pt x="206" y="3831"/>
                  </a:lnTo>
                  <a:lnTo>
                    <a:pt x="197" y="3833"/>
                  </a:lnTo>
                  <a:lnTo>
                    <a:pt x="104" y="3833"/>
                  </a:lnTo>
                  <a:lnTo>
                    <a:pt x="104" y="4317"/>
                  </a:lnTo>
                  <a:lnTo>
                    <a:pt x="303" y="4317"/>
                  </a:lnTo>
                  <a:lnTo>
                    <a:pt x="303" y="3544"/>
                  </a:lnTo>
                  <a:lnTo>
                    <a:pt x="303" y="2772"/>
                  </a:lnTo>
                  <a:lnTo>
                    <a:pt x="304" y="2764"/>
                  </a:lnTo>
                  <a:lnTo>
                    <a:pt x="308" y="2758"/>
                  </a:lnTo>
                  <a:lnTo>
                    <a:pt x="314" y="2753"/>
                  </a:lnTo>
                  <a:lnTo>
                    <a:pt x="322" y="2751"/>
                  </a:lnTo>
                  <a:lnTo>
                    <a:pt x="440" y="2751"/>
                  </a:lnTo>
                  <a:lnTo>
                    <a:pt x="440" y="2579"/>
                  </a:lnTo>
                  <a:lnTo>
                    <a:pt x="441" y="2571"/>
                  </a:lnTo>
                  <a:lnTo>
                    <a:pt x="446" y="2565"/>
                  </a:lnTo>
                  <a:lnTo>
                    <a:pt x="453" y="2560"/>
                  </a:lnTo>
                  <a:lnTo>
                    <a:pt x="460" y="2558"/>
                  </a:lnTo>
                  <a:lnTo>
                    <a:pt x="541" y="2558"/>
                  </a:lnTo>
                  <a:lnTo>
                    <a:pt x="1007" y="2558"/>
                  </a:lnTo>
                  <a:lnTo>
                    <a:pt x="1997" y="2558"/>
                  </a:lnTo>
                  <a:lnTo>
                    <a:pt x="2004" y="2560"/>
                  </a:lnTo>
                  <a:lnTo>
                    <a:pt x="2011" y="2565"/>
                  </a:lnTo>
                  <a:lnTo>
                    <a:pt x="2014" y="2571"/>
                  </a:lnTo>
                  <a:lnTo>
                    <a:pt x="2017" y="2579"/>
                  </a:lnTo>
                  <a:lnTo>
                    <a:pt x="2017" y="2751"/>
                  </a:lnTo>
                  <a:lnTo>
                    <a:pt x="2098" y="2751"/>
                  </a:lnTo>
                  <a:lnTo>
                    <a:pt x="2098" y="2203"/>
                  </a:lnTo>
                  <a:lnTo>
                    <a:pt x="2098" y="1654"/>
                  </a:lnTo>
                  <a:lnTo>
                    <a:pt x="2099" y="1647"/>
                  </a:lnTo>
                  <a:lnTo>
                    <a:pt x="2103" y="1640"/>
                  </a:lnTo>
                  <a:lnTo>
                    <a:pt x="2109" y="1635"/>
                  </a:lnTo>
                  <a:lnTo>
                    <a:pt x="2117" y="1634"/>
                  </a:lnTo>
                  <a:lnTo>
                    <a:pt x="2243" y="1634"/>
                  </a:lnTo>
                  <a:lnTo>
                    <a:pt x="2243" y="1276"/>
                  </a:lnTo>
                  <a:lnTo>
                    <a:pt x="2244" y="1268"/>
                  </a:lnTo>
                  <a:lnTo>
                    <a:pt x="2249" y="1262"/>
                  </a:lnTo>
                  <a:lnTo>
                    <a:pt x="2254" y="1258"/>
                  </a:lnTo>
                  <a:lnTo>
                    <a:pt x="2262" y="1257"/>
                  </a:lnTo>
                  <a:lnTo>
                    <a:pt x="2872" y="1257"/>
                  </a:lnTo>
                  <a:lnTo>
                    <a:pt x="2880" y="1258"/>
                  </a:lnTo>
                  <a:lnTo>
                    <a:pt x="2886" y="1262"/>
                  </a:lnTo>
                  <a:lnTo>
                    <a:pt x="2890" y="1268"/>
                  </a:lnTo>
                  <a:lnTo>
                    <a:pt x="2893" y="1276"/>
                  </a:lnTo>
                  <a:lnTo>
                    <a:pt x="2893" y="1634"/>
                  </a:lnTo>
                  <a:lnTo>
                    <a:pt x="3017" y="1634"/>
                  </a:lnTo>
                  <a:lnTo>
                    <a:pt x="3025" y="1635"/>
                  </a:lnTo>
                  <a:lnTo>
                    <a:pt x="3031" y="1640"/>
                  </a:lnTo>
                  <a:lnTo>
                    <a:pt x="3035" y="1647"/>
                  </a:lnTo>
                  <a:lnTo>
                    <a:pt x="3038" y="1654"/>
                  </a:lnTo>
                  <a:lnTo>
                    <a:pt x="3038" y="2434"/>
                  </a:lnTo>
                  <a:lnTo>
                    <a:pt x="3038" y="3214"/>
                  </a:lnTo>
                  <a:lnTo>
                    <a:pt x="3035" y="3223"/>
                  </a:lnTo>
                  <a:lnTo>
                    <a:pt x="3031" y="3230"/>
                  </a:lnTo>
                  <a:lnTo>
                    <a:pt x="3025" y="3234"/>
                  </a:lnTo>
                  <a:lnTo>
                    <a:pt x="3017" y="3235"/>
                  </a:lnTo>
                  <a:lnTo>
                    <a:pt x="3010" y="3234"/>
                  </a:lnTo>
                  <a:lnTo>
                    <a:pt x="3003" y="3230"/>
                  </a:lnTo>
                  <a:lnTo>
                    <a:pt x="2999" y="3223"/>
                  </a:lnTo>
                  <a:lnTo>
                    <a:pt x="2998" y="3214"/>
                  </a:lnTo>
                  <a:lnTo>
                    <a:pt x="2998" y="2443"/>
                  </a:lnTo>
                  <a:lnTo>
                    <a:pt x="2998" y="1674"/>
                  </a:lnTo>
                  <a:lnTo>
                    <a:pt x="2138" y="1674"/>
                  </a:lnTo>
                  <a:lnTo>
                    <a:pt x="2138" y="2333"/>
                  </a:lnTo>
                  <a:lnTo>
                    <a:pt x="2138" y="2994"/>
                  </a:lnTo>
                  <a:lnTo>
                    <a:pt x="2138" y="3655"/>
                  </a:lnTo>
                  <a:lnTo>
                    <a:pt x="2138" y="4317"/>
                  </a:lnTo>
                  <a:lnTo>
                    <a:pt x="2829" y="4317"/>
                  </a:lnTo>
                  <a:lnTo>
                    <a:pt x="2829" y="4141"/>
                  </a:lnTo>
                  <a:lnTo>
                    <a:pt x="2799" y="4138"/>
                  </a:lnTo>
                  <a:lnTo>
                    <a:pt x="2771" y="4132"/>
                  </a:lnTo>
                  <a:lnTo>
                    <a:pt x="2744" y="4123"/>
                  </a:lnTo>
                  <a:lnTo>
                    <a:pt x="2731" y="4118"/>
                  </a:lnTo>
                  <a:lnTo>
                    <a:pt x="2718" y="4113"/>
                  </a:lnTo>
                  <a:lnTo>
                    <a:pt x="2694" y="4099"/>
                  </a:lnTo>
                  <a:lnTo>
                    <a:pt x="2671" y="4084"/>
                  </a:lnTo>
                  <a:lnTo>
                    <a:pt x="2649" y="4067"/>
                  </a:lnTo>
                  <a:lnTo>
                    <a:pt x="2630" y="4048"/>
                  </a:lnTo>
                  <a:lnTo>
                    <a:pt x="2612" y="4026"/>
                  </a:lnTo>
                  <a:lnTo>
                    <a:pt x="2595" y="4005"/>
                  </a:lnTo>
                  <a:lnTo>
                    <a:pt x="2581" y="3980"/>
                  </a:lnTo>
                  <a:lnTo>
                    <a:pt x="2570" y="3955"/>
                  </a:lnTo>
                  <a:lnTo>
                    <a:pt x="2561" y="3929"/>
                  </a:lnTo>
                  <a:lnTo>
                    <a:pt x="2554" y="3901"/>
                  </a:lnTo>
                  <a:lnTo>
                    <a:pt x="2549" y="3873"/>
                  </a:lnTo>
                  <a:lnTo>
                    <a:pt x="2548" y="3843"/>
                  </a:lnTo>
                  <a:lnTo>
                    <a:pt x="2549" y="3813"/>
                  </a:lnTo>
                  <a:lnTo>
                    <a:pt x="2554" y="3773"/>
                  </a:lnTo>
                  <a:lnTo>
                    <a:pt x="2570" y="3675"/>
                  </a:lnTo>
                  <a:lnTo>
                    <a:pt x="2581" y="3617"/>
                  </a:lnTo>
                  <a:lnTo>
                    <a:pt x="2595" y="3558"/>
                  </a:lnTo>
                  <a:lnTo>
                    <a:pt x="2630" y="3436"/>
                  </a:lnTo>
                  <a:lnTo>
                    <a:pt x="2650" y="3377"/>
                  </a:lnTo>
                  <a:lnTo>
                    <a:pt x="2674" y="3320"/>
                  </a:lnTo>
                  <a:lnTo>
                    <a:pt x="2698" y="3268"/>
                  </a:lnTo>
                  <a:lnTo>
                    <a:pt x="2725" y="3222"/>
                  </a:lnTo>
                  <a:lnTo>
                    <a:pt x="2753" y="3185"/>
                  </a:lnTo>
                  <a:lnTo>
                    <a:pt x="2783" y="3156"/>
                  </a:lnTo>
                  <a:lnTo>
                    <a:pt x="2799" y="3144"/>
                  </a:lnTo>
                  <a:lnTo>
                    <a:pt x="2815" y="3136"/>
                  </a:lnTo>
                  <a:lnTo>
                    <a:pt x="2831" y="3133"/>
                  </a:lnTo>
                  <a:lnTo>
                    <a:pt x="2848" y="3130"/>
                  </a:lnTo>
                  <a:lnTo>
                    <a:pt x="2866" y="3133"/>
                  </a:lnTo>
                  <a:lnTo>
                    <a:pt x="2883" y="3138"/>
                  </a:lnTo>
                  <a:lnTo>
                    <a:pt x="2899" y="3145"/>
                  </a:lnTo>
                  <a:lnTo>
                    <a:pt x="2915" y="3157"/>
                  </a:lnTo>
                  <a:lnTo>
                    <a:pt x="2945" y="3187"/>
                  </a:lnTo>
                  <a:lnTo>
                    <a:pt x="2953" y="3196"/>
                  </a:lnTo>
                  <a:lnTo>
                    <a:pt x="2960" y="3205"/>
                  </a:lnTo>
                  <a:lnTo>
                    <a:pt x="2974" y="3226"/>
                  </a:lnTo>
                  <a:lnTo>
                    <a:pt x="3001" y="3272"/>
                  </a:lnTo>
                  <a:lnTo>
                    <a:pt x="3024" y="3323"/>
                  </a:lnTo>
                  <a:lnTo>
                    <a:pt x="3045" y="3377"/>
                  </a:lnTo>
                  <a:lnTo>
                    <a:pt x="3065" y="3433"/>
                  </a:lnTo>
                  <a:lnTo>
                    <a:pt x="3083" y="3492"/>
                  </a:lnTo>
                  <a:lnTo>
                    <a:pt x="3099" y="3551"/>
                  </a:lnTo>
                  <a:lnTo>
                    <a:pt x="3113" y="3609"/>
                  </a:lnTo>
                  <a:lnTo>
                    <a:pt x="3125" y="3666"/>
                  </a:lnTo>
                  <a:lnTo>
                    <a:pt x="3135" y="3719"/>
                  </a:lnTo>
                  <a:lnTo>
                    <a:pt x="3142" y="3767"/>
                  </a:lnTo>
                  <a:lnTo>
                    <a:pt x="3147" y="3809"/>
                  </a:lnTo>
                  <a:lnTo>
                    <a:pt x="3148" y="3843"/>
                  </a:lnTo>
                  <a:lnTo>
                    <a:pt x="3147" y="3873"/>
                  </a:lnTo>
                  <a:lnTo>
                    <a:pt x="3143" y="3901"/>
                  </a:lnTo>
                  <a:lnTo>
                    <a:pt x="3135" y="3929"/>
                  </a:lnTo>
                  <a:lnTo>
                    <a:pt x="3126" y="3955"/>
                  </a:lnTo>
                  <a:lnTo>
                    <a:pt x="3115" y="3980"/>
                  </a:lnTo>
                  <a:lnTo>
                    <a:pt x="3101" y="4005"/>
                  </a:lnTo>
                  <a:lnTo>
                    <a:pt x="3067" y="4048"/>
                  </a:lnTo>
                  <a:lnTo>
                    <a:pt x="3025" y="4084"/>
                  </a:lnTo>
                  <a:lnTo>
                    <a:pt x="3002" y="4099"/>
                  </a:lnTo>
                  <a:lnTo>
                    <a:pt x="2977" y="4113"/>
                  </a:lnTo>
                  <a:lnTo>
                    <a:pt x="2952" y="4123"/>
                  </a:lnTo>
                  <a:lnTo>
                    <a:pt x="2925" y="4132"/>
                  </a:lnTo>
                  <a:lnTo>
                    <a:pt x="2897" y="4138"/>
                  </a:lnTo>
                  <a:lnTo>
                    <a:pt x="2868" y="4141"/>
                  </a:lnTo>
                  <a:lnTo>
                    <a:pt x="2868" y="4317"/>
                  </a:lnTo>
                  <a:lnTo>
                    <a:pt x="2998" y="4317"/>
                  </a:lnTo>
                  <a:lnTo>
                    <a:pt x="2998" y="4193"/>
                  </a:lnTo>
                  <a:lnTo>
                    <a:pt x="2999" y="4184"/>
                  </a:lnTo>
                  <a:lnTo>
                    <a:pt x="3003" y="4177"/>
                  </a:lnTo>
                  <a:lnTo>
                    <a:pt x="3010" y="4173"/>
                  </a:lnTo>
                  <a:lnTo>
                    <a:pt x="3017" y="4172"/>
                  </a:lnTo>
                  <a:lnTo>
                    <a:pt x="3025" y="4173"/>
                  </a:lnTo>
                  <a:lnTo>
                    <a:pt x="3031" y="4177"/>
                  </a:lnTo>
                  <a:lnTo>
                    <a:pt x="3035" y="4184"/>
                  </a:lnTo>
                  <a:lnTo>
                    <a:pt x="3038" y="4193"/>
                  </a:lnTo>
                  <a:lnTo>
                    <a:pt x="3038" y="4332"/>
                  </a:lnTo>
                  <a:lnTo>
                    <a:pt x="3036" y="4340"/>
                  </a:lnTo>
                  <a:lnTo>
                    <a:pt x="3031" y="4346"/>
                  </a:lnTo>
                  <a:lnTo>
                    <a:pt x="3025" y="4354"/>
                  </a:lnTo>
                  <a:lnTo>
                    <a:pt x="3013" y="4356"/>
                  </a:lnTo>
                  <a:lnTo>
                    <a:pt x="2343" y="4356"/>
                  </a:lnTo>
                  <a:lnTo>
                    <a:pt x="1672" y="4356"/>
                  </a:lnTo>
                  <a:lnTo>
                    <a:pt x="1001" y="4356"/>
                  </a:lnTo>
                  <a:lnTo>
                    <a:pt x="332" y="4356"/>
                  </a:lnTo>
                  <a:close/>
                  <a:moveTo>
                    <a:pt x="1458" y="2791"/>
                  </a:moveTo>
                  <a:lnTo>
                    <a:pt x="900" y="2791"/>
                  </a:lnTo>
                  <a:lnTo>
                    <a:pt x="342" y="2791"/>
                  </a:lnTo>
                  <a:lnTo>
                    <a:pt x="342" y="3553"/>
                  </a:lnTo>
                  <a:lnTo>
                    <a:pt x="342" y="4317"/>
                  </a:lnTo>
                  <a:lnTo>
                    <a:pt x="1218" y="4317"/>
                  </a:lnTo>
                  <a:lnTo>
                    <a:pt x="2095" y="4317"/>
                  </a:lnTo>
                  <a:lnTo>
                    <a:pt x="2095" y="3553"/>
                  </a:lnTo>
                  <a:lnTo>
                    <a:pt x="2095" y="2791"/>
                  </a:lnTo>
                  <a:lnTo>
                    <a:pt x="1723" y="2791"/>
                  </a:lnTo>
                  <a:lnTo>
                    <a:pt x="1714" y="2790"/>
                  </a:lnTo>
                  <a:lnTo>
                    <a:pt x="1708" y="2786"/>
                  </a:lnTo>
                  <a:lnTo>
                    <a:pt x="1704" y="2780"/>
                  </a:lnTo>
                  <a:lnTo>
                    <a:pt x="1703" y="2772"/>
                  </a:lnTo>
                  <a:lnTo>
                    <a:pt x="1704" y="2764"/>
                  </a:lnTo>
                  <a:lnTo>
                    <a:pt x="1708" y="2758"/>
                  </a:lnTo>
                  <a:lnTo>
                    <a:pt x="1714" y="2754"/>
                  </a:lnTo>
                  <a:lnTo>
                    <a:pt x="1723" y="2751"/>
                  </a:lnTo>
                  <a:lnTo>
                    <a:pt x="1976" y="2751"/>
                  </a:lnTo>
                  <a:lnTo>
                    <a:pt x="1976" y="2598"/>
                  </a:lnTo>
                  <a:lnTo>
                    <a:pt x="1025" y="2598"/>
                  </a:lnTo>
                  <a:lnTo>
                    <a:pt x="1018" y="2602"/>
                  </a:lnTo>
                  <a:lnTo>
                    <a:pt x="1010" y="2603"/>
                  </a:lnTo>
                  <a:lnTo>
                    <a:pt x="544" y="2603"/>
                  </a:lnTo>
                  <a:lnTo>
                    <a:pt x="536" y="2602"/>
                  </a:lnTo>
                  <a:lnTo>
                    <a:pt x="531" y="2598"/>
                  </a:lnTo>
                  <a:lnTo>
                    <a:pt x="480" y="2598"/>
                  </a:lnTo>
                  <a:lnTo>
                    <a:pt x="480" y="2751"/>
                  </a:lnTo>
                  <a:lnTo>
                    <a:pt x="1458" y="2751"/>
                  </a:lnTo>
                  <a:lnTo>
                    <a:pt x="1467" y="2754"/>
                  </a:lnTo>
                  <a:lnTo>
                    <a:pt x="1473" y="2758"/>
                  </a:lnTo>
                  <a:lnTo>
                    <a:pt x="1477" y="2764"/>
                  </a:lnTo>
                  <a:lnTo>
                    <a:pt x="1478" y="2772"/>
                  </a:lnTo>
                  <a:lnTo>
                    <a:pt x="1477" y="2780"/>
                  </a:lnTo>
                  <a:lnTo>
                    <a:pt x="1473" y="2786"/>
                  </a:lnTo>
                  <a:lnTo>
                    <a:pt x="1467" y="2790"/>
                  </a:lnTo>
                  <a:lnTo>
                    <a:pt x="1458" y="2791"/>
                  </a:lnTo>
                  <a:close/>
                  <a:moveTo>
                    <a:pt x="2829" y="4085"/>
                  </a:moveTo>
                  <a:lnTo>
                    <a:pt x="2829" y="4077"/>
                  </a:lnTo>
                  <a:lnTo>
                    <a:pt x="2594" y="3774"/>
                  </a:lnTo>
                  <a:lnTo>
                    <a:pt x="2590" y="3814"/>
                  </a:lnTo>
                  <a:lnTo>
                    <a:pt x="2588" y="3843"/>
                  </a:lnTo>
                  <a:lnTo>
                    <a:pt x="2589" y="3868"/>
                  </a:lnTo>
                  <a:lnTo>
                    <a:pt x="2593" y="3893"/>
                  </a:lnTo>
                  <a:lnTo>
                    <a:pt x="2599" y="3916"/>
                  </a:lnTo>
                  <a:lnTo>
                    <a:pt x="2607" y="3939"/>
                  </a:lnTo>
                  <a:lnTo>
                    <a:pt x="2617" y="3961"/>
                  </a:lnTo>
                  <a:lnTo>
                    <a:pt x="2629" y="3982"/>
                  </a:lnTo>
                  <a:lnTo>
                    <a:pt x="2643" y="4002"/>
                  </a:lnTo>
                  <a:lnTo>
                    <a:pt x="2658" y="4020"/>
                  </a:lnTo>
                  <a:lnTo>
                    <a:pt x="2675" y="4037"/>
                  </a:lnTo>
                  <a:lnTo>
                    <a:pt x="2693" y="4051"/>
                  </a:lnTo>
                  <a:lnTo>
                    <a:pt x="2713" y="4065"/>
                  </a:lnTo>
                  <a:lnTo>
                    <a:pt x="2734" y="4076"/>
                  </a:lnTo>
                  <a:lnTo>
                    <a:pt x="2756" y="4085"/>
                  </a:lnTo>
                  <a:lnTo>
                    <a:pt x="2779" y="4093"/>
                  </a:lnTo>
                  <a:lnTo>
                    <a:pt x="2803" y="4098"/>
                  </a:lnTo>
                  <a:lnTo>
                    <a:pt x="2829" y="4102"/>
                  </a:lnTo>
                  <a:lnTo>
                    <a:pt x="2829" y="4093"/>
                  </a:lnTo>
                  <a:lnTo>
                    <a:pt x="2829" y="4085"/>
                  </a:lnTo>
                  <a:close/>
                  <a:moveTo>
                    <a:pt x="1903" y="3824"/>
                  </a:moveTo>
                  <a:lnTo>
                    <a:pt x="1903" y="3937"/>
                  </a:lnTo>
                  <a:lnTo>
                    <a:pt x="1902" y="3946"/>
                  </a:lnTo>
                  <a:lnTo>
                    <a:pt x="1896" y="3952"/>
                  </a:lnTo>
                  <a:lnTo>
                    <a:pt x="1890" y="3956"/>
                  </a:lnTo>
                  <a:lnTo>
                    <a:pt x="1882" y="3957"/>
                  </a:lnTo>
                  <a:lnTo>
                    <a:pt x="1876" y="3956"/>
                  </a:lnTo>
                  <a:lnTo>
                    <a:pt x="1870" y="3952"/>
                  </a:lnTo>
                  <a:lnTo>
                    <a:pt x="1864" y="3946"/>
                  </a:lnTo>
                  <a:lnTo>
                    <a:pt x="1863" y="3937"/>
                  </a:lnTo>
                  <a:lnTo>
                    <a:pt x="1863" y="3824"/>
                  </a:lnTo>
                  <a:lnTo>
                    <a:pt x="1864" y="3817"/>
                  </a:lnTo>
                  <a:lnTo>
                    <a:pt x="1870" y="3810"/>
                  </a:lnTo>
                  <a:lnTo>
                    <a:pt x="1876" y="3806"/>
                  </a:lnTo>
                  <a:lnTo>
                    <a:pt x="1882" y="3805"/>
                  </a:lnTo>
                  <a:lnTo>
                    <a:pt x="1890" y="3806"/>
                  </a:lnTo>
                  <a:lnTo>
                    <a:pt x="1896" y="3810"/>
                  </a:lnTo>
                  <a:lnTo>
                    <a:pt x="1902" y="3817"/>
                  </a:lnTo>
                  <a:lnTo>
                    <a:pt x="1903" y="3824"/>
                  </a:lnTo>
                  <a:close/>
                  <a:moveTo>
                    <a:pt x="587" y="3118"/>
                  </a:moveTo>
                  <a:lnTo>
                    <a:pt x="587" y="3231"/>
                  </a:lnTo>
                  <a:lnTo>
                    <a:pt x="586" y="3240"/>
                  </a:lnTo>
                  <a:lnTo>
                    <a:pt x="581" y="3246"/>
                  </a:lnTo>
                  <a:lnTo>
                    <a:pt x="574" y="3250"/>
                  </a:lnTo>
                  <a:lnTo>
                    <a:pt x="567" y="3251"/>
                  </a:lnTo>
                  <a:lnTo>
                    <a:pt x="560" y="3250"/>
                  </a:lnTo>
                  <a:lnTo>
                    <a:pt x="554" y="3246"/>
                  </a:lnTo>
                  <a:lnTo>
                    <a:pt x="549" y="3240"/>
                  </a:lnTo>
                  <a:lnTo>
                    <a:pt x="548" y="3231"/>
                  </a:lnTo>
                  <a:lnTo>
                    <a:pt x="548" y="3118"/>
                  </a:lnTo>
                  <a:lnTo>
                    <a:pt x="549" y="3111"/>
                  </a:lnTo>
                  <a:lnTo>
                    <a:pt x="554" y="3104"/>
                  </a:lnTo>
                  <a:lnTo>
                    <a:pt x="560" y="3101"/>
                  </a:lnTo>
                  <a:lnTo>
                    <a:pt x="567" y="3099"/>
                  </a:lnTo>
                  <a:lnTo>
                    <a:pt x="574" y="3101"/>
                  </a:lnTo>
                  <a:lnTo>
                    <a:pt x="581" y="3104"/>
                  </a:lnTo>
                  <a:lnTo>
                    <a:pt x="586" y="3111"/>
                  </a:lnTo>
                  <a:lnTo>
                    <a:pt x="587" y="3118"/>
                  </a:lnTo>
                  <a:close/>
                  <a:moveTo>
                    <a:pt x="850" y="3118"/>
                  </a:moveTo>
                  <a:lnTo>
                    <a:pt x="850" y="3231"/>
                  </a:lnTo>
                  <a:lnTo>
                    <a:pt x="849" y="3240"/>
                  </a:lnTo>
                  <a:lnTo>
                    <a:pt x="844" y="3246"/>
                  </a:lnTo>
                  <a:lnTo>
                    <a:pt x="837" y="3250"/>
                  </a:lnTo>
                  <a:lnTo>
                    <a:pt x="831" y="3251"/>
                  </a:lnTo>
                  <a:lnTo>
                    <a:pt x="823" y="3250"/>
                  </a:lnTo>
                  <a:lnTo>
                    <a:pt x="817" y="3246"/>
                  </a:lnTo>
                  <a:lnTo>
                    <a:pt x="812" y="3240"/>
                  </a:lnTo>
                  <a:lnTo>
                    <a:pt x="810" y="3231"/>
                  </a:lnTo>
                  <a:lnTo>
                    <a:pt x="810" y="3118"/>
                  </a:lnTo>
                  <a:lnTo>
                    <a:pt x="812" y="3111"/>
                  </a:lnTo>
                  <a:lnTo>
                    <a:pt x="817" y="3104"/>
                  </a:lnTo>
                  <a:lnTo>
                    <a:pt x="823" y="3101"/>
                  </a:lnTo>
                  <a:lnTo>
                    <a:pt x="831" y="3099"/>
                  </a:lnTo>
                  <a:lnTo>
                    <a:pt x="837" y="3101"/>
                  </a:lnTo>
                  <a:lnTo>
                    <a:pt x="844" y="3104"/>
                  </a:lnTo>
                  <a:lnTo>
                    <a:pt x="849" y="3111"/>
                  </a:lnTo>
                  <a:lnTo>
                    <a:pt x="850" y="3118"/>
                  </a:lnTo>
                  <a:close/>
                  <a:moveTo>
                    <a:pt x="1113" y="3118"/>
                  </a:moveTo>
                  <a:lnTo>
                    <a:pt x="1113" y="3231"/>
                  </a:lnTo>
                  <a:lnTo>
                    <a:pt x="1112" y="3240"/>
                  </a:lnTo>
                  <a:lnTo>
                    <a:pt x="1107" y="3246"/>
                  </a:lnTo>
                  <a:lnTo>
                    <a:pt x="1100" y="3250"/>
                  </a:lnTo>
                  <a:lnTo>
                    <a:pt x="1094" y="3251"/>
                  </a:lnTo>
                  <a:lnTo>
                    <a:pt x="1086" y="3250"/>
                  </a:lnTo>
                  <a:lnTo>
                    <a:pt x="1080" y="3246"/>
                  </a:lnTo>
                  <a:lnTo>
                    <a:pt x="1076" y="3240"/>
                  </a:lnTo>
                  <a:lnTo>
                    <a:pt x="1073" y="3231"/>
                  </a:lnTo>
                  <a:lnTo>
                    <a:pt x="1073" y="3118"/>
                  </a:lnTo>
                  <a:lnTo>
                    <a:pt x="1076" y="3111"/>
                  </a:lnTo>
                  <a:lnTo>
                    <a:pt x="1080" y="3104"/>
                  </a:lnTo>
                  <a:lnTo>
                    <a:pt x="1086" y="3101"/>
                  </a:lnTo>
                  <a:lnTo>
                    <a:pt x="1094" y="3099"/>
                  </a:lnTo>
                  <a:lnTo>
                    <a:pt x="1100" y="3101"/>
                  </a:lnTo>
                  <a:lnTo>
                    <a:pt x="1107" y="3104"/>
                  </a:lnTo>
                  <a:lnTo>
                    <a:pt x="1112" y="3111"/>
                  </a:lnTo>
                  <a:lnTo>
                    <a:pt x="1113" y="3118"/>
                  </a:lnTo>
                  <a:close/>
                  <a:moveTo>
                    <a:pt x="1377" y="3118"/>
                  </a:moveTo>
                  <a:lnTo>
                    <a:pt x="1377" y="3231"/>
                  </a:lnTo>
                  <a:lnTo>
                    <a:pt x="1375" y="3240"/>
                  </a:lnTo>
                  <a:lnTo>
                    <a:pt x="1371" y="3246"/>
                  </a:lnTo>
                  <a:lnTo>
                    <a:pt x="1364" y="3250"/>
                  </a:lnTo>
                  <a:lnTo>
                    <a:pt x="1357" y="3251"/>
                  </a:lnTo>
                  <a:lnTo>
                    <a:pt x="1349" y="3250"/>
                  </a:lnTo>
                  <a:lnTo>
                    <a:pt x="1343" y="3246"/>
                  </a:lnTo>
                  <a:lnTo>
                    <a:pt x="1339" y="3240"/>
                  </a:lnTo>
                  <a:lnTo>
                    <a:pt x="1336" y="3231"/>
                  </a:lnTo>
                  <a:lnTo>
                    <a:pt x="1336" y="3118"/>
                  </a:lnTo>
                  <a:lnTo>
                    <a:pt x="1339" y="3111"/>
                  </a:lnTo>
                  <a:lnTo>
                    <a:pt x="1343" y="3104"/>
                  </a:lnTo>
                  <a:lnTo>
                    <a:pt x="1349" y="3101"/>
                  </a:lnTo>
                  <a:lnTo>
                    <a:pt x="1357" y="3099"/>
                  </a:lnTo>
                  <a:lnTo>
                    <a:pt x="1364" y="3101"/>
                  </a:lnTo>
                  <a:lnTo>
                    <a:pt x="1371" y="3104"/>
                  </a:lnTo>
                  <a:lnTo>
                    <a:pt x="1375" y="3111"/>
                  </a:lnTo>
                  <a:lnTo>
                    <a:pt x="1377" y="3118"/>
                  </a:lnTo>
                  <a:close/>
                  <a:moveTo>
                    <a:pt x="1640" y="3118"/>
                  </a:moveTo>
                  <a:lnTo>
                    <a:pt x="1640" y="3231"/>
                  </a:lnTo>
                  <a:lnTo>
                    <a:pt x="1637" y="3240"/>
                  </a:lnTo>
                  <a:lnTo>
                    <a:pt x="1634" y="3246"/>
                  </a:lnTo>
                  <a:lnTo>
                    <a:pt x="1627" y="3250"/>
                  </a:lnTo>
                  <a:lnTo>
                    <a:pt x="1620" y="3251"/>
                  </a:lnTo>
                  <a:lnTo>
                    <a:pt x="1612" y="3250"/>
                  </a:lnTo>
                  <a:lnTo>
                    <a:pt x="1605" y="3246"/>
                  </a:lnTo>
                  <a:lnTo>
                    <a:pt x="1602" y="3240"/>
                  </a:lnTo>
                  <a:lnTo>
                    <a:pt x="1600" y="3231"/>
                  </a:lnTo>
                  <a:lnTo>
                    <a:pt x="1600" y="3118"/>
                  </a:lnTo>
                  <a:lnTo>
                    <a:pt x="1602" y="3111"/>
                  </a:lnTo>
                  <a:lnTo>
                    <a:pt x="1605" y="3104"/>
                  </a:lnTo>
                  <a:lnTo>
                    <a:pt x="1612" y="3101"/>
                  </a:lnTo>
                  <a:lnTo>
                    <a:pt x="1620" y="3099"/>
                  </a:lnTo>
                  <a:lnTo>
                    <a:pt x="1627" y="3101"/>
                  </a:lnTo>
                  <a:lnTo>
                    <a:pt x="1634" y="3104"/>
                  </a:lnTo>
                  <a:lnTo>
                    <a:pt x="1637" y="3111"/>
                  </a:lnTo>
                  <a:lnTo>
                    <a:pt x="1640" y="3118"/>
                  </a:lnTo>
                  <a:close/>
                  <a:moveTo>
                    <a:pt x="1903" y="3118"/>
                  </a:moveTo>
                  <a:lnTo>
                    <a:pt x="1903" y="3231"/>
                  </a:lnTo>
                  <a:lnTo>
                    <a:pt x="1902" y="3240"/>
                  </a:lnTo>
                  <a:lnTo>
                    <a:pt x="1896" y="3246"/>
                  </a:lnTo>
                  <a:lnTo>
                    <a:pt x="1890" y="3250"/>
                  </a:lnTo>
                  <a:lnTo>
                    <a:pt x="1882" y="3251"/>
                  </a:lnTo>
                  <a:lnTo>
                    <a:pt x="1876" y="3250"/>
                  </a:lnTo>
                  <a:lnTo>
                    <a:pt x="1870" y="3246"/>
                  </a:lnTo>
                  <a:lnTo>
                    <a:pt x="1864" y="3240"/>
                  </a:lnTo>
                  <a:lnTo>
                    <a:pt x="1863" y="3231"/>
                  </a:lnTo>
                  <a:lnTo>
                    <a:pt x="1863" y="3118"/>
                  </a:lnTo>
                  <a:lnTo>
                    <a:pt x="1864" y="3111"/>
                  </a:lnTo>
                  <a:lnTo>
                    <a:pt x="1870" y="3104"/>
                  </a:lnTo>
                  <a:lnTo>
                    <a:pt x="1876" y="3101"/>
                  </a:lnTo>
                  <a:lnTo>
                    <a:pt x="1882" y="3099"/>
                  </a:lnTo>
                  <a:lnTo>
                    <a:pt x="1890" y="3101"/>
                  </a:lnTo>
                  <a:lnTo>
                    <a:pt x="1896" y="3104"/>
                  </a:lnTo>
                  <a:lnTo>
                    <a:pt x="1902" y="3111"/>
                  </a:lnTo>
                  <a:lnTo>
                    <a:pt x="1903" y="3118"/>
                  </a:lnTo>
                  <a:close/>
                  <a:moveTo>
                    <a:pt x="587" y="3354"/>
                  </a:moveTo>
                  <a:lnTo>
                    <a:pt x="587" y="3466"/>
                  </a:lnTo>
                  <a:lnTo>
                    <a:pt x="586" y="3475"/>
                  </a:lnTo>
                  <a:lnTo>
                    <a:pt x="581" y="3482"/>
                  </a:lnTo>
                  <a:lnTo>
                    <a:pt x="574" y="3485"/>
                  </a:lnTo>
                  <a:lnTo>
                    <a:pt x="567" y="3487"/>
                  </a:lnTo>
                  <a:lnTo>
                    <a:pt x="560" y="3485"/>
                  </a:lnTo>
                  <a:lnTo>
                    <a:pt x="554" y="3482"/>
                  </a:lnTo>
                  <a:lnTo>
                    <a:pt x="549" y="3475"/>
                  </a:lnTo>
                  <a:lnTo>
                    <a:pt x="548" y="3466"/>
                  </a:lnTo>
                  <a:lnTo>
                    <a:pt x="548" y="3354"/>
                  </a:lnTo>
                  <a:lnTo>
                    <a:pt x="549" y="3346"/>
                  </a:lnTo>
                  <a:lnTo>
                    <a:pt x="554" y="3340"/>
                  </a:lnTo>
                  <a:lnTo>
                    <a:pt x="560" y="3336"/>
                  </a:lnTo>
                  <a:lnTo>
                    <a:pt x="567" y="3335"/>
                  </a:lnTo>
                  <a:lnTo>
                    <a:pt x="574" y="3336"/>
                  </a:lnTo>
                  <a:lnTo>
                    <a:pt x="581" y="3340"/>
                  </a:lnTo>
                  <a:lnTo>
                    <a:pt x="586" y="3346"/>
                  </a:lnTo>
                  <a:lnTo>
                    <a:pt x="587" y="3354"/>
                  </a:lnTo>
                  <a:close/>
                  <a:moveTo>
                    <a:pt x="850" y="3354"/>
                  </a:moveTo>
                  <a:lnTo>
                    <a:pt x="850" y="3466"/>
                  </a:lnTo>
                  <a:lnTo>
                    <a:pt x="849" y="3475"/>
                  </a:lnTo>
                  <a:lnTo>
                    <a:pt x="844" y="3482"/>
                  </a:lnTo>
                  <a:lnTo>
                    <a:pt x="837" y="3485"/>
                  </a:lnTo>
                  <a:lnTo>
                    <a:pt x="831" y="3487"/>
                  </a:lnTo>
                  <a:lnTo>
                    <a:pt x="823" y="3485"/>
                  </a:lnTo>
                  <a:lnTo>
                    <a:pt x="817" y="3482"/>
                  </a:lnTo>
                  <a:lnTo>
                    <a:pt x="812" y="3475"/>
                  </a:lnTo>
                  <a:lnTo>
                    <a:pt x="810" y="3466"/>
                  </a:lnTo>
                  <a:lnTo>
                    <a:pt x="810" y="3354"/>
                  </a:lnTo>
                  <a:lnTo>
                    <a:pt x="812" y="3346"/>
                  </a:lnTo>
                  <a:lnTo>
                    <a:pt x="817" y="3340"/>
                  </a:lnTo>
                  <a:lnTo>
                    <a:pt x="823" y="3336"/>
                  </a:lnTo>
                  <a:lnTo>
                    <a:pt x="831" y="3335"/>
                  </a:lnTo>
                  <a:lnTo>
                    <a:pt x="837" y="3336"/>
                  </a:lnTo>
                  <a:lnTo>
                    <a:pt x="844" y="3340"/>
                  </a:lnTo>
                  <a:lnTo>
                    <a:pt x="849" y="3346"/>
                  </a:lnTo>
                  <a:lnTo>
                    <a:pt x="850" y="3354"/>
                  </a:lnTo>
                  <a:close/>
                  <a:moveTo>
                    <a:pt x="1113" y="3354"/>
                  </a:moveTo>
                  <a:lnTo>
                    <a:pt x="1113" y="3466"/>
                  </a:lnTo>
                  <a:lnTo>
                    <a:pt x="1112" y="3475"/>
                  </a:lnTo>
                  <a:lnTo>
                    <a:pt x="1107" y="3482"/>
                  </a:lnTo>
                  <a:lnTo>
                    <a:pt x="1100" y="3485"/>
                  </a:lnTo>
                  <a:lnTo>
                    <a:pt x="1094" y="3487"/>
                  </a:lnTo>
                  <a:lnTo>
                    <a:pt x="1086" y="3485"/>
                  </a:lnTo>
                  <a:lnTo>
                    <a:pt x="1080" y="3482"/>
                  </a:lnTo>
                  <a:lnTo>
                    <a:pt x="1076" y="3475"/>
                  </a:lnTo>
                  <a:lnTo>
                    <a:pt x="1073" y="3466"/>
                  </a:lnTo>
                  <a:lnTo>
                    <a:pt x="1073" y="3354"/>
                  </a:lnTo>
                  <a:lnTo>
                    <a:pt x="1076" y="3346"/>
                  </a:lnTo>
                  <a:lnTo>
                    <a:pt x="1080" y="3340"/>
                  </a:lnTo>
                  <a:lnTo>
                    <a:pt x="1086" y="3336"/>
                  </a:lnTo>
                  <a:lnTo>
                    <a:pt x="1094" y="3335"/>
                  </a:lnTo>
                  <a:lnTo>
                    <a:pt x="1100" y="3336"/>
                  </a:lnTo>
                  <a:lnTo>
                    <a:pt x="1107" y="3340"/>
                  </a:lnTo>
                  <a:lnTo>
                    <a:pt x="1112" y="3346"/>
                  </a:lnTo>
                  <a:lnTo>
                    <a:pt x="1113" y="3354"/>
                  </a:lnTo>
                  <a:close/>
                  <a:moveTo>
                    <a:pt x="1377" y="3354"/>
                  </a:moveTo>
                  <a:lnTo>
                    <a:pt x="1377" y="3466"/>
                  </a:lnTo>
                  <a:lnTo>
                    <a:pt x="1375" y="3475"/>
                  </a:lnTo>
                  <a:lnTo>
                    <a:pt x="1371" y="3482"/>
                  </a:lnTo>
                  <a:lnTo>
                    <a:pt x="1364" y="3485"/>
                  </a:lnTo>
                  <a:lnTo>
                    <a:pt x="1357" y="3487"/>
                  </a:lnTo>
                  <a:lnTo>
                    <a:pt x="1349" y="3485"/>
                  </a:lnTo>
                  <a:lnTo>
                    <a:pt x="1343" y="3482"/>
                  </a:lnTo>
                  <a:lnTo>
                    <a:pt x="1339" y="3475"/>
                  </a:lnTo>
                  <a:lnTo>
                    <a:pt x="1336" y="3466"/>
                  </a:lnTo>
                  <a:lnTo>
                    <a:pt x="1336" y="3354"/>
                  </a:lnTo>
                  <a:lnTo>
                    <a:pt x="1339" y="3346"/>
                  </a:lnTo>
                  <a:lnTo>
                    <a:pt x="1343" y="3340"/>
                  </a:lnTo>
                  <a:lnTo>
                    <a:pt x="1349" y="3336"/>
                  </a:lnTo>
                  <a:lnTo>
                    <a:pt x="1357" y="3335"/>
                  </a:lnTo>
                  <a:lnTo>
                    <a:pt x="1364" y="3336"/>
                  </a:lnTo>
                  <a:lnTo>
                    <a:pt x="1371" y="3340"/>
                  </a:lnTo>
                  <a:lnTo>
                    <a:pt x="1375" y="3346"/>
                  </a:lnTo>
                  <a:lnTo>
                    <a:pt x="1377" y="3354"/>
                  </a:lnTo>
                  <a:close/>
                  <a:moveTo>
                    <a:pt x="1640" y="3354"/>
                  </a:moveTo>
                  <a:lnTo>
                    <a:pt x="1640" y="3466"/>
                  </a:lnTo>
                  <a:lnTo>
                    <a:pt x="1637" y="3475"/>
                  </a:lnTo>
                  <a:lnTo>
                    <a:pt x="1634" y="3482"/>
                  </a:lnTo>
                  <a:lnTo>
                    <a:pt x="1627" y="3485"/>
                  </a:lnTo>
                  <a:lnTo>
                    <a:pt x="1620" y="3487"/>
                  </a:lnTo>
                  <a:lnTo>
                    <a:pt x="1612" y="3485"/>
                  </a:lnTo>
                  <a:lnTo>
                    <a:pt x="1605" y="3482"/>
                  </a:lnTo>
                  <a:lnTo>
                    <a:pt x="1602" y="3475"/>
                  </a:lnTo>
                  <a:lnTo>
                    <a:pt x="1600" y="3466"/>
                  </a:lnTo>
                  <a:lnTo>
                    <a:pt x="1600" y="3354"/>
                  </a:lnTo>
                  <a:lnTo>
                    <a:pt x="1602" y="3346"/>
                  </a:lnTo>
                  <a:lnTo>
                    <a:pt x="1605" y="3340"/>
                  </a:lnTo>
                  <a:lnTo>
                    <a:pt x="1612" y="3336"/>
                  </a:lnTo>
                  <a:lnTo>
                    <a:pt x="1620" y="3335"/>
                  </a:lnTo>
                  <a:lnTo>
                    <a:pt x="1627" y="3336"/>
                  </a:lnTo>
                  <a:lnTo>
                    <a:pt x="1634" y="3340"/>
                  </a:lnTo>
                  <a:lnTo>
                    <a:pt x="1637" y="3346"/>
                  </a:lnTo>
                  <a:lnTo>
                    <a:pt x="1640" y="3354"/>
                  </a:lnTo>
                  <a:close/>
                  <a:moveTo>
                    <a:pt x="1903" y="3354"/>
                  </a:moveTo>
                  <a:lnTo>
                    <a:pt x="1903" y="3466"/>
                  </a:lnTo>
                  <a:lnTo>
                    <a:pt x="1902" y="3475"/>
                  </a:lnTo>
                  <a:lnTo>
                    <a:pt x="1896" y="3482"/>
                  </a:lnTo>
                  <a:lnTo>
                    <a:pt x="1890" y="3485"/>
                  </a:lnTo>
                  <a:lnTo>
                    <a:pt x="1882" y="3487"/>
                  </a:lnTo>
                  <a:lnTo>
                    <a:pt x="1876" y="3485"/>
                  </a:lnTo>
                  <a:lnTo>
                    <a:pt x="1870" y="3482"/>
                  </a:lnTo>
                  <a:lnTo>
                    <a:pt x="1864" y="3475"/>
                  </a:lnTo>
                  <a:lnTo>
                    <a:pt x="1863" y="3466"/>
                  </a:lnTo>
                  <a:lnTo>
                    <a:pt x="1863" y="3354"/>
                  </a:lnTo>
                  <a:lnTo>
                    <a:pt x="1864" y="3346"/>
                  </a:lnTo>
                  <a:lnTo>
                    <a:pt x="1870" y="3340"/>
                  </a:lnTo>
                  <a:lnTo>
                    <a:pt x="1876" y="3336"/>
                  </a:lnTo>
                  <a:lnTo>
                    <a:pt x="1882" y="3335"/>
                  </a:lnTo>
                  <a:lnTo>
                    <a:pt x="1890" y="3336"/>
                  </a:lnTo>
                  <a:lnTo>
                    <a:pt x="1896" y="3340"/>
                  </a:lnTo>
                  <a:lnTo>
                    <a:pt x="1902" y="3346"/>
                  </a:lnTo>
                  <a:lnTo>
                    <a:pt x="1903" y="3354"/>
                  </a:lnTo>
                  <a:close/>
                  <a:moveTo>
                    <a:pt x="587" y="3589"/>
                  </a:moveTo>
                  <a:lnTo>
                    <a:pt x="587" y="3702"/>
                  </a:lnTo>
                  <a:lnTo>
                    <a:pt x="586" y="3710"/>
                  </a:lnTo>
                  <a:lnTo>
                    <a:pt x="581" y="3717"/>
                  </a:lnTo>
                  <a:lnTo>
                    <a:pt x="574" y="3721"/>
                  </a:lnTo>
                  <a:lnTo>
                    <a:pt x="567" y="3722"/>
                  </a:lnTo>
                  <a:lnTo>
                    <a:pt x="560" y="3721"/>
                  </a:lnTo>
                  <a:lnTo>
                    <a:pt x="554" y="3717"/>
                  </a:lnTo>
                  <a:lnTo>
                    <a:pt x="549" y="3710"/>
                  </a:lnTo>
                  <a:lnTo>
                    <a:pt x="548" y="3702"/>
                  </a:lnTo>
                  <a:lnTo>
                    <a:pt x="548" y="3589"/>
                  </a:lnTo>
                  <a:lnTo>
                    <a:pt x="549" y="3581"/>
                  </a:lnTo>
                  <a:lnTo>
                    <a:pt x="554" y="3575"/>
                  </a:lnTo>
                  <a:lnTo>
                    <a:pt x="560" y="3571"/>
                  </a:lnTo>
                  <a:lnTo>
                    <a:pt x="567" y="3570"/>
                  </a:lnTo>
                  <a:lnTo>
                    <a:pt x="574" y="3571"/>
                  </a:lnTo>
                  <a:lnTo>
                    <a:pt x="581" y="3575"/>
                  </a:lnTo>
                  <a:lnTo>
                    <a:pt x="586" y="3581"/>
                  </a:lnTo>
                  <a:lnTo>
                    <a:pt x="587" y="3589"/>
                  </a:lnTo>
                  <a:close/>
                  <a:moveTo>
                    <a:pt x="850" y="3589"/>
                  </a:moveTo>
                  <a:lnTo>
                    <a:pt x="850" y="3702"/>
                  </a:lnTo>
                  <a:lnTo>
                    <a:pt x="849" y="3710"/>
                  </a:lnTo>
                  <a:lnTo>
                    <a:pt x="844" y="3717"/>
                  </a:lnTo>
                  <a:lnTo>
                    <a:pt x="837" y="3721"/>
                  </a:lnTo>
                  <a:lnTo>
                    <a:pt x="831" y="3722"/>
                  </a:lnTo>
                  <a:lnTo>
                    <a:pt x="823" y="3721"/>
                  </a:lnTo>
                  <a:lnTo>
                    <a:pt x="817" y="3717"/>
                  </a:lnTo>
                  <a:lnTo>
                    <a:pt x="812" y="3710"/>
                  </a:lnTo>
                  <a:lnTo>
                    <a:pt x="810" y="3702"/>
                  </a:lnTo>
                  <a:lnTo>
                    <a:pt x="810" y="3589"/>
                  </a:lnTo>
                  <a:lnTo>
                    <a:pt x="812" y="3581"/>
                  </a:lnTo>
                  <a:lnTo>
                    <a:pt x="817" y="3575"/>
                  </a:lnTo>
                  <a:lnTo>
                    <a:pt x="823" y="3571"/>
                  </a:lnTo>
                  <a:lnTo>
                    <a:pt x="831" y="3570"/>
                  </a:lnTo>
                  <a:lnTo>
                    <a:pt x="837" y="3571"/>
                  </a:lnTo>
                  <a:lnTo>
                    <a:pt x="844" y="3575"/>
                  </a:lnTo>
                  <a:lnTo>
                    <a:pt x="849" y="3581"/>
                  </a:lnTo>
                  <a:lnTo>
                    <a:pt x="850" y="3589"/>
                  </a:lnTo>
                  <a:close/>
                  <a:moveTo>
                    <a:pt x="1113" y="3589"/>
                  </a:moveTo>
                  <a:lnTo>
                    <a:pt x="1113" y="3702"/>
                  </a:lnTo>
                  <a:lnTo>
                    <a:pt x="1112" y="3710"/>
                  </a:lnTo>
                  <a:lnTo>
                    <a:pt x="1107" y="3717"/>
                  </a:lnTo>
                  <a:lnTo>
                    <a:pt x="1100" y="3721"/>
                  </a:lnTo>
                  <a:lnTo>
                    <a:pt x="1094" y="3722"/>
                  </a:lnTo>
                  <a:lnTo>
                    <a:pt x="1086" y="3721"/>
                  </a:lnTo>
                  <a:lnTo>
                    <a:pt x="1080" y="3717"/>
                  </a:lnTo>
                  <a:lnTo>
                    <a:pt x="1076" y="3710"/>
                  </a:lnTo>
                  <a:lnTo>
                    <a:pt x="1073" y="3702"/>
                  </a:lnTo>
                  <a:lnTo>
                    <a:pt x="1073" y="3589"/>
                  </a:lnTo>
                  <a:lnTo>
                    <a:pt x="1076" y="3581"/>
                  </a:lnTo>
                  <a:lnTo>
                    <a:pt x="1080" y="3575"/>
                  </a:lnTo>
                  <a:lnTo>
                    <a:pt x="1086" y="3571"/>
                  </a:lnTo>
                  <a:lnTo>
                    <a:pt x="1094" y="3570"/>
                  </a:lnTo>
                  <a:lnTo>
                    <a:pt x="1100" y="3571"/>
                  </a:lnTo>
                  <a:lnTo>
                    <a:pt x="1107" y="3575"/>
                  </a:lnTo>
                  <a:lnTo>
                    <a:pt x="1112" y="3581"/>
                  </a:lnTo>
                  <a:lnTo>
                    <a:pt x="1113" y="3589"/>
                  </a:lnTo>
                  <a:close/>
                  <a:moveTo>
                    <a:pt x="1377" y="3589"/>
                  </a:moveTo>
                  <a:lnTo>
                    <a:pt x="1377" y="3702"/>
                  </a:lnTo>
                  <a:lnTo>
                    <a:pt x="1375" y="3710"/>
                  </a:lnTo>
                  <a:lnTo>
                    <a:pt x="1371" y="3717"/>
                  </a:lnTo>
                  <a:lnTo>
                    <a:pt x="1364" y="3721"/>
                  </a:lnTo>
                  <a:lnTo>
                    <a:pt x="1357" y="3722"/>
                  </a:lnTo>
                  <a:lnTo>
                    <a:pt x="1349" y="3721"/>
                  </a:lnTo>
                  <a:lnTo>
                    <a:pt x="1343" y="3717"/>
                  </a:lnTo>
                  <a:lnTo>
                    <a:pt x="1339" y="3710"/>
                  </a:lnTo>
                  <a:lnTo>
                    <a:pt x="1336" y="3702"/>
                  </a:lnTo>
                  <a:lnTo>
                    <a:pt x="1336" y="3589"/>
                  </a:lnTo>
                  <a:lnTo>
                    <a:pt x="1339" y="3581"/>
                  </a:lnTo>
                  <a:lnTo>
                    <a:pt x="1343" y="3575"/>
                  </a:lnTo>
                  <a:lnTo>
                    <a:pt x="1349" y="3571"/>
                  </a:lnTo>
                  <a:lnTo>
                    <a:pt x="1357" y="3570"/>
                  </a:lnTo>
                  <a:lnTo>
                    <a:pt x="1364" y="3571"/>
                  </a:lnTo>
                  <a:lnTo>
                    <a:pt x="1371" y="3575"/>
                  </a:lnTo>
                  <a:lnTo>
                    <a:pt x="1375" y="3581"/>
                  </a:lnTo>
                  <a:lnTo>
                    <a:pt x="1377" y="3589"/>
                  </a:lnTo>
                  <a:close/>
                  <a:moveTo>
                    <a:pt x="1640" y="3589"/>
                  </a:moveTo>
                  <a:lnTo>
                    <a:pt x="1640" y="3702"/>
                  </a:lnTo>
                  <a:lnTo>
                    <a:pt x="1637" y="3710"/>
                  </a:lnTo>
                  <a:lnTo>
                    <a:pt x="1634" y="3717"/>
                  </a:lnTo>
                  <a:lnTo>
                    <a:pt x="1627" y="3721"/>
                  </a:lnTo>
                  <a:lnTo>
                    <a:pt x="1620" y="3722"/>
                  </a:lnTo>
                  <a:lnTo>
                    <a:pt x="1612" y="3721"/>
                  </a:lnTo>
                  <a:lnTo>
                    <a:pt x="1605" y="3717"/>
                  </a:lnTo>
                  <a:lnTo>
                    <a:pt x="1602" y="3710"/>
                  </a:lnTo>
                  <a:lnTo>
                    <a:pt x="1600" y="3702"/>
                  </a:lnTo>
                  <a:lnTo>
                    <a:pt x="1600" y="3589"/>
                  </a:lnTo>
                  <a:lnTo>
                    <a:pt x="1602" y="3581"/>
                  </a:lnTo>
                  <a:lnTo>
                    <a:pt x="1605" y="3575"/>
                  </a:lnTo>
                  <a:lnTo>
                    <a:pt x="1612" y="3571"/>
                  </a:lnTo>
                  <a:lnTo>
                    <a:pt x="1620" y="3570"/>
                  </a:lnTo>
                  <a:lnTo>
                    <a:pt x="1627" y="3571"/>
                  </a:lnTo>
                  <a:lnTo>
                    <a:pt x="1634" y="3575"/>
                  </a:lnTo>
                  <a:lnTo>
                    <a:pt x="1637" y="3581"/>
                  </a:lnTo>
                  <a:lnTo>
                    <a:pt x="1640" y="3589"/>
                  </a:lnTo>
                  <a:close/>
                  <a:moveTo>
                    <a:pt x="1903" y="3589"/>
                  </a:moveTo>
                  <a:lnTo>
                    <a:pt x="1903" y="3702"/>
                  </a:lnTo>
                  <a:lnTo>
                    <a:pt x="1902" y="3710"/>
                  </a:lnTo>
                  <a:lnTo>
                    <a:pt x="1896" y="3717"/>
                  </a:lnTo>
                  <a:lnTo>
                    <a:pt x="1890" y="3721"/>
                  </a:lnTo>
                  <a:lnTo>
                    <a:pt x="1882" y="3722"/>
                  </a:lnTo>
                  <a:lnTo>
                    <a:pt x="1876" y="3721"/>
                  </a:lnTo>
                  <a:lnTo>
                    <a:pt x="1870" y="3717"/>
                  </a:lnTo>
                  <a:lnTo>
                    <a:pt x="1864" y="3710"/>
                  </a:lnTo>
                  <a:lnTo>
                    <a:pt x="1863" y="3702"/>
                  </a:lnTo>
                  <a:lnTo>
                    <a:pt x="1863" y="3589"/>
                  </a:lnTo>
                  <a:lnTo>
                    <a:pt x="1864" y="3581"/>
                  </a:lnTo>
                  <a:lnTo>
                    <a:pt x="1870" y="3575"/>
                  </a:lnTo>
                  <a:lnTo>
                    <a:pt x="1876" y="3571"/>
                  </a:lnTo>
                  <a:lnTo>
                    <a:pt x="1882" y="3570"/>
                  </a:lnTo>
                  <a:lnTo>
                    <a:pt x="1890" y="3571"/>
                  </a:lnTo>
                  <a:lnTo>
                    <a:pt x="1896" y="3575"/>
                  </a:lnTo>
                  <a:lnTo>
                    <a:pt x="1902" y="3581"/>
                  </a:lnTo>
                  <a:lnTo>
                    <a:pt x="1903" y="3589"/>
                  </a:lnTo>
                  <a:close/>
                  <a:moveTo>
                    <a:pt x="587" y="3824"/>
                  </a:moveTo>
                  <a:lnTo>
                    <a:pt x="587" y="3937"/>
                  </a:lnTo>
                  <a:lnTo>
                    <a:pt x="586" y="3946"/>
                  </a:lnTo>
                  <a:lnTo>
                    <a:pt x="581" y="3952"/>
                  </a:lnTo>
                  <a:lnTo>
                    <a:pt x="574" y="3956"/>
                  </a:lnTo>
                  <a:lnTo>
                    <a:pt x="567" y="3957"/>
                  </a:lnTo>
                  <a:lnTo>
                    <a:pt x="560" y="3956"/>
                  </a:lnTo>
                  <a:lnTo>
                    <a:pt x="554" y="3952"/>
                  </a:lnTo>
                  <a:lnTo>
                    <a:pt x="549" y="3946"/>
                  </a:lnTo>
                  <a:lnTo>
                    <a:pt x="548" y="3937"/>
                  </a:lnTo>
                  <a:lnTo>
                    <a:pt x="548" y="3824"/>
                  </a:lnTo>
                  <a:lnTo>
                    <a:pt x="549" y="3817"/>
                  </a:lnTo>
                  <a:lnTo>
                    <a:pt x="554" y="3810"/>
                  </a:lnTo>
                  <a:lnTo>
                    <a:pt x="560" y="3806"/>
                  </a:lnTo>
                  <a:lnTo>
                    <a:pt x="567" y="3805"/>
                  </a:lnTo>
                  <a:lnTo>
                    <a:pt x="574" y="3806"/>
                  </a:lnTo>
                  <a:lnTo>
                    <a:pt x="581" y="3810"/>
                  </a:lnTo>
                  <a:lnTo>
                    <a:pt x="586" y="3817"/>
                  </a:lnTo>
                  <a:lnTo>
                    <a:pt x="587" y="3824"/>
                  </a:lnTo>
                  <a:close/>
                  <a:moveTo>
                    <a:pt x="850" y="3824"/>
                  </a:moveTo>
                  <a:lnTo>
                    <a:pt x="850" y="3937"/>
                  </a:lnTo>
                  <a:lnTo>
                    <a:pt x="849" y="3946"/>
                  </a:lnTo>
                  <a:lnTo>
                    <a:pt x="844" y="3952"/>
                  </a:lnTo>
                  <a:lnTo>
                    <a:pt x="837" y="3956"/>
                  </a:lnTo>
                  <a:lnTo>
                    <a:pt x="831" y="3957"/>
                  </a:lnTo>
                  <a:lnTo>
                    <a:pt x="823" y="3956"/>
                  </a:lnTo>
                  <a:lnTo>
                    <a:pt x="817" y="3952"/>
                  </a:lnTo>
                  <a:lnTo>
                    <a:pt x="812" y="3946"/>
                  </a:lnTo>
                  <a:lnTo>
                    <a:pt x="810" y="3937"/>
                  </a:lnTo>
                  <a:lnTo>
                    <a:pt x="810" y="3824"/>
                  </a:lnTo>
                  <a:lnTo>
                    <a:pt x="812" y="3817"/>
                  </a:lnTo>
                  <a:lnTo>
                    <a:pt x="817" y="3810"/>
                  </a:lnTo>
                  <a:lnTo>
                    <a:pt x="823" y="3806"/>
                  </a:lnTo>
                  <a:lnTo>
                    <a:pt x="831" y="3805"/>
                  </a:lnTo>
                  <a:lnTo>
                    <a:pt x="837" y="3806"/>
                  </a:lnTo>
                  <a:lnTo>
                    <a:pt x="844" y="3810"/>
                  </a:lnTo>
                  <a:lnTo>
                    <a:pt x="849" y="3817"/>
                  </a:lnTo>
                  <a:lnTo>
                    <a:pt x="850" y="3824"/>
                  </a:lnTo>
                  <a:close/>
                  <a:moveTo>
                    <a:pt x="1113" y="3824"/>
                  </a:moveTo>
                  <a:lnTo>
                    <a:pt x="1113" y="3937"/>
                  </a:lnTo>
                  <a:lnTo>
                    <a:pt x="1112" y="3946"/>
                  </a:lnTo>
                  <a:lnTo>
                    <a:pt x="1107" y="3952"/>
                  </a:lnTo>
                  <a:lnTo>
                    <a:pt x="1100" y="3956"/>
                  </a:lnTo>
                  <a:lnTo>
                    <a:pt x="1094" y="3957"/>
                  </a:lnTo>
                  <a:lnTo>
                    <a:pt x="1086" y="3956"/>
                  </a:lnTo>
                  <a:lnTo>
                    <a:pt x="1080" y="3952"/>
                  </a:lnTo>
                  <a:lnTo>
                    <a:pt x="1076" y="3946"/>
                  </a:lnTo>
                  <a:lnTo>
                    <a:pt x="1073" y="3937"/>
                  </a:lnTo>
                  <a:lnTo>
                    <a:pt x="1073" y="3824"/>
                  </a:lnTo>
                  <a:lnTo>
                    <a:pt x="1076" y="3817"/>
                  </a:lnTo>
                  <a:lnTo>
                    <a:pt x="1080" y="3810"/>
                  </a:lnTo>
                  <a:lnTo>
                    <a:pt x="1086" y="3806"/>
                  </a:lnTo>
                  <a:lnTo>
                    <a:pt x="1094" y="3805"/>
                  </a:lnTo>
                  <a:lnTo>
                    <a:pt x="1100" y="3806"/>
                  </a:lnTo>
                  <a:lnTo>
                    <a:pt x="1107" y="3810"/>
                  </a:lnTo>
                  <a:lnTo>
                    <a:pt x="1112" y="3817"/>
                  </a:lnTo>
                  <a:lnTo>
                    <a:pt x="1113" y="3824"/>
                  </a:lnTo>
                  <a:close/>
                  <a:moveTo>
                    <a:pt x="1377" y="3824"/>
                  </a:moveTo>
                  <a:lnTo>
                    <a:pt x="1377" y="3937"/>
                  </a:lnTo>
                  <a:lnTo>
                    <a:pt x="1375" y="3946"/>
                  </a:lnTo>
                  <a:lnTo>
                    <a:pt x="1371" y="3952"/>
                  </a:lnTo>
                  <a:lnTo>
                    <a:pt x="1364" y="3956"/>
                  </a:lnTo>
                  <a:lnTo>
                    <a:pt x="1357" y="3957"/>
                  </a:lnTo>
                  <a:lnTo>
                    <a:pt x="1349" y="3956"/>
                  </a:lnTo>
                  <a:lnTo>
                    <a:pt x="1343" y="3952"/>
                  </a:lnTo>
                  <a:lnTo>
                    <a:pt x="1339" y="3946"/>
                  </a:lnTo>
                  <a:lnTo>
                    <a:pt x="1336" y="3937"/>
                  </a:lnTo>
                  <a:lnTo>
                    <a:pt x="1336" y="3824"/>
                  </a:lnTo>
                  <a:lnTo>
                    <a:pt x="1339" y="3817"/>
                  </a:lnTo>
                  <a:lnTo>
                    <a:pt x="1343" y="3810"/>
                  </a:lnTo>
                  <a:lnTo>
                    <a:pt x="1349" y="3806"/>
                  </a:lnTo>
                  <a:lnTo>
                    <a:pt x="1357" y="3805"/>
                  </a:lnTo>
                  <a:lnTo>
                    <a:pt x="1364" y="3806"/>
                  </a:lnTo>
                  <a:lnTo>
                    <a:pt x="1371" y="3810"/>
                  </a:lnTo>
                  <a:lnTo>
                    <a:pt x="1375" y="3817"/>
                  </a:lnTo>
                  <a:lnTo>
                    <a:pt x="1377" y="3824"/>
                  </a:lnTo>
                  <a:close/>
                  <a:moveTo>
                    <a:pt x="1640" y="3824"/>
                  </a:moveTo>
                  <a:lnTo>
                    <a:pt x="1640" y="3937"/>
                  </a:lnTo>
                  <a:lnTo>
                    <a:pt x="1637" y="3946"/>
                  </a:lnTo>
                  <a:lnTo>
                    <a:pt x="1634" y="3952"/>
                  </a:lnTo>
                  <a:lnTo>
                    <a:pt x="1627" y="3956"/>
                  </a:lnTo>
                  <a:lnTo>
                    <a:pt x="1620" y="3957"/>
                  </a:lnTo>
                  <a:lnTo>
                    <a:pt x="1612" y="3956"/>
                  </a:lnTo>
                  <a:lnTo>
                    <a:pt x="1605" y="3952"/>
                  </a:lnTo>
                  <a:lnTo>
                    <a:pt x="1602" y="3946"/>
                  </a:lnTo>
                  <a:lnTo>
                    <a:pt x="1600" y="3937"/>
                  </a:lnTo>
                  <a:lnTo>
                    <a:pt x="1600" y="3824"/>
                  </a:lnTo>
                  <a:lnTo>
                    <a:pt x="1602" y="3817"/>
                  </a:lnTo>
                  <a:lnTo>
                    <a:pt x="1605" y="3810"/>
                  </a:lnTo>
                  <a:lnTo>
                    <a:pt x="1612" y="3806"/>
                  </a:lnTo>
                  <a:lnTo>
                    <a:pt x="1620" y="3805"/>
                  </a:lnTo>
                  <a:lnTo>
                    <a:pt x="1627" y="3806"/>
                  </a:lnTo>
                  <a:lnTo>
                    <a:pt x="1634" y="3810"/>
                  </a:lnTo>
                  <a:lnTo>
                    <a:pt x="1637" y="3817"/>
                  </a:lnTo>
                  <a:lnTo>
                    <a:pt x="1640" y="3824"/>
                  </a:lnTo>
                  <a:close/>
                  <a:moveTo>
                    <a:pt x="2829" y="4093"/>
                  </a:moveTo>
                  <a:lnTo>
                    <a:pt x="2829" y="4085"/>
                  </a:lnTo>
                  <a:lnTo>
                    <a:pt x="2829" y="4093"/>
                  </a:lnTo>
                  <a:close/>
                  <a:moveTo>
                    <a:pt x="0" y="915"/>
                  </a:moveTo>
                  <a:lnTo>
                    <a:pt x="492" y="915"/>
                  </a:lnTo>
                  <a:lnTo>
                    <a:pt x="500" y="917"/>
                  </a:lnTo>
                  <a:lnTo>
                    <a:pt x="507" y="922"/>
                  </a:lnTo>
                  <a:lnTo>
                    <a:pt x="512" y="928"/>
                  </a:lnTo>
                  <a:lnTo>
                    <a:pt x="513" y="936"/>
                  </a:lnTo>
                  <a:lnTo>
                    <a:pt x="513" y="1633"/>
                  </a:lnTo>
                  <a:lnTo>
                    <a:pt x="513" y="2329"/>
                  </a:lnTo>
                  <a:lnTo>
                    <a:pt x="512" y="2338"/>
                  </a:lnTo>
                  <a:lnTo>
                    <a:pt x="507" y="2345"/>
                  </a:lnTo>
                  <a:lnTo>
                    <a:pt x="500" y="2349"/>
                  </a:lnTo>
                  <a:lnTo>
                    <a:pt x="492" y="2350"/>
                  </a:lnTo>
                  <a:lnTo>
                    <a:pt x="486" y="2349"/>
                  </a:lnTo>
                  <a:lnTo>
                    <a:pt x="480" y="2345"/>
                  </a:lnTo>
                  <a:lnTo>
                    <a:pt x="474" y="2338"/>
                  </a:lnTo>
                  <a:lnTo>
                    <a:pt x="473" y="2329"/>
                  </a:lnTo>
                  <a:lnTo>
                    <a:pt x="473" y="1642"/>
                  </a:lnTo>
                  <a:lnTo>
                    <a:pt x="473" y="955"/>
                  </a:lnTo>
                  <a:lnTo>
                    <a:pt x="0" y="955"/>
                  </a:lnTo>
                  <a:lnTo>
                    <a:pt x="0" y="915"/>
                  </a:lnTo>
                  <a:close/>
                  <a:moveTo>
                    <a:pt x="190" y="1345"/>
                  </a:moveTo>
                  <a:lnTo>
                    <a:pt x="190" y="1450"/>
                  </a:lnTo>
                  <a:lnTo>
                    <a:pt x="188" y="1457"/>
                  </a:lnTo>
                  <a:lnTo>
                    <a:pt x="183" y="1464"/>
                  </a:lnTo>
                  <a:lnTo>
                    <a:pt x="177" y="1468"/>
                  </a:lnTo>
                  <a:lnTo>
                    <a:pt x="171" y="1469"/>
                  </a:lnTo>
                  <a:lnTo>
                    <a:pt x="163" y="1468"/>
                  </a:lnTo>
                  <a:lnTo>
                    <a:pt x="156" y="1464"/>
                  </a:lnTo>
                  <a:lnTo>
                    <a:pt x="151" y="1457"/>
                  </a:lnTo>
                  <a:lnTo>
                    <a:pt x="150" y="1450"/>
                  </a:lnTo>
                  <a:lnTo>
                    <a:pt x="150" y="1345"/>
                  </a:lnTo>
                  <a:lnTo>
                    <a:pt x="151" y="1337"/>
                  </a:lnTo>
                  <a:lnTo>
                    <a:pt x="156" y="1331"/>
                  </a:lnTo>
                  <a:lnTo>
                    <a:pt x="163" y="1327"/>
                  </a:lnTo>
                  <a:lnTo>
                    <a:pt x="171" y="1326"/>
                  </a:lnTo>
                  <a:lnTo>
                    <a:pt x="177" y="1327"/>
                  </a:lnTo>
                  <a:lnTo>
                    <a:pt x="183" y="1331"/>
                  </a:lnTo>
                  <a:lnTo>
                    <a:pt x="188" y="1337"/>
                  </a:lnTo>
                  <a:lnTo>
                    <a:pt x="190" y="1345"/>
                  </a:lnTo>
                  <a:close/>
                  <a:moveTo>
                    <a:pt x="190" y="1576"/>
                  </a:moveTo>
                  <a:lnTo>
                    <a:pt x="190" y="1680"/>
                  </a:lnTo>
                  <a:lnTo>
                    <a:pt x="188" y="1689"/>
                  </a:lnTo>
                  <a:lnTo>
                    <a:pt x="183" y="1695"/>
                  </a:lnTo>
                  <a:lnTo>
                    <a:pt x="177" y="1699"/>
                  </a:lnTo>
                  <a:lnTo>
                    <a:pt x="171" y="1700"/>
                  </a:lnTo>
                  <a:lnTo>
                    <a:pt x="163" y="1699"/>
                  </a:lnTo>
                  <a:lnTo>
                    <a:pt x="156" y="1695"/>
                  </a:lnTo>
                  <a:lnTo>
                    <a:pt x="151" y="1689"/>
                  </a:lnTo>
                  <a:lnTo>
                    <a:pt x="150" y="1680"/>
                  </a:lnTo>
                  <a:lnTo>
                    <a:pt x="150" y="1576"/>
                  </a:lnTo>
                  <a:lnTo>
                    <a:pt x="151" y="1567"/>
                  </a:lnTo>
                  <a:lnTo>
                    <a:pt x="156" y="1561"/>
                  </a:lnTo>
                  <a:lnTo>
                    <a:pt x="163" y="1558"/>
                  </a:lnTo>
                  <a:lnTo>
                    <a:pt x="171" y="1557"/>
                  </a:lnTo>
                  <a:lnTo>
                    <a:pt x="177" y="1558"/>
                  </a:lnTo>
                  <a:lnTo>
                    <a:pt x="183" y="1561"/>
                  </a:lnTo>
                  <a:lnTo>
                    <a:pt x="188" y="1567"/>
                  </a:lnTo>
                  <a:lnTo>
                    <a:pt x="190" y="1576"/>
                  </a:lnTo>
                  <a:close/>
                  <a:moveTo>
                    <a:pt x="190" y="1808"/>
                  </a:moveTo>
                  <a:lnTo>
                    <a:pt x="190" y="1911"/>
                  </a:lnTo>
                  <a:lnTo>
                    <a:pt x="188" y="1920"/>
                  </a:lnTo>
                  <a:lnTo>
                    <a:pt x="183" y="1927"/>
                  </a:lnTo>
                  <a:lnTo>
                    <a:pt x="177" y="1931"/>
                  </a:lnTo>
                  <a:lnTo>
                    <a:pt x="171" y="1932"/>
                  </a:lnTo>
                  <a:lnTo>
                    <a:pt x="163" y="1931"/>
                  </a:lnTo>
                  <a:lnTo>
                    <a:pt x="156" y="1927"/>
                  </a:lnTo>
                  <a:lnTo>
                    <a:pt x="151" y="1920"/>
                  </a:lnTo>
                  <a:lnTo>
                    <a:pt x="150" y="1911"/>
                  </a:lnTo>
                  <a:lnTo>
                    <a:pt x="150" y="1808"/>
                  </a:lnTo>
                  <a:lnTo>
                    <a:pt x="151" y="1799"/>
                  </a:lnTo>
                  <a:lnTo>
                    <a:pt x="156" y="1792"/>
                  </a:lnTo>
                  <a:lnTo>
                    <a:pt x="163" y="1789"/>
                  </a:lnTo>
                  <a:lnTo>
                    <a:pt x="171" y="1787"/>
                  </a:lnTo>
                  <a:lnTo>
                    <a:pt x="177" y="1789"/>
                  </a:lnTo>
                  <a:lnTo>
                    <a:pt x="183" y="1792"/>
                  </a:lnTo>
                  <a:lnTo>
                    <a:pt x="188" y="1799"/>
                  </a:lnTo>
                  <a:lnTo>
                    <a:pt x="190" y="1808"/>
                  </a:lnTo>
                  <a:close/>
                  <a:moveTo>
                    <a:pt x="190" y="2039"/>
                  </a:moveTo>
                  <a:lnTo>
                    <a:pt x="190" y="2143"/>
                  </a:lnTo>
                  <a:lnTo>
                    <a:pt x="188" y="2150"/>
                  </a:lnTo>
                  <a:lnTo>
                    <a:pt x="183" y="2157"/>
                  </a:lnTo>
                  <a:lnTo>
                    <a:pt x="177" y="2161"/>
                  </a:lnTo>
                  <a:lnTo>
                    <a:pt x="171" y="2162"/>
                  </a:lnTo>
                  <a:lnTo>
                    <a:pt x="163" y="2161"/>
                  </a:lnTo>
                  <a:lnTo>
                    <a:pt x="156" y="2157"/>
                  </a:lnTo>
                  <a:lnTo>
                    <a:pt x="151" y="2150"/>
                  </a:lnTo>
                  <a:lnTo>
                    <a:pt x="150" y="2143"/>
                  </a:lnTo>
                  <a:lnTo>
                    <a:pt x="150" y="2039"/>
                  </a:lnTo>
                  <a:lnTo>
                    <a:pt x="151" y="2030"/>
                  </a:lnTo>
                  <a:lnTo>
                    <a:pt x="156" y="2024"/>
                  </a:lnTo>
                  <a:lnTo>
                    <a:pt x="163" y="2020"/>
                  </a:lnTo>
                  <a:lnTo>
                    <a:pt x="171" y="2019"/>
                  </a:lnTo>
                  <a:lnTo>
                    <a:pt x="177" y="2020"/>
                  </a:lnTo>
                  <a:lnTo>
                    <a:pt x="183" y="2024"/>
                  </a:lnTo>
                  <a:lnTo>
                    <a:pt x="188" y="2030"/>
                  </a:lnTo>
                  <a:lnTo>
                    <a:pt x="190" y="2039"/>
                  </a:lnTo>
                  <a:close/>
                  <a:moveTo>
                    <a:pt x="190" y="2269"/>
                  </a:moveTo>
                  <a:lnTo>
                    <a:pt x="190" y="2373"/>
                  </a:lnTo>
                  <a:lnTo>
                    <a:pt x="188" y="2382"/>
                  </a:lnTo>
                  <a:lnTo>
                    <a:pt x="183" y="2388"/>
                  </a:lnTo>
                  <a:lnTo>
                    <a:pt x="177" y="2392"/>
                  </a:lnTo>
                  <a:lnTo>
                    <a:pt x="171" y="2393"/>
                  </a:lnTo>
                  <a:lnTo>
                    <a:pt x="163" y="2392"/>
                  </a:lnTo>
                  <a:lnTo>
                    <a:pt x="156" y="2388"/>
                  </a:lnTo>
                  <a:lnTo>
                    <a:pt x="151" y="2382"/>
                  </a:lnTo>
                  <a:lnTo>
                    <a:pt x="150" y="2373"/>
                  </a:lnTo>
                  <a:lnTo>
                    <a:pt x="150" y="2269"/>
                  </a:lnTo>
                  <a:lnTo>
                    <a:pt x="151" y="2260"/>
                  </a:lnTo>
                  <a:lnTo>
                    <a:pt x="156" y="2255"/>
                  </a:lnTo>
                  <a:lnTo>
                    <a:pt x="163" y="2251"/>
                  </a:lnTo>
                  <a:lnTo>
                    <a:pt x="171" y="2250"/>
                  </a:lnTo>
                  <a:lnTo>
                    <a:pt x="177" y="2251"/>
                  </a:lnTo>
                  <a:lnTo>
                    <a:pt x="183" y="2255"/>
                  </a:lnTo>
                  <a:lnTo>
                    <a:pt x="188" y="2260"/>
                  </a:lnTo>
                  <a:lnTo>
                    <a:pt x="190" y="2269"/>
                  </a:lnTo>
                  <a:close/>
                  <a:moveTo>
                    <a:pt x="190" y="2501"/>
                  </a:moveTo>
                  <a:lnTo>
                    <a:pt x="190" y="2604"/>
                  </a:lnTo>
                  <a:lnTo>
                    <a:pt x="188" y="2613"/>
                  </a:lnTo>
                  <a:lnTo>
                    <a:pt x="183" y="2620"/>
                  </a:lnTo>
                  <a:lnTo>
                    <a:pt x="177" y="2624"/>
                  </a:lnTo>
                  <a:lnTo>
                    <a:pt x="171" y="2625"/>
                  </a:lnTo>
                  <a:lnTo>
                    <a:pt x="163" y="2624"/>
                  </a:lnTo>
                  <a:lnTo>
                    <a:pt x="156" y="2620"/>
                  </a:lnTo>
                  <a:lnTo>
                    <a:pt x="151" y="2613"/>
                  </a:lnTo>
                  <a:lnTo>
                    <a:pt x="150" y="2604"/>
                  </a:lnTo>
                  <a:lnTo>
                    <a:pt x="150" y="2501"/>
                  </a:lnTo>
                  <a:lnTo>
                    <a:pt x="151" y="2492"/>
                  </a:lnTo>
                  <a:lnTo>
                    <a:pt x="156" y="2485"/>
                  </a:lnTo>
                  <a:lnTo>
                    <a:pt x="163" y="2482"/>
                  </a:lnTo>
                  <a:lnTo>
                    <a:pt x="171" y="2480"/>
                  </a:lnTo>
                  <a:lnTo>
                    <a:pt x="177" y="2482"/>
                  </a:lnTo>
                  <a:lnTo>
                    <a:pt x="183" y="2485"/>
                  </a:lnTo>
                  <a:lnTo>
                    <a:pt x="188" y="2492"/>
                  </a:lnTo>
                  <a:lnTo>
                    <a:pt x="190" y="2501"/>
                  </a:lnTo>
                  <a:close/>
                  <a:moveTo>
                    <a:pt x="190" y="2732"/>
                  </a:moveTo>
                  <a:lnTo>
                    <a:pt x="190" y="2836"/>
                  </a:lnTo>
                  <a:lnTo>
                    <a:pt x="188" y="2845"/>
                  </a:lnTo>
                  <a:lnTo>
                    <a:pt x="183" y="2850"/>
                  </a:lnTo>
                  <a:lnTo>
                    <a:pt x="177" y="2854"/>
                  </a:lnTo>
                  <a:lnTo>
                    <a:pt x="171" y="2855"/>
                  </a:lnTo>
                  <a:lnTo>
                    <a:pt x="163" y="2854"/>
                  </a:lnTo>
                  <a:lnTo>
                    <a:pt x="156" y="2850"/>
                  </a:lnTo>
                  <a:lnTo>
                    <a:pt x="151" y="2845"/>
                  </a:lnTo>
                  <a:lnTo>
                    <a:pt x="150" y="2836"/>
                  </a:lnTo>
                  <a:lnTo>
                    <a:pt x="150" y="2732"/>
                  </a:lnTo>
                  <a:lnTo>
                    <a:pt x="151" y="2723"/>
                  </a:lnTo>
                  <a:lnTo>
                    <a:pt x="156" y="2717"/>
                  </a:lnTo>
                  <a:lnTo>
                    <a:pt x="163" y="2713"/>
                  </a:lnTo>
                  <a:lnTo>
                    <a:pt x="171" y="2712"/>
                  </a:lnTo>
                  <a:lnTo>
                    <a:pt x="177" y="2713"/>
                  </a:lnTo>
                  <a:lnTo>
                    <a:pt x="183" y="2717"/>
                  </a:lnTo>
                  <a:lnTo>
                    <a:pt x="188" y="2723"/>
                  </a:lnTo>
                  <a:lnTo>
                    <a:pt x="190" y="2732"/>
                  </a:lnTo>
                  <a:close/>
                  <a:moveTo>
                    <a:pt x="190" y="2962"/>
                  </a:moveTo>
                  <a:lnTo>
                    <a:pt x="190" y="3066"/>
                  </a:lnTo>
                  <a:lnTo>
                    <a:pt x="188" y="3075"/>
                  </a:lnTo>
                  <a:lnTo>
                    <a:pt x="183" y="3081"/>
                  </a:lnTo>
                  <a:lnTo>
                    <a:pt x="177" y="3085"/>
                  </a:lnTo>
                  <a:lnTo>
                    <a:pt x="171" y="3086"/>
                  </a:lnTo>
                  <a:lnTo>
                    <a:pt x="163" y="3085"/>
                  </a:lnTo>
                  <a:lnTo>
                    <a:pt x="156" y="3081"/>
                  </a:lnTo>
                  <a:lnTo>
                    <a:pt x="151" y="3075"/>
                  </a:lnTo>
                  <a:lnTo>
                    <a:pt x="150" y="3066"/>
                  </a:lnTo>
                  <a:lnTo>
                    <a:pt x="150" y="2962"/>
                  </a:lnTo>
                  <a:lnTo>
                    <a:pt x="151" y="2953"/>
                  </a:lnTo>
                  <a:lnTo>
                    <a:pt x="156" y="2948"/>
                  </a:lnTo>
                  <a:lnTo>
                    <a:pt x="163" y="2945"/>
                  </a:lnTo>
                  <a:lnTo>
                    <a:pt x="171" y="2943"/>
                  </a:lnTo>
                  <a:lnTo>
                    <a:pt x="177" y="2945"/>
                  </a:lnTo>
                  <a:lnTo>
                    <a:pt x="183" y="2948"/>
                  </a:lnTo>
                  <a:lnTo>
                    <a:pt x="188" y="2953"/>
                  </a:lnTo>
                  <a:lnTo>
                    <a:pt x="190" y="2962"/>
                  </a:lnTo>
                  <a:close/>
                  <a:moveTo>
                    <a:pt x="2375" y="1897"/>
                  </a:moveTo>
                  <a:lnTo>
                    <a:pt x="2375" y="2001"/>
                  </a:lnTo>
                  <a:lnTo>
                    <a:pt x="2372" y="2010"/>
                  </a:lnTo>
                  <a:lnTo>
                    <a:pt x="2368" y="2016"/>
                  </a:lnTo>
                  <a:lnTo>
                    <a:pt x="2362" y="2020"/>
                  </a:lnTo>
                  <a:lnTo>
                    <a:pt x="2354" y="2021"/>
                  </a:lnTo>
                  <a:lnTo>
                    <a:pt x="2347" y="2020"/>
                  </a:lnTo>
                  <a:lnTo>
                    <a:pt x="2340" y="2016"/>
                  </a:lnTo>
                  <a:lnTo>
                    <a:pt x="2336" y="2010"/>
                  </a:lnTo>
                  <a:lnTo>
                    <a:pt x="2334" y="2001"/>
                  </a:lnTo>
                  <a:lnTo>
                    <a:pt x="2334" y="1897"/>
                  </a:lnTo>
                  <a:lnTo>
                    <a:pt x="2336" y="1888"/>
                  </a:lnTo>
                  <a:lnTo>
                    <a:pt x="2340" y="1882"/>
                  </a:lnTo>
                  <a:lnTo>
                    <a:pt x="2347" y="1878"/>
                  </a:lnTo>
                  <a:lnTo>
                    <a:pt x="2354" y="1877"/>
                  </a:lnTo>
                  <a:lnTo>
                    <a:pt x="2362" y="1878"/>
                  </a:lnTo>
                  <a:lnTo>
                    <a:pt x="2368" y="1882"/>
                  </a:lnTo>
                  <a:lnTo>
                    <a:pt x="2372" y="1888"/>
                  </a:lnTo>
                  <a:lnTo>
                    <a:pt x="2375" y="1897"/>
                  </a:lnTo>
                  <a:close/>
                  <a:moveTo>
                    <a:pt x="2589" y="1897"/>
                  </a:moveTo>
                  <a:lnTo>
                    <a:pt x="2589" y="2001"/>
                  </a:lnTo>
                  <a:lnTo>
                    <a:pt x="2588" y="2010"/>
                  </a:lnTo>
                  <a:lnTo>
                    <a:pt x="2583" y="2016"/>
                  </a:lnTo>
                  <a:lnTo>
                    <a:pt x="2576" y="2020"/>
                  </a:lnTo>
                  <a:lnTo>
                    <a:pt x="2570" y="2021"/>
                  </a:lnTo>
                  <a:lnTo>
                    <a:pt x="2562" y="2020"/>
                  </a:lnTo>
                  <a:lnTo>
                    <a:pt x="2556" y="2016"/>
                  </a:lnTo>
                  <a:lnTo>
                    <a:pt x="2550" y="2010"/>
                  </a:lnTo>
                  <a:lnTo>
                    <a:pt x="2549" y="2001"/>
                  </a:lnTo>
                  <a:lnTo>
                    <a:pt x="2549" y="1897"/>
                  </a:lnTo>
                  <a:lnTo>
                    <a:pt x="2550" y="1888"/>
                  </a:lnTo>
                  <a:lnTo>
                    <a:pt x="2556" y="1882"/>
                  </a:lnTo>
                  <a:lnTo>
                    <a:pt x="2562" y="1878"/>
                  </a:lnTo>
                  <a:lnTo>
                    <a:pt x="2570" y="1877"/>
                  </a:lnTo>
                  <a:lnTo>
                    <a:pt x="2576" y="1878"/>
                  </a:lnTo>
                  <a:lnTo>
                    <a:pt x="2583" y="1882"/>
                  </a:lnTo>
                  <a:lnTo>
                    <a:pt x="2588" y="1888"/>
                  </a:lnTo>
                  <a:lnTo>
                    <a:pt x="2589" y="1897"/>
                  </a:lnTo>
                  <a:close/>
                  <a:moveTo>
                    <a:pt x="2804" y="1897"/>
                  </a:moveTo>
                  <a:lnTo>
                    <a:pt x="2804" y="2001"/>
                  </a:lnTo>
                  <a:lnTo>
                    <a:pt x="2803" y="2010"/>
                  </a:lnTo>
                  <a:lnTo>
                    <a:pt x="2798" y="2016"/>
                  </a:lnTo>
                  <a:lnTo>
                    <a:pt x="2792" y="2020"/>
                  </a:lnTo>
                  <a:lnTo>
                    <a:pt x="2784" y="2021"/>
                  </a:lnTo>
                  <a:lnTo>
                    <a:pt x="2777" y="2020"/>
                  </a:lnTo>
                  <a:lnTo>
                    <a:pt x="2771" y="2016"/>
                  </a:lnTo>
                  <a:lnTo>
                    <a:pt x="2766" y="2010"/>
                  </a:lnTo>
                  <a:lnTo>
                    <a:pt x="2765" y="2001"/>
                  </a:lnTo>
                  <a:lnTo>
                    <a:pt x="2765" y="1897"/>
                  </a:lnTo>
                  <a:lnTo>
                    <a:pt x="2766" y="1888"/>
                  </a:lnTo>
                  <a:lnTo>
                    <a:pt x="2771" y="1882"/>
                  </a:lnTo>
                  <a:lnTo>
                    <a:pt x="2777" y="1878"/>
                  </a:lnTo>
                  <a:lnTo>
                    <a:pt x="2784" y="1877"/>
                  </a:lnTo>
                  <a:lnTo>
                    <a:pt x="2792" y="1878"/>
                  </a:lnTo>
                  <a:lnTo>
                    <a:pt x="2798" y="1882"/>
                  </a:lnTo>
                  <a:lnTo>
                    <a:pt x="2803" y="1888"/>
                  </a:lnTo>
                  <a:lnTo>
                    <a:pt x="2804" y="1897"/>
                  </a:lnTo>
                  <a:close/>
                  <a:moveTo>
                    <a:pt x="2375" y="2245"/>
                  </a:moveTo>
                  <a:lnTo>
                    <a:pt x="2375" y="2349"/>
                  </a:lnTo>
                  <a:lnTo>
                    <a:pt x="2372" y="2358"/>
                  </a:lnTo>
                  <a:lnTo>
                    <a:pt x="2368" y="2364"/>
                  </a:lnTo>
                  <a:lnTo>
                    <a:pt x="2362" y="2368"/>
                  </a:lnTo>
                  <a:lnTo>
                    <a:pt x="2354" y="2369"/>
                  </a:lnTo>
                  <a:lnTo>
                    <a:pt x="2347" y="2368"/>
                  </a:lnTo>
                  <a:lnTo>
                    <a:pt x="2340" y="2364"/>
                  </a:lnTo>
                  <a:lnTo>
                    <a:pt x="2336" y="2358"/>
                  </a:lnTo>
                  <a:lnTo>
                    <a:pt x="2334" y="2349"/>
                  </a:lnTo>
                  <a:lnTo>
                    <a:pt x="2334" y="2245"/>
                  </a:lnTo>
                  <a:lnTo>
                    <a:pt x="2336" y="2236"/>
                  </a:lnTo>
                  <a:lnTo>
                    <a:pt x="2340" y="2230"/>
                  </a:lnTo>
                  <a:lnTo>
                    <a:pt x="2347" y="2226"/>
                  </a:lnTo>
                  <a:lnTo>
                    <a:pt x="2354" y="2225"/>
                  </a:lnTo>
                  <a:lnTo>
                    <a:pt x="2362" y="2226"/>
                  </a:lnTo>
                  <a:lnTo>
                    <a:pt x="2368" y="2230"/>
                  </a:lnTo>
                  <a:lnTo>
                    <a:pt x="2372" y="2236"/>
                  </a:lnTo>
                  <a:lnTo>
                    <a:pt x="2375" y="2245"/>
                  </a:lnTo>
                  <a:close/>
                  <a:moveTo>
                    <a:pt x="2589" y="2245"/>
                  </a:moveTo>
                  <a:lnTo>
                    <a:pt x="2589" y="2349"/>
                  </a:lnTo>
                  <a:lnTo>
                    <a:pt x="2588" y="2358"/>
                  </a:lnTo>
                  <a:lnTo>
                    <a:pt x="2583" y="2364"/>
                  </a:lnTo>
                  <a:lnTo>
                    <a:pt x="2576" y="2368"/>
                  </a:lnTo>
                  <a:lnTo>
                    <a:pt x="2570" y="2369"/>
                  </a:lnTo>
                  <a:lnTo>
                    <a:pt x="2562" y="2368"/>
                  </a:lnTo>
                  <a:lnTo>
                    <a:pt x="2556" y="2364"/>
                  </a:lnTo>
                  <a:lnTo>
                    <a:pt x="2550" y="2358"/>
                  </a:lnTo>
                  <a:lnTo>
                    <a:pt x="2549" y="2349"/>
                  </a:lnTo>
                  <a:lnTo>
                    <a:pt x="2549" y="2245"/>
                  </a:lnTo>
                  <a:lnTo>
                    <a:pt x="2550" y="2236"/>
                  </a:lnTo>
                  <a:lnTo>
                    <a:pt x="2556" y="2230"/>
                  </a:lnTo>
                  <a:lnTo>
                    <a:pt x="2562" y="2226"/>
                  </a:lnTo>
                  <a:lnTo>
                    <a:pt x="2570" y="2225"/>
                  </a:lnTo>
                  <a:lnTo>
                    <a:pt x="2576" y="2226"/>
                  </a:lnTo>
                  <a:lnTo>
                    <a:pt x="2583" y="2230"/>
                  </a:lnTo>
                  <a:lnTo>
                    <a:pt x="2588" y="2236"/>
                  </a:lnTo>
                  <a:lnTo>
                    <a:pt x="2589" y="2245"/>
                  </a:lnTo>
                  <a:close/>
                  <a:moveTo>
                    <a:pt x="2804" y="2245"/>
                  </a:moveTo>
                  <a:lnTo>
                    <a:pt x="2804" y="2349"/>
                  </a:lnTo>
                  <a:lnTo>
                    <a:pt x="2803" y="2358"/>
                  </a:lnTo>
                  <a:lnTo>
                    <a:pt x="2798" y="2364"/>
                  </a:lnTo>
                  <a:lnTo>
                    <a:pt x="2792" y="2368"/>
                  </a:lnTo>
                  <a:lnTo>
                    <a:pt x="2784" y="2369"/>
                  </a:lnTo>
                  <a:lnTo>
                    <a:pt x="2777" y="2368"/>
                  </a:lnTo>
                  <a:lnTo>
                    <a:pt x="2771" y="2364"/>
                  </a:lnTo>
                  <a:lnTo>
                    <a:pt x="2766" y="2358"/>
                  </a:lnTo>
                  <a:lnTo>
                    <a:pt x="2765" y="2349"/>
                  </a:lnTo>
                  <a:lnTo>
                    <a:pt x="2765" y="2245"/>
                  </a:lnTo>
                  <a:lnTo>
                    <a:pt x="2766" y="2236"/>
                  </a:lnTo>
                  <a:lnTo>
                    <a:pt x="2771" y="2230"/>
                  </a:lnTo>
                  <a:lnTo>
                    <a:pt x="2777" y="2226"/>
                  </a:lnTo>
                  <a:lnTo>
                    <a:pt x="2784" y="2225"/>
                  </a:lnTo>
                  <a:lnTo>
                    <a:pt x="2792" y="2226"/>
                  </a:lnTo>
                  <a:lnTo>
                    <a:pt x="2798" y="2230"/>
                  </a:lnTo>
                  <a:lnTo>
                    <a:pt x="2803" y="2236"/>
                  </a:lnTo>
                  <a:lnTo>
                    <a:pt x="2804" y="2245"/>
                  </a:lnTo>
                  <a:close/>
                  <a:moveTo>
                    <a:pt x="2375" y="2593"/>
                  </a:moveTo>
                  <a:lnTo>
                    <a:pt x="2375" y="2696"/>
                  </a:lnTo>
                  <a:lnTo>
                    <a:pt x="2372" y="2705"/>
                  </a:lnTo>
                  <a:lnTo>
                    <a:pt x="2368" y="2712"/>
                  </a:lnTo>
                  <a:lnTo>
                    <a:pt x="2362" y="2716"/>
                  </a:lnTo>
                  <a:lnTo>
                    <a:pt x="2354" y="2717"/>
                  </a:lnTo>
                  <a:lnTo>
                    <a:pt x="2347" y="2716"/>
                  </a:lnTo>
                  <a:lnTo>
                    <a:pt x="2340" y="2712"/>
                  </a:lnTo>
                  <a:lnTo>
                    <a:pt x="2336" y="2705"/>
                  </a:lnTo>
                  <a:lnTo>
                    <a:pt x="2334" y="2696"/>
                  </a:lnTo>
                  <a:lnTo>
                    <a:pt x="2334" y="2593"/>
                  </a:lnTo>
                  <a:lnTo>
                    <a:pt x="2336" y="2584"/>
                  </a:lnTo>
                  <a:lnTo>
                    <a:pt x="2340" y="2578"/>
                  </a:lnTo>
                  <a:lnTo>
                    <a:pt x="2347" y="2574"/>
                  </a:lnTo>
                  <a:lnTo>
                    <a:pt x="2354" y="2572"/>
                  </a:lnTo>
                  <a:lnTo>
                    <a:pt x="2362" y="2574"/>
                  </a:lnTo>
                  <a:lnTo>
                    <a:pt x="2368" y="2578"/>
                  </a:lnTo>
                  <a:lnTo>
                    <a:pt x="2372" y="2584"/>
                  </a:lnTo>
                  <a:lnTo>
                    <a:pt x="2375" y="2593"/>
                  </a:lnTo>
                  <a:close/>
                  <a:moveTo>
                    <a:pt x="2589" y="2593"/>
                  </a:moveTo>
                  <a:lnTo>
                    <a:pt x="2589" y="2696"/>
                  </a:lnTo>
                  <a:lnTo>
                    <a:pt x="2588" y="2705"/>
                  </a:lnTo>
                  <a:lnTo>
                    <a:pt x="2583" y="2712"/>
                  </a:lnTo>
                  <a:lnTo>
                    <a:pt x="2576" y="2716"/>
                  </a:lnTo>
                  <a:lnTo>
                    <a:pt x="2570" y="2717"/>
                  </a:lnTo>
                  <a:lnTo>
                    <a:pt x="2562" y="2716"/>
                  </a:lnTo>
                  <a:lnTo>
                    <a:pt x="2556" y="2712"/>
                  </a:lnTo>
                  <a:lnTo>
                    <a:pt x="2550" y="2705"/>
                  </a:lnTo>
                  <a:lnTo>
                    <a:pt x="2549" y="2696"/>
                  </a:lnTo>
                  <a:lnTo>
                    <a:pt x="2549" y="2593"/>
                  </a:lnTo>
                  <a:lnTo>
                    <a:pt x="2550" y="2584"/>
                  </a:lnTo>
                  <a:lnTo>
                    <a:pt x="2556" y="2578"/>
                  </a:lnTo>
                  <a:lnTo>
                    <a:pt x="2562" y="2574"/>
                  </a:lnTo>
                  <a:lnTo>
                    <a:pt x="2570" y="2572"/>
                  </a:lnTo>
                  <a:lnTo>
                    <a:pt x="2576" y="2574"/>
                  </a:lnTo>
                  <a:lnTo>
                    <a:pt x="2583" y="2578"/>
                  </a:lnTo>
                  <a:lnTo>
                    <a:pt x="2588" y="2584"/>
                  </a:lnTo>
                  <a:lnTo>
                    <a:pt x="2589" y="2593"/>
                  </a:lnTo>
                  <a:close/>
                  <a:moveTo>
                    <a:pt x="2804" y="2593"/>
                  </a:moveTo>
                  <a:lnTo>
                    <a:pt x="2804" y="2696"/>
                  </a:lnTo>
                  <a:lnTo>
                    <a:pt x="2803" y="2705"/>
                  </a:lnTo>
                  <a:lnTo>
                    <a:pt x="2798" y="2712"/>
                  </a:lnTo>
                  <a:lnTo>
                    <a:pt x="2792" y="2716"/>
                  </a:lnTo>
                  <a:lnTo>
                    <a:pt x="2784" y="2717"/>
                  </a:lnTo>
                  <a:lnTo>
                    <a:pt x="2777" y="2716"/>
                  </a:lnTo>
                  <a:lnTo>
                    <a:pt x="2771" y="2712"/>
                  </a:lnTo>
                  <a:lnTo>
                    <a:pt x="2766" y="2705"/>
                  </a:lnTo>
                  <a:lnTo>
                    <a:pt x="2765" y="2696"/>
                  </a:lnTo>
                  <a:lnTo>
                    <a:pt x="2765" y="2593"/>
                  </a:lnTo>
                  <a:lnTo>
                    <a:pt x="2766" y="2584"/>
                  </a:lnTo>
                  <a:lnTo>
                    <a:pt x="2771" y="2578"/>
                  </a:lnTo>
                  <a:lnTo>
                    <a:pt x="2777" y="2574"/>
                  </a:lnTo>
                  <a:lnTo>
                    <a:pt x="2784" y="2572"/>
                  </a:lnTo>
                  <a:lnTo>
                    <a:pt x="2792" y="2574"/>
                  </a:lnTo>
                  <a:lnTo>
                    <a:pt x="2798" y="2578"/>
                  </a:lnTo>
                  <a:lnTo>
                    <a:pt x="2803" y="2584"/>
                  </a:lnTo>
                  <a:lnTo>
                    <a:pt x="2804" y="2593"/>
                  </a:lnTo>
                  <a:close/>
                  <a:moveTo>
                    <a:pt x="2375" y="2941"/>
                  </a:moveTo>
                  <a:lnTo>
                    <a:pt x="2375" y="3044"/>
                  </a:lnTo>
                  <a:lnTo>
                    <a:pt x="2372" y="3053"/>
                  </a:lnTo>
                  <a:lnTo>
                    <a:pt x="2368" y="3060"/>
                  </a:lnTo>
                  <a:lnTo>
                    <a:pt x="2362" y="3063"/>
                  </a:lnTo>
                  <a:lnTo>
                    <a:pt x="2354" y="3065"/>
                  </a:lnTo>
                  <a:lnTo>
                    <a:pt x="2347" y="3063"/>
                  </a:lnTo>
                  <a:lnTo>
                    <a:pt x="2340" y="3060"/>
                  </a:lnTo>
                  <a:lnTo>
                    <a:pt x="2336" y="3053"/>
                  </a:lnTo>
                  <a:lnTo>
                    <a:pt x="2334" y="3044"/>
                  </a:lnTo>
                  <a:lnTo>
                    <a:pt x="2334" y="2941"/>
                  </a:lnTo>
                  <a:lnTo>
                    <a:pt x="2336" y="2932"/>
                  </a:lnTo>
                  <a:lnTo>
                    <a:pt x="2340" y="2925"/>
                  </a:lnTo>
                  <a:lnTo>
                    <a:pt x="2347" y="2922"/>
                  </a:lnTo>
                  <a:lnTo>
                    <a:pt x="2354" y="2920"/>
                  </a:lnTo>
                  <a:lnTo>
                    <a:pt x="2362" y="2922"/>
                  </a:lnTo>
                  <a:lnTo>
                    <a:pt x="2368" y="2925"/>
                  </a:lnTo>
                  <a:lnTo>
                    <a:pt x="2372" y="2932"/>
                  </a:lnTo>
                  <a:lnTo>
                    <a:pt x="2375" y="2941"/>
                  </a:lnTo>
                  <a:close/>
                  <a:moveTo>
                    <a:pt x="2589" y="2941"/>
                  </a:moveTo>
                  <a:lnTo>
                    <a:pt x="2589" y="3044"/>
                  </a:lnTo>
                  <a:lnTo>
                    <a:pt x="2588" y="3053"/>
                  </a:lnTo>
                  <a:lnTo>
                    <a:pt x="2583" y="3060"/>
                  </a:lnTo>
                  <a:lnTo>
                    <a:pt x="2576" y="3063"/>
                  </a:lnTo>
                  <a:lnTo>
                    <a:pt x="2570" y="3065"/>
                  </a:lnTo>
                  <a:lnTo>
                    <a:pt x="2562" y="3063"/>
                  </a:lnTo>
                  <a:lnTo>
                    <a:pt x="2556" y="3060"/>
                  </a:lnTo>
                  <a:lnTo>
                    <a:pt x="2550" y="3053"/>
                  </a:lnTo>
                  <a:lnTo>
                    <a:pt x="2549" y="3044"/>
                  </a:lnTo>
                  <a:lnTo>
                    <a:pt x="2549" y="2941"/>
                  </a:lnTo>
                  <a:lnTo>
                    <a:pt x="2550" y="2932"/>
                  </a:lnTo>
                  <a:lnTo>
                    <a:pt x="2556" y="2925"/>
                  </a:lnTo>
                  <a:lnTo>
                    <a:pt x="2562" y="2922"/>
                  </a:lnTo>
                  <a:lnTo>
                    <a:pt x="2570" y="2920"/>
                  </a:lnTo>
                  <a:lnTo>
                    <a:pt x="2576" y="2922"/>
                  </a:lnTo>
                  <a:lnTo>
                    <a:pt x="2583" y="2925"/>
                  </a:lnTo>
                  <a:lnTo>
                    <a:pt x="2588" y="2932"/>
                  </a:lnTo>
                  <a:lnTo>
                    <a:pt x="2589" y="2941"/>
                  </a:lnTo>
                  <a:close/>
                  <a:moveTo>
                    <a:pt x="2804" y="2941"/>
                  </a:moveTo>
                  <a:lnTo>
                    <a:pt x="2804" y="3044"/>
                  </a:lnTo>
                  <a:lnTo>
                    <a:pt x="2803" y="3053"/>
                  </a:lnTo>
                  <a:lnTo>
                    <a:pt x="2798" y="3060"/>
                  </a:lnTo>
                  <a:lnTo>
                    <a:pt x="2792" y="3063"/>
                  </a:lnTo>
                  <a:lnTo>
                    <a:pt x="2784" y="3065"/>
                  </a:lnTo>
                  <a:lnTo>
                    <a:pt x="2777" y="3063"/>
                  </a:lnTo>
                  <a:lnTo>
                    <a:pt x="2771" y="3060"/>
                  </a:lnTo>
                  <a:lnTo>
                    <a:pt x="2766" y="3053"/>
                  </a:lnTo>
                  <a:lnTo>
                    <a:pt x="2765" y="3044"/>
                  </a:lnTo>
                  <a:lnTo>
                    <a:pt x="2765" y="2941"/>
                  </a:lnTo>
                  <a:lnTo>
                    <a:pt x="2766" y="2932"/>
                  </a:lnTo>
                  <a:lnTo>
                    <a:pt x="2771" y="2925"/>
                  </a:lnTo>
                  <a:lnTo>
                    <a:pt x="2777" y="2922"/>
                  </a:lnTo>
                  <a:lnTo>
                    <a:pt x="2784" y="2920"/>
                  </a:lnTo>
                  <a:lnTo>
                    <a:pt x="2792" y="2922"/>
                  </a:lnTo>
                  <a:lnTo>
                    <a:pt x="2798" y="2925"/>
                  </a:lnTo>
                  <a:lnTo>
                    <a:pt x="2803" y="2932"/>
                  </a:lnTo>
                  <a:lnTo>
                    <a:pt x="2804" y="2941"/>
                  </a:lnTo>
                  <a:close/>
                  <a:moveTo>
                    <a:pt x="6888" y="1521"/>
                  </a:moveTo>
                  <a:lnTo>
                    <a:pt x="6778" y="1521"/>
                  </a:lnTo>
                  <a:lnTo>
                    <a:pt x="6778" y="1631"/>
                  </a:lnTo>
                  <a:lnTo>
                    <a:pt x="6888" y="1631"/>
                  </a:lnTo>
                  <a:lnTo>
                    <a:pt x="6888" y="1521"/>
                  </a:lnTo>
                  <a:close/>
                  <a:moveTo>
                    <a:pt x="7276" y="2772"/>
                  </a:moveTo>
                  <a:lnTo>
                    <a:pt x="7276" y="2585"/>
                  </a:lnTo>
                  <a:lnTo>
                    <a:pt x="7276" y="2277"/>
                  </a:lnTo>
                  <a:lnTo>
                    <a:pt x="7277" y="2271"/>
                  </a:lnTo>
                  <a:lnTo>
                    <a:pt x="7277" y="1671"/>
                  </a:lnTo>
                  <a:lnTo>
                    <a:pt x="6909" y="1671"/>
                  </a:lnTo>
                  <a:lnTo>
                    <a:pt x="6758" y="1671"/>
                  </a:lnTo>
                  <a:lnTo>
                    <a:pt x="6469" y="1671"/>
                  </a:lnTo>
                  <a:lnTo>
                    <a:pt x="6460" y="1670"/>
                  </a:lnTo>
                  <a:lnTo>
                    <a:pt x="6454" y="1665"/>
                  </a:lnTo>
                  <a:lnTo>
                    <a:pt x="6450" y="1658"/>
                  </a:lnTo>
                  <a:lnTo>
                    <a:pt x="6449" y="1652"/>
                  </a:lnTo>
                  <a:lnTo>
                    <a:pt x="6450" y="1644"/>
                  </a:lnTo>
                  <a:lnTo>
                    <a:pt x="6454" y="1638"/>
                  </a:lnTo>
                  <a:lnTo>
                    <a:pt x="6460" y="1633"/>
                  </a:lnTo>
                  <a:lnTo>
                    <a:pt x="6469" y="1631"/>
                  </a:lnTo>
                  <a:lnTo>
                    <a:pt x="6574" y="1631"/>
                  </a:lnTo>
                  <a:lnTo>
                    <a:pt x="6574" y="1488"/>
                  </a:lnTo>
                  <a:lnTo>
                    <a:pt x="6172" y="1488"/>
                  </a:lnTo>
                  <a:lnTo>
                    <a:pt x="6172" y="1631"/>
                  </a:lnTo>
                  <a:lnTo>
                    <a:pt x="6204" y="1631"/>
                  </a:lnTo>
                  <a:lnTo>
                    <a:pt x="6213" y="1633"/>
                  </a:lnTo>
                  <a:lnTo>
                    <a:pt x="6219" y="1638"/>
                  </a:lnTo>
                  <a:lnTo>
                    <a:pt x="6223" y="1644"/>
                  </a:lnTo>
                  <a:lnTo>
                    <a:pt x="6224" y="1652"/>
                  </a:lnTo>
                  <a:lnTo>
                    <a:pt x="6223" y="1658"/>
                  </a:lnTo>
                  <a:lnTo>
                    <a:pt x="6219" y="1665"/>
                  </a:lnTo>
                  <a:lnTo>
                    <a:pt x="6213" y="1670"/>
                  </a:lnTo>
                  <a:lnTo>
                    <a:pt x="6204" y="1671"/>
                  </a:lnTo>
                  <a:lnTo>
                    <a:pt x="6037" y="1671"/>
                  </a:lnTo>
                  <a:lnTo>
                    <a:pt x="6037" y="2332"/>
                  </a:lnTo>
                  <a:lnTo>
                    <a:pt x="6037" y="2993"/>
                  </a:lnTo>
                  <a:lnTo>
                    <a:pt x="6037" y="3654"/>
                  </a:lnTo>
                  <a:lnTo>
                    <a:pt x="6037" y="4317"/>
                  </a:lnTo>
                  <a:lnTo>
                    <a:pt x="6656" y="4317"/>
                  </a:lnTo>
                  <a:lnTo>
                    <a:pt x="7276" y="4317"/>
                  </a:lnTo>
                  <a:lnTo>
                    <a:pt x="7276" y="3544"/>
                  </a:lnTo>
                  <a:lnTo>
                    <a:pt x="7276" y="2772"/>
                  </a:lnTo>
                  <a:close/>
                  <a:moveTo>
                    <a:pt x="9050" y="2792"/>
                  </a:moveTo>
                  <a:lnTo>
                    <a:pt x="8182" y="2792"/>
                  </a:lnTo>
                  <a:lnTo>
                    <a:pt x="7315" y="2792"/>
                  </a:lnTo>
                  <a:lnTo>
                    <a:pt x="7315" y="3554"/>
                  </a:lnTo>
                  <a:lnTo>
                    <a:pt x="7315" y="4317"/>
                  </a:lnTo>
                  <a:lnTo>
                    <a:pt x="8182" y="4317"/>
                  </a:lnTo>
                  <a:lnTo>
                    <a:pt x="9050" y="4317"/>
                  </a:lnTo>
                  <a:lnTo>
                    <a:pt x="9050" y="3554"/>
                  </a:lnTo>
                  <a:lnTo>
                    <a:pt x="9050" y="2792"/>
                  </a:lnTo>
                  <a:close/>
                  <a:moveTo>
                    <a:pt x="8412" y="2258"/>
                  </a:moveTo>
                  <a:lnTo>
                    <a:pt x="8412" y="2135"/>
                  </a:lnTo>
                  <a:lnTo>
                    <a:pt x="8413" y="2127"/>
                  </a:lnTo>
                  <a:lnTo>
                    <a:pt x="8418" y="2121"/>
                  </a:lnTo>
                  <a:lnTo>
                    <a:pt x="8425" y="2117"/>
                  </a:lnTo>
                  <a:lnTo>
                    <a:pt x="8432" y="2116"/>
                  </a:lnTo>
                  <a:lnTo>
                    <a:pt x="8677" y="2116"/>
                  </a:lnTo>
                  <a:lnTo>
                    <a:pt x="8685" y="2117"/>
                  </a:lnTo>
                  <a:lnTo>
                    <a:pt x="8691" y="2121"/>
                  </a:lnTo>
                  <a:lnTo>
                    <a:pt x="8695" y="2127"/>
                  </a:lnTo>
                  <a:lnTo>
                    <a:pt x="8698" y="2135"/>
                  </a:lnTo>
                  <a:lnTo>
                    <a:pt x="8698" y="2258"/>
                  </a:lnTo>
                  <a:lnTo>
                    <a:pt x="8853" y="2258"/>
                  </a:lnTo>
                  <a:lnTo>
                    <a:pt x="8868" y="2266"/>
                  </a:lnTo>
                  <a:lnTo>
                    <a:pt x="9089" y="2565"/>
                  </a:lnTo>
                  <a:lnTo>
                    <a:pt x="9100" y="2565"/>
                  </a:lnTo>
                  <a:lnTo>
                    <a:pt x="9108" y="2566"/>
                  </a:lnTo>
                  <a:lnTo>
                    <a:pt x="9114" y="2571"/>
                  </a:lnTo>
                  <a:lnTo>
                    <a:pt x="9120" y="2578"/>
                  </a:lnTo>
                  <a:lnTo>
                    <a:pt x="9121" y="2585"/>
                  </a:lnTo>
                  <a:lnTo>
                    <a:pt x="9121" y="2772"/>
                  </a:lnTo>
                  <a:lnTo>
                    <a:pt x="9120" y="2780"/>
                  </a:lnTo>
                  <a:lnTo>
                    <a:pt x="9114" y="2786"/>
                  </a:lnTo>
                  <a:lnTo>
                    <a:pt x="9108" y="2791"/>
                  </a:lnTo>
                  <a:lnTo>
                    <a:pt x="9100" y="2792"/>
                  </a:lnTo>
                  <a:lnTo>
                    <a:pt x="9090" y="2792"/>
                  </a:lnTo>
                  <a:lnTo>
                    <a:pt x="9090" y="3563"/>
                  </a:lnTo>
                  <a:lnTo>
                    <a:pt x="9090" y="4336"/>
                  </a:lnTo>
                  <a:lnTo>
                    <a:pt x="9089" y="4343"/>
                  </a:lnTo>
                  <a:lnTo>
                    <a:pt x="9084" y="4350"/>
                  </a:lnTo>
                  <a:lnTo>
                    <a:pt x="9077" y="4355"/>
                  </a:lnTo>
                  <a:lnTo>
                    <a:pt x="9070" y="4356"/>
                  </a:lnTo>
                  <a:lnTo>
                    <a:pt x="8184" y="4356"/>
                  </a:lnTo>
                  <a:lnTo>
                    <a:pt x="7297" y="4356"/>
                  </a:lnTo>
                  <a:lnTo>
                    <a:pt x="7295" y="4356"/>
                  </a:lnTo>
                  <a:lnTo>
                    <a:pt x="6656" y="4356"/>
                  </a:lnTo>
                  <a:lnTo>
                    <a:pt x="6018" y="4356"/>
                  </a:lnTo>
                  <a:lnTo>
                    <a:pt x="6010" y="4355"/>
                  </a:lnTo>
                  <a:lnTo>
                    <a:pt x="6004" y="4350"/>
                  </a:lnTo>
                  <a:lnTo>
                    <a:pt x="5999" y="4343"/>
                  </a:lnTo>
                  <a:lnTo>
                    <a:pt x="5997" y="4336"/>
                  </a:lnTo>
                  <a:lnTo>
                    <a:pt x="5997" y="3664"/>
                  </a:lnTo>
                  <a:lnTo>
                    <a:pt x="5997" y="2993"/>
                  </a:lnTo>
                  <a:lnTo>
                    <a:pt x="5997" y="2322"/>
                  </a:lnTo>
                  <a:lnTo>
                    <a:pt x="5997" y="1652"/>
                  </a:lnTo>
                  <a:lnTo>
                    <a:pt x="5999" y="1644"/>
                  </a:lnTo>
                  <a:lnTo>
                    <a:pt x="6004" y="1638"/>
                  </a:lnTo>
                  <a:lnTo>
                    <a:pt x="6010" y="1633"/>
                  </a:lnTo>
                  <a:lnTo>
                    <a:pt x="6018" y="1631"/>
                  </a:lnTo>
                  <a:lnTo>
                    <a:pt x="6132" y="1631"/>
                  </a:lnTo>
                  <a:lnTo>
                    <a:pt x="6132" y="1469"/>
                  </a:lnTo>
                  <a:lnTo>
                    <a:pt x="6133" y="1461"/>
                  </a:lnTo>
                  <a:lnTo>
                    <a:pt x="6138" y="1455"/>
                  </a:lnTo>
                  <a:lnTo>
                    <a:pt x="6145" y="1451"/>
                  </a:lnTo>
                  <a:lnTo>
                    <a:pt x="6152" y="1448"/>
                  </a:lnTo>
                  <a:lnTo>
                    <a:pt x="6595" y="1448"/>
                  </a:lnTo>
                  <a:lnTo>
                    <a:pt x="6602" y="1451"/>
                  </a:lnTo>
                  <a:lnTo>
                    <a:pt x="6609" y="1455"/>
                  </a:lnTo>
                  <a:lnTo>
                    <a:pt x="6613" y="1461"/>
                  </a:lnTo>
                  <a:lnTo>
                    <a:pt x="6614" y="1469"/>
                  </a:lnTo>
                  <a:lnTo>
                    <a:pt x="6614" y="1631"/>
                  </a:lnTo>
                  <a:lnTo>
                    <a:pt x="6738" y="1631"/>
                  </a:lnTo>
                  <a:lnTo>
                    <a:pt x="6738" y="1501"/>
                  </a:lnTo>
                  <a:lnTo>
                    <a:pt x="6740" y="1493"/>
                  </a:lnTo>
                  <a:lnTo>
                    <a:pt x="6744" y="1487"/>
                  </a:lnTo>
                  <a:lnTo>
                    <a:pt x="6750" y="1483"/>
                  </a:lnTo>
                  <a:lnTo>
                    <a:pt x="6758" y="1480"/>
                  </a:lnTo>
                  <a:lnTo>
                    <a:pt x="6909" y="1480"/>
                  </a:lnTo>
                  <a:lnTo>
                    <a:pt x="6917" y="1483"/>
                  </a:lnTo>
                  <a:lnTo>
                    <a:pt x="6923" y="1487"/>
                  </a:lnTo>
                  <a:lnTo>
                    <a:pt x="6927" y="1493"/>
                  </a:lnTo>
                  <a:lnTo>
                    <a:pt x="6928" y="1501"/>
                  </a:lnTo>
                  <a:lnTo>
                    <a:pt x="6928" y="1631"/>
                  </a:lnTo>
                  <a:lnTo>
                    <a:pt x="7297" y="1631"/>
                  </a:lnTo>
                  <a:lnTo>
                    <a:pt x="7305" y="1633"/>
                  </a:lnTo>
                  <a:lnTo>
                    <a:pt x="7312" y="1638"/>
                  </a:lnTo>
                  <a:lnTo>
                    <a:pt x="7315" y="1644"/>
                  </a:lnTo>
                  <a:lnTo>
                    <a:pt x="7317" y="1652"/>
                  </a:lnTo>
                  <a:lnTo>
                    <a:pt x="7317" y="2258"/>
                  </a:lnTo>
                  <a:lnTo>
                    <a:pt x="7864" y="2258"/>
                  </a:lnTo>
                  <a:lnTo>
                    <a:pt x="8412" y="2258"/>
                  </a:lnTo>
                  <a:close/>
                  <a:moveTo>
                    <a:pt x="8657" y="2258"/>
                  </a:moveTo>
                  <a:lnTo>
                    <a:pt x="8657" y="2156"/>
                  </a:lnTo>
                  <a:lnTo>
                    <a:pt x="8452" y="2156"/>
                  </a:lnTo>
                  <a:lnTo>
                    <a:pt x="8452" y="2258"/>
                  </a:lnTo>
                  <a:lnTo>
                    <a:pt x="8482" y="2258"/>
                  </a:lnTo>
                  <a:lnTo>
                    <a:pt x="8491" y="2259"/>
                  </a:lnTo>
                  <a:lnTo>
                    <a:pt x="8496" y="2264"/>
                  </a:lnTo>
                  <a:lnTo>
                    <a:pt x="8500" y="2271"/>
                  </a:lnTo>
                  <a:lnTo>
                    <a:pt x="8502" y="2277"/>
                  </a:lnTo>
                  <a:lnTo>
                    <a:pt x="8500" y="2285"/>
                  </a:lnTo>
                  <a:lnTo>
                    <a:pt x="8496" y="2291"/>
                  </a:lnTo>
                  <a:lnTo>
                    <a:pt x="8491" y="2296"/>
                  </a:lnTo>
                  <a:lnTo>
                    <a:pt x="8482" y="2298"/>
                  </a:lnTo>
                  <a:lnTo>
                    <a:pt x="7899" y="2298"/>
                  </a:lnTo>
                  <a:lnTo>
                    <a:pt x="7315" y="2298"/>
                  </a:lnTo>
                  <a:lnTo>
                    <a:pt x="7315" y="2565"/>
                  </a:lnTo>
                  <a:lnTo>
                    <a:pt x="8177" y="2565"/>
                  </a:lnTo>
                  <a:lnTo>
                    <a:pt x="9039" y="2565"/>
                  </a:lnTo>
                  <a:lnTo>
                    <a:pt x="8843" y="2298"/>
                  </a:lnTo>
                  <a:lnTo>
                    <a:pt x="8637" y="2298"/>
                  </a:lnTo>
                  <a:lnTo>
                    <a:pt x="8630" y="2296"/>
                  </a:lnTo>
                  <a:lnTo>
                    <a:pt x="8623" y="2291"/>
                  </a:lnTo>
                  <a:lnTo>
                    <a:pt x="8619" y="2285"/>
                  </a:lnTo>
                  <a:lnTo>
                    <a:pt x="8618" y="2277"/>
                  </a:lnTo>
                  <a:lnTo>
                    <a:pt x="8619" y="2271"/>
                  </a:lnTo>
                  <a:lnTo>
                    <a:pt x="8623" y="2264"/>
                  </a:lnTo>
                  <a:lnTo>
                    <a:pt x="8630" y="2259"/>
                  </a:lnTo>
                  <a:lnTo>
                    <a:pt x="8637" y="2258"/>
                  </a:lnTo>
                  <a:lnTo>
                    <a:pt x="8657" y="2258"/>
                  </a:lnTo>
                  <a:close/>
                  <a:moveTo>
                    <a:pt x="9075" y="2604"/>
                  </a:moveTo>
                  <a:lnTo>
                    <a:pt x="8195" y="2604"/>
                  </a:lnTo>
                  <a:lnTo>
                    <a:pt x="7315" y="2604"/>
                  </a:lnTo>
                  <a:lnTo>
                    <a:pt x="7315" y="2753"/>
                  </a:lnTo>
                  <a:lnTo>
                    <a:pt x="8192" y="2753"/>
                  </a:lnTo>
                  <a:lnTo>
                    <a:pt x="9070" y="2753"/>
                  </a:lnTo>
                  <a:lnTo>
                    <a:pt x="9081" y="2753"/>
                  </a:lnTo>
                  <a:lnTo>
                    <a:pt x="9081" y="2604"/>
                  </a:lnTo>
                  <a:lnTo>
                    <a:pt x="9075" y="2604"/>
                  </a:lnTo>
                  <a:close/>
                  <a:moveTo>
                    <a:pt x="6236" y="1893"/>
                  </a:moveTo>
                  <a:lnTo>
                    <a:pt x="6369" y="1893"/>
                  </a:lnTo>
                  <a:lnTo>
                    <a:pt x="6378" y="1895"/>
                  </a:lnTo>
                  <a:lnTo>
                    <a:pt x="6384" y="1900"/>
                  </a:lnTo>
                  <a:lnTo>
                    <a:pt x="6387" y="1906"/>
                  </a:lnTo>
                  <a:lnTo>
                    <a:pt x="6388" y="1913"/>
                  </a:lnTo>
                  <a:lnTo>
                    <a:pt x="6387" y="1920"/>
                  </a:lnTo>
                  <a:lnTo>
                    <a:pt x="6384" y="1927"/>
                  </a:lnTo>
                  <a:lnTo>
                    <a:pt x="6378" y="1932"/>
                  </a:lnTo>
                  <a:lnTo>
                    <a:pt x="6369" y="1933"/>
                  </a:lnTo>
                  <a:lnTo>
                    <a:pt x="6236" y="1933"/>
                  </a:lnTo>
                  <a:lnTo>
                    <a:pt x="6227" y="1932"/>
                  </a:lnTo>
                  <a:lnTo>
                    <a:pt x="6220" y="1927"/>
                  </a:lnTo>
                  <a:lnTo>
                    <a:pt x="6216" y="1920"/>
                  </a:lnTo>
                  <a:lnTo>
                    <a:pt x="6215" y="1913"/>
                  </a:lnTo>
                  <a:lnTo>
                    <a:pt x="6216" y="1906"/>
                  </a:lnTo>
                  <a:lnTo>
                    <a:pt x="6220" y="1900"/>
                  </a:lnTo>
                  <a:lnTo>
                    <a:pt x="6227" y="1895"/>
                  </a:lnTo>
                  <a:lnTo>
                    <a:pt x="6236" y="1893"/>
                  </a:lnTo>
                  <a:close/>
                  <a:moveTo>
                    <a:pt x="6472" y="1893"/>
                  </a:moveTo>
                  <a:lnTo>
                    <a:pt x="6605" y="1893"/>
                  </a:lnTo>
                  <a:lnTo>
                    <a:pt x="6614" y="1895"/>
                  </a:lnTo>
                  <a:lnTo>
                    <a:pt x="6620" y="1900"/>
                  </a:lnTo>
                  <a:lnTo>
                    <a:pt x="6624" y="1906"/>
                  </a:lnTo>
                  <a:lnTo>
                    <a:pt x="6626" y="1913"/>
                  </a:lnTo>
                  <a:lnTo>
                    <a:pt x="6624" y="1920"/>
                  </a:lnTo>
                  <a:lnTo>
                    <a:pt x="6620" y="1927"/>
                  </a:lnTo>
                  <a:lnTo>
                    <a:pt x="6614" y="1932"/>
                  </a:lnTo>
                  <a:lnTo>
                    <a:pt x="6605" y="1933"/>
                  </a:lnTo>
                  <a:lnTo>
                    <a:pt x="6472" y="1933"/>
                  </a:lnTo>
                  <a:lnTo>
                    <a:pt x="6464" y="1932"/>
                  </a:lnTo>
                  <a:lnTo>
                    <a:pt x="6458" y="1927"/>
                  </a:lnTo>
                  <a:lnTo>
                    <a:pt x="6454" y="1920"/>
                  </a:lnTo>
                  <a:lnTo>
                    <a:pt x="6452" y="1913"/>
                  </a:lnTo>
                  <a:lnTo>
                    <a:pt x="6454" y="1906"/>
                  </a:lnTo>
                  <a:lnTo>
                    <a:pt x="6458" y="1900"/>
                  </a:lnTo>
                  <a:lnTo>
                    <a:pt x="6464" y="1895"/>
                  </a:lnTo>
                  <a:lnTo>
                    <a:pt x="6472" y="1893"/>
                  </a:lnTo>
                  <a:close/>
                  <a:moveTo>
                    <a:pt x="6709" y="1893"/>
                  </a:moveTo>
                  <a:lnTo>
                    <a:pt x="6842" y="1893"/>
                  </a:lnTo>
                  <a:lnTo>
                    <a:pt x="6851" y="1895"/>
                  </a:lnTo>
                  <a:lnTo>
                    <a:pt x="6858" y="1900"/>
                  </a:lnTo>
                  <a:lnTo>
                    <a:pt x="6861" y="1906"/>
                  </a:lnTo>
                  <a:lnTo>
                    <a:pt x="6863" y="1913"/>
                  </a:lnTo>
                  <a:lnTo>
                    <a:pt x="6861" y="1920"/>
                  </a:lnTo>
                  <a:lnTo>
                    <a:pt x="6858" y="1927"/>
                  </a:lnTo>
                  <a:lnTo>
                    <a:pt x="6851" y="1932"/>
                  </a:lnTo>
                  <a:lnTo>
                    <a:pt x="6842" y="1933"/>
                  </a:lnTo>
                  <a:lnTo>
                    <a:pt x="6709" y="1933"/>
                  </a:lnTo>
                  <a:lnTo>
                    <a:pt x="6700" y="1932"/>
                  </a:lnTo>
                  <a:lnTo>
                    <a:pt x="6693" y="1927"/>
                  </a:lnTo>
                  <a:lnTo>
                    <a:pt x="6690" y="1920"/>
                  </a:lnTo>
                  <a:lnTo>
                    <a:pt x="6688" y="1913"/>
                  </a:lnTo>
                  <a:lnTo>
                    <a:pt x="6690" y="1906"/>
                  </a:lnTo>
                  <a:lnTo>
                    <a:pt x="6693" y="1900"/>
                  </a:lnTo>
                  <a:lnTo>
                    <a:pt x="6700" y="1895"/>
                  </a:lnTo>
                  <a:lnTo>
                    <a:pt x="6709" y="1893"/>
                  </a:lnTo>
                  <a:close/>
                  <a:moveTo>
                    <a:pt x="6946" y="1893"/>
                  </a:moveTo>
                  <a:lnTo>
                    <a:pt x="7078" y="1893"/>
                  </a:lnTo>
                  <a:lnTo>
                    <a:pt x="7087" y="1895"/>
                  </a:lnTo>
                  <a:lnTo>
                    <a:pt x="7094" y="1900"/>
                  </a:lnTo>
                  <a:lnTo>
                    <a:pt x="7097" y="1906"/>
                  </a:lnTo>
                  <a:lnTo>
                    <a:pt x="7099" y="1913"/>
                  </a:lnTo>
                  <a:lnTo>
                    <a:pt x="7097" y="1920"/>
                  </a:lnTo>
                  <a:lnTo>
                    <a:pt x="7094" y="1927"/>
                  </a:lnTo>
                  <a:lnTo>
                    <a:pt x="7087" y="1932"/>
                  </a:lnTo>
                  <a:lnTo>
                    <a:pt x="7078" y="1933"/>
                  </a:lnTo>
                  <a:lnTo>
                    <a:pt x="6946" y="1933"/>
                  </a:lnTo>
                  <a:lnTo>
                    <a:pt x="6937" y="1932"/>
                  </a:lnTo>
                  <a:lnTo>
                    <a:pt x="6931" y="1927"/>
                  </a:lnTo>
                  <a:lnTo>
                    <a:pt x="6927" y="1920"/>
                  </a:lnTo>
                  <a:lnTo>
                    <a:pt x="6926" y="1913"/>
                  </a:lnTo>
                  <a:lnTo>
                    <a:pt x="6927" y="1906"/>
                  </a:lnTo>
                  <a:lnTo>
                    <a:pt x="6931" y="1900"/>
                  </a:lnTo>
                  <a:lnTo>
                    <a:pt x="6937" y="1895"/>
                  </a:lnTo>
                  <a:lnTo>
                    <a:pt x="6946" y="1893"/>
                  </a:lnTo>
                  <a:close/>
                  <a:moveTo>
                    <a:pt x="6236" y="2156"/>
                  </a:moveTo>
                  <a:lnTo>
                    <a:pt x="6369" y="2156"/>
                  </a:lnTo>
                  <a:lnTo>
                    <a:pt x="6378" y="2158"/>
                  </a:lnTo>
                  <a:lnTo>
                    <a:pt x="6384" y="2162"/>
                  </a:lnTo>
                  <a:lnTo>
                    <a:pt x="6387" y="2168"/>
                  </a:lnTo>
                  <a:lnTo>
                    <a:pt x="6388" y="2176"/>
                  </a:lnTo>
                  <a:lnTo>
                    <a:pt x="6387" y="2184"/>
                  </a:lnTo>
                  <a:lnTo>
                    <a:pt x="6384" y="2190"/>
                  </a:lnTo>
                  <a:lnTo>
                    <a:pt x="6378" y="2194"/>
                  </a:lnTo>
                  <a:lnTo>
                    <a:pt x="6369" y="2197"/>
                  </a:lnTo>
                  <a:lnTo>
                    <a:pt x="6236" y="2197"/>
                  </a:lnTo>
                  <a:lnTo>
                    <a:pt x="6227" y="2194"/>
                  </a:lnTo>
                  <a:lnTo>
                    <a:pt x="6220" y="2190"/>
                  </a:lnTo>
                  <a:lnTo>
                    <a:pt x="6216" y="2184"/>
                  </a:lnTo>
                  <a:lnTo>
                    <a:pt x="6215" y="2176"/>
                  </a:lnTo>
                  <a:lnTo>
                    <a:pt x="6216" y="2168"/>
                  </a:lnTo>
                  <a:lnTo>
                    <a:pt x="6220" y="2162"/>
                  </a:lnTo>
                  <a:lnTo>
                    <a:pt x="6227" y="2158"/>
                  </a:lnTo>
                  <a:lnTo>
                    <a:pt x="6236" y="2156"/>
                  </a:lnTo>
                  <a:close/>
                  <a:moveTo>
                    <a:pt x="6472" y="2156"/>
                  </a:moveTo>
                  <a:lnTo>
                    <a:pt x="6605" y="2156"/>
                  </a:lnTo>
                  <a:lnTo>
                    <a:pt x="6614" y="2158"/>
                  </a:lnTo>
                  <a:lnTo>
                    <a:pt x="6620" y="2162"/>
                  </a:lnTo>
                  <a:lnTo>
                    <a:pt x="6624" y="2168"/>
                  </a:lnTo>
                  <a:lnTo>
                    <a:pt x="6626" y="2176"/>
                  </a:lnTo>
                  <a:lnTo>
                    <a:pt x="6624" y="2184"/>
                  </a:lnTo>
                  <a:lnTo>
                    <a:pt x="6620" y="2190"/>
                  </a:lnTo>
                  <a:lnTo>
                    <a:pt x="6614" y="2194"/>
                  </a:lnTo>
                  <a:lnTo>
                    <a:pt x="6605" y="2197"/>
                  </a:lnTo>
                  <a:lnTo>
                    <a:pt x="6472" y="2197"/>
                  </a:lnTo>
                  <a:lnTo>
                    <a:pt x="6464" y="2194"/>
                  </a:lnTo>
                  <a:lnTo>
                    <a:pt x="6458" y="2190"/>
                  </a:lnTo>
                  <a:lnTo>
                    <a:pt x="6454" y="2184"/>
                  </a:lnTo>
                  <a:lnTo>
                    <a:pt x="6452" y="2176"/>
                  </a:lnTo>
                  <a:lnTo>
                    <a:pt x="6454" y="2168"/>
                  </a:lnTo>
                  <a:lnTo>
                    <a:pt x="6458" y="2162"/>
                  </a:lnTo>
                  <a:lnTo>
                    <a:pt x="6464" y="2158"/>
                  </a:lnTo>
                  <a:lnTo>
                    <a:pt x="6472" y="2156"/>
                  </a:lnTo>
                  <a:close/>
                  <a:moveTo>
                    <a:pt x="6709" y="2156"/>
                  </a:moveTo>
                  <a:lnTo>
                    <a:pt x="6842" y="2156"/>
                  </a:lnTo>
                  <a:lnTo>
                    <a:pt x="6851" y="2158"/>
                  </a:lnTo>
                  <a:lnTo>
                    <a:pt x="6858" y="2162"/>
                  </a:lnTo>
                  <a:lnTo>
                    <a:pt x="6861" y="2168"/>
                  </a:lnTo>
                  <a:lnTo>
                    <a:pt x="6863" y="2176"/>
                  </a:lnTo>
                  <a:lnTo>
                    <a:pt x="6861" y="2184"/>
                  </a:lnTo>
                  <a:lnTo>
                    <a:pt x="6858" y="2190"/>
                  </a:lnTo>
                  <a:lnTo>
                    <a:pt x="6851" y="2194"/>
                  </a:lnTo>
                  <a:lnTo>
                    <a:pt x="6842" y="2197"/>
                  </a:lnTo>
                  <a:lnTo>
                    <a:pt x="6709" y="2197"/>
                  </a:lnTo>
                  <a:lnTo>
                    <a:pt x="6700" y="2194"/>
                  </a:lnTo>
                  <a:lnTo>
                    <a:pt x="6693" y="2190"/>
                  </a:lnTo>
                  <a:lnTo>
                    <a:pt x="6690" y="2184"/>
                  </a:lnTo>
                  <a:lnTo>
                    <a:pt x="6688" y="2176"/>
                  </a:lnTo>
                  <a:lnTo>
                    <a:pt x="6690" y="2168"/>
                  </a:lnTo>
                  <a:lnTo>
                    <a:pt x="6693" y="2162"/>
                  </a:lnTo>
                  <a:lnTo>
                    <a:pt x="6700" y="2158"/>
                  </a:lnTo>
                  <a:lnTo>
                    <a:pt x="6709" y="2156"/>
                  </a:lnTo>
                  <a:close/>
                  <a:moveTo>
                    <a:pt x="6946" y="2156"/>
                  </a:moveTo>
                  <a:lnTo>
                    <a:pt x="7078" y="2156"/>
                  </a:lnTo>
                  <a:lnTo>
                    <a:pt x="7087" y="2158"/>
                  </a:lnTo>
                  <a:lnTo>
                    <a:pt x="7094" y="2162"/>
                  </a:lnTo>
                  <a:lnTo>
                    <a:pt x="7097" y="2168"/>
                  </a:lnTo>
                  <a:lnTo>
                    <a:pt x="7099" y="2176"/>
                  </a:lnTo>
                  <a:lnTo>
                    <a:pt x="7097" y="2184"/>
                  </a:lnTo>
                  <a:lnTo>
                    <a:pt x="7094" y="2190"/>
                  </a:lnTo>
                  <a:lnTo>
                    <a:pt x="7087" y="2194"/>
                  </a:lnTo>
                  <a:lnTo>
                    <a:pt x="7078" y="2197"/>
                  </a:lnTo>
                  <a:lnTo>
                    <a:pt x="6946" y="2197"/>
                  </a:lnTo>
                  <a:lnTo>
                    <a:pt x="6937" y="2194"/>
                  </a:lnTo>
                  <a:lnTo>
                    <a:pt x="6931" y="2190"/>
                  </a:lnTo>
                  <a:lnTo>
                    <a:pt x="6927" y="2184"/>
                  </a:lnTo>
                  <a:lnTo>
                    <a:pt x="6926" y="2176"/>
                  </a:lnTo>
                  <a:lnTo>
                    <a:pt x="6927" y="2168"/>
                  </a:lnTo>
                  <a:lnTo>
                    <a:pt x="6931" y="2162"/>
                  </a:lnTo>
                  <a:lnTo>
                    <a:pt x="6937" y="2158"/>
                  </a:lnTo>
                  <a:lnTo>
                    <a:pt x="6946" y="2156"/>
                  </a:lnTo>
                  <a:close/>
                  <a:moveTo>
                    <a:pt x="6236" y="2419"/>
                  </a:moveTo>
                  <a:lnTo>
                    <a:pt x="6369" y="2419"/>
                  </a:lnTo>
                  <a:lnTo>
                    <a:pt x="6378" y="2420"/>
                  </a:lnTo>
                  <a:lnTo>
                    <a:pt x="6384" y="2425"/>
                  </a:lnTo>
                  <a:lnTo>
                    <a:pt x="6387" y="2432"/>
                  </a:lnTo>
                  <a:lnTo>
                    <a:pt x="6388" y="2439"/>
                  </a:lnTo>
                  <a:lnTo>
                    <a:pt x="6387" y="2446"/>
                  </a:lnTo>
                  <a:lnTo>
                    <a:pt x="6384" y="2452"/>
                  </a:lnTo>
                  <a:lnTo>
                    <a:pt x="6378" y="2457"/>
                  </a:lnTo>
                  <a:lnTo>
                    <a:pt x="6369" y="2459"/>
                  </a:lnTo>
                  <a:lnTo>
                    <a:pt x="6236" y="2459"/>
                  </a:lnTo>
                  <a:lnTo>
                    <a:pt x="6227" y="2457"/>
                  </a:lnTo>
                  <a:lnTo>
                    <a:pt x="6220" y="2452"/>
                  </a:lnTo>
                  <a:lnTo>
                    <a:pt x="6216" y="2446"/>
                  </a:lnTo>
                  <a:lnTo>
                    <a:pt x="6215" y="2439"/>
                  </a:lnTo>
                  <a:lnTo>
                    <a:pt x="6216" y="2432"/>
                  </a:lnTo>
                  <a:lnTo>
                    <a:pt x="6220" y="2425"/>
                  </a:lnTo>
                  <a:lnTo>
                    <a:pt x="6227" y="2420"/>
                  </a:lnTo>
                  <a:lnTo>
                    <a:pt x="6236" y="2419"/>
                  </a:lnTo>
                  <a:close/>
                  <a:moveTo>
                    <a:pt x="6472" y="2419"/>
                  </a:moveTo>
                  <a:lnTo>
                    <a:pt x="6605" y="2419"/>
                  </a:lnTo>
                  <a:lnTo>
                    <a:pt x="6614" y="2420"/>
                  </a:lnTo>
                  <a:lnTo>
                    <a:pt x="6620" y="2425"/>
                  </a:lnTo>
                  <a:lnTo>
                    <a:pt x="6624" y="2432"/>
                  </a:lnTo>
                  <a:lnTo>
                    <a:pt x="6626" y="2439"/>
                  </a:lnTo>
                  <a:lnTo>
                    <a:pt x="6624" y="2446"/>
                  </a:lnTo>
                  <a:lnTo>
                    <a:pt x="6620" y="2452"/>
                  </a:lnTo>
                  <a:lnTo>
                    <a:pt x="6614" y="2457"/>
                  </a:lnTo>
                  <a:lnTo>
                    <a:pt x="6605" y="2459"/>
                  </a:lnTo>
                  <a:lnTo>
                    <a:pt x="6472" y="2459"/>
                  </a:lnTo>
                  <a:lnTo>
                    <a:pt x="6464" y="2457"/>
                  </a:lnTo>
                  <a:lnTo>
                    <a:pt x="6458" y="2452"/>
                  </a:lnTo>
                  <a:lnTo>
                    <a:pt x="6454" y="2446"/>
                  </a:lnTo>
                  <a:lnTo>
                    <a:pt x="6452" y="2439"/>
                  </a:lnTo>
                  <a:lnTo>
                    <a:pt x="6454" y="2432"/>
                  </a:lnTo>
                  <a:lnTo>
                    <a:pt x="6458" y="2425"/>
                  </a:lnTo>
                  <a:lnTo>
                    <a:pt x="6464" y="2420"/>
                  </a:lnTo>
                  <a:lnTo>
                    <a:pt x="6472" y="2419"/>
                  </a:lnTo>
                  <a:close/>
                  <a:moveTo>
                    <a:pt x="6709" y="2419"/>
                  </a:moveTo>
                  <a:lnTo>
                    <a:pt x="6842" y="2419"/>
                  </a:lnTo>
                  <a:lnTo>
                    <a:pt x="6851" y="2420"/>
                  </a:lnTo>
                  <a:lnTo>
                    <a:pt x="6858" y="2425"/>
                  </a:lnTo>
                  <a:lnTo>
                    <a:pt x="6861" y="2432"/>
                  </a:lnTo>
                  <a:lnTo>
                    <a:pt x="6863" y="2439"/>
                  </a:lnTo>
                  <a:lnTo>
                    <a:pt x="6861" y="2446"/>
                  </a:lnTo>
                  <a:lnTo>
                    <a:pt x="6858" y="2452"/>
                  </a:lnTo>
                  <a:lnTo>
                    <a:pt x="6851" y="2457"/>
                  </a:lnTo>
                  <a:lnTo>
                    <a:pt x="6842" y="2459"/>
                  </a:lnTo>
                  <a:lnTo>
                    <a:pt x="6709" y="2459"/>
                  </a:lnTo>
                  <a:lnTo>
                    <a:pt x="6700" y="2457"/>
                  </a:lnTo>
                  <a:lnTo>
                    <a:pt x="6693" y="2452"/>
                  </a:lnTo>
                  <a:lnTo>
                    <a:pt x="6690" y="2446"/>
                  </a:lnTo>
                  <a:lnTo>
                    <a:pt x="6688" y="2439"/>
                  </a:lnTo>
                  <a:lnTo>
                    <a:pt x="6690" y="2432"/>
                  </a:lnTo>
                  <a:lnTo>
                    <a:pt x="6693" y="2425"/>
                  </a:lnTo>
                  <a:lnTo>
                    <a:pt x="6700" y="2420"/>
                  </a:lnTo>
                  <a:lnTo>
                    <a:pt x="6709" y="2419"/>
                  </a:lnTo>
                  <a:close/>
                  <a:moveTo>
                    <a:pt x="6946" y="2419"/>
                  </a:moveTo>
                  <a:lnTo>
                    <a:pt x="7078" y="2419"/>
                  </a:lnTo>
                  <a:lnTo>
                    <a:pt x="7087" y="2420"/>
                  </a:lnTo>
                  <a:lnTo>
                    <a:pt x="7094" y="2425"/>
                  </a:lnTo>
                  <a:lnTo>
                    <a:pt x="7097" y="2432"/>
                  </a:lnTo>
                  <a:lnTo>
                    <a:pt x="7099" y="2439"/>
                  </a:lnTo>
                  <a:lnTo>
                    <a:pt x="7097" y="2446"/>
                  </a:lnTo>
                  <a:lnTo>
                    <a:pt x="7094" y="2452"/>
                  </a:lnTo>
                  <a:lnTo>
                    <a:pt x="7087" y="2457"/>
                  </a:lnTo>
                  <a:lnTo>
                    <a:pt x="7078" y="2459"/>
                  </a:lnTo>
                  <a:lnTo>
                    <a:pt x="6946" y="2459"/>
                  </a:lnTo>
                  <a:lnTo>
                    <a:pt x="6937" y="2457"/>
                  </a:lnTo>
                  <a:lnTo>
                    <a:pt x="6931" y="2452"/>
                  </a:lnTo>
                  <a:lnTo>
                    <a:pt x="6927" y="2446"/>
                  </a:lnTo>
                  <a:lnTo>
                    <a:pt x="6926" y="2439"/>
                  </a:lnTo>
                  <a:lnTo>
                    <a:pt x="6927" y="2432"/>
                  </a:lnTo>
                  <a:lnTo>
                    <a:pt x="6931" y="2425"/>
                  </a:lnTo>
                  <a:lnTo>
                    <a:pt x="6937" y="2420"/>
                  </a:lnTo>
                  <a:lnTo>
                    <a:pt x="6946" y="2419"/>
                  </a:lnTo>
                  <a:close/>
                  <a:moveTo>
                    <a:pt x="6236" y="2682"/>
                  </a:moveTo>
                  <a:lnTo>
                    <a:pt x="6369" y="2682"/>
                  </a:lnTo>
                  <a:lnTo>
                    <a:pt x="6378" y="2684"/>
                  </a:lnTo>
                  <a:lnTo>
                    <a:pt x="6384" y="2689"/>
                  </a:lnTo>
                  <a:lnTo>
                    <a:pt x="6387" y="2695"/>
                  </a:lnTo>
                  <a:lnTo>
                    <a:pt x="6388" y="2702"/>
                  </a:lnTo>
                  <a:lnTo>
                    <a:pt x="6387" y="2709"/>
                  </a:lnTo>
                  <a:lnTo>
                    <a:pt x="6384" y="2716"/>
                  </a:lnTo>
                  <a:lnTo>
                    <a:pt x="6378" y="2721"/>
                  </a:lnTo>
                  <a:lnTo>
                    <a:pt x="6369" y="2722"/>
                  </a:lnTo>
                  <a:lnTo>
                    <a:pt x="6236" y="2722"/>
                  </a:lnTo>
                  <a:lnTo>
                    <a:pt x="6227" y="2721"/>
                  </a:lnTo>
                  <a:lnTo>
                    <a:pt x="6220" y="2716"/>
                  </a:lnTo>
                  <a:lnTo>
                    <a:pt x="6216" y="2709"/>
                  </a:lnTo>
                  <a:lnTo>
                    <a:pt x="6215" y="2702"/>
                  </a:lnTo>
                  <a:lnTo>
                    <a:pt x="6216" y="2695"/>
                  </a:lnTo>
                  <a:lnTo>
                    <a:pt x="6220" y="2689"/>
                  </a:lnTo>
                  <a:lnTo>
                    <a:pt x="6227" y="2684"/>
                  </a:lnTo>
                  <a:lnTo>
                    <a:pt x="6236" y="2682"/>
                  </a:lnTo>
                  <a:close/>
                  <a:moveTo>
                    <a:pt x="6472" y="2682"/>
                  </a:moveTo>
                  <a:lnTo>
                    <a:pt x="6605" y="2682"/>
                  </a:lnTo>
                  <a:lnTo>
                    <a:pt x="6614" y="2684"/>
                  </a:lnTo>
                  <a:lnTo>
                    <a:pt x="6620" y="2689"/>
                  </a:lnTo>
                  <a:lnTo>
                    <a:pt x="6624" y="2695"/>
                  </a:lnTo>
                  <a:lnTo>
                    <a:pt x="6626" y="2702"/>
                  </a:lnTo>
                  <a:lnTo>
                    <a:pt x="6624" y="2709"/>
                  </a:lnTo>
                  <a:lnTo>
                    <a:pt x="6620" y="2716"/>
                  </a:lnTo>
                  <a:lnTo>
                    <a:pt x="6614" y="2721"/>
                  </a:lnTo>
                  <a:lnTo>
                    <a:pt x="6605" y="2722"/>
                  </a:lnTo>
                  <a:lnTo>
                    <a:pt x="6472" y="2722"/>
                  </a:lnTo>
                  <a:lnTo>
                    <a:pt x="6464" y="2721"/>
                  </a:lnTo>
                  <a:lnTo>
                    <a:pt x="6458" y="2716"/>
                  </a:lnTo>
                  <a:lnTo>
                    <a:pt x="6454" y="2709"/>
                  </a:lnTo>
                  <a:lnTo>
                    <a:pt x="6452" y="2702"/>
                  </a:lnTo>
                  <a:lnTo>
                    <a:pt x="6454" y="2695"/>
                  </a:lnTo>
                  <a:lnTo>
                    <a:pt x="6458" y="2689"/>
                  </a:lnTo>
                  <a:lnTo>
                    <a:pt x="6464" y="2684"/>
                  </a:lnTo>
                  <a:lnTo>
                    <a:pt x="6472" y="2682"/>
                  </a:lnTo>
                  <a:close/>
                  <a:moveTo>
                    <a:pt x="6709" y="2682"/>
                  </a:moveTo>
                  <a:lnTo>
                    <a:pt x="6842" y="2682"/>
                  </a:lnTo>
                  <a:lnTo>
                    <a:pt x="6851" y="2684"/>
                  </a:lnTo>
                  <a:lnTo>
                    <a:pt x="6858" y="2689"/>
                  </a:lnTo>
                  <a:lnTo>
                    <a:pt x="6861" y="2695"/>
                  </a:lnTo>
                  <a:lnTo>
                    <a:pt x="6863" y="2702"/>
                  </a:lnTo>
                  <a:lnTo>
                    <a:pt x="6861" y="2709"/>
                  </a:lnTo>
                  <a:lnTo>
                    <a:pt x="6858" y="2716"/>
                  </a:lnTo>
                  <a:lnTo>
                    <a:pt x="6851" y="2721"/>
                  </a:lnTo>
                  <a:lnTo>
                    <a:pt x="6842" y="2722"/>
                  </a:lnTo>
                  <a:lnTo>
                    <a:pt x="6709" y="2722"/>
                  </a:lnTo>
                  <a:lnTo>
                    <a:pt x="6700" y="2721"/>
                  </a:lnTo>
                  <a:lnTo>
                    <a:pt x="6693" y="2716"/>
                  </a:lnTo>
                  <a:lnTo>
                    <a:pt x="6690" y="2709"/>
                  </a:lnTo>
                  <a:lnTo>
                    <a:pt x="6688" y="2702"/>
                  </a:lnTo>
                  <a:lnTo>
                    <a:pt x="6690" y="2695"/>
                  </a:lnTo>
                  <a:lnTo>
                    <a:pt x="6693" y="2689"/>
                  </a:lnTo>
                  <a:lnTo>
                    <a:pt x="6700" y="2684"/>
                  </a:lnTo>
                  <a:lnTo>
                    <a:pt x="6709" y="2682"/>
                  </a:lnTo>
                  <a:close/>
                  <a:moveTo>
                    <a:pt x="6946" y="2682"/>
                  </a:moveTo>
                  <a:lnTo>
                    <a:pt x="7078" y="2682"/>
                  </a:lnTo>
                  <a:lnTo>
                    <a:pt x="7087" y="2684"/>
                  </a:lnTo>
                  <a:lnTo>
                    <a:pt x="7094" y="2689"/>
                  </a:lnTo>
                  <a:lnTo>
                    <a:pt x="7097" y="2695"/>
                  </a:lnTo>
                  <a:lnTo>
                    <a:pt x="7099" y="2702"/>
                  </a:lnTo>
                  <a:lnTo>
                    <a:pt x="7097" y="2709"/>
                  </a:lnTo>
                  <a:lnTo>
                    <a:pt x="7094" y="2716"/>
                  </a:lnTo>
                  <a:lnTo>
                    <a:pt x="7087" y="2721"/>
                  </a:lnTo>
                  <a:lnTo>
                    <a:pt x="7078" y="2722"/>
                  </a:lnTo>
                  <a:lnTo>
                    <a:pt x="6946" y="2722"/>
                  </a:lnTo>
                  <a:lnTo>
                    <a:pt x="6937" y="2721"/>
                  </a:lnTo>
                  <a:lnTo>
                    <a:pt x="6931" y="2716"/>
                  </a:lnTo>
                  <a:lnTo>
                    <a:pt x="6927" y="2709"/>
                  </a:lnTo>
                  <a:lnTo>
                    <a:pt x="6926" y="2702"/>
                  </a:lnTo>
                  <a:lnTo>
                    <a:pt x="6927" y="2695"/>
                  </a:lnTo>
                  <a:lnTo>
                    <a:pt x="6931" y="2689"/>
                  </a:lnTo>
                  <a:lnTo>
                    <a:pt x="6937" y="2684"/>
                  </a:lnTo>
                  <a:lnTo>
                    <a:pt x="6946" y="2682"/>
                  </a:lnTo>
                  <a:close/>
                  <a:moveTo>
                    <a:pt x="6236" y="2946"/>
                  </a:moveTo>
                  <a:lnTo>
                    <a:pt x="6369" y="2946"/>
                  </a:lnTo>
                  <a:lnTo>
                    <a:pt x="6378" y="2947"/>
                  </a:lnTo>
                  <a:lnTo>
                    <a:pt x="6384" y="2951"/>
                  </a:lnTo>
                  <a:lnTo>
                    <a:pt x="6387" y="2957"/>
                  </a:lnTo>
                  <a:lnTo>
                    <a:pt x="6388" y="2965"/>
                  </a:lnTo>
                  <a:lnTo>
                    <a:pt x="6387" y="2973"/>
                  </a:lnTo>
                  <a:lnTo>
                    <a:pt x="6384" y="2979"/>
                  </a:lnTo>
                  <a:lnTo>
                    <a:pt x="6378" y="2983"/>
                  </a:lnTo>
                  <a:lnTo>
                    <a:pt x="6369" y="2985"/>
                  </a:lnTo>
                  <a:lnTo>
                    <a:pt x="6236" y="2985"/>
                  </a:lnTo>
                  <a:lnTo>
                    <a:pt x="6227" y="2983"/>
                  </a:lnTo>
                  <a:lnTo>
                    <a:pt x="6220" y="2979"/>
                  </a:lnTo>
                  <a:lnTo>
                    <a:pt x="6216" y="2973"/>
                  </a:lnTo>
                  <a:lnTo>
                    <a:pt x="6215" y="2965"/>
                  </a:lnTo>
                  <a:lnTo>
                    <a:pt x="6216" y="2957"/>
                  </a:lnTo>
                  <a:lnTo>
                    <a:pt x="6220" y="2951"/>
                  </a:lnTo>
                  <a:lnTo>
                    <a:pt x="6227" y="2947"/>
                  </a:lnTo>
                  <a:lnTo>
                    <a:pt x="6236" y="2946"/>
                  </a:lnTo>
                  <a:close/>
                  <a:moveTo>
                    <a:pt x="6472" y="2946"/>
                  </a:moveTo>
                  <a:lnTo>
                    <a:pt x="6605" y="2946"/>
                  </a:lnTo>
                  <a:lnTo>
                    <a:pt x="6614" y="2947"/>
                  </a:lnTo>
                  <a:lnTo>
                    <a:pt x="6620" y="2951"/>
                  </a:lnTo>
                  <a:lnTo>
                    <a:pt x="6624" y="2957"/>
                  </a:lnTo>
                  <a:lnTo>
                    <a:pt x="6626" y="2965"/>
                  </a:lnTo>
                  <a:lnTo>
                    <a:pt x="6624" y="2973"/>
                  </a:lnTo>
                  <a:lnTo>
                    <a:pt x="6620" y="2979"/>
                  </a:lnTo>
                  <a:lnTo>
                    <a:pt x="6614" y="2983"/>
                  </a:lnTo>
                  <a:lnTo>
                    <a:pt x="6605" y="2985"/>
                  </a:lnTo>
                  <a:lnTo>
                    <a:pt x="6472" y="2985"/>
                  </a:lnTo>
                  <a:lnTo>
                    <a:pt x="6464" y="2983"/>
                  </a:lnTo>
                  <a:lnTo>
                    <a:pt x="6458" y="2979"/>
                  </a:lnTo>
                  <a:lnTo>
                    <a:pt x="6454" y="2973"/>
                  </a:lnTo>
                  <a:lnTo>
                    <a:pt x="6452" y="2965"/>
                  </a:lnTo>
                  <a:lnTo>
                    <a:pt x="6454" y="2957"/>
                  </a:lnTo>
                  <a:lnTo>
                    <a:pt x="6458" y="2951"/>
                  </a:lnTo>
                  <a:lnTo>
                    <a:pt x="6464" y="2947"/>
                  </a:lnTo>
                  <a:lnTo>
                    <a:pt x="6472" y="2946"/>
                  </a:lnTo>
                  <a:close/>
                  <a:moveTo>
                    <a:pt x="6709" y="2946"/>
                  </a:moveTo>
                  <a:lnTo>
                    <a:pt x="6842" y="2946"/>
                  </a:lnTo>
                  <a:lnTo>
                    <a:pt x="6851" y="2947"/>
                  </a:lnTo>
                  <a:lnTo>
                    <a:pt x="6858" y="2951"/>
                  </a:lnTo>
                  <a:lnTo>
                    <a:pt x="6861" y="2957"/>
                  </a:lnTo>
                  <a:lnTo>
                    <a:pt x="6863" y="2965"/>
                  </a:lnTo>
                  <a:lnTo>
                    <a:pt x="6861" y="2973"/>
                  </a:lnTo>
                  <a:lnTo>
                    <a:pt x="6858" y="2979"/>
                  </a:lnTo>
                  <a:lnTo>
                    <a:pt x="6851" y="2983"/>
                  </a:lnTo>
                  <a:lnTo>
                    <a:pt x="6842" y="2985"/>
                  </a:lnTo>
                  <a:lnTo>
                    <a:pt x="6709" y="2985"/>
                  </a:lnTo>
                  <a:lnTo>
                    <a:pt x="6700" y="2983"/>
                  </a:lnTo>
                  <a:lnTo>
                    <a:pt x="6693" y="2979"/>
                  </a:lnTo>
                  <a:lnTo>
                    <a:pt x="6690" y="2973"/>
                  </a:lnTo>
                  <a:lnTo>
                    <a:pt x="6688" y="2965"/>
                  </a:lnTo>
                  <a:lnTo>
                    <a:pt x="6690" y="2957"/>
                  </a:lnTo>
                  <a:lnTo>
                    <a:pt x="6693" y="2951"/>
                  </a:lnTo>
                  <a:lnTo>
                    <a:pt x="6700" y="2947"/>
                  </a:lnTo>
                  <a:lnTo>
                    <a:pt x="6709" y="2946"/>
                  </a:lnTo>
                  <a:close/>
                  <a:moveTo>
                    <a:pt x="6946" y="2946"/>
                  </a:moveTo>
                  <a:lnTo>
                    <a:pt x="7078" y="2946"/>
                  </a:lnTo>
                  <a:lnTo>
                    <a:pt x="7087" y="2947"/>
                  </a:lnTo>
                  <a:lnTo>
                    <a:pt x="7094" y="2951"/>
                  </a:lnTo>
                  <a:lnTo>
                    <a:pt x="7097" y="2957"/>
                  </a:lnTo>
                  <a:lnTo>
                    <a:pt x="7099" y="2965"/>
                  </a:lnTo>
                  <a:lnTo>
                    <a:pt x="7097" y="2973"/>
                  </a:lnTo>
                  <a:lnTo>
                    <a:pt x="7094" y="2979"/>
                  </a:lnTo>
                  <a:lnTo>
                    <a:pt x="7087" y="2983"/>
                  </a:lnTo>
                  <a:lnTo>
                    <a:pt x="7078" y="2985"/>
                  </a:lnTo>
                  <a:lnTo>
                    <a:pt x="6946" y="2985"/>
                  </a:lnTo>
                  <a:lnTo>
                    <a:pt x="6937" y="2983"/>
                  </a:lnTo>
                  <a:lnTo>
                    <a:pt x="6931" y="2979"/>
                  </a:lnTo>
                  <a:lnTo>
                    <a:pt x="6927" y="2973"/>
                  </a:lnTo>
                  <a:lnTo>
                    <a:pt x="6926" y="2965"/>
                  </a:lnTo>
                  <a:lnTo>
                    <a:pt x="6927" y="2957"/>
                  </a:lnTo>
                  <a:lnTo>
                    <a:pt x="6931" y="2951"/>
                  </a:lnTo>
                  <a:lnTo>
                    <a:pt x="6937" y="2947"/>
                  </a:lnTo>
                  <a:lnTo>
                    <a:pt x="6946" y="2946"/>
                  </a:lnTo>
                  <a:close/>
                  <a:moveTo>
                    <a:pt x="6236" y="3208"/>
                  </a:moveTo>
                  <a:lnTo>
                    <a:pt x="6369" y="3208"/>
                  </a:lnTo>
                  <a:lnTo>
                    <a:pt x="6378" y="3211"/>
                  </a:lnTo>
                  <a:lnTo>
                    <a:pt x="6384" y="3214"/>
                  </a:lnTo>
                  <a:lnTo>
                    <a:pt x="6387" y="3221"/>
                  </a:lnTo>
                  <a:lnTo>
                    <a:pt x="6388" y="3228"/>
                  </a:lnTo>
                  <a:lnTo>
                    <a:pt x="6387" y="3236"/>
                  </a:lnTo>
                  <a:lnTo>
                    <a:pt x="6384" y="3242"/>
                  </a:lnTo>
                  <a:lnTo>
                    <a:pt x="6378" y="3246"/>
                  </a:lnTo>
                  <a:lnTo>
                    <a:pt x="6369" y="3248"/>
                  </a:lnTo>
                  <a:lnTo>
                    <a:pt x="6236" y="3248"/>
                  </a:lnTo>
                  <a:lnTo>
                    <a:pt x="6227" y="3246"/>
                  </a:lnTo>
                  <a:lnTo>
                    <a:pt x="6220" y="3242"/>
                  </a:lnTo>
                  <a:lnTo>
                    <a:pt x="6216" y="3236"/>
                  </a:lnTo>
                  <a:lnTo>
                    <a:pt x="6215" y="3228"/>
                  </a:lnTo>
                  <a:lnTo>
                    <a:pt x="6216" y="3221"/>
                  </a:lnTo>
                  <a:lnTo>
                    <a:pt x="6220" y="3214"/>
                  </a:lnTo>
                  <a:lnTo>
                    <a:pt x="6227" y="3211"/>
                  </a:lnTo>
                  <a:lnTo>
                    <a:pt x="6236" y="3208"/>
                  </a:lnTo>
                  <a:close/>
                  <a:moveTo>
                    <a:pt x="6472" y="3208"/>
                  </a:moveTo>
                  <a:lnTo>
                    <a:pt x="6605" y="3208"/>
                  </a:lnTo>
                  <a:lnTo>
                    <a:pt x="6614" y="3211"/>
                  </a:lnTo>
                  <a:lnTo>
                    <a:pt x="6620" y="3214"/>
                  </a:lnTo>
                  <a:lnTo>
                    <a:pt x="6624" y="3221"/>
                  </a:lnTo>
                  <a:lnTo>
                    <a:pt x="6626" y="3228"/>
                  </a:lnTo>
                  <a:lnTo>
                    <a:pt x="6624" y="3236"/>
                  </a:lnTo>
                  <a:lnTo>
                    <a:pt x="6620" y="3242"/>
                  </a:lnTo>
                  <a:lnTo>
                    <a:pt x="6614" y="3246"/>
                  </a:lnTo>
                  <a:lnTo>
                    <a:pt x="6605" y="3248"/>
                  </a:lnTo>
                  <a:lnTo>
                    <a:pt x="6472" y="3248"/>
                  </a:lnTo>
                  <a:lnTo>
                    <a:pt x="6464" y="3246"/>
                  </a:lnTo>
                  <a:lnTo>
                    <a:pt x="6458" y="3242"/>
                  </a:lnTo>
                  <a:lnTo>
                    <a:pt x="6454" y="3236"/>
                  </a:lnTo>
                  <a:lnTo>
                    <a:pt x="6452" y="3228"/>
                  </a:lnTo>
                  <a:lnTo>
                    <a:pt x="6454" y="3221"/>
                  </a:lnTo>
                  <a:lnTo>
                    <a:pt x="6458" y="3214"/>
                  </a:lnTo>
                  <a:lnTo>
                    <a:pt x="6464" y="3211"/>
                  </a:lnTo>
                  <a:lnTo>
                    <a:pt x="6472" y="3208"/>
                  </a:lnTo>
                  <a:close/>
                  <a:moveTo>
                    <a:pt x="6709" y="3208"/>
                  </a:moveTo>
                  <a:lnTo>
                    <a:pt x="6842" y="3208"/>
                  </a:lnTo>
                  <a:lnTo>
                    <a:pt x="6851" y="3211"/>
                  </a:lnTo>
                  <a:lnTo>
                    <a:pt x="6858" y="3214"/>
                  </a:lnTo>
                  <a:lnTo>
                    <a:pt x="6861" y="3221"/>
                  </a:lnTo>
                  <a:lnTo>
                    <a:pt x="6863" y="3228"/>
                  </a:lnTo>
                  <a:lnTo>
                    <a:pt x="6861" y="3236"/>
                  </a:lnTo>
                  <a:lnTo>
                    <a:pt x="6858" y="3242"/>
                  </a:lnTo>
                  <a:lnTo>
                    <a:pt x="6851" y="3246"/>
                  </a:lnTo>
                  <a:lnTo>
                    <a:pt x="6842" y="3248"/>
                  </a:lnTo>
                  <a:lnTo>
                    <a:pt x="6709" y="3248"/>
                  </a:lnTo>
                  <a:lnTo>
                    <a:pt x="6700" y="3246"/>
                  </a:lnTo>
                  <a:lnTo>
                    <a:pt x="6693" y="3242"/>
                  </a:lnTo>
                  <a:lnTo>
                    <a:pt x="6690" y="3236"/>
                  </a:lnTo>
                  <a:lnTo>
                    <a:pt x="6688" y="3228"/>
                  </a:lnTo>
                  <a:lnTo>
                    <a:pt x="6690" y="3221"/>
                  </a:lnTo>
                  <a:lnTo>
                    <a:pt x="6693" y="3214"/>
                  </a:lnTo>
                  <a:lnTo>
                    <a:pt x="6700" y="3211"/>
                  </a:lnTo>
                  <a:lnTo>
                    <a:pt x="6709" y="3208"/>
                  </a:lnTo>
                  <a:close/>
                  <a:moveTo>
                    <a:pt x="6946" y="3208"/>
                  </a:moveTo>
                  <a:lnTo>
                    <a:pt x="7078" y="3208"/>
                  </a:lnTo>
                  <a:lnTo>
                    <a:pt x="7087" y="3211"/>
                  </a:lnTo>
                  <a:lnTo>
                    <a:pt x="7094" y="3214"/>
                  </a:lnTo>
                  <a:lnTo>
                    <a:pt x="7097" y="3221"/>
                  </a:lnTo>
                  <a:lnTo>
                    <a:pt x="7099" y="3228"/>
                  </a:lnTo>
                  <a:lnTo>
                    <a:pt x="7097" y="3236"/>
                  </a:lnTo>
                  <a:lnTo>
                    <a:pt x="7094" y="3242"/>
                  </a:lnTo>
                  <a:lnTo>
                    <a:pt x="7087" y="3246"/>
                  </a:lnTo>
                  <a:lnTo>
                    <a:pt x="7078" y="3248"/>
                  </a:lnTo>
                  <a:lnTo>
                    <a:pt x="6946" y="3248"/>
                  </a:lnTo>
                  <a:lnTo>
                    <a:pt x="6937" y="3246"/>
                  </a:lnTo>
                  <a:lnTo>
                    <a:pt x="6931" y="3242"/>
                  </a:lnTo>
                  <a:lnTo>
                    <a:pt x="6927" y="3236"/>
                  </a:lnTo>
                  <a:lnTo>
                    <a:pt x="6926" y="3228"/>
                  </a:lnTo>
                  <a:lnTo>
                    <a:pt x="6927" y="3221"/>
                  </a:lnTo>
                  <a:lnTo>
                    <a:pt x="6931" y="3214"/>
                  </a:lnTo>
                  <a:lnTo>
                    <a:pt x="6937" y="3211"/>
                  </a:lnTo>
                  <a:lnTo>
                    <a:pt x="6946" y="3208"/>
                  </a:lnTo>
                  <a:close/>
                  <a:moveTo>
                    <a:pt x="6236" y="3471"/>
                  </a:moveTo>
                  <a:lnTo>
                    <a:pt x="6369" y="3471"/>
                  </a:lnTo>
                  <a:lnTo>
                    <a:pt x="6378" y="3473"/>
                  </a:lnTo>
                  <a:lnTo>
                    <a:pt x="6384" y="3478"/>
                  </a:lnTo>
                  <a:lnTo>
                    <a:pt x="6387" y="3484"/>
                  </a:lnTo>
                  <a:lnTo>
                    <a:pt x="6388" y="3492"/>
                  </a:lnTo>
                  <a:lnTo>
                    <a:pt x="6387" y="3498"/>
                  </a:lnTo>
                  <a:lnTo>
                    <a:pt x="6384" y="3505"/>
                  </a:lnTo>
                  <a:lnTo>
                    <a:pt x="6378" y="3510"/>
                  </a:lnTo>
                  <a:lnTo>
                    <a:pt x="6369" y="3511"/>
                  </a:lnTo>
                  <a:lnTo>
                    <a:pt x="6236" y="3511"/>
                  </a:lnTo>
                  <a:lnTo>
                    <a:pt x="6227" y="3510"/>
                  </a:lnTo>
                  <a:lnTo>
                    <a:pt x="6220" y="3505"/>
                  </a:lnTo>
                  <a:lnTo>
                    <a:pt x="6216" y="3498"/>
                  </a:lnTo>
                  <a:lnTo>
                    <a:pt x="6215" y="3492"/>
                  </a:lnTo>
                  <a:lnTo>
                    <a:pt x="6216" y="3484"/>
                  </a:lnTo>
                  <a:lnTo>
                    <a:pt x="6220" y="3478"/>
                  </a:lnTo>
                  <a:lnTo>
                    <a:pt x="6227" y="3473"/>
                  </a:lnTo>
                  <a:lnTo>
                    <a:pt x="6236" y="3471"/>
                  </a:lnTo>
                  <a:close/>
                  <a:moveTo>
                    <a:pt x="6472" y="3471"/>
                  </a:moveTo>
                  <a:lnTo>
                    <a:pt x="6605" y="3471"/>
                  </a:lnTo>
                  <a:lnTo>
                    <a:pt x="6614" y="3473"/>
                  </a:lnTo>
                  <a:lnTo>
                    <a:pt x="6620" y="3478"/>
                  </a:lnTo>
                  <a:lnTo>
                    <a:pt x="6624" y="3484"/>
                  </a:lnTo>
                  <a:lnTo>
                    <a:pt x="6626" y="3492"/>
                  </a:lnTo>
                  <a:lnTo>
                    <a:pt x="6624" y="3498"/>
                  </a:lnTo>
                  <a:lnTo>
                    <a:pt x="6620" y="3505"/>
                  </a:lnTo>
                  <a:lnTo>
                    <a:pt x="6614" y="3510"/>
                  </a:lnTo>
                  <a:lnTo>
                    <a:pt x="6605" y="3511"/>
                  </a:lnTo>
                  <a:lnTo>
                    <a:pt x="6472" y="3511"/>
                  </a:lnTo>
                  <a:lnTo>
                    <a:pt x="6464" y="3510"/>
                  </a:lnTo>
                  <a:lnTo>
                    <a:pt x="6458" y="3505"/>
                  </a:lnTo>
                  <a:lnTo>
                    <a:pt x="6454" y="3498"/>
                  </a:lnTo>
                  <a:lnTo>
                    <a:pt x="6452" y="3492"/>
                  </a:lnTo>
                  <a:lnTo>
                    <a:pt x="6454" y="3484"/>
                  </a:lnTo>
                  <a:lnTo>
                    <a:pt x="6458" y="3478"/>
                  </a:lnTo>
                  <a:lnTo>
                    <a:pt x="6464" y="3473"/>
                  </a:lnTo>
                  <a:lnTo>
                    <a:pt x="6472" y="3471"/>
                  </a:lnTo>
                  <a:close/>
                  <a:moveTo>
                    <a:pt x="6709" y="3471"/>
                  </a:moveTo>
                  <a:lnTo>
                    <a:pt x="6842" y="3471"/>
                  </a:lnTo>
                  <a:lnTo>
                    <a:pt x="6851" y="3473"/>
                  </a:lnTo>
                  <a:lnTo>
                    <a:pt x="6858" y="3478"/>
                  </a:lnTo>
                  <a:lnTo>
                    <a:pt x="6861" y="3484"/>
                  </a:lnTo>
                  <a:lnTo>
                    <a:pt x="6863" y="3492"/>
                  </a:lnTo>
                  <a:lnTo>
                    <a:pt x="6861" y="3498"/>
                  </a:lnTo>
                  <a:lnTo>
                    <a:pt x="6858" y="3505"/>
                  </a:lnTo>
                  <a:lnTo>
                    <a:pt x="6851" y="3510"/>
                  </a:lnTo>
                  <a:lnTo>
                    <a:pt x="6842" y="3511"/>
                  </a:lnTo>
                  <a:lnTo>
                    <a:pt x="6709" y="3511"/>
                  </a:lnTo>
                  <a:lnTo>
                    <a:pt x="6700" y="3510"/>
                  </a:lnTo>
                  <a:lnTo>
                    <a:pt x="6693" y="3505"/>
                  </a:lnTo>
                  <a:lnTo>
                    <a:pt x="6690" y="3498"/>
                  </a:lnTo>
                  <a:lnTo>
                    <a:pt x="6688" y="3492"/>
                  </a:lnTo>
                  <a:lnTo>
                    <a:pt x="6690" y="3484"/>
                  </a:lnTo>
                  <a:lnTo>
                    <a:pt x="6693" y="3478"/>
                  </a:lnTo>
                  <a:lnTo>
                    <a:pt x="6700" y="3473"/>
                  </a:lnTo>
                  <a:lnTo>
                    <a:pt x="6709" y="3471"/>
                  </a:lnTo>
                  <a:close/>
                  <a:moveTo>
                    <a:pt x="6946" y="3471"/>
                  </a:moveTo>
                  <a:lnTo>
                    <a:pt x="7078" y="3471"/>
                  </a:lnTo>
                  <a:lnTo>
                    <a:pt x="7087" y="3473"/>
                  </a:lnTo>
                  <a:lnTo>
                    <a:pt x="7094" y="3478"/>
                  </a:lnTo>
                  <a:lnTo>
                    <a:pt x="7097" y="3484"/>
                  </a:lnTo>
                  <a:lnTo>
                    <a:pt x="7099" y="3492"/>
                  </a:lnTo>
                  <a:lnTo>
                    <a:pt x="7097" y="3498"/>
                  </a:lnTo>
                  <a:lnTo>
                    <a:pt x="7094" y="3505"/>
                  </a:lnTo>
                  <a:lnTo>
                    <a:pt x="7087" y="3510"/>
                  </a:lnTo>
                  <a:lnTo>
                    <a:pt x="7078" y="3511"/>
                  </a:lnTo>
                  <a:lnTo>
                    <a:pt x="6946" y="3511"/>
                  </a:lnTo>
                  <a:lnTo>
                    <a:pt x="6937" y="3510"/>
                  </a:lnTo>
                  <a:lnTo>
                    <a:pt x="6931" y="3505"/>
                  </a:lnTo>
                  <a:lnTo>
                    <a:pt x="6927" y="3498"/>
                  </a:lnTo>
                  <a:lnTo>
                    <a:pt x="6926" y="3492"/>
                  </a:lnTo>
                  <a:lnTo>
                    <a:pt x="6927" y="3484"/>
                  </a:lnTo>
                  <a:lnTo>
                    <a:pt x="6931" y="3478"/>
                  </a:lnTo>
                  <a:lnTo>
                    <a:pt x="6937" y="3473"/>
                  </a:lnTo>
                  <a:lnTo>
                    <a:pt x="6946" y="3471"/>
                  </a:lnTo>
                  <a:close/>
                  <a:moveTo>
                    <a:pt x="6236" y="3735"/>
                  </a:moveTo>
                  <a:lnTo>
                    <a:pt x="6369" y="3735"/>
                  </a:lnTo>
                  <a:lnTo>
                    <a:pt x="6378" y="3736"/>
                  </a:lnTo>
                  <a:lnTo>
                    <a:pt x="6384" y="3741"/>
                  </a:lnTo>
                  <a:lnTo>
                    <a:pt x="6387" y="3748"/>
                  </a:lnTo>
                  <a:lnTo>
                    <a:pt x="6388" y="3754"/>
                  </a:lnTo>
                  <a:lnTo>
                    <a:pt x="6387" y="3762"/>
                  </a:lnTo>
                  <a:lnTo>
                    <a:pt x="6384" y="3768"/>
                  </a:lnTo>
                  <a:lnTo>
                    <a:pt x="6378" y="3773"/>
                  </a:lnTo>
                  <a:lnTo>
                    <a:pt x="6369" y="3774"/>
                  </a:lnTo>
                  <a:lnTo>
                    <a:pt x="6236" y="3774"/>
                  </a:lnTo>
                  <a:lnTo>
                    <a:pt x="6227" y="3773"/>
                  </a:lnTo>
                  <a:lnTo>
                    <a:pt x="6220" y="3768"/>
                  </a:lnTo>
                  <a:lnTo>
                    <a:pt x="6216" y="3762"/>
                  </a:lnTo>
                  <a:lnTo>
                    <a:pt x="6215" y="3754"/>
                  </a:lnTo>
                  <a:lnTo>
                    <a:pt x="6216" y="3748"/>
                  </a:lnTo>
                  <a:lnTo>
                    <a:pt x="6220" y="3741"/>
                  </a:lnTo>
                  <a:lnTo>
                    <a:pt x="6227" y="3736"/>
                  </a:lnTo>
                  <a:lnTo>
                    <a:pt x="6236" y="3735"/>
                  </a:lnTo>
                  <a:close/>
                  <a:moveTo>
                    <a:pt x="6472" y="3735"/>
                  </a:moveTo>
                  <a:lnTo>
                    <a:pt x="6605" y="3735"/>
                  </a:lnTo>
                  <a:lnTo>
                    <a:pt x="6614" y="3736"/>
                  </a:lnTo>
                  <a:lnTo>
                    <a:pt x="6620" y="3741"/>
                  </a:lnTo>
                  <a:lnTo>
                    <a:pt x="6624" y="3748"/>
                  </a:lnTo>
                  <a:lnTo>
                    <a:pt x="6626" y="3754"/>
                  </a:lnTo>
                  <a:lnTo>
                    <a:pt x="6624" y="3762"/>
                  </a:lnTo>
                  <a:lnTo>
                    <a:pt x="6620" y="3768"/>
                  </a:lnTo>
                  <a:lnTo>
                    <a:pt x="6614" y="3773"/>
                  </a:lnTo>
                  <a:lnTo>
                    <a:pt x="6605" y="3774"/>
                  </a:lnTo>
                  <a:lnTo>
                    <a:pt x="6472" y="3774"/>
                  </a:lnTo>
                  <a:lnTo>
                    <a:pt x="6464" y="3773"/>
                  </a:lnTo>
                  <a:lnTo>
                    <a:pt x="6458" y="3768"/>
                  </a:lnTo>
                  <a:lnTo>
                    <a:pt x="6454" y="3762"/>
                  </a:lnTo>
                  <a:lnTo>
                    <a:pt x="6452" y="3754"/>
                  </a:lnTo>
                  <a:lnTo>
                    <a:pt x="6454" y="3748"/>
                  </a:lnTo>
                  <a:lnTo>
                    <a:pt x="6458" y="3741"/>
                  </a:lnTo>
                  <a:lnTo>
                    <a:pt x="6464" y="3736"/>
                  </a:lnTo>
                  <a:lnTo>
                    <a:pt x="6472" y="3735"/>
                  </a:lnTo>
                  <a:close/>
                  <a:moveTo>
                    <a:pt x="6709" y="3735"/>
                  </a:moveTo>
                  <a:lnTo>
                    <a:pt x="6842" y="3735"/>
                  </a:lnTo>
                  <a:lnTo>
                    <a:pt x="6851" y="3736"/>
                  </a:lnTo>
                  <a:lnTo>
                    <a:pt x="6858" y="3741"/>
                  </a:lnTo>
                  <a:lnTo>
                    <a:pt x="6861" y="3748"/>
                  </a:lnTo>
                  <a:lnTo>
                    <a:pt x="6863" y="3754"/>
                  </a:lnTo>
                  <a:lnTo>
                    <a:pt x="6861" y="3762"/>
                  </a:lnTo>
                  <a:lnTo>
                    <a:pt x="6858" y="3768"/>
                  </a:lnTo>
                  <a:lnTo>
                    <a:pt x="6851" y="3773"/>
                  </a:lnTo>
                  <a:lnTo>
                    <a:pt x="6842" y="3774"/>
                  </a:lnTo>
                  <a:lnTo>
                    <a:pt x="6709" y="3774"/>
                  </a:lnTo>
                  <a:lnTo>
                    <a:pt x="6700" y="3773"/>
                  </a:lnTo>
                  <a:lnTo>
                    <a:pt x="6693" y="3768"/>
                  </a:lnTo>
                  <a:lnTo>
                    <a:pt x="6690" y="3762"/>
                  </a:lnTo>
                  <a:lnTo>
                    <a:pt x="6688" y="3754"/>
                  </a:lnTo>
                  <a:lnTo>
                    <a:pt x="6690" y="3748"/>
                  </a:lnTo>
                  <a:lnTo>
                    <a:pt x="6693" y="3741"/>
                  </a:lnTo>
                  <a:lnTo>
                    <a:pt x="6700" y="3736"/>
                  </a:lnTo>
                  <a:lnTo>
                    <a:pt x="6709" y="3735"/>
                  </a:lnTo>
                  <a:close/>
                  <a:moveTo>
                    <a:pt x="6946" y="3735"/>
                  </a:moveTo>
                  <a:lnTo>
                    <a:pt x="7078" y="3735"/>
                  </a:lnTo>
                  <a:lnTo>
                    <a:pt x="7087" y="3736"/>
                  </a:lnTo>
                  <a:lnTo>
                    <a:pt x="7094" y="3741"/>
                  </a:lnTo>
                  <a:lnTo>
                    <a:pt x="7097" y="3748"/>
                  </a:lnTo>
                  <a:lnTo>
                    <a:pt x="7099" y="3754"/>
                  </a:lnTo>
                  <a:lnTo>
                    <a:pt x="7097" y="3762"/>
                  </a:lnTo>
                  <a:lnTo>
                    <a:pt x="7094" y="3768"/>
                  </a:lnTo>
                  <a:lnTo>
                    <a:pt x="7087" y="3773"/>
                  </a:lnTo>
                  <a:lnTo>
                    <a:pt x="7078" y="3774"/>
                  </a:lnTo>
                  <a:lnTo>
                    <a:pt x="6946" y="3774"/>
                  </a:lnTo>
                  <a:lnTo>
                    <a:pt x="6937" y="3773"/>
                  </a:lnTo>
                  <a:lnTo>
                    <a:pt x="6931" y="3768"/>
                  </a:lnTo>
                  <a:lnTo>
                    <a:pt x="6927" y="3762"/>
                  </a:lnTo>
                  <a:lnTo>
                    <a:pt x="6926" y="3754"/>
                  </a:lnTo>
                  <a:lnTo>
                    <a:pt x="6927" y="3748"/>
                  </a:lnTo>
                  <a:lnTo>
                    <a:pt x="6931" y="3741"/>
                  </a:lnTo>
                  <a:lnTo>
                    <a:pt x="6937" y="3736"/>
                  </a:lnTo>
                  <a:lnTo>
                    <a:pt x="6946" y="3735"/>
                  </a:lnTo>
                  <a:close/>
                  <a:moveTo>
                    <a:pt x="6236" y="3997"/>
                  </a:moveTo>
                  <a:lnTo>
                    <a:pt x="6369" y="3997"/>
                  </a:lnTo>
                  <a:lnTo>
                    <a:pt x="6378" y="3999"/>
                  </a:lnTo>
                  <a:lnTo>
                    <a:pt x="6384" y="4003"/>
                  </a:lnTo>
                  <a:lnTo>
                    <a:pt x="6387" y="4010"/>
                  </a:lnTo>
                  <a:lnTo>
                    <a:pt x="6388" y="4017"/>
                  </a:lnTo>
                  <a:lnTo>
                    <a:pt x="6387" y="4025"/>
                  </a:lnTo>
                  <a:lnTo>
                    <a:pt x="6384" y="4031"/>
                  </a:lnTo>
                  <a:lnTo>
                    <a:pt x="6378" y="4035"/>
                  </a:lnTo>
                  <a:lnTo>
                    <a:pt x="6369" y="4038"/>
                  </a:lnTo>
                  <a:lnTo>
                    <a:pt x="6236" y="4038"/>
                  </a:lnTo>
                  <a:lnTo>
                    <a:pt x="6227" y="4035"/>
                  </a:lnTo>
                  <a:lnTo>
                    <a:pt x="6220" y="4031"/>
                  </a:lnTo>
                  <a:lnTo>
                    <a:pt x="6216" y="4025"/>
                  </a:lnTo>
                  <a:lnTo>
                    <a:pt x="6215" y="4017"/>
                  </a:lnTo>
                  <a:lnTo>
                    <a:pt x="6216" y="4010"/>
                  </a:lnTo>
                  <a:lnTo>
                    <a:pt x="6220" y="4003"/>
                  </a:lnTo>
                  <a:lnTo>
                    <a:pt x="6227" y="3999"/>
                  </a:lnTo>
                  <a:lnTo>
                    <a:pt x="6236" y="3997"/>
                  </a:lnTo>
                  <a:close/>
                  <a:moveTo>
                    <a:pt x="6472" y="3997"/>
                  </a:moveTo>
                  <a:lnTo>
                    <a:pt x="6605" y="3997"/>
                  </a:lnTo>
                  <a:lnTo>
                    <a:pt x="6614" y="3999"/>
                  </a:lnTo>
                  <a:lnTo>
                    <a:pt x="6620" y="4003"/>
                  </a:lnTo>
                  <a:lnTo>
                    <a:pt x="6624" y="4010"/>
                  </a:lnTo>
                  <a:lnTo>
                    <a:pt x="6626" y="4017"/>
                  </a:lnTo>
                  <a:lnTo>
                    <a:pt x="6624" y="4025"/>
                  </a:lnTo>
                  <a:lnTo>
                    <a:pt x="6620" y="4031"/>
                  </a:lnTo>
                  <a:lnTo>
                    <a:pt x="6614" y="4035"/>
                  </a:lnTo>
                  <a:lnTo>
                    <a:pt x="6605" y="4038"/>
                  </a:lnTo>
                  <a:lnTo>
                    <a:pt x="6472" y="4038"/>
                  </a:lnTo>
                  <a:lnTo>
                    <a:pt x="6464" y="4035"/>
                  </a:lnTo>
                  <a:lnTo>
                    <a:pt x="6458" y="4031"/>
                  </a:lnTo>
                  <a:lnTo>
                    <a:pt x="6454" y="4025"/>
                  </a:lnTo>
                  <a:lnTo>
                    <a:pt x="6452" y="4017"/>
                  </a:lnTo>
                  <a:lnTo>
                    <a:pt x="6454" y="4010"/>
                  </a:lnTo>
                  <a:lnTo>
                    <a:pt x="6458" y="4003"/>
                  </a:lnTo>
                  <a:lnTo>
                    <a:pt x="6464" y="3999"/>
                  </a:lnTo>
                  <a:lnTo>
                    <a:pt x="6472" y="3997"/>
                  </a:lnTo>
                  <a:close/>
                  <a:moveTo>
                    <a:pt x="6709" y="3997"/>
                  </a:moveTo>
                  <a:lnTo>
                    <a:pt x="6842" y="3997"/>
                  </a:lnTo>
                  <a:lnTo>
                    <a:pt x="6851" y="3999"/>
                  </a:lnTo>
                  <a:lnTo>
                    <a:pt x="6858" y="4003"/>
                  </a:lnTo>
                  <a:lnTo>
                    <a:pt x="6861" y="4010"/>
                  </a:lnTo>
                  <a:lnTo>
                    <a:pt x="6863" y="4017"/>
                  </a:lnTo>
                  <a:lnTo>
                    <a:pt x="6861" y="4025"/>
                  </a:lnTo>
                  <a:lnTo>
                    <a:pt x="6858" y="4031"/>
                  </a:lnTo>
                  <a:lnTo>
                    <a:pt x="6851" y="4035"/>
                  </a:lnTo>
                  <a:lnTo>
                    <a:pt x="6842" y="4038"/>
                  </a:lnTo>
                  <a:lnTo>
                    <a:pt x="6709" y="4038"/>
                  </a:lnTo>
                  <a:lnTo>
                    <a:pt x="6700" y="4035"/>
                  </a:lnTo>
                  <a:lnTo>
                    <a:pt x="6693" y="4031"/>
                  </a:lnTo>
                  <a:lnTo>
                    <a:pt x="6690" y="4025"/>
                  </a:lnTo>
                  <a:lnTo>
                    <a:pt x="6688" y="4017"/>
                  </a:lnTo>
                  <a:lnTo>
                    <a:pt x="6690" y="4010"/>
                  </a:lnTo>
                  <a:lnTo>
                    <a:pt x="6693" y="4003"/>
                  </a:lnTo>
                  <a:lnTo>
                    <a:pt x="6700" y="3999"/>
                  </a:lnTo>
                  <a:lnTo>
                    <a:pt x="6709" y="3997"/>
                  </a:lnTo>
                  <a:close/>
                  <a:moveTo>
                    <a:pt x="6946" y="3997"/>
                  </a:moveTo>
                  <a:lnTo>
                    <a:pt x="7078" y="3997"/>
                  </a:lnTo>
                  <a:lnTo>
                    <a:pt x="7087" y="3999"/>
                  </a:lnTo>
                  <a:lnTo>
                    <a:pt x="7094" y="4003"/>
                  </a:lnTo>
                  <a:lnTo>
                    <a:pt x="7097" y="4010"/>
                  </a:lnTo>
                  <a:lnTo>
                    <a:pt x="7099" y="4017"/>
                  </a:lnTo>
                  <a:lnTo>
                    <a:pt x="7097" y="4025"/>
                  </a:lnTo>
                  <a:lnTo>
                    <a:pt x="7094" y="4031"/>
                  </a:lnTo>
                  <a:lnTo>
                    <a:pt x="7087" y="4035"/>
                  </a:lnTo>
                  <a:lnTo>
                    <a:pt x="7078" y="4038"/>
                  </a:lnTo>
                  <a:lnTo>
                    <a:pt x="6946" y="4038"/>
                  </a:lnTo>
                  <a:lnTo>
                    <a:pt x="6937" y="4035"/>
                  </a:lnTo>
                  <a:lnTo>
                    <a:pt x="6931" y="4031"/>
                  </a:lnTo>
                  <a:lnTo>
                    <a:pt x="6927" y="4025"/>
                  </a:lnTo>
                  <a:lnTo>
                    <a:pt x="6926" y="4017"/>
                  </a:lnTo>
                  <a:lnTo>
                    <a:pt x="6927" y="4010"/>
                  </a:lnTo>
                  <a:lnTo>
                    <a:pt x="6931" y="4003"/>
                  </a:lnTo>
                  <a:lnTo>
                    <a:pt x="6937" y="3999"/>
                  </a:lnTo>
                  <a:lnTo>
                    <a:pt x="6946" y="3997"/>
                  </a:lnTo>
                  <a:close/>
                  <a:moveTo>
                    <a:pt x="7545" y="2941"/>
                  </a:moveTo>
                  <a:lnTo>
                    <a:pt x="7545" y="3052"/>
                  </a:lnTo>
                  <a:lnTo>
                    <a:pt x="7542" y="3061"/>
                  </a:lnTo>
                  <a:lnTo>
                    <a:pt x="7539" y="3067"/>
                  </a:lnTo>
                  <a:lnTo>
                    <a:pt x="7532" y="3071"/>
                  </a:lnTo>
                  <a:lnTo>
                    <a:pt x="7524" y="3072"/>
                  </a:lnTo>
                  <a:lnTo>
                    <a:pt x="7517" y="3071"/>
                  </a:lnTo>
                  <a:lnTo>
                    <a:pt x="7510" y="3067"/>
                  </a:lnTo>
                  <a:lnTo>
                    <a:pt x="7506" y="3061"/>
                  </a:lnTo>
                  <a:lnTo>
                    <a:pt x="7505" y="3052"/>
                  </a:lnTo>
                  <a:lnTo>
                    <a:pt x="7505" y="2941"/>
                  </a:lnTo>
                  <a:lnTo>
                    <a:pt x="7506" y="2932"/>
                  </a:lnTo>
                  <a:lnTo>
                    <a:pt x="7510" y="2925"/>
                  </a:lnTo>
                  <a:lnTo>
                    <a:pt x="7517" y="2922"/>
                  </a:lnTo>
                  <a:lnTo>
                    <a:pt x="7524" y="2920"/>
                  </a:lnTo>
                  <a:lnTo>
                    <a:pt x="7532" y="2922"/>
                  </a:lnTo>
                  <a:lnTo>
                    <a:pt x="7539" y="2925"/>
                  </a:lnTo>
                  <a:lnTo>
                    <a:pt x="7542" y="2932"/>
                  </a:lnTo>
                  <a:lnTo>
                    <a:pt x="7545" y="2941"/>
                  </a:lnTo>
                  <a:close/>
                  <a:moveTo>
                    <a:pt x="7808" y="2941"/>
                  </a:moveTo>
                  <a:lnTo>
                    <a:pt x="7808" y="3052"/>
                  </a:lnTo>
                  <a:lnTo>
                    <a:pt x="7807" y="3061"/>
                  </a:lnTo>
                  <a:lnTo>
                    <a:pt x="7801" y="3067"/>
                  </a:lnTo>
                  <a:lnTo>
                    <a:pt x="7795" y="3071"/>
                  </a:lnTo>
                  <a:lnTo>
                    <a:pt x="7787" y="3072"/>
                  </a:lnTo>
                  <a:lnTo>
                    <a:pt x="7781" y="3071"/>
                  </a:lnTo>
                  <a:lnTo>
                    <a:pt x="7774" y="3067"/>
                  </a:lnTo>
                  <a:lnTo>
                    <a:pt x="7769" y="3061"/>
                  </a:lnTo>
                  <a:lnTo>
                    <a:pt x="7768" y="3052"/>
                  </a:lnTo>
                  <a:lnTo>
                    <a:pt x="7768" y="2941"/>
                  </a:lnTo>
                  <a:lnTo>
                    <a:pt x="7769" y="2932"/>
                  </a:lnTo>
                  <a:lnTo>
                    <a:pt x="7774" y="2925"/>
                  </a:lnTo>
                  <a:lnTo>
                    <a:pt x="7781" y="2922"/>
                  </a:lnTo>
                  <a:lnTo>
                    <a:pt x="7787" y="2920"/>
                  </a:lnTo>
                  <a:lnTo>
                    <a:pt x="7795" y="2922"/>
                  </a:lnTo>
                  <a:lnTo>
                    <a:pt x="7801" y="2925"/>
                  </a:lnTo>
                  <a:lnTo>
                    <a:pt x="7807" y="2932"/>
                  </a:lnTo>
                  <a:lnTo>
                    <a:pt x="7808" y="2941"/>
                  </a:lnTo>
                  <a:close/>
                  <a:moveTo>
                    <a:pt x="8071" y="2941"/>
                  </a:moveTo>
                  <a:lnTo>
                    <a:pt x="8071" y="3052"/>
                  </a:lnTo>
                  <a:lnTo>
                    <a:pt x="8069" y="3061"/>
                  </a:lnTo>
                  <a:lnTo>
                    <a:pt x="8064" y="3067"/>
                  </a:lnTo>
                  <a:lnTo>
                    <a:pt x="8058" y="3071"/>
                  </a:lnTo>
                  <a:lnTo>
                    <a:pt x="8051" y="3072"/>
                  </a:lnTo>
                  <a:lnTo>
                    <a:pt x="8044" y="3071"/>
                  </a:lnTo>
                  <a:lnTo>
                    <a:pt x="8037" y="3067"/>
                  </a:lnTo>
                  <a:lnTo>
                    <a:pt x="8032" y="3061"/>
                  </a:lnTo>
                  <a:lnTo>
                    <a:pt x="8031" y="3052"/>
                  </a:lnTo>
                  <a:lnTo>
                    <a:pt x="8031" y="2941"/>
                  </a:lnTo>
                  <a:lnTo>
                    <a:pt x="8032" y="2932"/>
                  </a:lnTo>
                  <a:lnTo>
                    <a:pt x="8037" y="2925"/>
                  </a:lnTo>
                  <a:lnTo>
                    <a:pt x="8044" y="2922"/>
                  </a:lnTo>
                  <a:lnTo>
                    <a:pt x="8051" y="2920"/>
                  </a:lnTo>
                  <a:lnTo>
                    <a:pt x="8058" y="2922"/>
                  </a:lnTo>
                  <a:lnTo>
                    <a:pt x="8064" y="2925"/>
                  </a:lnTo>
                  <a:lnTo>
                    <a:pt x="8069" y="2932"/>
                  </a:lnTo>
                  <a:lnTo>
                    <a:pt x="8071" y="2941"/>
                  </a:lnTo>
                  <a:close/>
                  <a:moveTo>
                    <a:pt x="8334" y="2941"/>
                  </a:moveTo>
                  <a:lnTo>
                    <a:pt x="8334" y="3052"/>
                  </a:lnTo>
                  <a:lnTo>
                    <a:pt x="8332" y="3061"/>
                  </a:lnTo>
                  <a:lnTo>
                    <a:pt x="8327" y="3067"/>
                  </a:lnTo>
                  <a:lnTo>
                    <a:pt x="8322" y="3071"/>
                  </a:lnTo>
                  <a:lnTo>
                    <a:pt x="8314" y="3072"/>
                  </a:lnTo>
                  <a:lnTo>
                    <a:pt x="8307" y="3071"/>
                  </a:lnTo>
                  <a:lnTo>
                    <a:pt x="8300" y="3067"/>
                  </a:lnTo>
                  <a:lnTo>
                    <a:pt x="8296" y="3061"/>
                  </a:lnTo>
                  <a:lnTo>
                    <a:pt x="8294" y="3052"/>
                  </a:lnTo>
                  <a:lnTo>
                    <a:pt x="8294" y="2941"/>
                  </a:lnTo>
                  <a:lnTo>
                    <a:pt x="8296" y="2932"/>
                  </a:lnTo>
                  <a:lnTo>
                    <a:pt x="8300" y="2925"/>
                  </a:lnTo>
                  <a:lnTo>
                    <a:pt x="8307" y="2922"/>
                  </a:lnTo>
                  <a:lnTo>
                    <a:pt x="8314" y="2920"/>
                  </a:lnTo>
                  <a:lnTo>
                    <a:pt x="8322" y="2922"/>
                  </a:lnTo>
                  <a:lnTo>
                    <a:pt x="8327" y="2925"/>
                  </a:lnTo>
                  <a:lnTo>
                    <a:pt x="8332" y="2932"/>
                  </a:lnTo>
                  <a:lnTo>
                    <a:pt x="8334" y="2941"/>
                  </a:lnTo>
                  <a:close/>
                  <a:moveTo>
                    <a:pt x="8598" y="2941"/>
                  </a:moveTo>
                  <a:lnTo>
                    <a:pt x="8598" y="3052"/>
                  </a:lnTo>
                  <a:lnTo>
                    <a:pt x="8595" y="3061"/>
                  </a:lnTo>
                  <a:lnTo>
                    <a:pt x="8591" y="3067"/>
                  </a:lnTo>
                  <a:lnTo>
                    <a:pt x="8585" y="3071"/>
                  </a:lnTo>
                  <a:lnTo>
                    <a:pt x="8577" y="3072"/>
                  </a:lnTo>
                  <a:lnTo>
                    <a:pt x="8569" y="3071"/>
                  </a:lnTo>
                  <a:lnTo>
                    <a:pt x="8563" y="3067"/>
                  </a:lnTo>
                  <a:lnTo>
                    <a:pt x="8559" y="3061"/>
                  </a:lnTo>
                  <a:lnTo>
                    <a:pt x="8557" y="3052"/>
                  </a:lnTo>
                  <a:lnTo>
                    <a:pt x="8557" y="2941"/>
                  </a:lnTo>
                  <a:lnTo>
                    <a:pt x="8559" y="2932"/>
                  </a:lnTo>
                  <a:lnTo>
                    <a:pt x="8563" y="2925"/>
                  </a:lnTo>
                  <a:lnTo>
                    <a:pt x="8569" y="2922"/>
                  </a:lnTo>
                  <a:lnTo>
                    <a:pt x="8577" y="2920"/>
                  </a:lnTo>
                  <a:lnTo>
                    <a:pt x="8585" y="2922"/>
                  </a:lnTo>
                  <a:lnTo>
                    <a:pt x="8591" y="2925"/>
                  </a:lnTo>
                  <a:lnTo>
                    <a:pt x="8595" y="2932"/>
                  </a:lnTo>
                  <a:lnTo>
                    <a:pt x="8598" y="2941"/>
                  </a:lnTo>
                  <a:close/>
                  <a:moveTo>
                    <a:pt x="8861" y="2941"/>
                  </a:moveTo>
                  <a:lnTo>
                    <a:pt x="8861" y="3052"/>
                  </a:lnTo>
                  <a:lnTo>
                    <a:pt x="8858" y="3061"/>
                  </a:lnTo>
                  <a:lnTo>
                    <a:pt x="8854" y="3067"/>
                  </a:lnTo>
                  <a:lnTo>
                    <a:pt x="8848" y="3071"/>
                  </a:lnTo>
                  <a:lnTo>
                    <a:pt x="8840" y="3072"/>
                  </a:lnTo>
                  <a:lnTo>
                    <a:pt x="8832" y="3071"/>
                  </a:lnTo>
                  <a:lnTo>
                    <a:pt x="8826" y="3067"/>
                  </a:lnTo>
                  <a:lnTo>
                    <a:pt x="8822" y="3061"/>
                  </a:lnTo>
                  <a:lnTo>
                    <a:pt x="8821" y="3052"/>
                  </a:lnTo>
                  <a:lnTo>
                    <a:pt x="8821" y="2941"/>
                  </a:lnTo>
                  <a:lnTo>
                    <a:pt x="8822" y="2932"/>
                  </a:lnTo>
                  <a:lnTo>
                    <a:pt x="8826" y="2925"/>
                  </a:lnTo>
                  <a:lnTo>
                    <a:pt x="8832" y="2922"/>
                  </a:lnTo>
                  <a:lnTo>
                    <a:pt x="8840" y="2920"/>
                  </a:lnTo>
                  <a:lnTo>
                    <a:pt x="8848" y="2922"/>
                  </a:lnTo>
                  <a:lnTo>
                    <a:pt x="8854" y="2925"/>
                  </a:lnTo>
                  <a:lnTo>
                    <a:pt x="8858" y="2932"/>
                  </a:lnTo>
                  <a:lnTo>
                    <a:pt x="8861" y="2941"/>
                  </a:lnTo>
                  <a:close/>
                  <a:moveTo>
                    <a:pt x="7545" y="3186"/>
                  </a:moveTo>
                  <a:lnTo>
                    <a:pt x="7545" y="3299"/>
                  </a:lnTo>
                  <a:lnTo>
                    <a:pt x="7542" y="3308"/>
                  </a:lnTo>
                  <a:lnTo>
                    <a:pt x="7539" y="3314"/>
                  </a:lnTo>
                  <a:lnTo>
                    <a:pt x="7532" y="3318"/>
                  </a:lnTo>
                  <a:lnTo>
                    <a:pt x="7524" y="3319"/>
                  </a:lnTo>
                  <a:lnTo>
                    <a:pt x="7517" y="3318"/>
                  </a:lnTo>
                  <a:lnTo>
                    <a:pt x="7510" y="3314"/>
                  </a:lnTo>
                  <a:lnTo>
                    <a:pt x="7506" y="3308"/>
                  </a:lnTo>
                  <a:lnTo>
                    <a:pt x="7505" y="3299"/>
                  </a:lnTo>
                  <a:lnTo>
                    <a:pt x="7505" y="3186"/>
                  </a:lnTo>
                  <a:lnTo>
                    <a:pt x="7506" y="3179"/>
                  </a:lnTo>
                  <a:lnTo>
                    <a:pt x="7510" y="3172"/>
                  </a:lnTo>
                  <a:lnTo>
                    <a:pt x="7517" y="3168"/>
                  </a:lnTo>
                  <a:lnTo>
                    <a:pt x="7524" y="3167"/>
                  </a:lnTo>
                  <a:lnTo>
                    <a:pt x="7532" y="3168"/>
                  </a:lnTo>
                  <a:lnTo>
                    <a:pt x="7539" y="3172"/>
                  </a:lnTo>
                  <a:lnTo>
                    <a:pt x="7542" y="3179"/>
                  </a:lnTo>
                  <a:lnTo>
                    <a:pt x="7545" y="3186"/>
                  </a:lnTo>
                  <a:close/>
                  <a:moveTo>
                    <a:pt x="7808" y="3186"/>
                  </a:moveTo>
                  <a:lnTo>
                    <a:pt x="7808" y="3299"/>
                  </a:lnTo>
                  <a:lnTo>
                    <a:pt x="7807" y="3308"/>
                  </a:lnTo>
                  <a:lnTo>
                    <a:pt x="7801" y="3314"/>
                  </a:lnTo>
                  <a:lnTo>
                    <a:pt x="7795" y="3318"/>
                  </a:lnTo>
                  <a:lnTo>
                    <a:pt x="7787" y="3319"/>
                  </a:lnTo>
                  <a:lnTo>
                    <a:pt x="7781" y="3318"/>
                  </a:lnTo>
                  <a:lnTo>
                    <a:pt x="7774" y="3314"/>
                  </a:lnTo>
                  <a:lnTo>
                    <a:pt x="7769" y="3308"/>
                  </a:lnTo>
                  <a:lnTo>
                    <a:pt x="7768" y="3299"/>
                  </a:lnTo>
                  <a:lnTo>
                    <a:pt x="7768" y="3186"/>
                  </a:lnTo>
                  <a:lnTo>
                    <a:pt x="7769" y="3179"/>
                  </a:lnTo>
                  <a:lnTo>
                    <a:pt x="7774" y="3172"/>
                  </a:lnTo>
                  <a:lnTo>
                    <a:pt x="7781" y="3168"/>
                  </a:lnTo>
                  <a:lnTo>
                    <a:pt x="7787" y="3167"/>
                  </a:lnTo>
                  <a:lnTo>
                    <a:pt x="7795" y="3168"/>
                  </a:lnTo>
                  <a:lnTo>
                    <a:pt x="7801" y="3172"/>
                  </a:lnTo>
                  <a:lnTo>
                    <a:pt x="7807" y="3179"/>
                  </a:lnTo>
                  <a:lnTo>
                    <a:pt x="7808" y="3186"/>
                  </a:lnTo>
                  <a:close/>
                  <a:moveTo>
                    <a:pt x="8071" y="3186"/>
                  </a:moveTo>
                  <a:lnTo>
                    <a:pt x="8071" y="3299"/>
                  </a:lnTo>
                  <a:lnTo>
                    <a:pt x="8069" y="3308"/>
                  </a:lnTo>
                  <a:lnTo>
                    <a:pt x="8064" y="3314"/>
                  </a:lnTo>
                  <a:lnTo>
                    <a:pt x="8058" y="3318"/>
                  </a:lnTo>
                  <a:lnTo>
                    <a:pt x="8051" y="3319"/>
                  </a:lnTo>
                  <a:lnTo>
                    <a:pt x="8044" y="3318"/>
                  </a:lnTo>
                  <a:lnTo>
                    <a:pt x="8037" y="3314"/>
                  </a:lnTo>
                  <a:lnTo>
                    <a:pt x="8032" y="3308"/>
                  </a:lnTo>
                  <a:lnTo>
                    <a:pt x="8031" y="3299"/>
                  </a:lnTo>
                  <a:lnTo>
                    <a:pt x="8031" y="3186"/>
                  </a:lnTo>
                  <a:lnTo>
                    <a:pt x="8032" y="3179"/>
                  </a:lnTo>
                  <a:lnTo>
                    <a:pt x="8037" y="3172"/>
                  </a:lnTo>
                  <a:lnTo>
                    <a:pt x="8044" y="3168"/>
                  </a:lnTo>
                  <a:lnTo>
                    <a:pt x="8051" y="3167"/>
                  </a:lnTo>
                  <a:lnTo>
                    <a:pt x="8058" y="3168"/>
                  </a:lnTo>
                  <a:lnTo>
                    <a:pt x="8064" y="3172"/>
                  </a:lnTo>
                  <a:lnTo>
                    <a:pt x="8069" y="3179"/>
                  </a:lnTo>
                  <a:lnTo>
                    <a:pt x="8071" y="3186"/>
                  </a:lnTo>
                  <a:close/>
                  <a:moveTo>
                    <a:pt x="8334" y="3186"/>
                  </a:moveTo>
                  <a:lnTo>
                    <a:pt x="8334" y="3299"/>
                  </a:lnTo>
                  <a:lnTo>
                    <a:pt x="8332" y="3308"/>
                  </a:lnTo>
                  <a:lnTo>
                    <a:pt x="8327" y="3314"/>
                  </a:lnTo>
                  <a:lnTo>
                    <a:pt x="8322" y="3318"/>
                  </a:lnTo>
                  <a:lnTo>
                    <a:pt x="8314" y="3319"/>
                  </a:lnTo>
                  <a:lnTo>
                    <a:pt x="8307" y="3318"/>
                  </a:lnTo>
                  <a:lnTo>
                    <a:pt x="8300" y="3314"/>
                  </a:lnTo>
                  <a:lnTo>
                    <a:pt x="8296" y="3308"/>
                  </a:lnTo>
                  <a:lnTo>
                    <a:pt x="8294" y="3299"/>
                  </a:lnTo>
                  <a:lnTo>
                    <a:pt x="8294" y="3186"/>
                  </a:lnTo>
                  <a:lnTo>
                    <a:pt x="8296" y="3179"/>
                  </a:lnTo>
                  <a:lnTo>
                    <a:pt x="8300" y="3172"/>
                  </a:lnTo>
                  <a:lnTo>
                    <a:pt x="8307" y="3168"/>
                  </a:lnTo>
                  <a:lnTo>
                    <a:pt x="8314" y="3167"/>
                  </a:lnTo>
                  <a:lnTo>
                    <a:pt x="8322" y="3168"/>
                  </a:lnTo>
                  <a:lnTo>
                    <a:pt x="8327" y="3172"/>
                  </a:lnTo>
                  <a:lnTo>
                    <a:pt x="8332" y="3179"/>
                  </a:lnTo>
                  <a:lnTo>
                    <a:pt x="8334" y="3186"/>
                  </a:lnTo>
                  <a:close/>
                  <a:moveTo>
                    <a:pt x="8598" y="3186"/>
                  </a:moveTo>
                  <a:lnTo>
                    <a:pt x="8598" y="3299"/>
                  </a:lnTo>
                  <a:lnTo>
                    <a:pt x="8595" y="3308"/>
                  </a:lnTo>
                  <a:lnTo>
                    <a:pt x="8591" y="3314"/>
                  </a:lnTo>
                  <a:lnTo>
                    <a:pt x="8585" y="3318"/>
                  </a:lnTo>
                  <a:lnTo>
                    <a:pt x="8577" y="3319"/>
                  </a:lnTo>
                  <a:lnTo>
                    <a:pt x="8569" y="3318"/>
                  </a:lnTo>
                  <a:lnTo>
                    <a:pt x="8563" y="3314"/>
                  </a:lnTo>
                  <a:lnTo>
                    <a:pt x="8559" y="3308"/>
                  </a:lnTo>
                  <a:lnTo>
                    <a:pt x="8557" y="3299"/>
                  </a:lnTo>
                  <a:lnTo>
                    <a:pt x="8557" y="3186"/>
                  </a:lnTo>
                  <a:lnTo>
                    <a:pt x="8559" y="3179"/>
                  </a:lnTo>
                  <a:lnTo>
                    <a:pt x="8563" y="3172"/>
                  </a:lnTo>
                  <a:lnTo>
                    <a:pt x="8569" y="3168"/>
                  </a:lnTo>
                  <a:lnTo>
                    <a:pt x="8577" y="3167"/>
                  </a:lnTo>
                  <a:lnTo>
                    <a:pt x="8585" y="3168"/>
                  </a:lnTo>
                  <a:lnTo>
                    <a:pt x="8591" y="3172"/>
                  </a:lnTo>
                  <a:lnTo>
                    <a:pt x="8595" y="3179"/>
                  </a:lnTo>
                  <a:lnTo>
                    <a:pt x="8598" y="3186"/>
                  </a:lnTo>
                  <a:close/>
                  <a:moveTo>
                    <a:pt x="8861" y="3186"/>
                  </a:moveTo>
                  <a:lnTo>
                    <a:pt x="8861" y="3299"/>
                  </a:lnTo>
                  <a:lnTo>
                    <a:pt x="8858" y="3308"/>
                  </a:lnTo>
                  <a:lnTo>
                    <a:pt x="8854" y="3314"/>
                  </a:lnTo>
                  <a:lnTo>
                    <a:pt x="8848" y="3318"/>
                  </a:lnTo>
                  <a:lnTo>
                    <a:pt x="8840" y="3319"/>
                  </a:lnTo>
                  <a:lnTo>
                    <a:pt x="8832" y="3318"/>
                  </a:lnTo>
                  <a:lnTo>
                    <a:pt x="8826" y="3314"/>
                  </a:lnTo>
                  <a:lnTo>
                    <a:pt x="8822" y="3308"/>
                  </a:lnTo>
                  <a:lnTo>
                    <a:pt x="8821" y="3299"/>
                  </a:lnTo>
                  <a:lnTo>
                    <a:pt x="8821" y="3186"/>
                  </a:lnTo>
                  <a:lnTo>
                    <a:pt x="8822" y="3179"/>
                  </a:lnTo>
                  <a:lnTo>
                    <a:pt x="8826" y="3172"/>
                  </a:lnTo>
                  <a:lnTo>
                    <a:pt x="8832" y="3168"/>
                  </a:lnTo>
                  <a:lnTo>
                    <a:pt x="8840" y="3167"/>
                  </a:lnTo>
                  <a:lnTo>
                    <a:pt x="8848" y="3168"/>
                  </a:lnTo>
                  <a:lnTo>
                    <a:pt x="8854" y="3172"/>
                  </a:lnTo>
                  <a:lnTo>
                    <a:pt x="8858" y="3179"/>
                  </a:lnTo>
                  <a:lnTo>
                    <a:pt x="8861" y="3186"/>
                  </a:lnTo>
                  <a:close/>
                  <a:moveTo>
                    <a:pt x="7545" y="3433"/>
                  </a:moveTo>
                  <a:lnTo>
                    <a:pt x="7545" y="3546"/>
                  </a:lnTo>
                  <a:lnTo>
                    <a:pt x="7542" y="3554"/>
                  </a:lnTo>
                  <a:lnTo>
                    <a:pt x="7539" y="3561"/>
                  </a:lnTo>
                  <a:lnTo>
                    <a:pt x="7532" y="3565"/>
                  </a:lnTo>
                  <a:lnTo>
                    <a:pt x="7524" y="3565"/>
                  </a:lnTo>
                  <a:lnTo>
                    <a:pt x="7517" y="3565"/>
                  </a:lnTo>
                  <a:lnTo>
                    <a:pt x="7510" y="3561"/>
                  </a:lnTo>
                  <a:lnTo>
                    <a:pt x="7506" y="3554"/>
                  </a:lnTo>
                  <a:lnTo>
                    <a:pt x="7505" y="3546"/>
                  </a:lnTo>
                  <a:lnTo>
                    <a:pt x="7505" y="3433"/>
                  </a:lnTo>
                  <a:lnTo>
                    <a:pt x="7506" y="3424"/>
                  </a:lnTo>
                  <a:lnTo>
                    <a:pt x="7510" y="3419"/>
                  </a:lnTo>
                  <a:lnTo>
                    <a:pt x="7517" y="3415"/>
                  </a:lnTo>
                  <a:lnTo>
                    <a:pt x="7524" y="3414"/>
                  </a:lnTo>
                  <a:lnTo>
                    <a:pt x="7532" y="3415"/>
                  </a:lnTo>
                  <a:lnTo>
                    <a:pt x="7539" y="3419"/>
                  </a:lnTo>
                  <a:lnTo>
                    <a:pt x="7542" y="3424"/>
                  </a:lnTo>
                  <a:lnTo>
                    <a:pt x="7545" y="3433"/>
                  </a:lnTo>
                  <a:close/>
                  <a:moveTo>
                    <a:pt x="7808" y="3433"/>
                  </a:moveTo>
                  <a:lnTo>
                    <a:pt x="7808" y="3546"/>
                  </a:lnTo>
                  <a:lnTo>
                    <a:pt x="7807" y="3554"/>
                  </a:lnTo>
                  <a:lnTo>
                    <a:pt x="7801" y="3561"/>
                  </a:lnTo>
                  <a:lnTo>
                    <a:pt x="7795" y="3565"/>
                  </a:lnTo>
                  <a:lnTo>
                    <a:pt x="7787" y="3565"/>
                  </a:lnTo>
                  <a:lnTo>
                    <a:pt x="7781" y="3565"/>
                  </a:lnTo>
                  <a:lnTo>
                    <a:pt x="7774" y="3561"/>
                  </a:lnTo>
                  <a:lnTo>
                    <a:pt x="7769" y="3554"/>
                  </a:lnTo>
                  <a:lnTo>
                    <a:pt x="7768" y="3546"/>
                  </a:lnTo>
                  <a:lnTo>
                    <a:pt x="7768" y="3433"/>
                  </a:lnTo>
                  <a:lnTo>
                    <a:pt x="7769" y="3424"/>
                  </a:lnTo>
                  <a:lnTo>
                    <a:pt x="7774" y="3419"/>
                  </a:lnTo>
                  <a:lnTo>
                    <a:pt x="7781" y="3415"/>
                  </a:lnTo>
                  <a:lnTo>
                    <a:pt x="7787" y="3414"/>
                  </a:lnTo>
                  <a:lnTo>
                    <a:pt x="7795" y="3415"/>
                  </a:lnTo>
                  <a:lnTo>
                    <a:pt x="7801" y="3419"/>
                  </a:lnTo>
                  <a:lnTo>
                    <a:pt x="7807" y="3424"/>
                  </a:lnTo>
                  <a:lnTo>
                    <a:pt x="7808" y="3433"/>
                  </a:lnTo>
                  <a:close/>
                  <a:moveTo>
                    <a:pt x="8071" y="3433"/>
                  </a:moveTo>
                  <a:lnTo>
                    <a:pt x="8071" y="3546"/>
                  </a:lnTo>
                  <a:lnTo>
                    <a:pt x="8069" y="3554"/>
                  </a:lnTo>
                  <a:lnTo>
                    <a:pt x="8064" y="3561"/>
                  </a:lnTo>
                  <a:lnTo>
                    <a:pt x="8058" y="3565"/>
                  </a:lnTo>
                  <a:lnTo>
                    <a:pt x="8051" y="3565"/>
                  </a:lnTo>
                  <a:lnTo>
                    <a:pt x="8044" y="3565"/>
                  </a:lnTo>
                  <a:lnTo>
                    <a:pt x="8037" y="3561"/>
                  </a:lnTo>
                  <a:lnTo>
                    <a:pt x="8032" y="3554"/>
                  </a:lnTo>
                  <a:lnTo>
                    <a:pt x="8031" y="3546"/>
                  </a:lnTo>
                  <a:lnTo>
                    <a:pt x="8031" y="3433"/>
                  </a:lnTo>
                  <a:lnTo>
                    <a:pt x="8032" y="3424"/>
                  </a:lnTo>
                  <a:lnTo>
                    <a:pt x="8037" y="3419"/>
                  </a:lnTo>
                  <a:lnTo>
                    <a:pt x="8044" y="3415"/>
                  </a:lnTo>
                  <a:lnTo>
                    <a:pt x="8051" y="3414"/>
                  </a:lnTo>
                  <a:lnTo>
                    <a:pt x="8058" y="3415"/>
                  </a:lnTo>
                  <a:lnTo>
                    <a:pt x="8064" y="3419"/>
                  </a:lnTo>
                  <a:lnTo>
                    <a:pt x="8069" y="3424"/>
                  </a:lnTo>
                  <a:lnTo>
                    <a:pt x="8071" y="3433"/>
                  </a:lnTo>
                  <a:close/>
                  <a:moveTo>
                    <a:pt x="8334" y="3433"/>
                  </a:moveTo>
                  <a:lnTo>
                    <a:pt x="8334" y="3546"/>
                  </a:lnTo>
                  <a:lnTo>
                    <a:pt x="8332" y="3554"/>
                  </a:lnTo>
                  <a:lnTo>
                    <a:pt x="8327" y="3561"/>
                  </a:lnTo>
                  <a:lnTo>
                    <a:pt x="8322" y="3565"/>
                  </a:lnTo>
                  <a:lnTo>
                    <a:pt x="8314" y="3565"/>
                  </a:lnTo>
                  <a:lnTo>
                    <a:pt x="8307" y="3565"/>
                  </a:lnTo>
                  <a:lnTo>
                    <a:pt x="8300" y="3561"/>
                  </a:lnTo>
                  <a:lnTo>
                    <a:pt x="8296" y="3554"/>
                  </a:lnTo>
                  <a:lnTo>
                    <a:pt x="8294" y="3546"/>
                  </a:lnTo>
                  <a:lnTo>
                    <a:pt x="8294" y="3433"/>
                  </a:lnTo>
                  <a:lnTo>
                    <a:pt x="8296" y="3424"/>
                  </a:lnTo>
                  <a:lnTo>
                    <a:pt x="8300" y="3419"/>
                  </a:lnTo>
                  <a:lnTo>
                    <a:pt x="8307" y="3415"/>
                  </a:lnTo>
                  <a:lnTo>
                    <a:pt x="8314" y="3414"/>
                  </a:lnTo>
                  <a:lnTo>
                    <a:pt x="8322" y="3415"/>
                  </a:lnTo>
                  <a:lnTo>
                    <a:pt x="8327" y="3419"/>
                  </a:lnTo>
                  <a:lnTo>
                    <a:pt x="8332" y="3424"/>
                  </a:lnTo>
                  <a:lnTo>
                    <a:pt x="8334" y="3433"/>
                  </a:lnTo>
                  <a:close/>
                  <a:moveTo>
                    <a:pt x="8598" y="3433"/>
                  </a:moveTo>
                  <a:lnTo>
                    <a:pt x="8598" y="3546"/>
                  </a:lnTo>
                  <a:lnTo>
                    <a:pt x="8595" y="3554"/>
                  </a:lnTo>
                  <a:lnTo>
                    <a:pt x="8591" y="3561"/>
                  </a:lnTo>
                  <a:lnTo>
                    <a:pt x="8585" y="3565"/>
                  </a:lnTo>
                  <a:lnTo>
                    <a:pt x="8577" y="3565"/>
                  </a:lnTo>
                  <a:lnTo>
                    <a:pt x="8569" y="3565"/>
                  </a:lnTo>
                  <a:lnTo>
                    <a:pt x="8563" y="3561"/>
                  </a:lnTo>
                  <a:lnTo>
                    <a:pt x="8559" y="3554"/>
                  </a:lnTo>
                  <a:lnTo>
                    <a:pt x="8557" y="3546"/>
                  </a:lnTo>
                  <a:lnTo>
                    <a:pt x="8557" y="3433"/>
                  </a:lnTo>
                  <a:lnTo>
                    <a:pt x="8559" y="3424"/>
                  </a:lnTo>
                  <a:lnTo>
                    <a:pt x="8563" y="3419"/>
                  </a:lnTo>
                  <a:lnTo>
                    <a:pt x="8569" y="3415"/>
                  </a:lnTo>
                  <a:lnTo>
                    <a:pt x="8577" y="3414"/>
                  </a:lnTo>
                  <a:lnTo>
                    <a:pt x="8585" y="3415"/>
                  </a:lnTo>
                  <a:lnTo>
                    <a:pt x="8591" y="3419"/>
                  </a:lnTo>
                  <a:lnTo>
                    <a:pt x="8595" y="3424"/>
                  </a:lnTo>
                  <a:lnTo>
                    <a:pt x="8598" y="3433"/>
                  </a:lnTo>
                  <a:close/>
                  <a:moveTo>
                    <a:pt x="8861" y="3433"/>
                  </a:moveTo>
                  <a:lnTo>
                    <a:pt x="8861" y="3546"/>
                  </a:lnTo>
                  <a:lnTo>
                    <a:pt x="8858" y="3554"/>
                  </a:lnTo>
                  <a:lnTo>
                    <a:pt x="8854" y="3561"/>
                  </a:lnTo>
                  <a:lnTo>
                    <a:pt x="8848" y="3565"/>
                  </a:lnTo>
                  <a:lnTo>
                    <a:pt x="8840" y="3565"/>
                  </a:lnTo>
                  <a:lnTo>
                    <a:pt x="8832" y="3565"/>
                  </a:lnTo>
                  <a:lnTo>
                    <a:pt x="8826" y="3561"/>
                  </a:lnTo>
                  <a:lnTo>
                    <a:pt x="8822" y="3554"/>
                  </a:lnTo>
                  <a:lnTo>
                    <a:pt x="8821" y="3546"/>
                  </a:lnTo>
                  <a:lnTo>
                    <a:pt x="8821" y="3433"/>
                  </a:lnTo>
                  <a:lnTo>
                    <a:pt x="8822" y="3424"/>
                  </a:lnTo>
                  <a:lnTo>
                    <a:pt x="8826" y="3419"/>
                  </a:lnTo>
                  <a:lnTo>
                    <a:pt x="8832" y="3415"/>
                  </a:lnTo>
                  <a:lnTo>
                    <a:pt x="8840" y="3414"/>
                  </a:lnTo>
                  <a:lnTo>
                    <a:pt x="8848" y="3415"/>
                  </a:lnTo>
                  <a:lnTo>
                    <a:pt x="8854" y="3419"/>
                  </a:lnTo>
                  <a:lnTo>
                    <a:pt x="8858" y="3424"/>
                  </a:lnTo>
                  <a:lnTo>
                    <a:pt x="8861" y="3433"/>
                  </a:lnTo>
                  <a:close/>
                  <a:moveTo>
                    <a:pt x="7545" y="3680"/>
                  </a:moveTo>
                  <a:lnTo>
                    <a:pt x="7545" y="3792"/>
                  </a:lnTo>
                  <a:lnTo>
                    <a:pt x="7542" y="3801"/>
                  </a:lnTo>
                  <a:lnTo>
                    <a:pt x="7539" y="3806"/>
                  </a:lnTo>
                  <a:lnTo>
                    <a:pt x="7532" y="3810"/>
                  </a:lnTo>
                  <a:lnTo>
                    <a:pt x="7524" y="3811"/>
                  </a:lnTo>
                  <a:lnTo>
                    <a:pt x="7517" y="3810"/>
                  </a:lnTo>
                  <a:lnTo>
                    <a:pt x="7510" y="3806"/>
                  </a:lnTo>
                  <a:lnTo>
                    <a:pt x="7506" y="3801"/>
                  </a:lnTo>
                  <a:lnTo>
                    <a:pt x="7505" y="3792"/>
                  </a:lnTo>
                  <a:lnTo>
                    <a:pt x="7505" y="3680"/>
                  </a:lnTo>
                  <a:lnTo>
                    <a:pt x="7506" y="3671"/>
                  </a:lnTo>
                  <a:lnTo>
                    <a:pt x="7510" y="3664"/>
                  </a:lnTo>
                  <a:lnTo>
                    <a:pt x="7517" y="3661"/>
                  </a:lnTo>
                  <a:lnTo>
                    <a:pt x="7524" y="3659"/>
                  </a:lnTo>
                  <a:lnTo>
                    <a:pt x="7532" y="3661"/>
                  </a:lnTo>
                  <a:lnTo>
                    <a:pt x="7539" y="3664"/>
                  </a:lnTo>
                  <a:lnTo>
                    <a:pt x="7542" y="3671"/>
                  </a:lnTo>
                  <a:lnTo>
                    <a:pt x="7545" y="3680"/>
                  </a:lnTo>
                  <a:close/>
                  <a:moveTo>
                    <a:pt x="7808" y="3680"/>
                  </a:moveTo>
                  <a:lnTo>
                    <a:pt x="7808" y="3792"/>
                  </a:lnTo>
                  <a:lnTo>
                    <a:pt x="7807" y="3801"/>
                  </a:lnTo>
                  <a:lnTo>
                    <a:pt x="7801" y="3806"/>
                  </a:lnTo>
                  <a:lnTo>
                    <a:pt x="7795" y="3810"/>
                  </a:lnTo>
                  <a:lnTo>
                    <a:pt x="7787" y="3811"/>
                  </a:lnTo>
                  <a:lnTo>
                    <a:pt x="7781" y="3810"/>
                  </a:lnTo>
                  <a:lnTo>
                    <a:pt x="7774" y="3806"/>
                  </a:lnTo>
                  <a:lnTo>
                    <a:pt x="7769" y="3801"/>
                  </a:lnTo>
                  <a:lnTo>
                    <a:pt x="7768" y="3792"/>
                  </a:lnTo>
                  <a:lnTo>
                    <a:pt x="7768" y="3680"/>
                  </a:lnTo>
                  <a:lnTo>
                    <a:pt x="7769" y="3671"/>
                  </a:lnTo>
                  <a:lnTo>
                    <a:pt x="7774" y="3664"/>
                  </a:lnTo>
                  <a:lnTo>
                    <a:pt x="7781" y="3661"/>
                  </a:lnTo>
                  <a:lnTo>
                    <a:pt x="7787" y="3659"/>
                  </a:lnTo>
                  <a:lnTo>
                    <a:pt x="7795" y="3661"/>
                  </a:lnTo>
                  <a:lnTo>
                    <a:pt x="7801" y="3664"/>
                  </a:lnTo>
                  <a:lnTo>
                    <a:pt x="7807" y="3671"/>
                  </a:lnTo>
                  <a:lnTo>
                    <a:pt x="7808" y="3680"/>
                  </a:lnTo>
                  <a:close/>
                  <a:moveTo>
                    <a:pt x="8071" y="3680"/>
                  </a:moveTo>
                  <a:lnTo>
                    <a:pt x="8071" y="3792"/>
                  </a:lnTo>
                  <a:lnTo>
                    <a:pt x="8069" y="3801"/>
                  </a:lnTo>
                  <a:lnTo>
                    <a:pt x="8064" y="3806"/>
                  </a:lnTo>
                  <a:lnTo>
                    <a:pt x="8058" y="3810"/>
                  </a:lnTo>
                  <a:lnTo>
                    <a:pt x="8051" y="3811"/>
                  </a:lnTo>
                  <a:lnTo>
                    <a:pt x="8044" y="3810"/>
                  </a:lnTo>
                  <a:lnTo>
                    <a:pt x="8037" y="3806"/>
                  </a:lnTo>
                  <a:lnTo>
                    <a:pt x="8032" y="3801"/>
                  </a:lnTo>
                  <a:lnTo>
                    <a:pt x="8031" y="3792"/>
                  </a:lnTo>
                  <a:lnTo>
                    <a:pt x="8031" y="3680"/>
                  </a:lnTo>
                  <a:lnTo>
                    <a:pt x="8032" y="3671"/>
                  </a:lnTo>
                  <a:lnTo>
                    <a:pt x="8037" y="3664"/>
                  </a:lnTo>
                  <a:lnTo>
                    <a:pt x="8044" y="3661"/>
                  </a:lnTo>
                  <a:lnTo>
                    <a:pt x="8051" y="3659"/>
                  </a:lnTo>
                  <a:lnTo>
                    <a:pt x="8058" y="3661"/>
                  </a:lnTo>
                  <a:lnTo>
                    <a:pt x="8064" y="3664"/>
                  </a:lnTo>
                  <a:lnTo>
                    <a:pt x="8069" y="3671"/>
                  </a:lnTo>
                  <a:lnTo>
                    <a:pt x="8071" y="3680"/>
                  </a:lnTo>
                  <a:close/>
                  <a:moveTo>
                    <a:pt x="8334" y="3680"/>
                  </a:moveTo>
                  <a:lnTo>
                    <a:pt x="8334" y="3792"/>
                  </a:lnTo>
                  <a:lnTo>
                    <a:pt x="8332" y="3801"/>
                  </a:lnTo>
                  <a:lnTo>
                    <a:pt x="8327" y="3806"/>
                  </a:lnTo>
                  <a:lnTo>
                    <a:pt x="8322" y="3810"/>
                  </a:lnTo>
                  <a:lnTo>
                    <a:pt x="8314" y="3811"/>
                  </a:lnTo>
                  <a:lnTo>
                    <a:pt x="8307" y="3810"/>
                  </a:lnTo>
                  <a:lnTo>
                    <a:pt x="8300" y="3806"/>
                  </a:lnTo>
                  <a:lnTo>
                    <a:pt x="8296" y="3801"/>
                  </a:lnTo>
                  <a:lnTo>
                    <a:pt x="8294" y="3792"/>
                  </a:lnTo>
                  <a:lnTo>
                    <a:pt x="8294" y="3680"/>
                  </a:lnTo>
                  <a:lnTo>
                    <a:pt x="8296" y="3671"/>
                  </a:lnTo>
                  <a:lnTo>
                    <a:pt x="8300" y="3664"/>
                  </a:lnTo>
                  <a:lnTo>
                    <a:pt x="8307" y="3661"/>
                  </a:lnTo>
                  <a:lnTo>
                    <a:pt x="8314" y="3659"/>
                  </a:lnTo>
                  <a:lnTo>
                    <a:pt x="8322" y="3661"/>
                  </a:lnTo>
                  <a:lnTo>
                    <a:pt x="8327" y="3664"/>
                  </a:lnTo>
                  <a:lnTo>
                    <a:pt x="8332" y="3671"/>
                  </a:lnTo>
                  <a:lnTo>
                    <a:pt x="8334" y="3680"/>
                  </a:lnTo>
                  <a:close/>
                  <a:moveTo>
                    <a:pt x="8598" y="3680"/>
                  </a:moveTo>
                  <a:lnTo>
                    <a:pt x="8598" y="3792"/>
                  </a:lnTo>
                  <a:lnTo>
                    <a:pt x="8595" y="3801"/>
                  </a:lnTo>
                  <a:lnTo>
                    <a:pt x="8591" y="3806"/>
                  </a:lnTo>
                  <a:lnTo>
                    <a:pt x="8585" y="3810"/>
                  </a:lnTo>
                  <a:lnTo>
                    <a:pt x="8577" y="3811"/>
                  </a:lnTo>
                  <a:lnTo>
                    <a:pt x="8569" y="3810"/>
                  </a:lnTo>
                  <a:lnTo>
                    <a:pt x="8563" y="3806"/>
                  </a:lnTo>
                  <a:lnTo>
                    <a:pt x="8559" y="3801"/>
                  </a:lnTo>
                  <a:lnTo>
                    <a:pt x="8557" y="3792"/>
                  </a:lnTo>
                  <a:lnTo>
                    <a:pt x="8557" y="3680"/>
                  </a:lnTo>
                  <a:lnTo>
                    <a:pt x="8559" y="3671"/>
                  </a:lnTo>
                  <a:lnTo>
                    <a:pt x="8563" y="3664"/>
                  </a:lnTo>
                  <a:lnTo>
                    <a:pt x="8569" y="3661"/>
                  </a:lnTo>
                  <a:lnTo>
                    <a:pt x="8577" y="3659"/>
                  </a:lnTo>
                  <a:lnTo>
                    <a:pt x="8585" y="3661"/>
                  </a:lnTo>
                  <a:lnTo>
                    <a:pt x="8591" y="3664"/>
                  </a:lnTo>
                  <a:lnTo>
                    <a:pt x="8595" y="3671"/>
                  </a:lnTo>
                  <a:lnTo>
                    <a:pt x="8598" y="3680"/>
                  </a:lnTo>
                  <a:close/>
                  <a:moveTo>
                    <a:pt x="8861" y="3680"/>
                  </a:moveTo>
                  <a:lnTo>
                    <a:pt x="8861" y="3792"/>
                  </a:lnTo>
                  <a:lnTo>
                    <a:pt x="8858" y="3801"/>
                  </a:lnTo>
                  <a:lnTo>
                    <a:pt x="8854" y="3806"/>
                  </a:lnTo>
                  <a:lnTo>
                    <a:pt x="8848" y="3810"/>
                  </a:lnTo>
                  <a:lnTo>
                    <a:pt x="8840" y="3811"/>
                  </a:lnTo>
                  <a:lnTo>
                    <a:pt x="8832" y="3810"/>
                  </a:lnTo>
                  <a:lnTo>
                    <a:pt x="8826" y="3806"/>
                  </a:lnTo>
                  <a:lnTo>
                    <a:pt x="8822" y="3801"/>
                  </a:lnTo>
                  <a:lnTo>
                    <a:pt x="8821" y="3792"/>
                  </a:lnTo>
                  <a:lnTo>
                    <a:pt x="8821" y="3680"/>
                  </a:lnTo>
                  <a:lnTo>
                    <a:pt x="8822" y="3671"/>
                  </a:lnTo>
                  <a:lnTo>
                    <a:pt x="8826" y="3664"/>
                  </a:lnTo>
                  <a:lnTo>
                    <a:pt x="8832" y="3661"/>
                  </a:lnTo>
                  <a:lnTo>
                    <a:pt x="8840" y="3659"/>
                  </a:lnTo>
                  <a:lnTo>
                    <a:pt x="8848" y="3661"/>
                  </a:lnTo>
                  <a:lnTo>
                    <a:pt x="8854" y="3664"/>
                  </a:lnTo>
                  <a:lnTo>
                    <a:pt x="8858" y="3671"/>
                  </a:lnTo>
                  <a:lnTo>
                    <a:pt x="8861" y="3680"/>
                  </a:lnTo>
                  <a:close/>
                  <a:moveTo>
                    <a:pt x="9081" y="2604"/>
                  </a:moveTo>
                  <a:lnTo>
                    <a:pt x="9075" y="2604"/>
                  </a:lnTo>
                  <a:lnTo>
                    <a:pt x="9081" y="2604"/>
                  </a:lnTo>
                  <a:close/>
                  <a:moveTo>
                    <a:pt x="5536" y="1840"/>
                  </a:moveTo>
                  <a:lnTo>
                    <a:pt x="5109" y="1840"/>
                  </a:lnTo>
                  <a:lnTo>
                    <a:pt x="5109" y="1950"/>
                  </a:lnTo>
                  <a:lnTo>
                    <a:pt x="5536" y="1950"/>
                  </a:lnTo>
                  <a:lnTo>
                    <a:pt x="5536" y="1840"/>
                  </a:lnTo>
                  <a:close/>
                  <a:moveTo>
                    <a:pt x="4446" y="3790"/>
                  </a:moveTo>
                  <a:lnTo>
                    <a:pt x="5309" y="3790"/>
                  </a:lnTo>
                  <a:lnTo>
                    <a:pt x="5318" y="3791"/>
                  </a:lnTo>
                  <a:lnTo>
                    <a:pt x="5324" y="3796"/>
                  </a:lnTo>
                  <a:lnTo>
                    <a:pt x="5328" y="3803"/>
                  </a:lnTo>
                  <a:lnTo>
                    <a:pt x="5329" y="3809"/>
                  </a:lnTo>
                  <a:lnTo>
                    <a:pt x="5328" y="3817"/>
                  </a:lnTo>
                  <a:lnTo>
                    <a:pt x="5324" y="3823"/>
                  </a:lnTo>
                  <a:lnTo>
                    <a:pt x="5318" y="3828"/>
                  </a:lnTo>
                  <a:lnTo>
                    <a:pt x="5309" y="3829"/>
                  </a:lnTo>
                  <a:lnTo>
                    <a:pt x="5215" y="3829"/>
                  </a:lnTo>
                  <a:lnTo>
                    <a:pt x="5215" y="4317"/>
                  </a:lnTo>
                  <a:lnTo>
                    <a:pt x="5754" y="4317"/>
                  </a:lnTo>
                  <a:lnTo>
                    <a:pt x="5754" y="3782"/>
                  </a:lnTo>
                  <a:lnTo>
                    <a:pt x="5754" y="3249"/>
                  </a:lnTo>
                  <a:lnTo>
                    <a:pt x="5754" y="2716"/>
                  </a:lnTo>
                  <a:lnTo>
                    <a:pt x="5754" y="2182"/>
                  </a:lnTo>
                  <a:lnTo>
                    <a:pt x="5195" y="2182"/>
                  </a:lnTo>
                  <a:lnTo>
                    <a:pt x="4637" y="2182"/>
                  </a:lnTo>
                  <a:lnTo>
                    <a:pt x="4629" y="2181"/>
                  </a:lnTo>
                  <a:lnTo>
                    <a:pt x="4623" y="2176"/>
                  </a:lnTo>
                  <a:lnTo>
                    <a:pt x="4619" y="2170"/>
                  </a:lnTo>
                  <a:lnTo>
                    <a:pt x="4617" y="2163"/>
                  </a:lnTo>
                  <a:lnTo>
                    <a:pt x="4619" y="2156"/>
                  </a:lnTo>
                  <a:lnTo>
                    <a:pt x="4623" y="2149"/>
                  </a:lnTo>
                  <a:lnTo>
                    <a:pt x="4629" y="2144"/>
                  </a:lnTo>
                  <a:lnTo>
                    <a:pt x="4637" y="2143"/>
                  </a:lnTo>
                  <a:lnTo>
                    <a:pt x="5615" y="2143"/>
                  </a:lnTo>
                  <a:lnTo>
                    <a:pt x="5615" y="1989"/>
                  </a:lnTo>
                  <a:lnTo>
                    <a:pt x="5555" y="1989"/>
                  </a:lnTo>
                  <a:lnTo>
                    <a:pt x="5089" y="1989"/>
                  </a:lnTo>
                  <a:lnTo>
                    <a:pt x="4119" y="1989"/>
                  </a:lnTo>
                  <a:lnTo>
                    <a:pt x="4119" y="2143"/>
                  </a:lnTo>
                  <a:lnTo>
                    <a:pt x="4373" y="2143"/>
                  </a:lnTo>
                  <a:lnTo>
                    <a:pt x="4382" y="2144"/>
                  </a:lnTo>
                  <a:lnTo>
                    <a:pt x="4387" y="2149"/>
                  </a:lnTo>
                  <a:lnTo>
                    <a:pt x="4391" y="2156"/>
                  </a:lnTo>
                  <a:lnTo>
                    <a:pt x="4392" y="2163"/>
                  </a:lnTo>
                  <a:lnTo>
                    <a:pt x="4391" y="2170"/>
                  </a:lnTo>
                  <a:lnTo>
                    <a:pt x="4387" y="2176"/>
                  </a:lnTo>
                  <a:lnTo>
                    <a:pt x="4382" y="2181"/>
                  </a:lnTo>
                  <a:lnTo>
                    <a:pt x="4373" y="2182"/>
                  </a:lnTo>
                  <a:lnTo>
                    <a:pt x="4001" y="2182"/>
                  </a:lnTo>
                  <a:lnTo>
                    <a:pt x="4001" y="3195"/>
                  </a:lnTo>
                  <a:lnTo>
                    <a:pt x="3999" y="3204"/>
                  </a:lnTo>
                  <a:lnTo>
                    <a:pt x="3994" y="3211"/>
                  </a:lnTo>
                  <a:lnTo>
                    <a:pt x="3988" y="3214"/>
                  </a:lnTo>
                  <a:lnTo>
                    <a:pt x="3980" y="3216"/>
                  </a:lnTo>
                  <a:lnTo>
                    <a:pt x="3974" y="3214"/>
                  </a:lnTo>
                  <a:lnTo>
                    <a:pt x="3967" y="3211"/>
                  </a:lnTo>
                  <a:lnTo>
                    <a:pt x="3962" y="3204"/>
                  </a:lnTo>
                  <a:lnTo>
                    <a:pt x="3961" y="3195"/>
                  </a:lnTo>
                  <a:lnTo>
                    <a:pt x="3961" y="2679"/>
                  </a:lnTo>
                  <a:lnTo>
                    <a:pt x="3961" y="2163"/>
                  </a:lnTo>
                  <a:lnTo>
                    <a:pt x="3962" y="2156"/>
                  </a:lnTo>
                  <a:lnTo>
                    <a:pt x="3966" y="2149"/>
                  </a:lnTo>
                  <a:lnTo>
                    <a:pt x="3973" y="2144"/>
                  </a:lnTo>
                  <a:lnTo>
                    <a:pt x="3980" y="2143"/>
                  </a:lnTo>
                  <a:lnTo>
                    <a:pt x="4079" y="2143"/>
                  </a:lnTo>
                  <a:lnTo>
                    <a:pt x="4079" y="1970"/>
                  </a:lnTo>
                  <a:lnTo>
                    <a:pt x="4080" y="1963"/>
                  </a:lnTo>
                  <a:lnTo>
                    <a:pt x="4085" y="1956"/>
                  </a:lnTo>
                  <a:lnTo>
                    <a:pt x="4092" y="1951"/>
                  </a:lnTo>
                  <a:lnTo>
                    <a:pt x="4099" y="1950"/>
                  </a:lnTo>
                  <a:lnTo>
                    <a:pt x="5069" y="1950"/>
                  </a:lnTo>
                  <a:lnTo>
                    <a:pt x="5069" y="1819"/>
                  </a:lnTo>
                  <a:lnTo>
                    <a:pt x="5070" y="1812"/>
                  </a:lnTo>
                  <a:lnTo>
                    <a:pt x="5075" y="1805"/>
                  </a:lnTo>
                  <a:lnTo>
                    <a:pt x="5082" y="1801"/>
                  </a:lnTo>
                  <a:lnTo>
                    <a:pt x="5089" y="1799"/>
                  </a:lnTo>
                  <a:lnTo>
                    <a:pt x="5555" y="1799"/>
                  </a:lnTo>
                  <a:lnTo>
                    <a:pt x="5563" y="1801"/>
                  </a:lnTo>
                  <a:lnTo>
                    <a:pt x="5569" y="1805"/>
                  </a:lnTo>
                  <a:lnTo>
                    <a:pt x="5573" y="1812"/>
                  </a:lnTo>
                  <a:lnTo>
                    <a:pt x="5575" y="1819"/>
                  </a:lnTo>
                  <a:lnTo>
                    <a:pt x="5575" y="1950"/>
                  </a:lnTo>
                  <a:lnTo>
                    <a:pt x="5636" y="1950"/>
                  </a:lnTo>
                  <a:lnTo>
                    <a:pt x="5643" y="1951"/>
                  </a:lnTo>
                  <a:lnTo>
                    <a:pt x="5650" y="1956"/>
                  </a:lnTo>
                  <a:lnTo>
                    <a:pt x="5654" y="1963"/>
                  </a:lnTo>
                  <a:lnTo>
                    <a:pt x="5656" y="1970"/>
                  </a:lnTo>
                  <a:lnTo>
                    <a:pt x="5656" y="2143"/>
                  </a:lnTo>
                  <a:lnTo>
                    <a:pt x="5773" y="2143"/>
                  </a:lnTo>
                  <a:lnTo>
                    <a:pt x="5781" y="2144"/>
                  </a:lnTo>
                  <a:lnTo>
                    <a:pt x="5787" y="2149"/>
                  </a:lnTo>
                  <a:lnTo>
                    <a:pt x="5792" y="2156"/>
                  </a:lnTo>
                  <a:lnTo>
                    <a:pt x="5793" y="2163"/>
                  </a:lnTo>
                  <a:lnTo>
                    <a:pt x="5793" y="2705"/>
                  </a:lnTo>
                  <a:lnTo>
                    <a:pt x="5793" y="3249"/>
                  </a:lnTo>
                  <a:lnTo>
                    <a:pt x="5793" y="3792"/>
                  </a:lnTo>
                  <a:lnTo>
                    <a:pt x="5793" y="4336"/>
                  </a:lnTo>
                  <a:lnTo>
                    <a:pt x="5792" y="4343"/>
                  </a:lnTo>
                  <a:lnTo>
                    <a:pt x="5787" y="4350"/>
                  </a:lnTo>
                  <a:lnTo>
                    <a:pt x="5781" y="4355"/>
                  </a:lnTo>
                  <a:lnTo>
                    <a:pt x="5773" y="4356"/>
                  </a:lnTo>
                  <a:lnTo>
                    <a:pt x="5195" y="4356"/>
                  </a:lnTo>
                  <a:lnTo>
                    <a:pt x="4560" y="4356"/>
                  </a:lnTo>
                  <a:lnTo>
                    <a:pt x="3980" y="4356"/>
                  </a:lnTo>
                  <a:lnTo>
                    <a:pt x="3973" y="4355"/>
                  </a:lnTo>
                  <a:lnTo>
                    <a:pt x="3966" y="4350"/>
                  </a:lnTo>
                  <a:lnTo>
                    <a:pt x="3962" y="4343"/>
                  </a:lnTo>
                  <a:lnTo>
                    <a:pt x="3961" y="4336"/>
                  </a:lnTo>
                  <a:lnTo>
                    <a:pt x="3961" y="4037"/>
                  </a:lnTo>
                  <a:lnTo>
                    <a:pt x="3962" y="4028"/>
                  </a:lnTo>
                  <a:lnTo>
                    <a:pt x="3967" y="4021"/>
                  </a:lnTo>
                  <a:lnTo>
                    <a:pt x="3974" y="4017"/>
                  </a:lnTo>
                  <a:lnTo>
                    <a:pt x="3980" y="4016"/>
                  </a:lnTo>
                  <a:lnTo>
                    <a:pt x="3988" y="4017"/>
                  </a:lnTo>
                  <a:lnTo>
                    <a:pt x="3994" y="4021"/>
                  </a:lnTo>
                  <a:lnTo>
                    <a:pt x="3999" y="4028"/>
                  </a:lnTo>
                  <a:lnTo>
                    <a:pt x="4001" y="4037"/>
                  </a:lnTo>
                  <a:lnTo>
                    <a:pt x="4001" y="4317"/>
                  </a:lnTo>
                  <a:lnTo>
                    <a:pt x="4539" y="4317"/>
                  </a:lnTo>
                  <a:lnTo>
                    <a:pt x="4539" y="3829"/>
                  </a:lnTo>
                  <a:lnTo>
                    <a:pt x="4446" y="3829"/>
                  </a:lnTo>
                  <a:lnTo>
                    <a:pt x="4437" y="3828"/>
                  </a:lnTo>
                  <a:lnTo>
                    <a:pt x="4430" y="3823"/>
                  </a:lnTo>
                  <a:lnTo>
                    <a:pt x="4426" y="3817"/>
                  </a:lnTo>
                  <a:lnTo>
                    <a:pt x="4425" y="3809"/>
                  </a:lnTo>
                  <a:lnTo>
                    <a:pt x="4426" y="3803"/>
                  </a:lnTo>
                  <a:lnTo>
                    <a:pt x="4430" y="3796"/>
                  </a:lnTo>
                  <a:lnTo>
                    <a:pt x="4437" y="3791"/>
                  </a:lnTo>
                  <a:lnTo>
                    <a:pt x="4446" y="3790"/>
                  </a:lnTo>
                  <a:close/>
                  <a:moveTo>
                    <a:pt x="4897" y="3950"/>
                  </a:moveTo>
                  <a:lnTo>
                    <a:pt x="4897" y="4317"/>
                  </a:lnTo>
                  <a:lnTo>
                    <a:pt x="5175" y="4317"/>
                  </a:lnTo>
                  <a:lnTo>
                    <a:pt x="5175" y="3829"/>
                  </a:lnTo>
                  <a:lnTo>
                    <a:pt x="4579" y="3829"/>
                  </a:lnTo>
                  <a:lnTo>
                    <a:pt x="4579" y="4317"/>
                  </a:lnTo>
                  <a:lnTo>
                    <a:pt x="4857" y="4317"/>
                  </a:lnTo>
                  <a:lnTo>
                    <a:pt x="4857" y="3950"/>
                  </a:lnTo>
                  <a:lnTo>
                    <a:pt x="4859" y="3941"/>
                  </a:lnTo>
                  <a:lnTo>
                    <a:pt x="4864" y="3934"/>
                  </a:lnTo>
                  <a:lnTo>
                    <a:pt x="4870" y="3930"/>
                  </a:lnTo>
                  <a:lnTo>
                    <a:pt x="4877" y="3929"/>
                  </a:lnTo>
                  <a:lnTo>
                    <a:pt x="4884" y="3930"/>
                  </a:lnTo>
                  <a:lnTo>
                    <a:pt x="4891" y="3934"/>
                  </a:lnTo>
                  <a:lnTo>
                    <a:pt x="4896" y="3941"/>
                  </a:lnTo>
                  <a:lnTo>
                    <a:pt x="4897" y="3950"/>
                  </a:lnTo>
                  <a:close/>
                  <a:moveTo>
                    <a:pt x="8349" y="481"/>
                  </a:moveTo>
                  <a:lnTo>
                    <a:pt x="8337" y="483"/>
                  </a:lnTo>
                  <a:lnTo>
                    <a:pt x="8328" y="482"/>
                  </a:lnTo>
                  <a:lnTo>
                    <a:pt x="8321" y="475"/>
                  </a:lnTo>
                  <a:lnTo>
                    <a:pt x="8318" y="464"/>
                  </a:lnTo>
                  <a:lnTo>
                    <a:pt x="8316" y="446"/>
                  </a:lnTo>
                  <a:lnTo>
                    <a:pt x="8312" y="428"/>
                  </a:lnTo>
                  <a:lnTo>
                    <a:pt x="8299" y="394"/>
                  </a:lnTo>
                  <a:lnTo>
                    <a:pt x="8280" y="364"/>
                  </a:lnTo>
                  <a:lnTo>
                    <a:pt x="8255" y="337"/>
                  </a:lnTo>
                  <a:lnTo>
                    <a:pt x="8226" y="316"/>
                  </a:lnTo>
                  <a:lnTo>
                    <a:pt x="8192" y="299"/>
                  </a:lnTo>
                  <a:lnTo>
                    <a:pt x="8175" y="293"/>
                  </a:lnTo>
                  <a:lnTo>
                    <a:pt x="8157" y="289"/>
                  </a:lnTo>
                  <a:lnTo>
                    <a:pt x="8137" y="286"/>
                  </a:lnTo>
                  <a:lnTo>
                    <a:pt x="8119" y="285"/>
                  </a:lnTo>
                  <a:lnTo>
                    <a:pt x="8080" y="289"/>
                  </a:lnTo>
                  <a:lnTo>
                    <a:pt x="8060" y="294"/>
                  </a:lnTo>
                  <a:lnTo>
                    <a:pt x="8042" y="300"/>
                  </a:lnTo>
                  <a:lnTo>
                    <a:pt x="8008" y="318"/>
                  </a:lnTo>
                  <a:lnTo>
                    <a:pt x="7978" y="341"/>
                  </a:lnTo>
                  <a:lnTo>
                    <a:pt x="7966" y="355"/>
                  </a:lnTo>
                  <a:lnTo>
                    <a:pt x="7954" y="369"/>
                  </a:lnTo>
                  <a:lnTo>
                    <a:pt x="7935" y="403"/>
                  </a:lnTo>
                  <a:lnTo>
                    <a:pt x="7928" y="420"/>
                  </a:lnTo>
                  <a:lnTo>
                    <a:pt x="7923" y="438"/>
                  </a:lnTo>
                  <a:lnTo>
                    <a:pt x="7919" y="477"/>
                  </a:lnTo>
                  <a:lnTo>
                    <a:pt x="7867" y="477"/>
                  </a:lnTo>
                  <a:lnTo>
                    <a:pt x="7836" y="474"/>
                  </a:lnTo>
                  <a:lnTo>
                    <a:pt x="7815" y="477"/>
                  </a:lnTo>
                  <a:lnTo>
                    <a:pt x="7798" y="482"/>
                  </a:lnTo>
                  <a:lnTo>
                    <a:pt x="7780" y="492"/>
                  </a:lnTo>
                  <a:lnTo>
                    <a:pt x="7765" y="504"/>
                  </a:lnTo>
                  <a:lnTo>
                    <a:pt x="7754" y="519"/>
                  </a:lnTo>
                  <a:lnTo>
                    <a:pt x="7745" y="537"/>
                  </a:lnTo>
                  <a:lnTo>
                    <a:pt x="7740" y="556"/>
                  </a:lnTo>
                  <a:lnTo>
                    <a:pt x="7737" y="576"/>
                  </a:lnTo>
                  <a:lnTo>
                    <a:pt x="7740" y="598"/>
                  </a:lnTo>
                  <a:lnTo>
                    <a:pt x="8505" y="599"/>
                  </a:lnTo>
                  <a:lnTo>
                    <a:pt x="8508" y="574"/>
                  </a:lnTo>
                  <a:lnTo>
                    <a:pt x="8505" y="552"/>
                  </a:lnTo>
                  <a:lnTo>
                    <a:pt x="8499" y="532"/>
                  </a:lnTo>
                  <a:lnTo>
                    <a:pt x="8490" y="514"/>
                  </a:lnTo>
                  <a:lnTo>
                    <a:pt x="8477" y="497"/>
                  </a:lnTo>
                  <a:lnTo>
                    <a:pt x="8460" y="484"/>
                  </a:lnTo>
                  <a:lnTo>
                    <a:pt x="8443" y="474"/>
                  </a:lnTo>
                  <a:lnTo>
                    <a:pt x="8423" y="468"/>
                  </a:lnTo>
                  <a:lnTo>
                    <a:pt x="8401" y="465"/>
                  </a:lnTo>
                  <a:lnTo>
                    <a:pt x="8373" y="469"/>
                  </a:lnTo>
                  <a:lnTo>
                    <a:pt x="8349" y="481"/>
                  </a:lnTo>
                  <a:close/>
                  <a:moveTo>
                    <a:pt x="7880" y="455"/>
                  </a:moveTo>
                  <a:lnTo>
                    <a:pt x="7883" y="433"/>
                  </a:lnTo>
                  <a:lnTo>
                    <a:pt x="7889" y="411"/>
                  </a:lnTo>
                  <a:lnTo>
                    <a:pt x="7896" y="391"/>
                  </a:lnTo>
                  <a:lnTo>
                    <a:pt x="7905" y="372"/>
                  </a:lnTo>
                  <a:lnTo>
                    <a:pt x="7917" y="354"/>
                  </a:lnTo>
                  <a:lnTo>
                    <a:pt x="7930" y="336"/>
                  </a:lnTo>
                  <a:lnTo>
                    <a:pt x="7944" y="321"/>
                  </a:lnTo>
                  <a:lnTo>
                    <a:pt x="7959" y="305"/>
                  </a:lnTo>
                  <a:lnTo>
                    <a:pt x="7994" y="280"/>
                  </a:lnTo>
                  <a:lnTo>
                    <a:pt x="8032" y="261"/>
                  </a:lnTo>
                  <a:lnTo>
                    <a:pt x="8075" y="249"/>
                  </a:lnTo>
                  <a:lnTo>
                    <a:pt x="8119" y="245"/>
                  </a:lnTo>
                  <a:lnTo>
                    <a:pt x="8160" y="249"/>
                  </a:lnTo>
                  <a:lnTo>
                    <a:pt x="8200" y="259"/>
                  </a:lnTo>
                  <a:lnTo>
                    <a:pt x="8237" y="276"/>
                  </a:lnTo>
                  <a:lnTo>
                    <a:pt x="8254" y="286"/>
                  </a:lnTo>
                  <a:lnTo>
                    <a:pt x="8271" y="299"/>
                  </a:lnTo>
                  <a:lnTo>
                    <a:pt x="8300" y="326"/>
                  </a:lnTo>
                  <a:lnTo>
                    <a:pt x="8325" y="358"/>
                  </a:lnTo>
                  <a:lnTo>
                    <a:pt x="8335" y="376"/>
                  </a:lnTo>
                  <a:lnTo>
                    <a:pt x="8343" y="395"/>
                  </a:lnTo>
                  <a:lnTo>
                    <a:pt x="8350" y="414"/>
                  </a:lnTo>
                  <a:lnTo>
                    <a:pt x="8354" y="433"/>
                  </a:lnTo>
                  <a:lnTo>
                    <a:pt x="8377" y="428"/>
                  </a:lnTo>
                  <a:lnTo>
                    <a:pt x="8401" y="426"/>
                  </a:lnTo>
                  <a:lnTo>
                    <a:pt x="8431" y="428"/>
                  </a:lnTo>
                  <a:lnTo>
                    <a:pt x="8459" y="437"/>
                  </a:lnTo>
                  <a:lnTo>
                    <a:pt x="8484" y="451"/>
                  </a:lnTo>
                  <a:lnTo>
                    <a:pt x="8505" y="470"/>
                  </a:lnTo>
                  <a:lnTo>
                    <a:pt x="8523" y="492"/>
                  </a:lnTo>
                  <a:lnTo>
                    <a:pt x="8531" y="505"/>
                  </a:lnTo>
                  <a:lnTo>
                    <a:pt x="8536" y="518"/>
                  </a:lnTo>
                  <a:lnTo>
                    <a:pt x="8545" y="544"/>
                  </a:lnTo>
                  <a:lnTo>
                    <a:pt x="8548" y="560"/>
                  </a:lnTo>
                  <a:lnTo>
                    <a:pt x="8548" y="574"/>
                  </a:lnTo>
                  <a:lnTo>
                    <a:pt x="8548" y="592"/>
                  </a:lnTo>
                  <a:lnTo>
                    <a:pt x="8544" y="613"/>
                  </a:lnTo>
                  <a:lnTo>
                    <a:pt x="8540" y="624"/>
                  </a:lnTo>
                  <a:lnTo>
                    <a:pt x="8535" y="631"/>
                  </a:lnTo>
                  <a:lnTo>
                    <a:pt x="8528" y="638"/>
                  </a:lnTo>
                  <a:lnTo>
                    <a:pt x="8521" y="640"/>
                  </a:lnTo>
                  <a:lnTo>
                    <a:pt x="7724" y="638"/>
                  </a:lnTo>
                  <a:lnTo>
                    <a:pt x="7717" y="637"/>
                  </a:lnTo>
                  <a:lnTo>
                    <a:pt x="7710" y="631"/>
                  </a:lnTo>
                  <a:lnTo>
                    <a:pt x="7705" y="622"/>
                  </a:lnTo>
                  <a:lnTo>
                    <a:pt x="7701" y="613"/>
                  </a:lnTo>
                  <a:lnTo>
                    <a:pt x="7699" y="593"/>
                  </a:lnTo>
                  <a:lnTo>
                    <a:pt x="7698" y="576"/>
                  </a:lnTo>
                  <a:lnTo>
                    <a:pt x="7700" y="548"/>
                  </a:lnTo>
                  <a:lnTo>
                    <a:pt x="7708" y="521"/>
                  </a:lnTo>
                  <a:lnTo>
                    <a:pt x="7721" y="497"/>
                  </a:lnTo>
                  <a:lnTo>
                    <a:pt x="7737" y="477"/>
                  </a:lnTo>
                  <a:lnTo>
                    <a:pt x="7757" y="459"/>
                  </a:lnTo>
                  <a:lnTo>
                    <a:pt x="7781" y="446"/>
                  </a:lnTo>
                  <a:lnTo>
                    <a:pt x="7807" y="437"/>
                  </a:lnTo>
                  <a:lnTo>
                    <a:pt x="7836" y="434"/>
                  </a:lnTo>
                  <a:lnTo>
                    <a:pt x="7851" y="436"/>
                  </a:lnTo>
                  <a:lnTo>
                    <a:pt x="7864" y="440"/>
                  </a:lnTo>
                  <a:lnTo>
                    <a:pt x="7874" y="445"/>
                  </a:lnTo>
                  <a:lnTo>
                    <a:pt x="7880" y="455"/>
                  </a:lnTo>
                  <a:close/>
                  <a:moveTo>
                    <a:pt x="4157" y="902"/>
                  </a:moveTo>
                  <a:lnTo>
                    <a:pt x="4683" y="902"/>
                  </a:lnTo>
                  <a:lnTo>
                    <a:pt x="5210" y="902"/>
                  </a:lnTo>
                  <a:lnTo>
                    <a:pt x="5210" y="892"/>
                  </a:lnTo>
                  <a:lnTo>
                    <a:pt x="5207" y="865"/>
                  </a:lnTo>
                  <a:lnTo>
                    <a:pt x="5203" y="854"/>
                  </a:lnTo>
                  <a:lnTo>
                    <a:pt x="5200" y="841"/>
                  </a:lnTo>
                  <a:lnTo>
                    <a:pt x="5187" y="819"/>
                  </a:lnTo>
                  <a:lnTo>
                    <a:pt x="5179" y="809"/>
                  </a:lnTo>
                  <a:lnTo>
                    <a:pt x="5171" y="799"/>
                  </a:lnTo>
                  <a:lnTo>
                    <a:pt x="5151" y="784"/>
                  </a:lnTo>
                  <a:lnTo>
                    <a:pt x="5141" y="777"/>
                  </a:lnTo>
                  <a:lnTo>
                    <a:pt x="5129" y="771"/>
                  </a:lnTo>
                  <a:lnTo>
                    <a:pt x="5103" y="763"/>
                  </a:lnTo>
                  <a:lnTo>
                    <a:pt x="5077" y="761"/>
                  </a:lnTo>
                  <a:lnTo>
                    <a:pt x="5052" y="763"/>
                  </a:lnTo>
                  <a:lnTo>
                    <a:pt x="5042" y="767"/>
                  </a:lnTo>
                  <a:lnTo>
                    <a:pt x="5030" y="771"/>
                  </a:lnTo>
                  <a:lnTo>
                    <a:pt x="4996" y="791"/>
                  </a:lnTo>
                  <a:lnTo>
                    <a:pt x="4982" y="799"/>
                  </a:lnTo>
                  <a:lnTo>
                    <a:pt x="4970" y="801"/>
                  </a:lnTo>
                  <a:lnTo>
                    <a:pt x="4961" y="799"/>
                  </a:lnTo>
                  <a:lnTo>
                    <a:pt x="4955" y="786"/>
                  </a:lnTo>
                  <a:lnTo>
                    <a:pt x="4944" y="758"/>
                  </a:lnTo>
                  <a:lnTo>
                    <a:pt x="4938" y="745"/>
                  </a:lnTo>
                  <a:lnTo>
                    <a:pt x="4929" y="732"/>
                  </a:lnTo>
                  <a:lnTo>
                    <a:pt x="4911" y="711"/>
                  </a:lnTo>
                  <a:lnTo>
                    <a:pt x="4900" y="700"/>
                  </a:lnTo>
                  <a:lnTo>
                    <a:pt x="4888" y="690"/>
                  </a:lnTo>
                  <a:lnTo>
                    <a:pt x="4864" y="675"/>
                  </a:lnTo>
                  <a:lnTo>
                    <a:pt x="4837" y="662"/>
                  </a:lnTo>
                  <a:lnTo>
                    <a:pt x="4821" y="658"/>
                  </a:lnTo>
                  <a:lnTo>
                    <a:pt x="4807" y="656"/>
                  </a:lnTo>
                  <a:lnTo>
                    <a:pt x="4775" y="653"/>
                  </a:lnTo>
                  <a:lnTo>
                    <a:pt x="4751" y="656"/>
                  </a:lnTo>
                  <a:lnTo>
                    <a:pt x="4725" y="661"/>
                  </a:lnTo>
                  <a:lnTo>
                    <a:pt x="4702" y="665"/>
                  </a:lnTo>
                  <a:lnTo>
                    <a:pt x="4694" y="663"/>
                  </a:lnTo>
                  <a:lnTo>
                    <a:pt x="4688" y="660"/>
                  </a:lnTo>
                  <a:lnTo>
                    <a:pt x="4671" y="643"/>
                  </a:lnTo>
                  <a:lnTo>
                    <a:pt x="4653" y="628"/>
                  </a:lnTo>
                  <a:lnTo>
                    <a:pt x="4634" y="615"/>
                  </a:lnTo>
                  <a:lnTo>
                    <a:pt x="4614" y="605"/>
                  </a:lnTo>
                  <a:lnTo>
                    <a:pt x="4592" y="596"/>
                  </a:lnTo>
                  <a:lnTo>
                    <a:pt x="4570" y="589"/>
                  </a:lnTo>
                  <a:lnTo>
                    <a:pt x="4546" y="585"/>
                  </a:lnTo>
                  <a:lnTo>
                    <a:pt x="4521" y="584"/>
                  </a:lnTo>
                  <a:lnTo>
                    <a:pt x="4480" y="587"/>
                  </a:lnTo>
                  <a:lnTo>
                    <a:pt x="4462" y="590"/>
                  </a:lnTo>
                  <a:lnTo>
                    <a:pt x="4446" y="594"/>
                  </a:lnTo>
                  <a:lnTo>
                    <a:pt x="4416" y="607"/>
                  </a:lnTo>
                  <a:lnTo>
                    <a:pt x="4393" y="622"/>
                  </a:lnTo>
                  <a:lnTo>
                    <a:pt x="4373" y="640"/>
                  </a:lnTo>
                  <a:lnTo>
                    <a:pt x="4356" y="661"/>
                  </a:lnTo>
                  <a:lnTo>
                    <a:pt x="4343" y="683"/>
                  </a:lnTo>
                  <a:lnTo>
                    <a:pt x="4333" y="704"/>
                  </a:lnTo>
                  <a:lnTo>
                    <a:pt x="4317" y="749"/>
                  </a:lnTo>
                  <a:lnTo>
                    <a:pt x="4306" y="786"/>
                  </a:lnTo>
                  <a:lnTo>
                    <a:pt x="4293" y="812"/>
                  </a:lnTo>
                  <a:lnTo>
                    <a:pt x="4287" y="818"/>
                  </a:lnTo>
                  <a:lnTo>
                    <a:pt x="4276" y="819"/>
                  </a:lnTo>
                  <a:lnTo>
                    <a:pt x="4261" y="818"/>
                  </a:lnTo>
                  <a:lnTo>
                    <a:pt x="4242" y="819"/>
                  </a:lnTo>
                  <a:lnTo>
                    <a:pt x="4224" y="824"/>
                  </a:lnTo>
                  <a:lnTo>
                    <a:pt x="4207" y="832"/>
                  </a:lnTo>
                  <a:lnTo>
                    <a:pt x="4193" y="842"/>
                  </a:lnTo>
                  <a:lnTo>
                    <a:pt x="4180" y="854"/>
                  </a:lnTo>
                  <a:lnTo>
                    <a:pt x="4170" y="868"/>
                  </a:lnTo>
                  <a:lnTo>
                    <a:pt x="4162" y="885"/>
                  </a:lnTo>
                  <a:lnTo>
                    <a:pt x="4157" y="902"/>
                  </a:lnTo>
                  <a:close/>
                  <a:moveTo>
                    <a:pt x="5248" y="923"/>
                  </a:moveTo>
                  <a:lnTo>
                    <a:pt x="5243" y="933"/>
                  </a:lnTo>
                  <a:lnTo>
                    <a:pt x="5238" y="938"/>
                  </a:lnTo>
                  <a:lnTo>
                    <a:pt x="5227" y="942"/>
                  </a:lnTo>
                  <a:lnTo>
                    <a:pt x="4680" y="942"/>
                  </a:lnTo>
                  <a:lnTo>
                    <a:pt x="4135" y="942"/>
                  </a:lnTo>
                  <a:lnTo>
                    <a:pt x="4129" y="940"/>
                  </a:lnTo>
                  <a:lnTo>
                    <a:pt x="4123" y="936"/>
                  </a:lnTo>
                  <a:lnTo>
                    <a:pt x="4117" y="928"/>
                  </a:lnTo>
                  <a:lnTo>
                    <a:pt x="4116" y="920"/>
                  </a:lnTo>
                  <a:lnTo>
                    <a:pt x="4119" y="891"/>
                  </a:lnTo>
                  <a:lnTo>
                    <a:pt x="4128" y="864"/>
                  </a:lnTo>
                  <a:lnTo>
                    <a:pt x="4140" y="840"/>
                  </a:lnTo>
                  <a:lnTo>
                    <a:pt x="4158" y="819"/>
                  </a:lnTo>
                  <a:lnTo>
                    <a:pt x="4180" y="801"/>
                  </a:lnTo>
                  <a:lnTo>
                    <a:pt x="4205" y="789"/>
                  </a:lnTo>
                  <a:lnTo>
                    <a:pt x="4232" y="781"/>
                  </a:lnTo>
                  <a:lnTo>
                    <a:pt x="4261" y="777"/>
                  </a:lnTo>
                  <a:lnTo>
                    <a:pt x="4265" y="753"/>
                  </a:lnTo>
                  <a:lnTo>
                    <a:pt x="4270" y="730"/>
                  </a:lnTo>
                  <a:lnTo>
                    <a:pt x="4279" y="707"/>
                  </a:lnTo>
                  <a:lnTo>
                    <a:pt x="4288" y="686"/>
                  </a:lnTo>
                  <a:lnTo>
                    <a:pt x="4301" y="666"/>
                  </a:lnTo>
                  <a:lnTo>
                    <a:pt x="4314" y="647"/>
                  </a:lnTo>
                  <a:lnTo>
                    <a:pt x="4329" y="629"/>
                  </a:lnTo>
                  <a:lnTo>
                    <a:pt x="4346" y="612"/>
                  </a:lnTo>
                  <a:lnTo>
                    <a:pt x="4364" y="597"/>
                  </a:lnTo>
                  <a:lnTo>
                    <a:pt x="4383" y="584"/>
                  </a:lnTo>
                  <a:lnTo>
                    <a:pt x="4425" y="562"/>
                  </a:lnTo>
                  <a:lnTo>
                    <a:pt x="4448" y="555"/>
                  </a:lnTo>
                  <a:lnTo>
                    <a:pt x="4471" y="550"/>
                  </a:lnTo>
                  <a:lnTo>
                    <a:pt x="4496" y="546"/>
                  </a:lnTo>
                  <a:lnTo>
                    <a:pt x="4521" y="544"/>
                  </a:lnTo>
                  <a:lnTo>
                    <a:pt x="4548" y="546"/>
                  </a:lnTo>
                  <a:lnTo>
                    <a:pt x="4575" y="550"/>
                  </a:lnTo>
                  <a:lnTo>
                    <a:pt x="4625" y="565"/>
                  </a:lnTo>
                  <a:lnTo>
                    <a:pt x="4648" y="576"/>
                  </a:lnTo>
                  <a:lnTo>
                    <a:pt x="4670" y="590"/>
                  </a:lnTo>
                  <a:lnTo>
                    <a:pt x="4689" y="606"/>
                  </a:lnTo>
                  <a:lnTo>
                    <a:pt x="4709" y="622"/>
                  </a:lnTo>
                  <a:lnTo>
                    <a:pt x="4741" y="615"/>
                  </a:lnTo>
                  <a:lnTo>
                    <a:pt x="4775" y="612"/>
                  </a:lnTo>
                  <a:lnTo>
                    <a:pt x="4810" y="615"/>
                  </a:lnTo>
                  <a:lnTo>
                    <a:pt x="4827" y="619"/>
                  </a:lnTo>
                  <a:lnTo>
                    <a:pt x="4842" y="622"/>
                  </a:lnTo>
                  <a:lnTo>
                    <a:pt x="4873" y="635"/>
                  </a:lnTo>
                  <a:lnTo>
                    <a:pt x="4901" y="651"/>
                  </a:lnTo>
                  <a:lnTo>
                    <a:pt x="4927" y="671"/>
                  </a:lnTo>
                  <a:lnTo>
                    <a:pt x="4950" y="694"/>
                  </a:lnTo>
                  <a:lnTo>
                    <a:pt x="4969" y="720"/>
                  </a:lnTo>
                  <a:lnTo>
                    <a:pt x="4984" y="749"/>
                  </a:lnTo>
                  <a:lnTo>
                    <a:pt x="5005" y="738"/>
                  </a:lnTo>
                  <a:lnTo>
                    <a:pt x="5028" y="729"/>
                  </a:lnTo>
                  <a:lnTo>
                    <a:pt x="5052" y="722"/>
                  </a:lnTo>
                  <a:lnTo>
                    <a:pt x="5077" y="721"/>
                  </a:lnTo>
                  <a:lnTo>
                    <a:pt x="5112" y="725"/>
                  </a:lnTo>
                  <a:lnTo>
                    <a:pt x="5128" y="729"/>
                  </a:lnTo>
                  <a:lnTo>
                    <a:pt x="5145" y="734"/>
                  </a:lnTo>
                  <a:lnTo>
                    <a:pt x="5174" y="750"/>
                  </a:lnTo>
                  <a:lnTo>
                    <a:pt x="5200" y="771"/>
                  </a:lnTo>
                  <a:lnTo>
                    <a:pt x="5210" y="784"/>
                  </a:lnTo>
                  <a:lnTo>
                    <a:pt x="5220" y="796"/>
                  </a:lnTo>
                  <a:lnTo>
                    <a:pt x="5229" y="810"/>
                  </a:lnTo>
                  <a:lnTo>
                    <a:pt x="5237" y="826"/>
                  </a:lnTo>
                  <a:lnTo>
                    <a:pt x="5247" y="858"/>
                  </a:lnTo>
                  <a:lnTo>
                    <a:pt x="5250" y="892"/>
                  </a:lnTo>
                  <a:lnTo>
                    <a:pt x="5250" y="908"/>
                  </a:lnTo>
                  <a:lnTo>
                    <a:pt x="5248" y="923"/>
                  </a:lnTo>
                  <a:close/>
                  <a:moveTo>
                    <a:pt x="4239" y="2494"/>
                  </a:moveTo>
                  <a:lnTo>
                    <a:pt x="4239" y="2607"/>
                  </a:lnTo>
                  <a:lnTo>
                    <a:pt x="4238" y="2616"/>
                  </a:lnTo>
                  <a:lnTo>
                    <a:pt x="4233" y="2622"/>
                  </a:lnTo>
                  <a:lnTo>
                    <a:pt x="4226" y="2626"/>
                  </a:lnTo>
                  <a:lnTo>
                    <a:pt x="4219" y="2627"/>
                  </a:lnTo>
                  <a:lnTo>
                    <a:pt x="4212" y="2626"/>
                  </a:lnTo>
                  <a:lnTo>
                    <a:pt x="4206" y="2622"/>
                  </a:lnTo>
                  <a:lnTo>
                    <a:pt x="4201" y="2616"/>
                  </a:lnTo>
                  <a:lnTo>
                    <a:pt x="4199" y="2607"/>
                  </a:lnTo>
                  <a:lnTo>
                    <a:pt x="4199" y="2494"/>
                  </a:lnTo>
                  <a:lnTo>
                    <a:pt x="4201" y="2487"/>
                  </a:lnTo>
                  <a:lnTo>
                    <a:pt x="4206" y="2480"/>
                  </a:lnTo>
                  <a:lnTo>
                    <a:pt x="4212" y="2477"/>
                  </a:lnTo>
                  <a:lnTo>
                    <a:pt x="4219" y="2475"/>
                  </a:lnTo>
                  <a:lnTo>
                    <a:pt x="4226" y="2477"/>
                  </a:lnTo>
                  <a:lnTo>
                    <a:pt x="4233" y="2480"/>
                  </a:lnTo>
                  <a:lnTo>
                    <a:pt x="4238" y="2487"/>
                  </a:lnTo>
                  <a:lnTo>
                    <a:pt x="4239" y="2494"/>
                  </a:lnTo>
                  <a:close/>
                  <a:moveTo>
                    <a:pt x="4502" y="2494"/>
                  </a:moveTo>
                  <a:lnTo>
                    <a:pt x="4502" y="2607"/>
                  </a:lnTo>
                  <a:lnTo>
                    <a:pt x="4501" y="2616"/>
                  </a:lnTo>
                  <a:lnTo>
                    <a:pt x="4496" y="2622"/>
                  </a:lnTo>
                  <a:lnTo>
                    <a:pt x="4489" y="2626"/>
                  </a:lnTo>
                  <a:lnTo>
                    <a:pt x="4483" y="2627"/>
                  </a:lnTo>
                  <a:lnTo>
                    <a:pt x="4475" y="2626"/>
                  </a:lnTo>
                  <a:lnTo>
                    <a:pt x="4469" y="2622"/>
                  </a:lnTo>
                  <a:lnTo>
                    <a:pt x="4464" y="2616"/>
                  </a:lnTo>
                  <a:lnTo>
                    <a:pt x="4462" y="2607"/>
                  </a:lnTo>
                  <a:lnTo>
                    <a:pt x="4462" y="2494"/>
                  </a:lnTo>
                  <a:lnTo>
                    <a:pt x="4464" y="2487"/>
                  </a:lnTo>
                  <a:lnTo>
                    <a:pt x="4469" y="2480"/>
                  </a:lnTo>
                  <a:lnTo>
                    <a:pt x="4475" y="2477"/>
                  </a:lnTo>
                  <a:lnTo>
                    <a:pt x="4483" y="2475"/>
                  </a:lnTo>
                  <a:lnTo>
                    <a:pt x="4489" y="2477"/>
                  </a:lnTo>
                  <a:lnTo>
                    <a:pt x="4496" y="2480"/>
                  </a:lnTo>
                  <a:lnTo>
                    <a:pt x="4501" y="2487"/>
                  </a:lnTo>
                  <a:lnTo>
                    <a:pt x="4502" y="2494"/>
                  </a:lnTo>
                  <a:close/>
                  <a:moveTo>
                    <a:pt x="4765" y="2494"/>
                  </a:moveTo>
                  <a:lnTo>
                    <a:pt x="4765" y="2607"/>
                  </a:lnTo>
                  <a:lnTo>
                    <a:pt x="4764" y="2616"/>
                  </a:lnTo>
                  <a:lnTo>
                    <a:pt x="4759" y="2622"/>
                  </a:lnTo>
                  <a:lnTo>
                    <a:pt x="4752" y="2626"/>
                  </a:lnTo>
                  <a:lnTo>
                    <a:pt x="4746" y="2627"/>
                  </a:lnTo>
                  <a:lnTo>
                    <a:pt x="4738" y="2626"/>
                  </a:lnTo>
                  <a:lnTo>
                    <a:pt x="4732" y="2622"/>
                  </a:lnTo>
                  <a:lnTo>
                    <a:pt x="4728" y="2616"/>
                  </a:lnTo>
                  <a:lnTo>
                    <a:pt x="4725" y="2607"/>
                  </a:lnTo>
                  <a:lnTo>
                    <a:pt x="4725" y="2494"/>
                  </a:lnTo>
                  <a:lnTo>
                    <a:pt x="4728" y="2487"/>
                  </a:lnTo>
                  <a:lnTo>
                    <a:pt x="4732" y="2480"/>
                  </a:lnTo>
                  <a:lnTo>
                    <a:pt x="4738" y="2477"/>
                  </a:lnTo>
                  <a:lnTo>
                    <a:pt x="4746" y="2475"/>
                  </a:lnTo>
                  <a:lnTo>
                    <a:pt x="4752" y="2477"/>
                  </a:lnTo>
                  <a:lnTo>
                    <a:pt x="4759" y="2480"/>
                  </a:lnTo>
                  <a:lnTo>
                    <a:pt x="4764" y="2487"/>
                  </a:lnTo>
                  <a:lnTo>
                    <a:pt x="4765" y="2494"/>
                  </a:lnTo>
                  <a:close/>
                  <a:moveTo>
                    <a:pt x="5029" y="2494"/>
                  </a:moveTo>
                  <a:lnTo>
                    <a:pt x="5029" y="2607"/>
                  </a:lnTo>
                  <a:lnTo>
                    <a:pt x="5027" y="2616"/>
                  </a:lnTo>
                  <a:lnTo>
                    <a:pt x="5023" y="2622"/>
                  </a:lnTo>
                  <a:lnTo>
                    <a:pt x="5016" y="2626"/>
                  </a:lnTo>
                  <a:lnTo>
                    <a:pt x="5009" y="2627"/>
                  </a:lnTo>
                  <a:lnTo>
                    <a:pt x="5001" y="2626"/>
                  </a:lnTo>
                  <a:lnTo>
                    <a:pt x="4994" y="2622"/>
                  </a:lnTo>
                  <a:lnTo>
                    <a:pt x="4991" y="2616"/>
                  </a:lnTo>
                  <a:lnTo>
                    <a:pt x="4988" y="2607"/>
                  </a:lnTo>
                  <a:lnTo>
                    <a:pt x="4988" y="2494"/>
                  </a:lnTo>
                  <a:lnTo>
                    <a:pt x="4991" y="2487"/>
                  </a:lnTo>
                  <a:lnTo>
                    <a:pt x="4994" y="2480"/>
                  </a:lnTo>
                  <a:lnTo>
                    <a:pt x="5001" y="2477"/>
                  </a:lnTo>
                  <a:lnTo>
                    <a:pt x="5009" y="2475"/>
                  </a:lnTo>
                  <a:lnTo>
                    <a:pt x="5016" y="2477"/>
                  </a:lnTo>
                  <a:lnTo>
                    <a:pt x="5023" y="2480"/>
                  </a:lnTo>
                  <a:lnTo>
                    <a:pt x="5027" y="2487"/>
                  </a:lnTo>
                  <a:lnTo>
                    <a:pt x="5029" y="2494"/>
                  </a:lnTo>
                  <a:close/>
                  <a:moveTo>
                    <a:pt x="5292" y="2494"/>
                  </a:moveTo>
                  <a:lnTo>
                    <a:pt x="5292" y="2607"/>
                  </a:lnTo>
                  <a:lnTo>
                    <a:pt x="5289" y="2616"/>
                  </a:lnTo>
                  <a:lnTo>
                    <a:pt x="5286" y="2622"/>
                  </a:lnTo>
                  <a:lnTo>
                    <a:pt x="5279" y="2626"/>
                  </a:lnTo>
                  <a:lnTo>
                    <a:pt x="5271" y="2627"/>
                  </a:lnTo>
                  <a:lnTo>
                    <a:pt x="5264" y="2626"/>
                  </a:lnTo>
                  <a:lnTo>
                    <a:pt x="5257" y="2622"/>
                  </a:lnTo>
                  <a:lnTo>
                    <a:pt x="5253" y="2616"/>
                  </a:lnTo>
                  <a:lnTo>
                    <a:pt x="5252" y="2607"/>
                  </a:lnTo>
                  <a:lnTo>
                    <a:pt x="5252" y="2494"/>
                  </a:lnTo>
                  <a:lnTo>
                    <a:pt x="5253" y="2487"/>
                  </a:lnTo>
                  <a:lnTo>
                    <a:pt x="5257" y="2480"/>
                  </a:lnTo>
                  <a:lnTo>
                    <a:pt x="5264" y="2477"/>
                  </a:lnTo>
                  <a:lnTo>
                    <a:pt x="5271" y="2475"/>
                  </a:lnTo>
                  <a:lnTo>
                    <a:pt x="5279" y="2477"/>
                  </a:lnTo>
                  <a:lnTo>
                    <a:pt x="5286" y="2480"/>
                  </a:lnTo>
                  <a:lnTo>
                    <a:pt x="5289" y="2487"/>
                  </a:lnTo>
                  <a:lnTo>
                    <a:pt x="5292" y="2494"/>
                  </a:lnTo>
                  <a:close/>
                  <a:moveTo>
                    <a:pt x="5555" y="2494"/>
                  </a:moveTo>
                  <a:lnTo>
                    <a:pt x="5555" y="2607"/>
                  </a:lnTo>
                  <a:lnTo>
                    <a:pt x="5554" y="2616"/>
                  </a:lnTo>
                  <a:lnTo>
                    <a:pt x="5548" y="2622"/>
                  </a:lnTo>
                  <a:lnTo>
                    <a:pt x="5542" y="2626"/>
                  </a:lnTo>
                  <a:lnTo>
                    <a:pt x="5534" y="2627"/>
                  </a:lnTo>
                  <a:lnTo>
                    <a:pt x="5528" y="2626"/>
                  </a:lnTo>
                  <a:lnTo>
                    <a:pt x="5521" y="2622"/>
                  </a:lnTo>
                  <a:lnTo>
                    <a:pt x="5516" y="2616"/>
                  </a:lnTo>
                  <a:lnTo>
                    <a:pt x="5515" y="2607"/>
                  </a:lnTo>
                  <a:lnTo>
                    <a:pt x="5515" y="2494"/>
                  </a:lnTo>
                  <a:lnTo>
                    <a:pt x="5516" y="2487"/>
                  </a:lnTo>
                  <a:lnTo>
                    <a:pt x="5521" y="2480"/>
                  </a:lnTo>
                  <a:lnTo>
                    <a:pt x="5528" y="2477"/>
                  </a:lnTo>
                  <a:lnTo>
                    <a:pt x="5534" y="2475"/>
                  </a:lnTo>
                  <a:lnTo>
                    <a:pt x="5542" y="2477"/>
                  </a:lnTo>
                  <a:lnTo>
                    <a:pt x="5548" y="2480"/>
                  </a:lnTo>
                  <a:lnTo>
                    <a:pt x="5554" y="2487"/>
                  </a:lnTo>
                  <a:lnTo>
                    <a:pt x="5555" y="2494"/>
                  </a:lnTo>
                  <a:close/>
                  <a:moveTo>
                    <a:pt x="4239" y="2741"/>
                  </a:moveTo>
                  <a:lnTo>
                    <a:pt x="4239" y="2854"/>
                  </a:lnTo>
                  <a:lnTo>
                    <a:pt x="4238" y="2863"/>
                  </a:lnTo>
                  <a:lnTo>
                    <a:pt x="4233" y="2869"/>
                  </a:lnTo>
                  <a:lnTo>
                    <a:pt x="4226" y="2873"/>
                  </a:lnTo>
                  <a:lnTo>
                    <a:pt x="4219" y="2874"/>
                  </a:lnTo>
                  <a:lnTo>
                    <a:pt x="4212" y="2873"/>
                  </a:lnTo>
                  <a:lnTo>
                    <a:pt x="4206" y="2869"/>
                  </a:lnTo>
                  <a:lnTo>
                    <a:pt x="4201" y="2863"/>
                  </a:lnTo>
                  <a:lnTo>
                    <a:pt x="4199" y="2854"/>
                  </a:lnTo>
                  <a:lnTo>
                    <a:pt x="4199" y="2741"/>
                  </a:lnTo>
                  <a:lnTo>
                    <a:pt x="4201" y="2732"/>
                  </a:lnTo>
                  <a:lnTo>
                    <a:pt x="4206" y="2727"/>
                  </a:lnTo>
                  <a:lnTo>
                    <a:pt x="4212" y="2723"/>
                  </a:lnTo>
                  <a:lnTo>
                    <a:pt x="4219" y="2722"/>
                  </a:lnTo>
                  <a:lnTo>
                    <a:pt x="4226" y="2723"/>
                  </a:lnTo>
                  <a:lnTo>
                    <a:pt x="4233" y="2727"/>
                  </a:lnTo>
                  <a:lnTo>
                    <a:pt x="4238" y="2732"/>
                  </a:lnTo>
                  <a:lnTo>
                    <a:pt x="4239" y="2741"/>
                  </a:lnTo>
                  <a:close/>
                  <a:moveTo>
                    <a:pt x="4502" y="2741"/>
                  </a:moveTo>
                  <a:lnTo>
                    <a:pt x="4502" y="2854"/>
                  </a:lnTo>
                  <a:lnTo>
                    <a:pt x="4501" y="2863"/>
                  </a:lnTo>
                  <a:lnTo>
                    <a:pt x="4496" y="2869"/>
                  </a:lnTo>
                  <a:lnTo>
                    <a:pt x="4489" y="2873"/>
                  </a:lnTo>
                  <a:lnTo>
                    <a:pt x="4483" y="2874"/>
                  </a:lnTo>
                  <a:lnTo>
                    <a:pt x="4475" y="2873"/>
                  </a:lnTo>
                  <a:lnTo>
                    <a:pt x="4469" y="2869"/>
                  </a:lnTo>
                  <a:lnTo>
                    <a:pt x="4464" y="2863"/>
                  </a:lnTo>
                  <a:lnTo>
                    <a:pt x="4462" y="2854"/>
                  </a:lnTo>
                  <a:lnTo>
                    <a:pt x="4462" y="2741"/>
                  </a:lnTo>
                  <a:lnTo>
                    <a:pt x="4464" y="2732"/>
                  </a:lnTo>
                  <a:lnTo>
                    <a:pt x="4469" y="2727"/>
                  </a:lnTo>
                  <a:lnTo>
                    <a:pt x="4475" y="2723"/>
                  </a:lnTo>
                  <a:lnTo>
                    <a:pt x="4483" y="2722"/>
                  </a:lnTo>
                  <a:lnTo>
                    <a:pt x="4489" y="2723"/>
                  </a:lnTo>
                  <a:lnTo>
                    <a:pt x="4496" y="2727"/>
                  </a:lnTo>
                  <a:lnTo>
                    <a:pt x="4501" y="2732"/>
                  </a:lnTo>
                  <a:lnTo>
                    <a:pt x="4502" y="2741"/>
                  </a:lnTo>
                  <a:close/>
                  <a:moveTo>
                    <a:pt x="4765" y="2741"/>
                  </a:moveTo>
                  <a:lnTo>
                    <a:pt x="4765" y="2854"/>
                  </a:lnTo>
                  <a:lnTo>
                    <a:pt x="4764" y="2863"/>
                  </a:lnTo>
                  <a:lnTo>
                    <a:pt x="4759" y="2869"/>
                  </a:lnTo>
                  <a:lnTo>
                    <a:pt x="4752" y="2873"/>
                  </a:lnTo>
                  <a:lnTo>
                    <a:pt x="4746" y="2874"/>
                  </a:lnTo>
                  <a:lnTo>
                    <a:pt x="4738" y="2873"/>
                  </a:lnTo>
                  <a:lnTo>
                    <a:pt x="4732" y="2869"/>
                  </a:lnTo>
                  <a:lnTo>
                    <a:pt x="4728" y="2863"/>
                  </a:lnTo>
                  <a:lnTo>
                    <a:pt x="4725" y="2854"/>
                  </a:lnTo>
                  <a:lnTo>
                    <a:pt x="4725" y="2741"/>
                  </a:lnTo>
                  <a:lnTo>
                    <a:pt x="4728" y="2732"/>
                  </a:lnTo>
                  <a:lnTo>
                    <a:pt x="4732" y="2727"/>
                  </a:lnTo>
                  <a:lnTo>
                    <a:pt x="4738" y="2723"/>
                  </a:lnTo>
                  <a:lnTo>
                    <a:pt x="4746" y="2722"/>
                  </a:lnTo>
                  <a:lnTo>
                    <a:pt x="4752" y="2723"/>
                  </a:lnTo>
                  <a:lnTo>
                    <a:pt x="4759" y="2727"/>
                  </a:lnTo>
                  <a:lnTo>
                    <a:pt x="4764" y="2732"/>
                  </a:lnTo>
                  <a:lnTo>
                    <a:pt x="4765" y="2741"/>
                  </a:lnTo>
                  <a:close/>
                  <a:moveTo>
                    <a:pt x="5029" y="2741"/>
                  </a:moveTo>
                  <a:lnTo>
                    <a:pt x="5029" y="2854"/>
                  </a:lnTo>
                  <a:lnTo>
                    <a:pt x="5027" y="2863"/>
                  </a:lnTo>
                  <a:lnTo>
                    <a:pt x="5023" y="2869"/>
                  </a:lnTo>
                  <a:lnTo>
                    <a:pt x="5016" y="2873"/>
                  </a:lnTo>
                  <a:lnTo>
                    <a:pt x="5009" y="2874"/>
                  </a:lnTo>
                  <a:lnTo>
                    <a:pt x="5001" y="2873"/>
                  </a:lnTo>
                  <a:lnTo>
                    <a:pt x="4994" y="2869"/>
                  </a:lnTo>
                  <a:lnTo>
                    <a:pt x="4991" y="2863"/>
                  </a:lnTo>
                  <a:lnTo>
                    <a:pt x="4988" y="2854"/>
                  </a:lnTo>
                  <a:lnTo>
                    <a:pt x="4988" y="2741"/>
                  </a:lnTo>
                  <a:lnTo>
                    <a:pt x="4991" y="2732"/>
                  </a:lnTo>
                  <a:lnTo>
                    <a:pt x="4994" y="2727"/>
                  </a:lnTo>
                  <a:lnTo>
                    <a:pt x="5001" y="2723"/>
                  </a:lnTo>
                  <a:lnTo>
                    <a:pt x="5009" y="2722"/>
                  </a:lnTo>
                  <a:lnTo>
                    <a:pt x="5016" y="2723"/>
                  </a:lnTo>
                  <a:lnTo>
                    <a:pt x="5023" y="2727"/>
                  </a:lnTo>
                  <a:lnTo>
                    <a:pt x="5027" y="2732"/>
                  </a:lnTo>
                  <a:lnTo>
                    <a:pt x="5029" y="2741"/>
                  </a:lnTo>
                  <a:close/>
                  <a:moveTo>
                    <a:pt x="5292" y="2741"/>
                  </a:moveTo>
                  <a:lnTo>
                    <a:pt x="5292" y="2854"/>
                  </a:lnTo>
                  <a:lnTo>
                    <a:pt x="5289" y="2863"/>
                  </a:lnTo>
                  <a:lnTo>
                    <a:pt x="5286" y="2869"/>
                  </a:lnTo>
                  <a:lnTo>
                    <a:pt x="5279" y="2873"/>
                  </a:lnTo>
                  <a:lnTo>
                    <a:pt x="5271" y="2874"/>
                  </a:lnTo>
                  <a:lnTo>
                    <a:pt x="5264" y="2873"/>
                  </a:lnTo>
                  <a:lnTo>
                    <a:pt x="5257" y="2869"/>
                  </a:lnTo>
                  <a:lnTo>
                    <a:pt x="5253" y="2863"/>
                  </a:lnTo>
                  <a:lnTo>
                    <a:pt x="5252" y="2854"/>
                  </a:lnTo>
                  <a:lnTo>
                    <a:pt x="5252" y="2741"/>
                  </a:lnTo>
                  <a:lnTo>
                    <a:pt x="5253" y="2732"/>
                  </a:lnTo>
                  <a:lnTo>
                    <a:pt x="5257" y="2727"/>
                  </a:lnTo>
                  <a:lnTo>
                    <a:pt x="5264" y="2723"/>
                  </a:lnTo>
                  <a:lnTo>
                    <a:pt x="5271" y="2722"/>
                  </a:lnTo>
                  <a:lnTo>
                    <a:pt x="5279" y="2723"/>
                  </a:lnTo>
                  <a:lnTo>
                    <a:pt x="5286" y="2727"/>
                  </a:lnTo>
                  <a:lnTo>
                    <a:pt x="5289" y="2732"/>
                  </a:lnTo>
                  <a:lnTo>
                    <a:pt x="5292" y="2741"/>
                  </a:lnTo>
                  <a:close/>
                  <a:moveTo>
                    <a:pt x="5555" y="2741"/>
                  </a:moveTo>
                  <a:lnTo>
                    <a:pt x="5555" y="2854"/>
                  </a:lnTo>
                  <a:lnTo>
                    <a:pt x="5554" y="2863"/>
                  </a:lnTo>
                  <a:lnTo>
                    <a:pt x="5548" y="2869"/>
                  </a:lnTo>
                  <a:lnTo>
                    <a:pt x="5542" y="2873"/>
                  </a:lnTo>
                  <a:lnTo>
                    <a:pt x="5534" y="2874"/>
                  </a:lnTo>
                  <a:lnTo>
                    <a:pt x="5528" y="2873"/>
                  </a:lnTo>
                  <a:lnTo>
                    <a:pt x="5521" y="2869"/>
                  </a:lnTo>
                  <a:lnTo>
                    <a:pt x="5516" y="2863"/>
                  </a:lnTo>
                  <a:lnTo>
                    <a:pt x="5515" y="2854"/>
                  </a:lnTo>
                  <a:lnTo>
                    <a:pt x="5515" y="2741"/>
                  </a:lnTo>
                  <a:lnTo>
                    <a:pt x="5516" y="2732"/>
                  </a:lnTo>
                  <a:lnTo>
                    <a:pt x="5521" y="2727"/>
                  </a:lnTo>
                  <a:lnTo>
                    <a:pt x="5528" y="2723"/>
                  </a:lnTo>
                  <a:lnTo>
                    <a:pt x="5534" y="2722"/>
                  </a:lnTo>
                  <a:lnTo>
                    <a:pt x="5542" y="2723"/>
                  </a:lnTo>
                  <a:lnTo>
                    <a:pt x="5548" y="2727"/>
                  </a:lnTo>
                  <a:lnTo>
                    <a:pt x="5554" y="2732"/>
                  </a:lnTo>
                  <a:lnTo>
                    <a:pt x="5555" y="2741"/>
                  </a:lnTo>
                  <a:close/>
                  <a:moveTo>
                    <a:pt x="4239" y="2988"/>
                  </a:moveTo>
                  <a:lnTo>
                    <a:pt x="4239" y="3101"/>
                  </a:lnTo>
                  <a:lnTo>
                    <a:pt x="4238" y="3109"/>
                  </a:lnTo>
                  <a:lnTo>
                    <a:pt x="4233" y="3115"/>
                  </a:lnTo>
                  <a:lnTo>
                    <a:pt x="4226" y="3118"/>
                  </a:lnTo>
                  <a:lnTo>
                    <a:pt x="4219" y="3120"/>
                  </a:lnTo>
                  <a:lnTo>
                    <a:pt x="4212" y="3118"/>
                  </a:lnTo>
                  <a:lnTo>
                    <a:pt x="4206" y="3115"/>
                  </a:lnTo>
                  <a:lnTo>
                    <a:pt x="4201" y="3109"/>
                  </a:lnTo>
                  <a:lnTo>
                    <a:pt x="4199" y="3101"/>
                  </a:lnTo>
                  <a:lnTo>
                    <a:pt x="4199" y="2988"/>
                  </a:lnTo>
                  <a:lnTo>
                    <a:pt x="4201" y="2979"/>
                  </a:lnTo>
                  <a:lnTo>
                    <a:pt x="4206" y="2973"/>
                  </a:lnTo>
                  <a:lnTo>
                    <a:pt x="4212" y="2970"/>
                  </a:lnTo>
                  <a:lnTo>
                    <a:pt x="4219" y="2969"/>
                  </a:lnTo>
                  <a:lnTo>
                    <a:pt x="4226" y="2970"/>
                  </a:lnTo>
                  <a:lnTo>
                    <a:pt x="4233" y="2973"/>
                  </a:lnTo>
                  <a:lnTo>
                    <a:pt x="4238" y="2979"/>
                  </a:lnTo>
                  <a:lnTo>
                    <a:pt x="4239" y="2988"/>
                  </a:lnTo>
                  <a:close/>
                  <a:moveTo>
                    <a:pt x="4502" y="2988"/>
                  </a:moveTo>
                  <a:lnTo>
                    <a:pt x="4502" y="3101"/>
                  </a:lnTo>
                  <a:lnTo>
                    <a:pt x="4501" y="3109"/>
                  </a:lnTo>
                  <a:lnTo>
                    <a:pt x="4496" y="3115"/>
                  </a:lnTo>
                  <a:lnTo>
                    <a:pt x="4489" y="3118"/>
                  </a:lnTo>
                  <a:lnTo>
                    <a:pt x="4483" y="3120"/>
                  </a:lnTo>
                  <a:lnTo>
                    <a:pt x="4475" y="3118"/>
                  </a:lnTo>
                  <a:lnTo>
                    <a:pt x="4469" y="3115"/>
                  </a:lnTo>
                  <a:lnTo>
                    <a:pt x="4464" y="3109"/>
                  </a:lnTo>
                  <a:lnTo>
                    <a:pt x="4462" y="3101"/>
                  </a:lnTo>
                  <a:lnTo>
                    <a:pt x="4462" y="2988"/>
                  </a:lnTo>
                  <a:lnTo>
                    <a:pt x="4464" y="2979"/>
                  </a:lnTo>
                  <a:lnTo>
                    <a:pt x="4469" y="2973"/>
                  </a:lnTo>
                  <a:lnTo>
                    <a:pt x="4475" y="2970"/>
                  </a:lnTo>
                  <a:lnTo>
                    <a:pt x="4483" y="2969"/>
                  </a:lnTo>
                  <a:lnTo>
                    <a:pt x="4489" y="2970"/>
                  </a:lnTo>
                  <a:lnTo>
                    <a:pt x="4496" y="2973"/>
                  </a:lnTo>
                  <a:lnTo>
                    <a:pt x="4501" y="2979"/>
                  </a:lnTo>
                  <a:lnTo>
                    <a:pt x="4502" y="2988"/>
                  </a:lnTo>
                  <a:close/>
                  <a:moveTo>
                    <a:pt x="4765" y="2988"/>
                  </a:moveTo>
                  <a:lnTo>
                    <a:pt x="4765" y="3101"/>
                  </a:lnTo>
                  <a:lnTo>
                    <a:pt x="4764" y="3109"/>
                  </a:lnTo>
                  <a:lnTo>
                    <a:pt x="4759" y="3115"/>
                  </a:lnTo>
                  <a:lnTo>
                    <a:pt x="4752" y="3118"/>
                  </a:lnTo>
                  <a:lnTo>
                    <a:pt x="4746" y="3120"/>
                  </a:lnTo>
                  <a:lnTo>
                    <a:pt x="4738" y="3118"/>
                  </a:lnTo>
                  <a:lnTo>
                    <a:pt x="4732" y="3115"/>
                  </a:lnTo>
                  <a:lnTo>
                    <a:pt x="4728" y="3109"/>
                  </a:lnTo>
                  <a:lnTo>
                    <a:pt x="4725" y="3101"/>
                  </a:lnTo>
                  <a:lnTo>
                    <a:pt x="4725" y="2988"/>
                  </a:lnTo>
                  <a:lnTo>
                    <a:pt x="4728" y="2979"/>
                  </a:lnTo>
                  <a:lnTo>
                    <a:pt x="4732" y="2973"/>
                  </a:lnTo>
                  <a:lnTo>
                    <a:pt x="4738" y="2970"/>
                  </a:lnTo>
                  <a:lnTo>
                    <a:pt x="4746" y="2969"/>
                  </a:lnTo>
                  <a:lnTo>
                    <a:pt x="4752" y="2970"/>
                  </a:lnTo>
                  <a:lnTo>
                    <a:pt x="4759" y="2973"/>
                  </a:lnTo>
                  <a:lnTo>
                    <a:pt x="4764" y="2979"/>
                  </a:lnTo>
                  <a:lnTo>
                    <a:pt x="4765" y="2988"/>
                  </a:lnTo>
                  <a:close/>
                  <a:moveTo>
                    <a:pt x="5029" y="2988"/>
                  </a:moveTo>
                  <a:lnTo>
                    <a:pt x="5029" y="3101"/>
                  </a:lnTo>
                  <a:lnTo>
                    <a:pt x="5027" y="3109"/>
                  </a:lnTo>
                  <a:lnTo>
                    <a:pt x="5023" y="3115"/>
                  </a:lnTo>
                  <a:lnTo>
                    <a:pt x="5016" y="3118"/>
                  </a:lnTo>
                  <a:lnTo>
                    <a:pt x="5009" y="3120"/>
                  </a:lnTo>
                  <a:lnTo>
                    <a:pt x="5001" y="3118"/>
                  </a:lnTo>
                  <a:lnTo>
                    <a:pt x="4994" y="3115"/>
                  </a:lnTo>
                  <a:lnTo>
                    <a:pt x="4991" y="3109"/>
                  </a:lnTo>
                  <a:lnTo>
                    <a:pt x="4988" y="3101"/>
                  </a:lnTo>
                  <a:lnTo>
                    <a:pt x="4988" y="2988"/>
                  </a:lnTo>
                  <a:lnTo>
                    <a:pt x="4991" y="2979"/>
                  </a:lnTo>
                  <a:lnTo>
                    <a:pt x="4994" y="2973"/>
                  </a:lnTo>
                  <a:lnTo>
                    <a:pt x="5001" y="2970"/>
                  </a:lnTo>
                  <a:lnTo>
                    <a:pt x="5009" y="2969"/>
                  </a:lnTo>
                  <a:lnTo>
                    <a:pt x="5016" y="2970"/>
                  </a:lnTo>
                  <a:lnTo>
                    <a:pt x="5023" y="2973"/>
                  </a:lnTo>
                  <a:lnTo>
                    <a:pt x="5027" y="2979"/>
                  </a:lnTo>
                  <a:lnTo>
                    <a:pt x="5029" y="2988"/>
                  </a:lnTo>
                  <a:close/>
                  <a:moveTo>
                    <a:pt x="5292" y="2988"/>
                  </a:moveTo>
                  <a:lnTo>
                    <a:pt x="5292" y="3101"/>
                  </a:lnTo>
                  <a:lnTo>
                    <a:pt x="5289" y="3109"/>
                  </a:lnTo>
                  <a:lnTo>
                    <a:pt x="5286" y="3115"/>
                  </a:lnTo>
                  <a:lnTo>
                    <a:pt x="5279" y="3118"/>
                  </a:lnTo>
                  <a:lnTo>
                    <a:pt x="5271" y="3120"/>
                  </a:lnTo>
                  <a:lnTo>
                    <a:pt x="5264" y="3118"/>
                  </a:lnTo>
                  <a:lnTo>
                    <a:pt x="5257" y="3115"/>
                  </a:lnTo>
                  <a:lnTo>
                    <a:pt x="5253" y="3109"/>
                  </a:lnTo>
                  <a:lnTo>
                    <a:pt x="5252" y="3101"/>
                  </a:lnTo>
                  <a:lnTo>
                    <a:pt x="5252" y="2988"/>
                  </a:lnTo>
                  <a:lnTo>
                    <a:pt x="5253" y="2979"/>
                  </a:lnTo>
                  <a:lnTo>
                    <a:pt x="5257" y="2973"/>
                  </a:lnTo>
                  <a:lnTo>
                    <a:pt x="5264" y="2970"/>
                  </a:lnTo>
                  <a:lnTo>
                    <a:pt x="5271" y="2969"/>
                  </a:lnTo>
                  <a:lnTo>
                    <a:pt x="5279" y="2970"/>
                  </a:lnTo>
                  <a:lnTo>
                    <a:pt x="5286" y="2973"/>
                  </a:lnTo>
                  <a:lnTo>
                    <a:pt x="5289" y="2979"/>
                  </a:lnTo>
                  <a:lnTo>
                    <a:pt x="5292" y="2988"/>
                  </a:lnTo>
                  <a:close/>
                  <a:moveTo>
                    <a:pt x="5555" y="2988"/>
                  </a:moveTo>
                  <a:lnTo>
                    <a:pt x="5555" y="3101"/>
                  </a:lnTo>
                  <a:lnTo>
                    <a:pt x="5554" y="3109"/>
                  </a:lnTo>
                  <a:lnTo>
                    <a:pt x="5548" y="3115"/>
                  </a:lnTo>
                  <a:lnTo>
                    <a:pt x="5542" y="3118"/>
                  </a:lnTo>
                  <a:lnTo>
                    <a:pt x="5534" y="3120"/>
                  </a:lnTo>
                  <a:lnTo>
                    <a:pt x="5528" y="3118"/>
                  </a:lnTo>
                  <a:lnTo>
                    <a:pt x="5521" y="3115"/>
                  </a:lnTo>
                  <a:lnTo>
                    <a:pt x="5516" y="3109"/>
                  </a:lnTo>
                  <a:lnTo>
                    <a:pt x="5515" y="3101"/>
                  </a:lnTo>
                  <a:lnTo>
                    <a:pt x="5515" y="2988"/>
                  </a:lnTo>
                  <a:lnTo>
                    <a:pt x="5516" y="2979"/>
                  </a:lnTo>
                  <a:lnTo>
                    <a:pt x="5521" y="2973"/>
                  </a:lnTo>
                  <a:lnTo>
                    <a:pt x="5528" y="2970"/>
                  </a:lnTo>
                  <a:lnTo>
                    <a:pt x="5534" y="2969"/>
                  </a:lnTo>
                  <a:lnTo>
                    <a:pt x="5542" y="2970"/>
                  </a:lnTo>
                  <a:lnTo>
                    <a:pt x="5548" y="2973"/>
                  </a:lnTo>
                  <a:lnTo>
                    <a:pt x="5554" y="2979"/>
                  </a:lnTo>
                  <a:lnTo>
                    <a:pt x="5555" y="2988"/>
                  </a:lnTo>
                  <a:close/>
                  <a:moveTo>
                    <a:pt x="4239" y="3235"/>
                  </a:moveTo>
                  <a:lnTo>
                    <a:pt x="4239" y="3347"/>
                  </a:lnTo>
                  <a:lnTo>
                    <a:pt x="4238" y="3355"/>
                  </a:lnTo>
                  <a:lnTo>
                    <a:pt x="4233" y="3361"/>
                  </a:lnTo>
                  <a:lnTo>
                    <a:pt x="4226" y="3365"/>
                  </a:lnTo>
                  <a:lnTo>
                    <a:pt x="4219" y="3367"/>
                  </a:lnTo>
                  <a:lnTo>
                    <a:pt x="4212" y="3365"/>
                  </a:lnTo>
                  <a:lnTo>
                    <a:pt x="4206" y="3361"/>
                  </a:lnTo>
                  <a:lnTo>
                    <a:pt x="4201" y="3355"/>
                  </a:lnTo>
                  <a:lnTo>
                    <a:pt x="4199" y="3347"/>
                  </a:lnTo>
                  <a:lnTo>
                    <a:pt x="4199" y="3235"/>
                  </a:lnTo>
                  <a:lnTo>
                    <a:pt x="4201" y="3226"/>
                  </a:lnTo>
                  <a:lnTo>
                    <a:pt x="4206" y="3219"/>
                  </a:lnTo>
                  <a:lnTo>
                    <a:pt x="4212" y="3216"/>
                  </a:lnTo>
                  <a:lnTo>
                    <a:pt x="4219" y="3214"/>
                  </a:lnTo>
                  <a:lnTo>
                    <a:pt x="4226" y="3216"/>
                  </a:lnTo>
                  <a:lnTo>
                    <a:pt x="4233" y="3219"/>
                  </a:lnTo>
                  <a:lnTo>
                    <a:pt x="4238" y="3226"/>
                  </a:lnTo>
                  <a:lnTo>
                    <a:pt x="4239" y="3235"/>
                  </a:lnTo>
                  <a:close/>
                  <a:moveTo>
                    <a:pt x="4502" y="3235"/>
                  </a:moveTo>
                  <a:lnTo>
                    <a:pt x="4502" y="3347"/>
                  </a:lnTo>
                  <a:lnTo>
                    <a:pt x="4501" y="3355"/>
                  </a:lnTo>
                  <a:lnTo>
                    <a:pt x="4496" y="3361"/>
                  </a:lnTo>
                  <a:lnTo>
                    <a:pt x="4489" y="3365"/>
                  </a:lnTo>
                  <a:lnTo>
                    <a:pt x="4483" y="3367"/>
                  </a:lnTo>
                  <a:lnTo>
                    <a:pt x="4475" y="3365"/>
                  </a:lnTo>
                  <a:lnTo>
                    <a:pt x="4469" y="3361"/>
                  </a:lnTo>
                  <a:lnTo>
                    <a:pt x="4464" y="3355"/>
                  </a:lnTo>
                  <a:lnTo>
                    <a:pt x="4462" y="3347"/>
                  </a:lnTo>
                  <a:lnTo>
                    <a:pt x="4462" y="3235"/>
                  </a:lnTo>
                  <a:lnTo>
                    <a:pt x="4464" y="3226"/>
                  </a:lnTo>
                  <a:lnTo>
                    <a:pt x="4469" y="3219"/>
                  </a:lnTo>
                  <a:lnTo>
                    <a:pt x="4475" y="3216"/>
                  </a:lnTo>
                  <a:lnTo>
                    <a:pt x="4483" y="3214"/>
                  </a:lnTo>
                  <a:lnTo>
                    <a:pt x="4489" y="3216"/>
                  </a:lnTo>
                  <a:lnTo>
                    <a:pt x="4496" y="3219"/>
                  </a:lnTo>
                  <a:lnTo>
                    <a:pt x="4501" y="3226"/>
                  </a:lnTo>
                  <a:lnTo>
                    <a:pt x="4502" y="3235"/>
                  </a:lnTo>
                  <a:close/>
                  <a:moveTo>
                    <a:pt x="4765" y="3235"/>
                  </a:moveTo>
                  <a:lnTo>
                    <a:pt x="4765" y="3347"/>
                  </a:lnTo>
                  <a:lnTo>
                    <a:pt x="4764" y="3355"/>
                  </a:lnTo>
                  <a:lnTo>
                    <a:pt x="4759" y="3361"/>
                  </a:lnTo>
                  <a:lnTo>
                    <a:pt x="4752" y="3365"/>
                  </a:lnTo>
                  <a:lnTo>
                    <a:pt x="4746" y="3367"/>
                  </a:lnTo>
                  <a:lnTo>
                    <a:pt x="4738" y="3365"/>
                  </a:lnTo>
                  <a:lnTo>
                    <a:pt x="4732" y="3361"/>
                  </a:lnTo>
                  <a:lnTo>
                    <a:pt x="4728" y="3355"/>
                  </a:lnTo>
                  <a:lnTo>
                    <a:pt x="4725" y="3347"/>
                  </a:lnTo>
                  <a:lnTo>
                    <a:pt x="4725" y="3235"/>
                  </a:lnTo>
                  <a:lnTo>
                    <a:pt x="4728" y="3226"/>
                  </a:lnTo>
                  <a:lnTo>
                    <a:pt x="4732" y="3219"/>
                  </a:lnTo>
                  <a:lnTo>
                    <a:pt x="4738" y="3216"/>
                  </a:lnTo>
                  <a:lnTo>
                    <a:pt x="4746" y="3214"/>
                  </a:lnTo>
                  <a:lnTo>
                    <a:pt x="4752" y="3216"/>
                  </a:lnTo>
                  <a:lnTo>
                    <a:pt x="4759" y="3219"/>
                  </a:lnTo>
                  <a:lnTo>
                    <a:pt x="4764" y="3226"/>
                  </a:lnTo>
                  <a:lnTo>
                    <a:pt x="4765" y="3235"/>
                  </a:lnTo>
                  <a:close/>
                  <a:moveTo>
                    <a:pt x="5029" y="3235"/>
                  </a:moveTo>
                  <a:lnTo>
                    <a:pt x="5029" y="3347"/>
                  </a:lnTo>
                  <a:lnTo>
                    <a:pt x="5027" y="3355"/>
                  </a:lnTo>
                  <a:lnTo>
                    <a:pt x="5023" y="3361"/>
                  </a:lnTo>
                  <a:lnTo>
                    <a:pt x="5016" y="3365"/>
                  </a:lnTo>
                  <a:lnTo>
                    <a:pt x="5009" y="3367"/>
                  </a:lnTo>
                  <a:lnTo>
                    <a:pt x="5001" y="3365"/>
                  </a:lnTo>
                  <a:lnTo>
                    <a:pt x="4994" y="3361"/>
                  </a:lnTo>
                  <a:lnTo>
                    <a:pt x="4991" y="3355"/>
                  </a:lnTo>
                  <a:lnTo>
                    <a:pt x="4988" y="3347"/>
                  </a:lnTo>
                  <a:lnTo>
                    <a:pt x="4988" y="3235"/>
                  </a:lnTo>
                  <a:lnTo>
                    <a:pt x="4991" y="3226"/>
                  </a:lnTo>
                  <a:lnTo>
                    <a:pt x="4994" y="3219"/>
                  </a:lnTo>
                  <a:lnTo>
                    <a:pt x="5001" y="3216"/>
                  </a:lnTo>
                  <a:lnTo>
                    <a:pt x="5009" y="3214"/>
                  </a:lnTo>
                  <a:lnTo>
                    <a:pt x="5016" y="3216"/>
                  </a:lnTo>
                  <a:lnTo>
                    <a:pt x="5023" y="3219"/>
                  </a:lnTo>
                  <a:lnTo>
                    <a:pt x="5027" y="3226"/>
                  </a:lnTo>
                  <a:lnTo>
                    <a:pt x="5029" y="3235"/>
                  </a:lnTo>
                  <a:close/>
                  <a:moveTo>
                    <a:pt x="5292" y="3235"/>
                  </a:moveTo>
                  <a:lnTo>
                    <a:pt x="5292" y="3347"/>
                  </a:lnTo>
                  <a:lnTo>
                    <a:pt x="5289" y="3355"/>
                  </a:lnTo>
                  <a:lnTo>
                    <a:pt x="5286" y="3361"/>
                  </a:lnTo>
                  <a:lnTo>
                    <a:pt x="5279" y="3365"/>
                  </a:lnTo>
                  <a:lnTo>
                    <a:pt x="5271" y="3367"/>
                  </a:lnTo>
                  <a:lnTo>
                    <a:pt x="5264" y="3365"/>
                  </a:lnTo>
                  <a:lnTo>
                    <a:pt x="5257" y="3361"/>
                  </a:lnTo>
                  <a:lnTo>
                    <a:pt x="5253" y="3355"/>
                  </a:lnTo>
                  <a:lnTo>
                    <a:pt x="5252" y="3347"/>
                  </a:lnTo>
                  <a:lnTo>
                    <a:pt x="5252" y="3235"/>
                  </a:lnTo>
                  <a:lnTo>
                    <a:pt x="5253" y="3226"/>
                  </a:lnTo>
                  <a:lnTo>
                    <a:pt x="5257" y="3219"/>
                  </a:lnTo>
                  <a:lnTo>
                    <a:pt x="5264" y="3216"/>
                  </a:lnTo>
                  <a:lnTo>
                    <a:pt x="5271" y="3214"/>
                  </a:lnTo>
                  <a:lnTo>
                    <a:pt x="5279" y="3216"/>
                  </a:lnTo>
                  <a:lnTo>
                    <a:pt x="5286" y="3219"/>
                  </a:lnTo>
                  <a:lnTo>
                    <a:pt x="5289" y="3226"/>
                  </a:lnTo>
                  <a:lnTo>
                    <a:pt x="5292" y="3235"/>
                  </a:lnTo>
                  <a:close/>
                  <a:moveTo>
                    <a:pt x="5555" y="3235"/>
                  </a:moveTo>
                  <a:lnTo>
                    <a:pt x="5555" y="3347"/>
                  </a:lnTo>
                  <a:lnTo>
                    <a:pt x="5554" y="3355"/>
                  </a:lnTo>
                  <a:lnTo>
                    <a:pt x="5548" y="3361"/>
                  </a:lnTo>
                  <a:lnTo>
                    <a:pt x="5542" y="3365"/>
                  </a:lnTo>
                  <a:lnTo>
                    <a:pt x="5534" y="3367"/>
                  </a:lnTo>
                  <a:lnTo>
                    <a:pt x="5528" y="3365"/>
                  </a:lnTo>
                  <a:lnTo>
                    <a:pt x="5521" y="3361"/>
                  </a:lnTo>
                  <a:lnTo>
                    <a:pt x="5516" y="3355"/>
                  </a:lnTo>
                  <a:lnTo>
                    <a:pt x="5515" y="3347"/>
                  </a:lnTo>
                  <a:lnTo>
                    <a:pt x="5515" y="3235"/>
                  </a:lnTo>
                  <a:lnTo>
                    <a:pt x="5516" y="3226"/>
                  </a:lnTo>
                  <a:lnTo>
                    <a:pt x="5521" y="3219"/>
                  </a:lnTo>
                  <a:lnTo>
                    <a:pt x="5528" y="3216"/>
                  </a:lnTo>
                  <a:lnTo>
                    <a:pt x="5534" y="3214"/>
                  </a:lnTo>
                  <a:lnTo>
                    <a:pt x="5542" y="3216"/>
                  </a:lnTo>
                  <a:lnTo>
                    <a:pt x="5548" y="3219"/>
                  </a:lnTo>
                  <a:lnTo>
                    <a:pt x="5554" y="3226"/>
                  </a:lnTo>
                  <a:lnTo>
                    <a:pt x="5555" y="3235"/>
                  </a:lnTo>
                  <a:close/>
                  <a:moveTo>
                    <a:pt x="3624" y="4034"/>
                  </a:moveTo>
                  <a:lnTo>
                    <a:pt x="3624" y="3864"/>
                  </a:lnTo>
                  <a:lnTo>
                    <a:pt x="3625" y="3856"/>
                  </a:lnTo>
                  <a:lnTo>
                    <a:pt x="3629" y="3851"/>
                  </a:lnTo>
                  <a:lnTo>
                    <a:pt x="3634" y="3847"/>
                  </a:lnTo>
                  <a:lnTo>
                    <a:pt x="3639" y="3845"/>
                  </a:lnTo>
                  <a:lnTo>
                    <a:pt x="3646" y="3845"/>
                  </a:lnTo>
                  <a:lnTo>
                    <a:pt x="3652" y="3846"/>
                  </a:lnTo>
                  <a:lnTo>
                    <a:pt x="3657" y="3849"/>
                  </a:lnTo>
                  <a:lnTo>
                    <a:pt x="3662" y="3854"/>
                  </a:lnTo>
                  <a:lnTo>
                    <a:pt x="3666" y="3860"/>
                  </a:lnTo>
                  <a:lnTo>
                    <a:pt x="3667" y="3869"/>
                  </a:lnTo>
                  <a:lnTo>
                    <a:pt x="3667" y="4034"/>
                  </a:lnTo>
                  <a:lnTo>
                    <a:pt x="3710" y="4029"/>
                  </a:lnTo>
                  <a:lnTo>
                    <a:pt x="3751" y="4021"/>
                  </a:lnTo>
                  <a:lnTo>
                    <a:pt x="3789" y="4010"/>
                  </a:lnTo>
                  <a:lnTo>
                    <a:pt x="3828" y="3994"/>
                  </a:lnTo>
                  <a:lnTo>
                    <a:pt x="3846" y="3985"/>
                  </a:lnTo>
                  <a:lnTo>
                    <a:pt x="3864" y="3975"/>
                  </a:lnTo>
                  <a:lnTo>
                    <a:pt x="3897" y="3953"/>
                  </a:lnTo>
                  <a:lnTo>
                    <a:pt x="3928" y="3928"/>
                  </a:lnTo>
                  <a:lnTo>
                    <a:pt x="3957" y="3901"/>
                  </a:lnTo>
                  <a:lnTo>
                    <a:pt x="3970" y="3886"/>
                  </a:lnTo>
                  <a:lnTo>
                    <a:pt x="3983" y="3870"/>
                  </a:lnTo>
                  <a:lnTo>
                    <a:pt x="4006" y="3838"/>
                  </a:lnTo>
                  <a:lnTo>
                    <a:pt x="4026" y="3804"/>
                  </a:lnTo>
                  <a:lnTo>
                    <a:pt x="4043" y="3767"/>
                  </a:lnTo>
                  <a:lnTo>
                    <a:pt x="4057" y="3728"/>
                  </a:lnTo>
                  <a:lnTo>
                    <a:pt x="4067" y="3689"/>
                  </a:lnTo>
                  <a:lnTo>
                    <a:pt x="4074" y="3648"/>
                  </a:lnTo>
                  <a:lnTo>
                    <a:pt x="4075" y="3604"/>
                  </a:lnTo>
                  <a:lnTo>
                    <a:pt x="4074" y="3569"/>
                  </a:lnTo>
                  <a:lnTo>
                    <a:pt x="4069" y="3533"/>
                  </a:lnTo>
                  <a:lnTo>
                    <a:pt x="4062" y="3498"/>
                  </a:lnTo>
                  <a:lnTo>
                    <a:pt x="4052" y="3464"/>
                  </a:lnTo>
                  <a:lnTo>
                    <a:pt x="4039" y="3432"/>
                  </a:lnTo>
                  <a:lnTo>
                    <a:pt x="4024" y="3401"/>
                  </a:lnTo>
                  <a:lnTo>
                    <a:pt x="4006" y="3372"/>
                  </a:lnTo>
                  <a:lnTo>
                    <a:pt x="3987" y="3343"/>
                  </a:lnTo>
                  <a:lnTo>
                    <a:pt x="3955" y="3308"/>
                  </a:lnTo>
                  <a:lnTo>
                    <a:pt x="3919" y="3276"/>
                  </a:lnTo>
                  <a:lnTo>
                    <a:pt x="3880" y="3248"/>
                  </a:lnTo>
                  <a:lnTo>
                    <a:pt x="3860" y="3236"/>
                  </a:lnTo>
                  <a:lnTo>
                    <a:pt x="3839" y="3225"/>
                  </a:lnTo>
                  <a:lnTo>
                    <a:pt x="3817" y="3214"/>
                  </a:lnTo>
                  <a:lnTo>
                    <a:pt x="3794" y="3205"/>
                  </a:lnTo>
                  <a:lnTo>
                    <a:pt x="3748" y="3191"/>
                  </a:lnTo>
                  <a:lnTo>
                    <a:pt x="3699" y="3184"/>
                  </a:lnTo>
                  <a:lnTo>
                    <a:pt x="3674" y="3181"/>
                  </a:lnTo>
                  <a:lnTo>
                    <a:pt x="3648" y="3180"/>
                  </a:lnTo>
                  <a:lnTo>
                    <a:pt x="3604" y="3182"/>
                  </a:lnTo>
                  <a:lnTo>
                    <a:pt x="3562" y="3189"/>
                  </a:lnTo>
                  <a:lnTo>
                    <a:pt x="3521" y="3200"/>
                  </a:lnTo>
                  <a:lnTo>
                    <a:pt x="3481" y="3214"/>
                  </a:lnTo>
                  <a:lnTo>
                    <a:pt x="3443" y="3232"/>
                  </a:lnTo>
                  <a:lnTo>
                    <a:pt x="3408" y="3254"/>
                  </a:lnTo>
                  <a:lnTo>
                    <a:pt x="3375" y="3278"/>
                  </a:lnTo>
                  <a:lnTo>
                    <a:pt x="3344" y="3306"/>
                  </a:lnTo>
                  <a:lnTo>
                    <a:pt x="3316" y="3337"/>
                  </a:lnTo>
                  <a:lnTo>
                    <a:pt x="3292" y="3369"/>
                  </a:lnTo>
                  <a:lnTo>
                    <a:pt x="3270" y="3405"/>
                  </a:lnTo>
                  <a:lnTo>
                    <a:pt x="3252" y="3443"/>
                  </a:lnTo>
                  <a:lnTo>
                    <a:pt x="3238" y="3482"/>
                  </a:lnTo>
                  <a:lnTo>
                    <a:pt x="3226" y="3524"/>
                  </a:lnTo>
                  <a:lnTo>
                    <a:pt x="3220" y="3566"/>
                  </a:lnTo>
                  <a:lnTo>
                    <a:pt x="3219" y="3609"/>
                  </a:lnTo>
                  <a:lnTo>
                    <a:pt x="3220" y="3647"/>
                  </a:lnTo>
                  <a:lnTo>
                    <a:pt x="3224" y="3682"/>
                  </a:lnTo>
                  <a:lnTo>
                    <a:pt x="3231" y="3717"/>
                  </a:lnTo>
                  <a:lnTo>
                    <a:pt x="3242" y="3750"/>
                  </a:lnTo>
                  <a:lnTo>
                    <a:pt x="3254" y="3783"/>
                  </a:lnTo>
                  <a:lnTo>
                    <a:pt x="3270" y="3814"/>
                  </a:lnTo>
                  <a:lnTo>
                    <a:pt x="3288" y="3843"/>
                  </a:lnTo>
                  <a:lnTo>
                    <a:pt x="3307" y="3872"/>
                  </a:lnTo>
                  <a:lnTo>
                    <a:pt x="3336" y="3905"/>
                  </a:lnTo>
                  <a:lnTo>
                    <a:pt x="3370" y="3936"/>
                  </a:lnTo>
                  <a:lnTo>
                    <a:pt x="3388" y="3950"/>
                  </a:lnTo>
                  <a:lnTo>
                    <a:pt x="3407" y="3962"/>
                  </a:lnTo>
                  <a:lnTo>
                    <a:pt x="3445" y="3985"/>
                  </a:lnTo>
                  <a:lnTo>
                    <a:pt x="3487" y="4005"/>
                  </a:lnTo>
                  <a:lnTo>
                    <a:pt x="3531" y="4019"/>
                  </a:lnTo>
                  <a:lnTo>
                    <a:pt x="3576" y="4029"/>
                  </a:lnTo>
                  <a:lnTo>
                    <a:pt x="3624" y="4034"/>
                  </a:lnTo>
                  <a:close/>
                  <a:moveTo>
                    <a:pt x="3628" y="4333"/>
                  </a:moveTo>
                  <a:lnTo>
                    <a:pt x="3625" y="4328"/>
                  </a:lnTo>
                  <a:lnTo>
                    <a:pt x="3624" y="4320"/>
                  </a:lnTo>
                  <a:lnTo>
                    <a:pt x="3624" y="4079"/>
                  </a:lnTo>
                  <a:lnTo>
                    <a:pt x="3571" y="4072"/>
                  </a:lnTo>
                  <a:lnTo>
                    <a:pt x="3521" y="4062"/>
                  </a:lnTo>
                  <a:lnTo>
                    <a:pt x="3472" y="4045"/>
                  </a:lnTo>
                  <a:lnTo>
                    <a:pt x="3449" y="4035"/>
                  </a:lnTo>
                  <a:lnTo>
                    <a:pt x="3428" y="4024"/>
                  </a:lnTo>
                  <a:lnTo>
                    <a:pt x="3384" y="3998"/>
                  </a:lnTo>
                  <a:lnTo>
                    <a:pt x="3363" y="3984"/>
                  </a:lnTo>
                  <a:lnTo>
                    <a:pt x="3344" y="3967"/>
                  </a:lnTo>
                  <a:lnTo>
                    <a:pt x="3326" y="3951"/>
                  </a:lnTo>
                  <a:lnTo>
                    <a:pt x="3308" y="3934"/>
                  </a:lnTo>
                  <a:lnTo>
                    <a:pt x="3292" y="3915"/>
                  </a:lnTo>
                  <a:lnTo>
                    <a:pt x="3276" y="3896"/>
                  </a:lnTo>
                  <a:lnTo>
                    <a:pt x="3253" y="3865"/>
                  </a:lnTo>
                  <a:lnTo>
                    <a:pt x="3233" y="3832"/>
                  </a:lnTo>
                  <a:lnTo>
                    <a:pt x="3216" y="3797"/>
                  </a:lnTo>
                  <a:lnTo>
                    <a:pt x="3201" y="3762"/>
                  </a:lnTo>
                  <a:lnTo>
                    <a:pt x="3189" y="3725"/>
                  </a:lnTo>
                  <a:lnTo>
                    <a:pt x="3181" y="3686"/>
                  </a:lnTo>
                  <a:lnTo>
                    <a:pt x="3176" y="3645"/>
                  </a:lnTo>
                  <a:lnTo>
                    <a:pt x="3174" y="3604"/>
                  </a:lnTo>
                  <a:lnTo>
                    <a:pt x="3176" y="3557"/>
                  </a:lnTo>
                  <a:lnTo>
                    <a:pt x="3184" y="3510"/>
                  </a:lnTo>
                  <a:lnTo>
                    <a:pt x="3189" y="3488"/>
                  </a:lnTo>
                  <a:lnTo>
                    <a:pt x="3195" y="3465"/>
                  </a:lnTo>
                  <a:lnTo>
                    <a:pt x="3211" y="3423"/>
                  </a:lnTo>
                  <a:lnTo>
                    <a:pt x="3231" y="3382"/>
                  </a:lnTo>
                  <a:lnTo>
                    <a:pt x="3254" y="3342"/>
                  </a:lnTo>
                  <a:lnTo>
                    <a:pt x="3281" y="3306"/>
                  </a:lnTo>
                  <a:lnTo>
                    <a:pt x="3297" y="3290"/>
                  </a:lnTo>
                  <a:lnTo>
                    <a:pt x="3312" y="3273"/>
                  </a:lnTo>
                  <a:lnTo>
                    <a:pt x="3345" y="3242"/>
                  </a:lnTo>
                  <a:lnTo>
                    <a:pt x="3363" y="3228"/>
                  </a:lnTo>
                  <a:lnTo>
                    <a:pt x="3381" y="3216"/>
                  </a:lnTo>
                  <a:lnTo>
                    <a:pt x="3420" y="3193"/>
                  </a:lnTo>
                  <a:lnTo>
                    <a:pt x="3440" y="3182"/>
                  </a:lnTo>
                  <a:lnTo>
                    <a:pt x="3462" y="3172"/>
                  </a:lnTo>
                  <a:lnTo>
                    <a:pt x="3483" y="3164"/>
                  </a:lnTo>
                  <a:lnTo>
                    <a:pt x="3504" y="3157"/>
                  </a:lnTo>
                  <a:lnTo>
                    <a:pt x="3528" y="3150"/>
                  </a:lnTo>
                  <a:lnTo>
                    <a:pt x="3549" y="3145"/>
                  </a:lnTo>
                  <a:lnTo>
                    <a:pt x="3597" y="3138"/>
                  </a:lnTo>
                  <a:lnTo>
                    <a:pt x="3644" y="3135"/>
                  </a:lnTo>
                  <a:lnTo>
                    <a:pt x="3701" y="3139"/>
                  </a:lnTo>
                  <a:lnTo>
                    <a:pt x="3728" y="3143"/>
                  </a:lnTo>
                  <a:lnTo>
                    <a:pt x="3755" y="3149"/>
                  </a:lnTo>
                  <a:lnTo>
                    <a:pt x="3781" y="3156"/>
                  </a:lnTo>
                  <a:lnTo>
                    <a:pt x="3807" y="3164"/>
                  </a:lnTo>
                  <a:lnTo>
                    <a:pt x="3831" y="3175"/>
                  </a:lnTo>
                  <a:lnTo>
                    <a:pt x="3856" y="3185"/>
                  </a:lnTo>
                  <a:lnTo>
                    <a:pt x="3902" y="3212"/>
                  </a:lnTo>
                  <a:lnTo>
                    <a:pt x="3944" y="3242"/>
                  </a:lnTo>
                  <a:lnTo>
                    <a:pt x="3965" y="3260"/>
                  </a:lnTo>
                  <a:lnTo>
                    <a:pt x="3983" y="3278"/>
                  </a:lnTo>
                  <a:lnTo>
                    <a:pt x="4001" y="3299"/>
                  </a:lnTo>
                  <a:lnTo>
                    <a:pt x="4017" y="3318"/>
                  </a:lnTo>
                  <a:lnTo>
                    <a:pt x="4040" y="3350"/>
                  </a:lnTo>
                  <a:lnTo>
                    <a:pt x="4060" y="3382"/>
                  </a:lnTo>
                  <a:lnTo>
                    <a:pt x="4078" y="3416"/>
                  </a:lnTo>
                  <a:lnTo>
                    <a:pt x="4092" y="3453"/>
                  </a:lnTo>
                  <a:lnTo>
                    <a:pt x="4103" y="3491"/>
                  </a:lnTo>
                  <a:lnTo>
                    <a:pt x="4112" y="3529"/>
                  </a:lnTo>
                  <a:lnTo>
                    <a:pt x="4117" y="3569"/>
                  </a:lnTo>
                  <a:lnTo>
                    <a:pt x="4119" y="3609"/>
                  </a:lnTo>
                  <a:lnTo>
                    <a:pt x="4117" y="3657"/>
                  </a:lnTo>
                  <a:lnTo>
                    <a:pt x="4110" y="3702"/>
                  </a:lnTo>
                  <a:lnTo>
                    <a:pt x="4105" y="3725"/>
                  </a:lnTo>
                  <a:lnTo>
                    <a:pt x="4099" y="3746"/>
                  </a:lnTo>
                  <a:lnTo>
                    <a:pt x="4084" y="3788"/>
                  </a:lnTo>
                  <a:lnTo>
                    <a:pt x="4075" y="3809"/>
                  </a:lnTo>
                  <a:lnTo>
                    <a:pt x="4065" y="3828"/>
                  </a:lnTo>
                  <a:lnTo>
                    <a:pt x="4043" y="3866"/>
                  </a:lnTo>
                  <a:lnTo>
                    <a:pt x="4016" y="3902"/>
                  </a:lnTo>
                  <a:lnTo>
                    <a:pt x="3988" y="3936"/>
                  </a:lnTo>
                  <a:lnTo>
                    <a:pt x="3956" y="3965"/>
                  </a:lnTo>
                  <a:lnTo>
                    <a:pt x="3921" y="3993"/>
                  </a:lnTo>
                  <a:lnTo>
                    <a:pt x="3884" y="4016"/>
                  </a:lnTo>
                  <a:lnTo>
                    <a:pt x="3844" y="4037"/>
                  </a:lnTo>
                  <a:lnTo>
                    <a:pt x="3802" y="4053"/>
                  </a:lnTo>
                  <a:lnTo>
                    <a:pt x="3760" y="4066"/>
                  </a:lnTo>
                  <a:lnTo>
                    <a:pt x="3715" y="4075"/>
                  </a:lnTo>
                  <a:lnTo>
                    <a:pt x="3667" y="4079"/>
                  </a:lnTo>
                  <a:lnTo>
                    <a:pt x="3667" y="4336"/>
                  </a:lnTo>
                  <a:lnTo>
                    <a:pt x="3666" y="4345"/>
                  </a:lnTo>
                  <a:lnTo>
                    <a:pt x="3661" y="4351"/>
                  </a:lnTo>
                  <a:lnTo>
                    <a:pt x="3654" y="4355"/>
                  </a:lnTo>
                  <a:lnTo>
                    <a:pt x="3648" y="4356"/>
                  </a:lnTo>
                  <a:lnTo>
                    <a:pt x="3640" y="4355"/>
                  </a:lnTo>
                  <a:lnTo>
                    <a:pt x="3634" y="4351"/>
                  </a:lnTo>
                  <a:lnTo>
                    <a:pt x="3629" y="4345"/>
                  </a:lnTo>
                  <a:lnTo>
                    <a:pt x="3628" y="4336"/>
                  </a:lnTo>
                  <a:lnTo>
                    <a:pt x="3628" y="4333"/>
                  </a:lnTo>
                  <a:close/>
                </a:path>
              </a:pathLst>
            </a:custGeom>
            <a:solidFill>
              <a:srgbClr val="FF6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33EF670B-30BD-4A10-B403-507CF595F201}"/>
                </a:ext>
              </a:extLst>
            </p:cNvPr>
            <p:cNvSpPr>
              <a:spLocks noChangeAspect="1" noEditPoints="1"/>
            </p:cNvSpPr>
            <p:nvPr userDrawn="1"/>
          </p:nvSpPr>
          <p:spPr bwMode="black">
            <a:xfrm>
              <a:off x="5610994" y="5177099"/>
              <a:ext cx="193514" cy="216000"/>
            </a:xfrm>
            <a:custGeom>
              <a:avLst/>
              <a:gdLst>
                <a:gd name="T0" fmla="*/ 2964 w 3578"/>
                <a:gd name="T1" fmla="*/ 3151 h 3996"/>
                <a:gd name="T2" fmla="*/ 2988 w 3578"/>
                <a:gd name="T3" fmla="*/ 3131 h 3996"/>
                <a:gd name="T4" fmla="*/ 3002 w 3578"/>
                <a:gd name="T5" fmla="*/ 3095 h 3996"/>
                <a:gd name="T6" fmla="*/ 2998 w 3578"/>
                <a:gd name="T7" fmla="*/ 3052 h 3996"/>
                <a:gd name="T8" fmla="*/ 2570 w 3578"/>
                <a:gd name="T9" fmla="*/ 2480 h 3996"/>
                <a:gd name="T10" fmla="*/ 2976 w 3578"/>
                <a:gd name="T11" fmla="*/ 956 h 3996"/>
                <a:gd name="T12" fmla="*/ 2988 w 3578"/>
                <a:gd name="T13" fmla="*/ 917 h 3996"/>
                <a:gd name="T14" fmla="*/ 2981 w 3578"/>
                <a:gd name="T15" fmla="*/ 878 h 3996"/>
                <a:gd name="T16" fmla="*/ 2961 w 3578"/>
                <a:gd name="T17" fmla="*/ 853 h 3996"/>
                <a:gd name="T18" fmla="*/ 2936 w 3578"/>
                <a:gd name="T19" fmla="*/ 840 h 3996"/>
                <a:gd name="T20" fmla="*/ 2275 w 3578"/>
                <a:gd name="T21" fmla="*/ 835 h 3996"/>
                <a:gd name="T22" fmla="*/ 2209 w 3578"/>
                <a:gd name="T23" fmla="*/ 845 h 3996"/>
                <a:gd name="T24" fmla="*/ 2160 w 3578"/>
                <a:gd name="T25" fmla="*/ 872 h 3996"/>
                <a:gd name="T26" fmla="*/ 2119 w 3578"/>
                <a:gd name="T27" fmla="*/ 915 h 3996"/>
                <a:gd name="T28" fmla="*/ 1365 w 3578"/>
                <a:gd name="T29" fmla="*/ 931 h 3996"/>
                <a:gd name="T30" fmla="*/ 1356 w 3578"/>
                <a:gd name="T31" fmla="*/ 884 h 3996"/>
                <a:gd name="T32" fmla="*/ 1325 w 3578"/>
                <a:gd name="T33" fmla="*/ 851 h 3996"/>
                <a:gd name="T34" fmla="*/ 1280 w 3578"/>
                <a:gd name="T35" fmla="*/ 835 h 3996"/>
                <a:gd name="T36" fmla="*/ 664 w 3578"/>
                <a:gd name="T37" fmla="*/ 840 h 3996"/>
                <a:gd name="T38" fmla="*/ 625 w 3578"/>
                <a:gd name="T39" fmla="*/ 862 h 3996"/>
                <a:gd name="T40" fmla="*/ 602 w 3578"/>
                <a:gd name="T41" fmla="*/ 902 h 3996"/>
                <a:gd name="T42" fmla="*/ 598 w 3578"/>
                <a:gd name="T43" fmla="*/ 1998 h 3996"/>
                <a:gd name="T44" fmla="*/ 602 w 3578"/>
                <a:gd name="T45" fmla="*/ 3094 h 3996"/>
                <a:gd name="T46" fmla="*/ 625 w 3578"/>
                <a:gd name="T47" fmla="*/ 3133 h 3996"/>
                <a:gd name="T48" fmla="*/ 664 w 3578"/>
                <a:gd name="T49" fmla="*/ 3156 h 3996"/>
                <a:gd name="T50" fmla="*/ 1280 w 3578"/>
                <a:gd name="T51" fmla="*/ 3160 h 3996"/>
                <a:gd name="T52" fmla="*/ 1325 w 3578"/>
                <a:gd name="T53" fmla="*/ 3144 h 3996"/>
                <a:gd name="T54" fmla="*/ 1356 w 3578"/>
                <a:gd name="T55" fmla="*/ 3111 h 3996"/>
                <a:gd name="T56" fmla="*/ 1365 w 3578"/>
                <a:gd name="T57" fmla="*/ 3064 h 3996"/>
                <a:gd name="T58" fmla="*/ 2119 w 3578"/>
                <a:gd name="T59" fmla="*/ 3080 h 3996"/>
                <a:gd name="T60" fmla="*/ 2160 w 3578"/>
                <a:gd name="T61" fmla="*/ 3123 h 3996"/>
                <a:gd name="T62" fmla="*/ 2209 w 3578"/>
                <a:gd name="T63" fmla="*/ 3151 h 3996"/>
                <a:gd name="T64" fmla="*/ 2275 w 3578"/>
                <a:gd name="T65" fmla="*/ 3160 h 3996"/>
                <a:gd name="T66" fmla="*/ 4 w 3578"/>
                <a:gd name="T67" fmla="*/ 3929 h 3996"/>
                <a:gd name="T68" fmla="*/ 27 w 3578"/>
                <a:gd name="T69" fmla="*/ 3968 h 3996"/>
                <a:gd name="T70" fmla="*/ 66 w 3578"/>
                <a:gd name="T71" fmla="*/ 3991 h 3996"/>
                <a:gd name="T72" fmla="*/ 1789 w 3578"/>
                <a:gd name="T73" fmla="*/ 3996 h 3996"/>
                <a:gd name="T74" fmla="*/ 3512 w 3578"/>
                <a:gd name="T75" fmla="*/ 3991 h 3996"/>
                <a:gd name="T76" fmla="*/ 3552 w 3578"/>
                <a:gd name="T77" fmla="*/ 3968 h 3996"/>
                <a:gd name="T78" fmla="*/ 3574 w 3578"/>
                <a:gd name="T79" fmla="*/ 3929 h 3996"/>
                <a:gd name="T80" fmla="*/ 3577 w 3578"/>
                <a:gd name="T81" fmla="*/ 3624 h 3996"/>
                <a:gd name="T82" fmla="*/ 3563 w 3578"/>
                <a:gd name="T83" fmla="*/ 3579 h 3996"/>
                <a:gd name="T84" fmla="*/ 3529 w 3578"/>
                <a:gd name="T85" fmla="*/ 3549 h 3996"/>
                <a:gd name="T86" fmla="*/ 3482 w 3578"/>
                <a:gd name="T87" fmla="*/ 3538 h 3996"/>
                <a:gd name="T88" fmla="*/ 85 w 3578"/>
                <a:gd name="T89" fmla="*/ 3538 h 3996"/>
                <a:gd name="T90" fmla="*/ 41 w 3578"/>
                <a:gd name="T91" fmla="*/ 3554 h 3996"/>
                <a:gd name="T92" fmla="*/ 11 w 3578"/>
                <a:gd name="T93" fmla="*/ 3587 h 3996"/>
                <a:gd name="T94" fmla="*/ 0 w 3578"/>
                <a:gd name="T95" fmla="*/ 3634 h 3996"/>
                <a:gd name="T96" fmla="*/ 4 w 3578"/>
                <a:gd name="T97" fmla="*/ 391 h 3996"/>
                <a:gd name="T98" fmla="*/ 27 w 3578"/>
                <a:gd name="T99" fmla="*/ 430 h 3996"/>
                <a:gd name="T100" fmla="*/ 66 w 3578"/>
                <a:gd name="T101" fmla="*/ 453 h 3996"/>
                <a:gd name="T102" fmla="*/ 1789 w 3578"/>
                <a:gd name="T103" fmla="*/ 456 h 3996"/>
                <a:gd name="T104" fmla="*/ 3512 w 3578"/>
                <a:gd name="T105" fmla="*/ 453 h 3996"/>
                <a:gd name="T106" fmla="*/ 3552 w 3578"/>
                <a:gd name="T107" fmla="*/ 430 h 3996"/>
                <a:gd name="T108" fmla="*/ 3574 w 3578"/>
                <a:gd name="T109" fmla="*/ 391 h 3996"/>
                <a:gd name="T110" fmla="*/ 3577 w 3578"/>
                <a:gd name="T111" fmla="*/ 85 h 3996"/>
                <a:gd name="T112" fmla="*/ 3563 w 3578"/>
                <a:gd name="T113" fmla="*/ 41 h 3996"/>
                <a:gd name="T114" fmla="*/ 3529 w 3578"/>
                <a:gd name="T115" fmla="*/ 11 h 3996"/>
                <a:gd name="T116" fmla="*/ 3482 w 3578"/>
                <a:gd name="T117" fmla="*/ 0 h 3996"/>
                <a:gd name="T118" fmla="*/ 85 w 3578"/>
                <a:gd name="T119" fmla="*/ 0 h 3996"/>
                <a:gd name="T120" fmla="*/ 41 w 3578"/>
                <a:gd name="T121" fmla="*/ 16 h 3996"/>
                <a:gd name="T122" fmla="*/ 11 w 3578"/>
                <a:gd name="T123" fmla="*/ 49 h 3996"/>
                <a:gd name="T124" fmla="*/ 0 w 3578"/>
                <a:gd name="T125" fmla="*/ 95 h 3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78" h="3996">
                  <a:moveTo>
                    <a:pt x="2924" y="3160"/>
                  </a:moveTo>
                  <a:lnTo>
                    <a:pt x="2936" y="3160"/>
                  </a:lnTo>
                  <a:lnTo>
                    <a:pt x="2947" y="3157"/>
                  </a:lnTo>
                  <a:lnTo>
                    <a:pt x="2958" y="3153"/>
                  </a:lnTo>
                  <a:lnTo>
                    <a:pt x="2964" y="3151"/>
                  </a:lnTo>
                  <a:lnTo>
                    <a:pt x="2968" y="3148"/>
                  </a:lnTo>
                  <a:lnTo>
                    <a:pt x="2977" y="3142"/>
                  </a:lnTo>
                  <a:lnTo>
                    <a:pt x="2981" y="3139"/>
                  </a:lnTo>
                  <a:lnTo>
                    <a:pt x="2985" y="3135"/>
                  </a:lnTo>
                  <a:lnTo>
                    <a:pt x="2988" y="3131"/>
                  </a:lnTo>
                  <a:lnTo>
                    <a:pt x="2991" y="3126"/>
                  </a:lnTo>
                  <a:lnTo>
                    <a:pt x="2996" y="3117"/>
                  </a:lnTo>
                  <a:lnTo>
                    <a:pt x="3000" y="3106"/>
                  </a:lnTo>
                  <a:lnTo>
                    <a:pt x="3001" y="3101"/>
                  </a:lnTo>
                  <a:lnTo>
                    <a:pt x="3002" y="3095"/>
                  </a:lnTo>
                  <a:lnTo>
                    <a:pt x="3003" y="3084"/>
                  </a:lnTo>
                  <a:lnTo>
                    <a:pt x="3002" y="3072"/>
                  </a:lnTo>
                  <a:lnTo>
                    <a:pt x="3001" y="3065"/>
                  </a:lnTo>
                  <a:lnTo>
                    <a:pt x="2999" y="3059"/>
                  </a:lnTo>
                  <a:lnTo>
                    <a:pt x="2998" y="3052"/>
                  </a:lnTo>
                  <a:lnTo>
                    <a:pt x="2995" y="3045"/>
                  </a:lnTo>
                  <a:lnTo>
                    <a:pt x="2988" y="3032"/>
                  </a:lnTo>
                  <a:lnTo>
                    <a:pt x="2985" y="3026"/>
                  </a:lnTo>
                  <a:lnTo>
                    <a:pt x="2980" y="3019"/>
                  </a:lnTo>
                  <a:lnTo>
                    <a:pt x="2570" y="2480"/>
                  </a:lnTo>
                  <a:lnTo>
                    <a:pt x="2162" y="1941"/>
                  </a:lnTo>
                  <a:lnTo>
                    <a:pt x="2562" y="1459"/>
                  </a:lnTo>
                  <a:lnTo>
                    <a:pt x="2962" y="976"/>
                  </a:lnTo>
                  <a:lnTo>
                    <a:pt x="2972" y="962"/>
                  </a:lnTo>
                  <a:lnTo>
                    <a:pt x="2976" y="956"/>
                  </a:lnTo>
                  <a:lnTo>
                    <a:pt x="2979" y="949"/>
                  </a:lnTo>
                  <a:lnTo>
                    <a:pt x="2985" y="936"/>
                  </a:lnTo>
                  <a:lnTo>
                    <a:pt x="2986" y="929"/>
                  </a:lnTo>
                  <a:lnTo>
                    <a:pt x="2988" y="923"/>
                  </a:lnTo>
                  <a:lnTo>
                    <a:pt x="2988" y="917"/>
                  </a:lnTo>
                  <a:lnTo>
                    <a:pt x="2989" y="910"/>
                  </a:lnTo>
                  <a:lnTo>
                    <a:pt x="2988" y="899"/>
                  </a:lnTo>
                  <a:lnTo>
                    <a:pt x="2987" y="894"/>
                  </a:lnTo>
                  <a:lnTo>
                    <a:pt x="2986" y="888"/>
                  </a:lnTo>
                  <a:lnTo>
                    <a:pt x="2981" y="878"/>
                  </a:lnTo>
                  <a:lnTo>
                    <a:pt x="2979" y="873"/>
                  </a:lnTo>
                  <a:lnTo>
                    <a:pt x="2976" y="868"/>
                  </a:lnTo>
                  <a:lnTo>
                    <a:pt x="2972" y="864"/>
                  </a:lnTo>
                  <a:lnTo>
                    <a:pt x="2969" y="861"/>
                  </a:lnTo>
                  <a:lnTo>
                    <a:pt x="2961" y="853"/>
                  </a:lnTo>
                  <a:lnTo>
                    <a:pt x="2957" y="849"/>
                  </a:lnTo>
                  <a:lnTo>
                    <a:pt x="2951" y="846"/>
                  </a:lnTo>
                  <a:lnTo>
                    <a:pt x="2947" y="844"/>
                  </a:lnTo>
                  <a:lnTo>
                    <a:pt x="2941" y="842"/>
                  </a:lnTo>
                  <a:lnTo>
                    <a:pt x="2936" y="840"/>
                  </a:lnTo>
                  <a:lnTo>
                    <a:pt x="2930" y="838"/>
                  </a:lnTo>
                  <a:lnTo>
                    <a:pt x="2925" y="836"/>
                  </a:lnTo>
                  <a:lnTo>
                    <a:pt x="2919" y="836"/>
                  </a:lnTo>
                  <a:lnTo>
                    <a:pt x="2907" y="835"/>
                  </a:lnTo>
                  <a:lnTo>
                    <a:pt x="2275" y="835"/>
                  </a:lnTo>
                  <a:lnTo>
                    <a:pt x="2260" y="835"/>
                  </a:lnTo>
                  <a:lnTo>
                    <a:pt x="2246" y="836"/>
                  </a:lnTo>
                  <a:lnTo>
                    <a:pt x="2234" y="838"/>
                  </a:lnTo>
                  <a:lnTo>
                    <a:pt x="2222" y="841"/>
                  </a:lnTo>
                  <a:lnTo>
                    <a:pt x="2209" y="845"/>
                  </a:lnTo>
                  <a:lnTo>
                    <a:pt x="2198" y="848"/>
                  </a:lnTo>
                  <a:lnTo>
                    <a:pt x="2188" y="854"/>
                  </a:lnTo>
                  <a:lnTo>
                    <a:pt x="2178" y="859"/>
                  </a:lnTo>
                  <a:lnTo>
                    <a:pt x="2168" y="865"/>
                  </a:lnTo>
                  <a:lnTo>
                    <a:pt x="2160" y="872"/>
                  </a:lnTo>
                  <a:lnTo>
                    <a:pt x="2151" y="879"/>
                  </a:lnTo>
                  <a:lnTo>
                    <a:pt x="2142" y="887"/>
                  </a:lnTo>
                  <a:lnTo>
                    <a:pt x="2134" y="896"/>
                  </a:lnTo>
                  <a:lnTo>
                    <a:pt x="2126" y="905"/>
                  </a:lnTo>
                  <a:lnTo>
                    <a:pt x="2119" y="915"/>
                  </a:lnTo>
                  <a:lnTo>
                    <a:pt x="2111" y="925"/>
                  </a:lnTo>
                  <a:lnTo>
                    <a:pt x="1738" y="1404"/>
                  </a:lnTo>
                  <a:lnTo>
                    <a:pt x="1365" y="1885"/>
                  </a:lnTo>
                  <a:lnTo>
                    <a:pt x="1365" y="1408"/>
                  </a:lnTo>
                  <a:lnTo>
                    <a:pt x="1365" y="931"/>
                  </a:lnTo>
                  <a:lnTo>
                    <a:pt x="1365" y="920"/>
                  </a:lnTo>
                  <a:lnTo>
                    <a:pt x="1364" y="910"/>
                  </a:lnTo>
                  <a:lnTo>
                    <a:pt x="1362" y="902"/>
                  </a:lnTo>
                  <a:lnTo>
                    <a:pt x="1359" y="892"/>
                  </a:lnTo>
                  <a:lnTo>
                    <a:pt x="1356" y="884"/>
                  </a:lnTo>
                  <a:lnTo>
                    <a:pt x="1350" y="876"/>
                  </a:lnTo>
                  <a:lnTo>
                    <a:pt x="1346" y="868"/>
                  </a:lnTo>
                  <a:lnTo>
                    <a:pt x="1339" y="862"/>
                  </a:lnTo>
                  <a:lnTo>
                    <a:pt x="1332" y="856"/>
                  </a:lnTo>
                  <a:lnTo>
                    <a:pt x="1325" y="851"/>
                  </a:lnTo>
                  <a:lnTo>
                    <a:pt x="1317" y="846"/>
                  </a:lnTo>
                  <a:lnTo>
                    <a:pt x="1309" y="842"/>
                  </a:lnTo>
                  <a:lnTo>
                    <a:pt x="1300" y="840"/>
                  </a:lnTo>
                  <a:lnTo>
                    <a:pt x="1290" y="837"/>
                  </a:lnTo>
                  <a:lnTo>
                    <a:pt x="1280" y="835"/>
                  </a:lnTo>
                  <a:lnTo>
                    <a:pt x="1270" y="835"/>
                  </a:lnTo>
                  <a:lnTo>
                    <a:pt x="694" y="835"/>
                  </a:lnTo>
                  <a:lnTo>
                    <a:pt x="684" y="835"/>
                  </a:lnTo>
                  <a:lnTo>
                    <a:pt x="674" y="837"/>
                  </a:lnTo>
                  <a:lnTo>
                    <a:pt x="664" y="840"/>
                  </a:lnTo>
                  <a:lnTo>
                    <a:pt x="656" y="842"/>
                  </a:lnTo>
                  <a:lnTo>
                    <a:pt x="647" y="846"/>
                  </a:lnTo>
                  <a:lnTo>
                    <a:pt x="639" y="851"/>
                  </a:lnTo>
                  <a:lnTo>
                    <a:pt x="632" y="856"/>
                  </a:lnTo>
                  <a:lnTo>
                    <a:pt x="625" y="862"/>
                  </a:lnTo>
                  <a:lnTo>
                    <a:pt x="619" y="868"/>
                  </a:lnTo>
                  <a:lnTo>
                    <a:pt x="614" y="876"/>
                  </a:lnTo>
                  <a:lnTo>
                    <a:pt x="609" y="884"/>
                  </a:lnTo>
                  <a:lnTo>
                    <a:pt x="606" y="892"/>
                  </a:lnTo>
                  <a:lnTo>
                    <a:pt x="602" y="902"/>
                  </a:lnTo>
                  <a:lnTo>
                    <a:pt x="600" y="910"/>
                  </a:lnTo>
                  <a:lnTo>
                    <a:pt x="599" y="920"/>
                  </a:lnTo>
                  <a:lnTo>
                    <a:pt x="598" y="931"/>
                  </a:lnTo>
                  <a:lnTo>
                    <a:pt x="598" y="1464"/>
                  </a:lnTo>
                  <a:lnTo>
                    <a:pt x="598" y="1998"/>
                  </a:lnTo>
                  <a:lnTo>
                    <a:pt x="598" y="2531"/>
                  </a:lnTo>
                  <a:lnTo>
                    <a:pt x="598" y="3064"/>
                  </a:lnTo>
                  <a:lnTo>
                    <a:pt x="599" y="3074"/>
                  </a:lnTo>
                  <a:lnTo>
                    <a:pt x="600" y="3084"/>
                  </a:lnTo>
                  <a:lnTo>
                    <a:pt x="602" y="3094"/>
                  </a:lnTo>
                  <a:lnTo>
                    <a:pt x="606" y="3103"/>
                  </a:lnTo>
                  <a:lnTo>
                    <a:pt x="609" y="3111"/>
                  </a:lnTo>
                  <a:lnTo>
                    <a:pt x="614" y="3120"/>
                  </a:lnTo>
                  <a:lnTo>
                    <a:pt x="619" y="3126"/>
                  </a:lnTo>
                  <a:lnTo>
                    <a:pt x="625" y="3133"/>
                  </a:lnTo>
                  <a:lnTo>
                    <a:pt x="632" y="3140"/>
                  </a:lnTo>
                  <a:lnTo>
                    <a:pt x="639" y="3144"/>
                  </a:lnTo>
                  <a:lnTo>
                    <a:pt x="647" y="3150"/>
                  </a:lnTo>
                  <a:lnTo>
                    <a:pt x="656" y="3153"/>
                  </a:lnTo>
                  <a:lnTo>
                    <a:pt x="664" y="3156"/>
                  </a:lnTo>
                  <a:lnTo>
                    <a:pt x="674" y="3158"/>
                  </a:lnTo>
                  <a:lnTo>
                    <a:pt x="684" y="3160"/>
                  </a:lnTo>
                  <a:lnTo>
                    <a:pt x="694" y="3160"/>
                  </a:lnTo>
                  <a:lnTo>
                    <a:pt x="1270" y="3160"/>
                  </a:lnTo>
                  <a:lnTo>
                    <a:pt x="1280" y="3160"/>
                  </a:lnTo>
                  <a:lnTo>
                    <a:pt x="1290" y="3158"/>
                  </a:lnTo>
                  <a:lnTo>
                    <a:pt x="1300" y="3156"/>
                  </a:lnTo>
                  <a:lnTo>
                    <a:pt x="1309" y="3153"/>
                  </a:lnTo>
                  <a:lnTo>
                    <a:pt x="1317" y="3150"/>
                  </a:lnTo>
                  <a:lnTo>
                    <a:pt x="1325" y="3144"/>
                  </a:lnTo>
                  <a:lnTo>
                    <a:pt x="1332" y="3140"/>
                  </a:lnTo>
                  <a:lnTo>
                    <a:pt x="1339" y="3133"/>
                  </a:lnTo>
                  <a:lnTo>
                    <a:pt x="1346" y="3126"/>
                  </a:lnTo>
                  <a:lnTo>
                    <a:pt x="1350" y="3120"/>
                  </a:lnTo>
                  <a:lnTo>
                    <a:pt x="1356" y="3111"/>
                  </a:lnTo>
                  <a:lnTo>
                    <a:pt x="1359" y="3103"/>
                  </a:lnTo>
                  <a:lnTo>
                    <a:pt x="1362" y="3094"/>
                  </a:lnTo>
                  <a:lnTo>
                    <a:pt x="1364" y="3084"/>
                  </a:lnTo>
                  <a:lnTo>
                    <a:pt x="1365" y="3074"/>
                  </a:lnTo>
                  <a:lnTo>
                    <a:pt x="1365" y="3064"/>
                  </a:lnTo>
                  <a:lnTo>
                    <a:pt x="1365" y="2539"/>
                  </a:lnTo>
                  <a:lnTo>
                    <a:pt x="1365" y="2014"/>
                  </a:lnTo>
                  <a:lnTo>
                    <a:pt x="1738" y="2542"/>
                  </a:lnTo>
                  <a:lnTo>
                    <a:pt x="2111" y="3070"/>
                  </a:lnTo>
                  <a:lnTo>
                    <a:pt x="2119" y="3080"/>
                  </a:lnTo>
                  <a:lnTo>
                    <a:pt x="2126" y="3090"/>
                  </a:lnTo>
                  <a:lnTo>
                    <a:pt x="2134" y="3099"/>
                  </a:lnTo>
                  <a:lnTo>
                    <a:pt x="2142" y="3108"/>
                  </a:lnTo>
                  <a:lnTo>
                    <a:pt x="2151" y="3115"/>
                  </a:lnTo>
                  <a:lnTo>
                    <a:pt x="2160" y="3123"/>
                  </a:lnTo>
                  <a:lnTo>
                    <a:pt x="2168" y="3130"/>
                  </a:lnTo>
                  <a:lnTo>
                    <a:pt x="2178" y="3136"/>
                  </a:lnTo>
                  <a:lnTo>
                    <a:pt x="2188" y="3142"/>
                  </a:lnTo>
                  <a:lnTo>
                    <a:pt x="2198" y="3146"/>
                  </a:lnTo>
                  <a:lnTo>
                    <a:pt x="2209" y="3151"/>
                  </a:lnTo>
                  <a:lnTo>
                    <a:pt x="2222" y="3154"/>
                  </a:lnTo>
                  <a:lnTo>
                    <a:pt x="2234" y="3156"/>
                  </a:lnTo>
                  <a:lnTo>
                    <a:pt x="2246" y="3158"/>
                  </a:lnTo>
                  <a:lnTo>
                    <a:pt x="2260" y="3160"/>
                  </a:lnTo>
                  <a:lnTo>
                    <a:pt x="2275" y="3160"/>
                  </a:lnTo>
                  <a:lnTo>
                    <a:pt x="2924" y="3160"/>
                  </a:lnTo>
                  <a:close/>
                  <a:moveTo>
                    <a:pt x="0" y="3899"/>
                  </a:moveTo>
                  <a:lnTo>
                    <a:pt x="1" y="3909"/>
                  </a:lnTo>
                  <a:lnTo>
                    <a:pt x="2" y="3919"/>
                  </a:lnTo>
                  <a:lnTo>
                    <a:pt x="4" y="3929"/>
                  </a:lnTo>
                  <a:lnTo>
                    <a:pt x="8" y="3938"/>
                  </a:lnTo>
                  <a:lnTo>
                    <a:pt x="11" y="3947"/>
                  </a:lnTo>
                  <a:lnTo>
                    <a:pt x="16" y="3955"/>
                  </a:lnTo>
                  <a:lnTo>
                    <a:pt x="21" y="3961"/>
                  </a:lnTo>
                  <a:lnTo>
                    <a:pt x="27" y="3968"/>
                  </a:lnTo>
                  <a:lnTo>
                    <a:pt x="33" y="3975"/>
                  </a:lnTo>
                  <a:lnTo>
                    <a:pt x="41" y="3980"/>
                  </a:lnTo>
                  <a:lnTo>
                    <a:pt x="49" y="3985"/>
                  </a:lnTo>
                  <a:lnTo>
                    <a:pt x="58" y="3988"/>
                  </a:lnTo>
                  <a:lnTo>
                    <a:pt x="66" y="3991"/>
                  </a:lnTo>
                  <a:lnTo>
                    <a:pt x="75" y="3993"/>
                  </a:lnTo>
                  <a:lnTo>
                    <a:pt x="85" y="3995"/>
                  </a:lnTo>
                  <a:lnTo>
                    <a:pt x="96" y="3996"/>
                  </a:lnTo>
                  <a:lnTo>
                    <a:pt x="942" y="3996"/>
                  </a:lnTo>
                  <a:lnTo>
                    <a:pt x="1789" y="3996"/>
                  </a:lnTo>
                  <a:lnTo>
                    <a:pt x="2635" y="3996"/>
                  </a:lnTo>
                  <a:lnTo>
                    <a:pt x="3482" y="3996"/>
                  </a:lnTo>
                  <a:lnTo>
                    <a:pt x="3493" y="3995"/>
                  </a:lnTo>
                  <a:lnTo>
                    <a:pt x="3503" y="3993"/>
                  </a:lnTo>
                  <a:lnTo>
                    <a:pt x="3512" y="3991"/>
                  </a:lnTo>
                  <a:lnTo>
                    <a:pt x="3521" y="3988"/>
                  </a:lnTo>
                  <a:lnTo>
                    <a:pt x="3529" y="3985"/>
                  </a:lnTo>
                  <a:lnTo>
                    <a:pt x="3537" y="3980"/>
                  </a:lnTo>
                  <a:lnTo>
                    <a:pt x="3545" y="3975"/>
                  </a:lnTo>
                  <a:lnTo>
                    <a:pt x="3552" y="3968"/>
                  </a:lnTo>
                  <a:lnTo>
                    <a:pt x="3557" y="3961"/>
                  </a:lnTo>
                  <a:lnTo>
                    <a:pt x="3563" y="3955"/>
                  </a:lnTo>
                  <a:lnTo>
                    <a:pt x="3567" y="3947"/>
                  </a:lnTo>
                  <a:lnTo>
                    <a:pt x="3572" y="3938"/>
                  </a:lnTo>
                  <a:lnTo>
                    <a:pt x="3574" y="3929"/>
                  </a:lnTo>
                  <a:lnTo>
                    <a:pt x="3576" y="3919"/>
                  </a:lnTo>
                  <a:lnTo>
                    <a:pt x="3577" y="3909"/>
                  </a:lnTo>
                  <a:lnTo>
                    <a:pt x="3578" y="3899"/>
                  </a:lnTo>
                  <a:lnTo>
                    <a:pt x="3578" y="3634"/>
                  </a:lnTo>
                  <a:lnTo>
                    <a:pt x="3577" y="3624"/>
                  </a:lnTo>
                  <a:lnTo>
                    <a:pt x="3576" y="3614"/>
                  </a:lnTo>
                  <a:lnTo>
                    <a:pt x="3574" y="3605"/>
                  </a:lnTo>
                  <a:lnTo>
                    <a:pt x="3572" y="3595"/>
                  </a:lnTo>
                  <a:lnTo>
                    <a:pt x="3567" y="3587"/>
                  </a:lnTo>
                  <a:lnTo>
                    <a:pt x="3563" y="3579"/>
                  </a:lnTo>
                  <a:lnTo>
                    <a:pt x="3557" y="3572"/>
                  </a:lnTo>
                  <a:lnTo>
                    <a:pt x="3552" y="3565"/>
                  </a:lnTo>
                  <a:lnTo>
                    <a:pt x="3545" y="3559"/>
                  </a:lnTo>
                  <a:lnTo>
                    <a:pt x="3537" y="3554"/>
                  </a:lnTo>
                  <a:lnTo>
                    <a:pt x="3529" y="3549"/>
                  </a:lnTo>
                  <a:lnTo>
                    <a:pt x="3521" y="3545"/>
                  </a:lnTo>
                  <a:lnTo>
                    <a:pt x="3512" y="3542"/>
                  </a:lnTo>
                  <a:lnTo>
                    <a:pt x="3503" y="3539"/>
                  </a:lnTo>
                  <a:lnTo>
                    <a:pt x="3493" y="3538"/>
                  </a:lnTo>
                  <a:lnTo>
                    <a:pt x="3482" y="3538"/>
                  </a:lnTo>
                  <a:lnTo>
                    <a:pt x="2635" y="3538"/>
                  </a:lnTo>
                  <a:lnTo>
                    <a:pt x="1789" y="3538"/>
                  </a:lnTo>
                  <a:lnTo>
                    <a:pt x="942" y="3538"/>
                  </a:lnTo>
                  <a:lnTo>
                    <a:pt x="96" y="3538"/>
                  </a:lnTo>
                  <a:lnTo>
                    <a:pt x="85" y="3538"/>
                  </a:lnTo>
                  <a:lnTo>
                    <a:pt x="75" y="3539"/>
                  </a:lnTo>
                  <a:lnTo>
                    <a:pt x="66" y="3542"/>
                  </a:lnTo>
                  <a:lnTo>
                    <a:pt x="58" y="3545"/>
                  </a:lnTo>
                  <a:lnTo>
                    <a:pt x="49" y="3549"/>
                  </a:lnTo>
                  <a:lnTo>
                    <a:pt x="41" y="3554"/>
                  </a:lnTo>
                  <a:lnTo>
                    <a:pt x="33" y="3559"/>
                  </a:lnTo>
                  <a:lnTo>
                    <a:pt x="27" y="3565"/>
                  </a:lnTo>
                  <a:lnTo>
                    <a:pt x="21" y="3572"/>
                  </a:lnTo>
                  <a:lnTo>
                    <a:pt x="16" y="3579"/>
                  </a:lnTo>
                  <a:lnTo>
                    <a:pt x="11" y="3587"/>
                  </a:lnTo>
                  <a:lnTo>
                    <a:pt x="8" y="3595"/>
                  </a:lnTo>
                  <a:lnTo>
                    <a:pt x="4" y="3605"/>
                  </a:lnTo>
                  <a:lnTo>
                    <a:pt x="2" y="3614"/>
                  </a:lnTo>
                  <a:lnTo>
                    <a:pt x="1" y="3624"/>
                  </a:lnTo>
                  <a:lnTo>
                    <a:pt x="0" y="3634"/>
                  </a:lnTo>
                  <a:lnTo>
                    <a:pt x="0" y="3899"/>
                  </a:lnTo>
                  <a:close/>
                  <a:moveTo>
                    <a:pt x="0" y="361"/>
                  </a:moveTo>
                  <a:lnTo>
                    <a:pt x="1" y="371"/>
                  </a:lnTo>
                  <a:lnTo>
                    <a:pt x="2" y="381"/>
                  </a:lnTo>
                  <a:lnTo>
                    <a:pt x="4" y="391"/>
                  </a:lnTo>
                  <a:lnTo>
                    <a:pt x="8" y="400"/>
                  </a:lnTo>
                  <a:lnTo>
                    <a:pt x="11" y="409"/>
                  </a:lnTo>
                  <a:lnTo>
                    <a:pt x="16" y="416"/>
                  </a:lnTo>
                  <a:lnTo>
                    <a:pt x="21" y="423"/>
                  </a:lnTo>
                  <a:lnTo>
                    <a:pt x="27" y="430"/>
                  </a:lnTo>
                  <a:lnTo>
                    <a:pt x="33" y="436"/>
                  </a:lnTo>
                  <a:lnTo>
                    <a:pt x="41" y="441"/>
                  </a:lnTo>
                  <a:lnTo>
                    <a:pt x="49" y="446"/>
                  </a:lnTo>
                  <a:lnTo>
                    <a:pt x="58" y="450"/>
                  </a:lnTo>
                  <a:lnTo>
                    <a:pt x="66" y="453"/>
                  </a:lnTo>
                  <a:lnTo>
                    <a:pt x="75" y="455"/>
                  </a:lnTo>
                  <a:lnTo>
                    <a:pt x="85" y="456"/>
                  </a:lnTo>
                  <a:lnTo>
                    <a:pt x="96" y="456"/>
                  </a:lnTo>
                  <a:lnTo>
                    <a:pt x="942" y="456"/>
                  </a:lnTo>
                  <a:lnTo>
                    <a:pt x="1789" y="456"/>
                  </a:lnTo>
                  <a:lnTo>
                    <a:pt x="2635" y="456"/>
                  </a:lnTo>
                  <a:lnTo>
                    <a:pt x="3482" y="456"/>
                  </a:lnTo>
                  <a:lnTo>
                    <a:pt x="3493" y="456"/>
                  </a:lnTo>
                  <a:lnTo>
                    <a:pt x="3503" y="455"/>
                  </a:lnTo>
                  <a:lnTo>
                    <a:pt x="3512" y="453"/>
                  </a:lnTo>
                  <a:lnTo>
                    <a:pt x="3521" y="450"/>
                  </a:lnTo>
                  <a:lnTo>
                    <a:pt x="3529" y="446"/>
                  </a:lnTo>
                  <a:lnTo>
                    <a:pt x="3537" y="441"/>
                  </a:lnTo>
                  <a:lnTo>
                    <a:pt x="3545" y="436"/>
                  </a:lnTo>
                  <a:lnTo>
                    <a:pt x="3552" y="430"/>
                  </a:lnTo>
                  <a:lnTo>
                    <a:pt x="3557" y="423"/>
                  </a:lnTo>
                  <a:lnTo>
                    <a:pt x="3563" y="416"/>
                  </a:lnTo>
                  <a:lnTo>
                    <a:pt x="3567" y="409"/>
                  </a:lnTo>
                  <a:lnTo>
                    <a:pt x="3572" y="400"/>
                  </a:lnTo>
                  <a:lnTo>
                    <a:pt x="3574" y="391"/>
                  </a:lnTo>
                  <a:lnTo>
                    <a:pt x="3576" y="381"/>
                  </a:lnTo>
                  <a:lnTo>
                    <a:pt x="3577" y="371"/>
                  </a:lnTo>
                  <a:lnTo>
                    <a:pt x="3578" y="361"/>
                  </a:lnTo>
                  <a:lnTo>
                    <a:pt x="3578" y="95"/>
                  </a:lnTo>
                  <a:lnTo>
                    <a:pt x="3577" y="85"/>
                  </a:lnTo>
                  <a:lnTo>
                    <a:pt x="3576" y="75"/>
                  </a:lnTo>
                  <a:lnTo>
                    <a:pt x="3574" y="65"/>
                  </a:lnTo>
                  <a:lnTo>
                    <a:pt x="3572" y="57"/>
                  </a:lnTo>
                  <a:lnTo>
                    <a:pt x="3567" y="49"/>
                  </a:lnTo>
                  <a:lnTo>
                    <a:pt x="3563" y="41"/>
                  </a:lnTo>
                  <a:lnTo>
                    <a:pt x="3557" y="33"/>
                  </a:lnTo>
                  <a:lnTo>
                    <a:pt x="3552" y="27"/>
                  </a:lnTo>
                  <a:lnTo>
                    <a:pt x="3545" y="20"/>
                  </a:lnTo>
                  <a:lnTo>
                    <a:pt x="3537" y="16"/>
                  </a:lnTo>
                  <a:lnTo>
                    <a:pt x="3529" y="11"/>
                  </a:lnTo>
                  <a:lnTo>
                    <a:pt x="3521" y="7"/>
                  </a:lnTo>
                  <a:lnTo>
                    <a:pt x="3512" y="3"/>
                  </a:lnTo>
                  <a:lnTo>
                    <a:pt x="3503" y="1"/>
                  </a:lnTo>
                  <a:lnTo>
                    <a:pt x="3493" y="0"/>
                  </a:lnTo>
                  <a:lnTo>
                    <a:pt x="3482" y="0"/>
                  </a:lnTo>
                  <a:lnTo>
                    <a:pt x="2635" y="0"/>
                  </a:lnTo>
                  <a:lnTo>
                    <a:pt x="1789" y="0"/>
                  </a:lnTo>
                  <a:lnTo>
                    <a:pt x="942" y="0"/>
                  </a:lnTo>
                  <a:lnTo>
                    <a:pt x="96" y="0"/>
                  </a:lnTo>
                  <a:lnTo>
                    <a:pt x="85" y="0"/>
                  </a:lnTo>
                  <a:lnTo>
                    <a:pt x="75" y="1"/>
                  </a:lnTo>
                  <a:lnTo>
                    <a:pt x="66" y="3"/>
                  </a:lnTo>
                  <a:lnTo>
                    <a:pt x="58" y="7"/>
                  </a:lnTo>
                  <a:lnTo>
                    <a:pt x="49" y="11"/>
                  </a:lnTo>
                  <a:lnTo>
                    <a:pt x="41" y="16"/>
                  </a:lnTo>
                  <a:lnTo>
                    <a:pt x="33" y="20"/>
                  </a:lnTo>
                  <a:lnTo>
                    <a:pt x="27" y="27"/>
                  </a:lnTo>
                  <a:lnTo>
                    <a:pt x="21" y="33"/>
                  </a:lnTo>
                  <a:lnTo>
                    <a:pt x="16" y="41"/>
                  </a:lnTo>
                  <a:lnTo>
                    <a:pt x="11" y="49"/>
                  </a:lnTo>
                  <a:lnTo>
                    <a:pt x="8" y="57"/>
                  </a:lnTo>
                  <a:lnTo>
                    <a:pt x="4" y="65"/>
                  </a:lnTo>
                  <a:lnTo>
                    <a:pt x="2" y="75"/>
                  </a:lnTo>
                  <a:lnTo>
                    <a:pt x="1" y="85"/>
                  </a:lnTo>
                  <a:lnTo>
                    <a:pt x="0" y="95"/>
                  </a:lnTo>
                  <a:lnTo>
                    <a:pt x="0" y="36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Skatta Sans Regular" pitchFamily="50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8605353-DD28-40CB-A4A9-369B1E370967}"/>
              </a:ext>
            </a:extLst>
          </p:cNvPr>
          <p:cNvGrpSpPr/>
          <p:nvPr userDrawn="1"/>
        </p:nvGrpSpPr>
        <p:grpSpPr>
          <a:xfrm>
            <a:off x="10344472" y="692696"/>
            <a:ext cx="1260000" cy="2520280"/>
            <a:chOff x="10579338" y="620688"/>
            <a:chExt cx="1260000" cy="2520280"/>
          </a:xfrm>
          <a:solidFill>
            <a:schemeClr val="accent2"/>
          </a:solidFill>
        </p:grpSpPr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id="{C365DF4D-DEF0-4B44-A36D-B08FF3323598}"/>
                </a:ext>
              </a:extLst>
            </p:cNvPr>
            <p:cNvSpPr>
              <a:spLocks noChangeAspect="1" noEditPoints="1"/>
            </p:cNvSpPr>
            <p:nvPr/>
          </p:nvSpPr>
          <p:spPr bwMode="black">
            <a:xfrm>
              <a:off x="10705591" y="620688"/>
              <a:ext cx="1007493" cy="1124563"/>
            </a:xfrm>
            <a:custGeom>
              <a:avLst/>
              <a:gdLst>
                <a:gd name="T0" fmla="*/ 2964 w 3578"/>
                <a:gd name="T1" fmla="*/ 3151 h 3996"/>
                <a:gd name="T2" fmla="*/ 2988 w 3578"/>
                <a:gd name="T3" fmla="*/ 3131 h 3996"/>
                <a:gd name="T4" fmla="*/ 3002 w 3578"/>
                <a:gd name="T5" fmla="*/ 3095 h 3996"/>
                <a:gd name="T6" fmla="*/ 2998 w 3578"/>
                <a:gd name="T7" fmla="*/ 3052 h 3996"/>
                <a:gd name="T8" fmla="*/ 2570 w 3578"/>
                <a:gd name="T9" fmla="*/ 2480 h 3996"/>
                <a:gd name="T10" fmla="*/ 2976 w 3578"/>
                <a:gd name="T11" fmla="*/ 956 h 3996"/>
                <a:gd name="T12" fmla="*/ 2988 w 3578"/>
                <a:gd name="T13" fmla="*/ 917 h 3996"/>
                <a:gd name="T14" fmla="*/ 2981 w 3578"/>
                <a:gd name="T15" fmla="*/ 878 h 3996"/>
                <a:gd name="T16" fmla="*/ 2961 w 3578"/>
                <a:gd name="T17" fmla="*/ 853 h 3996"/>
                <a:gd name="T18" fmla="*/ 2936 w 3578"/>
                <a:gd name="T19" fmla="*/ 840 h 3996"/>
                <a:gd name="T20" fmla="*/ 2275 w 3578"/>
                <a:gd name="T21" fmla="*/ 835 h 3996"/>
                <a:gd name="T22" fmla="*/ 2209 w 3578"/>
                <a:gd name="T23" fmla="*/ 845 h 3996"/>
                <a:gd name="T24" fmla="*/ 2160 w 3578"/>
                <a:gd name="T25" fmla="*/ 872 h 3996"/>
                <a:gd name="T26" fmla="*/ 2119 w 3578"/>
                <a:gd name="T27" fmla="*/ 915 h 3996"/>
                <a:gd name="T28" fmla="*/ 1365 w 3578"/>
                <a:gd name="T29" fmla="*/ 931 h 3996"/>
                <a:gd name="T30" fmla="*/ 1356 w 3578"/>
                <a:gd name="T31" fmla="*/ 884 h 3996"/>
                <a:gd name="T32" fmla="*/ 1325 w 3578"/>
                <a:gd name="T33" fmla="*/ 851 h 3996"/>
                <a:gd name="T34" fmla="*/ 1280 w 3578"/>
                <a:gd name="T35" fmla="*/ 835 h 3996"/>
                <a:gd name="T36" fmla="*/ 664 w 3578"/>
                <a:gd name="T37" fmla="*/ 840 h 3996"/>
                <a:gd name="T38" fmla="*/ 625 w 3578"/>
                <a:gd name="T39" fmla="*/ 862 h 3996"/>
                <a:gd name="T40" fmla="*/ 602 w 3578"/>
                <a:gd name="T41" fmla="*/ 902 h 3996"/>
                <a:gd name="T42" fmla="*/ 598 w 3578"/>
                <a:gd name="T43" fmla="*/ 1998 h 3996"/>
                <a:gd name="T44" fmla="*/ 602 w 3578"/>
                <a:gd name="T45" fmla="*/ 3094 h 3996"/>
                <a:gd name="T46" fmla="*/ 625 w 3578"/>
                <a:gd name="T47" fmla="*/ 3133 h 3996"/>
                <a:gd name="T48" fmla="*/ 664 w 3578"/>
                <a:gd name="T49" fmla="*/ 3156 h 3996"/>
                <a:gd name="T50" fmla="*/ 1280 w 3578"/>
                <a:gd name="T51" fmla="*/ 3160 h 3996"/>
                <a:gd name="T52" fmla="*/ 1325 w 3578"/>
                <a:gd name="T53" fmla="*/ 3144 h 3996"/>
                <a:gd name="T54" fmla="*/ 1356 w 3578"/>
                <a:gd name="T55" fmla="*/ 3111 h 3996"/>
                <a:gd name="T56" fmla="*/ 1365 w 3578"/>
                <a:gd name="T57" fmla="*/ 3064 h 3996"/>
                <a:gd name="T58" fmla="*/ 2119 w 3578"/>
                <a:gd name="T59" fmla="*/ 3080 h 3996"/>
                <a:gd name="T60" fmla="*/ 2160 w 3578"/>
                <a:gd name="T61" fmla="*/ 3123 h 3996"/>
                <a:gd name="T62" fmla="*/ 2209 w 3578"/>
                <a:gd name="T63" fmla="*/ 3151 h 3996"/>
                <a:gd name="T64" fmla="*/ 2275 w 3578"/>
                <a:gd name="T65" fmla="*/ 3160 h 3996"/>
                <a:gd name="T66" fmla="*/ 4 w 3578"/>
                <a:gd name="T67" fmla="*/ 3929 h 3996"/>
                <a:gd name="T68" fmla="*/ 27 w 3578"/>
                <a:gd name="T69" fmla="*/ 3968 h 3996"/>
                <a:gd name="T70" fmla="*/ 66 w 3578"/>
                <a:gd name="T71" fmla="*/ 3991 h 3996"/>
                <a:gd name="T72" fmla="*/ 1789 w 3578"/>
                <a:gd name="T73" fmla="*/ 3996 h 3996"/>
                <a:gd name="T74" fmla="*/ 3512 w 3578"/>
                <a:gd name="T75" fmla="*/ 3991 h 3996"/>
                <a:gd name="T76" fmla="*/ 3552 w 3578"/>
                <a:gd name="T77" fmla="*/ 3968 h 3996"/>
                <a:gd name="T78" fmla="*/ 3574 w 3578"/>
                <a:gd name="T79" fmla="*/ 3929 h 3996"/>
                <a:gd name="T80" fmla="*/ 3577 w 3578"/>
                <a:gd name="T81" fmla="*/ 3624 h 3996"/>
                <a:gd name="T82" fmla="*/ 3563 w 3578"/>
                <a:gd name="T83" fmla="*/ 3579 h 3996"/>
                <a:gd name="T84" fmla="*/ 3529 w 3578"/>
                <a:gd name="T85" fmla="*/ 3549 h 3996"/>
                <a:gd name="T86" fmla="*/ 3482 w 3578"/>
                <a:gd name="T87" fmla="*/ 3538 h 3996"/>
                <a:gd name="T88" fmla="*/ 85 w 3578"/>
                <a:gd name="T89" fmla="*/ 3538 h 3996"/>
                <a:gd name="T90" fmla="*/ 41 w 3578"/>
                <a:gd name="T91" fmla="*/ 3554 h 3996"/>
                <a:gd name="T92" fmla="*/ 11 w 3578"/>
                <a:gd name="T93" fmla="*/ 3587 h 3996"/>
                <a:gd name="T94" fmla="*/ 0 w 3578"/>
                <a:gd name="T95" fmla="*/ 3634 h 3996"/>
                <a:gd name="T96" fmla="*/ 4 w 3578"/>
                <a:gd name="T97" fmla="*/ 391 h 3996"/>
                <a:gd name="T98" fmla="*/ 27 w 3578"/>
                <a:gd name="T99" fmla="*/ 430 h 3996"/>
                <a:gd name="T100" fmla="*/ 66 w 3578"/>
                <a:gd name="T101" fmla="*/ 453 h 3996"/>
                <a:gd name="T102" fmla="*/ 1789 w 3578"/>
                <a:gd name="T103" fmla="*/ 456 h 3996"/>
                <a:gd name="T104" fmla="*/ 3512 w 3578"/>
                <a:gd name="T105" fmla="*/ 453 h 3996"/>
                <a:gd name="T106" fmla="*/ 3552 w 3578"/>
                <a:gd name="T107" fmla="*/ 430 h 3996"/>
                <a:gd name="T108" fmla="*/ 3574 w 3578"/>
                <a:gd name="T109" fmla="*/ 391 h 3996"/>
                <a:gd name="T110" fmla="*/ 3577 w 3578"/>
                <a:gd name="T111" fmla="*/ 85 h 3996"/>
                <a:gd name="T112" fmla="*/ 3563 w 3578"/>
                <a:gd name="T113" fmla="*/ 41 h 3996"/>
                <a:gd name="T114" fmla="*/ 3529 w 3578"/>
                <a:gd name="T115" fmla="*/ 11 h 3996"/>
                <a:gd name="T116" fmla="*/ 3482 w 3578"/>
                <a:gd name="T117" fmla="*/ 0 h 3996"/>
                <a:gd name="T118" fmla="*/ 85 w 3578"/>
                <a:gd name="T119" fmla="*/ 0 h 3996"/>
                <a:gd name="T120" fmla="*/ 41 w 3578"/>
                <a:gd name="T121" fmla="*/ 16 h 3996"/>
                <a:gd name="T122" fmla="*/ 11 w 3578"/>
                <a:gd name="T123" fmla="*/ 49 h 3996"/>
                <a:gd name="T124" fmla="*/ 0 w 3578"/>
                <a:gd name="T125" fmla="*/ 95 h 3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78" h="3996">
                  <a:moveTo>
                    <a:pt x="2924" y="3160"/>
                  </a:moveTo>
                  <a:lnTo>
                    <a:pt x="2936" y="3160"/>
                  </a:lnTo>
                  <a:lnTo>
                    <a:pt x="2947" y="3157"/>
                  </a:lnTo>
                  <a:lnTo>
                    <a:pt x="2958" y="3153"/>
                  </a:lnTo>
                  <a:lnTo>
                    <a:pt x="2964" y="3151"/>
                  </a:lnTo>
                  <a:lnTo>
                    <a:pt x="2968" y="3148"/>
                  </a:lnTo>
                  <a:lnTo>
                    <a:pt x="2977" y="3142"/>
                  </a:lnTo>
                  <a:lnTo>
                    <a:pt x="2981" y="3139"/>
                  </a:lnTo>
                  <a:lnTo>
                    <a:pt x="2985" y="3135"/>
                  </a:lnTo>
                  <a:lnTo>
                    <a:pt x="2988" y="3131"/>
                  </a:lnTo>
                  <a:lnTo>
                    <a:pt x="2991" y="3126"/>
                  </a:lnTo>
                  <a:lnTo>
                    <a:pt x="2996" y="3117"/>
                  </a:lnTo>
                  <a:lnTo>
                    <a:pt x="3000" y="3106"/>
                  </a:lnTo>
                  <a:lnTo>
                    <a:pt x="3001" y="3101"/>
                  </a:lnTo>
                  <a:lnTo>
                    <a:pt x="3002" y="3095"/>
                  </a:lnTo>
                  <a:lnTo>
                    <a:pt x="3003" y="3084"/>
                  </a:lnTo>
                  <a:lnTo>
                    <a:pt x="3002" y="3072"/>
                  </a:lnTo>
                  <a:lnTo>
                    <a:pt x="3001" y="3065"/>
                  </a:lnTo>
                  <a:lnTo>
                    <a:pt x="2999" y="3059"/>
                  </a:lnTo>
                  <a:lnTo>
                    <a:pt x="2998" y="3052"/>
                  </a:lnTo>
                  <a:lnTo>
                    <a:pt x="2995" y="3045"/>
                  </a:lnTo>
                  <a:lnTo>
                    <a:pt x="2988" y="3032"/>
                  </a:lnTo>
                  <a:lnTo>
                    <a:pt x="2985" y="3026"/>
                  </a:lnTo>
                  <a:lnTo>
                    <a:pt x="2980" y="3019"/>
                  </a:lnTo>
                  <a:lnTo>
                    <a:pt x="2570" y="2480"/>
                  </a:lnTo>
                  <a:lnTo>
                    <a:pt x="2162" y="1941"/>
                  </a:lnTo>
                  <a:lnTo>
                    <a:pt x="2562" y="1459"/>
                  </a:lnTo>
                  <a:lnTo>
                    <a:pt x="2962" y="976"/>
                  </a:lnTo>
                  <a:lnTo>
                    <a:pt x="2972" y="962"/>
                  </a:lnTo>
                  <a:lnTo>
                    <a:pt x="2976" y="956"/>
                  </a:lnTo>
                  <a:lnTo>
                    <a:pt x="2979" y="949"/>
                  </a:lnTo>
                  <a:lnTo>
                    <a:pt x="2985" y="936"/>
                  </a:lnTo>
                  <a:lnTo>
                    <a:pt x="2986" y="929"/>
                  </a:lnTo>
                  <a:lnTo>
                    <a:pt x="2988" y="923"/>
                  </a:lnTo>
                  <a:lnTo>
                    <a:pt x="2988" y="917"/>
                  </a:lnTo>
                  <a:lnTo>
                    <a:pt x="2989" y="910"/>
                  </a:lnTo>
                  <a:lnTo>
                    <a:pt x="2988" y="899"/>
                  </a:lnTo>
                  <a:lnTo>
                    <a:pt x="2987" y="894"/>
                  </a:lnTo>
                  <a:lnTo>
                    <a:pt x="2986" y="888"/>
                  </a:lnTo>
                  <a:lnTo>
                    <a:pt x="2981" y="878"/>
                  </a:lnTo>
                  <a:lnTo>
                    <a:pt x="2979" y="873"/>
                  </a:lnTo>
                  <a:lnTo>
                    <a:pt x="2976" y="868"/>
                  </a:lnTo>
                  <a:lnTo>
                    <a:pt x="2972" y="864"/>
                  </a:lnTo>
                  <a:lnTo>
                    <a:pt x="2969" y="861"/>
                  </a:lnTo>
                  <a:lnTo>
                    <a:pt x="2961" y="853"/>
                  </a:lnTo>
                  <a:lnTo>
                    <a:pt x="2957" y="849"/>
                  </a:lnTo>
                  <a:lnTo>
                    <a:pt x="2951" y="846"/>
                  </a:lnTo>
                  <a:lnTo>
                    <a:pt x="2947" y="844"/>
                  </a:lnTo>
                  <a:lnTo>
                    <a:pt x="2941" y="842"/>
                  </a:lnTo>
                  <a:lnTo>
                    <a:pt x="2936" y="840"/>
                  </a:lnTo>
                  <a:lnTo>
                    <a:pt x="2930" y="838"/>
                  </a:lnTo>
                  <a:lnTo>
                    <a:pt x="2925" y="836"/>
                  </a:lnTo>
                  <a:lnTo>
                    <a:pt x="2919" y="836"/>
                  </a:lnTo>
                  <a:lnTo>
                    <a:pt x="2907" y="835"/>
                  </a:lnTo>
                  <a:lnTo>
                    <a:pt x="2275" y="835"/>
                  </a:lnTo>
                  <a:lnTo>
                    <a:pt x="2260" y="835"/>
                  </a:lnTo>
                  <a:lnTo>
                    <a:pt x="2246" y="836"/>
                  </a:lnTo>
                  <a:lnTo>
                    <a:pt x="2234" y="838"/>
                  </a:lnTo>
                  <a:lnTo>
                    <a:pt x="2222" y="841"/>
                  </a:lnTo>
                  <a:lnTo>
                    <a:pt x="2209" y="845"/>
                  </a:lnTo>
                  <a:lnTo>
                    <a:pt x="2198" y="848"/>
                  </a:lnTo>
                  <a:lnTo>
                    <a:pt x="2188" y="854"/>
                  </a:lnTo>
                  <a:lnTo>
                    <a:pt x="2178" y="859"/>
                  </a:lnTo>
                  <a:lnTo>
                    <a:pt x="2168" y="865"/>
                  </a:lnTo>
                  <a:lnTo>
                    <a:pt x="2160" y="872"/>
                  </a:lnTo>
                  <a:lnTo>
                    <a:pt x="2151" y="879"/>
                  </a:lnTo>
                  <a:lnTo>
                    <a:pt x="2142" y="887"/>
                  </a:lnTo>
                  <a:lnTo>
                    <a:pt x="2134" y="896"/>
                  </a:lnTo>
                  <a:lnTo>
                    <a:pt x="2126" y="905"/>
                  </a:lnTo>
                  <a:lnTo>
                    <a:pt x="2119" y="915"/>
                  </a:lnTo>
                  <a:lnTo>
                    <a:pt x="2111" y="925"/>
                  </a:lnTo>
                  <a:lnTo>
                    <a:pt x="1738" y="1404"/>
                  </a:lnTo>
                  <a:lnTo>
                    <a:pt x="1365" y="1885"/>
                  </a:lnTo>
                  <a:lnTo>
                    <a:pt x="1365" y="1408"/>
                  </a:lnTo>
                  <a:lnTo>
                    <a:pt x="1365" y="931"/>
                  </a:lnTo>
                  <a:lnTo>
                    <a:pt x="1365" y="920"/>
                  </a:lnTo>
                  <a:lnTo>
                    <a:pt x="1364" y="910"/>
                  </a:lnTo>
                  <a:lnTo>
                    <a:pt x="1362" y="902"/>
                  </a:lnTo>
                  <a:lnTo>
                    <a:pt x="1359" y="892"/>
                  </a:lnTo>
                  <a:lnTo>
                    <a:pt x="1356" y="884"/>
                  </a:lnTo>
                  <a:lnTo>
                    <a:pt x="1350" y="876"/>
                  </a:lnTo>
                  <a:lnTo>
                    <a:pt x="1346" y="868"/>
                  </a:lnTo>
                  <a:lnTo>
                    <a:pt x="1339" y="862"/>
                  </a:lnTo>
                  <a:lnTo>
                    <a:pt x="1332" y="856"/>
                  </a:lnTo>
                  <a:lnTo>
                    <a:pt x="1325" y="851"/>
                  </a:lnTo>
                  <a:lnTo>
                    <a:pt x="1317" y="846"/>
                  </a:lnTo>
                  <a:lnTo>
                    <a:pt x="1309" y="842"/>
                  </a:lnTo>
                  <a:lnTo>
                    <a:pt x="1300" y="840"/>
                  </a:lnTo>
                  <a:lnTo>
                    <a:pt x="1290" y="837"/>
                  </a:lnTo>
                  <a:lnTo>
                    <a:pt x="1280" y="835"/>
                  </a:lnTo>
                  <a:lnTo>
                    <a:pt x="1270" y="835"/>
                  </a:lnTo>
                  <a:lnTo>
                    <a:pt x="694" y="835"/>
                  </a:lnTo>
                  <a:lnTo>
                    <a:pt x="684" y="835"/>
                  </a:lnTo>
                  <a:lnTo>
                    <a:pt x="674" y="837"/>
                  </a:lnTo>
                  <a:lnTo>
                    <a:pt x="664" y="840"/>
                  </a:lnTo>
                  <a:lnTo>
                    <a:pt x="656" y="842"/>
                  </a:lnTo>
                  <a:lnTo>
                    <a:pt x="647" y="846"/>
                  </a:lnTo>
                  <a:lnTo>
                    <a:pt x="639" y="851"/>
                  </a:lnTo>
                  <a:lnTo>
                    <a:pt x="632" y="856"/>
                  </a:lnTo>
                  <a:lnTo>
                    <a:pt x="625" y="862"/>
                  </a:lnTo>
                  <a:lnTo>
                    <a:pt x="619" y="868"/>
                  </a:lnTo>
                  <a:lnTo>
                    <a:pt x="614" y="876"/>
                  </a:lnTo>
                  <a:lnTo>
                    <a:pt x="609" y="884"/>
                  </a:lnTo>
                  <a:lnTo>
                    <a:pt x="606" y="892"/>
                  </a:lnTo>
                  <a:lnTo>
                    <a:pt x="602" y="902"/>
                  </a:lnTo>
                  <a:lnTo>
                    <a:pt x="600" y="910"/>
                  </a:lnTo>
                  <a:lnTo>
                    <a:pt x="599" y="920"/>
                  </a:lnTo>
                  <a:lnTo>
                    <a:pt x="598" y="931"/>
                  </a:lnTo>
                  <a:lnTo>
                    <a:pt x="598" y="1464"/>
                  </a:lnTo>
                  <a:lnTo>
                    <a:pt x="598" y="1998"/>
                  </a:lnTo>
                  <a:lnTo>
                    <a:pt x="598" y="2531"/>
                  </a:lnTo>
                  <a:lnTo>
                    <a:pt x="598" y="3064"/>
                  </a:lnTo>
                  <a:lnTo>
                    <a:pt x="599" y="3074"/>
                  </a:lnTo>
                  <a:lnTo>
                    <a:pt x="600" y="3084"/>
                  </a:lnTo>
                  <a:lnTo>
                    <a:pt x="602" y="3094"/>
                  </a:lnTo>
                  <a:lnTo>
                    <a:pt x="606" y="3103"/>
                  </a:lnTo>
                  <a:lnTo>
                    <a:pt x="609" y="3111"/>
                  </a:lnTo>
                  <a:lnTo>
                    <a:pt x="614" y="3120"/>
                  </a:lnTo>
                  <a:lnTo>
                    <a:pt x="619" y="3126"/>
                  </a:lnTo>
                  <a:lnTo>
                    <a:pt x="625" y="3133"/>
                  </a:lnTo>
                  <a:lnTo>
                    <a:pt x="632" y="3140"/>
                  </a:lnTo>
                  <a:lnTo>
                    <a:pt x="639" y="3144"/>
                  </a:lnTo>
                  <a:lnTo>
                    <a:pt x="647" y="3150"/>
                  </a:lnTo>
                  <a:lnTo>
                    <a:pt x="656" y="3153"/>
                  </a:lnTo>
                  <a:lnTo>
                    <a:pt x="664" y="3156"/>
                  </a:lnTo>
                  <a:lnTo>
                    <a:pt x="674" y="3158"/>
                  </a:lnTo>
                  <a:lnTo>
                    <a:pt x="684" y="3160"/>
                  </a:lnTo>
                  <a:lnTo>
                    <a:pt x="694" y="3160"/>
                  </a:lnTo>
                  <a:lnTo>
                    <a:pt x="1270" y="3160"/>
                  </a:lnTo>
                  <a:lnTo>
                    <a:pt x="1280" y="3160"/>
                  </a:lnTo>
                  <a:lnTo>
                    <a:pt x="1290" y="3158"/>
                  </a:lnTo>
                  <a:lnTo>
                    <a:pt x="1300" y="3156"/>
                  </a:lnTo>
                  <a:lnTo>
                    <a:pt x="1309" y="3153"/>
                  </a:lnTo>
                  <a:lnTo>
                    <a:pt x="1317" y="3150"/>
                  </a:lnTo>
                  <a:lnTo>
                    <a:pt x="1325" y="3144"/>
                  </a:lnTo>
                  <a:lnTo>
                    <a:pt x="1332" y="3140"/>
                  </a:lnTo>
                  <a:lnTo>
                    <a:pt x="1339" y="3133"/>
                  </a:lnTo>
                  <a:lnTo>
                    <a:pt x="1346" y="3126"/>
                  </a:lnTo>
                  <a:lnTo>
                    <a:pt x="1350" y="3120"/>
                  </a:lnTo>
                  <a:lnTo>
                    <a:pt x="1356" y="3111"/>
                  </a:lnTo>
                  <a:lnTo>
                    <a:pt x="1359" y="3103"/>
                  </a:lnTo>
                  <a:lnTo>
                    <a:pt x="1362" y="3094"/>
                  </a:lnTo>
                  <a:lnTo>
                    <a:pt x="1364" y="3084"/>
                  </a:lnTo>
                  <a:lnTo>
                    <a:pt x="1365" y="3074"/>
                  </a:lnTo>
                  <a:lnTo>
                    <a:pt x="1365" y="3064"/>
                  </a:lnTo>
                  <a:lnTo>
                    <a:pt x="1365" y="2539"/>
                  </a:lnTo>
                  <a:lnTo>
                    <a:pt x="1365" y="2014"/>
                  </a:lnTo>
                  <a:lnTo>
                    <a:pt x="1738" y="2542"/>
                  </a:lnTo>
                  <a:lnTo>
                    <a:pt x="2111" y="3070"/>
                  </a:lnTo>
                  <a:lnTo>
                    <a:pt x="2119" y="3080"/>
                  </a:lnTo>
                  <a:lnTo>
                    <a:pt x="2126" y="3090"/>
                  </a:lnTo>
                  <a:lnTo>
                    <a:pt x="2134" y="3099"/>
                  </a:lnTo>
                  <a:lnTo>
                    <a:pt x="2142" y="3108"/>
                  </a:lnTo>
                  <a:lnTo>
                    <a:pt x="2151" y="3115"/>
                  </a:lnTo>
                  <a:lnTo>
                    <a:pt x="2160" y="3123"/>
                  </a:lnTo>
                  <a:lnTo>
                    <a:pt x="2168" y="3130"/>
                  </a:lnTo>
                  <a:lnTo>
                    <a:pt x="2178" y="3136"/>
                  </a:lnTo>
                  <a:lnTo>
                    <a:pt x="2188" y="3142"/>
                  </a:lnTo>
                  <a:lnTo>
                    <a:pt x="2198" y="3146"/>
                  </a:lnTo>
                  <a:lnTo>
                    <a:pt x="2209" y="3151"/>
                  </a:lnTo>
                  <a:lnTo>
                    <a:pt x="2222" y="3154"/>
                  </a:lnTo>
                  <a:lnTo>
                    <a:pt x="2234" y="3156"/>
                  </a:lnTo>
                  <a:lnTo>
                    <a:pt x="2246" y="3158"/>
                  </a:lnTo>
                  <a:lnTo>
                    <a:pt x="2260" y="3160"/>
                  </a:lnTo>
                  <a:lnTo>
                    <a:pt x="2275" y="3160"/>
                  </a:lnTo>
                  <a:lnTo>
                    <a:pt x="2924" y="3160"/>
                  </a:lnTo>
                  <a:close/>
                  <a:moveTo>
                    <a:pt x="0" y="3899"/>
                  </a:moveTo>
                  <a:lnTo>
                    <a:pt x="1" y="3909"/>
                  </a:lnTo>
                  <a:lnTo>
                    <a:pt x="2" y="3919"/>
                  </a:lnTo>
                  <a:lnTo>
                    <a:pt x="4" y="3929"/>
                  </a:lnTo>
                  <a:lnTo>
                    <a:pt x="8" y="3938"/>
                  </a:lnTo>
                  <a:lnTo>
                    <a:pt x="11" y="3947"/>
                  </a:lnTo>
                  <a:lnTo>
                    <a:pt x="16" y="3955"/>
                  </a:lnTo>
                  <a:lnTo>
                    <a:pt x="21" y="3961"/>
                  </a:lnTo>
                  <a:lnTo>
                    <a:pt x="27" y="3968"/>
                  </a:lnTo>
                  <a:lnTo>
                    <a:pt x="33" y="3975"/>
                  </a:lnTo>
                  <a:lnTo>
                    <a:pt x="41" y="3980"/>
                  </a:lnTo>
                  <a:lnTo>
                    <a:pt x="49" y="3985"/>
                  </a:lnTo>
                  <a:lnTo>
                    <a:pt x="58" y="3988"/>
                  </a:lnTo>
                  <a:lnTo>
                    <a:pt x="66" y="3991"/>
                  </a:lnTo>
                  <a:lnTo>
                    <a:pt x="75" y="3993"/>
                  </a:lnTo>
                  <a:lnTo>
                    <a:pt x="85" y="3995"/>
                  </a:lnTo>
                  <a:lnTo>
                    <a:pt x="96" y="3996"/>
                  </a:lnTo>
                  <a:lnTo>
                    <a:pt x="942" y="3996"/>
                  </a:lnTo>
                  <a:lnTo>
                    <a:pt x="1789" y="3996"/>
                  </a:lnTo>
                  <a:lnTo>
                    <a:pt x="2635" y="3996"/>
                  </a:lnTo>
                  <a:lnTo>
                    <a:pt x="3482" y="3996"/>
                  </a:lnTo>
                  <a:lnTo>
                    <a:pt x="3493" y="3995"/>
                  </a:lnTo>
                  <a:lnTo>
                    <a:pt x="3503" y="3993"/>
                  </a:lnTo>
                  <a:lnTo>
                    <a:pt x="3512" y="3991"/>
                  </a:lnTo>
                  <a:lnTo>
                    <a:pt x="3521" y="3988"/>
                  </a:lnTo>
                  <a:lnTo>
                    <a:pt x="3529" y="3985"/>
                  </a:lnTo>
                  <a:lnTo>
                    <a:pt x="3537" y="3980"/>
                  </a:lnTo>
                  <a:lnTo>
                    <a:pt x="3545" y="3975"/>
                  </a:lnTo>
                  <a:lnTo>
                    <a:pt x="3552" y="3968"/>
                  </a:lnTo>
                  <a:lnTo>
                    <a:pt x="3557" y="3961"/>
                  </a:lnTo>
                  <a:lnTo>
                    <a:pt x="3563" y="3955"/>
                  </a:lnTo>
                  <a:lnTo>
                    <a:pt x="3567" y="3947"/>
                  </a:lnTo>
                  <a:lnTo>
                    <a:pt x="3572" y="3938"/>
                  </a:lnTo>
                  <a:lnTo>
                    <a:pt x="3574" y="3929"/>
                  </a:lnTo>
                  <a:lnTo>
                    <a:pt x="3576" y="3919"/>
                  </a:lnTo>
                  <a:lnTo>
                    <a:pt x="3577" y="3909"/>
                  </a:lnTo>
                  <a:lnTo>
                    <a:pt x="3578" y="3899"/>
                  </a:lnTo>
                  <a:lnTo>
                    <a:pt x="3578" y="3634"/>
                  </a:lnTo>
                  <a:lnTo>
                    <a:pt x="3577" y="3624"/>
                  </a:lnTo>
                  <a:lnTo>
                    <a:pt x="3576" y="3614"/>
                  </a:lnTo>
                  <a:lnTo>
                    <a:pt x="3574" y="3605"/>
                  </a:lnTo>
                  <a:lnTo>
                    <a:pt x="3572" y="3595"/>
                  </a:lnTo>
                  <a:lnTo>
                    <a:pt x="3567" y="3587"/>
                  </a:lnTo>
                  <a:lnTo>
                    <a:pt x="3563" y="3579"/>
                  </a:lnTo>
                  <a:lnTo>
                    <a:pt x="3557" y="3572"/>
                  </a:lnTo>
                  <a:lnTo>
                    <a:pt x="3552" y="3565"/>
                  </a:lnTo>
                  <a:lnTo>
                    <a:pt x="3545" y="3559"/>
                  </a:lnTo>
                  <a:lnTo>
                    <a:pt x="3537" y="3554"/>
                  </a:lnTo>
                  <a:lnTo>
                    <a:pt x="3529" y="3549"/>
                  </a:lnTo>
                  <a:lnTo>
                    <a:pt x="3521" y="3545"/>
                  </a:lnTo>
                  <a:lnTo>
                    <a:pt x="3512" y="3542"/>
                  </a:lnTo>
                  <a:lnTo>
                    <a:pt x="3503" y="3539"/>
                  </a:lnTo>
                  <a:lnTo>
                    <a:pt x="3493" y="3538"/>
                  </a:lnTo>
                  <a:lnTo>
                    <a:pt x="3482" y="3538"/>
                  </a:lnTo>
                  <a:lnTo>
                    <a:pt x="2635" y="3538"/>
                  </a:lnTo>
                  <a:lnTo>
                    <a:pt x="1789" y="3538"/>
                  </a:lnTo>
                  <a:lnTo>
                    <a:pt x="942" y="3538"/>
                  </a:lnTo>
                  <a:lnTo>
                    <a:pt x="96" y="3538"/>
                  </a:lnTo>
                  <a:lnTo>
                    <a:pt x="85" y="3538"/>
                  </a:lnTo>
                  <a:lnTo>
                    <a:pt x="75" y="3539"/>
                  </a:lnTo>
                  <a:lnTo>
                    <a:pt x="66" y="3542"/>
                  </a:lnTo>
                  <a:lnTo>
                    <a:pt x="58" y="3545"/>
                  </a:lnTo>
                  <a:lnTo>
                    <a:pt x="49" y="3549"/>
                  </a:lnTo>
                  <a:lnTo>
                    <a:pt x="41" y="3554"/>
                  </a:lnTo>
                  <a:lnTo>
                    <a:pt x="33" y="3559"/>
                  </a:lnTo>
                  <a:lnTo>
                    <a:pt x="27" y="3565"/>
                  </a:lnTo>
                  <a:lnTo>
                    <a:pt x="21" y="3572"/>
                  </a:lnTo>
                  <a:lnTo>
                    <a:pt x="16" y="3579"/>
                  </a:lnTo>
                  <a:lnTo>
                    <a:pt x="11" y="3587"/>
                  </a:lnTo>
                  <a:lnTo>
                    <a:pt x="8" y="3595"/>
                  </a:lnTo>
                  <a:lnTo>
                    <a:pt x="4" y="3605"/>
                  </a:lnTo>
                  <a:lnTo>
                    <a:pt x="2" y="3614"/>
                  </a:lnTo>
                  <a:lnTo>
                    <a:pt x="1" y="3624"/>
                  </a:lnTo>
                  <a:lnTo>
                    <a:pt x="0" y="3634"/>
                  </a:lnTo>
                  <a:lnTo>
                    <a:pt x="0" y="3899"/>
                  </a:lnTo>
                  <a:close/>
                  <a:moveTo>
                    <a:pt x="0" y="361"/>
                  </a:moveTo>
                  <a:lnTo>
                    <a:pt x="1" y="371"/>
                  </a:lnTo>
                  <a:lnTo>
                    <a:pt x="2" y="381"/>
                  </a:lnTo>
                  <a:lnTo>
                    <a:pt x="4" y="391"/>
                  </a:lnTo>
                  <a:lnTo>
                    <a:pt x="8" y="400"/>
                  </a:lnTo>
                  <a:lnTo>
                    <a:pt x="11" y="409"/>
                  </a:lnTo>
                  <a:lnTo>
                    <a:pt x="16" y="416"/>
                  </a:lnTo>
                  <a:lnTo>
                    <a:pt x="21" y="423"/>
                  </a:lnTo>
                  <a:lnTo>
                    <a:pt x="27" y="430"/>
                  </a:lnTo>
                  <a:lnTo>
                    <a:pt x="33" y="436"/>
                  </a:lnTo>
                  <a:lnTo>
                    <a:pt x="41" y="441"/>
                  </a:lnTo>
                  <a:lnTo>
                    <a:pt x="49" y="446"/>
                  </a:lnTo>
                  <a:lnTo>
                    <a:pt x="58" y="450"/>
                  </a:lnTo>
                  <a:lnTo>
                    <a:pt x="66" y="453"/>
                  </a:lnTo>
                  <a:lnTo>
                    <a:pt x="75" y="455"/>
                  </a:lnTo>
                  <a:lnTo>
                    <a:pt x="85" y="456"/>
                  </a:lnTo>
                  <a:lnTo>
                    <a:pt x="96" y="456"/>
                  </a:lnTo>
                  <a:lnTo>
                    <a:pt x="942" y="456"/>
                  </a:lnTo>
                  <a:lnTo>
                    <a:pt x="1789" y="456"/>
                  </a:lnTo>
                  <a:lnTo>
                    <a:pt x="2635" y="456"/>
                  </a:lnTo>
                  <a:lnTo>
                    <a:pt x="3482" y="456"/>
                  </a:lnTo>
                  <a:lnTo>
                    <a:pt x="3493" y="456"/>
                  </a:lnTo>
                  <a:lnTo>
                    <a:pt x="3503" y="455"/>
                  </a:lnTo>
                  <a:lnTo>
                    <a:pt x="3512" y="453"/>
                  </a:lnTo>
                  <a:lnTo>
                    <a:pt x="3521" y="450"/>
                  </a:lnTo>
                  <a:lnTo>
                    <a:pt x="3529" y="446"/>
                  </a:lnTo>
                  <a:lnTo>
                    <a:pt x="3537" y="441"/>
                  </a:lnTo>
                  <a:lnTo>
                    <a:pt x="3545" y="436"/>
                  </a:lnTo>
                  <a:lnTo>
                    <a:pt x="3552" y="430"/>
                  </a:lnTo>
                  <a:lnTo>
                    <a:pt x="3557" y="423"/>
                  </a:lnTo>
                  <a:lnTo>
                    <a:pt x="3563" y="416"/>
                  </a:lnTo>
                  <a:lnTo>
                    <a:pt x="3567" y="409"/>
                  </a:lnTo>
                  <a:lnTo>
                    <a:pt x="3572" y="400"/>
                  </a:lnTo>
                  <a:lnTo>
                    <a:pt x="3574" y="391"/>
                  </a:lnTo>
                  <a:lnTo>
                    <a:pt x="3576" y="381"/>
                  </a:lnTo>
                  <a:lnTo>
                    <a:pt x="3577" y="371"/>
                  </a:lnTo>
                  <a:lnTo>
                    <a:pt x="3578" y="361"/>
                  </a:lnTo>
                  <a:lnTo>
                    <a:pt x="3578" y="95"/>
                  </a:lnTo>
                  <a:lnTo>
                    <a:pt x="3577" y="85"/>
                  </a:lnTo>
                  <a:lnTo>
                    <a:pt x="3576" y="75"/>
                  </a:lnTo>
                  <a:lnTo>
                    <a:pt x="3574" y="65"/>
                  </a:lnTo>
                  <a:lnTo>
                    <a:pt x="3572" y="57"/>
                  </a:lnTo>
                  <a:lnTo>
                    <a:pt x="3567" y="49"/>
                  </a:lnTo>
                  <a:lnTo>
                    <a:pt x="3563" y="41"/>
                  </a:lnTo>
                  <a:lnTo>
                    <a:pt x="3557" y="33"/>
                  </a:lnTo>
                  <a:lnTo>
                    <a:pt x="3552" y="27"/>
                  </a:lnTo>
                  <a:lnTo>
                    <a:pt x="3545" y="20"/>
                  </a:lnTo>
                  <a:lnTo>
                    <a:pt x="3537" y="16"/>
                  </a:lnTo>
                  <a:lnTo>
                    <a:pt x="3529" y="11"/>
                  </a:lnTo>
                  <a:lnTo>
                    <a:pt x="3521" y="7"/>
                  </a:lnTo>
                  <a:lnTo>
                    <a:pt x="3512" y="3"/>
                  </a:lnTo>
                  <a:lnTo>
                    <a:pt x="3503" y="1"/>
                  </a:lnTo>
                  <a:lnTo>
                    <a:pt x="3493" y="0"/>
                  </a:lnTo>
                  <a:lnTo>
                    <a:pt x="3482" y="0"/>
                  </a:lnTo>
                  <a:lnTo>
                    <a:pt x="2635" y="0"/>
                  </a:lnTo>
                  <a:lnTo>
                    <a:pt x="1789" y="0"/>
                  </a:lnTo>
                  <a:lnTo>
                    <a:pt x="942" y="0"/>
                  </a:lnTo>
                  <a:lnTo>
                    <a:pt x="96" y="0"/>
                  </a:lnTo>
                  <a:lnTo>
                    <a:pt x="85" y="0"/>
                  </a:lnTo>
                  <a:lnTo>
                    <a:pt x="75" y="1"/>
                  </a:lnTo>
                  <a:lnTo>
                    <a:pt x="66" y="3"/>
                  </a:lnTo>
                  <a:lnTo>
                    <a:pt x="58" y="7"/>
                  </a:lnTo>
                  <a:lnTo>
                    <a:pt x="49" y="11"/>
                  </a:lnTo>
                  <a:lnTo>
                    <a:pt x="41" y="16"/>
                  </a:lnTo>
                  <a:lnTo>
                    <a:pt x="33" y="20"/>
                  </a:lnTo>
                  <a:lnTo>
                    <a:pt x="27" y="27"/>
                  </a:lnTo>
                  <a:lnTo>
                    <a:pt x="21" y="33"/>
                  </a:lnTo>
                  <a:lnTo>
                    <a:pt x="16" y="41"/>
                  </a:lnTo>
                  <a:lnTo>
                    <a:pt x="11" y="49"/>
                  </a:lnTo>
                  <a:lnTo>
                    <a:pt x="8" y="57"/>
                  </a:lnTo>
                  <a:lnTo>
                    <a:pt x="4" y="65"/>
                  </a:lnTo>
                  <a:lnTo>
                    <a:pt x="2" y="75"/>
                  </a:lnTo>
                  <a:lnTo>
                    <a:pt x="1" y="85"/>
                  </a:lnTo>
                  <a:lnTo>
                    <a:pt x="0" y="95"/>
                  </a:lnTo>
                  <a:lnTo>
                    <a:pt x="0" y="36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Skatta Sans Regular" pitchFamily="50" charset="0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B651368-5B4E-4C0D-ACA3-AEB6243CB91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579338" y="2067802"/>
              <a:ext cx="1260000" cy="1073166"/>
            </a:xfrm>
            <a:custGeom>
              <a:avLst/>
              <a:gdLst>
                <a:gd name="T0" fmla="*/ 2264 w 3082"/>
                <a:gd name="T1" fmla="*/ 744 h 2625"/>
                <a:gd name="T2" fmla="*/ 2266 w 3082"/>
                <a:gd name="T3" fmla="*/ 977 h 2625"/>
                <a:gd name="T4" fmla="*/ 2059 w 3082"/>
                <a:gd name="T5" fmla="*/ 1141 h 2625"/>
                <a:gd name="T6" fmla="*/ 2128 w 3082"/>
                <a:gd name="T7" fmla="*/ 961 h 2625"/>
                <a:gd name="T8" fmla="*/ 2534 w 3082"/>
                <a:gd name="T9" fmla="*/ 737 h 2625"/>
                <a:gd name="T10" fmla="*/ 2516 w 3082"/>
                <a:gd name="T11" fmla="*/ 927 h 2625"/>
                <a:gd name="T12" fmla="*/ 2383 w 3082"/>
                <a:gd name="T13" fmla="*/ 1154 h 2625"/>
                <a:gd name="T14" fmla="*/ 2470 w 3082"/>
                <a:gd name="T15" fmla="*/ 1025 h 2625"/>
                <a:gd name="T16" fmla="*/ 733 w 3082"/>
                <a:gd name="T17" fmla="*/ 1006 h 2625"/>
                <a:gd name="T18" fmla="*/ 885 w 3082"/>
                <a:gd name="T19" fmla="*/ 1154 h 2625"/>
                <a:gd name="T20" fmla="*/ 60 w 3082"/>
                <a:gd name="T21" fmla="*/ 1150 h 2625"/>
                <a:gd name="T22" fmla="*/ 1819 w 3082"/>
                <a:gd name="T23" fmla="*/ 1010 h 2625"/>
                <a:gd name="T24" fmla="*/ 1910 w 3082"/>
                <a:gd name="T25" fmla="*/ 1155 h 2625"/>
                <a:gd name="T26" fmla="*/ 1110 w 3082"/>
                <a:gd name="T27" fmla="*/ 1070 h 2625"/>
                <a:gd name="T28" fmla="*/ 1273 w 3082"/>
                <a:gd name="T29" fmla="*/ 1060 h 2625"/>
                <a:gd name="T30" fmla="*/ 962 w 3082"/>
                <a:gd name="T31" fmla="*/ 1091 h 2625"/>
                <a:gd name="T32" fmla="*/ 1547 w 3082"/>
                <a:gd name="T33" fmla="*/ 832 h 2625"/>
                <a:gd name="T34" fmla="*/ 1673 w 3082"/>
                <a:gd name="T35" fmla="*/ 911 h 2625"/>
                <a:gd name="T36" fmla="*/ 1380 w 3082"/>
                <a:gd name="T37" fmla="*/ 739 h 2625"/>
                <a:gd name="T38" fmla="*/ 3022 w 3082"/>
                <a:gd name="T39" fmla="*/ 1141 h 2625"/>
                <a:gd name="T40" fmla="*/ 706 w 3082"/>
                <a:gd name="T41" fmla="*/ 2392 h 2625"/>
                <a:gd name="T42" fmla="*/ 702 w 3082"/>
                <a:gd name="T43" fmla="*/ 2624 h 2625"/>
                <a:gd name="T44" fmla="*/ 1320 w 3082"/>
                <a:gd name="T45" fmla="*/ 2090 h 2625"/>
                <a:gd name="T46" fmla="*/ 1026 w 3082"/>
                <a:gd name="T47" fmla="*/ 2625 h 2625"/>
                <a:gd name="T48" fmla="*/ 1151 w 3082"/>
                <a:gd name="T49" fmla="*/ 2177 h 2625"/>
                <a:gd name="T50" fmla="*/ 1200 w 3082"/>
                <a:gd name="T51" fmla="*/ 2104 h 2625"/>
                <a:gd name="T52" fmla="*/ 1429 w 3082"/>
                <a:gd name="T53" fmla="*/ 2214 h 2625"/>
                <a:gd name="T54" fmla="*/ 1980 w 3082"/>
                <a:gd name="T55" fmla="*/ 2526 h 2625"/>
                <a:gd name="T56" fmla="*/ 1928 w 3082"/>
                <a:gd name="T57" fmla="*/ 2207 h 2625"/>
                <a:gd name="T58" fmla="*/ 2141 w 3082"/>
                <a:gd name="T59" fmla="*/ 2491 h 2625"/>
                <a:gd name="T60" fmla="*/ 1928 w 3082"/>
                <a:gd name="T61" fmla="*/ 2207 h 2625"/>
                <a:gd name="T62" fmla="*/ 2436 w 3082"/>
                <a:gd name="T63" fmla="*/ 2096 h 2625"/>
                <a:gd name="T64" fmla="*/ 2188 w 3082"/>
                <a:gd name="T65" fmla="*/ 2624 h 2625"/>
                <a:gd name="T66" fmla="*/ 2236 w 3082"/>
                <a:gd name="T67" fmla="*/ 2169 h 2625"/>
                <a:gd name="T68" fmla="*/ 2314 w 3082"/>
                <a:gd name="T69" fmla="*/ 2123 h 2625"/>
                <a:gd name="T70" fmla="*/ 1320 w 3082"/>
                <a:gd name="T71" fmla="*/ 177 h 2625"/>
                <a:gd name="T72" fmla="*/ 1094 w 3082"/>
                <a:gd name="T73" fmla="*/ 230 h 2625"/>
                <a:gd name="T74" fmla="*/ 1361 w 3082"/>
                <a:gd name="T75" fmla="*/ 54 h 2625"/>
                <a:gd name="T76" fmla="*/ 1345 w 3082"/>
                <a:gd name="T77" fmla="*/ 391 h 2625"/>
                <a:gd name="T78" fmla="*/ 1007 w 3082"/>
                <a:gd name="T79" fmla="*/ 313 h 2625"/>
                <a:gd name="T80" fmla="*/ 1174 w 3082"/>
                <a:gd name="T81" fmla="*/ 2 h 2625"/>
                <a:gd name="T82" fmla="*/ 1786 w 3082"/>
                <a:gd name="T83" fmla="*/ 89 h 2625"/>
                <a:gd name="T84" fmla="*/ 1490 w 3082"/>
                <a:gd name="T85" fmla="*/ 99 h 2625"/>
                <a:gd name="T86" fmla="*/ 2149 w 3082"/>
                <a:gd name="T87" fmla="*/ 9 h 2625"/>
                <a:gd name="T88" fmla="*/ 908 w 3082"/>
                <a:gd name="T89" fmla="*/ 365 h 2625"/>
                <a:gd name="T90" fmla="*/ 816 w 3082"/>
                <a:gd name="T91" fmla="*/ 336 h 2625"/>
                <a:gd name="T92" fmla="*/ 2672 w 3082"/>
                <a:gd name="T93" fmla="*/ 1878 h 2625"/>
                <a:gd name="T94" fmla="*/ 1737 w 3082"/>
                <a:gd name="T95" fmla="*/ 1879 h 2625"/>
                <a:gd name="T96" fmla="*/ 2104 w 3082"/>
                <a:gd name="T97" fmla="*/ 1888 h 2625"/>
                <a:gd name="T98" fmla="*/ 2174 w 3082"/>
                <a:gd name="T99" fmla="*/ 1888 h 2625"/>
                <a:gd name="T100" fmla="*/ 2719 w 3082"/>
                <a:gd name="T101" fmla="*/ 1481 h 2625"/>
                <a:gd name="T102" fmla="*/ 333 w 3082"/>
                <a:gd name="T103" fmla="*/ 1634 h 2625"/>
                <a:gd name="T104" fmla="*/ 110 w 3082"/>
                <a:gd name="T105" fmla="*/ 1707 h 2625"/>
                <a:gd name="T106" fmla="*/ 383 w 3082"/>
                <a:gd name="T107" fmla="*/ 1524 h 2625"/>
                <a:gd name="T108" fmla="*/ 351 w 3082"/>
                <a:gd name="T109" fmla="*/ 1860 h 2625"/>
                <a:gd name="T110" fmla="*/ 17 w 3082"/>
                <a:gd name="T111" fmla="*/ 1766 h 2625"/>
                <a:gd name="T112" fmla="*/ 200 w 3082"/>
                <a:gd name="T113" fmla="*/ 1464 h 2625"/>
                <a:gd name="T114" fmla="*/ 974 w 3082"/>
                <a:gd name="T115" fmla="*/ 1638 h 2625"/>
                <a:gd name="T116" fmla="*/ 1221 w 3082"/>
                <a:gd name="T117" fmla="*/ 1494 h 2625"/>
                <a:gd name="T118" fmla="*/ 1083 w 3082"/>
                <a:gd name="T119" fmla="*/ 1612 h 2625"/>
                <a:gd name="T120" fmla="*/ 1173 w 3082"/>
                <a:gd name="T121" fmla="*/ 1878 h 2625"/>
                <a:gd name="T122" fmla="*/ 1067 w 3082"/>
                <a:gd name="T123" fmla="*/ 1808 h 2625"/>
                <a:gd name="T124" fmla="*/ 777 w 3082"/>
                <a:gd name="T125" fmla="*/ 1480 h 26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082" h="2625">
                  <a:moveTo>
                    <a:pt x="1319" y="1480"/>
                  </a:moveTo>
                  <a:lnTo>
                    <a:pt x="1319" y="1478"/>
                  </a:lnTo>
                  <a:lnTo>
                    <a:pt x="1320" y="1476"/>
                  </a:lnTo>
                  <a:lnTo>
                    <a:pt x="1322" y="1473"/>
                  </a:lnTo>
                  <a:lnTo>
                    <a:pt x="1323" y="1472"/>
                  </a:lnTo>
                  <a:lnTo>
                    <a:pt x="1325" y="1471"/>
                  </a:lnTo>
                  <a:lnTo>
                    <a:pt x="1329" y="1470"/>
                  </a:lnTo>
                  <a:lnTo>
                    <a:pt x="1411" y="1470"/>
                  </a:lnTo>
                  <a:lnTo>
                    <a:pt x="1415" y="1471"/>
                  </a:lnTo>
                  <a:lnTo>
                    <a:pt x="1419" y="1473"/>
                  </a:lnTo>
                  <a:lnTo>
                    <a:pt x="1420" y="1474"/>
                  </a:lnTo>
                  <a:lnTo>
                    <a:pt x="1421" y="1476"/>
                  </a:lnTo>
                  <a:lnTo>
                    <a:pt x="1421" y="1478"/>
                  </a:lnTo>
                  <a:lnTo>
                    <a:pt x="1421" y="1480"/>
                  </a:lnTo>
                  <a:lnTo>
                    <a:pt x="1421" y="1879"/>
                  </a:lnTo>
                  <a:lnTo>
                    <a:pt x="1421" y="1881"/>
                  </a:lnTo>
                  <a:lnTo>
                    <a:pt x="1421" y="1883"/>
                  </a:lnTo>
                  <a:lnTo>
                    <a:pt x="1419" y="1886"/>
                  </a:lnTo>
                  <a:lnTo>
                    <a:pt x="1417" y="1887"/>
                  </a:lnTo>
                  <a:lnTo>
                    <a:pt x="1415" y="1888"/>
                  </a:lnTo>
                  <a:lnTo>
                    <a:pt x="1411" y="1889"/>
                  </a:lnTo>
                  <a:lnTo>
                    <a:pt x="1329" y="1889"/>
                  </a:lnTo>
                  <a:lnTo>
                    <a:pt x="1325" y="1888"/>
                  </a:lnTo>
                  <a:lnTo>
                    <a:pt x="1322" y="1886"/>
                  </a:lnTo>
                  <a:lnTo>
                    <a:pt x="1321" y="1885"/>
                  </a:lnTo>
                  <a:lnTo>
                    <a:pt x="1320" y="1883"/>
                  </a:lnTo>
                  <a:lnTo>
                    <a:pt x="1319" y="1881"/>
                  </a:lnTo>
                  <a:lnTo>
                    <a:pt x="1319" y="1879"/>
                  </a:lnTo>
                  <a:lnTo>
                    <a:pt x="1319" y="1480"/>
                  </a:lnTo>
                  <a:close/>
                  <a:moveTo>
                    <a:pt x="2184" y="729"/>
                  </a:moveTo>
                  <a:lnTo>
                    <a:pt x="2195" y="729"/>
                  </a:lnTo>
                  <a:lnTo>
                    <a:pt x="2206" y="730"/>
                  </a:lnTo>
                  <a:lnTo>
                    <a:pt x="2217" y="731"/>
                  </a:lnTo>
                  <a:lnTo>
                    <a:pt x="2227" y="733"/>
                  </a:lnTo>
                  <a:lnTo>
                    <a:pt x="2237" y="735"/>
                  </a:lnTo>
                  <a:lnTo>
                    <a:pt x="2246" y="737"/>
                  </a:lnTo>
                  <a:lnTo>
                    <a:pt x="2253" y="739"/>
                  </a:lnTo>
                  <a:lnTo>
                    <a:pt x="2259" y="741"/>
                  </a:lnTo>
                  <a:lnTo>
                    <a:pt x="2262" y="742"/>
                  </a:lnTo>
                  <a:lnTo>
                    <a:pt x="2264" y="744"/>
                  </a:lnTo>
                  <a:lnTo>
                    <a:pt x="2265" y="745"/>
                  </a:lnTo>
                  <a:lnTo>
                    <a:pt x="2266" y="747"/>
                  </a:lnTo>
                  <a:lnTo>
                    <a:pt x="2267" y="749"/>
                  </a:lnTo>
                  <a:lnTo>
                    <a:pt x="2267" y="752"/>
                  </a:lnTo>
                  <a:lnTo>
                    <a:pt x="2267" y="757"/>
                  </a:lnTo>
                  <a:lnTo>
                    <a:pt x="2248" y="818"/>
                  </a:lnTo>
                  <a:lnTo>
                    <a:pt x="2247" y="821"/>
                  </a:lnTo>
                  <a:lnTo>
                    <a:pt x="2246" y="823"/>
                  </a:lnTo>
                  <a:lnTo>
                    <a:pt x="2245" y="825"/>
                  </a:lnTo>
                  <a:lnTo>
                    <a:pt x="2243" y="826"/>
                  </a:lnTo>
                  <a:lnTo>
                    <a:pt x="2241" y="827"/>
                  </a:lnTo>
                  <a:lnTo>
                    <a:pt x="2239" y="827"/>
                  </a:lnTo>
                  <a:lnTo>
                    <a:pt x="2233" y="827"/>
                  </a:lnTo>
                  <a:lnTo>
                    <a:pt x="2223" y="823"/>
                  </a:lnTo>
                  <a:lnTo>
                    <a:pt x="2213" y="821"/>
                  </a:lnTo>
                  <a:lnTo>
                    <a:pt x="2204" y="819"/>
                  </a:lnTo>
                  <a:lnTo>
                    <a:pt x="2194" y="818"/>
                  </a:lnTo>
                  <a:lnTo>
                    <a:pt x="2188" y="819"/>
                  </a:lnTo>
                  <a:lnTo>
                    <a:pt x="2185" y="819"/>
                  </a:lnTo>
                  <a:lnTo>
                    <a:pt x="2182" y="820"/>
                  </a:lnTo>
                  <a:lnTo>
                    <a:pt x="2180" y="821"/>
                  </a:lnTo>
                  <a:lnTo>
                    <a:pt x="2177" y="823"/>
                  </a:lnTo>
                  <a:lnTo>
                    <a:pt x="2173" y="826"/>
                  </a:lnTo>
                  <a:lnTo>
                    <a:pt x="2170" y="829"/>
                  </a:lnTo>
                  <a:lnTo>
                    <a:pt x="2169" y="831"/>
                  </a:lnTo>
                  <a:lnTo>
                    <a:pt x="2168" y="834"/>
                  </a:lnTo>
                  <a:lnTo>
                    <a:pt x="2166" y="839"/>
                  </a:lnTo>
                  <a:lnTo>
                    <a:pt x="2166" y="844"/>
                  </a:lnTo>
                  <a:lnTo>
                    <a:pt x="2167" y="850"/>
                  </a:lnTo>
                  <a:lnTo>
                    <a:pt x="2168" y="856"/>
                  </a:lnTo>
                  <a:lnTo>
                    <a:pt x="2171" y="862"/>
                  </a:lnTo>
                  <a:lnTo>
                    <a:pt x="2175" y="867"/>
                  </a:lnTo>
                  <a:lnTo>
                    <a:pt x="2179" y="872"/>
                  </a:lnTo>
                  <a:lnTo>
                    <a:pt x="2184" y="878"/>
                  </a:lnTo>
                  <a:lnTo>
                    <a:pt x="2195" y="890"/>
                  </a:lnTo>
                  <a:lnTo>
                    <a:pt x="2228" y="927"/>
                  </a:lnTo>
                  <a:lnTo>
                    <a:pt x="2238" y="938"/>
                  </a:lnTo>
                  <a:lnTo>
                    <a:pt x="2248" y="950"/>
                  </a:lnTo>
                  <a:lnTo>
                    <a:pt x="2257" y="963"/>
                  </a:lnTo>
                  <a:lnTo>
                    <a:pt x="2266" y="977"/>
                  </a:lnTo>
                  <a:lnTo>
                    <a:pt x="2270" y="985"/>
                  </a:lnTo>
                  <a:lnTo>
                    <a:pt x="2273" y="992"/>
                  </a:lnTo>
                  <a:lnTo>
                    <a:pt x="2276" y="1000"/>
                  </a:lnTo>
                  <a:lnTo>
                    <a:pt x="2279" y="1007"/>
                  </a:lnTo>
                  <a:lnTo>
                    <a:pt x="2281" y="1015"/>
                  </a:lnTo>
                  <a:lnTo>
                    <a:pt x="2282" y="1023"/>
                  </a:lnTo>
                  <a:lnTo>
                    <a:pt x="2283" y="1031"/>
                  </a:lnTo>
                  <a:lnTo>
                    <a:pt x="2284" y="1039"/>
                  </a:lnTo>
                  <a:lnTo>
                    <a:pt x="2284" y="1047"/>
                  </a:lnTo>
                  <a:lnTo>
                    <a:pt x="2283" y="1054"/>
                  </a:lnTo>
                  <a:lnTo>
                    <a:pt x="2282" y="1061"/>
                  </a:lnTo>
                  <a:lnTo>
                    <a:pt x="2281" y="1068"/>
                  </a:lnTo>
                  <a:lnTo>
                    <a:pt x="2280" y="1075"/>
                  </a:lnTo>
                  <a:lnTo>
                    <a:pt x="2278" y="1081"/>
                  </a:lnTo>
                  <a:lnTo>
                    <a:pt x="2274" y="1093"/>
                  </a:lnTo>
                  <a:lnTo>
                    <a:pt x="2268" y="1104"/>
                  </a:lnTo>
                  <a:lnTo>
                    <a:pt x="2265" y="1109"/>
                  </a:lnTo>
                  <a:lnTo>
                    <a:pt x="2262" y="1114"/>
                  </a:lnTo>
                  <a:lnTo>
                    <a:pt x="2258" y="1119"/>
                  </a:lnTo>
                  <a:lnTo>
                    <a:pt x="2255" y="1123"/>
                  </a:lnTo>
                  <a:lnTo>
                    <a:pt x="2246" y="1131"/>
                  </a:lnTo>
                  <a:lnTo>
                    <a:pt x="2237" y="1139"/>
                  </a:lnTo>
                  <a:lnTo>
                    <a:pt x="2227" y="1145"/>
                  </a:lnTo>
                  <a:lnTo>
                    <a:pt x="2217" y="1150"/>
                  </a:lnTo>
                  <a:lnTo>
                    <a:pt x="2205" y="1154"/>
                  </a:lnTo>
                  <a:lnTo>
                    <a:pt x="2193" y="1158"/>
                  </a:lnTo>
                  <a:lnTo>
                    <a:pt x="2187" y="1159"/>
                  </a:lnTo>
                  <a:lnTo>
                    <a:pt x="2181" y="1160"/>
                  </a:lnTo>
                  <a:lnTo>
                    <a:pt x="2168" y="1161"/>
                  </a:lnTo>
                  <a:lnTo>
                    <a:pt x="2155" y="1162"/>
                  </a:lnTo>
                  <a:lnTo>
                    <a:pt x="2143" y="1162"/>
                  </a:lnTo>
                  <a:lnTo>
                    <a:pt x="2131" y="1161"/>
                  </a:lnTo>
                  <a:lnTo>
                    <a:pt x="2118" y="1159"/>
                  </a:lnTo>
                  <a:lnTo>
                    <a:pt x="2106" y="1157"/>
                  </a:lnTo>
                  <a:lnTo>
                    <a:pt x="2094" y="1154"/>
                  </a:lnTo>
                  <a:lnTo>
                    <a:pt x="2083" y="1151"/>
                  </a:lnTo>
                  <a:lnTo>
                    <a:pt x="2073" y="1148"/>
                  </a:lnTo>
                  <a:lnTo>
                    <a:pt x="2064" y="1144"/>
                  </a:lnTo>
                  <a:lnTo>
                    <a:pt x="2062" y="1143"/>
                  </a:lnTo>
                  <a:lnTo>
                    <a:pt x="2059" y="1141"/>
                  </a:lnTo>
                  <a:lnTo>
                    <a:pt x="2058" y="1140"/>
                  </a:lnTo>
                  <a:lnTo>
                    <a:pt x="2057" y="1138"/>
                  </a:lnTo>
                  <a:lnTo>
                    <a:pt x="2057" y="1136"/>
                  </a:lnTo>
                  <a:lnTo>
                    <a:pt x="2056" y="1134"/>
                  </a:lnTo>
                  <a:lnTo>
                    <a:pt x="2057" y="1131"/>
                  </a:lnTo>
                  <a:lnTo>
                    <a:pt x="2077" y="1065"/>
                  </a:lnTo>
                  <a:lnTo>
                    <a:pt x="2078" y="1062"/>
                  </a:lnTo>
                  <a:lnTo>
                    <a:pt x="2079" y="1060"/>
                  </a:lnTo>
                  <a:lnTo>
                    <a:pt x="2080" y="1058"/>
                  </a:lnTo>
                  <a:lnTo>
                    <a:pt x="2082" y="1057"/>
                  </a:lnTo>
                  <a:lnTo>
                    <a:pt x="2084" y="1057"/>
                  </a:lnTo>
                  <a:lnTo>
                    <a:pt x="2086" y="1057"/>
                  </a:lnTo>
                  <a:lnTo>
                    <a:pt x="2088" y="1057"/>
                  </a:lnTo>
                  <a:lnTo>
                    <a:pt x="2091" y="1058"/>
                  </a:lnTo>
                  <a:lnTo>
                    <a:pt x="2098" y="1062"/>
                  </a:lnTo>
                  <a:lnTo>
                    <a:pt x="2106" y="1064"/>
                  </a:lnTo>
                  <a:lnTo>
                    <a:pt x="2113" y="1067"/>
                  </a:lnTo>
                  <a:lnTo>
                    <a:pt x="2120" y="1069"/>
                  </a:lnTo>
                  <a:lnTo>
                    <a:pt x="2128" y="1070"/>
                  </a:lnTo>
                  <a:lnTo>
                    <a:pt x="2135" y="1071"/>
                  </a:lnTo>
                  <a:lnTo>
                    <a:pt x="2142" y="1072"/>
                  </a:lnTo>
                  <a:lnTo>
                    <a:pt x="2148" y="1072"/>
                  </a:lnTo>
                  <a:lnTo>
                    <a:pt x="2157" y="1071"/>
                  </a:lnTo>
                  <a:lnTo>
                    <a:pt x="2161" y="1071"/>
                  </a:lnTo>
                  <a:lnTo>
                    <a:pt x="2165" y="1070"/>
                  </a:lnTo>
                  <a:lnTo>
                    <a:pt x="2171" y="1067"/>
                  </a:lnTo>
                  <a:lnTo>
                    <a:pt x="2176" y="1064"/>
                  </a:lnTo>
                  <a:lnTo>
                    <a:pt x="2180" y="1060"/>
                  </a:lnTo>
                  <a:lnTo>
                    <a:pt x="2182" y="1057"/>
                  </a:lnTo>
                  <a:lnTo>
                    <a:pt x="2183" y="1055"/>
                  </a:lnTo>
                  <a:lnTo>
                    <a:pt x="2185" y="1049"/>
                  </a:lnTo>
                  <a:lnTo>
                    <a:pt x="2186" y="1042"/>
                  </a:lnTo>
                  <a:lnTo>
                    <a:pt x="2185" y="1037"/>
                  </a:lnTo>
                  <a:lnTo>
                    <a:pt x="2184" y="1031"/>
                  </a:lnTo>
                  <a:lnTo>
                    <a:pt x="2181" y="1025"/>
                  </a:lnTo>
                  <a:lnTo>
                    <a:pt x="2178" y="1020"/>
                  </a:lnTo>
                  <a:lnTo>
                    <a:pt x="2175" y="1014"/>
                  </a:lnTo>
                  <a:lnTo>
                    <a:pt x="2170" y="1008"/>
                  </a:lnTo>
                  <a:lnTo>
                    <a:pt x="2161" y="997"/>
                  </a:lnTo>
                  <a:lnTo>
                    <a:pt x="2128" y="961"/>
                  </a:lnTo>
                  <a:lnTo>
                    <a:pt x="2116" y="948"/>
                  </a:lnTo>
                  <a:lnTo>
                    <a:pt x="2106" y="935"/>
                  </a:lnTo>
                  <a:lnTo>
                    <a:pt x="2095" y="922"/>
                  </a:lnTo>
                  <a:lnTo>
                    <a:pt x="2091" y="915"/>
                  </a:lnTo>
                  <a:lnTo>
                    <a:pt x="2086" y="908"/>
                  </a:lnTo>
                  <a:lnTo>
                    <a:pt x="2082" y="900"/>
                  </a:lnTo>
                  <a:lnTo>
                    <a:pt x="2079" y="893"/>
                  </a:lnTo>
                  <a:lnTo>
                    <a:pt x="2076" y="885"/>
                  </a:lnTo>
                  <a:lnTo>
                    <a:pt x="2073" y="877"/>
                  </a:lnTo>
                  <a:lnTo>
                    <a:pt x="2071" y="868"/>
                  </a:lnTo>
                  <a:lnTo>
                    <a:pt x="2070" y="864"/>
                  </a:lnTo>
                  <a:lnTo>
                    <a:pt x="2069" y="859"/>
                  </a:lnTo>
                  <a:lnTo>
                    <a:pt x="2068" y="850"/>
                  </a:lnTo>
                  <a:lnTo>
                    <a:pt x="2068" y="841"/>
                  </a:lnTo>
                  <a:lnTo>
                    <a:pt x="2068" y="829"/>
                  </a:lnTo>
                  <a:lnTo>
                    <a:pt x="2070" y="817"/>
                  </a:lnTo>
                  <a:lnTo>
                    <a:pt x="2073" y="806"/>
                  </a:lnTo>
                  <a:lnTo>
                    <a:pt x="2077" y="795"/>
                  </a:lnTo>
                  <a:lnTo>
                    <a:pt x="2081" y="785"/>
                  </a:lnTo>
                  <a:lnTo>
                    <a:pt x="2087" y="776"/>
                  </a:lnTo>
                  <a:lnTo>
                    <a:pt x="2094" y="768"/>
                  </a:lnTo>
                  <a:lnTo>
                    <a:pt x="2101" y="760"/>
                  </a:lnTo>
                  <a:lnTo>
                    <a:pt x="2105" y="756"/>
                  </a:lnTo>
                  <a:lnTo>
                    <a:pt x="2109" y="753"/>
                  </a:lnTo>
                  <a:lnTo>
                    <a:pt x="2118" y="747"/>
                  </a:lnTo>
                  <a:lnTo>
                    <a:pt x="2123" y="744"/>
                  </a:lnTo>
                  <a:lnTo>
                    <a:pt x="2128" y="741"/>
                  </a:lnTo>
                  <a:lnTo>
                    <a:pt x="2138" y="737"/>
                  </a:lnTo>
                  <a:lnTo>
                    <a:pt x="2148" y="734"/>
                  </a:lnTo>
                  <a:lnTo>
                    <a:pt x="2160" y="731"/>
                  </a:lnTo>
                  <a:lnTo>
                    <a:pt x="2166" y="730"/>
                  </a:lnTo>
                  <a:lnTo>
                    <a:pt x="2172" y="730"/>
                  </a:lnTo>
                  <a:lnTo>
                    <a:pt x="2184" y="729"/>
                  </a:lnTo>
                  <a:close/>
                  <a:moveTo>
                    <a:pt x="2472" y="729"/>
                  </a:moveTo>
                  <a:lnTo>
                    <a:pt x="2483" y="729"/>
                  </a:lnTo>
                  <a:lnTo>
                    <a:pt x="2495" y="730"/>
                  </a:lnTo>
                  <a:lnTo>
                    <a:pt x="2505" y="731"/>
                  </a:lnTo>
                  <a:lnTo>
                    <a:pt x="2516" y="733"/>
                  </a:lnTo>
                  <a:lnTo>
                    <a:pt x="2525" y="735"/>
                  </a:lnTo>
                  <a:lnTo>
                    <a:pt x="2534" y="737"/>
                  </a:lnTo>
                  <a:lnTo>
                    <a:pt x="2542" y="739"/>
                  </a:lnTo>
                  <a:lnTo>
                    <a:pt x="2548" y="741"/>
                  </a:lnTo>
                  <a:lnTo>
                    <a:pt x="2550" y="742"/>
                  </a:lnTo>
                  <a:lnTo>
                    <a:pt x="2552" y="744"/>
                  </a:lnTo>
                  <a:lnTo>
                    <a:pt x="2554" y="745"/>
                  </a:lnTo>
                  <a:lnTo>
                    <a:pt x="2555" y="747"/>
                  </a:lnTo>
                  <a:lnTo>
                    <a:pt x="2555" y="749"/>
                  </a:lnTo>
                  <a:lnTo>
                    <a:pt x="2556" y="752"/>
                  </a:lnTo>
                  <a:lnTo>
                    <a:pt x="2555" y="757"/>
                  </a:lnTo>
                  <a:lnTo>
                    <a:pt x="2537" y="818"/>
                  </a:lnTo>
                  <a:lnTo>
                    <a:pt x="2536" y="821"/>
                  </a:lnTo>
                  <a:lnTo>
                    <a:pt x="2534" y="823"/>
                  </a:lnTo>
                  <a:lnTo>
                    <a:pt x="2533" y="825"/>
                  </a:lnTo>
                  <a:lnTo>
                    <a:pt x="2531" y="826"/>
                  </a:lnTo>
                  <a:lnTo>
                    <a:pt x="2529" y="827"/>
                  </a:lnTo>
                  <a:lnTo>
                    <a:pt x="2527" y="827"/>
                  </a:lnTo>
                  <a:lnTo>
                    <a:pt x="2522" y="827"/>
                  </a:lnTo>
                  <a:lnTo>
                    <a:pt x="2511" y="823"/>
                  </a:lnTo>
                  <a:lnTo>
                    <a:pt x="2501" y="821"/>
                  </a:lnTo>
                  <a:lnTo>
                    <a:pt x="2492" y="819"/>
                  </a:lnTo>
                  <a:lnTo>
                    <a:pt x="2483" y="818"/>
                  </a:lnTo>
                  <a:lnTo>
                    <a:pt x="2476" y="819"/>
                  </a:lnTo>
                  <a:lnTo>
                    <a:pt x="2473" y="819"/>
                  </a:lnTo>
                  <a:lnTo>
                    <a:pt x="2471" y="820"/>
                  </a:lnTo>
                  <a:lnTo>
                    <a:pt x="2468" y="821"/>
                  </a:lnTo>
                  <a:lnTo>
                    <a:pt x="2466" y="823"/>
                  </a:lnTo>
                  <a:lnTo>
                    <a:pt x="2462" y="826"/>
                  </a:lnTo>
                  <a:lnTo>
                    <a:pt x="2459" y="829"/>
                  </a:lnTo>
                  <a:lnTo>
                    <a:pt x="2457" y="831"/>
                  </a:lnTo>
                  <a:lnTo>
                    <a:pt x="2456" y="834"/>
                  </a:lnTo>
                  <a:lnTo>
                    <a:pt x="2455" y="839"/>
                  </a:lnTo>
                  <a:lnTo>
                    <a:pt x="2454" y="844"/>
                  </a:lnTo>
                  <a:lnTo>
                    <a:pt x="2455" y="850"/>
                  </a:lnTo>
                  <a:lnTo>
                    <a:pt x="2457" y="856"/>
                  </a:lnTo>
                  <a:lnTo>
                    <a:pt x="2459" y="862"/>
                  </a:lnTo>
                  <a:lnTo>
                    <a:pt x="2463" y="867"/>
                  </a:lnTo>
                  <a:lnTo>
                    <a:pt x="2467" y="872"/>
                  </a:lnTo>
                  <a:lnTo>
                    <a:pt x="2472" y="878"/>
                  </a:lnTo>
                  <a:lnTo>
                    <a:pt x="2483" y="890"/>
                  </a:lnTo>
                  <a:lnTo>
                    <a:pt x="2516" y="927"/>
                  </a:lnTo>
                  <a:lnTo>
                    <a:pt x="2526" y="938"/>
                  </a:lnTo>
                  <a:lnTo>
                    <a:pt x="2536" y="950"/>
                  </a:lnTo>
                  <a:lnTo>
                    <a:pt x="2546" y="963"/>
                  </a:lnTo>
                  <a:lnTo>
                    <a:pt x="2554" y="977"/>
                  </a:lnTo>
                  <a:lnTo>
                    <a:pt x="2558" y="985"/>
                  </a:lnTo>
                  <a:lnTo>
                    <a:pt x="2561" y="992"/>
                  </a:lnTo>
                  <a:lnTo>
                    <a:pt x="2564" y="1000"/>
                  </a:lnTo>
                  <a:lnTo>
                    <a:pt x="2567" y="1007"/>
                  </a:lnTo>
                  <a:lnTo>
                    <a:pt x="2569" y="1015"/>
                  </a:lnTo>
                  <a:lnTo>
                    <a:pt x="2571" y="1023"/>
                  </a:lnTo>
                  <a:lnTo>
                    <a:pt x="2572" y="1031"/>
                  </a:lnTo>
                  <a:lnTo>
                    <a:pt x="2572" y="1039"/>
                  </a:lnTo>
                  <a:lnTo>
                    <a:pt x="2572" y="1047"/>
                  </a:lnTo>
                  <a:lnTo>
                    <a:pt x="2571" y="1054"/>
                  </a:lnTo>
                  <a:lnTo>
                    <a:pt x="2571" y="1061"/>
                  </a:lnTo>
                  <a:lnTo>
                    <a:pt x="2569" y="1068"/>
                  </a:lnTo>
                  <a:lnTo>
                    <a:pt x="2568" y="1075"/>
                  </a:lnTo>
                  <a:lnTo>
                    <a:pt x="2566" y="1081"/>
                  </a:lnTo>
                  <a:lnTo>
                    <a:pt x="2562" y="1093"/>
                  </a:lnTo>
                  <a:lnTo>
                    <a:pt x="2557" y="1104"/>
                  </a:lnTo>
                  <a:lnTo>
                    <a:pt x="2554" y="1109"/>
                  </a:lnTo>
                  <a:lnTo>
                    <a:pt x="2550" y="1114"/>
                  </a:lnTo>
                  <a:lnTo>
                    <a:pt x="2547" y="1119"/>
                  </a:lnTo>
                  <a:lnTo>
                    <a:pt x="2543" y="1123"/>
                  </a:lnTo>
                  <a:lnTo>
                    <a:pt x="2535" y="1131"/>
                  </a:lnTo>
                  <a:lnTo>
                    <a:pt x="2526" y="1139"/>
                  </a:lnTo>
                  <a:lnTo>
                    <a:pt x="2516" y="1145"/>
                  </a:lnTo>
                  <a:lnTo>
                    <a:pt x="2510" y="1148"/>
                  </a:lnTo>
                  <a:lnTo>
                    <a:pt x="2505" y="1150"/>
                  </a:lnTo>
                  <a:lnTo>
                    <a:pt x="2494" y="1154"/>
                  </a:lnTo>
                  <a:lnTo>
                    <a:pt x="2482" y="1158"/>
                  </a:lnTo>
                  <a:lnTo>
                    <a:pt x="2476" y="1159"/>
                  </a:lnTo>
                  <a:lnTo>
                    <a:pt x="2469" y="1160"/>
                  </a:lnTo>
                  <a:lnTo>
                    <a:pt x="2456" y="1161"/>
                  </a:lnTo>
                  <a:lnTo>
                    <a:pt x="2443" y="1162"/>
                  </a:lnTo>
                  <a:lnTo>
                    <a:pt x="2431" y="1162"/>
                  </a:lnTo>
                  <a:lnTo>
                    <a:pt x="2419" y="1161"/>
                  </a:lnTo>
                  <a:lnTo>
                    <a:pt x="2407" y="1159"/>
                  </a:lnTo>
                  <a:lnTo>
                    <a:pt x="2395" y="1157"/>
                  </a:lnTo>
                  <a:lnTo>
                    <a:pt x="2383" y="1154"/>
                  </a:lnTo>
                  <a:lnTo>
                    <a:pt x="2372" y="1151"/>
                  </a:lnTo>
                  <a:lnTo>
                    <a:pt x="2362" y="1148"/>
                  </a:lnTo>
                  <a:lnTo>
                    <a:pt x="2353" y="1144"/>
                  </a:lnTo>
                  <a:lnTo>
                    <a:pt x="2350" y="1143"/>
                  </a:lnTo>
                  <a:lnTo>
                    <a:pt x="2348" y="1141"/>
                  </a:lnTo>
                  <a:lnTo>
                    <a:pt x="2346" y="1140"/>
                  </a:lnTo>
                  <a:lnTo>
                    <a:pt x="2345" y="1138"/>
                  </a:lnTo>
                  <a:lnTo>
                    <a:pt x="2345" y="1136"/>
                  </a:lnTo>
                  <a:lnTo>
                    <a:pt x="2345" y="1134"/>
                  </a:lnTo>
                  <a:lnTo>
                    <a:pt x="2346" y="1131"/>
                  </a:lnTo>
                  <a:lnTo>
                    <a:pt x="2365" y="1065"/>
                  </a:lnTo>
                  <a:lnTo>
                    <a:pt x="2366" y="1062"/>
                  </a:lnTo>
                  <a:lnTo>
                    <a:pt x="2367" y="1060"/>
                  </a:lnTo>
                  <a:lnTo>
                    <a:pt x="2369" y="1058"/>
                  </a:lnTo>
                  <a:lnTo>
                    <a:pt x="2370" y="1057"/>
                  </a:lnTo>
                  <a:lnTo>
                    <a:pt x="2372" y="1057"/>
                  </a:lnTo>
                  <a:lnTo>
                    <a:pt x="2374" y="1057"/>
                  </a:lnTo>
                  <a:lnTo>
                    <a:pt x="2377" y="1057"/>
                  </a:lnTo>
                  <a:lnTo>
                    <a:pt x="2379" y="1058"/>
                  </a:lnTo>
                  <a:lnTo>
                    <a:pt x="2387" y="1062"/>
                  </a:lnTo>
                  <a:lnTo>
                    <a:pt x="2394" y="1064"/>
                  </a:lnTo>
                  <a:lnTo>
                    <a:pt x="2401" y="1067"/>
                  </a:lnTo>
                  <a:lnTo>
                    <a:pt x="2409" y="1069"/>
                  </a:lnTo>
                  <a:lnTo>
                    <a:pt x="2416" y="1070"/>
                  </a:lnTo>
                  <a:lnTo>
                    <a:pt x="2423" y="1071"/>
                  </a:lnTo>
                  <a:lnTo>
                    <a:pt x="2430" y="1072"/>
                  </a:lnTo>
                  <a:lnTo>
                    <a:pt x="2437" y="1072"/>
                  </a:lnTo>
                  <a:lnTo>
                    <a:pt x="2446" y="1071"/>
                  </a:lnTo>
                  <a:lnTo>
                    <a:pt x="2449" y="1071"/>
                  </a:lnTo>
                  <a:lnTo>
                    <a:pt x="2453" y="1070"/>
                  </a:lnTo>
                  <a:lnTo>
                    <a:pt x="2460" y="1067"/>
                  </a:lnTo>
                  <a:lnTo>
                    <a:pt x="2465" y="1064"/>
                  </a:lnTo>
                  <a:lnTo>
                    <a:pt x="2469" y="1060"/>
                  </a:lnTo>
                  <a:lnTo>
                    <a:pt x="2470" y="1057"/>
                  </a:lnTo>
                  <a:lnTo>
                    <a:pt x="2472" y="1055"/>
                  </a:lnTo>
                  <a:lnTo>
                    <a:pt x="2473" y="1049"/>
                  </a:lnTo>
                  <a:lnTo>
                    <a:pt x="2474" y="1042"/>
                  </a:lnTo>
                  <a:lnTo>
                    <a:pt x="2473" y="1037"/>
                  </a:lnTo>
                  <a:lnTo>
                    <a:pt x="2472" y="1031"/>
                  </a:lnTo>
                  <a:lnTo>
                    <a:pt x="2470" y="1025"/>
                  </a:lnTo>
                  <a:lnTo>
                    <a:pt x="2467" y="1020"/>
                  </a:lnTo>
                  <a:lnTo>
                    <a:pt x="2463" y="1014"/>
                  </a:lnTo>
                  <a:lnTo>
                    <a:pt x="2459" y="1008"/>
                  </a:lnTo>
                  <a:lnTo>
                    <a:pt x="2449" y="997"/>
                  </a:lnTo>
                  <a:lnTo>
                    <a:pt x="2416" y="961"/>
                  </a:lnTo>
                  <a:lnTo>
                    <a:pt x="2405" y="948"/>
                  </a:lnTo>
                  <a:lnTo>
                    <a:pt x="2394" y="935"/>
                  </a:lnTo>
                  <a:lnTo>
                    <a:pt x="2384" y="922"/>
                  </a:lnTo>
                  <a:lnTo>
                    <a:pt x="2379" y="915"/>
                  </a:lnTo>
                  <a:lnTo>
                    <a:pt x="2375" y="908"/>
                  </a:lnTo>
                  <a:lnTo>
                    <a:pt x="2371" y="900"/>
                  </a:lnTo>
                  <a:lnTo>
                    <a:pt x="2367" y="893"/>
                  </a:lnTo>
                  <a:lnTo>
                    <a:pt x="2364" y="885"/>
                  </a:lnTo>
                  <a:lnTo>
                    <a:pt x="2361" y="877"/>
                  </a:lnTo>
                  <a:lnTo>
                    <a:pt x="2359" y="868"/>
                  </a:lnTo>
                  <a:lnTo>
                    <a:pt x="2358" y="864"/>
                  </a:lnTo>
                  <a:lnTo>
                    <a:pt x="2358" y="859"/>
                  </a:lnTo>
                  <a:lnTo>
                    <a:pt x="2357" y="850"/>
                  </a:lnTo>
                  <a:lnTo>
                    <a:pt x="2356" y="841"/>
                  </a:lnTo>
                  <a:lnTo>
                    <a:pt x="2357" y="829"/>
                  </a:lnTo>
                  <a:lnTo>
                    <a:pt x="2358" y="817"/>
                  </a:lnTo>
                  <a:lnTo>
                    <a:pt x="2361" y="806"/>
                  </a:lnTo>
                  <a:lnTo>
                    <a:pt x="2365" y="795"/>
                  </a:lnTo>
                  <a:lnTo>
                    <a:pt x="2370" y="785"/>
                  </a:lnTo>
                  <a:lnTo>
                    <a:pt x="2375" y="776"/>
                  </a:lnTo>
                  <a:lnTo>
                    <a:pt x="2382" y="768"/>
                  </a:lnTo>
                  <a:lnTo>
                    <a:pt x="2389" y="760"/>
                  </a:lnTo>
                  <a:lnTo>
                    <a:pt x="2393" y="756"/>
                  </a:lnTo>
                  <a:lnTo>
                    <a:pt x="2397" y="753"/>
                  </a:lnTo>
                  <a:lnTo>
                    <a:pt x="2406" y="747"/>
                  </a:lnTo>
                  <a:lnTo>
                    <a:pt x="2411" y="744"/>
                  </a:lnTo>
                  <a:lnTo>
                    <a:pt x="2416" y="741"/>
                  </a:lnTo>
                  <a:lnTo>
                    <a:pt x="2426" y="737"/>
                  </a:lnTo>
                  <a:lnTo>
                    <a:pt x="2437" y="734"/>
                  </a:lnTo>
                  <a:lnTo>
                    <a:pt x="2448" y="731"/>
                  </a:lnTo>
                  <a:lnTo>
                    <a:pt x="2454" y="730"/>
                  </a:lnTo>
                  <a:lnTo>
                    <a:pt x="2460" y="730"/>
                  </a:lnTo>
                  <a:lnTo>
                    <a:pt x="2472" y="729"/>
                  </a:lnTo>
                  <a:close/>
                  <a:moveTo>
                    <a:pt x="633" y="1006"/>
                  </a:moveTo>
                  <a:lnTo>
                    <a:pt x="733" y="1006"/>
                  </a:lnTo>
                  <a:lnTo>
                    <a:pt x="683" y="875"/>
                  </a:lnTo>
                  <a:lnTo>
                    <a:pt x="633" y="1006"/>
                  </a:lnTo>
                  <a:close/>
                  <a:moveTo>
                    <a:pt x="763" y="1088"/>
                  </a:moveTo>
                  <a:lnTo>
                    <a:pt x="603" y="1088"/>
                  </a:lnTo>
                  <a:lnTo>
                    <a:pt x="581" y="1145"/>
                  </a:lnTo>
                  <a:lnTo>
                    <a:pt x="580" y="1148"/>
                  </a:lnTo>
                  <a:lnTo>
                    <a:pt x="579" y="1150"/>
                  </a:lnTo>
                  <a:lnTo>
                    <a:pt x="577" y="1151"/>
                  </a:lnTo>
                  <a:lnTo>
                    <a:pt x="576" y="1153"/>
                  </a:lnTo>
                  <a:lnTo>
                    <a:pt x="572" y="1154"/>
                  </a:lnTo>
                  <a:lnTo>
                    <a:pt x="568" y="1155"/>
                  </a:lnTo>
                  <a:lnTo>
                    <a:pt x="489" y="1155"/>
                  </a:lnTo>
                  <a:lnTo>
                    <a:pt x="486" y="1155"/>
                  </a:lnTo>
                  <a:lnTo>
                    <a:pt x="484" y="1154"/>
                  </a:lnTo>
                  <a:lnTo>
                    <a:pt x="482" y="1153"/>
                  </a:lnTo>
                  <a:lnTo>
                    <a:pt x="481" y="1151"/>
                  </a:lnTo>
                  <a:lnTo>
                    <a:pt x="479" y="1149"/>
                  </a:lnTo>
                  <a:lnTo>
                    <a:pt x="479" y="1147"/>
                  </a:lnTo>
                  <a:lnTo>
                    <a:pt x="479" y="1144"/>
                  </a:lnTo>
                  <a:lnTo>
                    <a:pt x="480" y="1141"/>
                  </a:lnTo>
                  <a:lnTo>
                    <a:pt x="636" y="746"/>
                  </a:lnTo>
                  <a:lnTo>
                    <a:pt x="637" y="743"/>
                  </a:lnTo>
                  <a:lnTo>
                    <a:pt x="638" y="741"/>
                  </a:lnTo>
                  <a:lnTo>
                    <a:pt x="641" y="738"/>
                  </a:lnTo>
                  <a:lnTo>
                    <a:pt x="645" y="737"/>
                  </a:lnTo>
                  <a:lnTo>
                    <a:pt x="647" y="736"/>
                  </a:lnTo>
                  <a:lnTo>
                    <a:pt x="649" y="736"/>
                  </a:lnTo>
                  <a:lnTo>
                    <a:pt x="719" y="736"/>
                  </a:lnTo>
                  <a:lnTo>
                    <a:pt x="724" y="737"/>
                  </a:lnTo>
                  <a:lnTo>
                    <a:pt x="728" y="738"/>
                  </a:lnTo>
                  <a:lnTo>
                    <a:pt x="730" y="741"/>
                  </a:lnTo>
                  <a:lnTo>
                    <a:pt x="732" y="743"/>
                  </a:lnTo>
                  <a:lnTo>
                    <a:pt x="733" y="746"/>
                  </a:lnTo>
                  <a:lnTo>
                    <a:pt x="889" y="1141"/>
                  </a:lnTo>
                  <a:lnTo>
                    <a:pt x="890" y="1144"/>
                  </a:lnTo>
                  <a:lnTo>
                    <a:pt x="890" y="1147"/>
                  </a:lnTo>
                  <a:lnTo>
                    <a:pt x="890" y="1149"/>
                  </a:lnTo>
                  <a:lnTo>
                    <a:pt x="889" y="1151"/>
                  </a:lnTo>
                  <a:lnTo>
                    <a:pt x="887" y="1153"/>
                  </a:lnTo>
                  <a:lnTo>
                    <a:pt x="885" y="1154"/>
                  </a:lnTo>
                  <a:lnTo>
                    <a:pt x="883" y="1155"/>
                  </a:lnTo>
                  <a:lnTo>
                    <a:pt x="880" y="1155"/>
                  </a:lnTo>
                  <a:lnTo>
                    <a:pt x="800" y="1155"/>
                  </a:lnTo>
                  <a:lnTo>
                    <a:pt x="796" y="1154"/>
                  </a:lnTo>
                  <a:lnTo>
                    <a:pt x="794" y="1154"/>
                  </a:lnTo>
                  <a:lnTo>
                    <a:pt x="792" y="1153"/>
                  </a:lnTo>
                  <a:lnTo>
                    <a:pt x="790" y="1151"/>
                  </a:lnTo>
                  <a:lnTo>
                    <a:pt x="788" y="1150"/>
                  </a:lnTo>
                  <a:lnTo>
                    <a:pt x="787" y="1148"/>
                  </a:lnTo>
                  <a:lnTo>
                    <a:pt x="786" y="1145"/>
                  </a:lnTo>
                  <a:lnTo>
                    <a:pt x="763" y="1088"/>
                  </a:lnTo>
                  <a:close/>
                  <a:moveTo>
                    <a:pt x="292" y="912"/>
                  </a:moveTo>
                  <a:lnTo>
                    <a:pt x="428" y="1142"/>
                  </a:lnTo>
                  <a:lnTo>
                    <a:pt x="429" y="1144"/>
                  </a:lnTo>
                  <a:lnTo>
                    <a:pt x="429" y="1146"/>
                  </a:lnTo>
                  <a:lnTo>
                    <a:pt x="429" y="1148"/>
                  </a:lnTo>
                  <a:lnTo>
                    <a:pt x="429" y="1150"/>
                  </a:lnTo>
                  <a:lnTo>
                    <a:pt x="428" y="1152"/>
                  </a:lnTo>
                  <a:lnTo>
                    <a:pt x="426" y="1154"/>
                  </a:lnTo>
                  <a:lnTo>
                    <a:pt x="424" y="1154"/>
                  </a:lnTo>
                  <a:lnTo>
                    <a:pt x="421" y="1155"/>
                  </a:lnTo>
                  <a:lnTo>
                    <a:pt x="325" y="1155"/>
                  </a:lnTo>
                  <a:lnTo>
                    <a:pt x="321" y="1154"/>
                  </a:lnTo>
                  <a:lnTo>
                    <a:pt x="316" y="1152"/>
                  </a:lnTo>
                  <a:lnTo>
                    <a:pt x="315" y="1151"/>
                  </a:lnTo>
                  <a:lnTo>
                    <a:pt x="313" y="1150"/>
                  </a:lnTo>
                  <a:lnTo>
                    <a:pt x="310" y="1145"/>
                  </a:lnTo>
                  <a:lnTo>
                    <a:pt x="214" y="979"/>
                  </a:lnTo>
                  <a:lnTo>
                    <a:pt x="161" y="1044"/>
                  </a:lnTo>
                  <a:lnTo>
                    <a:pt x="161" y="1145"/>
                  </a:lnTo>
                  <a:lnTo>
                    <a:pt x="161" y="1147"/>
                  </a:lnTo>
                  <a:lnTo>
                    <a:pt x="160" y="1149"/>
                  </a:lnTo>
                  <a:lnTo>
                    <a:pt x="158" y="1152"/>
                  </a:lnTo>
                  <a:lnTo>
                    <a:pt x="157" y="1153"/>
                  </a:lnTo>
                  <a:lnTo>
                    <a:pt x="155" y="1154"/>
                  </a:lnTo>
                  <a:lnTo>
                    <a:pt x="151" y="1155"/>
                  </a:lnTo>
                  <a:lnTo>
                    <a:pt x="69" y="1155"/>
                  </a:lnTo>
                  <a:lnTo>
                    <a:pt x="65" y="1154"/>
                  </a:lnTo>
                  <a:lnTo>
                    <a:pt x="62" y="1152"/>
                  </a:lnTo>
                  <a:lnTo>
                    <a:pt x="60" y="1150"/>
                  </a:lnTo>
                  <a:lnTo>
                    <a:pt x="60" y="1149"/>
                  </a:lnTo>
                  <a:lnTo>
                    <a:pt x="59" y="1147"/>
                  </a:lnTo>
                  <a:lnTo>
                    <a:pt x="59" y="1145"/>
                  </a:lnTo>
                  <a:lnTo>
                    <a:pt x="59" y="746"/>
                  </a:lnTo>
                  <a:lnTo>
                    <a:pt x="59" y="744"/>
                  </a:lnTo>
                  <a:lnTo>
                    <a:pt x="60" y="742"/>
                  </a:lnTo>
                  <a:lnTo>
                    <a:pt x="62" y="739"/>
                  </a:lnTo>
                  <a:lnTo>
                    <a:pt x="63" y="738"/>
                  </a:lnTo>
                  <a:lnTo>
                    <a:pt x="65" y="737"/>
                  </a:lnTo>
                  <a:lnTo>
                    <a:pt x="69" y="736"/>
                  </a:lnTo>
                  <a:lnTo>
                    <a:pt x="151" y="736"/>
                  </a:lnTo>
                  <a:lnTo>
                    <a:pt x="155" y="737"/>
                  </a:lnTo>
                  <a:lnTo>
                    <a:pt x="158" y="739"/>
                  </a:lnTo>
                  <a:lnTo>
                    <a:pt x="159" y="740"/>
                  </a:lnTo>
                  <a:lnTo>
                    <a:pt x="160" y="742"/>
                  </a:lnTo>
                  <a:lnTo>
                    <a:pt x="161" y="744"/>
                  </a:lnTo>
                  <a:lnTo>
                    <a:pt x="161" y="746"/>
                  </a:lnTo>
                  <a:lnTo>
                    <a:pt x="161" y="921"/>
                  </a:lnTo>
                  <a:lnTo>
                    <a:pt x="304" y="746"/>
                  </a:lnTo>
                  <a:lnTo>
                    <a:pt x="308" y="742"/>
                  </a:lnTo>
                  <a:lnTo>
                    <a:pt x="310" y="740"/>
                  </a:lnTo>
                  <a:lnTo>
                    <a:pt x="312" y="739"/>
                  </a:lnTo>
                  <a:lnTo>
                    <a:pt x="314" y="738"/>
                  </a:lnTo>
                  <a:lnTo>
                    <a:pt x="317" y="737"/>
                  </a:lnTo>
                  <a:lnTo>
                    <a:pt x="319" y="736"/>
                  </a:lnTo>
                  <a:lnTo>
                    <a:pt x="322" y="736"/>
                  </a:lnTo>
                  <a:lnTo>
                    <a:pt x="418" y="736"/>
                  </a:lnTo>
                  <a:lnTo>
                    <a:pt x="421" y="737"/>
                  </a:lnTo>
                  <a:lnTo>
                    <a:pt x="423" y="738"/>
                  </a:lnTo>
                  <a:lnTo>
                    <a:pt x="425" y="739"/>
                  </a:lnTo>
                  <a:lnTo>
                    <a:pt x="426" y="741"/>
                  </a:lnTo>
                  <a:lnTo>
                    <a:pt x="426" y="744"/>
                  </a:lnTo>
                  <a:lnTo>
                    <a:pt x="426" y="746"/>
                  </a:lnTo>
                  <a:lnTo>
                    <a:pt x="425" y="749"/>
                  </a:lnTo>
                  <a:lnTo>
                    <a:pt x="424" y="751"/>
                  </a:lnTo>
                  <a:lnTo>
                    <a:pt x="292" y="912"/>
                  </a:lnTo>
                  <a:close/>
                  <a:moveTo>
                    <a:pt x="1819" y="1010"/>
                  </a:moveTo>
                  <a:lnTo>
                    <a:pt x="1872" y="1010"/>
                  </a:lnTo>
                  <a:lnTo>
                    <a:pt x="1845" y="883"/>
                  </a:lnTo>
                  <a:lnTo>
                    <a:pt x="1819" y="1010"/>
                  </a:lnTo>
                  <a:close/>
                  <a:moveTo>
                    <a:pt x="1887" y="1088"/>
                  </a:moveTo>
                  <a:lnTo>
                    <a:pt x="1805" y="1088"/>
                  </a:lnTo>
                  <a:lnTo>
                    <a:pt x="1793" y="1145"/>
                  </a:lnTo>
                  <a:lnTo>
                    <a:pt x="1792" y="1147"/>
                  </a:lnTo>
                  <a:lnTo>
                    <a:pt x="1791" y="1149"/>
                  </a:lnTo>
                  <a:lnTo>
                    <a:pt x="1788" y="1152"/>
                  </a:lnTo>
                  <a:lnTo>
                    <a:pt x="1787" y="1153"/>
                  </a:lnTo>
                  <a:lnTo>
                    <a:pt x="1785" y="1154"/>
                  </a:lnTo>
                  <a:lnTo>
                    <a:pt x="1783" y="1155"/>
                  </a:lnTo>
                  <a:lnTo>
                    <a:pt x="1781" y="1155"/>
                  </a:lnTo>
                  <a:lnTo>
                    <a:pt x="1708" y="1155"/>
                  </a:lnTo>
                  <a:lnTo>
                    <a:pt x="1706" y="1155"/>
                  </a:lnTo>
                  <a:lnTo>
                    <a:pt x="1704" y="1154"/>
                  </a:lnTo>
                  <a:lnTo>
                    <a:pt x="1702" y="1153"/>
                  </a:lnTo>
                  <a:lnTo>
                    <a:pt x="1701" y="1152"/>
                  </a:lnTo>
                  <a:lnTo>
                    <a:pt x="1700" y="1150"/>
                  </a:lnTo>
                  <a:lnTo>
                    <a:pt x="1700" y="1147"/>
                  </a:lnTo>
                  <a:lnTo>
                    <a:pt x="1701" y="1141"/>
                  </a:lnTo>
                  <a:lnTo>
                    <a:pt x="1793" y="746"/>
                  </a:lnTo>
                  <a:lnTo>
                    <a:pt x="1793" y="744"/>
                  </a:lnTo>
                  <a:lnTo>
                    <a:pt x="1794" y="742"/>
                  </a:lnTo>
                  <a:lnTo>
                    <a:pt x="1797" y="739"/>
                  </a:lnTo>
                  <a:lnTo>
                    <a:pt x="1799" y="738"/>
                  </a:lnTo>
                  <a:lnTo>
                    <a:pt x="1801" y="737"/>
                  </a:lnTo>
                  <a:lnTo>
                    <a:pt x="1806" y="736"/>
                  </a:lnTo>
                  <a:lnTo>
                    <a:pt x="1887" y="736"/>
                  </a:lnTo>
                  <a:lnTo>
                    <a:pt x="1889" y="736"/>
                  </a:lnTo>
                  <a:lnTo>
                    <a:pt x="1892" y="737"/>
                  </a:lnTo>
                  <a:lnTo>
                    <a:pt x="1896" y="739"/>
                  </a:lnTo>
                  <a:lnTo>
                    <a:pt x="1898" y="742"/>
                  </a:lnTo>
                  <a:lnTo>
                    <a:pt x="1899" y="744"/>
                  </a:lnTo>
                  <a:lnTo>
                    <a:pt x="1900" y="746"/>
                  </a:lnTo>
                  <a:lnTo>
                    <a:pt x="1992" y="1141"/>
                  </a:lnTo>
                  <a:lnTo>
                    <a:pt x="1993" y="1147"/>
                  </a:lnTo>
                  <a:lnTo>
                    <a:pt x="1992" y="1150"/>
                  </a:lnTo>
                  <a:lnTo>
                    <a:pt x="1992" y="1152"/>
                  </a:lnTo>
                  <a:lnTo>
                    <a:pt x="1990" y="1153"/>
                  </a:lnTo>
                  <a:lnTo>
                    <a:pt x="1989" y="1154"/>
                  </a:lnTo>
                  <a:lnTo>
                    <a:pt x="1984" y="1155"/>
                  </a:lnTo>
                  <a:lnTo>
                    <a:pt x="1910" y="1155"/>
                  </a:lnTo>
                  <a:lnTo>
                    <a:pt x="1906" y="1154"/>
                  </a:lnTo>
                  <a:lnTo>
                    <a:pt x="1902" y="1152"/>
                  </a:lnTo>
                  <a:lnTo>
                    <a:pt x="1901" y="1151"/>
                  </a:lnTo>
                  <a:lnTo>
                    <a:pt x="1900" y="1149"/>
                  </a:lnTo>
                  <a:lnTo>
                    <a:pt x="1899" y="1147"/>
                  </a:lnTo>
                  <a:lnTo>
                    <a:pt x="1898" y="1145"/>
                  </a:lnTo>
                  <a:lnTo>
                    <a:pt x="1887" y="1088"/>
                  </a:lnTo>
                  <a:close/>
                  <a:moveTo>
                    <a:pt x="937" y="991"/>
                  </a:moveTo>
                  <a:lnTo>
                    <a:pt x="937" y="746"/>
                  </a:lnTo>
                  <a:lnTo>
                    <a:pt x="937" y="744"/>
                  </a:lnTo>
                  <a:lnTo>
                    <a:pt x="938" y="742"/>
                  </a:lnTo>
                  <a:lnTo>
                    <a:pt x="940" y="739"/>
                  </a:lnTo>
                  <a:lnTo>
                    <a:pt x="941" y="738"/>
                  </a:lnTo>
                  <a:lnTo>
                    <a:pt x="943" y="737"/>
                  </a:lnTo>
                  <a:lnTo>
                    <a:pt x="947" y="736"/>
                  </a:lnTo>
                  <a:lnTo>
                    <a:pt x="1029" y="736"/>
                  </a:lnTo>
                  <a:lnTo>
                    <a:pt x="1033" y="737"/>
                  </a:lnTo>
                  <a:lnTo>
                    <a:pt x="1037" y="739"/>
                  </a:lnTo>
                  <a:lnTo>
                    <a:pt x="1038" y="740"/>
                  </a:lnTo>
                  <a:lnTo>
                    <a:pt x="1039" y="742"/>
                  </a:lnTo>
                  <a:lnTo>
                    <a:pt x="1039" y="744"/>
                  </a:lnTo>
                  <a:lnTo>
                    <a:pt x="1039" y="746"/>
                  </a:lnTo>
                  <a:lnTo>
                    <a:pt x="1039" y="986"/>
                  </a:lnTo>
                  <a:lnTo>
                    <a:pt x="1040" y="996"/>
                  </a:lnTo>
                  <a:lnTo>
                    <a:pt x="1041" y="1005"/>
                  </a:lnTo>
                  <a:lnTo>
                    <a:pt x="1042" y="1014"/>
                  </a:lnTo>
                  <a:lnTo>
                    <a:pt x="1044" y="1022"/>
                  </a:lnTo>
                  <a:lnTo>
                    <a:pt x="1047" y="1030"/>
                  </a:lnTo>
                  <a:lnTo>
                    <a:pt x="1050" y="1037"/>
                  </a:lnTo>
                  <a:lnTo>
                    <a:pt x="1054" y="1043"/>
                  </a:lnTo>
                  <a:lnTo>
                    <a:pt x="1058" y="1049"/>
                  </a:lnTo>
                  <a:lnTo>
                    <a:pt x="1063" y="1054"/>
                  </a:lnTo>
                  <a:lnTo>
                    <a:pt x="1068" y="1058"/>
                  </a:lnTo>
                  <a:lnTo>
                    <a:pt x="1074" y="1062"/>
                  </a:lnTo>
                  <a:lnTo>
                    <a:pt x="1077" y="1063"/>
                  </a:lnTo>
                  <a:lnTo>
                    <a:pt x="1080" y="1065"/>
                  </a:lnTo>
                  <a:lnTo>
                    <a:pt x="1087" y="1067"/>
                  </a:lnTo>
                  <a:lnTo>
                    <a:pt x="1094" y="1069"/>
                  </a:lnTo>
                  <a:lnTo>
                    <a:pt x="1102" y="1070"/>
                  </a:lnTo>
                  <a:lnTo>
                    <a:pt x="1110" y="1070"/>
                  </a:lnTo>
                  <a:lnTo>
                    <a:pt x="1118" y="1070"/>
                  </a:lnTo>
                  <a:lnTo>
                    <a:pt x="1126" y="1069"/>
                  </a:lnTo>
                  <a:lnTo>
                    <a:pt x="1133" y="1067"/>
                  </a:lnTo>
                  <a:lnTo>
                    <a:pt x="1140" y="1065"/>
                  </a:lnTo>
                  <a:lnTo>
                    <a:pt x="1146" y="1062"/>
                  </a:lnTo>
                  <a:lnTo>
                    <a:pt x="1149" y="1060"/>
                  </a:lnTo>
                  <a:lnTo>
                    <a:pt x="1152" y="1058"/>
                  </a:lnTo>
                  <a:lnTo>
                    <a:pt x="1157" y="1054"/>
                  </a:lnTo>
                  <a:lnTo>
                    <a:pt x="1162" y="1049"/>
                  </a:lnTo>
                  <a:lnTo>
                    <a:pt x="1166" y="1043"/>
                  </a:lnTo>
                  <a:lnTo>
                    <a:pt x="1170" y="1037"/>
                  </a:lnTo>
                  <a:lnTo>
                    <a:pt x="1173" y="1030"/>
                  </a:lnTo>
                  <a:lnTo>
                    <a:pt x="1176" y="1022"/>
                  </a:lnTo>
                  <a:lnTo>
                    <a:pt x="1178" y="1014"/>
                  </a:lnTo>
                  <a:lnTo>
                    <a:pt x="1180" y="1005"/>
                  </a:lnTo>
                  <a:lnTo>
                    <a:pt x="1180" y="996"/>
                  </a:lnTo>
                  <a:lnTo>
                    <a:pt x="1181" y="986"/>
                  </a:lnTo>
                  <a:lnTo>
                    <a:pt x="1181" y="746"/>
                  </a:lnTo>
                  <a:lnTo>
                    <a:pt x="1181" y="744"/>
                  </a:lnTo>
                  <a:lnTo>
                    <a:pt x="1182" y="742"/>
                  </a:lnTo>
                  <a:lnTo>
                    <a:pt x="1184" y="739"/>
                  </a:lnTo>
                  <a:lnTo>
                    <a:pt x="1185" y="738"/>
                  </a:lnTo>
                  <a:lnTo>
                    <a:pt x="1187" y="737"/>
                  </a:lnTo>
                  <a:lnTo>
                    <a:pt x="1191" y="736"/>
                  </a:lnTo>
                  <a:lnTo>
                    <a:pt x="1273" y="736"/>
                  </a:lnTo>
                  <a:lnTo>
                    <a:pt x="1277" y="737"/>
                  </a:lnTo>
                  <a:lnTo>
                    <a:pt x="1280" y="739"/>
                  </a:lnTo>
                  <a:lnTo>
                    <a:pt x="1281" y="740"/>
                  </a:lnTo>
                  <a:lnTo>
                    <a:pt x="1282" y="742"/>
                  </a:lnTo>
                  <a:lnTo>
                    <a:pt x="1283" y="744"/>
                  </a:lnTo>
                  <a:lnTo>
                    <a:pt x="1283" y="746"/>
                  </a:lnTo>
                  <a:lnTo>
                    <a:pt x="1283" y="991"/>
                  </a:lnTo>
                  <a:lnTo>
                    <a:pt x="1283" y="1002"/>
                  </a:lnTo>
                  <a:lnTo>
                    <a:pt x="1283" y="1007"/>
                  </a:lnTo>
                  <a:lnTo>
                    <a:pt x="1282" y="1013"/>
                  </a:lnTo>
                  <a:lnTo>
                    <a:pt x="1281" y="1023"/>
                  </a:lnTo>
                  <a:lnTo>
                    <a:pt x="1280" y="1033"/>
                  </a:lnTo>
                  <a:lnTo>
                    <a:pt x="1278" y="1042"/>
                  </a:lnTo>
                  <a:lnTo>
                    <a:pt x="1275" y="1051"/>
                  </a:lnTo>
                  <a:lnTo>
                    <a:pt x="1273" y="1060"/>
                  </a:lnTo>
                  <a:lnTo>
                    <a:pt x="1270" y="1068"/>
                  </a:lnTo>
                  <a:lnTo>
                    <a:pt x="1266" y="1076"/>
                  </a:lnTo>
                  <a:lnTo>
                    <a:pt x="1262" y="1084"/>
                  </a:lnTo>
                  <a:lnTo>
                    <a:pt x="1254" y="1098"/>
                  </a:lnTo>
                  <a:lnTo>
                    <a:pt x="1249" y="1104"/>
                  </a:lnTo>
                  <a:lnTo>
                    <a:pt x="1244" y="1110"/>
                  </a:lnTo>
                  <a:lnTo>
                    <a:pt x="1239" y="1116"/>
                  </a:lnTo>
                  <a:lnTo>
                    <a:pt x="1233" y="1121"/>
                  </a:lnTo>
                  <a:lnTo>
                    <a:pt x="1227" y="1126"/>
                  </a:lnTo>
                  <a:lnTo>
                    <a:pt x="1221" y="1131"/>
                  </a:lnTo>
                  <a:lnTo>
                    <a:pt x="1214" y="1135"/>
                  </a:lnTo>
                  <a:lnTo>
                    <a:pt x="1207" y="1139"/>
                  </a:lnTo>
                  <a:lnTo>
                    <a:pt x="1200" y="1143"/>
                  </a:lnTo>
                  <a:lnTo>
                    <a:pt x="1193" y="1146"/>
                  </a:lnTo>
                  <a:lnTo>
                    <a:pt x="1178" y="1152"/>
                  </a:lnTo>
                  <a:lnTo>
                    <a:pt x="1170" y="1154"/>
                  </a:lnTo>
                  <a:lnTo>
                    <a:pt x="1162" y="1156"/>
                  </a:lnTo>
                  <a:lnTo>
                    <a:pt x="1154" y="1158"/>
                  </a:lnTo>
                  <a:lnTo>
                    <a:pt x="1145" y="1159"/>
                  </a:lnTo>
                  <a:lnTo>
                    <a:pt x="1137" y="1160"/>
                  </a:lnTo>
                  <a:lnTo>
                    <a:pt x="1128" y="1161"/>
                  </a:lnTo>
                  <a:lnTo>
                    <a:pt x="1119" y="1162"/>
                  </a:lnTo>
                  <a:lnTo>
                    <a:pt x="1110" y="1162"/>
                  </a:lnTo>
                  <a:lnTo>
                    <a:pt x="1092" y="1161"/>
                  </a:lnTo>
                  <a:lnTo>
                    <a:pt x="1075" y="1159"/>
                  </a:lnTo>
                  <a:lnTo>
                    <a:pt x="1066" y="1158"/>
                  </a:lnTo>
                  <a:lnTo>
                    <a:pt x="1058" y="1156"/>
                  </a:lnTo>
                  <a:lnTo>
                    <a:pt x="1042" y="1152"/>
                  </a:lnTo>
                  <a:lnTo>
                    <a:pt x="1035" y="1149"/>
                  </a:lnTo>
                  <a:lnTo>
                    <a:pt x="1027" y="1146"/>
                  </a:lnTo>
                  <a:lnTo>
                    <a:pt x="1020" y="1143"/>
                  </a:lnTo>
                  <a:lnTo>
                    <a:pt x="1013" y="1139"/>
                  </a:lnTo>
                  <a:lnTo>
                    <a:pt x="1006" y="1135"/>
                  </a:lnTo>
                  <a:lnTo>
                    <a:pt x="1000" y="1131"/>
                  </a:lnTo>
                  <a:lnTo>
                    <a:pt x="993" y="1126"/>
                  </a:lnTo>
                  <a:lnTo>
                    <a:pt x="987" y="1121"/>
                  </a:lnTo>
                  <a:lnTo>
                    <a:pt x="982" y="1116"/>
                  </a:lnTo>
                  <a:lnTo>
                    <a:pt x="976" y="1110"/>
                  </a:lnTo>
                  <a:lnTo>
                    <a:pt x="966" y="1098"/>
                  </a:lnTo>
                  <a:lnTo>
                    <a:pt x="962" y="1091"/>
                  </a:lnTo>
                  <a:lnTo>
                    <a:pt x="958" y="1084"/>
                  </a:lnTo>
                  <a:lnTo>
                    <a:pt x="954" y="1076"/>
                  </a:lnTo>
                  <a:lnTo>
                    <a:pt x="951" y="1068"/>
                  </a:lnTo>
                  <a:lnTo>
                    <a:pt x="948" y="1060"/>
                  </a:lnTo>
                  <a:lnTo>
                    <a:pt x="945" y="1051"/>
                  </a:lnTo>
                  <a:lnTo>
                    <a:pt x="943" y="1042"/>
                  </a:lnTo>
                  <a:lnTo>
                    <a:pt x="941" y="1033"/>
                  </a:lnTo>
                  <a:lnTo>
                    <a:pt x="939" y="1023"/>
                  </a:lnTo>
                  <a:lnTo>
                    <a:pt x="938" y="1013"/>
                  </a:lnTo>
                  <a:lnTo>
                    <a:pt x="937" y="1002"/>
                  </a:lnTo>
                  <a:lnTo>
                    <a:pt x="937" y="991"/>
                  </a:lnTo>
                  <a:close/>
                  <a:moveTo>
                    <a:pt x="1479" y="824"/>
                  </a:moveTo>
                  <a:lnTo>
                    <a:pt x="1479" y="934"/>
                  </a:lnTo>
                  <a:lnTo>
                    <a:pt x="1514" y="934"/>
                  </a:lnTo>
                  <a:lnTo>
                    <a:pt x="1520" y="933"/>
                  </a:lnTo>
                  <a:lnTo>
                    <a:pt x="1526" y="933"/>
                  </a:lnTo>
                  <a:lnTo>
                    <a:pt x="1532" y="932"/>
                  </a:lnTo>
                  <a:lnTo>
                    <a:pt x="1538" y="930"/>
                  </a:lnTo>
                  <a:lnTo>
                    <a:pt x="1543" y="928"/>
                  </a:lnTo>
                  <a:lnTo>
                    <a:pt x="1547" y="926"/>
                  </a:lnTo>
                  <a:lnTo>
                    <a:pt x="1551" y="923"/>
                  </a:lnTo>
                  <a:lnTo>
                    <a:pt x="1555" y="919"/>
                  </a:lnTo>
                  <a:lnTo>
                    <a:pt x="1559" y="916"/>
                  </a:lnTo>
                  <a:lnTo>
                    <a:pt x="1562" y="912"/>
                  </a:lnTo>
                  <a:lnTo>
                    <a:pt x="1564" y="907"/>
                  </a:lnTo>
                  <a:lnTo>
                    <a:pt x="1566" y="902"/>
                  </a:lnTo>
                  <a:lnTo>
                    <a:pt x="1568" y="897"/>
                  </a:lnTo>
                  <a:lnTo>
                    <a:pt x="1569" y="891"/>
                  </a:lnTo>
                  <a:lnTo>
                    <a:pt x="1570" y="885"/>
                  </a:lnTo>
                  <a:lnTo>
                    <a:pt x="1570" y="879"/>
                  </a:lnTo>
                  <a:lnTo>
                    <a:pt x="1570" y="872"/>
                  </a:lnTo>
                  <a:lnTo>
                    <a:pt x="1569" y="866"/>
                  </a:lnTo>
                  <a:lnTo>
                    <a:pt x="1568" y="861"/>
                  </a:lnTo>
                  <a:lnTo>
                    <a:pt x="1566" y="855"/>
                  </a:lnTo>
                  <a:lnTo>
                    <a:pt x="1564" y="850"/>
                  </a:lnTo>
                  <a:lnTo>
                    <a:pt x="1562" y="846"/>
                  </a:lnTo>
                  <a:lnTo>
                    <a:pt x="1559" y="842"/>
                  </a:lnTo>
                  <a:lnTo>
                    <a:pt x="1555" y="838"/>
                  </a:lnTo>
                  <a:lnTo>
                    <a:pt x="1551" y="835"/>
                  </a:lnTo>
                  <a:lnTo>
                    <a:pt x="1547" y="832"/>
                  </a:lnTo>
                  <a:lnTo>
                    <a:pt x="1543" y="829"/>
                  </a:lnTo>
                  <a:lnTo>
                    <a:pt x="1538" y="827"/>
                  </a:lnTo>
                  <a:lnTo>
                    <a:pt x="1535" y="826"/>
                  </a:lnTo>
                  <a:lnTo>
                    <a:pt x="1532" y="826"/>
                  </a:lnTo>
                  <a:lnTo>
                    <a:pt x="1526" y="825"/>
                  </a:lnTo>
                  <a:lnTo>
                    <a:pt x="1520" y="824"/>
                  </a:lnTo>
                  <a:lnTo>
                    <a:pt x="1514" y="824"/>
                  </a:lnTo>
                  <a:lnTo>
                    <a:pt x="1479" y="824"/>
                  </a:lnTo>
                  <a:close/>
                  <a:moveTo>
                    <a:pt x="1514" y="736"/>
                  </a:moveTo>
                  <a:lnTo>
                    <a:pt x="1532" y="737"/>
                  </a:lnTo>
                  <a:lnTo>
                    <a:pt x="1549" y="738"/>
                  </a:lnTo>
                  <a:lnTo>
                    <a:pt x="1557" y="740"/>
                  </a:lnTo>
                  <a:lnTo>
                    <a:pt x="1565" y="741"/>
                  </a:lnTo>
                  <a:lnTo>
                    <a:pt x="1580" y="745"/>
                  </a:lnTo>
                  <a:lnTo>
                    <a:pt x="1588" y="748"/>
                  </a:lnTo>
                  <a:lnTo>
                    <a:pt x="1595" y="750"/>
                  </a:lnTo>
                  <a:lnTo>
                    <a:pt x="1608" y="757"/>
                  </a:lnTo>
                  <a:lnTo>
                    <a:pt x="1620" y="764"/>
                  </a:lnTo>
                  <a:lnTo>
                    <a:pt x="1626" y="768"/>
                  </a:lnTo>
                  <a:lnTo>
                    <a:pt x="1631" y="773"/>
                  </a:lnTo>
                  <a:lnTo>
                    <a:pt x="1637" y="777"/>
                  </a:lnTo>
                  <a:lnTo>
                    <a:pt x="1641" y="782"/>
                  </a:lnTo>
                  <a:lnTo>
                    <a:pt x="1646" y="787"/>
                  </a:lnTo>
                  <a:lnTo>
                    <a:pt x="1650" y="793"/>
                  </a:lnTo>
                  <a:lnTo>
                    <a:pt x="1654" y="798"/>
                  </a:lnTo>
                  <a:lnTo>
                    <a:pt x="1658" y="804"/>
                  </a:lnTo>
                  <a:lnTo>
                    <a:pt x="1661" y="811"/>
                  </a:lnTo>
                  <a:lnTo>
                    <a:pt x="1664" y="817"/>
                  </a:lnTo>
                  <a:lnTo>
                    <a:pt x="1667" y="824"/>
                  </a:lnTo>
                  <a:lnTo>
                    <a:pt x="1669" y="831"/>
                  </a:lnTo>
                  <a:lnTo>
                    <a:pt x="1671" y="838"/>
                  </a:lnTo>
                  <a:lnTo>
                    <a:pt x="1673" y="846"/>
                  </a:lnTo>
                  <a:lnTo>
                    <a:pt x="1674" y="854"/>
                  </a:lnTo>
                  <a:lnTo>
                    <a:pt x="1675" y="862"/>
                  </a:lnTo>
                  <a:lnTo>
                    <a:pt x="1676" y="870"/>
                  </a:lnTo>
                  <a:lnTo>
                    <a:pt x="1676" y="879"/>
                  </a:lnTo>
                  <a:lnTo>
                    <a:pt x="1676" y="887"/>
                  </a:lnTo>
                  <a:lnTo>
                    <a:pt x="1675" y="896"/>
                  </a:lnTo>
                  <a:lnTo>
                    <a:pt x="1674" y="904"/>
                  </a:lnTo>
                  <a:lnTo>
                    <a:pt x="1673" y="911"/>
                  </a:lnTo>
                  <a:lnTo>
                    <a:pt x="1669" y="926"/>
                  </a:lnTo>
                  <a:lnTo>
                    <a:pt x="1667" y="933"/>
                  </a:lnTo>
                  <a:lnTo>
                    <a:pt x="1664" y="940"/>
                  </a:lnTo>
                  <a:lnTo>
                    <a:pt x="1658" y="953"/>
                  </a:lnTo>
                  <a:lnTo>
                    <a:pt x="1654" y="959"/>
                  </a:lnTo>
                  <a:lnTo>
                    <a:pt x="1650" y="965"/>
                  </a:lnTo>
                  <a:lnTo>
                    <a:pt x="1642" y="975"/>
                  </a:lnTo>
                  <a:lnTo>
                    <a:pt x="1632" y="985"/>
                  </a:lnTo>
                  <a:lnTo>
                    <a:pt x="1626" y="989"/>
                  </a:lnTo>
                  <a:lnTo>
                    <a:pt x="1620" y="993"/>
                  </a:lnTo>
                  <a:lnTo>
                    <a:pt x="1614" y="997"/>
                  </a:lnTo>
                  <a:lnTo>
                    <a:pt x="1608" y="1001"/>
                  </a:lnTo>
                  <a:lnTo>
                    <a:pt x="1595" y="1007"/>
                  </a:lnTo>
                  <a:lnTo>
                    <a:pt x="1588" y="1009"/>
                  </a:lnTo>
                  <a:lnTo>
                    <a:pt x="1580" y="1012"/>
                  </a:lnTo>
                  <a:lnTo>
                    <a:pt x="1565" y="1016"/>
                  </a:lnTo>
                  <a:lnTo>
                    <a:pt x="1557" y="1018"/>
                  </a:lnTo>
                  <a:lnTo>
                    <a:pt x="1549" y="1019"/>
                  </a:lnTo>
                  <a:lnTo>
                    <a:pt x="1532" y="1021"/>
                  </a:lnTo>
                  <a:lnTo>
                    <a:pt x="1523" y="1021"/>
                  </a:lnTo>
                  <a:lnTo>
                    <a:pt x="1514" y="1021"/>
                  </a:lnTo>
                  <a:lnTo>
                    <a:pt x="1479" y="1021"/>
                  </a:lnTo>
                  <a:lnTo>
                    <a:pt x="1479" y="1145"/>
                  </a:lnTo>
                  <a:lnTo>
                    <a:pt x="1479" y="1147"/>
                  </a:lnTo>
                  <a:lnTo>
                    <a:pt x="1479" y="1149"/>
                  </a:lnTo>
                  <a:lnTo>
                    <a:pt x="1477" y="1152"/>
                  </a:lnTo>
                  <a:lnTo>
                    <a:pt x="1475" y="1153"/>
                  </a:lnTo>
                  <a:lnTo>
                    <a:pt x="1473" y="1154"/>
                  </a:lnTo>
                  <a:lnTo>
                    <a:pt x="1469" y="1155"/>
                  </a:lnTo>
                  <a:lnTo>
                    <a:pt x="1387" y="1155"/>
                  </a:lnTo>
                  <a:lnTo>
                    <a:pt x="1383" y="1154"/>
                  </a:lnTo>
                  <a:lnTo>
                    <a:pt x="1380" y="1152"/>
                  </a:lnTo>
                  <a:lnTo>
                    <a:pt x="1379" y="1150"/>
                  </a:lnTo>
                  <a:lnTo>
                    <a:pt x="1378" y="1149"/>
                  </a:lnTo>
                  <a:lnTo>
                    <a:pt x="1377" y="1147"/>
                  </a:lnTo>
                  <a:lnTo>
                    <a:pt x="1377" y="1145"/>
                  </a:lnTo>
                  <a:lnTo>
                    <a:pt x="1377" y="746"/>
                  </a:lnTo>
                  <a:lnTo>
                    <a:pt x="1377" y="744"/>
                  </a:lnTo>
                  <a:lnTo>
                    <a:pt x="1378" y="742"/>
                  </a:lnTo>
                  <a:lnTo>
                    <a:pt x="1380" y="739"/>
                  </a:lnTo>
                  <a:lnTo>
                    <a:pt x="1381" y="738"/>
                  </a:lnTo>
                  <a:lnTo>
                    <a:pt x="1383" y="737"/>
                  </a:lnTo>
                  <a:lnTo>
                    <a:pt x="1387" y="736"/>
                  </a:lnTo>
                  <a:lnTo>
                    <a:pt x="1514" y="736"/>
                  </a:lnTo>
                  <a:close/>
                  <a:moveTo>
                    <a:pt x="2767" y="1006"/>
                  </a:moveTo>
                  <a:lnTo>
                    <a:pt x="2866" y="1006"/>
                  </a:lnTo>
                  <a:lnTo>
                    <a:pt x="2817" y="875"/>
                  </a:lnTo>
                  <a:lnTo>
                    <a:pt x="2767" y="1006"/>
                  </a:lnTo>
                  <a:close/>
                  <a:moveTo>
                    <a:pt x="2897" y="1088"/>
                  </a:moveTo>
                  <a:lnTo>
                    <a:pt x="2737" y="1088"/>
                  </a:lnTo>
                  <a:lnTo>
                    <a:pt x="2715" y="1145"/>
                  </a:lnTo>
                  <a:lnTo>
                    <a:pt x="2714" y="1148"/>
                  </a:lnTo>
                  <a:lnTo>
                    <a:pt x="2713" y="1150"/>
                  </a:lnTo>
                  <a:lnTo>
                    <a:pt x="2711" y="1151"/>
                  </a:lnTo>
                  <a:lnTo>
                    <a:pt x="2710" y="1153"/>
                  </a:lnTo>
                  <a:lnTo>
                    <a:pt x="2706" y="1154"/>
                  </a:lnTo>
                  <a:lnTo>
                    <a:pt x="2701" y="1155"/>
                  </a:lnTo>
                  <a:lnTo>
                    <a:pt x="2623" y="1155"/>
                  </a:lnTo>
                  <a:lnTo>
                    <a:pt x="2620" y="1155"/>
                  </a:lnTo>
                  <a:lnTo>
                    <a:pt x="2618" y="1154"/>
                  </a:lnTo>
                  <a:lnTo>
                    <a:pt x="2616" y="1153"/>
                  </a:lnTo>
                  <a:lnTo>
                    <a:pt x="2614" y="1151"/>
                  </a:lnTo>
                  <a:lnTo>
                    <a:pt x="2613" y="1149"/>
                  </a:lnTo>
                  <a:lnTo>
                    <a:pt x="2613" y="1147"/>
                  </a:lnTo>
                  <a:lnTo>
                    <a:pt x="2613" y="1144"/>
                  </a:lnTo>
                  <a:lnTo>
                    <a:pt x="2614" y="1141"/>
                  </a:lnTo>
                  <a:lnTo>
                    <a:pt x="2769" y="746"/>
                  </a:lnTo>
                  <a:lnTo>
                    <a:pt x="2770" y="743"/>
                  </a:lnTo>
                  <a:lnTo>
                    <a:pt x="2772" y="741"/>
                  </a:lnTo>
                  <a:lnTo>
                    <a:pt x="2775" y="738"/>
                  </a:lnTo>
                  <a:lnTo>
                    <a:pt x="2779" y="737"/>
                  </a:lnTo>
                  <a:lnTo>
                    <a:pt x="2781" y="736"/>
                  </a:lnTo>
                  <a:lnTo>
                    <a:pt x="2783" y="736"/>
                  </a:lnTo>
                  <a:lnTo>
                    <a:pt x="2853" y="736"/>
                  </a:lnTo>
                  <a:lnTo>
                    <a:pt x="2858" y="737"/>
                  </a:lnTo>
                  <a:lnTo>
                    <a:pt x="2861" y="738"/>
                  </a:lnTo>
                  <a:lnTo>
                    <a:pt x="2864" y="741"/>
                  </a:lnTo>
                  <a:lnTo>
                    <a:pt x="2865" y="743"/>
                  </a:lnTo>
                  <a:lnTo>
                    <a:pt x="2866" y="746"/>
                  </a:lnTo>
                  <a:lnTo>
                    <a:pt x="3022" y="1141"/>
                  </a:lnTo>
                  <a:lnTo>
                    <a:pt x="3023" y="1144"/>
                  </a:lnTo>
                  <a:lnTo>
                    <a:pt x="3023" y="1147"/>
                  </a:lnTo>
                  <a:lnTo>
                    <a:pt x="3023" y="1149"/>
                  </a:lnTo>
                  <a:lnTo>
                    <a:pt x="3021" y="1151"/>
                  </a:lnTo>
                  <a:lnTo>
                    <a:pt x="3020" y="1153"/>
                  </a:lnTo>
                  <a:lnTo>
                    <a:pt x="3018" y="1154"/>
                  </a:lnTo>
                  <a:lnTo>
                    <a:pt x="3016" y="1155"/>
                  </a:lnTo>
                  <a:lnTo>
                    <a:pt x="3013" y="1155"/>
                  </a:lnTo>
                  <a:lnTo>
                    <a:pt x="2933" y="1155"/>
                  </a:lnTo>
                  <a:lnTo>
                    <a:pt x="2928" y="1154"/>
                  </a:lnTo>
                  <a:lnTo>
                    <a:pt x="2926" y="1154"/>
                  </a:lnTo>
                  <a:lnTo>
                    <a:pt x="2925" y="1153"/>
                  </a:lnTo>
                  <a:lnTo>
                    <a:pt x="2923" y="1151"/>
                  </a:lnTo>
                  <a:lnTo>
                    <a:pt x="2921" y="1150"/>
                  </a:lnTo>
                  <a:lnTo>
                    <a:pt x="2920" y="1148"/>
                  </a:lnTo>
                  <a:lnTo>
                    <a:pt x="2919" y="1145"/>
                  </a:lnTo>
                  <a:lnTo>
                    <a:pt x="2897" y="1088"/>
                  </a:lnTo>
                  <a:close/>
                  <a:moveTo>
                    <a:pt x="696" y="2625"/>
                  </a:moveTo>
                  <a:lnTo>
                    <a:pt x="614" y="2625"/>
                  </a:lnTo>
                  <a:lnTo>
                    <a:pt x="610" y="2624"/>
                  </a:lnTo>
                  <a:lnTo>
                    <a:pt x="607" y="2622"/>
                  </a:lnTo>
                  <a:lnTo>
                    <a:pt x="605" y="2621"/>
                  </a:lnTo>
                  <a:lnTo>
                    <a:pt x="605" y="2619"/>
                  </a:lnTo>
                  <a:lnTo>
                    <a:pt x="604" y="2617"/>
                  </a:lnTo>
                  <a:lnTo>
                    <a:pt x="604" y="2615"/>
                  </a:lnTo>
                  <a:lnTo>
                    <a:pt x="604" y="2217"/>
                  </a:lnTo>
                  <a:lnTo>
                    <a:pt x="604" y="2214"/>
                  </a:lnTo>
                  <a:lnTo>
                    <a:pt x="605" y="2212"/>
                  </a:lnTo>
                  <a:lnTo>
                    <a:pt x="607" y="2209"/>
                  </a:lnTo>
                  <a:lnTo>
                    <a:pt x="608" y="2208"/>
                  </a:lnTo>
                  <a:lnTo>
                    <a:pt x="610" y="2207"/>
                  </a:lnTo>
                  <a:lnTo>
                    <a:pt x="614" y="2207"/>
                  </a:lnTo>
                  <a:lnTo>
                    <a:pt x="696" y="2207"/>
                  </a:lnTo>
                  <a:lnTo>
                    <a:pt x="700" y="2207"/>
                  </a:lnTo>
                  <a:lnTo>
                    <a:pt x="703" y="2209"/>
                  </a:lnTo>
                  <a:lnTo>
                    <a:pt x="704" y="2211"/>
                  </a:lnTo>
                  <a:lnTo>
                    <a:pt x="705" y="2212"/>
                  </a:lnTo>
                  <a:lnTo>
                    <a:pt x="706" y="2214"/>
                  </a:lnTo>
                  <a:lnTo>
                    <a:pt x="706" y="2217"/>
                  </a:lnTo>
                  <a:lnTo>
                    <a:pt x="706" y="2392"/>
                  </a:lnTo>
                  <a:lnTo>
                    <a:pt x="850" y="2216"/>
                  </a:lnTo>
                  <a:lnTo>
                    <a:pt x="854" y="2212"/>
                  </a:lnTo>
                  <a:lnTo>
                    <a:pt x="856" y="2210"/>
                  </a:lnTo>
                  <a:lnTo>
                    <a:pt x="858" y="2209"/>
                  </a:lnTo>
                  <a:lnTo>
                    <a:pt x="860" y="2208"/>
                  </a:lnTo>
                  <a:lnTo>
                    <a:pt x="863" y="2207"/>
                  </a:lnTo>
                  <a:lnTo>
                    <a:pt x="865" y="2207"/>
                  </a:lnTo>
                  <a:lnTo>
                    <a:pt x="868" y="2207"/>
                  </a:lnTo>
                  <a:lnTo>
                    <a:pt x="964" y="2207"/>
                  </a:lnTo>
                  <a:lnTo>
                    <a:pt x="967" y="2207"/>
                  </a:lnTo>
                  <a:lnTo>
                    <a:pt x="969" y="2208"/>
                  </a:lnTo>
                  <a:lnTo>
                    <a:pt x="971" y="2210"/>
                  </a:lnTo>
                  <a:lnTo>
                    <a:pt x="972" y="2212"/>
                  </a:lnTo>
                  <a:lnTo>
                    <a:pt x="972" y="2214"/>
                  </a:lnTo>
                  <a:lnTo>
                    <a:pt x="972" y="2216"/>
                  </a:lnTo>
                  <a:lnTo>
                    <a:pt x="971" y="2219"/>
                  </a:lnTo>
                  <a:lnTo>
                    <a:pt x="970" y="2221"/>
                  </a:lnTo>
                  <a:lnTo>
                    <a:pt x="838" y="2382"/>
                  </a:lnTo>
                  <a:lnTo>
                    <a:pt x="974" y="2612"/>
                  </a:lnTo>
                  <a:lnTo>
                    <a:pt x="975" y="2614"/>
                  </a:lnTo>
                  <a:lnTo>
                    <a:pt x="975" y="2617"/>
                  </a:lnTo>
                  <a:lnTo>
                    <a:pt x="975" y="2619"/>
                  </a:lnTo>
                  <a:lnTo>
                    <a:pt x="975" y="2621"/>
                  </a:lnTo>
                  <a:lnTo>
                    <a:pt x="974" y="2623"/>
                  </a:lnTo>
                  <a:lnTo>
                    <a:pt x="972" y="2624"/>
                  </a:lnTo>
                  <a:lnTo>
                    <a:pt x="970" y="2625"/>
                  </a:lnTo>
                  <a:lnTo>
                    <a:pt x="967" y="2625"/>
                  </a:lnTo>
                  <a:lnTo>
                    <a:pt x="871" y="2625"/>
                  </a:lnTo>
                  <a:lnTo>
                    <a:pt x="867" y="2625"/>
                  </a:lnTo>
                  <a:lnTo>
                    <a:pt x="862" y="2623"/>
                  </a:lnTo>
                  <a:lnTo>
                    <a:pt x="861" y="2622"/>
                  </a:lnTo>
                  <a:lnTo>
                    <a:pt x="859" y="2620"/>
                  </a:lnTo>
                  <a:lnTo>
                    <a:pt x="856" y="2616"/>
                  </a:lnTo>
                  <a:lnTo>
                    <a:pt x="759" y="2450"/>
                  </a:lnTo>
                  <a:lnTo>
                    <a:pt x="706" y="2514"/>
                  </a:lnTo>
                  <a:lnTo>
                    <a:pt x="706" y="2615"/>
                  </a:lnTo>
                  <a:lnTo>
                    <a:pt x="706" y="2617"/>
                  </a:lnTo>
                  <a:lnTo>
                    <a:pt x="705" y="2619"/>
                  </a:lnTo>
                  <a:lnTo>
                    <a:pt x="703" y="2622"/>
                  </a:lnTo>
                  <a:lnTo>
                    <a:pt x="702" y="2624"/>
                  </a:lnTo>
                  <a:lnTo>
                    <a:pt x="700" y="2624"/>
                  </a:lnTo>
                  <a:lnTo>
                    <a:pt x="696" y="2625"/>
                  </a:lnTo>
                  <a:close/>
                  <a:moveTo>
                    <a:pt x="1288" y="2177"/>
                  </a:moveTo>
                  <a:lnTo>
                    <a:pt x="1283" y="2177"/>
                  </a:lnTo>
                  <a:lnTo>
                    <a:pt x="1278" y="2176"/>
                  </a:lnTo>
                  <a:lnTo>
                    <a:pt x="1273" y="2175"/>
                  </a:lnTo>
                  <a:lnTo>
                    <a:pt x="1268" y="2173"/>
                  </a:lnTo>
                  <a:lnTo>
                    <a:pt x="1260" y="2169"/>
                  </a:lnTo>
                  <a:lnTo>
                    <a:pt x="1256" y="2166"/>
                  </a:lnTo>
                  <a:lnTo>
                    <a:pt x="1253" y="2163"/>
                  </a:lnTo>
                  <a:lnTo>
                    <a:pt x="1249" y="2160"/>
                  </a:lnTo>
                  <a:lnTo>
                    <a:pt x="1247" y="2156"/>
                  </a:lnTo>
                  <a:lnTo>
                    <a:pt x="1244" y="2152"/>
                  </a:lnTo>
                  <a:lnTo>
                    <a:pt x="1242" y="2148"/>
                  </a:lnTo>
                  <a:lnTo>
                    <a:pt x="1241" y="2143"/>
                  </a:lnTo>
                  <a:lnTo>
                    <a:pt x="1240" y="2138"/>
                  </a:lnTo>
                  <a:lnTo>
                    <a:pt x="1239" y="2133"/>
                  </a:lnTo>
                  <a:lnTo>
                    <a:pt x="1239" y="2128"/>
                  </a:lnTo>
                  <a:lnTo>
                    <a:pt x="1239" y="2123"/>
                  </a:lnTo>
                  <a:lnTo>
                    <a:pt x="1240" y="2118"/>
                  </a:lnTo>
                  <a:lnTo>
                    <a:pt x="1241" y="2113"/>
                  </a:lnTo>
                  <a:lnTo>
                    <a:pt x="1242" y="2108"/>
                  </a:lnTo>
                  <a:lnTo>
                    <a:pt x="1244" y="2104"/>
                  </a:lnTo>
                  <a:lnTo>
                    <a:pt x="1247" y="2100"/>
                  </a:lnTo>
                  <a:lnTo>
                    <a:pt x="1249" y="2096"/>
                  </a:lnTo>
                  <a:lnTo>
                    <a:pt x="1253" y="2093"/>
                  </a:lnTo>
                  <a:lnTo>
                    <a:pt x="1256" y="2090"/>
                  </a:lnTo>
                  <a:lnTo>
                    <a:pt x="1260" y="2087"/>
                  </a:lnTo>
                  <a:lnTo>
                    <a:pt x="1264" y="2084"/>
                  </a:lnTo>
                  <a:lnTo>
                    <a:pt x="1268" y="2082"/>
                  </a:lnTo>
                  <a:lnTo>
                    <a:pt x="1273" y="2081"/>
                  </a:lnTo>
                  <a:lnTo>
                    <a:pt x="1278" y="2080"/>
                  </a:lnTo>
                  <a:lnTo>
                    <a:pt x="1283" y="2079"/>
                  </a:lnTo>
                  <a:lnTo>
                    <a:pt x="1288" y="2079"/>
                  </a:lnTo>
                  <a:lnTo>
                    <a:pt x="1294" y="2079"/>
                  </a:lnTo>
                  <a:lnTo>
                    <a:pt x="1299" y="2080"/>
                  </a:lnTo>
                  <a:lnTo>
                    <a:pt x="1304" y="2081"/>
                  </a:lnTo>
                  <a:lnTo>
                    <a:pt x="1308" y="2082"/>
                  </a:lnTo>
                  <a:lnTo>
                    <a:pt x="1317" y="2087"/>
                  </a:lnTo>
                  <a:lnTo>
                    <a:pt x="1320" y="2090"/>
                  </a:lnTo>
                  <a:lnTo>
                    <a:pt x="1324" y="2093"/>
                  </a:lnTo>
                  <a:lnTo>
                    <a:pt x="1327" y="2096"/>
                  </a:lnTo>
                  <a:lnTo>
                    <a:pt x="1330" y="2100"/>
                  </a:lnTo>
                  <a:lnTo>
                    <a:pt x="1332" y="2104"/>
                  </a:lnTo>
                  <a:lnTo>
                    <a:pt x="1334" y="2108"/>
                  </a:lnTo>
                  <a:lnTo>
                    <a:pt x="1336" y="2113"/>
                  </a:lnTo>
                  <a:lnTo>
                    <a:pt x="1337" y="2118"/>
                  </a:lnTo>
                  <a:lnTo>
                    <a:pt x="1338" y="2123"/>
                  </a:lnTo>
                  <a:lnTo>
                    <a:pt x="1338" y="2128"/>
                  </a:lnTo>
                  <a:lnTo>
                    <a:pt x="1338" y="2133"/>
                  </a:lnTo>
                  <a:lnTo>
                    <a:pt x="1337" y="2138"/>
                  </a:lnTo>
                  <a:lnTo>
                    <a:pt x="1336" y="2143"/>
                  </a:lnTo>
                  <a:lnTo>
                    <a:pt x="1334" y="2148"/>
                  </a:lnTo>
                  <a:lnTo>
                    <a:pt x="1332" y="2152"/>
                  </a:lnTo>
                  <a:lnTo>
                    <a:pt x="1330" y="2156"/>
                  </a:lnTo>
                  <a:lnTo>
                    <a:pt x="1327" y="2160"/>
                  </a:lnTo>
                  <a:lnTo>
                    <a:pt x="1324" y="2163"/>
                  </a:lnTo>
                  <a:lnTo>
                    <a:pt x="1320" y="2166"/>
                  </a:lnTo>
                  <a:lnTo>
                    <a:pt x="1317" y="2169"/>
                  </a:lnTo>
                  <a:lnTo>
                    <a:pt x="1313" y="2171"/>
                  </a:lnTo>
                  <a:lnTo>
                    <a:pt x="1308" y="2173"/>
                  </a:lnTo>
                  <a:lnTo>
                    <a:pt x="1304" y="2175"/>
                  </a:lnTo>
                  <a:lnTo>
                    <a:pt x="1299" y="2176"/>
                  </a:lnTo>
                  <a:lnTo>
                    <a:pt x="1294" y="2177"/>
                  </a:lnTo>
                  <a:lnTo>
                    <a:pt x="1288" y="2177"/>
                  </a:lnTo>
                  <a:close/>
                  <a:moveTo>
                    <a:pt x="1173" y="2477"/>
                  </a:moveTo>
                  <a:lnTo>
                    <a:pt x="1272" y="2477"/>
                  </a:lnTo>
                  <a:lnTo>
                    <a:pt x="1223" y="2345"/>
                  </a:lnTo>
                  <a:lnTo>
                    <a:pt x="1173" y="2477"/>
                  </a:lnTo>
                  <a:close/>
                  <a:moveTo>
                    <a:pt x="1303" y="2558"/>
                  </a:moveTo>
                  <a:lnTo>
                    <a:pt x="1143" y="2558"/>
                  </a:lnTo>
                  <a:lnTo>
                    <a:pt x="1121" y="2616"/>
                  </a:lnTo>
                  <a:lnTo>
                    <a:pt x="1120" y="2618"/>
                  </a:lnTo>
                  <a:lnTo>
                    <a:pt x="1119" y="2620"/>
                  </a:lnTo>
                  <a:lnTo>
                    <a:pt x="1117" y="2622"/>
                  </a:lnTo>
                  <a:lnTo>
                    <a:pt x="1115" y="2623"/>
                  </a:lnTo>
                  <a:lnTo>
                    <a:pt x="1112" y="2625"/>
                  </a:lnTo>
                  <a:lnTo>
                    <a:pt x="1107" y="2625"/>
                  </a:lnTo>
                  <a:lnTo>
                    <a:pt x="1029" y="2625"/>
                  </a:lnTo>
                  <a:lnTo>
                    <a:pt x="1026" y="2625"/>
                  </a:lnTo>
                  <a:lnTo>
                    <a:pt x="1024" y="2624"/>
                  </a:lnTo>
                  <a:lnTo>
                    <a:pt x="1022" y="2623"/>
                  </a:lnTo>
                  <a:lnTo>
                    <a:pt x="1020" y="2622"/>
                  </a:lnTo>
                  <a:lnTo>
                    <a:pt x="1019" y="2620"/>
                  </a:lnTo>
                  <a:lnTo>
                    <a:pt x="1019" y="2617"/>
                  </a:lnTo>
                  <a:lnTo>
                    <a:pt x="1019" y="2615"/>
                  </a:lnTo>
                  <a:lnTo>
                    <a:pt x="1020" y="2612"/>
                  </a:lnTo>
                  <a:lnTo>
                    <a:pt x="1175" y="2216"/>
                  </a:lnTo>
                  <a:lnTo>
                    <a:pt x="1176" y="2214"/>
                  </a:lnTo>
                  <a:lnTo>
                    <a:pt x="1178" y="2212"/>
                  </a:lnTo>
                  <a:lnTo>
                    <a:pt x="1181" y="2209"/>
                  </a:lnTo>
                  <a:lnTo>
                    <a:pt x="1184" y="2207"/>
                  </a:lnTo>
                  <a:lnTo>
                    <a:pt x="1187" y="2207"/>
                  </a:lnTo>
                  <a:lnTo>
                    <a:pt x="1189" y="2207"/>
                  </a:lnTo>
                  <a:lnTo>
                    <a:pt x="1259" y="2207"/>
                  </a:lnTo>
                  <a:lnTo>
                    <a:pt x="1263" y="2207"/>
                  </a:lnTo>
                  <a:lnTo>
                    <a:pt x="1267" y="2209"/>
                  </a:lnTo>
                  <a:lnTo>
                    <a:pt x="1270" y="2212"/>
                  </a:lnTo>
                  <a:lnTo>
                    <a:pt x="1271" y="2214"/>
                  </a:lnTo>
                  <a:lnTo>
                    <a:pt x="1272" y="2216"/>
                  </a:lnTo>
                  <a:lnTo>
                    <a:pt x="1428" y="2612"/>
                  </a:lnTo>
                  <a:lnTo>
                    <a:pt x="1429" y="2615"/>
                  </a:lnTo>
                  <a:lnTo>
                    <a:pt x="1429" y="2617"/>
                  </a:lnTo>
                  <a:lnTo>
                    <a:pt x="1428" y="2620"/>
                  </a:lnTo>
                  <a:lnTo>
                    <a:pt x="1427" y="2622"/>
                  </a:lnTo>
                  <a:lnTo>
                    <a:pt x="1426" y="2623"/>
                  </a:lnTo>
                  <a:lnTo>
                    <a:pt x="1424" y="2624"/>
                  </a:lnTo>
                  <a:lnTo>
                    <a:pt x="1421" y="2625"/>
                  </a:lnTo>
                  <a:lnTo>
                    <a:pt x="1419" y="2625"/>
                  </a:lnTo>
                  <a:lnTo>
                    <a:pt x="1339" y="2625"/>
                  </a:lnTo>
                  <a:lnTo>
                    <a:pt x="1334" y="2625"/>
                  </a:lnTo>
                  <a:lnTo>
                    <a:pt x="1332" y="2624"/>
                  </a:lnTo>
                  <a:lnTo>
                    <a:pt x="1330" y="2623"/>
                  </a:lnTo>
                  <a:lnTo>
                    <a:pt x="1329" y="2622"/>
                  </a:lnTo>
                  <a:lnTo>
                    <a:pt x="1327" y="2620"/>
                  </a:lnTo>
                  <a:lnTo>
                    <a:pt x="1326" y="2618"/>
                  </a:lnTo>
                  <a:lnTo>
                    <a:pt x="1325" y="2616"/>
                  </a:lnTo>
                  <a:lnTo>
                    <a:pt x="1303" y="2558"/>
                  </a:lnTo>
                  <a:close/>
                  <a:moveTo>
                    <a:pt x="1156" y="2177"/>
                  </a:moveTo>
                  <a:lnTo>
                    <a:pt x="1151" y="2177"/>
                  </a:lnTo>
                  <a:lnTo>
                    <a:pt x="1146" y="2176"/>
                  </a:lnTo>
                  <a:lnTo>
                    <a:pt x="1141" y="2175"/>
                  </a:lnTo>
                  <a:lnTo>
                    <a:pt x="1136" y="2173"/>
                  </a:lnTo>
                  <a:lnTo>
                    <a:pt x="1128" y="2169"/>
                  </a:lnTo>
                  <a:lnTo>
                    <a:pt x="1124" y="2166"/>
                  </a:lnTo>
                  <a:lnTo>
                    <a:pt x="1121" y="2163"/>
                  </a:lnTo>
                  <a:lnTo>
                    <a:pt x="1118" y="2160"/>
                  </a:lnTo>
                  <a:lnTo>
                    <a:pt x="1115" y="2156"/>
                  </a:lnTo>
                  <a:lnTo>
                    <a:pt x="1112" y="2152"/>
                  </a:lnTo>
                  <a:lnTo>
                    <a:pt x="1110" y="2148"/>
                  </a:lnTo>
                  <a:lnTo>
                    <a:pt x="1109" y="2143"/>
                  </a:lnTo>
                  <a:lnTo>
                    <a:pt x="1108" y="2138"/>
                  </a:lnTo>
                  <a:lnTo>
                    <a:pt x="1107" y="2133"/>
                  </a:lnTo>
                  <a:lnTo>
                    <a:pt x="1107" y="2128"/>
                  </a:lnTo>
                  <a:lnTo>
                    <a:pt x="1107" y="2123"/>
                  </a:lnTo>
                  <a:lnTo>
                    <a:pt x="1108" y="2118"/>
                  </a:lnTo>
                  <a:lnTo>
                    <a:pt x="1109" y="2113"/>
                  </a:lnTo>
                  <a:lnTo>
                    <a:pt x="1110" y="2108"/>
                  </a:lnTo>
                  <a:lnTo>
                    <a:pt x="1112" y="2104"/>
                  </a:lnTo>
                  <a:lnTo>
                    <a:pt x="1115" y="2100"/>
                  </a:lnTo>
                  <a:lnTo>
                    <a:pt x="1118" y="2096"/>
                  </a:lnTo>
                  <a:lnTo>
                    <a:pt x="1121" y="2093"/>
                  </a:lnTo>
                  <a:lnTo>
                    <a:pt x="1124" y="2090"/>
                  </a:lnTo>
                  <a:lnTo>
                    <a:pt x="1128" y="2087"/>
                  </a:lnTo>
                  <a:lnTo>
                    <a:pt x="1132" y="2084"/>
                  </a:lnTo>
                  <a:lnTo>
                    <a:pt x="1136" y="2082"/>
                  </a:lnTo>
                  <a:lnTo>
                    <a:pt x="1141" y="2081"/>
                  </a:lnTo>
                  <a:lnTo>
                    <a:pt x="1146" y="2080"/>
                  </a:lnTo>
                  <a:lnTo>
                    <a:pt x="1151" y="2079"/>
                  </a:lnTo>
                  <a:lnTo>
                    <a:pt x="1156" y="2079"/>
                  </a:lnTo>
                  <a:lnTo>
                    <a:pt x="1162" y="2079"/>
                  </a:lnTo>
                  <a:lnTo>
                    <a:pt x="1167" y="2080"/>
                  </a:lnTo>
                  <a:lnTo>
                    <a:pt x="1172" y="2081"/>
                  </a:lnTo>
                  <a:lnTo>
                    <a:pt x="1176" y="2082"/>
                  </a:lnTo>
                  <a:lnTo>
                    <a:pt x="1185" y="2087"/>
                  </a:lnTo>
                  <a:lnTo>
                    <a:pt x="1189" y="2090"/>
                  </a:lnTo>
                  <a:lnTo>
                    <a:pt x="1192" y="2093"/>
                  </a:lnTo>
                  <a:lnTo>
                    <a:pt x="1195" y="2096"/>
                  </a:lnTo>
                  <a:lnTo>
                    <a:pt x="1198" y="2100"/>
                  </a:lnTo>
                  <a:lnTo>
                    <a:pt x="1200" y="2104"/>
                  </a:lnTo>
                  <a:lnTo>
                    <a:pt x="1202" y="2108"/>
                  </a:lnTo>
                  <a:lnTo>
                    <a:pt x="1204" y="2113"/>
                  </a:lnTo>
                  <a:lnTo>
                    <a:pt x="1205" y="2118"/>
                  </a:lnTo>
                  <a:lnTo>
                    <a:pt x="1206" y="2123"/>
                  </a:lnTo>
                  <a:lnTo>
                    <a:pt x="1206" y="2128"/>
                  </a:lnTo>
                  <a:lnTo>
                    <a:pt x="1206" y="2133"/>
                  </a:lnTo>
                  <a:lnTo>
                    <a:pt x="1205" y="2138"/>
                  </a:lnTo>
                  <a:lnTo>
                    <a:pt x="1204" y="2143"/>
                  </a:lnTo>
                  <a:lnTo>
                    <a:pt x="1202" y="2148"/>
                  </a:lnTo>
                  <a:lnTo>
                    <a:pt x="1200" y="2152"/>
                  </a:lnTo>
                  <a:lnTo>
                    <a:pt x="1198" y="2156"/>
                  </a:lnTo>
                  <a:lnTo>
                    <a:pt x="1195" y="2160"/>
                  </a:lnTo>
                  <a:lnTo>
                    <a:pt x="1192" y="2163"/>
                  </a:lnTo>
                  <a:lnTo>
                    <a:pt x="1189" y="2166"/>
                  </a:lnTo>
                  <a:lnTo>
                    <a:pt x="1185" y="2169"/>
                  </a:lnTo>
                  <a:lnTo>
                    <a:pt x="1181" y="2171"/>
                  </a:lnTo>
                  <a:lnTo>
                    <a:pt x="1176" y="2173"/>
                  </a:lnTo>
                  <a:lnTo>
                    <a:pt x="1172" y="2175"/>
                  </a:lnTo>
                  <a:lnTo>
                    <a:pt x="1167" y="2176"/>
                  </a:lnTo>
                  <a:lnTo>
                    <a:pt x="1162" y="2177"/>
                  </a:lnTo>
                  <a:lnTo>
                    <a:pt x="1156" y="2177"/>
                  </a:lnTo>
                  <a:close/>
                  <a:moveTo>
                    <a:pt x="1624" y="2446"/>
                  </a:moveTo>
                  <a:lnTo>
                    <a:pt x="1624" y="2615"/>
                  </a:lnTo>
                  <a:lnTo>
                    <a:pt x="1624" y="2617"/>
                  </a:lnTo>
                  <a:lnTo>
                    <a:pt x="1623" y="2619"/>
                  </a:lnTo>
                  <a:lnTo>
                    <a:pt x="1622" y="2622"/>
                  </a:lnTo>
                  <a:lnTo>
                    <a:pt x="1620" y="2623"/>
                  </a:lnTo>
                  <a:lnTo>
                    <a:pt x="1619" y="2624"/>
                  </a:lnTo>
                  <a:lnTo>
                    <a:pt x="1617" y="2625"/>
                  </a:lnTo>
                  <a:lnTo>
                    <a:pt x="1615" y="2625"/>
                  </a:lnTo>
                  <a:lnTo>
                    <a:pt x="1536" y="2625"/>
                  </a:lnTo>
                  <a:lnTo>
                    <a:pt x="1532" y="2624"/>
                  </a:lnTo>
                  <a:lnTo>
                    <a:pt x="1529" y="2622"/>
                  </a:lnTo>
                  <a:lnTo>
                    <a:pt x="1527" y="2619"/>
                  </a:lnTo>
                  <a:lnTo>
                    <a:pt x="1527" y="2617"/>
                  </a:lnTo>
                  <a:lnTo>
                    <a:pt x="1526" y="2615"/>
                  </a:lnTo>
                  <a:lnTo>
                    <a:pt x="1526" y="2446"/>
                  </a:lnTo>
                  <a:lnTo>
                    <a:pt x="1430" y="2220"/>
                  </a:lnTo>
                  <a:lnTo>
                    <a:pt x="1429" y="2217"/>
                  </a:lnTo>
                  <a:lnTo>
                    <a:pt x="1429" y="2214"/>
                  </a:lnTo>
                  <a:lnTo>
                    <a:pt x="1429" y="2212"/>
                  </a:lnTo>
                  <a:lnTo>
                    <a:pt x="1430" y="2210"/>
                  </a:lnTo>
                  <a:lnTo>
                    <a:pt x="1431" y="2209"/>
                  </a:lnTo>
                  <a:lnTo>
                    <a:pt x="1432" y="2208"/>
                  </a:lnTo>
                  <a:lnTo>
                    <a:pt x="1434" y="2207"/>
                  </a:lnTo>
                  <a:lnTo>
                    <a:pt x="1437" y="2207"/>
                  </a:lnTo>
                  <a:lnTo>
                    <a:pt x="1516" y="2207"/>
                  </a:lnTo>
                  <a:lnTo>
                    <a:pt x="1520" y="2207"/>
                  </a:lnTo>
                  <a:lnTo>
                    <a:pt x="1523" y="2208"/>
                  </a:lnTo>
                  <a:lnTo>
                    <a:pt x="1524" y="2209"/>
                  </a:lnTo>
                  <a:lnTo>
                    <a:pt x="1526" y="2210"/>
                  </a:lnTo>
                  <a:lnTo>
                    <a:pt x="1528" y="2211"/>
                  </a:lnTo>
                  <a:lnTo>
                    <a:pt x="1529" y="2213"/>
                  </a:lnTo>
                  <a:lnTo>
                    <a:pt x="1530" y="2215"/>
                  </a:lnTo>
                  <a:lnTo>
                    <a:pt x="1577" y="2342"/>
                  </a:lnTo>
                  <a:lnTo>
                    <a:pt x="1621" y="2215"/>
                  </a:lnTo>
                  <a:lnTo>
                    <a:pt x="1622" y="2213"/>
                  </a:lnTo>
                  <a:lnTo>
                    <a:pt x="1623" y="2211"/>
                  </a:lnTo>
                  <a:lnTo>
                    <a:pt x="1625" y="2210"/>
                  </a:lnTo>
                  <a:lnTo>
                    <a:pt x="1627" y="2209"/>
                  </a:lnTo>
                  <a:lnTo>
                    <a:pt x="1629" y="2208"/>
                  </a:lnTo>
                  <a:lnTo>
                    <a:pt x="1631" y="2207"/>
                  </a:lnTo>
                  <a:lnTo>
                    <a:pt x="1635" y="2207"/>
                  </a:lnTo>
                  <a:lnTo>
                    <a:pt x="1712" y="2207"/>
                  </a:lnTo>
                  <a:lnTo>
                    <a:pt x="1714" y="2207"/>
                  </a:lnTo>
                  <a:lnTo>
                    <a:pt x="1716" y="2208"/>
                  </a:lnTo>
                  <a:lnTo>
                    <a:pt x="1717" y="2209"/>
                  </a:lnTo>
                  <a:lnTo>
                    <a:pt x="1718" y="2210"/>
                  </a:lnTo>
                  <a:lnTo>
                    <a:pt x="1719" y="2212"/>
                  </a:lnTo>
                  <a:lnTo>
                    <a:pt x="1719" y="2214"/>
                  </a:lnTo>
                  <a:lnTo>
                    <a:pt x="1719" y="2217"/>
                  </a:lnTo>
                  <a:lnTo>
                    <a:pt x="1718" y="2220"/>
                  </a:lnTo>
                  <a:lnTo>
                    <a:pt x="1624" y="2446"/>
                  </a:lnTo>
                  <a:close/>
                  <a:moveTo>
                    <a:pt x="1929" y="2536"/>
                  </a:moveTo>
                  <a:lnTo>
                    <a:pt x="1941" y="2536"/>
                  </a:lnTo>
                  <a:lnTo>
                    <a:pt x="1947" y="2535"/>
                  </a:lnTo>
                  <a:lnTo>
                    <a:pt x="1953" y="2534"/>
                  </a:lnTo>
                  <a:lnTo>
                    <a:pt x="1964" y="2532"/>
                  </a:lnTo>
                  <a:lnTo>
                    <a:pt x="1975" y="2528"/>
                  </a:lnTo>
                  <a:lnTo>
                    <a:pt x="1980" y="2526"/>
                  </a:lnTo>
                  <a:lnTo>
                    <a:pt x="1985" y="2524"/>
                  </a:lnTo>
                  <a:lnTo>
                    <a:pt x="1995" y="2519"/>
                  </a:lnTo>
                  <a:lnTo>
                    <a:pt x="2004" y="2512"/>
                  </a:lnTo>
                  <a:lnTo>
                    <a:pt x="2012" y="2505"/>
                  </a:lnTo>
                  <a:lnTo>
                    <a:pt x="2019" y="2497"/>
                  </a:lnTo>
                  <a:lnTo>
                    <a:pt x="2026" y="2488"/>
                  </a:lnTo>
                  <a:lnTo>
                    <a:pt x="2032" y="2478"/>
                  </a:lnTo>
                  <a:lnTo>
                    <a:pt x="2034" y="2473"/>
                  </a:lnTo>
                  <a:lnTo>
                    <a:pt x="2036" y="2467"/>
                  </a:lnTo>
                  <a:lnTo>
                    <a:pt x="2038" y="2461"/>
                  </a:lnTo>
                  <a:lnTo>
                    <a:pt x="2040" y="2455"/>
                  </a:lnTo>
                  <a:lnTo>
                    <a:pt x="2043" y="2443"/>
                  </a:lnTo>
                  <a:lnTo>
                    <a:pt x="2045" y="2430"/>
                  </a:lnTo>
                  <a:lnTo>
                    <a:pt x="2045" y="2423"/>
                  </a:lnTo>
                  <a:lnTo>
                    <a:pt x="2045" y="2416"/>
                  </a:lnTo>
                  <a:lnTo>
                    <a:pt x="2045" y="2402"/>
                  </a:lnTo>
                  <a:lnTo>
                    <a:pt x="2043" y="2388"/>
                  </a:lnTo>
                  <a:lnTo>
                    <a:pt x="2040" y="2376"/>
                  </a:lnTo>
                  <a:lnTo>
                    <a:pt x="2036" y="2364"/>
                  </a:lnTo>
                  <a:lnTo>
                    <a:pt x="2032" y="2354"/>
                  </a:lnTo>
                  <a:lnTo>
                    <a:pt x="2026" y="2344"/>
                  </a:lnTo>
                  <a:lnTo>
                    <a:pt x="2023" y="2339"/>
                  </a:lnTo>
                  <a:lnTo>
                    <a:pt x="2019" y="2335"/>
                  </a:lnTo>
                  <a:lnTo>
                    <a:pt x="2012" y="2326"/>
                  </a:lnTo>
                  <a:lnTo>
                    <a:pt x="2008" y="2323"/>
                  </a:lnTo>
                  <a:lnTo>
                    <a:pt x="2004" y="2319"/>
                  </a:lnTo>
                  <a:lnTo>
                    <a:pt x="1995" y="2313"/>
                  </a:lnTo>
                  <a:lnTo>
                    <a:pt x="1990" y="2310"/>
                  </a:lnTo>
                  <a:lnTo>
                    <a:pt x="1985" y="2308"/>
                  </a:lnTo>
                  <a:lnTo>
                    <a:pt x="1980" y="2305"/>
                  </a:lnTo>
                  <a:lnTo>
                    <a:pt x="1975" y="2303"/>
                  </a:lnTo>
                  <a:lnTo>
                    <a:pt x="1964" y="2300"/>
                  </a:lnTo>
                  <a:lnTo>
                    <a:pt x="1953" y="2297"/>
                  </a:lnTo>
                  <a:lnTo>
                    <a:pt x="1947" y="2296"/>
                  </a:lnTo>
                  <a:lnTo>
                    <a:pt x="1941" y="2296"/>
                  </a:lnTo>
                  <a:lnTo>
                    <a:pt x="1929" y="2295"/>
                  </a:lnTo>
                  <a:lnTo>
                    <a:pt x="1888" y="2295"/>
                  </a:lnTo>
                  <a:lnTo>
                    <a:pt x="1888" y="2536"/>
                  </a:lnTo>
                  <a:lnTo>
                    <a:pt x="1929" y="2536"/>
                  </a:lnTo>
                  <a:close/>
                  <a:moveTo>
                    <a:pt x="1928" y="2207"/>
                  </a:moveTo>
                  <a:lnTo>
                    <a:pt x="1941" y="2207"/>
                  </a:lnTo>
                  <a:lnTo>
                    <a:pt x="1953" y="2207"/>
                  </a:lnTo>
                  <a:lnTo>
                    <a:pt x="1966" y="2209"/>
                  </a:lnTo>
                  <a:lnTo>
                    <a:pt x="1978" y="2210"/>
                  </a:lnTo>
                  <a:lnTo>
                    <a:pt x="1989" y="2212"/>
                  </a:lnTo>
                  <a:lnTo>
                    <a:pt x="2001" y="2215"/>
                  </a:lnTo>
                  <a:lnTo>
                    <a:pt x="2011" y="2218"/>
                  </a:lnTo>
                  <a:lnTo>
                    <a:pt x="2022" y="2222"/>
                  </a:lnTo>
                  <a:lnTo>
                    <a:pt x="2032" y="2225"/>
                  </a:lnTo>
                  <a:lnTo>
                    <a:pt x="2042" y="2230"/>
                  </a:lnTo>
                  <a:lnTo>
                    <a:pt x="2051" y="2235"/>
                  </a:lnTo>
                  <a:lnTo>
                    <a:pt x="2061" y="2240"/>
                  </a:lnTo>
                  <a:lnTo>
                    <a:pt x="2069" y="2245"/>
                  </a:lnTo>
                  <a:lnTo>
                    <a:pt x="2078" y="2251"/>
                  </a:lnTo>
                  <a:lnTo>
                    <a:pt x="2085" y="2257"/>
                  </a:lnTo>
                  <a:lnTo>
                    <a:pt x="2093" y="2264"/>
                  </a:lnTo>
                  <a:lnTo>
                    <a:pt x="2100" y="2271"/>
                  </a:lnTo>
                  <a:lnTo>
                    <a:pt x="2107" y="2279"/>
                  </a:lnTo>
                  <a:lnTo>
                    <a:pt x="2113" y="2286"/>
                  </a:lnTo>
                  <a:lnTo>
                    <a:pt x="2119" y="2294"/>
                  </a:lnTo>
                  <a:lnTo>
                    <a:pt x="2121" y="2299"/>
                  </a:lnTo>
                  <a:lnTo>
                    <a:pt x="2124" y="2303"/>
                  </a:lnTo>
                  <a:lnTo>
                    <a:pt x="2129" y="2312"/>
                  </a:lnTo>
                  <a:lnTo>
                    <a:pt x="2133" y="2321"/>
                  </a:lnTo>
                  <a:lnTo>
                    <a:pt x="2137" y="2330"/>
                  </a:lnTo>
                  <a:lnTo>
                    <a:pt x="2141" y="2340"/>
                  </a:lnTo>
                  <a:lnTo>
                    <a:pt x="2144" y="2350"/>
                  </a:lnTo>
                  <a:lnTo>
                    <a:pt x="2147" y="2360"/>
                  </a:lnTo>
                  <a:lnTo>
                    <a:pt x="2149" y="2371"/>
                  </a:lnTo>
                  <a:lnTo>
                    <a:pt x="2151" y="2382"/>
                  </a:lnTo>
                  <a:lnTo>
                    <a:pt x="2152" y="2393"/>
                  </a:lnTo>
                  <a:lnTo>
                    <a:pt x="2153" y="2404"/>
                  </a:lnTo>
                  <a:lnTo>
                    <a:pt x="2153" y="2416"/>
                  </a:lnTo>
                  <a:lnTo>
                    <a:pt x="2153" y="2427"/>
                  </a:lnTo>
                  <a:lnTo>
                    <a:pt x="2152" y="2439"/>
                  </a:lnTo>
                  <a:lnTo>
                    <a:pt x="2151" y="2450"/>
                  </a:lnTo>
                  <a:lnTo>
                    <a:pt x="2149" y="2461"/>
                  </a:lnTo>
                  <a:lnTo>
                    <a:pt x="2147" y="2471"/>
                  </a:lnTo>
                  <a:lnTo>
                    <a:pt x="2144" y="2481"/>
                  </a:lnTo>
                  <a:lnTo>
                    <a:pt x="2141" y="2491"/>
                  </a:lnTo>
                  <a:lnTo>
                    <a:pt x="2137" y="2501"/>
                  </a:lnTo>
                  <a:lnTo>
                    <a:pt x="2133" y="2511"/>
                  </a:lnTo>
                  <a:lnTo>
                    <a:pt x="2129" y="2520"/>
                  </a:lnTo>
                  <a:lnTo>
                    <a:pt x="2124" y="2528"/>
                  </a:lnTo>
                  <a:lnTo>
                    <a:pt x="2119" y="2537"/>
                  </a:lnTo>
                  <a:lnTo>
                    <a:pt x="2113" y="2545"/>
                  </a:lnTo>
                  <a:lnTo>
                    <a:pt x="2107" y="2553"/>
                  </a:lnTo>
                  <a:lnTo>
                    <a:pt x="2100" y="2560"/>
                  </a:lnTo>
                  <a:lnTo>
                    <a:pt x="2093" y="2567"/>
                  </a:lnTo>
                  <a:lnTo>
                    <a:pt x="2085" y="2574"/>
                  </a:lnTo>
                  <a:lnTo>
                    <a:pt x="2078" y="2580"/>
                  </a:lnTo>
                  <a:lnTo>
                    <a:pt x="2069" y="2586"/>
                  </a:lnTo>
                  <a:lnTo>
                    <a:pt x="2061" y="2592"/>
                  </a:lnTo>
                  <a:lnTo>
                    <a:pt x="2051" y="2597"/>
                  </a:lnTo>
                  <a:lnTo>
                    <a:pt x="2042" y="2602"/>
                  </a:lnTo>
                  <a:lnTo>
                    <a:pt x="2032" y="2606"/>
                  </a:lnTo>
                  <a:lnTo>
                    <a:pt x="2022" y="2610"/>
                  </a:lnTo>
                  <a:lnTo>
                    <a:pt x="2011" y="2613"/>
                  </a:lnTo>
                  <a:lnTo>
                    <a:pt x="2001" y="2616"/>
                  </a:lnTo>
                  <a:lnTo>
                    <a:pt x="1989" y="2619"/>
                  </a:lnTo>
                  <a:lnTo>
                    <a:pt x="1978" y="2621"/>
                  </a:lnTo>
                  <a:lnTo>
                    <a:pt x="1966" y="2623"/>
                  </a:lnTo>
                  <a:lnTo>
                    <a:pt x="1953" y="2624"/>
                  </a:lnTo>
                  <a:lnTo>
                    <a:pt x="1941" y="2625"/>
                  </a:lnTo>
                  <a:lnTo>
                    <a:pt x="1928" y="2625"/>
                  </a:lnTo>
                  <a:lnTo>
                    <a:pt x="1795" y="2625"/>
                  </a:lnTo>
                  <a:lnTo>
                    <a:pt x="1791" y="2624"/>
                  </a:lnTo>
                  <a:lnTo>
                    <a:pt x="1788" y="2622"/>
                  </a:lnTo>
                  <a:lnTo>
                    <a:pt x="1787" y="2621"/>
                  </a:lnTo>
                  <a:lnTo>
                    <a:pt x="1786" y="2619"/>
                  </a:lnTo>
                  <a:lnTo>
                    <a:pt x="1785" y="2617"/>
                  </a:lnTo>
                  <a:lnTo>
                    <a:pt x="1785" y="2615"/>
                  </a:lnTo>
                  <a:lnTo>
                    <a:pt x="1785" y="2217"/>
                  </a:lnTo>
                  <a:lnTo>
                    <a:pt x="1785" y="2214"/>
                  </a:lnTo>
                  <a:lnTo>
                    <a:pt x="1786" y="2212"/>
                  </a:lnTo>
                  <a:lnTo>
                    <a:pt x="1788" y="2209"/>
                  </a:lnTo>
                  <a:lnTo>
                    <a:pt x="1789" y="2208"/>
                  </a:lnTo>
                  <a:lnTo>
                    <a:pt x="1791" y="2207"/>
                  </a:lnTo>
                  <a:lnTo>
                    <a:pt x="1795" y="2207"/>
                  </a:lnTo>
                  <a:lnTo>
                    <a:pt x="1928" y="2207"/>
                  </a:lnTo>
                  <a:close/>
                  <a:moveTo>
                    <a:pt x="2397" y="2177"/>
                  </a:moveTo>
                  <a:lnTo>
                    <a:pt x="2392" y="2177"/>
                  </a:lnTo>
                  <a:lnTo>
                    <a:pt x="2386" y="2176"/>
                  </a:lnTo>
                  <a:lnTo>
                    <a:pt x="2382" y="2175"/>
                  </a:lnTo>
                  <a:lnTo>
                    <a:pt x="2377" y="2173"/>
                  </a:lnTo>
                  <a:lnTo>
                    <a:pt x="2368" y="2169"/>
                  </a:lnTo>
                  <a:lnTo>
                    <a:pt x="2365" y="2166"/>
                  </a:lnTo>
                  <a:lnTo>
                    <a:pt x="2361" y="2163"/>
                  </a:lnTo>
                  <a:lnTo>
                    <a:pt x="2358" y="2160"/>
                  </a:lnTo>
                  <a:lnTo>
                    <a:pt x="2355" y="2156"/>
                  </a:lnTo>
                  <a:lnTo>
                    <a:pt x="2353" y="2152"/>
                  </a:lnTo>
                  <a:lnTo>
                    <a:pt x="2351" y="2148"/>
                  </a:lnTo>
                  <a:lnTo>
                    <a:pt x="2349" y="2143"/>
                  </a:lnTo>
                  <a:lnTo>
                    <a:pt x="2348" y="2138"/>
                  </a:lnTo>
                  <a:lnTo>
                    <a:pt x="2347" y="2133"/>
                  </a:lnTo>
                  <a:lnTo>
                    <a:pt x="2347" y="2128"/>
                  </a:lnTo>
                  <a:lnTo>
                    <a:pt x="2347" y="2123"/>
                  </a:lnTo>
                  <a:lnTo>
                    <a:pt x="2348" y="2118"/>
                  </a:lnTo>
                  <a:lnTo>
                    <a:pt x="2349" y="2113"/>
                  </a:lnTo>
                  <a:lnTo>
                    <a:pt x="2351" y="2108"/>
                  </a:lnTo>
                  <a:lnTo>
                    <a:pt x="2353" y="2104"/>
                  </a:lnTo>
                  <a:lnTo>
                    <a:pt x="2355" y="2100"/>
                  </a:lnTo>
                  <a:lnTo>
                    <a:pt x="2358" y="2096"/>
                  </a:lnTo>
                  <a:lnTo>
                    <a:pt x="2361" y="2093"/>
                  </a:lnTo>
                  <a:lnTo>
                    <a:pt x="2365" y="2090"/>
                  </a:lnTo>
                  <a:lnTo>
                    <a:pt x="2368" y="2087"/>
                  </a:lnTo>
                  <a:lnTo>
                    <a:pt x="2373" y="2084"/>
                  </a:lnTo>
                  <a:lnTo>
                    <a:pt x="2377" y="2082"/>
                  </a:lnTo>
                  <a:lnTo>
                    <a:pt x="2382" y="2081"/>
                  </a:lnTo>
                  <a:lnTo>
                    <a:pt x="2386" y="2080"/>
                  </a:lnTo>
                  <a:lnTo>
                    <a:pt x="2392" y="2079"/>
                  </a:lnTo>
                  <a:lnTo>
                    <a:pt x="2397" y="2079"/>
                  </a:lnTo>
                  <a:lnTo>
                    <a:pt x="2402" y="2079"/>
                  </a:lnTo>
                  <a:lnTo>
                    <a:pt x="2407" y="2080"/>
                  </a:lnTo>
                  <a:lnTo>
                    <a:pt x="2412" y="2081"/>
                  </a:lnTo>
                  <a:lnTo>
                    <a:pt x="2417" y="2082"/>
                  </a:lnTo>
                  <a:lnTo>
                    <a:pt x="2425" y="2087"/>
                  </a:lnTo>
                  <a:lnTo>
                    <a:pt x="2429" y="2090"/>
                  </a:lnTo>
                  <a:lnTo>
                    <a:pt x="2433" y="2093"/>
                  </a:lnTo>
                  <a:lnTo>
                    <a:pt x="2436" y="2096"/>
                  </a:lnTo>
                  <a:lnTo>
                    <a:pt x="2438" y="2100"/>
                  </a:lnTo>
                  <a:lnTo>
                    <a:pt x="2441" y="2104"/>
                  </a:lnTo>
                  <a:lnTo>
                    <a:pt x="2443" y="2108"/>
                  </a:lnTo>
                  <a:lnTo>
                    <a:pt x="2444" y="2113"/>
                  </a:lnTo>
                  <a:lnTo>
                    <a:pt x="2446" y="2118"/>
                  </a:lnTo>
                  <a:lnTo>
                    <a:pt x="2446" y="2123"/>
                  </a:lnTo>
                  <a:lnTo>
                    <a:pt x="2447" y="2128"/>
                  </a:lnTo>
                  <a:lnTo>
                    <a:pt x="2446" y="2133"/>
                  </a:lnTo>
                  <a:lnTo>
                    <a:pt x="2446" y="2138"/>
                  </a:lnTo>
                  <a:lnTo>
                    <a:pt x="2444" y="2143"/>
                  </a:lnTo>
                  <a:lnTo>
                    <a:pt x="2443" y="2148"/>
                  </a:lnTo>
                  <a:lnTo>
                    <a:pt x="2441" y="2152"/>
                  </a:lnTo>
                  <a:lnTo>
                    <a:pt x="2438" y="2156"/>
                  </a:lnTo>
                  <a:lnTo>
                    <a:pt x="2436" y="2160"/>
                  </a:lnTo>
                  <a:lnTo>
                    <a:pt x="2433" y="2163"/>
                  </a:lnTo>
                  <a:lnTo>
                    <a:pt x="2429" y="2166"/>
                  </a:lnTo>
                  <a:lnTo>
                    <a:pt x="2425" y="2169"/>
                  </a:lnTo>
                  <a:lnTo>
                    <a:pt x="2421" y="2171"/>
                  </a:lnTo>
                  <a:lnTo>
                    <a:pt x="2417" y="2173"/>
                  </a:lnTo>
                  <a:lnTo>
                    <a:pt x="2412" y="2175"/>
                  </a:lnTo>
                  <a:lnTo>
                    <a:pt x="2407" y="2176"/>
                  </a:lnTo>
                  <a:lnTo>
                    <a:pt x="2402" y="2177"/>
                  </a:lnTo>
                  <a:lnTo>
                    <a:pt x="2397" y="2177"/>
                  </a:lnTo>
                  <a:close/>
                  <a:moveTo>
                    <a:pt x="2303" y="2480"/>
                  </a:moveTo>
                  <a:lnTo>
                    <a:pt x="2357" y="2480"/>
                  </a:lnTo>
                  <a:lnTo>
                    <a:pt x="2331" y="2354"/>
                  </a:lnTo>
                  <a:lnTo>
                    <a:pt x="2303" y="2480"/>
                  </a:lnTo>
                  <a:close/>
                  <a:moveTo>
                    <a:pt x="2372" y="2558"/>
                  </a:moveTo>
                  <a:lnTo>
                    <a:pt x="2289" y="2558"/>
                  </a:lnTo>
                  <a:lnTo>
                    <a:pt x="2277" y="2615"/>
                  </a:lnTo>
                  <a:lnTo>
                    <a:pt x="2276" y="2618"/>
                  </a:lnTo>
                  <a:lnTo>
                    <a:pt x="2275" y="2620"/>
                  </a:lnTo>
                  <a:lnTo>
                    <a:pt x="2273" y="2623"/>
                  </a:lnTo>
                  <a:lnTo>
                    <a:pt x="2271" y="2624"/>
                  </a:lnTo>
                  <a:lnTo>
                    <a:pt x="2269" y="2625"/>
                  </a:lnTo>
                  <a:lnTo>
                    <a:pt x="2267" y="2625"/>
                  </a:lnTo>
                  <a:lnTo>
                    <a:pt x="2265" y="2625"/>
                  </a:lnTo>
                  <a:lnTo>
                    <a:pt x="2192" y="2625"/>
                  </a:lnTo>
                  <a:lnTo>
                    <a:pt x="2190" y="2625"/>
                  </a:lnTo>
                  <a:lnTo>
                    <a:pt x="2188" y="2624"/>
                  </a:lnTo>
                  <a:lnTo>
                    <a:pt x="2187" y="2623"/>
                  </a:lnTo>
                  <a:lnTo>
                    <a:pt x="2185" y="2622"/>
                  </a:lnTo>
                  <a:lnTo>
                    <a:pt x="2184" y="2620"/>
                  </a:lnTo>
                  <a:lnTo>
                    <a:pt x="2184" y="2618"/>
                  </a:lnTo>
                  <a:lnTo>
                    <a:pt x="2185" y="2612"/>
                  </a:lnTo>
                  <a:lnTo>
                    <a:pt x="2277" y="2217"/>
                  </a:lnTo>
                  <a:lnTo>
                    <a:pt x="2278" y="2214"/>
                  </a:lnTo>
                  <a:lnTo>
                    <a:pt x="2279" y="2212"/>
                  </a:lnTo>
                  <a:lnTo>
                    <a:pt x="2281" y="2209"/>
                  </a:lnTo>
                  <a:lnTo>
                    <a:pt x="2283" y="2208"/>
                  </a:lnTo>
                  <a:lnTo>
                    <a:pt x="2285" y="2207"/>
                  </a:lnTo>
                  <a:lnTo>
                    <a:pt x="2290" y="2207"/>
                  </a:lnTo>
                  <a:lnTo>
                    <a:pt x="2372" y="2207"/>
                  </a:lnTo>
                  <a:lnTo>
                    <a:pt x="2375" y="2207"/>
                  </a:lnTo>
                  <a:lnTo>
                    <a:pt x="2377" y="2207"/>
                  </a:lnTo>
                  <a:lnTo>
                    <a:pt x="2381" y="2209"/>
                  </a:lnTo>
                  <a:lnTo>
                    <a:pt x="2384" y="2212"/>
                  </a:lnTo>
                  <a:lnTo>
                    <a:pt x="2384" y="2214"/>
                  </a:lnTo>
                  <a:lnTo>
                    <a:pt x="2385" y="2217"/>
                  </a:lnTo>
                  <a:lnTo>
                    <a:pt x="2477" y="2612"/>
                  </a:lnTo>
                  <a:lnTo>
                    <a:pt x="2478" y="2618"/>
                  </a:lnTo>
                  <a:lnTo>
                    <a:pt x="2478" y="2620"/>
                  </a:lnTo>
                  <a:lnTo>
                    <a:pt x="2477" y="2622"/>
                  </a:lnTo>
                  <a:lnTo>
                    <a:pt x="2476" y="2623"/>
                  </a:lnTo>
                  <a:lnTo>
                    <a:pt x="2474" y="2624"/>
                  </a:lnTo>
                  <a:lnTo>
                    <a:pt x="2470" y="2625"/>
                  </a:lnTo>
                  <a:lnTo>
                    <a:pt x="2395" y="2625"/>
                  </a:lnTo>
                  <a:lnTo>
                    <a:pt x="2391" y="2625"/>
                  </a:lnTo>
                  <a:lnTo>
                    <a:pt x="2388" y="2623"/>
                  </a:lnTo>
                  <a:lnTo>
                    <a:pt x="2386" y="2621"/>
                  </a:lnTo>
                  <a:lnTo>
                    <a:pt x="2385" y="2620"/>
                  </a:lnTo>
                  <a:lnTo>
                    <a:pt x="2384" y="2618"/>
                  </a:lnTo>
                  <a:lnTo>
                    <a:pt x="2383" y="2615"/>
                  </a:lnTo>
                  <a:lnTo>
                    <a:pt x="2372" y="2558"/>
                  </a:lnTo>
                  <a:close/>
                  <a:moveTo>
                    <a:pt x="2264" y="2177"/>
                  </a:moveTo>
                  <a:lnTo>
                    <a:pt x="2259" y="2177"/>
                  </a:lnTo>
                  <a:lnTo>
                    <a:pt x="2254" y="2176"/>
                  </a:lnTo>
                  <a:lnTo>
                    <a:pt x="2249" y="2175"/>
                  </a:lnTo>
                  <a:lnTo>
                    <a:pt x="2244" y="2173"/>
                  </a:lnTo>
                  <a:lnTo>
                    <a:pt x="2236" y="2169"/>
                  </a:lnTo>
                  <a:lnTo>
                    <a:pt x="2232" y="2166"/>
                  </a:lnTo>
                  <a:lnTo>
                    <a:pt x="2228" y="2163"/>
                  </a:lnTo>
                  <a:lnTo>
                    <a:pt x="2225" y="2160"/>
                  </a:lnTo>
                  <a:lnTo>
                    <a:pt x="2222" y="2156"/>
                  </a:lnTo>
                  <a:lnTo>
                    <a:pt x="2220" y="2152"/>
                  </a:lnTo>
                  <a:lnTo>
                    <a:pt x="2218" y="2148"/>
                  </a:lnTo>
                  <a:lnTo>
                    <a:pt x="2216" y="2143"/>
                  </a:lnTo>
                  <a:lnTo>
                    <a:pt x="2215" y="2138"/>
                  </a:lnTo>
                  <a:lnTo>
                    <a:pt x="2215" y="2133"/>
                  </a:lnTo>
                  <a:lnTo>
                    <a:pt x="2214" y="2128"/>
                  </a:lnTo>
                  <a:lnTo>
                    <a:pt x="2215" y="2123"/>
                  </a:lnTo>
                  <a:lnTo>
                    <a:pt x="2215" y="2118"/>
                  </a:lnTo>
                  <a:lnTo>
                    <a:pt x="2216" y="2113"/>
                  </a:lnTo>
                  <a:lnTo>
                    <a:pt x="2218" y="2108"/>
                  </a:lnTo>
                  <a:lnTo>
                    <a:pt x="2220" y="2104"/>
                  </a:lnTo>
                  <a:lnTo>
                    <a:pt x="2222" y="2100"/>
                  </a:lnTo>
                  <a:lnTo>
                    <a:pt x="2225" y="2096"/>
                  </a:lnTo>
                  <a:lnTo>
                    <a:pt x="2228" y="2093"/>
                  </a:lnTo>
                  <a:lnTo>
                    <a:pt x="2232" y="2090"/>
                  </a:lnTo>
                  <a:lnTo>
                    <a:pt x="2236" y="2087"/>
                  </a:lnTo>
                  <a:lnTo>
                    <a:pt x="2240" y="2084"/>
                  </a:lnTo>
                  <a:lnTo>
                    <a:pt x="2244" y="2082"/>
                  </a:lnTo>
                  <a:lnTo>
                    <a:pt x="2249" y="2081"/>
                  </a:lnTo>
                  <a:lnTo>
                    <a:pt x="2254" y="2080"/>
                  </a:lnTo>
                  <a:lnTo>
                    <a:pt x="2259" y="2079"/>
                  </a:lnTo>
                  <a:lnTo>
                    <a:pt x="2264" y="2079"/>
                  </a:lnTo>
                  <a:lnTo>
                    <a:pt x="2269" y="2079"/>
                  </a:lnTo>
                  <a:lnTo>
                    <a:pt x="2274" y="2080"/>
                  </a:lnTo>
                  <a:lnTo>
                    <a:pt x="2279" y="2081"/>
                  </a:lnTo>
                  <a:lnTo>
                    <a:pt x="2284" y="2082"/>
                  </a:lnTo>
                  <a:lnTo>
                    <a:pt x="2292" y="2087"/>
                  </a:lnTo>
                  <a:lnTo>
                    <a:pt x="2296" y="2090"/>
                  </a:lnTo>
                  <a:lnTo>
                    <a:pt x="2300" y="2093"/>
                  </a:lnTo>
                  <a:lnTo>
                    <a:pt x="2303" y="2096"/>
                  </a:lnTo>
                  <a:lnTo>
                    <a:pt x="2306" y="2100"/>
                  </a:lnTo>
                  <a:lnTo>
                    <a:pt x="2308" y="2104"/>
                  </a:lnTo>
                  <a:lnTo>
                    <a:pt x="2310" y="2108"/>
                  </a:lnTo>
                  <a:lnTo>
                    <a:pt x="2313" y="2113"/>
                  </a:lnTo>
                  <a:lnTo>
                    <a:pt x="2314" y="2118"/>
                  </a:lnTo>
                  <a:lnTo>
                    <a:pt x="2314" y="2123"/>
                  </a:lnTo>
                  <a:lnTo>
                    <a:pt x="2315" y="2128"/>
                  </a:lnTo>
                  <a:lnTo>
                    <a:pt x="2314" y="2133"/>
                  </a:lnTo>
                  <a:lnTo>
                    <a:pt x="2314" y="2138"/>
                  </a:lnTo>
                  <a:lnTo>
                    <a:pt x="2313" y="2143"/>
                  </a:lnTo>
                  <a:lnTo>
                    <a:pt x="2310" y="2148"/>
                  </a:lnTo>
                  <a:lnTo>
                    <a:pt x="2308" y="2152"/>
                  </a:lnTo>
                  <a:lnTo>
                    <a:pt x="2306" y="2156"/>
                  </a:lnTo>
                  <a:lnTo>
                    <a:pt x="2303" y="2160"/>
                  </a:lnTo>
                  <a:lnTo>
                    <a:pt x="2300" y="2163"/>
                  </a:lnTo>
                  <a:lnTo>
                    <a:pt x="2296" y="2166"/>
                  </a:lnTo>
                  <a:lnTo>
                    <a:pt x="2292" y="2169"/>
                  </a:lnTo>
                  <a:lnTo>
                    <a:pt x="2288" y="2171"/>
                  </a:lnTo>
                  <a:lnTo>
                    <a:pt x="2284" y="2173"/>
                  </a:lnTo>
                  <a:lnTo>
                    <a:pt x="2279" y="2175"/>
                  </a:lnTo>
                  <a:lnTo>
                    <a:pt x="2274" y="2176"/>
                  </a:lnTo>
                  <a:lnTo>
                    <a:pt x="2269" y="2177"/>
                  </a:lnTo>
                  <a:lnTo>
                    <a:pt x="2264" y="2177"/>
                  </a:lnTo>
                  <a:close/>
                  <a:moveTo>
                    <a:pt x="1209" y="341"/>
                  </a:moveTo>
                  <a:lnTo>
                    <a:pt x="1221" y="341"/>
                  </a:lnTo>
                  <a:lnTo>
                    <a:pt x="1233" y="339"/>
                  </a:lnTo>
                  <a:lnTo>
                    <a:pt x="1244" y="336"/>
                  </a:lnTo>
                  <a:lnTo>
                    <a:pt x="1250" y="334"/>
                  </a:lnTo>
                  <a:lnTo>
                    <a:pt x="1255" y="332"/>
                  </a:lnTo>
                  <a:lnTo>
                    <a:pt x="1265" y="327"/>
                  </a:lnTo>
                  <a:lnTo>
                    <a:pt x="1275" y="322"/>
                  </a:lnTo>
                  <a:lnTo>
                    <a:pt x="1284" y="315"/>
                  </a:lnTo>
                  <a:lnTo>
                    <a:pt x="1292" y="307"/>
                  </a:lnTo>
                  <a:lnTo>
                    <a:pt x="1299" y="299"/>
                  </a:lnTo>
                  <a:lnTo>
                    <a:pt x="1306" y="289"/>
                  </a:lnTo>
                  <a:lnTo>
                    <a:pt x="1311" y="279"/>
                  </a:lnTo>
                  <a:lnTo>
                    <a:pt x="1316" y="268"/>
                  </a:lnTo>
                  <a:lnTo>
                    <a:pt x="1318" y="262"/>
                  </a:lnTo>
                  <a:lnTo>
                    <a:pt x="1320" y="256"/>
                  </a:lnTo>
                  <a:lnTo>
                    <a:pt x="1323" y="243"/>
                  </a:lnTo>
                  <a:lnTo>
                    <a:pt x="1324" y="230"/>
                  </a:lnTo>
                  <a:lnTo>
                    <a:pt x="1325" y="223"/>
                  </a:lnTo>
                  <a:lnTo>
                    <a:pt x="1325" y="216"/>
                  </a:lnTo>
                  <a:lnTo>
                    <a:pt x="1324" y="202"/>
                  </a:lnTo>
                  <a:lnTo>
                    <a:pt x="1323" y="189"/>
                  </a:lnTo>
                  <a:lnTo>
                    <a:pt x="1320" y="177"/>
                  </a:lnTo>
                  <a:lnTo>
                    <a:pt x="1318" y="171"/>
                  </a:lnTo>
                  <a:lnTo>
                    <a:pt x="1316" y="165"/>
                  </a:lnTo>
                  <a:lnTo>
                    <a:pt x="1311" y="154"/>
                  </a:lnTo>
                  <a:lnTo>
                    <a:pt x="1306" y="144"/>
                  </a:lnTo>
                  <a:lnTo>
                    <a:pt x="1299" y="134"/>
                  </a:lnTo>
                  <a:lnTo>
                    <a:pt x="1296" y="130"/>
                  </a:lnTo>
                  <a:lnTo>
                    <a:pt x="1292" y="126"/>
                  </a:lnTo>
                  <a:lnTo>
                    <a:pt x="1288" y="122"/>
                  </a:lnTo>
                  <a:lnTo>
                    <a:pt x="1284" y="118"/>
                  </a:lnTo>
                  <a:lnTo>
                    <a:pt x="1279" y="114"/>
                  </a:lnTo>
                  <a:lnTo>
                    <a:pt x="1275" y="111"/>
                  </a:lnTo>
                  <a:lnTo>
                    <a:pt x="1265" y="105"/>
                  </a:lnTo>
                  <a:lnTo>
                    <a:pt x="1260" y="103"/>
                  </a:lnTo>
                  <a:lnTo>
                    <a:pt x="1255" y="100"/>
                  </a:lnTo>
                  <a:lnTo>
                    <a:pt x="1250" y="98"/>
                  </a:lnTo>
                  <a:lnTo>
                    <a:pt x="1244" y="97"/>
                  </a:lnTo>
                  <a:lnTo>
                    <a:pt x="1233" y="94"/>
                  </a:lnTo>
                  <a:lnTo>
                    <a:pt x="1221" y="92"/>
                  </a:lnTo>
                  <a:lnTo>
                    <a:pt x="1215" y="92"/>
                  </a:lnTo>
                  <a:lnTo>
                    <a:pt x="1209" y="92"/>
                  </a:lnTo>
                  <a:lnTo>
                    <a:pt x="1197" y="92"/>
                  </a:lnTo>
                  <a:lnTo>
                    <a:pt x="1185" y="94"/>
                  </a:lnTo>
                  <a:lnTo>
                    <a:pt x="1174" y="97"/>
                  </a:lnTo>
                  <a:lnTo>
                    <a:pt x="1169" y="98"/>
                  </a:lnTo>
                  <a:lnTo>
                    <a:pt x="1163" y="100"/>
                  </a:lnTo>
                  <a:lnTo>
                    <a:pt x="1153" y="105"/>
                  </a:lnTo>
                  <a:lnTo>
                    <a:pt x="1144" y="111"/>
                  </a:lnTo>
                  <a:lnTo>
                    <a:pt x="1135" y="118"/>
                  </a:lnTo>
                  <a:lnTo>
                    <a:pt x="1127" y="126"/>
                  </a:lnTo>
                  <a:lnTo>
                    <a:pt x="1119" y="134"/>
                  </a:lnTo>
                  <a:lnTo>
                    <a:pt x="1113" y="144"/>
                  </a:lnTo>
                  <a:lnTo>
                    <a:pt x="1107" y="154"/>
                  </a:lnTo>
                  <a:lnTo>
                    <a:pt x="1102" y="165"/>
                  </a:lnTo>
                  <a:lnTo>
                    <a:pt x="1100" y="171"/>
                  </a:lnTo>
                  <a:lnTo>
                    <a:pt x="1098" y="177"/>
                  </a:lnTo>
                  <a:lnTo>
                    <a:pt x="1096" y="189"/>
                  </a:lnTo>
                  <a:lnTo>
                    <a:pt x="1094" y="202"/>
                  </a:lnTo>
                  <a:lnTo>
                    <a:pt x="1093" y="209"/>
                  </a:lnTo>
                  <a:lnTo>
                    <a:pt x="1093" y="216"/>
                  </a:lnTo>
                  <a:lnTo>
                    <a:pt x="1094" y="230"/>
                  </a:lnTo>
                  <a:lnTo>
                    <a:pt x="1096" y="243"/>
                  </a:lnTo>
                  <a:lnTo>
                    <a:pt x="1098" y="256"/>
                  </a:lnTo>
                  <a:lnTo>
                    <a:pt x="1100" y="262"/>
                  </a:lnTo>
                  <a:lnTo>
                    <a:pt x="1102" y="268"/>
                  </a:lnTo>
                  <a:lnTo>
                    <a:pt x="1107" y="279"/>
                  </a:lnTo>
                  <a:lnTo>
                    <a:pt x="1113" y="289"/>
                  </a:lnTo>
                  <a:lnTo>
                    <a:pt x="1119" y="299"/>
                  </a:lnTo>
                  <a:lnTo>
                    <a:pt x="1123" y="303"/>
                  </a:lnTo>
                  <a:lnTo>
                    <a:pt x="1127" y="307"/>
                  </a:lnTo>
                  <a:lnTo>
                    <a:pt x="1131" y="311"/>
                  </a:lnTo>
                  <a:lnTo>
                    <a:pt x="1135" y="315"/>
                  </a:lnTo>
                  <a:lnTo>
                    <a:pt x="1139" y="318"/>
                  </a:lnTo>
                  <a:lnTo>
                    <a:pt x="1144" y="322"/>
                  </a:lnTo>
                  <a:lnTo>
                    <a:pt x="1153" y="327"/>
                  </a:lnTo>
                  <a:lnTo>
                    <a:pt x="1158" y="330"/>
                  </a:lnTo>
                  <a:lnTo>
                    <a:pt x="1163" y="332"/>
                  </a:lnTo>
                  <a:lnTo>
                    <a:pt x="1169" y="334"/>
                  </a:lnTo>
                  <a:lnTo>
                    <a:pt x="1174" y="336"/>
                  </a:lnTo>
                  <a:lnTo>
                    <a:pt x="1185" y="339"/>
                  </a:lnTo>
                  <a:lnTo>
                    <a:pt x="1197" y="341"/>
                  </a:lnTo>
                  <a:lnTo>
                    <a:pt x="1203" y="341"/>
                  </a:lnTo>
                  <a:lnTo>
                    <a:pt x="1209" y="341"/>
                  </a:lnTo>
                  <a:close/>
                  <a:moveTo>
                    <a:pt x="1209" y="0"/>
                  </a:moveTo>
                  <a:lnTo>
                    <a:pt x="1221" y="0"/>
                  </a:lnTo>
                  <a:lnTo>
                    <a:pt x="1233" y="1"/>
                  </a:lnTo>
                  <a:lnTo>
                    <a:pt x="1244" y="2"/>
                  </a:lnTo>
                  <a:lnTo>
                    <a:pt x="1256" y="4"/>
                  </a:lnTo>
                  <a:lnTo>
                    <a:pt x="1267" y="6"/>
                  </a:lnTo>
                  <a:lnTo>
                    <a:pt x="1277" y="9"/>
                  </a:lnTo>
                  <a:lnTo>
                    <a:pt x="1288" y="12"/>
                  </a:lnTo>
                  <a:lnTo>
                    <a:pt x="1298" y="16"/>
                  </a:lnTo>
                  <a:lnTo>
                    <a:pt x="1308" y="20"/>
                  </a:lnTo>
                  <a:lnTo>
                    <a:pt x="1318" y="25"/>
                  </a:lnTo>
                  <a:lnTo>
                    <a:pt x="1327" y="30"/>
                  </a:lnTo>
                  <a:lnTo>
                    <a:pt x="1336" y="35"/>
                  </a:lnTo>
                  <a:lnTo>
                    <a:pt x="1345" y="41"/>
                  </a:lnTo>
                  <a:lnTo>
                    <a:pt x="1349" y="44"/>
                  </a:lnTo>
                  <a:lnTo>
                    <a:pt x="1353" y="47"/>
                  </a:lnTo>
                  <a:lnTo>
                    <a:pt x="1357" y="51"/>
                  </a:lnTo>
                  <a:lnTo>
                    <a:pt x="1361" y="54"/>
                  </a:lnTo>
                  <a:lnTo>
                    <a:pt x="1369" y="61"/>
                  </a:lnTo>
                  <a:lnTo>
                    <a:pt x="1373" y="65"/>
                  </a:lnTo>
                  <a:lnTo>
                    <a:pt x="1376" y="69"/>
                  </a:lnTo>
                  <a:lnTo>
                    <a:pt x="1383" y="76"/>
                  </a:lnTo>
                  <a:lnTo>
                    <a:pt x="1390" y="84"/>
                  </a:lnTo>
                  <a:lnTo>
                    <a:pt x="1393" y="89"/>
                  </a:lnTo>
                  <a:lnTo>
                    <a:pt x="1396" y="93"/>
                  </a:lnTo>
                  <a:lnTo>
                    <a:pt x="1401" y="102"/>
                  </a:lnTo>
                  <a:lnTo>
                    <a:pt x="1407" y="111"/>
                  </a:lnTo>
                  <a:lnTo>
                    <a:pt x="1411" y="120"/>
                  </a:lnTo>
                  <a:lnTo>
                    <a:pt x="1416" y="130"/>
                  </a:lnTo>
                  <a:lnTo>
                    <a:pt x="1418" y="135"/>
                  </a:lnTo>
                  <a:lnTo>
                    <a:pt x="1420" y="140"/>
                  </a:lnTo>
                  <a:lnTo>
                    <a:pt x="1423" y="150"/>
                  </a:lnTo>
                  <a:lnTo>
                    <a:pt x="1426" y="160"/>
                  </a:lnTo>
                  <a:lnTo>
                    <a:pt x="1428" y="171"/>
                  </a:lnTo>
                  <a:lnTo>
                    <a:pt x="1430" y="182"/>
                  </a:lnTo>
                  <a:lnTo>
                    <a:pt x="1432" y="193"/>
                  </a:lnTo>
                  <a:lnTo>
                    <a:pt x="1432" y="199"/>
                  </a:lnTo>
                  <a:lnTo>
                    <a:pt x="1432" y="205"/>
                  </a:lnTo>
                  <a:lnTo>
                    <a:pt x="1433" y="216"/>
                  </a:lnTo>
                  <a:lnTo>
                    <a:pt x="1432" y="228"/>
                  </a:lnTo>
                  <a:lnTo>
                    <a:pt x="1432" y="239"/>
                  </a:lnTo>
                  <a:lnTo>
                    <a:pt x="1430" y="251"/>
                  </a:lnTo>
                  <a:lnTo>
                    <a:pt x="1428" y="262"/>
                  </a:lnTo>
                  <a:lnTo>
                    <a:pt x="1426" y="272"/>
                  </a:lnTo>
                  <a:lnTo>
                    <a:pt x="1423" y="283"/>
                  </a:lnTo>
                  <a:lnTo>
                    <a:pt x="1420" y="293"/>
                  </a:lnTo>
                  <a:lnTo>
                    <a:pt x="1416" y="303"/>
                  </a:lnTo>
                  <a:lnTo>
                    <a:pt x="1411" y="313"/>
                  </a:lnTo>
                  <a:lnTo>
                    <a:pt x="1407" y="322"/>
                  </a:lnTo>
                  <a:lnTo>
                    <a:pt x="1401" y="331"/>
                  </a:lnTo>
                  <a:lnTo>
                    <a:pt x="1396" y="340"/>
                  </a:lnTo>
                  <a:lnTo>
                    <a:pt x="1390" y="348"/>
                  </a:lnTo>
                  <a:lnTo>
                    <a:pt x="1383" y="356"/>
                  </a:lnTo>
                  <a:lnTo>
                    <a:pt x="1376" y="364"/>
                  </a:lnTo>
                  <a:lnTo>
                    <a:pt x="1369" y="372"/>
                  </a:lnTo>
                  <a:lnTo>
                    <a:pt x="1361" y="379"/>
                  </a:lnTo>
                  <a:lnTo>
                    <a:pt x="1353" y="385"/>
                  </a:lnTo>
                  <a:lnTo>
                    <a:pt x="1345" y="391"/>
                  </a:lnTo>
                  <a:lnTo>
                    <a:pt x="1336" y="397"/>
                  </a:lnTo>
                  <a:lnTo>
                    <a:pt x="1327" y="403"/>
                  </a:lnTo>
                  <a:lnTo>
                    <a:pt x="1318" y="408"/>
                  </a:lnTo>
                  <a:lnTo>
                    <a:pt x="1308" y="412"/>
                  </a:lnTo>
                  <a:lnTo>
                    <a:pt x="1298" y="417"/>
                  </a:lnTo>
                  <a:lnTo>
                    <a:pt x="1288" y="420"/>
                  </a:lnTo>
                  <a:lnTo>
                    <a:pt x="1277" y="424"/>
                  </a:lnTo>
                  <a:lnTo>
                    <a:pt x="1267" y="426"/>
                  </a:lnTo>
                  <a:lnTo>
                    <a:pt x="1256" y="429"/>
                  </a:lnTo>
                  <a:lnTo>
                    <a:pt x="1244" y="430"/>
                  </a:lnTo>
                  <a:lnTo>
                    <a:pt x="1233" y="432"/>
                  </a:lnTo>
                  <a:lnTo>
                    <a:pt x="1221" y="433"/>
                  </a:lnTo>
                  <a:lnTo>
                    <a:pt x="1209" y="433"/>
                  </a:lnTo>
                  <a:lnTo>
                    <a:pt x="1197" y="433"/>
                  </a:lnTo>
                  <a:lnTo>
                    <a:pt x="1186" y="432"/>
                  </a:lnTo>
                  <a:lnTo>
                    <a:pt x="1174" y="430"/>
                  </a:lnTo>
                  <a:lnTo>
                    <a:pt x="1163" y="429"/>
                  </a:lnTo>
                  <a:lnTo>
                    <a:pt x="1152" y="426"/>
                  </a:lnTo>
                  <a:lnTo>
                    <a:pt x="1141" y="424"/>
                  </a:lnTo>
                  <a:lnTo>
                    <a:pt x="1130" y="420"/>
                  </a:lnTo>
                  <a:lnTo>
                    <a:pt x="1120" y="417"/>
                  </a:lnTo>
                  <a:lnTo>
                    <a:pt x="1110" y="412"/>
                  </a:lnTo>
                  <a:lnTo>
                    <a:pt x="1100" y="408"/>
                  </a:lnTo>
                  <a:lnTo>
                    <a:pt x="1091" y="403"/>
                  </a:lnTo>
                  <a:lnTo>
                    <a:pt x="1082" y="397"/>
                  </a:lnTo>
                  <a:lnTo>
                    <a:pt x="1073" y="391"/>
                  </a:lnTo>
                  <a:lnTo>
                    <a:pt x="1069" y="388"/>
                  </a:lnTo>
                  <a:lnTo>
                    <a:pt x="1065" y="385"/>
                  </a:lnTo>
                  <a:lnTo>
                    <a:pt x="1061" y="382"/>
                  </a:lnTo>
                  <a:lnTo>
                    <a:pt x="1057" y="379"/>
                  </a:lnTo>
                  <a:lnTo>
                    <a:pt x="1049" y="372"/>
                  </a:lnTo>
                  <a:lnTo>
                    <a:pt x="1046" y="368"/>
                  </a:lnTo>
                  <a:lnTo>
                    <a:pt x="1042" y="364"/>
                  </a:lnTo>
                  <a:lnTo>
                    <a:pt x="1035" y="356"/>
                  </a:lnTo>
                  <a:lnTo>
                    <a:pt x="1029" y="348"/>
                  </a:lnTo>
                  <a:lnTo>
                    <a:pt x="1026" y="344"/>
                  </a:lnTo>
                  <a:lnTo>
                    <a:pt x="1023" y="340"/>
                  </a:lnTo>
                  <a:lnTo>
                    <a:pt x="1017" y="331"/>
                  </a:lnTo>
                  <a:lnTo>
                    <a:pt x="1012" y="322"/>
                  </a:lnTo>
                  <a:lnTo>
                    <a:pt x="1007" y="313"/>
                  </a:lnTo>
                  <a:lnTo>
                    <a:pt x="1003" y="303"/>
                  </a:lnTo>
                  <a:lnTo>
                    <a:pt x="1001" y="298"/>
                  </a:lnTo>
                  <a:lnTo>
                    <a:pt x="999" y="293"/>
                  </a:lnTo>
                  <a:lnTo>
                    <a:pt x="995" y="283"/>
                  </a:lnTo>
                  <a:lnTo>
                    <a:pt x="992" y="272"/>
                  </a:lnTo>
                  <a:lnTo>
                    <a:pt x="990" y="262"/>
                  </a:lnTo>
                  <a:lnTo>
                    <a:pt x="988" y="251"/>
                  </a:lnTo>
                  <a:lnTo>
                    <a:pt x="987" y="239"/>
                  </a:lnTo>
                  <a:lnTo>
                    <a:pt x="986" y="234"/>
                  </a:lnTo>
                  <a:lnTo>
                    <a:pt x="986" y="228"/>
                  </a:lnTo>
                  <a:lnTo>
                    <a:pt x="986" y="216"/>
                  </a:lnTo>
                  <a:lnTo>
                    <a:pt x="986" y="205"/>
                  </a:lnTo>
                  <a:lnTo>
                    <a:pt x="987" y="193"/>
                  </a:lnTo>
                  <a:lnTo>
                    <a:pt x="988" y="182"/>
                  </a:lnTo>
                  <a:lnTo>
                    <a:pt x="990" y="171"/>
                  </a:lnTo>
                  <a:lnTo>
                    <a:pt x="992" y="160"/>
                  </a:lnTo>
                  <a:lnTo>
                    <a:pt x="995" y="150"/>
                  </a:lnTo>
                  <a:lnTo>
                    <a:pt x="999" y="140"/>
                  </a:lnTo>
                  <a:lnTo>
                    <a:pt x="1003" y="130"/>
                  </a:lnTo>
                  <a:lnTo>
                    <a:pt x="1007" y="120"/>
                  </a:lnTo>
                  <a:lnTo>
                    <a:pt x="1012" y="111"/>
                  </a:lnTo>
                  <a:lnTo>
                    <a:pt x="1017" y="102"/>
                  </a:lnTo>
                  <a:lnTo>
                    <a:pt x="1023" y="93"/>
                  </a:lnTo>
                  <a:lnTo>
                    <a:pt x="1029" y="84"/>
                  </a:lnTo>
                  <a:lnTo>
                    <a:pt x="1035" y="76"/>
                  </a:lnTo>
                  <a:lnTo>
                    <a:pt x="1042" y="69"/>
                  </a:lnTo>
                  <a:lnTo>
                    <a:pt x="1049" y="61"/>
                  </a:lnTo>
                  <a:lnTo>
                    <a:pt x="1057" y="54"/>
                  </a:lnTo>
                  <a:lnTo>
                    <a:pt x="1065" y="47"/>
                  </a:lnTo>
                  <a:lnTo>
                    <a:pt x="1073" y="41"/>
                  </a:lnTo>
                  <a:lnTo>
                    <a:pt x="1082" y="35"/>
                  </a:lnTo>
                  <a:lnTo>
                    <a:pt x="1091" y="30"/>
                  </a:lnTo>
                  <a:lnTo>
                    <a:pt x="1100" y="25"/>
                  </a:lnTo>
                  <a:lnTo>
                    <a:pt x="1110" y="20"/>
                  </a:lnTo>
                  <a:lnTo>
                    <a:pt x="1120" y="16"/>
                  </a:lnTo>
                  <a:lnTo>
                    <a:pt x="1130" y="12"/>
                  </a:lnTo>
                  <a:lnTo>
                    <a:pt x="1141" y="9"/>
                  </a:lnTo>
                  <a:lnTo>
                    <a:pt x="1152" y="6"/>
                  </a:lnTo>
                  <a:lnTo>
                    <a:pt x="1163" y="4"/>
                  </a:lnTo>
                  <a:lnTo>
                    <a:pt x="1174" y="2"/>
                  </a:lnTo>
                  <a:lnTo>
                    <a:pt x="1186" y="1"/>
                  </a:lnTo>
                  <a:lnTo>
                    <a:pt x="1197" y="0"/>
                  </a:lnTo>
                  <a:lnTo>
                    <a:pt x="1209" y="0"/>
                  </a:lnTo>
                  <a:close/>
                  <a:moveTo>
                    <a:pt x="2022" y="7"/>
                  </a:moveTo>
                  <a:lnTo>
                    <a:pt x="2026" y="8"/>
                  </a:lnTo>
                  <a:lnTo>
                    <a:pt x="2028" y="8"/>
                  </a:lnTo>
                  <a:lnTo>
                    <a:pt x="2029" y="10"/>
                  </a:lnTo>
                  <a:lnTo>
                    <a:pt x="2030" y="11"/>
                  </a:lnTo>
                  <a:lnTo>
                    <a:pt x="2031" y="13"/>
                  </a:lnTo>
                  <a:lnTo>
                    <a:pt x="2031" y="16"/>
                  </a:lnTo>
                  <a:lnTo>
                    <a:pt x="2031" y="19"/>
                  </a:lnTo>
                  <a:lnTo>
                    <a:pt x="2017" y="88"/>
                  </a:lnTo>
                  <a:lnTo>
                    <a:pt x="2015" y="93"/>
                  </a:lnTo>
                  <a:lnTo>
                    <a:pt x="2013" y="96"/>
                  </a:lnTo>
                  <a:lnTo>
                    <a:pt x="2012" y="97"/>
                  </a:lnTo>
                  <a:lnTo>
                    <a:pt x="2010" y="98"/>
                  </a:lnTo>
                  <a:lnTo>
                    <a:pt x="2008" y="99"/>
                  </a:lnTo>
                  <a:lnTo>
                    <a:pt x="2005" y="99"/>
                  </a:lnTo>
                  <a:lnTo>
                    <a:pt x="1950" y="99"/>
                  </a:lnTo>
                  <a:lnTo>
                    <a:pt x="1950" y="416"/>
                  </a:lnTo>
                  <a:lnTo>
                    <a:pt x="1949" y="418"/>
                  </a:lnTo>
                  <a:lnTo>
                    <a:pt x="1949" y="420"/>
                  </a:lnTo>
                  <a:lnTo>
                    <a:pt x="1947" y="423"/>
                  </a:lnTo>
                  <a:lnTo>
                    <a:pt x="1945" y="424"/>
                  </a:lnTo>
                  <a:lnTo>
                    <a:pt x="1944" y="425"/>
                  </a:lnTo>
                  <a:lnTo>
                    <a:pt x="1940" y="426"/>
                  </a:lnTo>
                  <a:lnTo>
                    <a:pt x="1861" y="426"/>
                  </a:lnTo>
                  <a:lnTo>
                    <a:pt x="1858" y="425"/>
                  </a:lnTo>
                  <a:lnTo>
                    <a:pt x="1855" y="423"/>
                  </a:lnTo>
                  <a:lnTo>
                    <a:pt x="1854" y="421"/>
                  </a:lnTo>
                  <a:lnTo>
                    <a:pt x="1853" y="420"/>
                  </a:lnTo>
                  <a:lnTo>
                    <a:pt x="1853" y="418"/>
                  </a:lnTo>
                  <a:lnTo>
                    <a:pt x="1853" y="416"/>
                  </a:lnTo>
                  <a:lnTo>
                    <a:pt x="1853" y="99"/>
                  </a:lnTo>
                  <a:lnTo>
                    <a:pt x="1796" y="99"/>
                  </a:lnTo>
                  <a:lnTo>
                    <a:pt x="1792" y="98"/>
                  </a:lnTo>
                  <a:lnTo>
                    <a:pt x="1789" y="96"/>
                  </a:lnTo>
                  <a:lnTo>
                    <a:pt x="1787" y="93"/>
                  </a:lnTo>
                  <a:lnTo>
                    <a:pt x="1786" y="91"/>
                  </a:lnTo>
                  <a:lnTo>
                    <a:pt x="1786" y="89"/>
                  </a:lnTo>
                  <a:lnTo>
                    <a:pt x="1786" y="17"/>
                  </a:lnTo>
                  <a:lnTo>
                    <a:pt x="1786" y="15"/>
                  </a:lnTo>
                  <a:lnTo>
                    <a:pt x="1787" y="13"/>
                  </a:lnTo>
                  <a:lnTo>
                    <a:pt x="1789" y="10"/>
                  </a:lnTo>
                  <a:lnTo>
                    <a:pt x="1790" y="9"/>
                  </a:lnTo>
                  <a:lnTo>
                    <a:pt x="1792" y="8"/>
                  </a:lnTo>
                  <a:lnTo>
                    <a:pt x="1796" y="7"/>
                  </a:lnTo>
                  <a:lnTo>
                    <a:pt x="2022" y="7"/>
                  </a:lnTo>
                  <a:close/>
                  <a:moveTo>
                    <a:pt x="1716" y="7"/>
                  </a:moveTo>
                  <a:lnTo>
                    <a:pt x="1720" y="8"/>
                  </a:lnTo>
                  <a:lnTo>
                    <a:pt x="1722" y="8"/>
                  </a:lnTo>
                  <a:lnTo>
                    <a:pt x="1723" y="10"/>
                  </a:lnTo>
                  <a:lnTo>
                    <a:pt x="1724" y="11"/>
                  </a:lnTo>
                  <a:lnTo>
                    <a:pt x="1725" y="13"/>
                  </a:lnTo>
                  <a:lnTo>
                    <a:pt x="1725" y="16"/>
                  </a:lnTo>
                  <a:lnTo>
                    <a:pt x="1725" y="19"/>
                  </a:lnTo>
                  <a:lnTo>
                    <a:pt x="1711" y="88"/>
                  </a:lnTo>
                  <a:lnTo>
                    <a:pt x="1710" y="93"/>
                  </a:lnTo>
                  <a:lnTo>
                    <a:pt x="1707" y="96"/>
                  </a:lnTo>
                  <a:lnTo>
                    <a:pt x="1706" y="97"/>
                  </a:lnTo>
                  <a:lnTo>
                    <a:pt x="1704" y="98"/>
                  </a:lnTo>
                  <a:lnTo>
                    <a:pt x="1702" y="99"/>
                  </a:lnTo>
                  <a:lnTo>
                    <a:pt x="1699" y="99"/>
                  </a:lnTo>
                  <a:lnTo>
                    <a:pt x="1653" y="99"/>
                  </a:lnTo>
                  <a:lnTo>
                    <a:pt x="1653" y="416"/>
                  </a:lnTo>
                  <a:lnTo>
                    <a:pt x="1653" y="418"/>
                  </a:lnTo>
                  <a:lnTo>
                    <a:pt x="1652" y="420"/>
                  </a:lnTo>
                  <a:lnTo>
                    <a:pt x="1650" y="423"/>
                  </a:lnTo>
                  <a:lnTo>
                    <a:pt x="1649" y="424"/>
                  </a:lnTo>
                  <a:lnTo>
                    <a:pt x="1647" y="425"/>
                  </a:lnTo>
                  <a:lnTo>
                    <a:pt x="1644" y="426"/>
                  </a:lnTo>
                  <a:lnTo>
                    <a:pt x="1565" y="426"/>
                  </a:lnTo>
                  <a:lnTo>
                    <a:pt x="1561" y="425"/>
                  </a:lnTo>
                  <a:lnTo>
                    <a:pt x="1558" y="423"/>
                  </a:lnTo>
                  <a:lnTo>
                    <a:pt x="1557" y="421"/>
                  </a:lnTo>
                  <a:lnTo>
                    <a:pt x="1557" y="420"/>
                  </a:lnTo>
                  <a:lnTo>
                    <a:pt x="1556" y="418"/>
                  </a:lnTo>
                  <a:lnTo>
                    <a:pt x="1556" y="416"/>
                  </a:lnTo>
                  <a:lnTo>
                    <a:pt x="1556" y="99"/>
                  </a:lnTo>
                  <a:lnTo>
                    <a:pt x="1490" y="99"/>
                  </a:lnTo>
                  <a:lnTo>
                    <a:pt x="1486" y="98"/>
                  </a:lnTo>
                  <a:lnTo>
                    <a:pt x="1483" y="96"/>
                  </a:lnTo>
                  <a:lnTo>
                    <a:pt x="1481" y="93"/>
                  </a:lnTo>
                  <a:lnTo>
                    <a:pt x="1481" y="91"/>
                  </a:lnTo>
                  <a:lnTo>
                    <a:pt x="1480" y="89"/>
                  </a:lnTo>
                  <a:lnTo>
                    <a:pt x="1480" y="17"/>
                  </a:lnTo>
                  <a:lnTo>
                    <a:pt x="1481" y="15"/>
                  </a:lnTo>
                  <a:lnTo>
                    <a:pt x="1481" y="13"/>
                  </a:lnTo>
                  <a:lnTo>
                    <a:pt x="1483" y="10"/>
                  </a:lnTo>
                  <a:lnTo>
                    <a:pt x="1484" y="9"/>
                  </a:lnTo>
                  <a:lnTo>
                    <a:pt x="1486" y="8"/>
                  </a:lnTo>
                  <a:lnTo>
                    <a:pt x="1490" y="7"/>
                  </a:lnTo>
                  <a:lnTo>
                    <a:pt x="1716" y="7"/>
                  </a:lnTo>
                  <a:close/>
                  <a:moveTo>
                    <a:pt x="2168" y="281"/>
                  </a:moveTo>
                  <a:lnTo>
                    <a:pt x="2222" y="281"/>
                  </a:lnTo>
                  <a:lnTo>
                    <a:pt x="2195" y="154"/>
                  </a:lnTo>
                  <a:lnTo>
                    <a:pt x="2168" y="281"/>
                  </a:lnTo>
                  <a:close/>
                  <a:moveTo>
                    <a:pt x="2236" y="359"/>
                  </a:moveTo>
                  <a:lnTo>
                    <a:pt x="2154" y="359"/>
                  </a:lnTo>
                  <a:lnTo>
                    <a:pt x="2142" y="416"/>
                  </a:lnTo>
                  <a:lnTo>
                    <a:pt x="2142" y="418"/>
                  </a:lnTo>
                  <a:lnTo>
                    <a:pt x="2141" y="420"/>
                  </a:lnTo>
                  <a:lnTo>
                    <a:pt x="2138" y="423"/>
                  </a:lnTo>
                  <a:lnTo>
                    <a:pt x="2136" y="424"/>
                  </a:lnTo>
                  <a:lnTo>
                    <a:pt x="2135" y="425"/>
                  </a:lnTo>
                  <a:lnTo>
                    <a:pt x="2133" y="426"/>
                  </a:lnTo>
                  <a:lnTo>
                    <a:pt x="2131" y="426"/>
                  </a:lnTo>
                  <a:lnTo>
                    <a:pt x="2058" y="426"/>
                  </a:lnTo>
                  <a:lnTo>
                    <a:pt x="2056" y="425"/>
                  </a:lnTo>
                  <a:lnTo>
                    <a:pt x="2054" y="425"/>
                  </a:lnTo>
                  <a:lnTo>
                    <a:pt x="2052" y="424"/>
                  </a:lnTo>
                  <a:lnTo>
                    <a:pt x="2051" y="422"/>
                  </a:lnTo>
                  <a:lnTo>
                    <a:pt x="2050" y="421"/>
                  </a:lnTo>
                  <a:lnTo>
                    <a:pt x="2049" y="418"/>
                  </a:lnTo>
                  <a:lnTo>
                    <a:pt x="2050" y="412"/>
                  </a:lnTo>
                  <a:lnTo>
                    <a:pt x="2142" y="17"/>
                  </a:lnTo>
                  <a:lnTo>
                    <a:pt x="2143" y="15"/>
                  </a:lnTo>
                  <a:lnTo>
                    <a:pt x="2144" y="13"/>
                  </a:lnTo>
                  <a:lnTo>
                    <a:pt x="2147" y="10"/>
                  </a:lnTo>
                  <a:lnTo>
                    <a:pt x="2149" y="9"/>
                  </a:lnTo>
                  <a:lnTo>
                    <a:pt x="2151" y="8"/>
                  </a:lnTo>
                  <a:lnTo>
                    <a:pt x="2155" y="7"/>
                  </a:lnTo>
                  <a:lnTo>
                    <a:pt x="2236" y="7"/>
                  </a:lnTo>
                  <a:lnTo>
                    <a:pt x="2239" y="7"/>
                  </a:lnTo>
                  <a:lnTo>
                    <a:pt x="2241" y="8"/>
                  </a:lnTo>
                  <a:lnTo>
                    <a:pt x="2245" y="10"/>
                  </a:lnTo>
                  <a:lnTo>
                    <a:pt x="2248" y="13"/>
                  </a:lnTo>
                  <a:lnTo>
                    <a:pt x="2249" y="15"/>
                  </a:lnTo>
                  <a:lnTo>
                    <a:pt x="2249" y="17"/>
                  </a:lnTo>
                  <a:lnTo>
                    <a:pt x="2343" y="412"/>
                  </a:lnTo>
                  <a:lnTo>
                    <a:pt x="2343" y="418"/>
                  </a:lnTo>
                  <a:lnTo>
                    <a:pt x="2343" y="421"/>
                  </a:lnTo>
                  <a:lnTo>
                    <a:pt x="2342" y="422"/>
                  </a:lnTo>
                  <a:lnTo>
                    <a:pt x="2341" y="424"/>
                  </a:lnTo>
                  <a:lnTo>
                    <a:pt x="2339" y="425"/>
                  </a:lnTo>
                  <a:lnTo>
                    <a:pt x="2335" y="426"/>
                  </a:lnTo>
                  <a:lnTo>
                    <a:pt x="2260" y="426"/>
                  </a:lnTo>
                  <a:lnTo>
                    <a:pt x="2256" y="425"/>
                  </a:lnTo>
                  <a:lnTo>
                    <a:pt x="2252" y="423"/>
                  </a:lnTo>
                  <a:lnTo>
                    <a:pt x="2251" y="422"/>
                  </a:lnTo>
                  <a:lnTo>
                    <a:pt x="2249" y="420"/>
                  </a:lnTo>
                  <a:lnTo>
                    <a:pt x="2248" y="418"/>
                  </a:lnTo>
                  <a:lnTo>
                    <a:pt x="2248" y="416"/>
                  </a:lnTo>
                  <a:lnTo>
                    <a:pt x="2236" y="359"/>
                  </a:lnTo>
                  <a:close/>
                  <a:moveTo>
                    <a:pt x="912" y="4"/>
                  </a:moveTo>
                  <a:lnTo>
                    <a:pt x="915" y="5"/>
                  </a:lnTo>
                  <a:lnTo>
                    <a:pt x="918" y="7"/>
                  </a:lnTo>
                  <a:lnTo>
                    <a:pt x="919" y="9"/>
                  </a:lnTo>
                  <a:lnTo>
                    <a:pt x="920" y="10"/>
                  </a:lnTo>
                  <a:lnTo>
                    <a:pt x="921" y="12"/>
                  </a:lnTo>
                  <a:lnTo>
                    <a:pt x="921" y="14"/>
                  </a:lnTo>
                  <a:lnTo>
                    <a:pt x="921" y="291"/>
                  </a:lnTo>
                  <a:lnTo>
                    <a:pt x="921" y="301"/>
                  </a:lnTo>
                  <a:lnTo>
                    <a:pt x="920" y="310"/>
                  </a:lnTo>
                  <a:lnTo>
                    <a:pt x="919" y="320"/>
                  </a:lnTo>
                  <a:lnTo>
                    <a:pt x="918" y="328"/>
                  </a:lnTo>
                  <a:lnTo>
                    <a:pt x="917" y="336"/>
                  </a:lnTo>
                  <a:lnTo>
                    <a:pt x="915" y="344"/>
                  </a:lnTo>
                  <a:lnTo>
                    <a:pt x="911" y="359"/>
                  </a:lnTo>
                  <a:lnTo>
                    <a:pt x="908" y="365"/>
                  </a:lnTo>
                  <a:lnTo>
                    <a:pt x="906" y="372"/>
                  </a:lnTo>
                  <a:lnTo>
                    <a:pt x="899" y="383"/>
                  </a:lnTo>
                  <a:lnTo>
                    <a:pt x="896" y="388"/>
                  </a:lnTo>
                  <a:lnTo>
                    <a:pt x="893" y="393"/>
                  </a:lnTo>
                  <a:lnTo>
                    <a:pt x="885" y="401"/>
                  </a:lnTo>
                  <a:lnTo>
                    <a:pt x="877" y="408"/>
                  </a:lnTo>
                  <a:lnTo>
                    <a:pt x="872" y="411"/>
                  </a:lnTo>
                  <a:lnTo>
                    <a:pt x="868" y="414"/>
                  </a:lnTo>
                  <a:lnTo>
                    <a:pt x="858" y="419"/>
                  </a:lnTo>
                  <a:lnTo>
                    <a:pt x="849" y="422"/>
                  </a:lnTo>
                  <a:lnTo>
                    <a:pt x="839" y="425"/>
                  </a:lnTo>
                  <a:lnTo>
                    <a:pt x="829" y="427"/>
                  </a:lnTo>
                  <a:lnTo>
                    <a:pt x="819" y="428"/>
                  </a:lnTo>
                  <a:lnTo>
                    <a:pt x="808" y="428"/>
                  </a:lnTo>
                  <a:lnTo>
                    <a:pt x="796" y="428"/>
                  </a:lnTo>
                  <a:lnTo>
                    <a:pt x="784" y="427"/>
                  </a:lnTo>
                  <a:lnTo>
                    <a:pt x="774" y="425"/>
                  </a:lnTo>
                  <a:lnTo>
                    <a:pt x="764" y="423"/>
                  </a:lnTo>
                  <a:lnTo>
                    <a:pt x="759" y="421"/>
                  </a:lnTo>
                  <a:lnTo>
                    <a:pt x="756" y="419"/>
                  </a:lnTo>
                  <a:lnTo>
                    <a:pt x="753" y="415"/>
                  </a:lnTo>
                  <a:lnTo>
                    <a:pt x="752" y="411"/>
                  </a:lnTo>
                  <a:lnTo>
                    <a:pt x="739" y="353"/>
                  </a:lnTo>
                  <a:lnTo>
                    <a:pt x="738" y="350"/>
                  </a:lnTo>
                  <a:lnTo>
                    <a:pt x="739" y="347"/>
                  </a:lnTo>
                  <a:lnTo>
                    <a:pt x="739" y="345"/>
                  </a:lnTo>
                  <a:lnTo>
                    <a:pt x="741" y="344"/>
                  </a:lnTo>
                  <a:lnTo>
                    <a:pt x="742" y="342"/>
                  </a:lnTo>
                  <a:lnTo>
                    <a:pt x="744" y="341"/>
                  </a:lnTo>
                  <a:lnTo>
                    <a:pt x="746" y="341"/>
                  </a:lnTo>
                  <a:lnTo>
                    <a:pt x="749" y="341"/>
                  </a:lnTo>
                  <a:lnTo>
                    <a:pt x="763" y="344"/>
                  </a:lnTo>
                  <a:lnTo>
                    <a:pt x="773" y="346"/>
                  </a:lnTo>
                  <a:lnTo>
                    <a:pt x="785" y="346"/>
                  </a:lnTo>
                  <a:lnTo>
                    <a:pt x="791" y="346"/>
                  </a:lnTo>
                  <a:lnTo>
                    <a:pt x="797" y="345"/>
                  </a:lnTo>
                  <a:lnTo>
                    <a:pt x="803" y="344"/>
                  </a:lnTo>
                  <a:lnTo>
                    <a:pt x="808" y="342"/>
                  </a:lnTo>
                  <a:lnTo>
                    <a:pt x="812" y="339"/>
                  </a:lnTo>
                  <a:lnTo>
                    <a:pt x="816" y="336"/>
                  </a:lnTo>
                  <a:lnTo>
                    <a:pt x="817" y="335"/>
                  </a:lnTo>
                  <a:lnTo>
                    <a:pt x="819" y="333"/>
                  </a:lnTo>
                  <a:lnTo>
                    <a:pt x="821" y="328"/>
                  </a:lnTo>
                  <a:lnTo>
                    <a:pt x="824" y="323"/>
                  </a:lnTo>
                  <a:lnTo>
                    <a:pt x="825" y="318"/>
                  </a:lnTo>
                  <a:lnTo>
                    <a:pt x="827" y="311"/>
                  </a:lnTo>
                  <a:lnTo>
                    <a:pt x="828" y="304"/>
                  </a:lnTo>
                  <a:lnTo>
                    <a:pt x="829" y="297"/>
                  </a:lnTo>
                  <a:lnTo>
                    <a:pt x="829" y="288"/>
                  </a:lnTo>
                  <a:lnTo>
                    <a:pt x="830" y="269"/>
                  </a:lnTo>
                  <a:lnTo>
                    <a:pt x="830" y="14"/>
                  </a:lnTo>
                  <a:lnTo>
                    <a:pt x="830" y="12"/>
                  </a:lnTo>
                  <a:lnTo>
                    <a:pt x="830" y="10"/>
                  </a:lnTo>
                  <a:lnTo>
                    <a:pt x="832" y="7"/>
                  </a:lnTo>
                  <a:lnTo>
                    <a:pt x="833" y="6"/>
                  </a:lnTo>
                  <a:lnTo>
                    <a:pt x="835" y="5"/>
                  </a:lnTo>
                  <a:lnTo>
                    <a:pt x="837" y="5"/>
                  </a:lnTo>
                  <a:lnTo>
                    <a:pt x="838" y="4"/>
                  </a:lnTo>
                  <a:lnTo>
                    <a:pt x="912" y="4"/>
                  </a:lnTo>
                  <a:close/>
                  <a:moveTo>
                    <a:pt x="2826" y="1740"/>
                  </a:moveTo>
                  <a:lnTo>
                    <a:pt x="2925" y="1740"/>
                  </a:lnTo>
                  <a:lnTo>
                    <a:pt x="2875" y="1609"/>
                  </a:lnTo>
                  <a:lnTo>
                    <a:pt x="2826" y="1740"/>
                  </a:lnTo>
                  <a:close/>
                  <a:moveTo>
                    <a:pt x="2956" y="1822"/>
                  </a:moveTo>
                  <a:lnTo>
                    <a:pt x="2796" y="1822"/>
                  </a:lnTo>
                  <a:lnTo>
                    <a:pt x="2774" y="1879"/>
                  </a:lnTo>
                  <a:lnTo>
                    <a:pt x="2773" y="1882"/>
                  </a:lnTo>
                  <a:lnTo>
                    <a:pt x="2771" y="1884"/>
                  </a:lnTo>
                  <a:lnTo>
                    <a:pt x="2770" y="1885"/>
                  </a:lnTo>
                  <a:lnTo>
                    <a:pt x="2768" y="1887"/>
                  </a:lnTo>
                  <a:lnTo>
                    <a:pt x="2764" y="1888"/>
                  </a:lnTo>
                  <a:lnTo>
                    <a:pt x="2760" y="1889"/>
                  </a:lnTo>
                  <a:lnTo>
                    <a:pt x="2681" y="1889"/>
                  </a:lnTo>
                  <a:lnTo>
                    <a:pt x="2679" y="1889"/>
                  </a:lnTo>
                  <a:lnTo>
                    <a:pt x="2677" y="1888"/>
                  </a:lnTo>
                  <a:lnTo>
                    <a:pt x="2675" y="1887"/>
                  </a:lnTo>
                  <a:lnTo>
                    <a:pt x="2673" y="1885"/>
                  </a:lnTo>
                  <a:lnTo>
                    <a:pt x="2672" y="1883"/>
                  </a:lnTo>
                  <a:lnTo>
                    <a:pt x="2671" y="1881"/>
                  </a:lnTo>
                  <a:lnTo>
                    <a:pt x="2672" y="1878"/>
                  </a:lnTo>
                  <a:lnTo>
                    <a:pt x="2673" y="1875"/>
                  </a:lnTo>
                  <a:lnTo>
                    <a:pt x="2828" y="1480"/>
                  </a:lnTo>
                  <a:lnTo>
                    <a:pt x="2829" y="1477"/>
                  </a:lnTo>
                  <a:lnTo>
                    <a:pt x="2830" y="1475"/>
                  </a:lnTo>
                  <a:lnTo>
                    <a:pt x="2833" y="1472"/>
                  </a:lnTo>
                  <a:lnTo>
                    <a:pt x="2837" y="1471"/>
                  </a:lnTo>
                  <a:lnTo>
                    <a:pt x="2839" y="1470"/>
                  </a:lnTo>
                  <a:lnTo>
                    <a:pt x="2842" y="1470"/>
                  </a:lnTo>
                  <a:lnTo>
                    <a:pt x="2911" y="1470"/>
                  </a:lnTo>
                  <a:lnTo>
                    <a:pt x="2916" y="1471"/>
                  </a:lnTo>
                  <a:lnTo>
                    <a:pt x="2920" y="1472"/>
                  </a:lnTo>
                  <a:lnTo>
                    <a:pt x="2923" y="1475"/>
                  </a:lnTo>
                  <a:lnTo>
                    <a:pt x="2924" y="1477"/>
                  </a:lnTo>
                  <a:lnTo>
                    <a:pt x="2925" y="1480"/>
                  </a:lnTo>
                  <a:lnTo>
                    <a:pt x="3081" y="1875"/>
                  </a:lnTo>
                  <a:lnTo>
                    <a:pt x="3082" y="1878"/>
                  </a:lnTo>
                  <a:lnTo>
                    <a:pt x="3082" y="1881"/>
                  </a:lnTo>
                  <a:lnTo>
                    <a:pt x="3081" y="1883"/>
                  </a:lnTo>
                  <a:lnTo>
                    <a:pt x="3080" y="1885"/>
                  </a:lnTo>
                  <a:lnTo>
                    <a:pt x="3079" y="1887"/>
                  </a:lnTo>
                  <a:lnTo>
                    <a:pt x="3077" y="1888"/>
                  </a:lnTo>
                  <a:lnTo>
                    <a:pt x="3074" y="1889"/>
                  </a:lnTo>
                  <a:lnTo>
                    <a:pt x="3072" y="1889"/>
                  </a:lnTo>
                  <a:lnTo>
                    <a:pt x="2991" y="1889"/>
                  </a:lnTo>
                  <a:lnTo>
                    <a:pt x="2987" y="1888"/>
                  </a:lnTo>
                  <a:lnTo>
                    <a:pt x="2985" y="1888"/>
                  </a:lnTo>
                  <a:lnTo>
                    <a:pt x="2983" y="1887"/>
                  </a:lnTo>
                  <a:lnTo>
                    <a:pt x="2981" y="1885"/>
                  </a:lnTo>
                  <a:lnTo>
                    <a:pt x="2980" y="1884"/>
                  </a:lnTo>
                  <a:lnTo>
                    <a:pt x="2979" y="1882"/>
                  </a:lnTo>
                  <a:lnTo>
                    <a:pt x="2978" y="1879"/>
                  </a:lnTo>
                  <a:lnTo>
                    <a:pt x="2956" y="1822"/>
                  </a:lnTo>
                  <a:close/>
                  <a:moveTo>
                    <a:pt x="1829" y="1889"/>
                  </a:moveTo>
                  <a:lnTo>
                    <a:pt x="1747" y="1889"/>
                  </a:lnTo>
                  <a:lnTo>
                    <a:pt x="1743" y="1888"/>
                  </a:lnTo>
                  <a:lnTo>
                    <a:pt x="1739" y="1886"/>
                  </a:lnTo>
                  <a:lnTo>
                    <a:pt x="1738" y="1885"/>
                  </a:lnTo>
                  <a:lnTo>
                    <a:pt x="1737" y="1883"/>
                  </a:lnTo>
                  <a:lnTo>
                    <a:pt x="1737" y="1881"/>
                  </a:lnTo>
                  <a:lnTo>
                    <a:pt x="1737" y="1879"/>
                  </a:lnTo>
                  <a:lnTo>
                    <a:pt x="1737" y="1480"/>
                  </a:lnTo>
                  <a:lnTo>
                    <a:pt x="1737" y="1478"/>
                  </a:lnTo>
                  <a:lnTo>
                    <a:pt x="1737" y="1476"/>
                  </a:lnTo>
                  <a:lnTo>
                    <a:pt x="1739" y="1473"/>
                  </a:lnTo>
                  <a:lnTo>
                    <a:pt x="1741" y="1472"/>
                  </a:lnTo>
                  <a:lnTo>
                    <a:pt x="1743" y="1471"/>
                  </a:lnTo>
                  <a:lnTo>
                    <a:pt x="1747" y="1470"/>
                  </a:lnTo>
                  <a:lnTo>
                    <a:pt x="1829" y="1470"/>
                  </a:lnTo>
                  <a:lnTo>
                    <a:pt x="1833" y="1471"/>
                  </a:lnTo>
                  <a:lnTo>
                    <a:pt x="1836" y="1473"/>
                  </a:lnTo>
                  <a:lnTo>
                    <a:pt x="1837" y="1474"/>
                  </a:lnTo>
                  <a:lnTo>
                    <a:pt x="1838" y="1476"/>
                  </a:lnTo>
                  <a:lnTo>
                    <a:pt x="1839" y="1478"/>
                  </a:lnTo>
                  <a:lnTo>
                    <a:pt x="1839" y="1480"/>
                  </a:lnTo>
                  <a:lnTo>
                    <a:pt x="1839" y="1655"/>
                  </a:lnTo>
                  <a:lnTo>
                    <a:pt x="1982" y="1480"/>
                  </a:lnTo>
                  <a:lnTo>
                    <a:pt x="1986" y="1476"/>
                  </a:lnTo>
                  <a:lnTo>
                    <a:pt x="1987" y="1474"/>
                  </a:lnTo>
                  <a:lnTo>
                    <a:pt x="1990" y="1473"/>
                  </a:lnTo>
                  <a:lnTo>
                    <a:pt x="1992" y="1472"/>
                  </a:lnTo>
                  <a:lnTo>
                    <a:pt x="1994" y="1471"/>
                  </a:lnTo>
                  <a:lnTo>
                    <a:pt x="1997" y="1470"/>
                  </a:lnTo>
                  <a:lnTo>
                    <a:pt x="2000" y="1470"/>
                  </a:lnTo>
                  <a:lnTo>
                    <a:pt x="2095" y="1470"/>
                  </a:lnTo>
                  <a:lnTo>
                    <a:pt x="2098" y="1471"/>
                  </a:lnTo>
                  <a:lnTo>
                    <a:pt x="2101" y="1472"/>
                  </a:lnTo>
                  <a:lnTo>
                    <a:pt x="2102" y="1473"/>
                  </a:lnTo>
                  <a:lnTo>
                    <a:pt x="2103" y="1475"/>
                  </a:lnTo>
                  <a:lnTo>
                    <a:pt x="2104" y="1478"/>
                  </a:lnTo>
                  <a:lnTo>
                    <a:pt x="2104" y="1480"/>
                  </a:lnTo>
                  <a:lnTo>
                    <a:pt x="2103" y="1483"/>
                  </a:lnTo>
                  <a:lnTo>
                    <a:pt x="2101" y="1485"/>
                  </a:lnTo>
                  <a:lnTo>
                    <a:pt x="1970" y="1646"/>
                  </a:lnTo>
                  <a:lnTo>
                    <a:pt x="2105" y="1876"/>
                  </a:lnTo>
                  <a:lnTo>
                    <a:pt x="2107" y="1878"/>
                  </a:lnTo>
                  <a:lnTo>
                    <a:pt x="2107" y="1880"/>
                  </a:lnTo>
                  <a:lnTo>
                    <a:pt x="2107" y="1883"/>
                  </a:lnTo>
                  <a:lnTo>
                    <a:pt x="2106" y="1885"/>
                  </a:lnTo>
                  <a:lnTo>
                    <a:pt x="2105" y="1886"/>
                  </a:lnTo>
                  <a:lnTo>
                    <a:pt x="2104" y="1888"/>
                  </a:lnTo>
                  <a:lnTo>
                    <a:pt x="2102" y="1888"/>
                  </a:lnTo>
                  <a:lnTo>
                    <a:pt x="2099" y="1889"/>
                  </a:lnTo>
                  <a:lnTo>
                    <a:pt x="2003" y="1889"/>
                  </a:lnTo>
                  <a:lnTo>
                    <a:pt x="1998" y="1888"/>
                  </a:lnTo>
                  <a:lnTo>
                    <a:pt x="1994" y="1887"/>
                  </a:lnTo>
                  <a:lnTo>
                    <a:pt x="1992" y="1885"/>
                  </a:lnTo>
                  <a:lnTo>
                    <a:pt x="1991" y="1884"/>
                  </a:lnTo>
                  <a:lnTo>
                    <a:pt x="1988" y="1879"/>
                  </a:lnTo>
                  <a:lnTo>
                    <a:pt x="1892" y="1713"/>
                  </a:lnTo>
                  <a:lnTo>
                    <a:pt x="1839" y="1778"/>
                  </a:lnTo>
                  <a:lnTo>
                    <a:pt x="1839" y="1879"/>
                  </a:lnTo>
                  <a:lnTo>
                    <a:pt x="1839" y="1881"/>
                  </a:lnTo>
                  <a:lnTo>
                    <a:pt x="1838" y="1883"/>
                  </a:lnTo>
                  <a:lnTo>
                    <a:pt x="1836" y="1886"/>
                  </a:lnTo>
                  <a:lnTo>
                    <a:pt x="1835" y="1887"/>
                  </a:lnTo>
                  <a:lnTo>
                    <a:pt x="1833" y="1888"/>
                  </a:lnTo>
                  <a:lnTo>
                    <a:pt x="1829" y="1889"/>
                  </a:lnTo>
                  <a:close/>
                  <a:moveTo>
                    <a:pt x="2168" y="1480"/>
                  </a:moveTo>
                  <a:lnTo>
                    <a:pt x="2168" y="1478"/>
                  </a:lnTo>
                  <a:lnTo>
                    <a:pt x="2168" y="1476"/>
                  </a:lnTo>
                  <a:lnTo>
                    <a:pt x="2171" y="1473"/>
                  </a:lnTo>
                  <a:lnTo>
                    <a:pt x="2172" y="1472"/>
                  </a:lnTo>
                  <a:lnTo>
                    <a:pt x="2174" y="1471"/>
                  </a:lnTo>
                  <a:lnTo>
                    <a:pt x="2178" y="1470"/>
                  </a:lnTo>
                  <a:lnTo>
                    <a:pt x="2260" y="1470"/>
                  </a:lnTo>
                  <a:lnTo>
                    <a:pt x="2264" y="1471"/>
                  </a:lnTo>
                  <a:lnTo>
                    <a:pt x="2267" y="1473"/>
                  </a:lnTo>
                  <a:lnTo>
                    <a:pt x="2268" y="1474"/>
                  </a:lnTo>
                  <a:lnTo>
                    <a:pt x="2269" y="1476"/>
                  </a:lnTo>
                  <a:lnTo>
                    <a:pt x="2270" y="1478"/>
                  </a:lnTo>
                  <a:lnTo>
                    <a:pt x="2270" y="1480"/>
                  </a:lnTo>
                  <a:lnTo>
                    <a:pt x="2270" y="1879"/>
                  </a:lnTo>
                  <a:lnTo>
                    <a:pt x="2270" y="1881"/>
                  </a:lnTo>
                  <a:lnTo>
                    <a:pt x="2269" y="1883"/>
                  </a:lnTo>
                  <a:lnTo>
                    <a:pt x="2267" y="1886"/>
                  </a:lnTo>
                  <a:lnTo>
                    <a:pt x="2266" y="1887"/>
                  </a:lnTo>
                  <a:lnTo>
                    <a:pt x="2264" y="1888"/>
                  </a:lnTo>
                  <a:lnTo>
                    <a:pt x="2260" y="1889"/>
                  </a:lnTo>
                  <a:lnTo>
                    <a:pt x="2178" y="1889"/>
                  </a:lnTo>
                  <a:lnTo>
                    <a:pt x="2174" y="1888"/>
                  </a:lnTo>
                  <a:lnTo>
                    <a:pt x="2171" y="1886"/>
                  </a:lnTo>
                  <a:lnTo>
                    <a:pt x="2169" y="1885"/>
                  </a:lnTo>
                  <a:lnTo>
                    <a:pt x="2168" y="1883"/>
                  </a:lnTo>
                  <a:lnTo>
                    <a:pt x="2168" y="1881"/>
                  </a:lnTo>
                  <a:lnTo>
                    <a:pt x="2168" y="1879"/>
                  </a:lnTo>
                  <a:lnTo>
                    <a:pt x="2168" y="1480"/>
                  </a:lnTo>
                  <a:close/>
                  <a:moveTo>
                    <a:pt x="2470" y="1879"/>
                  </a:moveTo>
                  <a:lnTo>
                    <a:pt x="2323" y="1484"/>
                  </a:lnTo>
                  <a:lnTo>
                    <a:pt x="2322" y="1481"/>
                  </a:lnTo>
                  <a:lnTo>
                    <a:pt x="2322" y="1478"/>
                  </a:lnTo>
                  <a:lnTo>
                    <a:pt x="2322" y="1476"/>
                  </a:lnTo>
                  <a:lnTo>
                    <a:pt x="2323" y="1474"/>
                  </a:lnTo>
                  <a:lnTo>
                    <a:pt x="2325" y="1472"/>
                  </a:lnTo>
                  <a:lnTo>
                    <a:pt x="2327" y="1471"/>
                  </a:lnTo>
                  <a:lnTo>
                    <a:pt x="2329" y="1470"/>
                  </a:lnTo>
                  <a:lnTo>
                    <a:pt x="2332" y="1470"/>
                  </a:lnTo>
                  <a:lnTo>
                    <a:pt x="2415" y="1470"/>
                  </a:lnTo>
                  <a:lnTo>
                    <a:pt x="2419" y="1471"/>
                  </a:lnTo>
                  <a:lnTo>
                    <a:pt x="2421" y="1471"/>
                  </a:lnTo>
                  <a:lnTo>
                    <a:pt x="2423" y="1472"/>
                  </a:lnTo>
                  <a:lnTo>
                    <a:pt x="2425" y="1474"/>
                  </a:lnTo>
                  <a:lnTo>
                    <a:pt x="2426" y="1475"/>
                  </a:lnTo>
                  <a:lnTo>
                    <a:pt x="2428" y="1477"/>
                  </a:lnTo>
                  <a:lnTo>
                    <a:pt x="2429" y="1480"/>
                  </a:lnTo>
                  <a:lnTo>
                    <a:pt x="2521" y="1734"/>
                  </a:lnTo>
                  <a:lnTo>
                    <a:pt x="2614" y="1480"/>
                  </a:lnTo>
                  <a:lnTo>
                    <a:pt x="2615" y="1477"/>
                  </a:lnTo>
                  <a:lnTo>
                    <a:pt x="2616" y="1475"/>
                  </a:lnTo>
                  <a:lnTo>
                    <a:pt x="2618" y="1474"/>
                  </a:lnTo>
                  <a:lnTo>
                    <a:pt x="2619" y="1472"/>
                  </a:lnTo>
                  <a:lnTo>
                    <a:pt x="2623" y="1471"/>
                  </a:lnTo>
                  <a:lnTo>
                    <a:pt x="2627" y="1470"/>
                  </a:lnTo>
                  <a:lnTo>
                    <a:pt x="2709" y="1470"/>
                  </a:lnTo>
                  <a:lnTo>
                    <a:pt x="2711" y="1470"/>
                  </a:lnTo>
                  <a:lnTo>
                    <a:pt x="2714" y="1471"/>
                  </a:lnTo>
                  <a:lnTo>
                    <a:pt x="2716" y="1472"/>
                  </a:lnTo>
                  <a:lnTo>
                    <a:pt x="2717" y="1474"/>
                  </a:lnTo>
                  <a:lnTo>
                    <a:pt x="2718" y="1476"/>
                  </a:lnTo>
                  <a:lnTo>
                    <a:pt x="2719" y="1478"/>
                  </a:lnTo>
                  <a:lnTo>
                    <a:pt x="2719" y="1481"/>
                  </a:lnTo>
                  <a:lnTo>
                    <a:pt x="2718" y="1484"/>
                  </a:lnTo>
                  <a:lnTo>
                    <a:pt x="2571" y="1879"/>
                  </a:lnTo>
                  <a:lnTo>
                    <a:pt x="2569" y="1883"/>
                  </a:lnTo>
                  <a:lnTo>
                    <a:pt x="2567" y="1885"/>
                  </a:lnTo>
                  <a:lnTo>
                    <a:pt x="2566" y="1886"/>
                  </a:lnTo>
                  <a:lnTo>
                    <a:pt x="2564" y="1887"/>
                  </a:lnTo>
                  <a:lnTo>
                    <a:pt x="2562" y="1888"/>
                  </a:lnTo>
                  <a:lnTo>
                    <a:pt x="2560" y="1889"/>
                  </a:lnTo>
                  <a:lnTo>
                    <a:pt x="2557" y="1889"/>
                  </a:lnTo>
                  <a:lnTo>
                    <a:pt x="2484" y="1889"/>
                  </a:lnTo>
                  <a:lnTo>
                    <a:pt x="2481" y="1889"/>
                  </a:lnTo>
                  <a:lnTo>
                    <a:pt x="2479" y="1888"/>
                  </a:lnTo>
                  <a:lnTo>
                    <a:pt x="2475" y="1886"/>
                  </a:lnTo>
                  <a:lnTo>
                    <a:pt x="2473" y="1885"/>
                  </a:lnTo>
                  <a:lnTo>
                    <a:pt x="2472" y="1883"/>
                  </a:lnTo>
                  <a:lnTo>
                    <a:pt x="2470" y="1879"/>
                  </a:lnTo>
                  <a:close/>
                  <a:moveTo>
                    <a:pt x="224" y="1804"/>
                  </a:moveTo>
                  <a:lnTo>
                    <a:pt x="236" y="1804"/>
                  </a:lnTo>
                  <a:lnTo>
                    <a:pt x="247" y="1802"/>
                  </a:lnTo>
                  <a:lnTo>
                    <a:pt x="259" y="1799"/>
                  </a:lnTo>
                  <a:lnTo>
                    <a:pt x="264" y="1797"/>
                  </a:lnTo>
                  <a:lnTo>
                    <a:pt x="269" y="1795"/>
                  </a:lnTo>
                  <a:lnTo>
                    <a:pt x="280" y="1791"/>
                  </a:lnTo>
                  <a:lnTo>
                    <a:pt x="289" y="1785"/>
                  </a:lnTo>
                  <a:lnTo>
                    <a:pt x="298" y="1778"/>
                  </a:lnTo>
                  <a:lnTo>
                    <a:pt x="306" y="1770"/>
                  </a:lnTo>
                  <a:lnTo>
                    <a:pt x="314" y="1762"/>
                  </a:lnTo>
                  <a:lnTo>
                    <a:pt x="320" y="1752"/>
                  </a:lnTo>
                  <a:lnTo>
                    <a:pt x="326" y="1742"/>
                  </a:lnTo>
                  <a:lnTo>
                    <a:pt x="331" y="1731"/>
                  </a:lnTo>
                  <a:lnTo>
                    <a:pt x="333" y="1725"/>
                  </a:lnTo>
                  <a:lnTo>
                    <a:pt x="334" y="1719"/>
                  </a:lnTo>
                  <a:lnTo>
                    <a:pt x="337" y="1707"/>
                  </a:lnTo>
                  <a:lnTo>
                    <a:pt x="339" y="1693"/>
                  </a:lnTo>
                  <a:lnTo>
                    <a:pt x="339" y="1687"/>
                  </a:lnTo>
                  <a:lnTo>
                    <a:pt x="340" y="1680"/>
                  </a:lnTo>
                  <a:lnTo>
                    <a:pt x="339" y="1666"/>
                  </a:lnTo>
                  <a:lnTo>
                    <a:pt x="337" y="1652"/>
                  </a:lnTo>
                  <a:lnTo>
                    <a:pt x="334" y="1640"/>
                  </a:lnTo>
                  <a:lnTo>
                    <a:pt x="333" y="1634"/>
                  </a:lnTo>
                  <a:lnTo>
                    <a:pt x="331" y="1628"/>
                  </a:lnTo>
                  <a:lnTo>
                    <a:pt x="326" y="1617"/>
                  </a:lnTo>
                  <a:lnTo>
                    <a:pt x="320" y="1607"/>
                  </a:lnTo>
                  <a:lnTo>
                    <a:pt x="314" y="1597"/>
                  </a:lnTo>
                  <a:lnTo>
                    <a:pt x="310" y="1593"/>
                  </a:lnTo>
                  <a:lnTo>
                    <a:pt x="306" y="1589"/>
                  </a:lnTo>
                  <a:lnTo>
                    <a:pt x="302" y="1585"/>
                  </a:lnTo>
                  <a:lnTo>
                    <a:pt x="298" y="1581"/>
                  </a:lnTo>
                  <a:lnTo>
                    <a:pt x="294" y="1578"/>
                  </a:lnTo>
                  <a:lnTo>
                    <a:pt x="289" y="1574"/>
                  </a:lnTo>
                  <a:lnTo>
                    <a:pt x="280" y="1568"/>
                  </a:lnTo>
                  <a:lnTo>
                    <a:pt x="275" y="1566"/>
                  </a:lnTo>
                  <a:lnTo>
                    <a:pt x="269" y="1564"/>
                  </a:lnTo>
                  <a:lnTo>
                    <a:pt x="264" y="1562"/>
                  </a:lnTo>
                  <a:lnTo>
                    <a:pt x="259" y="1560"/>
                  </a:lnTo>
                  <a:lnTo>
                    <a:pt x="247" y="1557"/>
                  </a:lnTo>
                  <a:lnTo>
                    <a:pt x="236" y="1555"/>
                  </a:lnTo>
                  <a:lnTo>
                    <a:pt x="230" y="1555"/>
                  </a:lnTo>
                  <a:lnTo>
                    <a:pt x="224" y="1555"/>
                  </a:lnTo>
                  <a:lnTo>
                    <a:pt x="212" y="1555"/>
                  </a:lnTo>
                  <a:lnTo>
                    <a:pt x="200" y="1557"/>
                  </a:lnTo>
                  <a:lnTo>
                    <a:pt x="189" y="1560"/>
                  </a:lnTo>
                  <a:lnTo>
                    <a:pt x="183" y="1562"/>
                  </a:lnTo>
                  <a:lnTo>
                    <a:pt x="178" y="1564"/>
                  </a:lnTo>
                  <a:lnTo>
                    <a:pt x="168" y="1568"/>
                  </a:lnTo>
                  <a:lnTo>
                    <a:pt x="158" y="1574"/>
                  </a:lnTo>
                  <a:lnTo>
                    <a:pt x="149" y="1581"/>
                  </a:lnTo>
                  <a:lnTo>
                    <a:pt x="141" y="1589"/>
                  </a:lnTo>
                  <a:lnTo>
                    <a:pt x="134" y="1597"/>
                  </a:lnTo>
                  <a:lnTo>
                    <a:pt x="127" y="1607"/>
                  </a:lnTo>
                  <a:lnTo>
                    <a:pt x="121" y="1617"/>
                  </a:lnTo>
                  <a:lnTo>
                    <a:pt x="117" y="1628"/>
                  </a:lnTo>
                  <a:lnTo>
                    <a:pt x="115" y="1634"/>
                  </a:lnTo>
                  <a:lnTo>
                    <a:pt x="113" y="1640"/>
                  </a:lnTo>
                  <a:lnTo>
                    <a:pt x="110" y="1652"/>
                  </a:lnTo>
                  <a:lnTo>
                    <a:pt x="108" y="1666"/>
                  </a:lnTo>
                  <a:lnTo>
                    <a:pt x="108" y="1672"/>
                  </a:lnTo>
                  <a:lnTo>
                    <a:pt x="108" y="1680"/>
                  </a:lnTo>
                  <a:lnTo>
                    <a:pt x="108" y="1693"/>
                  </a:lnTo>
                  <a:lnTo>
                    <a:pt x="110" y="1707"/>
                  </a:lnTo>
                  <a:lnTo>
                    <a:pt x="113" y="1719"/>
                  </a:lnTo>
                  <a:lnTo>
                    <a:pt x="115" y="1725"/>
                  </a:lnTo>
                  <a:lnTo>
                    <a:pt x="117" y="1731"/>
                  </a:lnTo>
                  <a:lnTo>
                    <a:pt x="121" y="1742"/>
                  </a:lnTo>
                  <a:lnTo>
                    <a:pt x="127" y="1752"/>
                  </a:lnTo>
                  <a:lnTo>
                    <a:pt x="134" y="1762"/>
                  </a:lnTo>
                  <a:lnTo>
                    <a:pt x="137" y="1766"/>
                  </a:lnTo>
                  <a:lnTo>
                    <a:pt x="141" y="1770"/>
                  </a:lnTo>
                  <a:lnTo>
                    <a:pt x="145" y="1774"/>
                  </a:lnTo>
                  <a:lnTo>
                    <a:pt x="149" y="1778"/>
                  </a:lnTo>
                  <a:lnTo>
                    <a:pt x="154" y="1781"/>
                  </a:lnTo>
                  <a:lnTo>
                    <a:pt x="158" y="1785"/>
                  </a:lnTo>
                  <a:lnTo>
                    <a:pt x="168" y="1791"/>
                  </a:lnTo>
                  <a:lnTo>
                    <a:pt x="173" y="1793"/>
                  </a:lnTo>
                  <a:lnTo>
                    <a:pt x="178" y="1795"/>
                  </a:lnTo>
                  <a:lnTo>
                    <a:pt x="183" y="1797"/>
                  </a:lnTo>
                  <a:lnTo>
                    <a:pt x="189" y="1799"/>
                  </a:lnTo>
                  <a:lnTo>
                    <a:pt x="200" y="1802"/>
                  </a:lnTo>
                  <a:lnTo>
                    <a:pt x="212" y="1804"/>
                  </a:lnTo>
                  <a:lnTo>
                    <a:pt x="218" y="1804"/>
                  </a:lnTo>
                  <a:lnTo>
                    <a:pt x="224" y="1804"/>
                  </a:lnTo>
                  <a:close/>
                  <a:moveTo>
                    <a:pt x="224" y="1463"/>
                  </a:moveTo>
                  <a:lnTo>
                    <a:pt x="236" y="1463"/>
                  </a:lnTo>
                  <a:lnTo>
                    <a:pt x="247" y="1464"/>
                  </a:lnTo>
                  <a:lnTo>
                    <a:pt x="259" y="1465"/>
                  </a:lnTo>
                  <a:lnTo>
                    <a:pt x="270" y="1467"/>
                  </a:lnTo>
                  <a:lnTo>
                    <a:pt x="281" y="1470"/>
                  </a:lnTo>
                  <a:lnTo>
                    <a:pt x="292" y="1472"/>
                  </a:lnTo>
                  <a:lnTo>
                    <a:pt x="302" y="1476"/>
                  </a:lnTo>
                  <a:lnTo>
                    <a:pt x="313" y="1479"/>
                  </a:lnTo>
                  <a:lnTo>
                    <a:pt x="323" y="1483"/>
                  </a:lnTo>
                  <a:lnTo>
                    <a:pt x="332" y="1488"/>
                  </a:lnTo>
                  <a:lnTo>
                    <a:pt x="342" y="1493"/>
                  </a:lnTo>
                  <a:lnTo>
                    <a:pt x="351" y="1499"/>
                  </a:lnTo>
                  <a:lnTo>
                    <a:pt x="359" y="1504"/>
                  </a:lnTo>
                  <a:lnTo>
                    <a:pt x="364" y="1507"/>
                  </a:lnTo>
                  <a:lnTo>
                    <a:pt x="368" y="1511"/>
                  </a:lnTo>
                  <a:lnTo>
                    <a:pt x="372" y="1514"/>
                  </a:lnTo>
                  <a:lnTo>
                    <a:pt x="376" y="1517"/>
                  </a:lnTo>
                  <a:lnTo>
                    <a:pt x="383" y="1524"/>
                  </a:lnTo>
                  <a:lnTo>
                    <a:pt x="387" y="1528"/>
                  </a:lnTo>
                  <a:lnTo>
                    <a:pt x="391" y="1532"/>
                  </a:lnTo>
                  <a:lnTo>
                    <a:pt x="398" y="1539"/>
                  </a:lnTo>
                  <a:lnTo>
                    <a:pt x="404" y="1548"/>
                  </a:lnTo>
                  <a:lnTo>
                    <a:pt x="407" y="1552"/>
                  </a:lnTo>
                  <a:lnTo>
                    <a:pt x="410" y="1556"/>
                  </a:lnTo>
                  <a:lnTo>
                    <a:pt x="416" y="1565"/>
                  </a:lnTo>
                  <a:lnTo>
                    <a:pt x="421" y="1574"/>
                  </a:lnTo>
                  <a:lnTo>
                    <a:pt x="426" y="1583"/>
                  </a:lnTo>
                  <a:lnTo>
                    <a:pt x="430" y="1593"/>
                  </a:lnTo>
                  <a:lnTo>
                    <a:pt x="432" y="1598"/>
                  </a:lnTo>
                  <a:lnTo>
                    <a:pt x="434" y="1603"/>
                  </a:lnTo>
                  <a:lnTo>
                    <a:pt x="437" y="1613"/>
                  </a:lnTo>
                  <a:lnTo>
                    <a:pt x="440" y="1623"/>
                  </a:lnTo>
                  <a:lnTo>
                    <a:pt x="443" y="1634"/>
                  </a:lnTo>
                  <a:lnTo>
                    <a:pt x="445" y="1645"/>
                  </a:lnTo>
                  <a:lnTo>
                    <a:pt x="446" y="1656"/>
                  </a:lnTo>
                  <a:lnTo>
                    <a:pt x="446" y="1662"/>
                  </a:lnTo>
                  <a:lnTo>
                    <a:pt x="447" y="1668"/>
                  </a:lnTo>
                  <a:lnTo>
                    <a:pt x="447" y="1680"/>
                  </a:lnTo>
                  <a:lnTo>
                    <a:pt x="447" y="1691"/>
                  </a:lnTo>
                  <a:lnTo>
                    <a:pt x="446" y="1703"/>
                  </a:lnTo>
                  <a:lnTo>
                    <a:pt x="445" y="1714"/>
                  </a:lnTo>
                  <a:lnTo>
                    <a:pt x="443" y="1725"/>
                  </a:lnTo>
                  <a:lnTo>
                    <a:pt x="440" y="1736"/>
                  </a:lnTo>
                  <a:lnTo>
                    <a:pt x="437" y="1746"/>
                  </a:lnTo>
                  <a:lnTo>
                    <a:pt x="434" y="1756"/>
                  </a:lnTo>
                  <a:lnTo>
                    <a:pt x="430" y="1766"/>
                  </a:lnTo>
                  <a:lnTo>
                    <a:pt x="426" y="1776"/>
                  </a:lnTo>
                  <a:lnTo>
                    <a:pt x="421" y="1785"/>
                  </a:lnTo>
                  <a:lnTo>
                    <a:pt x="416" y="1794"/>
                  </a:lnTo>
                  <a:lnTo>
                    <a:pt x="410" y="1803"/>
                  </a:lnTo>
                  <a:lnTo>
                    <a:pt x="404" y="1811"/>
                  </a:lnTo>
                  <a:lnTo>
                    <a:pt x="398" y="1820"/>
                  </a:lnTo>
                  <a:lnTo>
                    <a:pt x="391" y="1827"/>
                  </a:lnTo>
                  <a:lnTo>
                    <a:pt x="383" y="1835"/>
                  </a:lnTo>
                  <a:lnTo>
                    <a:pt x="376" y="1842"/>
                  </a:lnTo>
                  <a:lnTo>
                    <a:pt x="368" y="1848"/>
                  </a:lnTo>
                  <a:lnTo>
                    <a:pt x="359" y="1855"/>
                  </a:lnTo>
                  <a:lnTo>
                    <a:pt x="351" y="1860"/>
                  </a:lnTo>
                  <a:lnTo>
                    <a:pt x="342" y="1866"/>
                  </a:lnTo>
                  <a:lnTo>
                    <a:pt x="332" y="1871"/>
                  </a:lnTo>
                  <a:lnTo>
                    <a:pt x="323" y="1876"/>
                  </a:lnTo>
                  <a:lnTo>
                    <a:pt x="313" y="1880"/>
                  </a:lnTo>
                  <a:lnTo>
                    <a:pt x="302" y="1883"/>
                  </a:lnTo>
                  <a:lnTo>
                    <a:pt x="292" y="1887"/>
                  </a:lnTo>
                  <a:lnTo>
                    <a:pt x="281" y="1889"/>
                  </a:lnTo>
                  <a:lnTo>
                    <a:pt x="270" y="1892"/>
                  </a:lnTo>
                  <a:lnTo>
                    <a:pt x="259" y="1894"/>
                  </a:lnTo>
                  <a:lnTo>
                    <a:pt x="247" y="1895"/>
                  </a:lnTo>
                  <a:lnTo>
                    <a:pt x="236" y="1896"/>
                  </a:lnTo>
                  <a:lnTo>
                    <a:pt x="224" y="1896"/>
                  </a:lnTo>
                  <a:lnTo>
                    <a:pt x="212" y="1896"/>
                  </a:lnTo>
                  <a:lnTo>
                    <a:pt x="200" y="1895"/>
                  </a:lnTo>
                  <a:lnTo>
                    <a:pt x="188" y="1894"/>
                  </a:lnTo>
                  <a:lnTo>
                    <a:pt x="177" y="1892"/>
                  </a:lnTo>
                  <a:lnTo>
                    <a:pt x="166" y="1889"/>
                  </a:lnTo>
                  <a:lnTo>
                    <a:pt x="155" y="1887"/>
                  </a:lnTo>
                  <a:lnTo>
                    <a:pt x="145" y="1883"/>
                  </a:lnTo>
                  <a:lnTo>
                    <a:pt x="135" y="1880"/>
                  </a:lnTo>
                  <a:lnTo>
                    <a:pt x="125" y="1876"/>
                  </a:lnTo>
                  <a:lnTo>
                    <a:pt x="115" y="1871"/>
                  </a:lnTo>
                  <a:lnTo>
                    <a:pt x="106" y="1866"/>
                  </a:lnTo>
                  <a:lnTo>
                    <a:pt x="97" y="1860"/>
                  </a:lnTo>
                  <a:lnTo>
                    <a:pt x="88" y="1855"/>
                  </a:lnTo>
                  <a:lnTo>
                    <a:pt x="84" y="1852"/>
                  </a:lnTo>
                  <a:lnTo>
                    <a:pt x="79" y="1848"/>
                  </a:lnTo>
                  <a:lnTo>
                    <a:pt x="75" y="1845"/>
                  </a:lnTo>
                  <a:lnTo>
                    <a:pt x="71" y="1842"/>
                  </a:lnTo>
                  <a:lnTo>
                    <a:pt x="64" y="1835"/>
                  </a:lnTo>
                  <a:lnTo>
                    <a:pt x="60" y="1831"/>
                  </a:lnTo>
                  <a:lnTo>
                    <a:pt x="56" y="1827"/>
                  </a:lnTo>
                  <a:lnTo>
                    <a:pt x="50" y="1820"/>
                  </a:lnTo>
                  <a:lnTo>
                    <a:pt x="43" y="1811"/>
                  </a:lnTo>
                  <a:lnTo>
                    <a:pt x="40" y="1807"/>
                  </a:lnTo>
                  <a:lnTo>
                    <a:pt x="37" y="1803"/>
                  </a:lnTo>
                  <a:lnTo>
                    <a:pt x="31" y="1794"/>
                  </a:lnTo>
                  <a:lnTo>
                    <a:pt x="26" y="1785"/>
                  </a:lnTo>
                  <a:lnTo>
                    <a:pt x="21" y="1776"/>
                  </a:lnTo>
                  <a:lnTo>
                    <a:pt x="17" y="1766"/>
                  </a:lnTo>
                  <a:lnTo>
                    <a:pt x="15" y="1761"/>
                  </a:lnTo>
                  <a:lnTo>
                    <a:pt x="13" y="1756"/>
                  </a:lnTo>
                  <a:lnTo>
                    <a:pt x="10" y="1746"/>
                  </a:lnTo>
                  <a:lnTo>
                    <a:pt x="7" y="1736"/>
                  </a:lnTo>
                  <a:lnTo>
                    <a:pt x="4" y="1725"/>
                  </a:lnTo>
                  <a:lnTo>
                    <a:pt x="3" y="1714"/>
                  </a:lnTo>
                  <a:lnTo>
                    <a:pt x="1" y="1703"/>
                  </a:lnTo>
                  <a:lnTo>
                    <a:pt x="1" y="1697"/>
                  </a:lnTo>
                  <a:lnTo>
                    <a:pt x="0" y="1691"/>
                  </a:lnTo>
                  <a:lnTo>
                    <a:pt x="0" y="1680"/>
                  </a:lnTo>
                  <a:lnTo>
                    <a:pt x="0" y="1668"/>
                  </a:lnTo>
                  <a:lnTo>
                    <a:pt x="1" y="1656"/>
                  </a:lnTo>
                  <a:lnTo>
                    <a:pt x="3" y="1645"/>
                  </a:lnTo>
                  <a:lnTo>
                    <a:pt x="4" y="1634"/>
                  </a:lnTo>
                  <a:lnTo>
                    <a:pt x="7" y="1623"/>
                  </a:lnTo>
                  <a:lnTo>
                    <a:pt x="10" y="1613"/>
                  </a:lnTo>
                  <a:lnTo>
                    <a:pt x="13" y="1603"/>
                  </a:lnTo>
                  <a:lnTo>
                    <a:pt x="17" y="1593"/>
                  </a:lnTo>
                  <a:lnTo>
                    <a:pt x="21" y="1583"/>
                  </a:lnTo>
                  <a:lnTo>
                    <a:pt x="26" y="1574"/>
                  </a:lnTo>
                  <a:lnTo>
                    <a:pt x="31" y="1565"/>
                  </a:lnTo>
                  <a:lnTo>
                    <a:pt x="37" y="1556"/>
                  </a:lnTo>
                  <a:lnTo>
                    <a:pt x="43" y="1548"/>
                  </a:lnTo>
                  <a:lnTo>
                    <a:pt x="50" y="1539"/>
                  </a:lnTo>
                  <a:lnTo>
                    <a:pt x="56" y="1532"/>
                  </a:lnTo>
                  <a:lnTo>
                    <a:pt x="64" y="1524"/>
                  </a:lnTo>
                  <a:lnTo>
                    <a:pt x="71" y="1517"/>
                  </a:lnTo>
                  <a:lnTo>
                    <a:pt x="79" y="1511"/>
                  </a:lnTo>
                  <a:lnTo>
                    <a:pt x="88" y="1504"/>
                  </a:lnTo>
                  <a:lnTo>
                    <a:pt x="97" y="1499"/>
                  </a:lnTo>
                  <a:lnTo>
                    <a:pt x="106" y="1493"/>
                  </a:lnTo>
                  <a:lnTo>
                    <a:pt x="115" y="1488"/>
                  </a:lnTo>
                  <a:lnTo>
                    <a:pt x="125" y="1483"/>
                  </a:lnTo>
                  <a:lnTo>
                    <a:pt x="135" y="1479"/>
                  </a:lnTo>
                  <a:lnTo>
                    <a:pt x="145" y="1476"/>
                  </a:lnTo>
                  <a:lnTo>
                    <a:pt x="155" y="1472"/>
                  </a:lnTo>
                  <a:lnTo>
                    <a:pt x="166" y="1470"/>
                  </a:lnTo>
                  <a:lnTo>
                    <a:pt x="177" y="1467"/>
                  </a:lnTo>
                  <a:lnTo>
                    <a:pt x="188" y="1465"/>
                  </a:lnTo>
                  <a:lnTo>
                    <a:pt x="200" y="1464"/>
                  </a:lnTo>
                  <a:lnTo>
                    <a:pt x="212" y="1463"/>
                  </a:lnTo>
                  <a:lnTo>
                    <a:pt x="224" y="1463"/>
                  </a:lnTo>
                  <a:close/>
                  <a:moveTo>
                    <a:pt x="1090" y="1810"/>
                  </a:moveTo>
                  <a:lnTo>
                    <a:pt x="1096" y="1809"/>
                  </a:lnTo>
                  <a:lnTo>
                    <a:pt x="1102" y="1809"/>
                  </a:lnTo>
                  <a:lnTo>
                    <a:pt x="1112" y="1807"/>
                  </a:lnTo>
                  <a:lnTo>
                    <a:pt x="1116" y="1806"/>
                  </a:lnTo>
                  <a:lnTo>
                    <a:pt x="1120" y="1804"/>
                  </a:lnTo>
                  <a:lnTo>
                    <a:pt x="1128" y="1800"/>
                  </a:lnTo>
                  <a:lnTo>
                    <a:pt x="1131" y="1798"/>
                  </a:lnTo>
                  <a:lnTo>
                    <a:pt x="1133" y="1795"/>
                  </a:lnTo>
                  <a:lnTo>
                    <a:pt x="1136" y="1792"/>
                  </a:lnTo>
                  <a:lnTo>
                    <a:pt x="1138" y="1789"/>
                  </a:lnTo>
                  <a:lnTo>
                    <a:pt x="1139" y="1786"/>
                  </a:lnTo>
                  <a:lnTo>
                    <a:pt x="1140" y="1782"/>
                  </a:lnTo>
                  <a:lnTo>
                    <a:pt x="1141" y="1779"/>
                  </a:lnTo>
                  <a:lnTo>
                    <a:pt x="1141" y="1775"/>
                  </a:lnTo>
                  <a:lnTo>
                    <a:pt x="1141" y="1771"/>
                  </a:lnTo>
                  <a:lnTo>
                    <a:pt x="1140" y="1767"/>
                  </a:lnTo>
                  <a:lnTo>
                    <a:pt x="1139" y="1763"/>
                  </a:lnTo>
                  <a:lnTo>
                    <a:pt x="1138" y="1760"/>
                  </a:lnTo>
                  <a:lnTo>
                    <a:pt x="1134" y="1754"/>
                  </a:lnTo>
                  <a:lnTo>
                    <a:pt x="1130" y="1749"/>
                  </a:lnTo>
                  <a:lnTo>
                    <a:pt x="1127" y="1747"/>
                  </a:lnTo>
                  <a:lnTo>
                    <a:pt x="1124" y="1744"/>
                  </a:lnTo>
                  <a:lnTo>
                    <a:pt x="1120" y="1742"/>
                  </a:lnTo>
                  <a:lnTo>
                    <a:pt x="1116" y="1740"/>
                  </a:lnTo>
                  <a:lnTo>
                    <a:pt x="1099" y="1732"/>
                  </a:lnTo>
                  <a:lnTo>
                    <a:pt x="1038" y="1703"/>
                  </a:lnTo>
                  <a:lnTo>
                    <a:pt x="1031" y="1699"/>
                  </a:lnTo>
                  <a:lnTo>
                    <a:pt x="1023" y="1695"/>
                  </a:lnTo>
                  <a:lnTo>
                    <a:pt x="1016" y="1691"/>
                  </a:lnTo>
                  <a:lnTo>
                    <a:pt x="1010" y="1686"/>
                  </a:lnTo>
                  <a:lnTo>
                    <a:pt x="1003" y="1680"/>
                  </a:lnTo>
                  <a:lnTo>
                    <a:pt x="997" y="1674"/>
                  </a:lnTo>
                  <a:lnTo>
                    <a:pt x="992" y="1668"/>
                  </a:lnTo>
                  <a:lnTo>
                    <a:pt x="986" y="1661"/>
                  </a:lnTo>
                  <a:lnTo>
                    <a:pt x="982" y="1654"/>
                  </a:lnTo>
                  <a:lnTo>
                    <a:pt x="978" y="1646"/>
                  </a:lnTo>
                  <a:lnTo>
                    <a:pt x="974" y="1638"/>
                  </a:lnTo>
                  <a:lnTo>
                    <a:pt x="971" y="1629"/>
                  </a:lnTo>
                  <a:lnTo>
                    <a:pt x="969" y="1620"/>
                  </a:lnTo>
                  <a:lnTo>
                    <a:pt x="967" y="1610"/>
                  </a:lnTo>
                  <a:lnTo>
                    <a:pt x="966" y="1600"/>
                  </a:lnTo>
                  <a:lnTo>
                    <a:pt x="965" y="1590"/>
                  </a:lnTo>
                  <a:lnTo>
                    <a:pt x="966" y="1583"/>
                  </a:lnTo>
                  <a:lnTo>
                    <a:pt x="966" y="1576"/>
                  </a:lnTo>
                  <a:lnTo>
                    <a:pt x="967" y="1570"/>
                  </a:lnTo>
                  <a:lnTo>
                    <a:pt x="968" y="1563"/>
                  </a:lnTo>
                  <a:lnTo>
                    <a:pt x="971" y="1551"/>
                  </a:lnTo>
                  <a:lnTo>
                    <a:pt x="973" y="1545"/>
                  </a:lnTo>
                  <a:lnTo>
                    <a:pt x="976" y="1539"/>
                  </a:lnTo>
                  <a:lnTo>
                    <a:pt x="979" y="1534"/>
                  </a:lnTo>
                  <a:lnTo>
                    <a:pt x="982" y="1528"/>
                  </a:lnTo>
                  <a:lnTo>
                    <a:pt x="988" y="1518"/>
                  </a:lnTo>
                  <a:lnTo>
                    <a:pt x="996" y="1508"/>
                  </a:lnTo>
                  <a:lnTo>
                    <a:pt x="1005" y="1499"/>
                  </a:lnTo>
                  <a:lnTo>
                    <a:pt x="1015" y="1491"/>
                  </a:lnTo>
                  <a:lnTo>
                    <a:pt x="1026" y="1484"/>
                  </a:lnTo>
                  <a:lnTo>
                    <a:pt x="1037" y="1478"/>
                  </a:lnTo>
                  <a:lnTo>
                    <a:pt x="1044" y="1475"/>
                  </a:lnTo>
                  <a:lnTo>
                    <a:pt x="1050" y="1473"/>
                  </a:lnTo>
                  <a:lnTo>
                    <a:pt x="1063" y="1469"/>
                  </a:lnTo>
                  <a:lnTo>
                    <a:pt x="1070" y="1467"/>
                  </a:lnTo>
                  <a:lnTo>
                    <a:pt x="1077" y="1466"/>
                  </a:lnTo>
                  <a:lnTo>
                    <a:pt x="1085" y="1464"/>
                  </a:lnTo>
                  <a:lnTo>
                    <a:pt x="1092" y="1464"/>
                  </a:lnTo>
                  <a:lnTo>
                    <a:pt x="1107" y="1463"/>
                  </a:lnTo>
                  <a:lnTo>
                    <a:pt x="1122" y="1464"/>
                  </a:lnTo>
                  <a:lnTo>
                    <a:pt x="1137" y="1465"/>
                  </a:lnTo>
                  <a:lnTo>
                    <a:pt x="1145" y="1466"/>
                  </a:lnTo>
                  <a:lnTo>
                    <a:pt x="1152" y="1467"/>
                  </a:lnTo>
                  <a:lnTo>
                    <a:pt x="1159" y="1468"/>
                  </a:lnTo>
                  <a:lnTo>
                    <a:pt x="1166" y="1470"/>
                  </a:lnTo>
                  <a:lnTo>
                    <a:pt x="1180" y="1474"/>
                  </a:lnTo>
                  <a:lnTo>
                    <a:pt x="1193" y="1479"/>
                  </a:lnTo>
                  <a:lnTo>
                    <a:pt x="1206" y="1484"/>
                  </a:lnTo>
                  <a:lnTo>
                    <a:pt x="1217" y="1490"/>
                  </a:lnTo>
                  <a:lnTo>
                    <a:pt x="1219" y="1492"/>
                  </a:lnTo>
                  <a:lnTo>
                    <a:pt x="1221" y="1494"/>
                  </a:lnTo>
                  <a:lnTo>
                    <a:pt x="1222" y="1496"/>
                  </a:lnTo>
                  <a:lnTo>
                    <a:pt x="1223" y="1498"/>
                  </a:lnTo>
                  <a:lnTo>
                    <a:pt x="1223" y="1502"/>
                  </a:lnTo>
                  <a:lnTo>
                    <a:pt x="1221" y="1507"/>
                  </a:lnTo>
                  <a:lnTo>
                    <a:pt x="1197" y="1562"/>
                  </a:lnTo>
                  <a:lnTo>
                    <a:pt x="1194" y="1567"/>
                  </a:lnTo>
                  <a:lnTo>
                    <a:pt x="1192" y="1569"/>
                  </a:lnTo>
                  <a:lnTo>
                    <a:pt x="1191" y="1570"/>
                  </a:lnTo>
                  <a:lnTo>
                    <a:pt x="1186" y="1570"/>
                  </a:lnTo>
                  <a:lnTo>
                    <a:pt x="1184" y="1570"/>
                  </a:lnTo>
                  <a:lnTo>
                    <a:pt x="1181" y="1569"/>
                  </a:lnTo>
                  <a:lnTo>
                    <a:pt x="1172" y="1565"/>
                  </a:lnTo>
                  <a:lnTo>
                    <a:pt x="1164" y="1561"/>
                  </a:lnTo>
                  <a:lnTo>
                    <a:pt x="1156" y="1558"/>
                  </a:lnTo>
                  <a:lnTo>
                    <a:pt x="1147" y="1555"/>
                  </a:lnTo>
                  <a:lnTo>
                    <a:pt x="1139" y="1552"/>
                  </a:lnTo>
                  <a:lnTo>
                    <a:pt x="1130" y="1551"/>
                  </a:lnTo>
                  <a:lnTo>
                    <a:pt x="1121" y="1550"/>
                  </a:lnTo>
                  <a:lnTo>
                    <a:pt x="1111" y="1549"/>
                  </a:lnTo>
                  <a:lnTo>
                    <a:pt x="1101" y="1550"/>
                  </a:lnTo>
                  <a:lnTo>
                    <a:pt x="1092" y="1552"/>
                  </a:lnTo>
                  <a:lnTo>
                    <a:pt x="1088" y="1553"/>
                  </a:lnTo>
                  <a:lnTo>
                    <a:pt x="1085" y="1555"/>
                  </a:lnTo>
                  <a:lnTo>
                    <a:pt x="1078" y="1559"/>
                  </a:lnTo>
                  <a:lnTo>
                    <a:pt x="1075" y="1561"/>
                  </a:lnTo>
                  <a:lnTo>
                    <a:pt x="1073" y="1564"/>
                  </a:lnTo>
                  <a:lnTo>
                    <a:pt x="1071" y="1567"/>
                  </a:lnTo>
                  <a:lnTo>
                    <a:pt x="1069" y="1570"/>
                  </a:lnTo>
                  <a:lnTo>
                    <a:pt x="1068" y="1573"/>
                  </a:lnTo>
                  <a:lnTo>
                    <a:pt x="1067" y="1576"/>
                  </a:lnTo>
                  <a:lnTo>
                    <a:pt x="1067" y="1580"/>
                  </a:lnTo>
                  <a:lnTo>
                    <a:pt x="1067" y="1583"/>
                  </a:lnTo>
                  <a:lnTo>
                    <a:pt x="1067" y="1587"/>
                  </a:lnTo>
                  <a:lnTo>
                    <a:pt x="1067" y="1590"/>
                  </a:lnTo>
                  <a:lnTo>
                    <a:pt x="1069" y="1597"/>
                  </a:lnTo>
                  <a:lnTo>
                    <a:pt x="1073" y="1602"/>
                  </a:lnTo>
                  <a:lnTo>
                    <a:pt x="1075" y="1605"/>
                  </a:lnTo>
                  <a:lnTo>
                    <a:pt x="1077" y="1608"/>
                  </a:lnTo>
                  <a:lnTo>
                    <a:pt x="1080" y="1610"/>
                  </a:lnTo>
                  <a:lnTo>
                    <a:pt x="1083" y="1612"/>
                  </a:lnTo>
                  <a:lnTo>
                    <a:pt x="1090" y="1617"/>
                  </a:lnTo>
                  <a:lnTo>
                    <a:pt x="1098" y="1621"/>
                  </a:lnTo>
                  <a:lnTo>
                    <a:pt x="1108" y="1626"/>
                  </a:lnTo>
                  <a:lnTo>
                    <a:pt x="1170" y="1655"/>
                  </a:lnTo>
                  <a:lnTo>
                    <a:pt x="1178" y="1659"/>
                  </a:lnTo>
                  <a:lnTo>
                    <a:pt x="1185" y="1663"/>
                  </a:lnTo>
                  <a:lnTo>
                    <a:pt x="1193" y="1667"/>
                  </a:lnTo>
                  <a:lnTo>
                    <a:pt x="1199" y="1672"/>
                  </a:lnTo>
                  <a:lnTo>
                    <a:pt x="1206" y="1678"/>
                  </a:lnTo>
                  <a:lnTo>
                    <a:pt x="1212" y="1684"/>
                  </a:lnTo>
                  <a:lnTo>
                    <a:pt x="1217" y="1690"/>
                  </a:lnTo>
                  <a:lnTo>
                    <a:pt x="1222" y="1696"/>
                  </a:lnTo>
                  <a:lnTo>
                    <a:pt x="1225" y="1700"/>
                  </a:lnTo>
                  <a:lnTo>
                    <a:pt x="1227" y="1703"/>
                  </a:lnTo>
                  <a:lnTo>
                    <a:pt x="1231" y="1711"/>
                  </a:lnTo>
                  <a:lnTo>
                    <a:pt x="1234" y="1719"/>
                  </a:lnTo>
                  <a:lnTo>
                    <a:pt x="1237" y="1727"/>
                  </a:lnTo>
                  <a:lnTo>
                    <a:pt x="1239" y="1731"/>
                  </a:lnTo>
                  <a:lnTo>
                    <a:pt x="1240" y="1736"/>
                  </a:lnTo>
                  <a:lnTo>
                    <a:pt x="1241" y="1745"/>
                  </a:lnTo>
                  <a:lnTo>
                    <a:pt x="1242" y="1755"/>
                  </a:lnTo>
                  <a:lnTo>
                    <a:pt x="1243" y="1766"/>
                  </a:lnTo>
                  <a:lnTo>
                    <a:pt x="1243" y="1773"/>
                  </a:lnTo>
                  <a:lnTo>
                    <a:pt x="1242" y="1780"/>
                  </a:lnTo>
                  <a:lnTo>
                    <a:pt x="1240" y="1793"/>
                  </a:lnTo>
                  <a:lnTo>
                    <a:pt x="1238" y="1799"/>
                  </a:lnTo>
                  <a:lnTo>
                    <a:pt x="1236" y="1806"/>
                  </a:lnTo>
                  <a:lnTo>
                    <a:pt x="1232" y="1818"/>
                  </a:lnTo>
                  <a:lnTo>
                    <a:pt x="1229" y="1824"/>
                  </a:lnTo>
                  <a:lnTo>
                    <a:pt x="1226" y="1829"/>
                  </a:lnTo>
                  <a:lnTo>
                    <a:pt x="1222" y="1835"/>
                  </a:lnTo>
                  <a:lnTo>
                    <a:pt x="1218" y="1840"/>
                  </a:lnTo>
                  <a:lnTo>
                    <a:pt x="1214" y="1845"/>
                  </a:lnTo>
                  <a:lnTo>
                    <a:pt x="1210" y="1850"/>
                  </a:lnTo>
                  <a:lnTo>
                    <a:pt x="1206" y="1855"/>
                  </a:lnTo>
                  <a:lnTo>
                    <a:pt x="1201" y="1859"/>
                  </a:lnTo>
                  <a:lnTo>
                    <a:pt x="1196" y="1863"/>
                  </a:lnTo>
                  <a:lnTo>
                    <a:pt x="1190" y="1867"/>
                  </a:lnTo>
                  <a:lnTo>
                    <a:pt x="1179" y="1875"/>
                  </a:lnTo>
                  <a:lnTo>
                    <a:pt x="1173" y="1878"/>
                  </a:lnTo>
                  <a:lnTo>
                    <a:pt x="1166" y="1881"/>
                  </a:lnTo>
                  <a:lnTo>
                    <a:pt x="1160" y="1884"/>
                  </a:lnTo>
                  <a:lnTo>
                    <a:pt x="1153" y="1886"/>
                  </a:lnTo>
                  <a:lnTo>
                    <a:pt x="1139" y="1890"/>
                  </a:lnTo>
                  <a:lnTo>
                    <a:pt x="1132" y="1892"/>
                  </a:lnTo>
                  <a:lnTo>
                    <a:pt x="1124" y="1893"/>
                  </a:lnTo>
                  <a:lnTo>
                    <a:pt x="1117" y="1895"/>
                  </a:lnTo>
                  <a:lnTo>
                    <a:pt x="1109" y="1895"/>
                  </a:lnTo>
                  <a:lnTo>
                    <a:pt x="1093" y="1896"/>
                  </a:lnTo>
                  <a:lnTo>
                    <a:pt x="1075" y="1895"/>
                  </a:lnTo>
                  <a:lnTo>
                    <a:pt x="1066" y="1894"/>
                  </a:lnTo>
                  <a:lnTo>
                    <a:pt x="1057" y="1893"/>
                  </a:lnTo>
                  <a:lnTo>
                    <a:pt x="1048" y="1891"/>
                  </a:lnTo>
                  <a:lnTo>
                    <a:pt x="1040" y="1890"/>
                  </a:lnTo>
                  <a:lnTo>
                    <a:pt x="1031" y="1887"/>
                  </a:lnTo>
                  <a:lnTo>
                    <a:pt x="1023" y="1885"/>
                  </a:lnTo>
                  <a:lnTo>
                    <a:pt x="1007" y="1880"/>
                  </a:lnTo>
                  <a:lnTo>
                    <a:pt x="992" y="1873"/>
                  </a:lnTo>
                  <a:lnTo>
                    <a:pt x="977" y="1866"/>
                  </a:lnTo>
                  <a:lnTo>
                    <a:pt x="964" y="1859"/>
                  </a:lnTo>
                  <a:lnTo>
                    <a:pt x="961" y="1857"/>
                  </a:lnTo>
                  <a:lnTo>
                    <a:pt x="959" y="1854"/>
                  </a:lnTo>
                  <a:lnTo>
                    <a:pt x="958" y="1852"/>
                  </a:lnTo>
                  <a:lnTo>
                    <a:pt x="957" y="1850"/>
                  </a:lnTo>
                  <a:lnTo>
                    <a:pt x="958" y="1846"/>
                  </a:lnTo>
                  <a:lnTo>
                    <a:pt x="960" y="1842"/>
                  </a:lnTo>
                  <a:lnTo>
                    <a:pt x="984" y="1787"/>
                  </a:lnTo>
                  <a:lnTo>
                    <a:pt x="987" y="1782"/>
                  </a:lnTo>
                  <a:lnTo>
                    <a:pt x="989" y="1780"/>
                  </a:lnTo>
                  <a:lnTo>
                    <a:pt x="990" y="1779"/>
                  </a:lnTo>
                  <a:lnTo>
                    <a:pt x="993" y="1778"/>
                  </a:lnTo>
                  <a:lnTo>
                    <a:pt x="995" y="1778"/>
                  </a:lnTo>
                  <a:lnTo>
                    <a:pt x="997" y="1779"/>
                  </a:lnTo>
                  <a:lnTo>
                    <a:pt x="1000" y="1780"/>
                  </a:lnTo>
                  <a:lnTo>
                    <a:pt x="1012" y="1787"/>
                  </a:lnTo>
                  <a:lnTo>
                    <a:pt x="1023" y="1792"/>
                  </a:lnTo>
                  <a:lnTo>
                    <a:pt x="1034" y="1797"/>
                  </a:lnTo>
                  <a:lnTo>
                    <a:pt x="1045" y="1802"/>
                  </a:lnTo>
                  <a:lnTo>
                    <a:pt x="1056" y="1805"/>
                  </a:lnTo>
                  <a:lnTo>
                    <a:pt x="1067" y="1808"/>
                  </a:lnTo>
                  <a:lnTo>
                    <a:pt x="1079" y="1809"/>
                  </a:lnTo>
                  <a:lnTo>
                    <a:pt x="1090" y="1810"/>
                  </a:lnTo>
                  <a:close/>
                  <a:moveTo>
                    <a:pt x="512" y="1480"/>
                  </a:moveTo>
                  <a:lnTo>
                    <a:pt x="512" y="1478"/>
                  </a:lnTo>
                  <a:lnTo>
                    <a:pt x="513" y="1476"/>
                  </a:lnTo>
                  <a:lnTo>
                    <a:pt x="515" y="1473"/>
                  </a:lnTo>
                  <a:lnTo>
                    <a:pt x="516" y="1472"/>
                  </a:lnTo>
                  <a:lnTo>
                    <a:pt x="518" y="1471"/>
                  </a:lnTo>
                  <a:lnTo>
                    <a:pt x="522" y="1470"/>
                  </a:lnTo>
                  <a:lnTo>
                    <a:pt x="606" y="1470"/>
                  </a:lnTo>
                  <a:lnTo>
                    <a:pt x="609" y="1471"/>
                  </a:lnTo>
                  <a:lnTo>
                    <a:pt x="612" y="1473"/>
                  </a:lnTo>
                  <a:lnTo>
                    <a:pt x="613" y="1474"/>
                  </a:lnTo>
                  <a:lnTo>
                    <a:pt x="614" y="1476"/>
                  </a:lnTo>
                  <a:lnTo>
                    <a:pt x="614" y="1478"/>
                  </a:lnTo>
                  <a:lnTo>
                    <a:pt x="615" y="1480"/>
                  </a:lnTo>
                  <a:lnTo>
                    <a:pt x="615" y="1797"/>
                  </a:lnTo>
                  <a:lnTo>
                    <a:pt x="689" y="1797"/>
                  </a:lnTo>
                  <a:lnTo>
                    <a:pt x="693" y="1797"/>
                  </a:lnTo>
                  <a:lnTo>
                    <a:pt x="696" y="1799"/>
                  </a:lnTo>
                  <a:lnTo>
                    <a:pt x="697" y="1801"/>
                  </a:lnTo>
                  <a:lnTo>
                    <a:pt x="697" y="1803"/>
                  </a:lnTo>
                  <a:lnTo>
                    <a:pt x="698" y="1804"/>
                  </a:lnTo>
                  <a:lnTo>
                    <a:pt x="698" y="1807"/>
                  </a:lnTo>
                  <a:lnTo>
                    <a:pt x="698" y="1879"/>
                  </a:lnTo>
                  <a:lnTo>
                    <a:pt x="698" y="1881"/>
                  </a:lnTo>
                  <a:lnTo>
                    <a:pt x="697" y="1883"/>
                  </a:lnTo>
                  <a:lnTo>
                    <a:pt x="696" y="1886"/>
                  </a:lnTo>
                  <a:lnTo>
                    <a:pt x="694" y="1887"/>
                  </a:lnTo>
                  <a:lnTo>
                    <a:pt x="693" y="1888"/>
                  </a:lnTo>
                  <a:lnTo>
                    <a:pt x="691" y="1889"/>
                  </a:lnTo>
                  <a:lnTo>
                    <a:pt x="689" y="1889"/>
                  </a:lnTo>
                  <a:lnTo>
                    <a:pt x="522" y="1889"/>
                  </a:lnTo>
                  <a:lnTo>
                    <a:pt x="518" y="1888"/>
                  </a:lnTo>
                  <a:lnTo>
                    <a:pt x="515" y="1886"/>
                  </a:lnTo>
                  <a:lnTo>
                    <a:pt x="513" y="1883"/>
                  </a:lnTo>
                  <a:lnTo>
                    <a:pt x="512" y="1881"/>
                  </a:lnTo>
                  <a:lnTo>
                    <a:pt x="512" y="1879"/>
                  </a:lnTo>
                  <a:lnTo>
                    <a:pt x="512" y="1480"/>
                  </a:lnTo>
                  <a:close/>
                  <a:moveTo>
                    <a:pt x="777" y="1480"/>
                  </a:moveTo>
                  <a:lnTo>
                    <a:pt x="777" y="1478"/>
                  </a:lnTo>
                  <a:lnTo>
                    <a:pt x="778" y="1476"/>
                  </a:lnTo>
                  <a:lnTo>
                    <a:pt x="780" y="1473"/>
                  </a:lnTo>
                  <a:lnTo>
                    <a:pt x="781" y="1472"/>
                  </a:lnTo>
                  <a:lnTo>
                    <a:pt x="783" y="1471"/>
                  </a:lnTo>
                  <a:lnTo>
                    <a:pt x="787" y="1470"/>
                  </a:lnTo>
                  <a:lnTo>
                    <a:pt x="869" y="1470"/>
                  </a:lnTo>
                  <a:lnTo>
                    <a:pt x="873" y="1471"/>
                  </a:lnTo>
                  <a:lnTo>
                    <a:pt x="876" y="1473"/>
                  </a:lnTo>
                  <a:lnTo>
                    <a:pt x="878" y="1474"/>
                  </a:lnTo>
                  <a:lnTo>
                    <a:pt x="879" y="1476"/>
                  </a:lnTo>
                  <a:lnTo>
                    <a:pt x="879" y="1478"/>
                  </a:lnTo>
                  <a:lnTo>
                    <a:pt x="879" y="1480"/>
                  </a:lnTo>
                  <a:lnTo>
                    <a:pt x="879" y="1879"/>
                  </a:lnTo>
                  <a:lnTo>
                    <a:pt x="879" y="1881"/>
                  </a:lnTo>
                  <a:lnTo>
                    <a:pt x="879" y="1883"/>
                  </a:lnTo>
                  <a:lnTo>
                    <a:pt x="876" y="1886"/>
                  </a:lnTo>
                  <a:lnTo>
                    <a:pt x="875" y="1887"/>
                  </a:lnTo>
                  <a:lnTo>
                    <a:pt x="873" y="1888"/>
                  </a:lnTo>
                  <a:lnTo>
                    <a:pt x="869" y="1889"/>
                  </a:lnTo>
                  <a:lnTo>
                    <a:pt x="787" y="1889"/>
                  </a:lnTo>
                  <a:lnTo>
                    <a:pt x="783" y="1888"/>
                  </a:lnTo>
                  <a:lnTo>
                    <a:pt x="780" y="1886"/>
                  </a:lnTo>
                  <a:lnTo>
                    <a:pt x="779" y="1885"/>
                  </a:lnTo>
                  <a:lnTo>
                    <a:pt x="778" y="1883"/>
                  </a:lnTo>
                  <a:lnTo>
                    <a:pt x="777" y="1881"/>
                  </a:lnTo>
                  <a:lnTo>
                    <a:pt x="777" y="1879"/>
                  </a:lnTo>
                  <a:lnTo>
                    <a:pt x="777" y="14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11049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lhuet Blu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C2DDDB8C-228E-4D31-8311-E643D14DB761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RIA - RKL yrittäjäpäivä 1.11.202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0148927-3435-4F7D-ABDF-7627D06F6934}"/>
              </a:ext>
            </a:extLst>
          </p:cNvPr>
          <p:cNvGrpSpPr/>
          <p:nvPr userDrawn="1"/>
        </p:nvGrpSpPr>
        <p:grpSpPr>
          <a:xfrm>
            <a:off x="0" y="4077072"/>
            <a:ext cx="9874285" cy="1872000"/>
            <a:chOff x="0" y="4077072"/>
            <a:chExt cx="9874285" cy="1872000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3D5CA6BC-B95B-4DCC-A876-2FE4BFA44B58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0" y="4077072"/>
              <a:ext cx="9874285" cy="1872000"/>
            </a:xfrm>
            <a:custGeom>
              <a:avLst/>
              <a:gdLst>
                <a:gd name="T0" fmla="*/ 10894 w 23040"/>
                <a:gd name="T1" fmla="*/ 3037 h 4369"/>
                <a:gd name="T2" fmla="*/ 10931 w 23040"/>
                <a:gd name="T3" fmla="*/ 2661 h 4369"/>
                <a:gd name="T4" fmla="*/ 13479 w 23040"/>
                <a:gd name="T5" fmla="*/ 2241 h 4369"/>
                <a:gd name="T6" fmla="*/ 12981 w 23040"/>
                <a:gd name="T7" fmla="*/ 1865 h 4369"/>
                <a:gd name="T8" fmla="*/ 13222 w 23040"/>
                <a:gd name="T9" fmla="*/ 1543 h 4369"/>
                <a:gd name="T10" fmla="*/ 13525 w 23040"/>
                <a:gd name="T11" fmla="*/ 3907 h 4369"/>
                <a:gd name="T12" fmla="*/ 12729 w 23040"/>
                <a:gd name="T13" fmla="*/ 3813 h 4369"/>
                <a:gd name="T14" fmla="*/ 10912 w 23040"/>
                <a:gd name="T15" fmla="*/ 2402 h 4369"/>
                <a:gd name="T16" fmla="*/ 16652 w 23040"/>
                <a:gd name="T17" fmla="*/ 970 h 4369"/>
                <a:gd name="T18" fmla="*/ 16232 w 23040"/>
                <a:gd name="T19" fmla="*/ 332 h 4369"/>
                <a:gd name="T20" fmla="*/ 15103 w 23040"/>
                <a:gd name="T21" fmla="*/ 2262 h 4369"/>
                <a:gd name="T22" fmla="*/ 12814 w 23040"/>
                <a:gd name="T23" fmla="*/ 2991 h 4369"/>
                <a:gd name="T24" fmla="*/ 11678 w 23040"/>
                <a:gd name="T25" fmla="*/ 3172 h 4369"/>
                <a:gd name="T26" fmla="*/ 12355 w 23040"/>
                <a:gd name="T27" fmla="*/ 2838 h 4369"/>
                <a:gd name="T28" fmla="*/ 12184 w 23040"/>
                <a:gd name="T29" fmla="*/ 4304 h 4369"/>
                <a:gd name="T30" fmla="*/ 11739 w 23040"/>
                <a:gd name="T31" fmla="*/ 2627 h 4369"/>
                <a:gd name="T32" fmla="*/ 11666 w 23040"/>
                <a:gd name="T33" fmla="*/ 2291 h 4369"/>
                <a:gd name="T34" fmla="*/ 11184 w 23040"/>
                <a:gd name="T35" fmla="*/ 3107 h 4369"/>
                <a:gd name="T36" fmla="*/ 11469 w 23040"/>
                <a:gd name="T37" fmla="*/ 1044 h 4369"/>
                <a:gd name="T38" fmla="*/ 13150 w 23040"/>
                <a:gd name="T39" fmla="*/ 754 h 4369"/>
                <a:gd name="T40" fmla="*/ 16863 w 23040"/>
                <a:gd name="T41" fmla="*/ 4331 h 4369"/>
                <a:gd name="T42" fmla="*/ 14362 w 23040"/>
                <a:gd name="T43" fmla="*/ 3771 h 4369"/>
                <a:gd name="T44" fmla="*/ 14362 w 23040"/>
                <a:gd name="T45" fmla="*/ 3373 h 4369"/>
                <a:gd name="T46" fmla="*/ 14105 w 23040"/>
                <a:gd name="T47" fmla="*/ 3277 h 4369"/>
                <a:gd name="T48" fmla="*/ 14091 w 23040"/>
                <a:gd name="T49" fmla="*/ 2881 h 4369"/>
                <a:gd name="T50" fmla="*/ 20731 w 23040"/>
                <a:gd name="T51" fmla="*/ 4008 h 4369"/>
                <a:gd name="T52" fmla="*/ 19002 w 23040"/>
                <a:gd name="T53" fmla="*/ 3795 h 4369"/>
                <a:gd name="T54" fmla="*/ 19052 w 23040"/>
                <a:gd name="T55" fmla="*/ 3549 h 4369"/>
                <a:gd name="T56" fmla="*/ 19727 w 23040"/>
                <a:gd name="T57" fmla="*/ 3547 h 4369"/>
                <a:gd name="T58" fmla="*/ 21772 w 23040"/>
                <a:gd name="T59" fmla="*/ 1759 h 4369"/>
                <a:gd name="T60" fmla="*/ 20169 w 23040"/>
                <a:gd name="T61" fmla="*/ 1874 h 4369"/>
                <a:gd name="T62" fmla="*/ 18388 w 23040"/>
                <a:gd name="T63" fmla="*/ 2546 h 4369"/>
                <a:gd name="T64" fmla="*/ 19509 w 23040"/>
                <a:gd name="T65" fmla="*/ 3625 h 4369"/>
                <a:gd name="T66" fmla="*/ 18969 w 23040"/>
                <a:gd name="T67" fmla="*/ 3381 h 4369"/>
                <a:gd name="T68" fmla="*/ 2798 w 23040"/>
                <a:gd name="T69" fmla="*/ 3193 h 4369"/>
                <a:gd name="T70" fmla="*/ 440 w 23040"/>
                <a:gd name="T71" fmla="*/ 2751 h 4369"/>
                <a:gd name="T72" fmla="*/ 2868 w 23040"/>
                <a:gd name="T73" fmla="*/ 4141 h 4369"/>
                <a:gd name="T74" fmla="*/ 837 w 23040"/>
                <a:gd name="T75" fmla="*/ 3250 h 4369"/>
                <a:gd name="T76" fmla="*/ 823 w 23040"/>
                <a:gd name="T77" fmla="*/ 3336 h 4369"/>
                <a:gd name="T78" fmla="*/ 1107 w 23040"/>
                <a:gd name="T79" fmla="*/ 3717 h 4369"/>
                <a:gd name="T80" fmla="*/ 1080 w 23040"/>
                <a:gd name="T81" fmla="*/ 3810 h 4369"/>
                <a:gd name="T82" fmla="*/ 188 w 23040"/>
                <a:gd name="T83" fmla="*/ 1799 h 4369"/>
                <a:gd name="T84" fmla="*/ 2556 w 23040"/>
                <a:gd name="T85" fmla="*/ 2016 h 4369"/>
                <a:gd name="T86" fmla="*/ 2583 w 23040"/>
                <a:gd name="T87" fmla="*/ 2578 h 4369"/>
                <a:gd name="T88" fmla="*/ 8182 w 23040"/>
                <a:gd name="T89" fmla="*/ 2792 h 4369"/>
                <a:gd name="T90" fmla="*/ 9070 w 23040"/>
                <a:gd name="T91" fmla="*/ 2753 h 4369"/>
                <a:gd name="T92" fmla="*/ 6863 w 23040"/>
                <a:gd name="T93" fmla="*/ 2176 h 4369"/>
                <a:gd name="T94" fmla="*/ 6215 w 23040"/>
                <a:gd name="T95" fmla="*/ 2702 h 4369"/>
                <a:gd name="T96" fmla="*/ 7097 w 23040"/>
                <a:gd name="T97" fmla="*/ 2957 h 4369"/>
                <a:gd name="T98" fmla="*/ 6454 w 23040"/>
                <a:gd name="T99" fmla="*/ 3498 h 4369"/>
                <a:gd name="T100" fmla="*/ 6384 w 23040"/>
                <a:gd name="T101" fmla="*/ 4003 h 4369"/>
                <a:gd name="T102" fmla="*/ 8037 w 23040"/>
                <a:gd name="T103" fmla="*/ 2925 h 4369"/>
                <a:gd name="T104" fmla="*/ 8332 w 23040"/>
                <a:gd name="T105" fmla="*/ 3308 h 4369"/>
                <a:gd name="T106" fmla="*/ 8296 w 23040"/>
                <a:gd name="T107" fmla="*/ 3424 h 4369"/>
                <a:gd name="T108" fmla="*/ 8598 w 23040"/>
                <a:gd name="T109" fmla="*/ 3792 h 4369"/>
                <a:gd name="T110" fmla="*/ 5650 w 23040"/>
                <a:gd name="T111" fmla="*/ 1956 h 4369"/>
                <a:gd name="T112" fmla="*/ 8119 w 23040"/>
                <a:gd name="T113" fmla="*/ 245 h 4369"/>
                <a:gd name="T114" fmla="*/ 4680 w 23040"/>
                <a:gd name="T115" fmla="*/ 942 h 4369"/>
                <a:gd name="T116" fmla="*/ 5027 w 23040"/>
                <a:gd name="T117" fmla="*/ 2616 h 4369"/>
                <a:gd name="T118" fmla="*/ 4991 w 23040"/>
                <a:gd name="T119" fmla="*/ 2732 h 4369"/>
                <a:gd name="T120" fmla="*/ 5292 w 23040"/>
                <a:gd name="T121" fmla="*/ 3101 h 4369"/>
                <a:gd name="T122" fmla="*/ 5252 w 23040"/>
                <a:gd name="T123" fmla="*/ 3235 h 4369"/>
                <a:gd name="T124" fmla="*/ 3326 w 23040"/>
                <a:gd name="T125" fmla="*/ 3951 h 4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040" h="4369">
                  <a:moveTo>
                    <a:pt x="10933" y="3163"/>
                  </a:moveTo>
                  <a:lnTo>
                    <a:pt x="10933" y="3274"/>
                  </a:lnTo>
                  <a:lnTo>
                    <a:pt x="10931" y="3283"/>
                  </a:lnTo>
                  <a:lnTo>
                    <a:pt x="10926" y="3290"/>
                  </a:lnTo>
                  <a:lnTo>
                    <a:pt x="10920" y="3294"/>
                  </a:lnTo>
                  <a:lnTo>
                    <a:pt x="10912" y="3295"/>
                  </a:lnTo>
                  <a:lnTo>
                    <a:pt x="10906" y="3294"/>
                  </a:lnTo>
                  <a:lnTo>
                    <a:pt x="10899" y="3290"/>
                  </a:lnTo>
                  <a:lnTo>
                    <a:pt x="10894" y="3283"/>
                  </a:lnTo>
                  <a:lnTo>
                    <a:pt x="10893" y="3274"/>
                  </a:lnTo>
                  <a:lnTo>
                    <a:pt x="10893" y="3163"/>
                  </a:lnTo>
                  <a:lnTo>
                    <a:pt x="10894" y="3154"/>
                  </a:lnTo>
                  <a:lnTo>
                    <a:pt x="10899" y="3148"/>
                  </a:lnTo>
                  <a:lnTo>
                    <a:pt x="10906" y="3144"/>
                  </a:lnTo>
                  <a:lnTo>
                    <a:pt x="10912" y="3143"/>
                  </a:lnTo>
                  <a:lnTo>
                    <a:pt x="10920" y="3144"/>
                  </a:lnTo>
                  <a:lnTo>
                    <a:pt x="10926" y="3148"/>
                  </a:lnTo>
                  <a:lnTo>
                    <a:pt x="10931" y="3154"/>
                  </a:lnTo>
                  <a:lnTo>
                    <a:pt x="10933" y="3163"/>
                  </a:lnTo>
                  <a:close/>
                  <a:moveTo>
                    <a:pt x="10670" y="3163"/>
                  </a:moveTo>
                  <a:lnTo>
                    <a:pt x="10670" y="3274"/>
                  </a:lnTo>
                  <a:lnTo>
                    <a:pt x="10669" y="3283"/>
                  </a:lnTo>
                  <a:lnTo>
                    <a:pt x="10663" y="3290"/>
                  </a:lnTo>
                  <a:lnTo>
                    <a:pt x="10657" y="3294"/>
                  </a:lnTo>
                  <a:lnTo>
                    <a:pt x="10649" y="3295"/>
                  </a:lnTo>
                  <a:lnTo>
                    <a:pt x="10643" y="3294"/>
                  </a:lnTo>
                  <a:lnTo>
                    <a:pt x="10637" y="3290"/>
                  </a:lnTo>
                  <a:lnTo>
                    <a:pt x="10631" y="3283"/>
                  </a:lnTo>
                  <a:lnTo>
                    <a:pt x="10630" y="3274"/>
                  </a:lnTo>
                  <a:lnTo>
                    <a:pt x="10630" y="3163"/>
                  </a:lnTo>
                  <a:lnTo>
                    <a:pt x="10631" y="3154"/>
                  </a:lnTo>
                  <a:lnTo>
                    <a:pt x="10637" y="3148"/>
                  </a:lnTo>
                  <a:lnTo>
                    <a:pt x="10643" y="3144"/>
                  </a:lnTo>
                  <a:lnTo>
                    <a:pt x="10649" y="3143"/>
                  </a:lnTo>
                  <a:lnTo>
                    <a:pt x="10657" y="3144"/>
                  </a:lnTo>
                  <a:lnTo>
                    <a:pt x="10663" y="3148"/>
                  </a:lnTo>
                  <a:lnTo>
                    <a:pt x="10669" y="3154"/>
                  </a:lnTo>
                  <a:lnTo>
                    <a:pt x="10670" y="3163"/>
                  </a:lnTo>
                  <a:close/>
                  <a:moveTo>
                    <a:pt x="10407" y="3163"/>
                  </a:moveTo>
                  <a:lnTo>
                    <a:pt x="10407" y="3274"/>
                  </a:lnTo>
                  <a:lnTo>
                    <a:pt x="10404" y="3283"/>
                  </a:lnTo>
                  <a:lnTo>
                    <a:pt x="10401" y="3290"/>
                  </a:lnTo>
                  <a:lnTo>
                    <a:pt x="10394" y="3294"/>
                  </a:lnTo>
                  <a:lnTo>
                    <a:pt x="10386" y="3295"/>
                  </a:lnTo>
                  <a:lnTo>
                    <a:pt x="10379" y="3294"/>
                  </a:lnTo>
                  <a:lnTo>
                    <a:pt x="10372" y="3290"/>
                  </a:lnTo>
                  <a:lnTo>
                    <a:pt x="10369" y="3283"/>
                  </a:lnTo>
                  <a:lnTo>
                    <a:pt x="10366" y="3274"/>
                  </a:lnTo>
                  <a:lnTo>
                    <a:pt x="10366" y="3163"/>
                  </a:lnTo>
                  <a:lnTo>
                    <a:pt x="10369" y="3154"/>
                  </a:lnTo>
                  <a:lnTo>
                    <a:pt x="10372" y="3148"/>
                  </a:lnTo>
                  <a:lnTo>
                    <a:pt x="10379" y="3144"/>
                  </a:lnTo>
                  <a:lnTo>
                    <a:pt x="10386" y="3143"/>
                  </a:lnTo>
                  <a:lnTo>
                    <a:pt x="10394" y="3144"/>
                  </a:lnTo>
                  <a:lnTo>
                    <a:pt x="10401" y="3148"/>
                  </a:lnTo>
                  <a:lnTo>
                    <a:pt x="10404" y="3154"/>
                  </a:lnTo>
                  <a:lnTo>
                    <a:pt x="10407" y="3163"/>
                  </a:lnTo>
                  <a:close/>
                  <a:moveTo>
                    <a:pt x="10143" y="3163"/>
                  </a:moveTo>
                  <a:lnTo>
                    <a:pt x="10143" y="3274"/>
                  </a:lnTo>
                  <a:lnTo>
                    <a:pt x="10142" y="3283"/>
                  </a:lnTo>
                  <a:lnTo>
                    <a:pt x="10138" y="3290"/>
                  </a:lnTo>
                  <a:lnTo>
                    <a:pt x="10131" y="3294"/>
                  </a:lnTo>
                  <a:lnTo>
                    <a:pt x="10124" y="3295"/>
                  </a:lnTo>
                  <a:lnTo>
                    <a:pt x="10116" y="3294"/>
                  </a:lnTo>
                  <a:lnTo>
                    <a:pt x="10109" y="3290"/>
                  </a:lnTo>
                  <a:lnTo>
                    <a:pt x="10106" y="3283"/>
                  </a:lnTo>
                  <a:lnTo>
                    <a:pt x="10103" y="3274"/>
                  </a:lnTo>
                  <a:lnTo>
                    <a:pt x="10103" y="3163"/>
                  </a:lnTo>
                  <a:lnTo>
                    <a:pt x="10106" y="3154"/>
                  </a:lnTo>
                  <a:lnTo>
                    <a:pt x="10109" y="3148"/>
                  </a:lnTo>
                  <a:lnTo>
                    <a:pt x="10116" y="3144"/>
                  </a:lnTo>
                  <a:lnTo>
                    <a:pt x="10124" y="3143"/>
                  </a:lnTo>
                  <a:lnTo>
                    <a:pt x="10131" y="3144"/>
                  </a:lnTo>
                  <a:lnTo>
                    <a:pt x="10138" y="3148"/>
                  </a:lnTo>
                  <a:lnTo>
                    <a:pt x="10142" y="3154"/>
                  </a:lnTo>
                  <a:lnTo>
                    <a:pt x="10143" y="3163"/>
                  </a:lnTo>
                  <a:close/>
                  <a:moveTo>
                    <a:pt x="9880" y="3163"/>
                  </a:moveTo>
                  <a:lnTo>
                    <a:pt x="9880" y="3274"/>
                  </a:lnTo>
                  <a:lnTo>
                    <a:pt x="9879" y="3283"/>
                  </a:lnTo>
                  <a:lnTo>
                    <a:pt x="9874" y="3290"/>
                  </a:lnTo>
                  <a:lnTo>
                    <a:pt x="9867" y="3294"/>
                  </a:lnTo>
                  <a:lnTo>
                    <a:pt x="9861" y="3295"/>
                  </a:lnTo>
                  <a:lnTo>
                    <a:pt x="9853" y="3294"/>
                  </a:lnTo>
                  <a:lnTo>
                    <a:pt x="9847" y="3290"/>
                  </a:lnTo>
                  <a:lnTo>
                    <a:pt x="9841" y="3283"/>
                  </a:lnTo>
                  <a:lnTo>
                    <a:pt x="9840" y="3274"/>
                  </a:lnTo>
                  <a:lnTo>
                    <a:pt x="9840" y="3163"/>
                  </a:lnTo>
                  <a:lnTo>
                    <a:pt x="9841" y="3154"/>
                  </a:lnTo>
                  <a:lnTo>
                    <a:pt x="9847" y="3148"/>
                  </a:lnTo>
                  <a:lnTo>
                    <a:pt x="9853" y="3144"/>
                  </a:lnTo>
                  <a:lnTo>
                    <a:pt x="9861" y="3143"/>
                  </a:lnTo>
                  <a:lnTo>
                    <a:pt x="9867" y="3144"/>
                  </a:lnTo>
                  <a:lnTo>
                    <a:pt x="9874" y="3148"/>
                  </a:lnTo>
                  <a:lnTo>
                    <a:pt x="9879" y="3154"/>
                  </a:lnTo>
                  <a:lnTo>
                    <a:pt x="9880" y="3163"/>
                  </a:lnTo>
                  <a:close/>
                  <a:moveTo>
                    <a:pt x="9617" y="3163"/>
                  </a:moveTo>
                  <a:lnTo>
                    <a:pt x="9617" y="3274"/>
                  </a:lnTo>
                  <a:lnTo>
                    <a:pt x="9616" y="3283"/>
                  </a:lnTo>
                  <a:lnTo>
                    <a:pt x="9611" y="3290"/>
                  </a:lnTo>
                  <a:lnTo>
                    <a:pt x="9604" y="3294"/>
                  </a:lnTo>
                  <a:lnTo>
                    <a:pt x="9598" y="3295"/>
                  </a:lnTo>
                  <a:lnTo>
                    <a:pt x="9590" y="3294"/>
                  </a:lnTo>
                  <a:lnTo>
                    <a:pt x="9584" y="3290"/>
                  </a:lnTo>
                  <a:lnTo>
                    <a:pt x="9579" y="3283"/>
                  </a:lnTo>
                  <a:lnTo>
                    <a:pt x="9577" y="3274"/>
                  </a:lnTo>
                  <a:lnTo>
                    <a:pt x="9577" y="3163"/>
                  </a:lnTo>
                  <a:lnTo>
                    <a:pt x="9579" y="3154"/>
                  </a:lnTo>
                  <a:lnTo>
                    <a:pt x="9584" y="3148"/>
                  </a:lnTo>
                  <a:lnTo>
                    <a:pt x="9590" y="3144"/>
                  </a:lnTo>
                  <a:lnTo>
                    <a:pt x="9598" y="3143"/>
                  </a:lnTo>
                  <a:lnTo>
                    <a:pt x="9604" y="3144"/>
                  </a:lnTo>
                  <a:lnTo>
                    <a:pt x="9611" y="3148"/>
                  </a:lnTo>
                  <a:lnTo>
                    <a:pt x="9616" y="3154"/>
                  </a:lnTo>
                  <a:lnTo>
                    <a:pt x="9617" y="3163"/>
                  </a:lnTo>
                  <a:close/>
                  <a:moveTo>
                    <a:pt x="10933" y="2916"/>
                  </a:moveTo>
                  <a:lnTo>
                    <a:pt x="10933" y="3028"/>
                  </a:lnTo>
                  <a:lnTo>
                    <a:pt x="10931" y="3037"/>
                  </a:lnTo>
                  <a:lnTo>
                    <a:pt x="10926" y="3043"/>
                  </a:lnTo>
                  <a:lnTo>
                    <a:pt x="10920" y="3047"/>
                  </a:lnTo>
                  <a:lnTo>
                    <a:pt x="10912" y="3048"/>
                  </a:lnTo>
                  <a:lnTo>
                    <a:pt x="10906" y="3047"/>
                  </a:lnTo>
                  <a:lnTo>
                    <a:pt x="10899" y="3043"/>
                  </a:lnTo>
                  <a:lnTo>
                    <a:pt x="10894" y="3037"/>
                  </a:lnTo>
                  <a:lnTo>
                    <a:pt x="10893" y="3028"/>
                  </a:lnTo>
                  <a:lnTo>
                    <a:pt x="10893" y="2916"/>
                  </a:lnTo>
                  <a:lnTo>
                    <a:pt x="10894" y="2907"/>
                  </a:lnTo>
                  <a:lnTo>
                    <a:pt x="10899" y="2901"/>
                  </a:lnTo>
                  <a:lnTo>
                    <a:pt x="10906" y="2897"/>
                  </a:lnTo>
                  <a:lnTo>
                    <a:pt x="10912" y="2896"/>
                  </a:lnTo>
                  <a:lnTo>
                    <a:pt x="10920" y="2897"/>
                  </a:lnTo>
                  <a:lnTo>
                    <a:pt x="10926" y="2901"/>
                  </a:lnTo>
                  <a:lnTo>
                    <a:pt x="10931" y="2907"/>
                  </a:lnTo>
                  <a:lnTo>
                    <a:pt x="10933" y="2916"/>
                  </a:lnTo>
                  <a:close/>
                  <a:moveTo>
                    <a:pt x="10670" y="2916"/>
                  </a:moveTo>
                  <a:lnTo>
                    <a:pt x="10670" y="3028"/>
                  </a:lnTo>
                  <a:lnTo>
                    <a:pt x="10669" y="3037"/>
                  </a:lnTo>
                  <a:lnTo>
                    <a:pt x="10663" y="3043"/>
                  </a:lnTo>
                  <a:lnTo>
                    <a:pt x="10657" y="3047"/>
                  </a:lnTo>
                  <a:lnTo>
                    <a:pt x="10649" y="3048"/>
                  </a:lnTo>
                  <a:lnTo>
                    <a:pt x="10643" y="3047"/>
                  </a:lnTo>
                  <a:lnTo>
                    <a:pt x="10637" y="3043"/>
                  </a:lnTo>
                  <a:lnTo>
                    <a:pt x="10631" y="3037"/>
                  </a:lnTo>
                  <a:lnTo>
                    <a:pt x="10630" y="3028"/>
                  </a:lnTo>
                  <a:lnTo>
                    <a:pt x="10630" y="2916"/>
                  </a:lnTo>
                  <a:lnTo>
                    <a:pt x="10631" y="2907"/>
                  </a:lnTo>
                  <a:lnTo>
                    <a:pt x="10637" y="2901"/>
                  </a:lnTo>
                  <a:lnTo>
                    <a:pt x="10643" y="2897"/>
                  </a:lnTo>
                  <a:lnTo>
                    <a:pt x="10649" y="2896"/>
                  </a:lnTo>
                  <a:lnTo>
                    <a:pt x="10657" y="2897"/>
                  </a:lnTo>
                  <a:lnTo>
                    <a:pt x="10663" y="2901"/>
                  </a:lnTo>
                  <a:lnTo>
                    <a:pt x="10669" y="2907"/>
                  </a:lnTo>
                  <a:lnTo>
                    <a:pt x="10670" y="2916"/>
                  </a:lnTo>
                  <a:close/>
                  <a:moveTo>
                    <a:pt x="10407" y="2916"/>
                  </a:moveTo>
                  <a:lnTo>
                    <a:pt x="10407" y="3028"/>
                  </a:lnTo>
                  <a:lnTo>
                    <a:pt x="10404" y="3037"/>
                  </a:lnTo>
                  <a:lnTo>
                    <a:pt x="10401" y="3043"/>
                  </a:lnTo>
                  <a:lnTo>
                    <a:pt x="10394" y="3047"/>
                  </a:lnTo>
                  <a:lnTo>
                    <a:pt x="10386" y="3048"/>
                  </a:lnTo>
                  <a:lnTo>
                    <a:pt x="10379" y="3047"/>
                  </a:lnTo>
                  <a:lnTo>
                    <a:pt x="10372" y="3043"/>
                  </a:lnTo>
                  <a:lnTo>
                    <a:pt x="10369" y="3037"/>
                  </a:lnTo>
                  <a:lnTo>
                    <a:pt x="10366" y="3028"/>
                  </a:lnTo>
                  <a:lnTo>
                    <a:pt x="10366" y="2916"/>
                  </a:lnTo>
                  <a:lnTo>
                    <a:pt x="10369" y="2907"/>
                  </a:lnTo>
                  <a:lnTo>
                    <a:pt x="10372" y="2901"/>
                  </a:lnTo>
                  <a:lnTo>
                    <a:pt x="10379" y="2897"/>
                  </a:lnTo>
                  <a:lnTo>
                    <a:pt x="10386" y="2896"/>
                  </a:lnTo>
                  <a:lnTo>
                    <a:pt x="10394" y="2897"/>
                  </a:lnTo>
                  <a:lnTo>
                    <a:pt x="10401" y="2901"/>
                  </a:lnTo>
                  <a:lnTo>
                    <a:pt x="10404" y="2907"/>
                  </a:lnTo>
                  <a:lnTo>
                    <a:pt x="10407" y="2916"/>
                  </a:lnTo>
                  <a:close/>
                  <a:moveTo>
                    <a:pt x="10143" y="2916"/>
                  </a:moveTo>
                  <a:lnTo>
                    <a:pt x="10143" y="3028"/>
                  </a:lnTo>
                  <a:lnTo>
                    <a:pt x="10142" y="3037"/>
                  </a:lnTo>
                  <a:lnTo>
                    <a:pt x="10138" y="3043"/>
                  </a:lnTo>
                  <a:lnTo>
                    <a:pt x="10131" y="3047"/>
                  </a:lnTo>
                  <a:lnTo>
                    <a:pt x="10124" y="3048"/>
                  </a:lnTo>
                  <a:lnTo>
                    <a:pt x="10116" y="3047"/>
                  </a:lnTo>
                  <a:lnTo>
                    <a:pt x="10109" y="3043"/>
                  </a:lnTo>
                  <a:lnTo>
                    <a:pt x="10106" y="3037"/>
                  </a:lnTo>
                  <a:lnTo>
                    <a:pt x="10103" y="3028"/>
                  </a:lnTo>
                  <a:lnTo>
                    <a:pt x="10103" y="2916"/>
                  </a:lnTo>
                  <a:lnTo>
                    <a:pt x="10106" y="2907"/>
                  </a:lnTo>
                  <a:lnTo>
                    <a:pt x="10109" y="2901"/>
                  </a:lnTo>
                  <a:lnTo>
                    <a:pt x="10116" y="2897"/>
                  </a:lnTo>
                  <a:lnTo>
                    <a:pt x="10124" y="2896"/>
                  </a:lnTo>
                  <a:lnTo>
                    <a:pt x="10131" y="2897"/>
                  </a:lnTo>
                  <a:lnTo>
                    <a:pt x="10138" y="2901"/>
                  </a:lnTo>
                  <a:lnTo>
                    <a:pt x="10142" y="2907"/>
                  </a:lnTo>
                  <a:lnTo>
                    <a:pt x="10143" y="2916"/>
                  </a:lnTo>
                  <a:close/>
                  <a:moveTo>
                    <a:pt x="9880" y="2916"/>
                  </a:moveTo>
                  <a:lnTo>
                    <a:pt x="9880" y="3028"/>
                  </a:lnTo>
                  <a:lnTo>
                    <a:pt x="9879" y="3037"/>
                  </a:lnTo>
                  <a:lnTo>
                    <a:pt x="9874" y="3043"/>
                  </a:lnTo>
                  <a:lnTo>
                    <a:pt x="9867" y="3047"/>
                  </a:lnTo>
                  <a:lnTo>
                    <a:pt x="9861" y="3048"/>
                  </a:lnTo>
                  <a:lnTo>
                    <a:pt x="9853" y="3047"/>
                  </a:lnTo>
                  <a:lnTo>
                    <a:pt x="9847" y="3043"/>
                  </a:lnTo>
                  <a:lnTo>
                    <a:pt x="9841" y="3037"/>
                  </a:lnTo>
                  <a:lnTo>
                    <a:pt x="9840" y="3028"/>
                  </a:lnTo>
                  <a:lnTo>
                    <a:pt x="9840" y="2916"/>
                  </a:lnTo>
                  <a:lnTo>
                    <a:pt x="9841" y="2907"/>
                  </a:lnTo>
                  <a:lnTo>
                    <a:pt x="9847" y="2901"/>
                  </a:lnTo>
                  <a:lnTo>
                    <a:pt x="9853" y="2897"/>
                  </a:lnTo>
                  <a:lnTo>
                    <a:pt x="9861" y="2896"/>
                  </a:lnTo>
                  <a:lnTo>
                    <a:pt x="9867" y="2897"/>
                  </a:lnTo>
                  <a:lnTo>
                    <a:pt x="9874" y="2901"/>
                  </a:lnTo>
                  <a:lnTo>
                    <a:pt x="9879" y="2907"/>
                  </a:lnTo>
                  <a:lnTo>
                    <a:pt x="9880" y="2916"/>
                  </a:lnTo>
                  <a:close/>
                  <a:moveTo>
                    <a:pt x="9617" y="2916"/>
                  </a:moveTo>
                  <a:lnTo>
                    <a:pt x="9617" y="3028"/>
                  </a:lnTo>
                  <a:lnTo>
                    <a:pt x="9616" y="3037"/>
                  </a:lnTo>
                  <a:lnTo>
                    <a:pt x="9611" y="3043"/>
                  </a:lnTo>
                  <a:lnTo>
                    <a:pt x="9604" y="3047"/>
                  </a:lnTo>
                  <a:lnTo>
                    <a:pt x="9598" y="3048"/>
                  </a:lnTo>
                  <a:lnTo>
                    <a:pt x="9590" y="3047"/>
                  </a:lnTo>
                  <a:lnTo>
                    <a:pt x="9584" y="3043"/>
                  </a:lnTo>
                  <a:lnTo>
                    <a:pt x="9579" y="3037"/>
                  </a:lnTo>
                  <a:lnTo>
                    <a:pt x="9577" y="3028"/>
                  </a:lnTo>
                  <a:lnTo>
                    <a:pt x="9577" y="2916"/>
                  </a:lnTo>
                  <a:lnTo>
                    <a:pt x="9579" y="2907"/>
                  </a:lnTo>
                  <a:lnTo>
                    <a:pt x="9584" y="2901"/>
                  </a:lnTo>
                  <a:lnTo>
                    <a:pt x="9590" y="2897"/>
                  </a:lnTo>
                  <a:lnTo>
                    <a:pt x="9598" y="2896"/>
                  </a:lnTo>
                  <a:lnTo>
                    <a:pt x="9604" y="2897"/>
                  </a:lnTo>
                  <a:lnTo>
                    <a:pt x="9611" y="2901"/>
                  </a:lnTo>
                  <a:lnTo>
                    <a:pt x="9616" y="2907"/>
                  </a:lnTo>
                  <a:lnTo>
                    <a:pt x="9617" y="2916"/>
                  </a:lnTo>
                  <a:close/>
                  <a:moveTo>
                    <a:pt x="10933" y="2670"/>
                  </a:moveTo>
                  <a:lnTo>
                    <a:pt x="10933" y="2782"/>
                  </a:lnTo>
                  <a:lnTo>
                    <a:pt x="10931" y="2790"/>
                  </a:lnTo>
                  <a:lnTo>
                    <a:pt x="10926" y="2796"/>
                  </a:lnTo>
                  <a:lnTo>
                    <a:pt x="10920" y="2800"/>
                  </a:lnTo>
                  <a:lnTo>
                    <a:pt x="10912" y="2801"/>
                  </a:lnTo>
                  <a:lnTo>
                    <a:pt x="10906" y="2800"/>
                  </a:lnTo>
                  <a:lnTo>
                    <a:pt x="10899" y="2796"/>
                  </a:lnTo>
                  <a:lnTo>
                    <a:pt x="10894" y="2790"/>
                  </a:lnTo>
                  <a:lnTo>
                    <a:pt x="10893" y="2782"/>
                  </a:lnTo>
                  <a:lnTo>
                    <a:pt x="10893" y="2670"/>
                  </a:lnTo>
                  <a:lnTo>
                    <a:pt x="10894" y="2661"/>
                  </a:lnTo>
                  <a:lnTo>
                    <a:pt x="10899" y="2654"/>
                  </a:lnTo>
                  <a:lnTo>
                    <a:pt x="10906" y="2650"/>
                  </a:lnTo>
                  <a:lnTo>
                    <a:pt x="10912" y="2649"/>
                  </a:lnTo>
                  <a:lnTo>
                    <a:pt x="10920" y="2650"/>
                  </a:lnTo>
                  <a:lnTo>
                    <a:pt x="10926" y="2654"/>
                  </a:lnTo>
                  <a:lnTo>
                    <a:pt x="10931" y="2661"/>
                  </a:lnTo>
                  <a:lnTo>
                    <a:pt x="10933" y="2670"/>
                  </a:lnTo>
                  <a:close/>
                  <a:moveTo>
                    <a:pt x="10670" y="2670"/>
                  </a:moveTo>
                  <a:lnTo>
                    <a:pt x="10670" y="2782"/>
                  </a:lnTo>
                  <a:lnTo>
                    <a:pt x="10669" y="2790"/>
                  </a:lnTo>
                  <a:lnTo>
                    <a:pt x="10663" y="2796"/>
                  </a:lnTo>
                  <a:lnTo>
                    <a:pt x="10657" y="2800"/>
                  </a:lnTo>
                  <a:lnTo>
                    <a:pt x="10649" y="2801"/>
                  </a:lnTo>
                  <a:lnTo>
                    <a:pt x="10643" y="2800"/>
                  </a:lnTo>
                  <a:lnTo>
                    <a:pt x="10637" y="2796"/>
                  </a:lnTo>
                  <a:lnTo>
                    <a:pt x="10631" y="2790"/>
                  </a:lnTo>
                  <a:lnTo>
                    <a:pt x="10630" y="2782"/>
                  </a:lnTo>
                  <a:lnTo>
                    <a:pt x="10630" y="2670"/>
                  </a:lnTo>
                  <a:lnTo>
                    <a:pt x="10631" y="2661"/>
                  </a:lnTo>
                  <a:lnTo>
                    <a:pt x="10637" y="2654"/>
                  </a:lnTo>
                  <a:lnTo>
                    <a:pt x="10643" y="2650"/>
                  </a:lnTo>
                  <a:lnTo>
                    <a:pt x="10649" y="2649"/>
                  </a:lnTo>
                  <a:lnTo>
                    <a:pt x="10657" y="2650"/>
                  </a:lnTo>
                  <a:lnTo>
                    <a:pt x="10663" y="2654"/>
                  </a:lnTo>
                  <a:lnTo>
                    <a:pt x="10669" y="2661"/>
                  </a:lnTo>
                  <a:lnTo>
                    <a:pt x="10670" y="2670"/>
                  </a:lnTo>
                  <a:close/>
                  <a:moveTo>
                    <a:pt x="10407" y="2670"/>
                  </a:moveTo>
                  <a:lnTo>
                    <a:pt x="10407" y="2782"/>
                  </a:lnTo>
                  <a:lnTo>
                    <a:pt x="10404" y="2790"/>
                  </a:lnTo>
                  <a:lnTo>
                    <a:pt x="10401" y="2796"/>
                  </a:lnTo>
                  <a:lnTo>
                    <a:pt x="10394" y="2800"/>
                  </a:lnTo>
                  <a:lnTo>
                    <a:pt x="10386" y="2801"/>
                  </a:lnTo>
                  <a:lnTo>
                    <a:pt x="10379" y="2800"/>
                  </a:lnTo>
                  <a:lnTo>
                    <a:pt x="10372" y="2796"/>
                  </a:lnTo>
                  <a:lnTo>
                    <a:pt x="10369" y="2790"/>
                  </a:lnTo>
                  <a:lnTo>
                    <a:pt x="10366" y="2782"/>
                  </a:lnTo>
                  <a:lnTo>
                    <a:pt x="10366" y="2670"/>
                  </a:lnTo>
                  <a:lnTo>
                    <a:pt x="10369" y="2661"/>
                  </a:lnTo>
                  <a:lnTo>
                    <a:pt x="10372" y="2654"/>
                  </a:lnTo>
                  <a:lnTo>
                    <a:pt x="10379" y="2650"/>
                  </a:lnTo>
                  <a:lnTo>
                    <a:pt x="10386" y="2649"/>
                  </a:lnTo>
                  <a:lnTo>
                    <a:pt x="10394" y="2650"/>
                  </a:lnTo>
                  <a:lnTo>
                    <a:pt x="10401" y="2654"/>
                  </a:lnTo>
                  <a:lnTo>
                    <a:pt x="10404" y="2661"/>
                  </a:lnTo>
                  <a:lnTo>
                    <a:pt x="10407" y="2670"/>
                  </a:lnTo>
                  <a:close/>
                  <a:moveTo>
                    <a:pt x="10143" y="2670"/>
                  </a:moveTo>
                  <a:lnTo>
                    <a:pt x="10143" y="2782"/>
                  </a:lnTo>
                  <a:lnTo>
                    <a:pt x="10142" y="2790"/>
                  </a:lnTo>
                  <a:lnTo>
                    <a:pt x="10138" y="2796"/>
                  </a:lnTo>
                  <a:lnTo>
                    <a:pt x="10131" y="2800"/>
                  </a:lnTo>
                  <a:lnTo>
                    <a:pt x="10124" y="2801"/>
                  </a:lnTo>
                  <a:lnTo>
                    <a:pt x="10116" y="2800"/>
                  </a:lnTo>
                  <a:lnTo>
                    <a:pt x="10109" y="2796"/>
                  </a:lnTo>
                  <a:lnTo>
                    <a:pt x="10106" y="2790"/>
                  </a:lnTo>
                  <a:lnTo>
                    <a:pt x="10103" y="2782"/>
                  </a:lnTo>
                  <a:lnTo>
                    <a:pt x="10103" y="2670"/>
                  </a:lnTo>
                  <a:lnTo>
                    <a:pt x="10106" y="2661"/>
                  </a:lnTo>
                  <a:lnTo>
                    <a:pt x="10109" y="2654"/>
                  </a:lnTo>
                  <a:lnTo>
                    <a:pt x="10116" y="2650"/>
                  </a:lnTo>
                  <a:lnTo>
                    <a:pt x="10124" y="2649"/>
                  </a:lnTo>
                  <a:lnTo>
                    <a:pt x="10131" y="2650"/>
                  </a:lnTo>
                  <a:lnTo>
                    <a:pt x="10138" y="2654"/>
                  </a:lnTo>
                  <a:lnTo>
                    <a:pt x="10142" y="2661"/>
                  </a:lnTo>
                  <a:lnTo>
                    <a:pt x="10143" y="2670"/>
                  </a:lnTo>
                  <a:close/>
                  <a:moveTo>
                    <a:pt x="9880" y="2670"/>
                  </a:moveTo>
                  <a:lnTo>
                    <a:pt x="9880" y="2782"/>
                  </a:lnTo>
                  <a:lnTo>
                    <a:pt x="9879" y="2790"/>
                  </a:lnTo>
                  <a:lnTo>
                    <a:pt x="9874" y="2796"/>
                  </a:lnTo>
                  <a:lnTo>
                    <a:pt x="9867" y="2800"/>
                  </a:lnTo>
                  <a:lnTo>
                    <a:pt x="9861" y="2801"/>
                  </a:lnTo>
                  <a:lnTo>
                    <a:pt x="9853" y="2800"/>
                  </a:lnTo>
                  <a:lnTo>
                    <a:pt x="9847" y="2796"/>
                  </a:lnTo>
                  <a:lnTo>
                    <a:pt x="9841" y="2790"/>
                  </a:lnTo>
                  <a:lnTo>
                    <a:pt x="9840" y="2782"/>
                  </a:lnTo>
                  <a:lnTo>
                    <a:pt x="9840" y="2670"/>
                  </a:lnTo>
                  <a:lnTo>
                    <a:pt x="9841" y="2661"/>
                  </a:lnTo>
                  <a:lnTo>
                    <a:pt x="9847" y="2654"/>
                  </a:lnTo>
                  <a:lnTo>
                    <a:pt x="9853" y="2650"/>
                  </a:lnTo>
                  <a:lnTo>
                    <a:pt x="9861" y="2649"/>
                  </a:lnTo>
                  <a:lnTo>
                    <a:pt x="9867" y="2650"/>
                  </a:lnTo>
                  <a:lnTo>
                    <a:pt x="9874" y="2654"/>
                  </a:lnTo>
                  <a:lnTo>
                    <a:pt x="9879" y="2661"/>
                  </a:lnTo>
                  <a:lnTo>
                    <a:pt x="9880" y="2670"/>
                  </a:lnTo>
                  <a:close/>
                  <a:moveTo>
                    <a:pt x="9617" y="2670"/>
                  </a:moveTo>
                  <a:lnTo>
                    <a:pt x="9617" y="2782"/>
                  </a:lnTo>
                  <a:lnTo>
                    <a:pt x="9616" y="2790"/>
                  </a:lnTo>
                  <a:lnTo>
                    <a:pt x="9611" y="2796"/>
                  </a:lnTo>
                  <a:lnTo>
                    <a:pt x="9604" y="2800"/>
                  </a:lnTo>
                  <a:lnTo>
                    <a:pt x="9598" y="2801"/>
                  </a:lnTo>
                  <a:lnTo>
                    <a:pt x="9590" y="2800"/>
                  </a:lnTo>
                  <a:lnTo>
                    <a:pt x="9584" y="2796"/>
                  </a:lnTo>
                  <a:lnTo>
                    <a:pt x="9579" y="2790"/>
                  </a:lnTo>
                  <a:lnTo>
                    <a:pt x="9577" y="2782"/>
                  </a:lnTo>
                  <a:lnTo>
                    <a:pt x="9577" y="2670"/>
                  </a:lnTo>
                  <a:lnTo>
                    <a:pt x="9579" y="2661"/>
                  </a:lnTo>
                  <a:lnTo>
                    <a:pt x="9584" y="2654"/>
                  </a:lnTo>
                  <a:lnTo>
                    <a:pt x="9590" y="2650"/>
                  </a:lnTo>
                  <a:lnTo>
                    <a:pt x="9598" y="2649"/>
                  </a:lnTo>
                  <a:lnTo>
                    <a:pt x="9604" y="2650"/>
                  </a:lnTo>
                  <a:lnTo>
                    <a:pt x="9611" y="2654"/>
                  </a:lnTo>
                  <a:lnTo>
                    <a:pt x="9616" y="2661"/>
                  </a:lnTo>
                  <a:lnTo>
                    <a:pt x="9617" y="2670"/>
                  </a:lnTo>
                  <a:close/>
                  <a:moveTo>
                    <a:pt x="13776" y="2113"/>
                  </a:moveTo>
                  <a:lnTo>
                    <a:pt x="13776" y="2226"/>
                  </a:lnTo>
                  <a:lnTo>
                    <a:pt x="13774" y="2235"/>
                  </a:lnTo>
                  <a:lnTo>
                    <a:pt x="13769" y="2241"/>
                  </a:lnTo>
                  <a:lnTo>
                    <a:pt x="13763" y="2245"/>
                  </a:lnTo>
                  <a:lnTo>
                    <a:pt x="13756" y="2246"/>
                  </a:lnTo>
                  <a:lnTo>
                    <a:pt x="13749" y="2245"/>
                  </a:lnTo>
                  <a:lnTo>
                    <a:pt x="13742" y="2241"/>
                  </a:lnTo>
                  <a:lnTo>
                    <a:pt x="13737" y="2235"/>
                  </a:lnTo>
                  <a:lnTo>
                    <a:pt x="13736" y="2226"/>
                  </a:lnTo>
                  <a:lnTo>
                    <a:pt x="13736" y="2113"/>
                  </a:lnTo>
                  <a:lnTo>
                    <a:pt x="13737" y="2106"/>
                  </a:lnTo>
                  <a:lnTo>
                    <a:pt x="13742" y="2099"/>
                  </a:lnTo>
                  <a:lnTo>
                    <a:pt x="13749" y="2095"/>
                  </a:lnTo>
                  <a:lnTo>
                    <a:pt x="13756" y="2094"/>
                  </a:lnTo>
                  <a:lnTo>
                    <a:pt x="13763" y="2095"/>
                  </a:lnTo>
                  <a:lnTo>
                    <a:pt x="13769" y="2099"/>
                  </a:lnTo>
                  <a:lnTo>
                    <a:pt x="13774" y="2106"/>
                  </a:lnTo>
                  <a:lnTo>
                    <a:pt x="13776" y="2113"/>
                  </a:lnTo>
                  <a:close/>
                  <a:moveTo>
                    <a:pt x="13513" y="2113"/>
                  </a:moveTo>
                  <a:lnTo>
                    <a:pt x="13513" y="2226"/>
                  </a:lnTo>
                  <a:lnTo>
                    <a:pt x="13511" y="2235"/>
                  </a:lnTo>
                  <a:lnTo>
                    <a:pt x="13506" y="2241"/>
                  </a:lnTo>
                  <a:lnTo>
                    <a:pt x="13500" y="2245"/>
                  </a:lnTo>
                  <a:lnTo>
                    <a:pt x="13492" y="2246"/>
                  </a:lnTo>
                  <a:lnTo>
                    <a:pt x="13486" y="2245"/>
                  </a:lnTo>
                  <a:lnTo>
                    <a:pt x="13479" y="2241"/>
                  </a:lnTo>
                  <a:lnTo>
                    <a:pt x="13474" y="2235"/>
                  </a:lnTo>
                  <a:lnTo>
                    <a:pt x="13473" y="2226"/>
                  </a:lnTo>
                  <a:lnTo>
                    <a:pt x="13473" y="2113"/>
                  </a:lnTo>
                  <a:lnTo>
                    <a:pt x="13474" y="2106"/>
                  </a:lnTo>
                  <a:lnTo>
                    <a:pt x="13479" y="2099"/>
                  </a:lnTo>
                  <a:lnTo>
                    <a:pt x="13486" y="2095"/>
                  </a:lnTo>
                  <a:lnTo>
                    <a:pt x="13492" y="2094"/>
                  </a:lnTo>
                  <a:lnTo>
                    <a:pt x="13500" y="2095"/>
                  </a:lnTo>
                  <a:lnTo>
                    <a:pt x="13506" y="2099"/>
                  </a:lnTo>
                  <a:lnTo>
                    <a:pt x="13511" y="2106"/>
                  </a:lnTo>
                  <a:lnTo>
                    <a:pt x="13513" y="2113"/>
                  </a:lnTo>
                  <a:close/>
                  <a:moveTo>
                    <a:pt x="13250" y="2113"/>
                  </a:moveTo>
                  <a:lnTo>
                    <a:pt x="13250" y="2226"/>
                  </a:lnTo>
                  <a:lnTo>
                    <a:pt x="13247" y="2235"/>
                  </a:lnTo>
                  <a:lnTo>
                    <a:pt x="13243" y="2241"/>
                  </a:lnTo>
                  <a:lnTo>
                    <a:pt x="13237" y="2245"/>
                  </a:lnTo>
                  <a:lnTo>
                    <a:pt x="13229" y="2246"/>
                  </a:lnTo>
                  <a:lnTo>
                    <a:pt x="13222" y="2245"/>
                  </a:lnTo>
                  <a:lnTo>
                    <a:pt x="13215" y="2241"/>
                  </a:lnTo>
                  <a:lnTo>
                    <a:pt x="13211" y="2235"/>
                  </a:lnTo>
                  <a:lnTo>
                    <a:pt x="13210" y="2226"/>
                  </a:lnTo>
                  <a:lnTo>
                    <a:pt x="13210" y="2113"/>
                  </a:lnTo>
                  <a:lnTo>
                    <a:pt x="13211" y="2106"/>
                  </a:lnTo>
                  <a:lnTo>
                    <a:pt x="13215" y="2099"/>
                  </a:lnTo>
                  <a:lnTo>
                    <a:pt x="13222" y="2095"/>
                  </a:lnTo>
                  <a:lnTo>
                    <a:pt x="13229" y="2094"/>
                  </a:lnTo>
                  <a:lnTo>
                    <a:pt x="13237" y="2095"/>
                  </a:lnTo>
                  <a:lnTo>
                    <a:pt x="13243" y="2099"/>
                  </a:lnTo>
                  <a:lnTo>
                    <a:pt x="13247" y="2106"/>
                  </a:lnTo>
                  <a:lnTo>
                    <a:pt x="13250" y="2113"/>
                  </a:lnTo>
                  <a:close/>
                  <a:moveTo>
                    <a:pt x="12987" y="2113"/>
                  </a:moveTo>
                  <a:lnTo>
                    <a:pt x="12987" y="2226"/>
                  </a:lnTo>
                  <a:lnTo>
                    <a:pt x="12984" y="2235"/>
                  </a:lnTo>
                  <a:lnTo>
                    <a:pt x="12981" y="2241"/>
                  </a:lnTo>
                  <a:lnTo>
                    <a:pt x="12974" y="2245"/>
                  </a:lnTo>
                  <a:lnTo>
                    <a:pt x="12966" y="2246"/>
                  </a:lnTo>
                  <a:lnTo>
                    <a:pt x="12959" y="2245"/>
                  </a:lnTo>
                  <a:lnTo>
                    <a:pt x="12952" y="2241"/>
                  </a:lnTo>
                  <a:lnTo>
                    <a:pt x="12948" y="2235"/>
                  </a:lnTo>
                  <a:lnTo>
                    <a:pt x="12946" y="2226"/>
                  </a:lnTo>
                  <a:lnTo>
                    <a:pt x="12946" y="2113"/>
                  </a:lnTo>
                  <a:lnTo>
                    <a:pt x="12948" y="2106"/>
                  </a:lnTo>
                  <a:lnTo>
                    <a:pt x="12952" y="2099"/>
                  </a:lnTo>
                  <a:lnTo>
                    <a:pt x="12959" y="2095"/>
                  </a:lnTo>
                  <a:lnTo>
                    <a:pt x="12966" y="2094"/>
                  </a:lnTo>
                  <a:lnTo>
                    <a:pt x="12974" y="2095"/>
                  </a:lnTo>
                  <a:lnTo>
                    <a:pt x="12981" y="2099"/>
                  </a:lnTo>
                  <a:lnTo>
                    <a:pt x="12984" y="2106"/>
                  </a:lnTo>
                  <a:lnTo>
                    <a:pt x="12987" y="2113"/>
                  </a:lnTo>
                  <a:close/>
                  <a:moveTo>
                    <a:pt x="13776" y="1879"/>
                  </a:moveTo>
                  <a:lnTo>
                    <a:pt x="13776" y="1992"/>
                  </a:lnTo>
                  <a:lnTo>
                    <a:pt x="13774" y="2001"/>
                  </a:lnTo>
                  <a:lnTo>
                    <a:pt x="13769" y="2007"/>
                  </a:lnTo>
                  <a:lnTo>
                    <a:pt x="13763" y="2011"/>
                  </a:lnTo>
                  <a:lnTo>
                    <a:pt x="13756" y="2012"/>
                  </a:lnTo>
                  <a:lnTo>
                    <a:pt x="13749" y="2011"/>
                  </a:lnTo>
                  <a:lnTo>
                    <a:pt x="13742" y="2007"/>
                  </a:lnTo>
                  <a:lnTo>
                    <a:pt x="13737" y="2001"/>
                  </a:lnTo>
                  <a:lnTo>
                    <a:pt x="13736" y="1992"/>
                  </a:lnTo>
                  <a:lnTo>
                    <a:pt x="13736" y="1879"/>
                  </a:lnTo>
                  <a:lnTo>
                    <a:pt x="13737" y="1872"/>
                  </a:lnTo>
                  <a:lnTo>
                    <a:pt x="13742" y="1865"/>
                  </a:lnTo>
                  <a:lnTo>
                    <a:pt x="13749" y="1861"/>
                  </a:lnTo>
                  <a:lnTo>
                    <a:pt x="13756" y="1860"/>
                  </a:lnTo>
                  <a:lnTo>
                    <a:pt x="13763" y="1861"/>
                  </a:lnTo>
                  <a:lnTo>
                    <a:pt x="13769" y="1865"/>
                  </a:lnTo>
                  <a:lnTo>
                    <a:pt x="13774" y="1872"/>
                  </a:lnTo>
                  <a:lnTo>
                    <a:pt x="13776" y="1879"/>
                  </a:lnTo>
                  <a:close/>
                  <a:moveTo>
                    <a:pt x="13513" y="1879"/>
                  </a:moveTo>
                  <a:lnTo>
                    <a:pt x="13513" y="1992"/>
                  </a:lnTo>
                  <a:lnTo>
                    <a:pt x="13511" y="2001"/>
                  </a:lnTo>
                  <a:lnTo>
                    <a:pt x="13506" y="2007"/>
                  </a:lnTo>
                  <a:lnTo>
                    <a:pt x="13500" y="2011"/>
                  </a:lnTo>
                  <a:lnTo>
                    <a:pt x="13492" y="2012"/>
                  </a:lnTo>
                  <a:lnTo>
                    <a:pt x="13486" y="2011"/>
                  </a:lnTo>
                  <a:lnTo>
                    <a:pt x="13479" y="2007"/>
                  </a:lnTo>
                  <a:lnTo>
                    <a:pt x="13474" y="2001"/>
                  </a:lnTo>
                  <a:lnTo>
                    <a:pt x="13473" y="1992"/>
                  </a:lnTo>
                  <a:lnTo>
                    <a:pt x="13473" y="1879"/>
                  </a:lnTo>
                  <a:lnTo>
                    <a:pt x="13474" y="1872"/>
                  </a:lnTo>
                  <a:lnTo>
                    <a:pt x="13479" y="1865"/>
                  </a:lnTo>
                  <a:lnTo>
                    <a:pt x="13486" y="1861"/>
                  </a:lnTo>
                  <a:lnTo>
                    <a:pt x="13492" y="1860"/>
                  </a:lnTo>
                  <a:lnTo>
                    <a:pt x="13500" y="1861"/>
                  </a:lnTo>
                  <a:lnTo>
                    <a:pt x="13506" y="1865"/>
                  </a:lnTo>
                  <a:lnTo>
                    <a:pt x="13511" y="1872"/>
                  </a:lnTo>
                  <a:lnTo>
                    <a:pt x="13513" y="1879"/>
                  </a:lnTo>
                  <a:close/>
                  <a:moveTo>
                    <a:pt x="13250" y="1879"/>
                  </a:moveTo>
                  <a:lnTo>
                    <a:pt x="13250" y="1992"/>
                  </a:lnTo>
                  <a:lnTo>
                    <a:pt x="13247" y="2001"/>
                  </a:lnTo>
                  <a:lnTo>
                    <a:pt x="13243" y="2007"/>
                  </a:lnTo>
                  <a:lnTo>
                    <a:pt x="13237" y="2011"/>
                  </a:lnTo>
                  <a:lnTo>
                    <a:pt x="13229" y="2012"/>
                  </a:lnTo>
                  <a:lnTo>
                    <a:pt x="13222" y="2011"/>
                  </a:lnTo>
                  <a:lnTo>
                    <a:pt x="13215" y="2007"/>
                  </a:lnTo>
                  <a:lnTo>
                    <a:pt x="13211" y="2001"/>
                  </a:lnTo>
                  <a:lnTo>
                    <a:pt x="13210" y="1992"/>
                  </a:lnTo>
                  <a:lnTo>
                    <a:pt x="13210" y="1879"/>
                  </a:lnTo>
                  <a:lnTo>
                    <a:pt x="13211" y="1872"/>
                  </a:lnTo>
                  <a:lnTo>
                    <a:pt x="13215" y="1865"/>
                  </a:lnTo>
                  <a:lnTo>
                    <a:pt x="13222" y="1861"/>
                  </a:lnTo>
                  <a:lnTo>
                    <a:pt x="13229" y="1860"/>
                  </a:lnTo>
                  <a:lnTo>
                    <a:pt x="13237" y="1861"/>
                  </a:lnTo>
                  <a:lnTo>
                    <a:pt x="13243" y="1865"/>
                  </a:lnTo>
                  <a:lnTo>
                    <a:pt x="13247" y="1872"/>
                  </a:lnTo>
                  <a:lnTo>
                    <a:pt x="13250" y="1879"/>
                  </a:lnTo>
                  <a:close/>
                  <a:moveTo>
                    <a:pt x="12987" y="1879"/>
                  </a:moveTo>
                  <a:lnTo>
                    <a:pt x="12987" y="1992"/>
                  </a:lnTo>
                  <a:lnTo>
                    <a:pt x="12984" y="2001"/>
                  </a:lnTo>
                  <a:lnTo>
                    <a:pt x="12981" y="2007"/>
                  </a:lnTo>
                  <a:lnTo>
                    <a:pt x="12974" y="2011"/>
                  </a:lnTo>
                  <a:lnTo>
                    <a:pt x="12966" y="2012"/>
                  </a:lnTo>
                  <a:lnTo>
                    <a:pt x="12959" y="2011"/>
                  </a:lnTo>
                  <a:lnTo>
                    <a:pt x="12952" y="2007"/>
                  </a:lnTo>
                  <a:lnTo>
                    <a:pt x="12948" y="2001"/>
                  </a:lnTo>
                  <a:lnTo>
                    <a:pt x="12946" y="1992"/>
                  </a:lnTo>
                  <a:lnTo>
                    <a:pt x="12946" y="1879"/>
                  </a:lnTo>
                  <a:lnTo>
                    <a:pt x="12948" y="1872"/>
                  </a:lnTo>
                  <a:lnTo>
                    <a:pt x="12952" y="1865"/>
                  </a:lnTo>
                  <a:lnTo>
                    <a:pt x="12959" y="1861"/>
                  </a:lnTo>
                  <a:lnTo>
                    <a:pt x="12966" y="1860"/>
                  </a:lnTo>
                  <a:lnTo>
                    <a:pt x="12974" y="1861"/>
                  </a:lnTo>
                  <a:lnTo>
                    <a:pt x="12981" y="1865"/>
                  </a:lnTo>
                  <a:lnTo>
                    <a:pt x="12984" y="1872"/>
                  </a:lnTo>
                  <a:lnTo>
                    <a:pt x="12987" y="1879"/>
                  </a:lnTo>
                  <a:close/>
                  <a:moveTo>
                    <a:pt x="13776" y="1645"/>
                  </a:moveTo>
                  <a:lnTo>
                    <a:pt x="13776" y="1758"/>
                  </a:lnTo>
                  <a:lnTo>
                    <a:pt x="13774" y="1767"/>
                  </a:lnTo>
                  <a:lnTo>
                    <a:pt x="13769" y="1773"/>
                  </a:lnTo>
                  <a:lnTo>
                    <a:pt x="13763" y="1777"/>
                  </a:lnTo>
                  <a:lnTo>
                    <a:pt x="13756" y="1778"/>
                  </a:lnTo>
                  <a:lnTo>
                    <a:pt x="13749" y="1777"/>
                  </a:lnTo>
                  <a:lnTo>
                    <a:pt x="13742" y="1773"/>
                  </a:lnTo>
                  <a:lnTo>
                    <a:pt x="13737" y="1767"/>
                  </a:lnTo>
                  <a:lnTo>
                    <a:pt x="13736" y="1758"/>
                  </a:lnTo>
                  <a:lnTo>
                    <a:pt x="13736" y="1645"/>
                  </a:lnTo>
                  <a:lnTo>
                    <a:pt x="13737" y="1636"/>
                  </a:lnTo>
                  <a:lnTo>
                    <a:pt x="13742" y="1631"/>
                  </a:lnTo>
                  <a:lnTo>
                    <a:pt x="13749" y="1627"/>
                  </a:lnTo>
                  <a:lnTo>
                    <a:pt x="13756" y="1626"/>
                  </a:lnTo>
                  <a:lnTo>
                    <a:pt x="13763" y="1627"/>
                  </a:lnTo>
                  <a:lnTo>
                    <a:pt x="13769" y="1631"/>
                  </a:lnTo>
                  <a:lnTo>
                    <a:pt x="13774" y="1636"/>
                  </a:lnTo>
                  <a:lnTo>
                    <a:pt x="13776" y="1645"/>
                  </a:lnTo>
                  <a:close/>
                  <a:moveTo>
                    <a:pt x="13513" y="1645"/>
                  </a:moveTo>
                  <a:lnTo>
                    <a:pt x="13513" y="1758"/>
                  </a:lnTo>
                  <a:lnTo>
                    <a:pt x="13511" y="1767"/>
                  </a:lnTo>
                  <a:lnTo>
                    <a:pt x="13506" y="1773"/>
                  </a:lnTo>
                  <a:lnTo>
                    <a:pt x="13500" y="1777"/>
                  </a:lnTo>
                  <a:lnTo>
                    <a:pt x="13492" y="1778"/>
                  </a:lnTo>
                  <a:lnTo>
                    <a:pt x="13486" y="1777"/>
                  </a:lnTo>
                  <a:lnTo>
                    <a:pt x="13479" y="1773"/>
                  </a:lnTo>
                  <a:lnTo>
                    <a:pt x="13474" y="1767"/>
                  </a:lnTo>
                  <a:lnTo>
                    <a:pt x="13473" y="1758"/>
                  </a:lnTo>
                  <a:lnTo>
                    <a:pt x="13473" y="1645"/>
                  </a:lnTo>
                  <a:lnTo>
                    <a:pt x="13474" y="1636"/>
                  </a:lnTo>
                  <a:lnTo>
                    <a:pt x="13479" y="1631"/>
                  </a:lnTo>
                  <a:lnTo>
                    <a:pt x="13486" y="1627"/>
                  </a:lnTo>
                  <a:lnTo>
                    <a:pt x="13492" y="1626"/>
                  </a:lnTo>
                  <a:lnTo>
                    <a:pt x="13500" y="1627"/>
                  </a:lnTo>
                  <a:lnTo>
                    <a:pt x="13506" y="1631"/>
                  </a:lnTo>
                  <a:lnTo>
                    <a:pt x="13511" y="1636"/>
                  </a:lnTo>
                  <a:lnTo>
                    <a:pt x="13513" y="1645"/>
                  </a:lnTo>
                  <a:close/>
                  <a:moveTo>
                    <a:pt x="13250" y="1645"/>
                  </a:moveTo>
                  <a:lnTo>
                    <a:pt x="13250" y="1758"/>
                  </a:lnTo>
                  <a:lnTo>
                    <a:pt x="13247" y="1767"/>
                  </a:lnTo>
                  <a:lnTo>
                    <a:pt x="13243" y="1773"/>
                  </a:lnTo>
                  <a:lnTo>
                    <a:pt x="13237" y="1777"/>
                  </a:lnTo>
                  <a:lnTo>
                    <a:pt x="13229" y="1778"/>
                  </a:lnTo>
                  <a:lnTo>
                    <a:pt x="13222" y="1777"/>
                  </a:lnTo>
                  <a:lnTo>
                    <a:pt x="13215" y="1773"/>
                  </a:lnTo>
                  <a:lnTo>
                    <a:pt x="13211" y="1767"/>
                  </a:lnTo>
                  <a:lnTo>
                    <a:pt x="13210" y="1758"/>
                  </a:lnTo>
                  <a:lnTo>
                    <a:pt x="13210" y="1645"/>
                  </a:lnTo>
                  <a:lnTo>
                    <a:pt x="13211" y="1636"/>
                  </a:lnTo>
                  <a:lnTo>
                    <a:pt x="13215" y="1631"/>
                  </a:lnTo>
                  <a:lnTo>
                    <a:pt x="13222" y="1627"/>
                  </a:lnTo>
                  <a:lnTo>
                    <a:pt x="13229" y="1626"/>
                  </a:lnTo>
                  <a:lnTo>
                    <a:pt x="13237" y="1627"/>
                  </a:lnTo>
                  <a:lnTo>
                    <a:pt x="13243" y="1631"/>
                  </a:lnTo>
                  <a:lnTo>
                    <a:pt x="13247" y="1636"/>
                  </a:lnTo>
                  <a:lnTo>
                    <a:pt x="13250" y="1645"/>
                  </a:lnTo>
                  <a:close/>
                  <a:moveTo>
                    <a:pt x="12987" y="1645"/>
                  </a:moveTo>
                  <a:lnTo>
                    <a:pt x="12987" y="1758"/>
                  </a:lnTo>
                  <a:lnTo>
                    <a:pt x="12984" y="1767"/>
                  </a:lnTo>
                  <a:lnTo>
                    <a:pt x="12981" y="1773"/>
                  </a:lnTo>
                  <a:lnTo>
                    <a:pt x="12974" y="1777"/>
                  </a:lnTo>
                  <a:lnTo>
                    <a:pt x="12966" y="1778"/>
                  </a:lnTo>
                  <a:lnTo>
                    <a:pt x="12959" y="1777"/>
                  </a:lnTo>
                  <a:lnTo>
                    <a:pt x="12952" y="1773"/>
                  </a:lnTo>
                  <a:lnTo>
                    <a:pt x="12948" y="1767"/>
                  </a:lnTo>
                  <a:lnTo>
                    <a:pt x="12946" y="1758"/>
                  </a:lnTo>
                  <a:lnTo>
                    <a:pt x="12946" y="1645"/>
                  </a:lnTo>
                  <a:lnTo>
                    <a:pt x="12948" y="1636"/>
                  </a:lnTo>
                  <a:lnTo>
                    <a:pt x="12952" y="1631"/>
                  </a:lnTo>
                  <a:lnTo>
                    <a:pt x="12959" y="1627"/>
                  </a:lnTo>
                  <a:lnTo>
                    <a:pt x="12966" y="1626"/>
                  </a:lnTo>
                  <a:lnTo>
                    <a:pt x="12974" y="1627"/>
                  </a:lnTo>
                  <a:lnTo>
                    <a:pt x="12981" y="1631"/>
                  </a:lnTo>
                  <a:lnTo>
                    <a:pt x="12984" y="1636"/>
                  </a:lnTo>
                  <a:lnTo>
                    <a:pt x="12987" y="1645"/>
                  </a:lnTo>
                  <a:close/>
                  <a:moveTo>
                    <a:pt x="13776" y="1411"/>
                  </a:moveTo>
                  <a:lnTo>
                    <a:pt x="13776" y="1524"/>
                  </a:lnTo>
                  <a:lnTo>
                    <a:pt x="13774" y="1533"/>
                  </a:lnTo>
                  <a:lnTo>
                    <a:pt x="13769" y="1539"/>
                  </a:lnTo>
                  <a:lnTo>
                    <a:pt x="13763" y="1543"/>
                  </a:lnTo>
                  <a:lnTo>
                    <a:pt x="13756" y="1544"/>
                  </a:lnTo>
                  <a:lnTo>
                    <a:pt x="13749" y="1543"/>
                  </a:lnTo>
                  <a:lnTo>
                    <a:pt x="13742" y="1539"/>
                  </a:lnTo>
                  <a:lnTo>
                    <a:pt x="13737" y="1533"/>
                  </a:lnTo>
                  <a:lnTo>
                    <a:pt x="13736" y="1524"/>
                  </a:lnTo>
                  <a:lnTo>
                    <a:pt x="13736" y="1411"/>
                  </a:lnTo>
                  <a:lnTo>
                    <a:pt x="13737" y="1402"/>
                  </a:lnTo>
                  <a:lnTo>
                    <a:pt x="13742" y="1397"/>
                  </a:lnTo>
                  <a:lnTo>
                    <a:pt x="13749" y="1393"/>
                  </a:lnTo>
                  <a:lnTo>
                    <a:pt x="13756" y="1392"/>
                  </a:lnTo>
                  <a:lnTo>
                    <a:pt x="13763" y="1393"/>
                  </a:lnTo>
                  <a:lnTo>
                    <a:pt x="13769" y="1397"/>
                  </a:lnTo>
                  <a:lnTo>
                    <a:pt x="13774" y="1402"/>
                  </a:lnTo>
                  <a:lnTo>
                    <a:pt x="13776" y="1411"/>
                  </a:lnTo>
                  <a:close/>
                  <a:moveTo>
                    <a:pt x="13513" y="1411"/>
                  </a:moveTo>
                  <a:lnTo>
                    <a:pt x="13513" y="1524"/>
                  </a:lnTo>
                  <a:lnTo>
                    <a:pt x="13511" y="1533"/>
                  </a:lnTo>
                  <a:lnTo>
                    <a:pt x="13506" y="1539"/>
                  </a:lnTo>
                  <a:lnTo>
                    <a:pt x="13500" y="1543"/>
                  </a:lnTo>
                  <a:lnTo>
                    <a:pt x="13492" y="1544"/>
                  </a:lnTo>
                  <a:lnTo>
                    <a:pt x="13486" y="1543"/>
                  </a:lnTo>
                  <a:lnTo>
                    <a:pt x="13479" y="1539"/>
                  </a:lnTo>
                  <a:lnTo>
                    <a:pt x="13474" y="1533"/>
                  </a:lnTo>
                  <a:lnTo>
                    <a:pt x="13473" y="1524"/>
                  </a:lnTo>
                  <a:lnTo>
                    <a:pt x="13473" y="1411"/>
                  </a:lnTo>
                  <a:lnTo>
                    <a:pt x="13474" y="1402"/>
                  </a:lnTo>
                  <a:lnTo>
                    <a:pt x="13479" y="1397"/>
                  </a:lnTo>
                  <a:lnTo>
                    <a:pt x="13486" y="1393"/>
                  </a:lnTo>
                  <a:lnTo>
                    <a:pt x="13492" y="1392"/>
                  </a:lnTo>
                  <a:lnTo>
                    <a:pt x="13500" y="1393"/>
                  </a:lnTo>
                  <a:lnTo>
                    <a:pt x="13506" y="1397"/>
                  </a:lnTo>
                  <a:lnTo>
                    <a:pt x="13511" y="1402"/>
                  </a:lnTo>
                  <a:lnTo>
                    <a:pt x="13513" y="1411"/>
                  </a:lnTo>
                  <a:close/>
                  <a:moveTo>
                    <a:pt x="13250" y="1411"/>
                  </a:moveTo>
                  <a:lnTo>
                    <a:pt x="13250" y="1524"/>
                  </a:lnTo>
                  <a:lnTo>
                    <a:pt x="13247" y="1533"/>
                  </a:lnTo>
                  <a:lnTo>
                    <a:pt x="13243" y="1539"/>
                  </a:lnTo>
                  <a:lnTo>
                    <a:pt x="13237" y="1543"/>
                  </a:lnTo>
                  <a:lnTo>
                    <a:pt x="13229" y="1544"/>
                  </a:lnTo>
                  <a:lnTo>
                    <a:pt x="13222" y="1543"/>
                  </a:lnTo>
                  <a:lnTo>
                    <a:pt x="13215" y="1539"/>
                  </a:lnTo>
                  <a:lnTo>
                    <a:pt x="13211" y="1533"/>
                  </a:lnTo>
                  <a:lnTo>
                    <a:pt x="13210" y="1524"/>
                  </a:lnTo>
                  <a:lnTo>
                    <a:pt x="13210" y="1411"/>
                  </a:lnTo>
                  <a:lnTo>
                    <a:pt x="13211" y="1402"/>
                  </a:lnTo>
                  <a:lnTo>
                    <a:pt x="13215" y="1397"/>
                  </a:lnTo>
                  <a:lnTo>
                    <a:pt x="13222" y="1393"/>
                  </a:lnTo>
                  <a:lnTo>
                    <a:pt x="13229" y="1392"/>
                  </a:lnTo>
                  <a:lnTo>
                    <a:pt x="13237" y="1393"/>
                  </a:lnTo>
                  <a:lnTo>
                    <a:pt x="13243" y="1397"/>
                  </a:lnTo>
                  <a:lnTo>
                    <a:pt x="13247" y="1402"/>
                  </a:lnTo>
                  <a:lnTo>
                    <a:pt x="13250" y="1411"/>
                  </a:lnTo>
                  <a:close/>
                  <a:moveTo>
                    <a:pt x="12987" y="1411"/>
                  </a:moveTo>
                  <a:lnTo>
                    <a:pt x="12987" y="1524"/>
                  </a:lnTo>
                  <a:lnTo>
                    <a:pt x="12984" y="1533"/>
                  </a:lnTo>
                  <a:lnTo>
                    <a:pt x="12981" y="1539"/>
                  </a:lnTo>
                  <a:lnTo>
                    <a:pt x="12974" y="1543"/>
                  </a:lnTo>
                  <a:lnTo>
                    <a:pt x="12966" y="1544"/>
                  </a:lnTo>
                  <a:lnTo>
                    <a:pt x="12959" y="1543"/>
                  </a:lnTo>
                  <a:lnTo>
                    <a:pt x="12952" y="1539"/>
                  </a:lnTo>
                  <a:lnTo>
                    <a:pt x="12948" y="1533"/>
                  </a:lnTo>
                  <a:lnTo>
                    <a:pt x="12946" y="1524"/>
                  </a:lnTo>
                  <a:lnTo>
                    <a:pt x="12946" y="1411"/>
                  </a:lnTo>
                  <a:lnTo>
                    <a:pt x="12948" y="1402"/>
                  </a:lnTo>
                  <a:lnTo>
                    <a:pt x="12952" y="1397"/>
                  </a:lnTo>
                  <a:lnTo>
                    <a:pt x="12959" y="1393"/>
                  </a:lnTo>
                  <a:lnTo>
                    <a:pt x="12966" y="1392"/>
                  </a:lnTo>
                  <a:lnTo>
                    <a:pt x="12974" y="1393"/>
                  </a:lnTo>
                  <a:lnTo>
                    <a:pt x="12981" y="1397"/>
                  </a:lnTo>
                  <a:lnTo>
                    <a:pt x="12984" y="1402"/>
                  </a:lnTo>
                  <a:lnTo>
                    <a:pt x="12987" y="1411"/>
                  </a:lnTo>
                  <a:close/>
                  <a:moveTo>
                    <a:pt x="13776" y="1177"/>
                  </a:moveTo>
                  <a:lnTo>
                    <a:pt x="13776" y="1290"/>
                  </a:lnTo>
                  <a:lnTo>
                    <a:pt x="13774" y="1299"/>
                  </a:lnTo>
                  <a:lnTo>
                    <a:pt x="13769" y="1305"/>
                  </a:lnTo>
                  <a:lnTo>
                    <a:pt x="13763" y="1309"/>
                  </a:lnTo>
                  <a:lnTo>
                    <a:pt x="13756" y="1309"/>
                  </a:lnTo>
                  <a:lnTo>
                    <a:pt x="13749" y="1309"/>
                  </a:lnTo>
                  <a:lnTo>
                    <a:pt x="13742" y="1305"/>
                  </a:lnTo>
                  <a:lnTo>
                    <a:pt x="13737" y="1299"/>
                  </a:lnTo>
                  <a:lnTo>
                    <a:pt x="13736" y="1290"/>
                  </a:lnTo>
                  <a:lnTo>
                    <a:pt x="13736" y="1177"/>
                  </a:lnTo>
                  <a:lnTo>
                    <a:pt x="13737" y="1168"/>
                  </a:lnTo>
                  <a:lnTo>
                    <a:pt x="13742" y="1163"/>
                  </a:lnTo>
                  <a:lnTo>
                    <a:pt x="13749" y="1159"/>
                  </a:lnTo>
                  <a:lnTo>
                    <a:pt x="13756" y="1158"/>
                  </a:lnTo>
                  <a:lnTo>
                    <a:pt x="13763" y="1159"/>
                  </a:lnTo>
                  <a:lnTo>
                    <a:pt x="13769" y="1163"/>
                  </a:lnTo>
                  <a:lnTo>
                    <a:pt x="13774" y="1168"/>
                  </a:lnTo>
                  <a:lnTo>
                    <a:pt x="13776" y="1177"/>
                  </a:lnTo>
                  <a:close/>
                  <a:moveTo>
                    <a:pt x="13513" y="1177"/>
                  </a:moveTo>
                  <a:lnTo>
                    <a:pt x="13513" y="1290"/>
                  </a:lnTo>
                  <a:lnTo>
                    <a:pt x="13511" y="1299"/>
                  </a:lnTo>
                  <a:lnTo>
                    <a:pt x="13506" y="1305"/>
                  </a:lnTo>
                  <a:lnTo>
                    <a:pt x="13500" y="1309"/>
                  </a:lnTo>
                  <a:lnTo>
                    <a:pt x="13492" y="1309"/>
                  </a:lnTo>
                  <a:lnTo>
                    <a:pt x="13486" y="1309"/>
                  </a:lnTo>
                  <a:lnTo>
                    <a:pt x="13479" y="1305"/>
                  </a:lnTo>
                  <a:lnTo>
                    <a:pt x="13474" y="1299"/>
                  </a:lnTo>
                  <a:lnTo>
                    <a:pt x="13473" y="1290"/>
                  </a:lnTo>
                  <a:lnTo>
                    <a:pt x="13473" y="1177"/>
                  </a:lnTo>
                  <a:lnTo>
                    <a:pt x="13474" y="1168"/>
                  </a:lnTo>
                  <a:lnTo>
                    <a:pt x="13479" y="1163"/>
                  </a:lnTo>
                  <a:lnTo>
                    <a:pt x="13486" y="1159"/>
                  </a:lnTo>
                  <a:lnTo>
                    <a:pt x="13492" y="1158"/>
                  </a:lnTo>
                  <a:lnTo>
                    <a:pt x="13500" y="1159"/>
                  </a:lnTo>
                  <a:lnTo>
                    <a:pt x="13506" y="1163"/>
                  </a:lnTo>
                  <a:lnTo>
                    <a:pt x="13511" y="1168"/>
                  </a:lnTo>
                  <a:lnTo>
                    <a:pt x="13513" y="1177"/>
                  </a:lnTo>
                  <a:close/>
                  <a:moveTo>
                    <a:pt x="13250" y="1177"/>
                  </a:moveTo>
                  <a:lnTo>
                    <a:pt x="13250" y="1290"/>
                  </a:lnTo>
                  <a:lnTo>
                    <a:pt x="13247" y="1299"/>
                  </a:lnTo>
                  <a:lnTo>
                    <a:pt x="13243" y="1305"/>
                  </a:lnTo>
                  <a:lnTo>
                    <a:pt x="13237" y="1309"/>
                  </a:lnTo>
                  <a:lnTo>
                    <a:pt x="13229" y="1309"/>
                  </a:lnTo>
                  <a:lnTo>
                    <a:pt x="13222" y="1309"/>
                  </a:lnTo>
                  <a:lnTo>
                    <a:pt x="13215" y="1305"/>
                  </a:lnTo>
                  <a:lnTo>
                    <a:pt x="13211" y="1299"/>
                  </a:lnTo>
                  <a:lnTo>
                    <a:pt x="13210" y="1290"/>
                  </a:lnTo>
                  <a:lnTo>
                    <a:pt x="13210" y="1177"/>
                  </a:lnTo>
                  <a:lnTo>
                    <a:pt x="13211" y="1168"/>
                  </a:lnTo>
                  <a:lnTo>
                    <a:pt x="13215" y="1163"/>
                  </a:lnTo>
                  <a:lnTo>
                    <a:pt x="13222" y="1159"/>
                  </a:lnTo>
                  <a:lnTo>
                    <a:pt x="13229" y="1158"/>
                  </a:lnTo>
                  <a:lnTo>
                    <a:pt x="13237" y="1159"/>
                  </a:lnTo>
                  <a:lnTo>
                    <a:pt x="13243" y="1163"/>
                  </a:lnTo>
                  <a:lnTo>
                    <a:pt x="13247" y="1168"/>
                  </a:lnTo>
                  <a:lnTo>
                    <a:pt x="13250" y="1177"/>
                  </a:lnTo>
                  <a:close/>
                  <a:moveTo>
                    <a:pt x="12987" y="1177"/>
                  </a:moveTo>
                  <a:lnTo>
                    <a:pt x="12987" y="1290"/>
                  </a:lnTo>
                  <a:lnTo>
                    <a:pt x="12984" y="1299"/>
                  </a:lnTo>
                  <a:lnTo>
                    <a:pt x="12981" y="1305"/>
                  </a:lnTo>
                  <a:lnTo>
                    <a:pt x="12974" y="1309"/>
                  </a:lnTo>
                  <a:lnTo>
                    <a:pt x="12966" y="1309"/>
                  </a:lnTo>
                  <a:lnTo>
                    <a:pt x="12959" y="1309"/>
                  </a:lnTo>
                  <a:lnTo>
                    <a:pt x="12952" y="1305"/>
                  </a:lnTo>
                  <a:lnTo>
                    <a:pt x="12948" y="1299"/>
                  </a:lnTo>
                  <a:lnTo>
                    <a:pt x="12946" y="1290"/>
                  </a:lnTo>
                  <a:lnTo>
                    <a:pt x="12946" y="1177"/>
                  </a:lnTo>
                  <a:lnTo>
                    <a:pt x="12948" y="1168"/>
                  </a:lnTo>
                  <a:lnTo>
                    <a:pt x="12952" y="1163"/>
                  </a:lnTo>
                  <a:lnTo>
                    <a:pt x="12959" y="1159"/>
                  </a:lnTo>
                  <a:lnTo>
                    <a:pt x="12966" y="1158"/>
                  </a:lnTo>
                  <a:lnTo>
                    <a:pt x="12974" y="1159"/>
                  </a:lnTo>
                  <a:lnTo>
                    <a:pt x="12981" y="1163"/>
                  </a:lnTo>
                  <a:lnTo>
                    <a:pt x="12984" y="1168"/>
                  </a:lnTo>
                  <a:lnTo>
                    <a:pt x="12987" y="1177"/>
                  </a:lnTo>
                  <a:close/>
                  <a:moveTo>
                    <a:pt x="13538" y="3927"/>
                  </a:moveTo>
                  <a:lnTo>
                    <a:pt x="13538" y="4038"/>
                  </a:lnTo>
                  <a:lnTo>
                    <a:pt x="13536" y="4047"/>
                  </a:lnTo>
                  <a:lnTo>
                    <a:pt x="13532" y="4053"/>
                  </a:lnTo>
                  <a:lnTo>
                    <a:pt x="13525" y="4057"/>
                  </a:lnTo>
                  <a:lnTo>
                    <a:pt x="13518" y="4058"/>
                  </a:lnTo>
                  <a:lnTo>
                    <a:pt x="13510" y="4057"/>
                  </a:lnTo>
                  <a:lnTo>
                    <a:pt x="13504" y="4053"/>
                  </a:lnTo>
                  <a:lnTo>
                    <a:pt x="13500" y="4047"/>
                  </a:lnTo>
                  <a:lnTo>
                    <a:pt x="13497" y="4038"/>
                  </a:lnTo>
                  <a:lnTo>
                    <a:pt x="13497" y="3927"/>
                  </a:lnTo>
                  <a:lnTo>
                    <a:pt x="13500" y="3918"/>
                  </a:lnTo>
                  <a:lnTo>
                    <a:pt x="13504" y="3911"/>
                  </a:lnTo>
                  <a:lnTo>
                    <a:pt x="13510" y="3907"/>
                  </a:lnTo>
                  <a:lnTo>
                    <a:pt x="13518" y="3906"/>
                  </a:lnTo>
                  <a:lnTo>
                    <a:pt x="13525" y="3907"/>
                  </a:lnTo>
                  <a:lnTo>
                    <a:pt x="13532" y="3911"/>
                  </a:lnTo>
                  <a:lnTo>
                    <a:pt x="13536" y="3918"/>
                  </a:lnTo>
                  <a:lnTo>
                    <a:pt x="13538" y="3927"/>
                  </a:lnTo>
                  <a:close/>
                  <a:moveTo>
                    <a:pt x="13274" y="3927"/>
                  </a:moveTo>
                  <a:lnTo>
                    <a:pt x="13274" y="4038"/>
                  </a:lnTo>
                  <a:lnTo>
                    <a:pt x="13273" y="4047"/>
                  </a:lnTo>
                  <a:lnTo>
                    <a:pt x="13269" y="4053"/>
                  </a:lnTo>
                  <a:lnTo>
                    <a:pt x="13263" y="4057"/>
                  </a:lnTo>
                  <a:lnTo>
                    <a:pt x="13255" y="4058"/>
                  </a:lnTo>
                  <a:lnTo>
                    <a:pt x="13247" y="4057"/>
                  </a:lnTo>
                  <a:lnTo>
                    <a:pt x="13241" y="4053"/>
                  </a:lnTo>
                  <a:lnTo>
                    <a:pt x="13237" y="4047"/>
                  </a:lnTo>
                  <a:lnTo>
                    <a:pt x="13234" y="4038"/>
                  </a:lnTo>
                  <a:lnTo>
                    <a:pt x="13234" y="3927"/>
                  </a:lnTo>
                  <a:lnTo>
                    <a:pt x="13237" y="3918"/>
                  </a:lnTo>
                  <a:lnTo>
                    <a:pt x="13241" y="3911"/>
                  </a:lnTo>
                  <a:lnTo>
                    <a:pt x="13247" y="3907"/>
                  </a:lnTo>
                  <a:lnTo>
                    <a:pt x="13255" y="3906"/>
                  </a:lnTo>
                  <a:lnTo>
                    <a:pt x="13263" y="3907"/>
                  </a:lnTo>
                  <a:lnTo>
                    <a:pt x="13269" y="3911"/>
                  </a:lnTo>
                  <a:lnTo>
                    <a:pt x="13273" y="3918"/>
                  </a:lnTo>
                  <a:lnTo>
                    <a:pt x="13274" y="3927"/>
                  </a:lnTo>
                  <a:close/>
                  <a:moveTo>
                    <a:pt x="13011" y="3927"/>
                  </a:moveTo>
                  <a:lnTo>
                    <a:pt x="13011" y="4038"/>
                  </a:lnTo>
                  <a:lnTo>
                    <a:pt x="13010" y="4047"/>
                  </a:lnTo>
                  <a:lnTo>
                    <a:pt x="13005" y="4053"/>
                  </a:lnTo>
                  <a:lnTo>
                    <a:pt x="12998" y="4057"/>
                  </a:lnTo>
                  <a:lnTo>
                    <a:pt x="12992" y="4058"/>
                  </a:lnTo>
                  <a:lnTo>
                    <a:pt x="12984" y="4057"/>
                  </a:lnTo>
                  <a:lnTo>
                    <a:pt x="12978" y="4053"/>
                  </a:lnTo>
                  <a:lnTo>
                    <a:pt x="12973" y="4047"/>
                  </a:lnTo>
                  <a:lnTo>
                    <a:pt x="12972" y="4038"/>
                  </a:lnTo>
                  <a:lnTo>
                    <a:pt x="12972" y="3927"/>
                  </a:lnTo>
                  <a:lnTo>
                    <a:pt x="12973" y="3918"/>
                  </a:lnTo>
                  <a:lnTo>
                    <a:pt x="12978" y="3911"/>
                  </a:lnTo>
                  <a:lnTo>
                    <a:pt x="12984" y="3907"/>
                  </a:lnTo>
                  <a:lnTo>
                    <a:pt x="12992" y="3906"/>
                  </a:lnTo>
                  <a:lnTo>
                    <a:pt x="12998" y="3907"/>
                  </a:lnTo>
                  <a:lnTo>
                    <a:pt x="13005" y="3911"/>
                  </a:lnTo>
                  <a:lnTo>
                    <a:pt x="13010" y="3918"/>
                  </a:lnTo>
                  <a:lnTo>
                    <a:pt x="13011" y="3927"/>
                  </a:lnTo>
                  <a:close/>
                  <a:moveTo>
                    <a:pt x="12748" y="3927"/>
                  </a:moveTo>
                  <a:lnTo>
                    <a:pt x="12748" y="4038"/>
                  </a:lnTo>
                  <a:lnTo>
                    <a:pt x="12747" y="4047"/>
                  </a:lnTo>
                  <a:lnTo>
                    <a:pt x="12742" y="4053"/>
                  </a:lnTo>
                  <a:lnTo>
                    <a:pt x="12736" y="4057"/>
                  </a:lnTo>
                  <a:lnTo>
                    <a:pt x="12729" y="4058"/>
                  </a:lnTo>
                  <a:lnTo>
                    <a:pt x="12721" y="4057"/>
                  </a:lnTo>
                  <a:lnTo>
                    <a:pt x="12715" y="4053"/>
                  </a:lnTo>
                  <a:lnTo>
                    <a:pt x="12710" y="4047"/>
                  </a:lnTo>
                  <a:lnTo>
                    <a:pt x="12709" y="4038"/>
                  </a:lnTo>
                  <a:lnTo>
                    <a:pt x="12709" y="3927"/>
                  </a:lnTo>
                  <a:lnTo>
                    <a:pt x="12710" y="3918"/>
                  </a:lnTo>
                  <a:lnTo>
                    <a:pt x="12715" y="3911"/>
                  </a:lnTo>
                  <a:lnTo>
                    <a:pt x="12721" y="3907"/>
                  </a:lnTo>
                  <a:lnTo>
                    <a:pt x="12729" y="3906"/>
                  </a:lnTo>
                  <a:lnTo>
                    <a:pt x="12736" y="3907"/>
                  </a:lnTo>
                  <a:lnTo>
                    <a:pt x="12742" y="3911"/>
                  </a:lnTo>
                  <a:lnTo>
                    <a:pt x="12747" y="3918"/>
                  </a:lnTo>
                  <a:lnTo>
                    <a:pt x="12748" y="3927"/>
                  </a:lnTo>
                  <a:close/>
                  <a:moveTo>
                    <a:pt x="13538" y="3681"/>
                  </a:moveTo>
                  <a:lnTo>
                    <a:pt x="13538" y="3792"/>
                  </a:lnTo>
                  <a:lnTo>
                    <a:pt x="13536" y="3801"/>
                  </a:lnTo>
                  <a:lnTo>
                    <a:pt x="13532" y="3808"/>
                  </a:lnTo>
                  <a:lnTo>
                    <a:pt x="13525" y="3811"/>
                  </a:lnTo>
                  <a:lnTo>
                    <a:pt x="13518" y="3813"/>
                  </a:lnTo>
                  <a:lnTo>
                    <a:pt x="13510" y="3811"/>
                  </a:lnTo>
                  <a:lnTo>
                    <a:pt x="13504" y="3808"/>
                  </a:lnTo>
                  <a:lnTo>
                    <a:pt x="13500" y="3801"/>
                  </a:lnTo>
                  <a:lnTo>
                    <a:pt x="13497" y="3792"/>
                  </a:lnTo>
                  <a:lnTo>
                    <a:pt x="13497" y="3681"/>
                  </a:lnTo>
                  <a:lnTo>
                    <a:pt x="13500" y="3672"/>
                  </a:lnTo>
                  <a:lnTo>
                    <a:pt x="13504" y="3666"/>
                  </a:lnTo>
                  <a:lnTo>
                    <a:pt x="13510" y="3662"/>
                  </a:lnTo>
                  <a:lnTo>
                    <a:pt x="13518" y="3661"/>
                  </a:lnTo>
                  <a:lnTo>
                    <a:pt x="13525" y="3662"/>
                  </a:lnTo>
                  <a:lnTo>
                    <a:pt x="13532" y="3666"/>
                  </a:lnTo>
                  <a:lnTo>
                    <a:pt x="13536" y="3672"/>
                  </a:lnTo>
                  <a:lnTo>
                    <a:pt x="13538" y="3681"/>
                  </a:lnTo>
                  <a:close/>
                  <a:moveTo>
                    <a:pt x="13274" y="3681"/>
                  </a:moveTo>
                  <a:lnTo>
                    <a:pt x="13274" y="3792"/>
                  </a:lnTo>
                  <a:lnTo>
                    <a:pt x="13273" y="3801"/>
                  </a:lnTo>
                  <a:lnTo>
                    <a:pt x="13269" y="3808"/>
                  </a:lnTo>
                  <a:lnTo>
                    <a:pt x="13263" y="3811"/>
                  </a:lnTo>
                  <a:lnTo>
                    <a:pt x="13255" y="3813"/>
                  </a:lnTo>
                  <a:lnTo>
                    <a:pt x="13247" y="3811"/>
                  </a:lnTo>
                  <a:lnTo>
                    <a:pt x="13241" y="3808"/>
                  </a:lnTo>
                  <a:lnTo>
                    <a:pt x="13237" y="3801"/>
                  </a:lnTo>
                  <a:lnTo>
                    <a:pt x="13234" y="3792"/>
                  </a:lnTo>
                  <a:lnTo>
                    <a:pt x="13234" y="3681"/>
                  </a:lnTo>
                  <a:lnTo>
                    <a:pt x="13237" y="3672"/>
                  </a:lnTo>
                  <a:lnTo>
                    <a:pt x="13241" y="3666"/>
                  </a:lnTo>
                  <a:lnTo>
                    <a:pt x="13247" y="3662"/>
                  </a:lnTo>
                  <a:lnTo>
                    <a:pt x="13255" y="3661"/>
                  </a:lnTo>
                  <a:lnTo>
                    <a:pt x="13263" y="3662"/>
                  </a:lnTo>
                  <a:lnTo>
                    <a:pt x="13269" y="3666"/>
                  </a:lnTo>
                  <a:lnTo>
                    <a:pt x="13273" y="3672"/>
                  </a:lnTo>
                  <a:lnTo>
                    <a:pt x="13274" y="3681"/>
                  </a:lnTo>
                  <a:close/>
                  <a:moveTo>
                    <a:pt x="13011" y="3681"/>
                  </a:moveTo>
                  <a:lnTo>
                    <a:pt x="13011" y="3792"/>
                  </a:lnTo>
                  <a:lnTo>
                    <a:pt x="13010" y="3801"/>
                  </a:lnTo>
                  <a:lnTo>
                    <a:pt x="13005" y="3808"/>
                  </a:lnTo>
                  <a:lnTo>
                    <a:pt x="12998" y="3811"/>
                  </a:lnTo>
                  <a:lnTo>
                    <a:pt x="12992" y="3813"/>
                  </a:lnTo>
                  <a:lnTo>
                    <a:pt x="12984" y="3811"/>
                  </a:lnTo>
                  <a:lnTo>
                    <a:pt x="12978" y="3808"/>
                  </a:lnTo>
                  <a:lnTo>
                    <a:pt x="12973" y="3801"/>
                  </a:lnTo>
                  <a:lnTo>
                    <a:pt x="12972" y="3792"/>
                  </a:lnTo>
                  <a:lnTo>
                    <a:pt x="12972" y="3681"/>
                  </a:lnTo>
                  <a:lnTo>
                    <a:pt x="12973" y="3672"/>
                  </a:lnTo>
                  <a:lnTo>
                    <a:pt x="12978" y="3666"/>
                  </a:lnTo>
                  <a:lnTo>
                    <a:pt x="12984" y="3662"/>
                  </a:lnTo>
                  <a:lnTo>
                    <a:pt x="12992" y="3661"/>
                  </a:lnTo>
                  <a:lnTo>
                    <a:pt x="12998" y="3662"/>
                  </a:lnTo>
                  <a:lnTo>
                    <a:pt x="13005" y="3666"/>
                  </a:lnTo>
                  <a:lnTo>
                    <a:pt x="13010" y="3672"/>
                  </a:lnTo>
                  <a:lnTo>
                    <a:pt x="13011" y="3681"/>
                  </a:lnTo>
                  <a:close/>
                  <a:moveTo>
                    <a:pt x="12748" y="3681"/>
                  </a:moveTo>
                  <a:lnTo>
                    <a:pt x="12748" y="3792"/>
                  </a:lnTo>
                  <a:lnTo>
                    <a:pt x="12747" y="3801"/>
                  </a:lnTo>
                  <a:lnTo>
                    <a:pt x="12742" y="3808"/>
                  </a:lnTo>
                  <a:lnTo>
                    <a:pt x="12736" y="3811"/>
                  </a:lnTo>
                  <a:lnTo>
                    <a:pt x="12729" y="3813"/>
                  </a:lnTo>
                  <a:lnTo>
                    <a:pt x="12721" y="3811"/>
                  </a:lnTo>
                  <a:lnTo>
                    <a:pt x="12715" y="3808"/>
                  </a:lnTo>
                  <a:lnTo>
                    <a:pt x="12710" y="3801"/>
                  </a:lnTo>
                  <a:lnTo>
                    <a:pt x="12709" y="3792"/>
                  </a:lnTo>
                  <a:lnTo>
                    <a:pt x="12709" y="3681"/>
                  </a:lnTo>
                  <a:lnTo>
                    <a:pt x="12710" y="3672"/>
                  </a:lnTo>
                  <a:lnTo>
                    <a:pt x="12715" y="3666"/>
                  </a:lnTo>
                  <a:lnTo>
                    <a:pt x="12721" y="3662"/>
                  </a:lnTo>
                  <a:lnTo>
                    <a:pt x="12729" y="3661"/>
                  </a:lnTo>
                  <a:lnTo>
                    <a:pt x="12736" y="3662"/>
                  </a:lnTo>
                  <a:lnTo>
                    <a:pt x="12742" y="3666"/>
                  </a:lnTo>
                  <a:lnTo>
                    <a:pt x="12747" y="3672"/>
                  </a:lnTo>
                  <a:lnTo>
                    <a:pt x="12748" y="3681"/>
                  </a:lnTo>
                  <a:close/>
                  <a:moveTo>
                    <a:pt x="13538" y="3436"/>
                  </a:moveTo>
                  <a:lnTo>
                    <a:pt x="13538" y="3547"/>
                  </a:lnTo>
                  <a:lnTo>
                    <a:pt x="13536" y="3556"/>
                  </a:lnTo>
                  <a:lnTo>
                    <a:pt x="13532" y="3562"/>
                  </a:lnTo>
                  <a:lnTo>
                    <a:pt x="13525" y="3566"/>
                  </a:lnTo>
                  <a:lnTo>
                    <a:pt x="13518" y="3567"/>
                  </a:lnTo>
                  <a:lnTo>
                    <a:pt x="13510" y="3566"/>
                  </a:lnTo>
                  <a:lnTo>
                    <a:pt x="13504" y="3562"/>
                  </a:lnTo>
                  <a:lnTo>
                    <a:pt x="13500" y="3556"/>
                  </a:lnTo>
                  <a:lnTo>
                    <a:pt x="13497" y="3547"/>
                  </a:lnTo>
                  <a:lnTo>
                    <a:pt x="13497" y="3436"/>
                  </a:lnTo>
                  <a:lnTo>
                    <a:pt x="13500" y="3427"/>
                  </a:lnTo>
                  <a:lnTo>
                    <a:pt x="13504" y="3420"/>
                  </a:lnTo>
                  <a:lnTo>
                    <a:pt x="13510" y="3416"/>
                  </a:lnTo>
                  <a:lnTo>
                    <a:pt x="13518" y="3415"/>
                  </a:lnTo>
                  <a:lnTo>
                    <a:pt x="13525" y="3416"/>
                  </a:lnTo>
                  <a:lnTo>
                    <a:pt x="13532" y="3420"/>
                  </a:lnTo>
                  <a:lnTo>
                    <a:pt x="13536" y="3427"/>
                  </a:lnTo>
                  <a:lnTo>
                    <a:pt x="13538" y="3436"/>
                  </a:lnTo>
                  <a:close/>
                  <a:moveTo>
                    <a:pt x="13274" y="3436"/>
                  </a:moveTo>
                  <a:lnTo>
                    <a:pt x="13274" y="3547"/>
                  </a:lnTo>
                  <a:lnTo>
                    <a:pt x="13273" y="3556"/>
                  </a:lnTo>
                  <a:lnTo>
                    <a:pt x="13269" y="3562"/>
                  </a:lnTo>
                  <a:lnTo>
                    <a:pt x="13263" y="3566"/>
                  </a:lnTo>
                  <a:lnTo>
                    <a:pt x="13255" y="3567"/>
                  </a:lnTo>
                  <a:lnTo>
                    <a:pt x="13247" y="3566"/>
                  </a:lnTo>
                  <a:lnTo>
                    <a:pt x="13241" y="3562"/>
                  </a:lnTo>
                  <a:lnTo>
                    <a:pt x="13237" y="3556"/>
                  </a:lnTo>
                  <a:lnTo>
                    <a:pt x="13234" y="3547"/>
                  </a:lnTo>
                  <a:lnTo>
                    <a:pt x="13234" y="3436"/>
                  </a:lnTo>
                  <a:lnTo>
                    <a:pt x="13237" y="3427"/>
                  </a:lnTo>
                  <a:lnTo>
                    <a:pt x="13241" y="3420"/>
                  </a:lnTo>
                  <a:lnTo>
                    <a:pt x="13247" y="3416"/>
                  </a:lnTo>
                  <a:lnTo>
                    <a:pt x="13255" y="3415"/>
                  </a:lnTo>
                  <a:lnTo>
                    <a:pt x="13263" y="3416"/>
                  </a:lnTo>
                  <a:lnTo>
                    <a:pt x="13269" y="3420"/>
                  </a:lnTo>
                  <a:lnTo>
                    <a:pt x="13273" y="3427"/>
                  </a:lnTo>
                  <a:lnTo>
                    <a:pt x="13274" y="3436"/>
                  </a:lnTo>
                  <a:close/>
                  <a:moveTo>
                    <a:pt x="13011" y="3436"/>
                  </a:moveTo>
                  <a:lnTo>
                    <a:pt x="13011" y="3547"/>
                  </a:lnTo>
                  <a:lnTo>
                    <a:pt x="13010" y="3556"/>
                  </a:lnTo>
                  <a:lnTo>
                    <a:pt x="13005" y="3562"/>
                  </a:lnTo>
                  <a:lnTo>
                    <a:pt x="12998" y="3566"/>
                  </a:lnTo>
                  <a:lnTo>
                    <a:pt x="12992" y="3567"/>
                  </a:lnTo>
                  <a:lnTo>
                    <a:pt x="12984" y="3566"/>
                  </a:lnTo>
                  <a:lnTo>
                    <a:pt x="12978" y="3562"/>
                  </a:lnTo>
                  <a:lnTo>
                    <a:pt x="12973" y="3556"/>
                  </a:lnTo>
                  <a:lnTo>
                    <a:pt x="12972" y="3547"/>
                  </a:lnTo>
                  <a:lnTo>
                    <a:pt x="12972" y="3436"/>
                  </a:lnTo>
                  <a:lnTo>
                    <a:pt x="12973" y="3427"/>
                  </a:lnTo>
                  <a:lnTo>
                    <a:pt x="12978" y="3420"/>
                  </a:lnTo>
                  <a:lnTo>
                    <a:pt x="12984" y="3416"/>
                  </a:lnTo>
                  <a:lnTo>
                    <a:pt x="12992" y="3415"/>
                  </a:lnTo>
                  <a:lnTo>
                    <a:pt x="12998" y="3416"/>
                  </a:lnTo>
                  <a:lnTo>
                    <a:pt x="13005" y="3420"/>
                  </a:lnTo>
                  <a:lnTo>
                    <a:pt x="13010" y="3427"/>
                  </a:lnTo>
                  <a:lnTo>
                    <a:pt x="13011" y="3436"/>
                  </a:lnTo>
                  <a:close/>
                  <a:moveTo>
                    <a:pt x="12748" y="3436"/>
                  </a:moveTo>
                  <a:lnTo>
                    <a:pt x="12748" y="3547"/>
                  </a:lnTo>
                  <a:lnTo>
                    <a:pt x="12747" y="3556"/>
                  </a:lnTo>
                  <a:lnTo>
                    <a:pt x="12742" y="3562"/>
                  </a:lnTo>
                  <a:lnTo>
                    <a:pt x="12736" y="3566"/>
                  </a:lnTo>
                  <a:lnTo>
                    <a:pt x="12729" y="3567"/>
                  </a:lnTo>
                  <a:lnTo>
                    <a:pt x="12721" y="3566"/>
                  </a:lnTo>
                  <a:lnTo>
                    <a:pt x="12715" y="3562"/>
                  </a:lnTo>
                  <a:lnTo>
                    <a:pt x="12710" y="3556"/>
                  </a:lnTo>
                  <a:lnTo>
                    <a:pt x="12709" y="3547"/>
                  </a:lnTo>
                  <a:lnTo>
                    <a:pt x="12709" y="3436"/>
                  </a:lnTo>
                  <a:lnTo>
                    <a:pt x="12710" y="3427"/>
                  </a:lnTo>
                  <a:lnTo>
                    <a:pt x="12715" y="3420"/>
                  </a:lnTo>
                  <a:lnTo>
                    <a:pt x="12721" y="3416"/>
                  </a:lnTo>
                  <a:lnTo>
                    <a:pt x="12729" y="3415"/>
                  </a:lnTo>
                  <a:lnTo>
                    <a:pt x="12736" y="3416"/>
                  </a:lnTo>
                  <a:lnTo>
                    <a:pt x="12742" y="3420"/>
                  </a:lnTo>
                  <a:lnTo>
                    <a:pt x="12747" y="3427"/>
                  </a:lnTo>
                  <a:lnTo>
                    <a:pt x="12748" y="3436"/>
                  </a:lnTo>
                  <a:close/>
                  <a:moveTo>
                    <a:pt x="12486" y="3436"/>
                  </a:moveTo>
                  <a:lnTo>
                    <a:pt x="12486" y="3547"/>
                  </a:lnTo>
                  <a:lnTo>
                    <a:pt x="12484" y="3556"/>
                  </a:lnTo>
                  <a:lnTo>
                    <a:pt x="12479" y="3562"/>
                  </a:lnTo>
                  <a:lnTo>
                    <a:pt x="12473" y="3566"/>
                  </a:lnTo>
                  <a:lnTo>
                    <a:pt x="12465" y="3567"/>
                  </a:lnTo>
                  <a:lnTo>
                    <a:pt x="12459" y="3566"/>
                  </a:lnTo>
                  <a:lnTo>
                    <a:pt x="12452" y="3562"/>
                  </a:lnTo>
                  <a:lnTo>
                    <a:pt x="12447" y="3556"/>
                  </a:lnTo>
                  <a:lnTo>
                    <a:pt x="12446" y="3547"/>
                  </a:lnTo>
                  <a:lnTo>
                    <a:pt x="12446" y="3436"/>
                  </a:lnTo>
                  <a:lnTo>
                    <a:pt x="12447" y="3427"/>
                  </a:lnTo>
                  <a:lnTo>
                    <a:pt x="12452" y="3420"/>
                  </a:lnTo>
                  <a:lnTo>
                    <a:pt x="12459" y="3416"/>
                  </a:lnTo>
                  <a:lnTo>
                    <a:pt x="12465" y="3415"/>
                  </a:lnTo>
                  <a:lnTo>
                    <a:pt x="12473" y="3416"/>
                  </a:lnTo>
                  <a:lnTo>
                    <a:pt x="12479" y="3420"/>
                  </a:lnTo>
                  <a:lnTo>
                    <a:pt x="12484" y="3427"/>
                  </a:lnTo>
                  <a:lnTo>
                    <a:pt x="12486" y="3436"/>
                  </a:lnTo>
                  <a:close/>
                  <a:moveTo>
                    <a:pt x="10933" y="2423"/>
                  </a:moveTo>
                  <a:lnTo>
                    <a:pt x="10933" y="2535"/>
                  </a:lnTo>
                  <a:lnTo>
                    <a:pt x="10931" y="2543"/>
                  </a:lnTo>
                  <a:lnTo>
                    <a:pt x="10926" y="2549"/>
                  </a:lnTo>
                  <a:lnTo>
                    <a:pt x="10920" y="2553"/>
                  </a:lnTo>
                  <a:lnTo>
                    <a:pt x="10912" y="2555"/>
                  </a:lnTo>
                  <a:lnTo>
                    <a:pt x="10906" y="2553"/>
                  </a:lnTo>
                  <a:lnTo>
                    <a:pt x="10899" y="2549"/>
                  </a:lnTo>
                  <a:lnTo>
                    <a:pt x="10894" y="2543"/>
                  </a:lnTo>
                  <a:lnTo>
                    <a:pt x="10893" y="2535"/>
                  </a:lnTo>
                  <a:lnTo>
                    <a:pt x="10893" y="2423"/>
                  </a:lnTo>
                  <a:lnTo>
                    <a:pt x="10894" y="2414"/>
                  </a:lnTo>
                  <a:lnTo>
                    <a:pt x="10899" y="2407"/>
                  </a:lnTo>
                  <a:lnTo>
                    <a:pt x="10906" y="2404"/>
                  </a:lnTo>
                  <a:lnTo>
                    <a:pt x="10912" y="2402"/>
                  </a:lnTo>
                  <a:lnTo>
                    <a:pt x="10920" y="2404"/>
                  </a:lnTo>
                  <a:lnTo>
                    <a:pt x="10926" y="2407"/>
                  </a:lnTo>
                  <a:lnTo>
                    <a:pt x="10931" y="2414"/>
                  </a:lnTo>
                  <a:lnTo>
                    <a:pt x="10933" y="2423"/>
                  </a:lnTo>
                  <a:close/>
                  <a:moveTo>
                    <a:pt x="10670" y="2423"/>
                  </a:moveTo>
                  <a:lnTo>
                    <a:pt x="10670" y="2535"/>
                  </a:lnTo>
                  <a:lnTo>
                    <a:pt x="10669" y="2543"/>
                  </a:lnTo>
                  <a:lnTo>
                    <a:pt x="10663" y="2549"/>
                  </a:lnTo>
                  <a:lnTo>
                    <a:pt x="10657" y="2553"/>
                  </a:lnTo>
                  <a:lnTo>
                    <a:pt x="10649" y="2555"/>
                  </a:lnTo>
                  <a:lnTo>
                    <a:pt x="10643" y="2553"/>
                  </a:lnTo>
                  <a:lnTo>
                    <a:pt x="10637" y="2549"/>
                  </a:lnTo>
                  <a:lnTo>
                    <a:pt x="10631" y="2543"/>
                  </a:lnTo>
                  <a:lnTo>
                    <a:pt x="10630" y="2535"/>
                  </a:lnTo>
                  <a:lnTo>
                    <a:pt x="10630" y="2423"/>
                  </a:lnTo>
                  <a:lnTo>
                    <a:pt x="10631" y="2414"/>
                  </a:lnTo>
                  <a:lnTo>
                    <a:pt x="10637" y="2407"/>
                  </a:lnTo>
                  <a:lnTo>
                    <a:pt x="10643" y="2404"/>
                  </a:lnTo>
                  <a:lnTo>
                    <a:pt x="10649" y="2402"/>
                  </a:lnTo>
                  <a:lnTo>
                    <a:pt x="10657" y="2404"/>
                  </a:lnTo>
                  <a:lnTo>
                    <a:pt x="10663" y="2407"/>
                  </a:lnTo>
                  <a:lnTo>
                    <a:pt x="10669" y="2414"/>
                  </a:lnTo>
                  <a:lnTo>
                    <a:pt x="10670" y="2423"/>
                  </a:lnTo>
                  <a:close/>
                  <a:moveTo>
                    <a:pt x="10407" y="2423"/>
                  </a:moveTo>
                  <a:lnTo>
                    <a:pt x="10407" y="2535"/>
                  </a:lnTo>
                  <a:lnTo>
                    <a:pt x="10404" y="2543"/>
                  </a:lnTo>
                  <a:lnTo>
                    <a:pt x="10401" y="2549"/>
                  </a:lnTo>
                  <a:lnTo>
                    <a:pt x="10394" y="2553"/>
                  </a:lnTo>
                  <a:lnTo>
                    <a:pt x="10386" y="2555"/>
                  </a:lnTo>
                  <a:lnTo>
                    <a:pt x="10379" y="2553"/>
                  </a:lnTo>
                  <a:lnTo>
                    <a:pt x="10372" y="2549"/>
                  </a:lnTo>
                  <a:lnTo>
                    <a:pt x="10369" y="2543"/>
                  </a:lnTo>
                  <a:lnTo>
                    <a:pt x="10366" y="2535"/>
                  </a:lnTo>
                  <a:lnTo>
                    <a:pt x="10366" y="2423"/>
                  </a:lnTo>
                  <a:lnTo>
                    <a:pt x="10369" y="2414"/>
                  </a:lnTo>
                  <a:lnTo>
                    <a:pt x="10372" y="2407"/>
                  </a:lnTo>
                  <a:lnTo>
                    <a:pt x="10379" y="2404"/>
                  </a:lnTo>
                  <a:lnTo>
                    <a:pt x="10386" y="2402"/>
                  </a:lnTo>
                  <a:lnTo>
                    <a:pt x="10394" y="2404"/>
                  </a:lnTo>
                  <a:lnTo>
                    <a:pt x="10401" y="2407"/>
                  </a:lnTo>
                  <a:lnTo>
                    <a:pt x="10404" y="2414"/>
                  </a:lnTo>
                  <a:lnTo>
                    <a:pt x="10407" y="2423"/>
                  </a:lnTo>
                  <a:close/>
                  <a:moveTo>
                    <a:pt x="10143" y="2423"/>
                  </a:moveTo>
                  <a:lnTo>
                    <a:pt x="10143" y="2535"/>
                  </a:lnTo>
                  <a:lnTo>
                    <a:pt x="10142" y="2543"/>
                  </a:lnTo>
                  <a:lnTo>
                    <a:pt x="10138" y="2549"/>
                  </a:lnTo>
                  <a:lnTo>
                    <a:pt x="10131" y="2553"/>
                  </a:lnTo>
                  <a:lnTo>
                    <a:pt x="10124" y="2555"/>
                  </a:lnTo>
                  <a:lnTo>
                    <a:pt x="10116" y="2553"/>
                  </a:lnTo>
                  <a:lnTo>
                    <a:pt x="10109" y="2549"/>
                  </a:lnTo>
                  <a:lnTo>
                    <a:pt x="10106" y="2543"/>
                  </a:lnTo>
                  <a:lnTo>
                    <a:pt x="10103" y="2535"/>
                  </a:lnTo>
                  <a:lnTo>
                    <a:pt x="10103" y="2423"/>
                  </a:lnTo>
                  <a:lnTo>
                    <a:pt x="10106" y="2414"/>
                  </a:lnTo>
                  <a:lnTo>
                    <a:pt x="10109" y="2407"/>
                  </a:lnTo>
                  <a:lnTo>
                    <a:pt x="10116" y="2404"/>
                  </a:lnTo>
                  <a:lnTo>
                    <a:pt x="10124" y="2402"/>
                  </a:lnTo>
                  <a:lnTo>
                    <a:pt x="10131" y="2404"/>
                  </a:lnTo>
                  <a:lnTo>
                    <a:pt x="10138" y="2407"/>
                  </a:lnTo>
                  <a:lnTo>
                    <a:pt x="10142" y="2414"/>
                  </a:lnTo>
                  <a:lnTo>
                    <a:pt x="10143" y="2423"/>
                  </a:lnTo>
                  <a:close/>
                  <a:moveTo>
                    <a:pt x="9880" y="2423"/>
                  </a:moveTo>
                  <a:lnTo>
                    <a:pt x="9880" y="2535"/>
                  </a:lnTo>
                  <a:lnTo>
                    <a:pt x="9879" y="2543"/>
                  </a:lnTo>
                  <a:lnTo>
                    <a:pt x="9874" y="2549"/>
                  </a:lnTo>
                  <a:lnTo>
                    <a:pt x="9867" y="2553"/>
                  </a:lnTo>
                  <a:lnTo>
                    <a:pt x="9861" y="2555"/>
                  </a:lnTo>
                  <a:lnTo>
                    <a:pt x="9853" y="2553"/>
                  </a:lnTo>
                  <a:lnTo>
                    <a:pt x="9847" y="2549"/>
                  </a:lnTo>
                  <a:lnTo>
                    <a:pt x="9841" y="2543"/>
                  </a:lnTo>
                  <a:lnTo>
                    <a:pt x="9840" y="2535"/>
                  </a:lnTo>
                  <a:lnTo>
                    <a:pt x="9840" y="2423"/>
                  </a:lnTo>
                  <a:lnTo>
                    <a:pt x="9841" y="2414"/>
                  </a:lnTo>
                  <a:lnTo>
                    <a:pt x="9847" y="2407"/>
                  </a:lnTo>
                  <a:lnTo>
                    <a:pt x="9853" y="2404"/>
                  </a:lnTo>
                  <a:lnTo>
                    <a:pt x="9861" y="2402"/>
                  </a:lnTo>
                  <a:lnTo>
                    <a:pt x="9867" y="2404"/>
                  </a:lnTo>
                  <a:lnTo>
                    <a:pt x="9874" y="2407"/>
                  </a:lnTo>
                  <a:lnTo>
                    <a:pt x="9879" y="2414"/>
                  </a:lnTo>
                  <a:lnTo>
                    <a:pt x="9880" y="2423"/>
                  </a:lnTo>
                  <a:close/>
                  <a:moveTo>
                    <a:pt x="9617" y="2423"/>
                  </a:moveTo>
                  <a:lnTo>
                    <a:pt x="9617" y="2535"/>
                  </a:lnTo>
                  <a:lnTo>
                    <a:pt x="9616" y="2543"/>
                  </a:lnTo>
                  <a:lnTo>
                    <a:pt x="9611" y="2549"/>
                  </a:lnTo>
                  <a:lnTo>
                    <a:pt x="9604" y="2553"/>
                  </a:lnTo>
                  <a:lnTo>
                    <a:pt x="9598" y="2555"/>
                  </a:lnTo>
                  <a:lnTo>
                    <a:pt x="9590" y="2553"/>
                  </a:lnTo>
                  <a:lnTo>
                    <a:pt x="9584" y="2549"/>
                  </a:lnTo>
                  <a:lnTo>
                    <a:pt x="9579" y="2543"/>
                  </a:lnTo>
                  <a:lnTo>
                    <a:pt x="9577" y="2535"/>
                  </a:lnTo>
                  <a:lnTo>
                    <a:pt x="9577" y="2423"/>
                  </a:lnTo>
                  <a:lnTo>
                    <a:pt x="9579" y="2414"/>
                  </a:lnTo>
                  <a:lnTo>
                    <a:pt x="9584" y="2407"/>
                  </a:lnTo>
                  <a:lnTo>
                    <a:pt x="9590" y="2404"/>
                  </a:lnTo>
                  <a:lnTo>
                    <a:pt x="9598" y="2402"/>
                  </a:lnTo>
                  <a:lnTo>
                    <a:pt x="9604" y="2404"/>
                  </a:lnTo>
                  <a:lnTo>
                    <a:pt x="9611" y="2407"/>
                  </a:lnTo>
                  <a:lnTo>
                    <a:pt x="9616" y="2414"/>
                  </a:lnTo>
                  <a:lnTo>
                    <a:pt x="9617" y="2423"/>
                  </a:lnTo>
                  <a:close/>
                  <a:moveTo>
                    <a:pt x="16589" y="796"/>
                  </a:moveTo>
                  <a:lnTo>
                    <a:pt x="16589" y="847"/>
                  </a:lnTo>
                  <a:lnTo>
                    <a:pt x="16588" y="859"/>
                  </a:lnTo>
                  <a:lnTo>
                    <a:pt x="16584" y="869"/>
                  </a:lnTo>
                  <a:lnTo>
                    <a:pt x="16576" y="878"/>
                  </a:lnTo>
                  <a:lnTo>
                    <a:pt x="16566" y="883"/>
                  </a:lnTo>
                  <a:lnTo>
                    <a:pt x="16556" y="890"/>
                  </a:lnTo>
                  <a:lnTo>
                    <a:pt x="16547" y="896"/>
                  </a:lnTo>
                  <a:lnTo>
                    <a:pt x="16534" y="913"/>
                  </a:lnTo>
                  <a:lnTo>
                    <a:pt x="16529" y="923"/>
                  </a:lnTo>
                  <a:lnTo>
                    <a:pt x="16526" y="934"/>
                  </a:lnTo>
                  <a:lnTo>
                    <a:pt x="16526" y="956"/>
                  </a:lnTo>
                  <a:lnTo>
                    <a:pt x="16530" y="968"/>
                  </a:lnTo>
                  <a:lnTo>
                    <a:pt x="16535" y="978"/>
                  </a:lnTo>
                  <a:lnTo>
                    <a:pt x="16541" y="987"/>
                  </a:lnTo>
                  <a:lnTo>
                    <a:pt x="16549" y="996"/>
                  </a:lnTo>
                  <a:lnTo>
                    <a:pt x="16568" y="1006"/>
                  </a:lnTo>
                  <a:lnTo>
                    <a:pt x="16591" y="1011"/>
                  </a:lnTo>
                  <a:lnTo>
                    <a:pt x="16604" y="1009"/>
                  </a:lnTo>
                  <a:lnTo>
                    <a:pt x="16617" y="1005"/>
                  </a:lnTo>
                  <a:lnTo>
                    <a:pt x="16629" y="1000"/>
                  </a:lnTo>
                  <a:lnTo>
                    <a:pt x="16638" y="991"/>
                  </a:lnTo>
                  <a:lnTo>
                    <a:pt x="16647" y="982"/>
                  </a:lnTo>
                  <a:lnTo>
                    <a:pt x="16652" y="970"/>
                  </a:lnTo>
                  <a:lnTo>
                    <a:pt x="16656" y="957"/>
                  </a:lnTo>
                  <a:lnTo>
                    <a:pt x="16657" y="945"/>
                  </a:lnTo>
                  <a:lnTo>
                    <a:pt x="16659" y="936"/>
                  </a:lnTo>
                  <a:lnTo>
                    <a:pt x="16663" y="929"/>
                  </a:lnTo>
                  <a:lnTo>
                    <a:pt x="16670" y="925"/>
                  </a:lnTo>
                  <a:lnTo>
                    <a:pt x="16677" y="924"/>
                  </a:lnTo>
                  <a:lnTo>
                    <a:pt x="16685" y="925"/>
                  </a:lnTo>
                  <a:lnTo>
                    <a:pt x="16691" y="929"/>
                  </a:lnTo>
                  <a:lnTo>
                    <a:pt x="16695" y="936"/>
                  </a:lnTo>
                  <a:lnTo>
                    <a:pt x="16698" y="945"/>
                  </a:lnTo>
                  <a:lnTo>
                    <a:pt x="16695" y="966"/>
                  </a:lnTo>
                  <a:lnTo>
                    <a:pt x="16689" y="986"/>
                  </a:lnTo>
                  <a:lnTo>
                    <a:pt x="16679" y="1003"/>
                  </a:lnTo>
                  <a:lnTo>
                    <a:pt x="16666" y="1020"/>
                  </a:lnTo>
                  <a:lnTo>
                    <a:pt x="16650" y="1033"/>
                  </a:lnTo>
                  <a:lnTo>
                    <a:pt x="16632" y="1042"/>
                  </a:lnTo>
                  <a:lnTo>
                    <a:pt x="16612" y="1048"/>
                  </a:lnTo>
                  <a:lnTo>
                    <a:pt x="16591" y="1051"/>
                  </a:lnTo>
                  <a:lnTo>
                    <a:pt x="16572" y="1048"/>
                  </a:lnTo>
                  <a:lnTo>
                    <a:pt x="16556" y="1044"/>
                  </a:lnTo>
                  <a:lnTo>
                    <a:pt x="16539" y="1037"/>
                  </a:lnTo>
                  <a:lnTo>
                    <a:pt x="16523" y="1025"/>
                  </a:lnTo>
                  <a:lnTo>
                    <a:pt x="16511" y="1014"/>
                  </a:lnTo>
                  <a:lnTo>
                    <a:pt x="16500" y="998"/>
                  </a:lnTo>
                  <a:lnTo>
                    <a:pt x="16495" y="991"/>
                  </a:lnTo>
                  <a:lnTo>
                    <a:pt x="16491" y="982"/>
                  </a:lnTo>
                  <a:lnTo>
                    <a:pt x="16488" y="964"/>
                  </a:lnTo>
                  <a:lnTo>
                    <a:pt x="16485" y="945"/>
                  </a:lnTo>
                  <a:lnTo>
                    <a:pt x="16486" y="928"/>
                  </a:lnTo>
                  <a:lnTo>
                    <a:pt x="16490" y="910"/>
                  </a:lnTo>
                  <a:lnTo>
                    <a:pt x="16498" y="895"/>
                  </a:lnTo>
                  <a:lnTo>
                    <a:pt x="16507" y="879"/>
                  </a:lnTo>
                  <a:lnTo>
                    <a:pt x="16518" y="867"/>
                  </a:lnTo>
                  <a:lnTo>
                    <a:pt x="16532" y="856"/>
                  </a:lnTo>
                  <a:lnTo>
                    <a:pt x="16549" y="847"/>
                  </a:lnTo>
                  <a:lnTo>
                    <a:pt x="16549" y="796"/>
                  </a:lnTo>
                  <a:lnTo>
                    <a:pt x="16550" y="787"/>
                  </a:lnTo>
                  <a:lnTo>
                    <a:pt x="16556" y="782"/>
                  </a:lnTo>
                  <a:lnTo>
                    <a:pt x="16562" y="778"/>
                  </a:lnTo>
                  <a:lnTo>
                    <a:pt x="16568" y="777"/>
                  </a:lnTo>
                  <a:lnTo>
                    <a:pt x="16576" y="778"/>
                  </a:lnTo>
                  <a:lnTo>
                    <a:pt x="16582" y="782"/>
                  </a:lnTo>
                  <a:lnTo>
                    <a:pt x="16588" y="787"/>
                  </a:lnTo>
                  <a:lnTo>
                    <a:pt x="16589" y="796"/>
                  </a:lnTo>
                  <a:close/>
                  <a:moveTo>
                    <a:pt x="17183" y="112"/>
                  </a:moveTo>
                  <a:lnTo>
                    <a:pt x="17100" y="225"/>
                  </a:lnTo>
                  <a:lnTo>
                    <a:pt x="17100" y="309"/>
                  </a:lnTo>
                  <a:lnTo>
                    <a:pt x="17183" y="309"/>
                  </a:lnTo>
                  <a:lnTo>
                    <a:pt x="17183" y="112"/>
                  </a:lnTo>
                  <a:close/>
                  <a:moveTo>
                    <a:pt x="17059" y="309"/>
                  </a:moveTo>
                  <a:lnTo>
                    <a:pt x="17059" y="218"/>
                  </a:lnTo>
                  <a:lnTo>
                    <a:pt x="17063" y="207"/>
                  </a:lnTo>
                  <a:lnTo>
                    <a:pt x="17175" y="55"/>
                  </a:lnTo>
                  <a:lnTo>
                    <a:pt x="16382" y="309"/>
                  </a:lnTo>
                  <a:lnTo>
                    <a:pt x="16906" y="309"/>
                  </a:lnTo>
                  <a:lnTo>
                    <a:pt x="17015" y="309"/>
                  </a:lnTo>
                  <a:lnTo>
                    <a:pt x="17059" y="309"/>
                  </a:lnTo>
                  <a:close/>
                  <a:moveTo>
                    <a:pt x="17222" y="309"/>
                  </a:moveTo>
                  <a:lnTo>
                    <a:pt x="17388" y="309"/>
                  </a:lnTo>
                  <a:lnTo>
                    <a:pt x="17222" y="80"/>
                  </a:lnTo>
                  <a:lnTo>
                    <a:pt x="17222" y="309"/>
                  </a:lnTo>
                  <a:close/>
                  <a:moveTo>
                    <a:pt x="17183" y="481"/>
                  </a:moveTo>
                  <a:lnTo>
                    <a:pt x="17015" y="481"/>
                  </a:lnTo>
                  <a:lnTo>
                    <a:pt x="17007" y="478"/>
                  </a:lnTo>
                  <a:lnTo>
                    <a:pt x="17000" y="474"/>
                  </a:lnTo>
                  <a:lnTo>
                    <a:pt x="16995" y="468"/>
                  </a:lnTo>
                  <a:lnTo>
                    <a:pt x="16994" y="460"/>
                  </a:lnTo>
                  <a:lnTo>
                    <a:pt x="16994" y="349"/>
                  </a:lnTo>
                  <a:lnTo>
                    <a:pt x="16926" y="349"/>
                  </a:lnTo>
                  <a:lnTo>
                    <a:pt x="16926" y="552"/>
                  </a:lnTo>
                  <a:lnTo>
                    <a:pt x="17067" y="552"/>
                  </a:lnTo>
                  <a:lnTo>
                    <a:pt x="17183" y="552"/>
                  </a:lnTo>
                  <a:lnTo>
                    <a:pt x="17183" y="481"/>
                  </a:lnTo>
                  <a:close/>
                  <a:moveTo>
                    <a:pt x="17222" y="349"/>
                  </a:moveTo>
                  <a:lnTo>
                    <a:pt x="17222" y="460"/>
                  </a:lnTo>
                  <a:lnTo>
                    <a:pt x="17222" y="573"/>
                  </a:lnTo>
                  <a:lnTo>
                    <a:pt x="17222" y="1413"/>
                  </a:lnTo>
                  <a:lnTo>
                    <a:pt x="17222" y="2253"/>
                  </a:lnTo>
                  <a:lnTo>
                    <a:pt x="17220" y="2262"/>
                  </a:lnTo>
                  <a:lnTo>
                    <a:pt x="17216" y="2268"/>
                  </a:lnTo>
                  <a:lnTo>
                    <a:pt x="17209" y="2272"/>
                  </a:lnTo>
                  <a:lnTo>
                    <a:pt x="17202" y="2273"/>
                  </a:lnTo>
                  <a:lnTo>
                    <a:pt x="17194" y="2272"/>
                  </a:lnTo>
                  <a:lnTo>
                    <a:pt x="17188" y="2268"/>
                  </a:lnTo>
                  <a:lnTo>
                    <a:pt x="17184" y="2262"/>
                  </a:lnTo>
                  <a:lnTo>
                    <a:pt x="17183" y="2253"/>
                  </a:lnTo>
                  <a:lnTo>
                    <a:pt x="17183" y="1422"/>
                  </a:lnTo>
                  <a:lnTo>
                    <a:pt x="17183" y="592"/>
                  </a:lnTo>
                  <a:lnTo>
                    <a:pt x="17088" y="592"/>
                  </a:lnTo>
                  <a:lnTo>
                    <a:pt x="17088" y="1422"/>
                  </a:lnTo>
                  <a:lnTo>
                    <a:pt x="17088" y="2253"/>
                  </a:lnTo>
                  <a:lnTo>
                    <a:pt x="17085" y="2262"/>
                  </a:lnTo>
                  <a:lnTo>
                    <a:pt x="17081" y="2268"/>
                  </a:lnTo>
                  <a:lnTo>
                    <a:pt x="17075" y="2272"/>
                  </a:lnTo>
                  <a:lnTo>
                    <a:pt x="17067" y="2273"/>
                  </a:lnTo>
                  <a:lnTo>
                    <a:pt x="17059" y="2272"/>
                  </a:lnTo>
                  <a:lnTo>
                    <a:pt x="17053" y="2268"/>
                  </a:lnTo>
                  <a:lnTo>
                    <a:pt x="17049" y="2262"/>
                  </a:lnTo>
                  <a:lnTo>
                    <a:pt x="17047" y="2253"/>
                  </a:lnTo>
                  <a:lnTo>
                    <a:pt x="17047" y="1422"/>
                  </a:lnTo>
                  <a:lnTo>
                    <a:pt x="17047" y="592"/>
                  </a:lnTo>
                  <a:lnTo>
                    <a:pt x="16906" y="592"/>
                  </a:lnTo>
                  <a:lnTo>
                    <a:pt x="16898" y="590"/>
                  </a:lnTo>
                  <a:lnTo>
                    <a:pt x="16891" y="587"/>
                  </a:lnTo>
                  <a:lnTo>
                    <a:pt x="16888" y="580"/>
                  </a:lnTo>
                  <a:lnTo>
                    <a:pt x="16886" y="573"/>
                  </a:lnTo>
                  <a:lnTo>
                    <a:pt x="16886" y="349"/>
                  </a:lnTo>
                  <a:lnTo>
                    <a:pt x="16584" y="349"/>
                  </a:lnTo>
                  <a:lnTo>
                    <a:pt x="16584" y="740"/>
                  </a:lnTo>
                  <a:lnTo>
                    <a:pt x="16581" y="749"/>
                  </a:lnTo>
                  <a:lnTo>
                    <a:pt x="16577" y="755"/>
                  </a:lnTo>
                  <a:lnTo>
                    <a:pt x="16571" y="759"/>
                  </a:lnTo>
                  <a:lnTo>
                    <a:pt x="16563" y="761"/>
                  </a:lnTo>
                  <a:lnTo>
                    <a:pt x="16556" y="759"/>
                  </a:lnTo>
                  <a:lnTo>
                    <a:pt x="16549" y="755"/>
                  </a:lnTo>
                  <a:lnTo>
                    <a:pt x="16545" y="749"/>
                  </a:lnTo>
                  <a:lnTo>
                    <a:pt x="16544" y="740"/>
                  </a:lnTo>
                  <a:lnTo>
                    <a:pt x="16544" y="349"/>
                  </a:lnTo>
                  <a:lnTo>
                    <a:pt x="16255" y="349"/>
                  </a:lnTo>
                  <a:lnTo>
                    <a:pt x="16246" y="348"/>
                  </a:lnTo>
                  <a:lnTo>
                    <a:pt x="16239" y="344"/>
                  </a:lnTo>
                  <a:lnTo>
                    <a:pt x="16235" y="339"/>
                  </a:lnTo>
                  <a:lnTo>
                    <a:pt x="16232" y="332"/>
                  </a:lnTo>
                  <a:lnTo>
                    <a:pt x="16232" y="326"/>
                  </a:lnTo>
                  <a:lnTo>
                    <a:pt x="16235" y="319"/>
                  </a:lnTo>
                  <a:lnTo>
                    <a:pt x="16241" y="314"/>
                  </a:lnTo>
                  <a:lnTo>
                    <a:pt x="16249" y="310"/>
                  </a:lnTo>
                  <a:lnTo>
                    <a:pt x="17184" y="9"/>
                  </a:lnTo>
                  <a:lnTo>
                    <a:pt x="17188" y="5"/>
                  </a:lnTo>
                  <a:lnTo>
                    <a:pt x="17192" y="2"/>
                  </a:lnTo>
                  <a:lnTo>
                    <a:pt x="17203" y="0"/>
                  </a:lnTo>
                  <a:lnTo>
                    <a:pt x="17213" y="2"/>
                  </a:lnTo>
                  <a:lnTo>
                    <a:pt x="17220" y="10"/>
                  </a:lnTo>
                  <a:lnTo>
                    <a:pt x="17443" y="317"/>
                  </a:lnTo>
                  <a:lnTo>
                    <a:pt x="17447" y="323"/>
                  </a:lnTo>
                  <a:lnTo>
                    <a:pt x="17449" y="328"/>
                  </a:lnTo>
                  <a:lnTo>
                    <a:pt x="17447" y="339"/>
                  </a:lnTo>
                  <a:lnTo>
                    <a:pt x="17440" y="346"/>
                  </a:lnTo>
                  <a:lnTo>
                    <a:pt x="17427" y="349"/>
                  </a:lnTo>
                  <a:lnTo>
                    <a:pt x="17222" y="349"/>
                  </a:lnTo>
                  <a:close/>
                  <a:moveTo>
                    <a:pt x="17183" y="349"/>
                  </a:moveTo>
                  <a:lnTo>
                    <a:pt x="17034" y="349"/>
                  </a:lnTo>
                  <a:lnTo>
                    <a:pt x="17034" y="440"/>
                  </a:lnTo>
                  <a:lnTo>
                    <a:pt x="17183" y="440"/>
                  </a:lnTo>
                  <a:lnTo>
                    <a:pt x="17183" y="349"/>
                  </a:lnTo>
                  <a:close/>
                  <a:moveTo>
                    <a:pt x="15662" y="1363"/>
                  </a:moveTo>
                  <a:lnTo>
                    <a:pt x="15676" y="1370"/>
                  </a:lnTo>
                  <a:lnTo>
                    <a:pt x="15687" y="1379"/>
                  </a:lnTo>
                  <a:lnTo>
                    <a:pt x="15696" y="1391"/>
                  </a:lnTo>
                  <a:lnTo>
                    <a:pt x="15704" y="1404"/>
                  </a:lnTo>
                  <a:lnTo>
                    <a:pt x="15709" y="1417"/>
                  </a:lnTo>
                  <a:lnTo>
                    <a:pt x="15713" y="1431"/>
                  </a:lnTo>
                  <a:lnTo>
                    <a:pt x="15713" y="1461"/>
                  </a:lnTo>
                  <a:lnTo>
                    <a:pt x="15709" y="1477"/>
                  </a:lnTo>
                  <a:lnTo>
                    <a:pt x="15702" y="1491"/>
                  </a:lnTo>
                  <a:lnTo>
                    <a:pt x="15693" y="1503"/>
                  </a:lnTo>
                  <a:lnTo>
                    <a:pt x="15681" y="1515"/>
                  </a:lnTo>
                  <a:lnTo>
                    <a:pt x="15668" y="1524"/>
                  </a:lnTo>
                  <a:lnTo>
                    <a:pt x="15654" y="1530"/>
                  </a:lnTo>
                  <a:lnTo>
                    <a:pt x="15640" y="1534"/>
                  </a:lnTo>
                  <a:lnTo>
                    <a:pt x="15623" y="1535"/>
                  </a:lnTo>
                  <a:lnTo>
                    <a:pt x="15605" y="1534"/>
                  </a:lnTo>
                  <a:lnTo>
                    <a:pt x="15589" y="1529"/>
                  </a:lnTo>
                  <a:lnTo>
                    <a:pt x="15573" y="1520"/>
                  </a:lnTo>
                  <a:lnTo>
                    <a:pt x="15559" y="1509"/>
                  </a:lnTo>
                  <a:lnTo>
                    <a:pt x="15549" y="1496"/>
                  </a:lnTo>
                  <a:lnTo>
                    <a:pt x="15540" y="1480"/>
                  </a:lnTo>
                  <a:lnTo>
                    <a:pt x="15535" y="1464"/>
                  </a:lnTo>
                  <a:lnTo>
                    <a:pt x="15532" y="1445"/>
                  </a:lnTo>
                  <a:lnTo>
                    <a:pt x="15535" y="1437"/>
                  </a:lnTo>
                  <a:lnTo>
                    <a:pt x="15539" y="1431"/>
                  </a:lnTo>
                  <a:lnTo>
                    <a:pt x="15545" y="1427"/>
                  </a:lnTo>
                  <a:lnTo>
                    <a:pt x="15553" y="1425"/>
                  </a:lnTo>
                  <a:lnTo>
                    <a:pt x="15560" y="1427"/>
                  </a:lnTo>
                  <a:lnTo>
                    <a:pt x="15567" y="1431"/>
                  </a:lnTo>
                  <a:lnTo>
                    <a:pt x="15571" y="1437"/>
                  </a:lnTo>
                  <a:lnTo>
                    <a:pt x="15573" y="1445"/>
                  </a:lnTo>
                  <a:lnTo>
                    <a:pt x="15573" y="1455"/>
                  </a:lnTo>
                  <a:lnTo>
                    <a:pt x="15577" y="1465"/>
                  </a:lnTo>
                  <a:lnTo>
                    <a:pt x="15581" y="1474"/>
                  </a:lnTo>
                  <a:lnTo>
                    <a:pt x="15587" y="1480"/>
                  </a:lnTo>
                  <a:lnTo>
                    <a:pt x="15595" y="1487"/>
                  </a:lnTo>
                  <a:lnTo>
                    <a:pt x="15604" y="1492"/>
                  </a:lnTo>
                  <a:lnTo>
                    <a:pt x="15623" y="1496"/>
                  </a:lnTo>
                  <a:lnTo>
                    <a:pt x="15641" y="1492"/>
                  </a:lnTo>
                  <a:lnTo>
                    <a:pt x="15655" y="1484"/>
                  </a:lnTo>
                  <a:lnTo>
                    <a:pt x="15662" y="1478"/>
                  </a:lnTo>
                  <a:lnTo>
                    <a:pt x="15667" y="1470"/>
                  </a:lnTo>
                  <a:lnTo>
                    <a:pt x="15673" y="1455"/>
                  </a:lnTo>
                  <a:lnTo>
                    <a:pt x="15675" y="1436"/>
                  </a:lnTo>
                  <a:lnTo>
                    <a:pt x="15669" y="1423"/>
                  </a:lnTo>
                  <a:lnTo>
                    <a:pt x="15662" y="1413"/>
                  </a:lnTo>
                  <a:lnTo>
                    <a:pt x="15652" y="1405"/>
                  </a:lnTo>
                  <a:lnTo>
                    <a:pt x="15631" y="1390"/>
                  </a:lnTo>
                  <a:lnTo>
                    <a:pt x="15625" y="1379"/>
                  </a:lnTo>
                  <a:lnTo>
                    <a:pt x="15622" y="1365"/>
                  </a:lnTo>
                  <a:lnTo>
                    <a:pt x="15622" y="1323"/>
                  </a:lnTo>
                  <a:lnTo>
                    <a:pt x="15623" y="1314"/>
                  </a:lnTo>
                  <a:lnTo>
                    <a:pt x="15628" y="1308"/>
                  </a:lnTo>
                  <a:lnTo>
                    <a:pt x="15635" y="1305"/>
                  </a:lnTo>
                  <a:lnTo>
                    <a:pt x="15643" y="1304"/>
                  </a:lnTo>
                  <a:lnTo>
                    <a:pt x="15649" y="1305"/>
                  </a:lnTo>
                  <a:lnTo>
                    <a:pt x="15655" y="1308"/>
                  </a:lnTo>
                  <a:lnTo>
                    <a:pt x="15660" y="1314"/>
                  </a:lnTo>
                  <a:lnTo>
                    <a:pt x="15662" y="1323"/>
                  </a:lnTo>
                  <a:lnTo>
                    <a:pt x="15662" y="1363"/>
                  </a:lnTo>
                  <a:close/>
                  <a:moveTo>
                    <a:pt x="15667" y="963"/>
                  </a:moveTo>
                  <a:lnTo>
                    <a:pt x="15667" y="1277"/>
                  </a:lnTo>
                  <a:lnTo>
                    <a:pt x="15664" y="1286"/>
                  </a:lnTo>
                  <a:lnTo>
                    <a:pt x="15660" y="1292"/>
                  </a:lnTo>
                  <a:lnTo>
                    <a:pt x="15654" y="1296"/>
                  </a:lnTo>
                  <a:lnTo>
                    <a:pt x="15646" y="1298"/>
                  </a:lnTo>
                  <a:lnTo>
                    <a:pt x="15639" y="1296"/>
                  </a:lnTo>
                  <a:lnTo>
                    <a:pt x="15632" y="1292"/>
                  </a:lnTo>
                  <a:lnTo>
                    <a:pt x="15628" y="1286"/>
                  </a:lnTo>
                  <a:lnTo>
                    <a:pt x="15627" y="1277"/>
                  </a:lnTo>
                  <a:lnTo>
                    <a:pt x="15627" y="963"/>
                  </a:lnTo>
                  <a:lnTo>
                    <a:pt x="15385" y="963"/>
                  </a:lnTo>
                  <a:lnTo>
                    <a:pt x="15385" y="1139"/>
                  </a:lnTo>
                  <a:lnTo>
                    <a:pt x="15384" y="1147"/>
                  </a:lnTo>
                  <a:lnTo>
                    <a:pt x="15378" y="1153"/>
                  </a:lnTo>
                  <a:lnTo>
                    <a:pt x="15372" y="1157"/>
                  </a:lnTo>
                  <a:lnTo>
                    <a:pt x="15366" y="1158"/>
                  </a:lnTo>
                  <a:lnTo>
                    <a:pt x="15253" y="1158"/>
                  </a:lnTo>
                  <a:lnTo>
                    <a:pt x="15253" y="1705"/>
                  </a:lnTo>
                  <a:lnTo>
                    <a:pt x="15253" y="2253"/>
                  </a:lnTo>
                  <a:lnTo>
                    <a:pt x="15250" y="2262"/>
                  </a:lnTo>
                  <a:lnTo>
                    <a:pt x="15246" y="2268"/>
                  </a:lnTo>
                  <a:lnTo>
                    <a:pt x="15240" y="2272"/>
                  </a:lnTo>
                  <a:lnTo>
                    <a:pt x="15232" y="2273"/>
                  </a:lnTo>
                  <a:lnTo>
                    <a:pt x="15225" y="2272"/>
                  </a:lnTo>
                  <a:lnTo>
                    <a:pt x="15218" y="2268"/>
                  </a:lnTo>
                  <a:lnTo>
                    <a:pt x="15214" y="2262"/>
                  </a:lnTo>
                  <a:lnTo>
                    <a:pt x="15213" y="2253"/>
                  </a:lnTo>
                  <a:lnTo>
                    <a:pt x="15213" y="1705"/>
                  </a:lnTo>
                  <a:lnTo>
                    <a:pt x="15213" y="1158"/>
                  </a:lnTo>
                  <a:lnTo>
                    <a:pt x="15141" y="1158"/>
                  </a:lnTo>
                  <a:lnTo>
                    <a:pt x="15141" y="1705"/>
                  </a:lnTo>
                  <a:lnTo>
                    <a:pt x="15141" y="2253"/>
                  </a:lnTo>
                  <a:lnTo>
                    <a:pt x="15140" y="2262"/>
                  </a:lnTo>
                  <a:lnTo>
                    <a:pt x="15135" y="2268"/>
                  </a:lnTo>
                  <a:lnTo>
                    <a:pt x="15128" y="2272"/>
                  </a:lnTo>
                  <a:lnTo>
                    <a:pt x="15122" y="2273"/>
                  </a:lnTo>
                  <a:lnTo>
                    <a:pt x="15114" y="2272"/>
                  </a:lnTo>
                  <a:lnTo>
                    <a:pt x="15108" y="2268"/>
                  </a:lnTo>
                  <a:lnTo>
                    <a:pt x="15103" y="2262"/>
                  </a:lnTo>
                  <a:lnTo>
                    <a:pt x="15101" y="2253"/>
                  </a:lnTo>
                  <a:lnTo>
                    <a:pt x="15101" y="1695"/>
                  </a:lnTo>
                  <a:lnTo>
                    <a:pt x="15101" y="1139"/>
                  </a:lnTo>
                  <a:lnTo>
                    <a:pt x="15101" y="1047"/>
                  </a:lnTo>
                  <a:lnTo>
                    <a:pt x="15101" y="963"/>
                  </a:lnTo>
                  <a:lnTo>
                    <a:pt x="14931" y="963"/>
                  </a:lnTo>
                  <a:lnTo>
                    <a:pt x="14918" y="960"/>
                  </a:lnTo>
                  <a:lnTo>
                    <a:pt x="14913" y="956"/>
                  </a:lnTo>
                  <a:lnTo>
                    <a:pt x="14910" y="952"/>
                  </a:lnTo>
                  <a:lnTo>
                    <a:pt x="14909" y="947"/>
                  </a:lnTo>
                  <a:lnTo>
                    <a:pt x="14909" y="942"/>
                  </a:lnTo>
                  <a:lnTo>
                    <a:pt x="14914" y="931"/>
                  </a:lnTo>
                  <a:lnTo>
                    <a:pt x="15105" y="680"/>
                  </a:lnTo>
                  <a:lnTo>
                    <a:pt x="15116" y="675"/>
                  </a:lnTo>
                  <a:lnTo>
                    <a:pt x="15127" y="674"/>
                  </a:lnTo>
                  <a:lnTo>
                    <a:pt x="15907" y="924"/>
                  </a:lnTo>
                  <a:lnTo>
                    <a:pt x="15920" y="933"/>
                  </a:lnTo>
                  <a:lnTo>
                    <a:pt x="15922" y="940"/>
                  </a:lnTo>
                  <a:lnTo>
                    <a:pt x="15923" y="946"/>
                  </a:lnTo>
                  <a:lnTo>
                    <a:pt x="15921" y="952"/>
                  </a:lnTo>
                  <a:lnTo>
                    <a:pt x="15916" y="957"/>
                  </a:lnTo>
                  <a:lnTo>
                    <a:pt x="15909" y="961"/>
                  </a:lnTo>
                  <a:lnTo>
                    <a:pt x="15900" y="963"/>
                  </a:lnTo>
                  <a:lnTo>
                    <a:pt x="15667" y="963"/>
                  </a:lnTo>
                  <a:close/>
                  <a:moveTo>
                    <a:pt x="15167" y="727"/>
                  </a:moveTo>
                  <a:lnTo>
                    <a:pt x="15240" y="828"/>
                  </a:lnTo>
                  <a:lnTo>
                    <a:pt x="15244" y="840"/>
                  </a:lnTo>
                  <a:lnTo>
                    <a:pt x="15244" y="923"/>
                  </a:lnTo>
                  <a:lnTo>
                    <a:pt x="15276" y="923"/>
                  </a:lnTo>
                  <a:lnTo>
                    <a:pt x="15366" y="923"/>
                  </a:lnTo>
                  <a:lnTo>
                    <a:pt x="15773" y="923"/>
                  </a:lnTo>
                  <a:lnTo>
                    <a:pt x="15167" y="727"/>
                  </a:lnTo>
                  <a:close/>
                  <a:moveTo>
                    <a:pt x="15203" y="923"/>
                  </a:moveTo>
                  <a:lnTo>
                    <a:pt x="15203" y="846"/>
                  </a:lnTo>
                  <a:lnTo>
                    <a:pt x="15141" y="762"/>
                  </a:lnTo>
                  <a:lnTo>
                    <a:pt x="15141" y="923"/>
                  </a:lnTo>
                  <a:lnTo>
                    <a:pt x="15203" y="923"/>
                  </a:lnTo>
                  <a:close/>
                  <a:moveTo>
                    <a:pt x="15101" y="752"/>
                  </a:moveTo>
                  <a:lnTo>
                    <a:pt x="14971" y="923"/>
                  </a:lnTo>
                  <a:lnTo>
                    <a:pt x="15101" y="923"/>
                  </a:lnTo>
                  <a:lnTo>
                    <a:pt x="15101" y="752"/>
                  </a:lnTo>
                  <a:close/>
                  <a:moveTo>
                    <a:pt x="15296" y="963"/>
                  </a:moveTo>
                  <a:lnTo>
                    <a:pt x="15296" y="1047"/>
                  </a:lnTo>
                  <a:lnTo>
                    <a:pt x="15295" y="1055"/>
                  </a:lnTo>
                  <a:lnTo>
                    <a:pt x="15290" y="1061"/>
                  </a:lnTo>
                  <a:lnTo>
                    <a:pt x="15283" y="1065"/>
                  </a:lnTo>
                  <a:lnTo>
                    <a:pt x="15276" y="1066"/>
                  </a:lnTo>
                  <a:lnTo>
                    <a:pt x="15141" y="1066"/>
                  </a:lnTo>
                  <a:lnTo>
                    <a:pt x="15141" y="1119"/>
                  </a:lnTo>
                  <a:lnTo>
                    <a:pt x="15232" y="1119"/>
                  </a:lnTo>
                  <a:lnTo>
                    <a:pt x="15345" y="1119"/>
                  </a:lnTo>
                  <a:lnTo>
                    <a:pt x="15345" y="963"/>
                  </a:lnTo>
                  <a:lnTo>
                    <a:pt x="15296" y="963"/>
                  </a:lnTo>
                  <a:close/>
                  <a:moveTo>
                    <a:pt x="15257" y="963"/>
                  </a:moveTo>
                  <a:lnTo>
                    <a:pt x="15141" y="963"/>
                  </a:lnTo>
                  <a:lnTo>
                    <a:pt x="15141" y="1027"/>
                  </a:lnTo>
                  <a:lnTo>
                    <a:pt x="15257" y="1027"/>
                  </a:lnTo>
                  <a:lnTo>
                    <a:pt x="15257" y="963"/>
                  </a:lnTo>
                  <a:close/>
                  <a:moveTo>
                    <a:pt x="12486" y="3681"/>
                  </a:moveTo>
                  <a:lnTo>
                    <a:pt x="12486" y="3792"/>
                  </a:lnTo>
                  <a:lnTo>
                    <a:pt x="12484" y="3800"/>
                  </a:lnTo>
                  <a:lnTo>
                    <a:pt x="12482" y="3805"/>
                  </a:lnTo>
                  <a:lnTo>
                    <a:pt x="12523" y="3838"/>
                  </a:lnTo>
                  <a:lnTo>
                    <a:pt x="12559" y="3875"/>
                  </a:lnTo>
                  <a:lnTo>
                    <a:pt x="12592" y="3918"/>
                  </a:lnTo>
                  <a:lnTo>
                    <a:pt x="12606" y="3939"/>
                  </a:lnTo>
                  <a:lnTo>
                    <a:pt x="12619" y="3962"/>
                  </a:lnTo>
                  <a:lnTo>
                    <a:pt x="12641" y="4011"/>
                  </a:lnTo>
                  <a:lnTo>
                    <a:pt x="12657" y="4062"/>
                  </a:lnTo>
                  <a:lnTo>
                    <a:pt x="12666" y="4116"/>
                  </a:lnTo>
                  <a:lnTo>
                    <a:pt x="12670" y="4171"/>
                  </a:lnTo>
                  <a:lnTo>
                    <a:pt x="12666" y="4226"/>
                  </a:lnTo>
                  <a:lnTo>
                    <a:pt x="12661" y="4265"/>
                  </a:lnTo>
                  <a:lnTo>
                    <a:pt x="12654" y="4304"/>
                  </a:lnTo>
                  <a:lnTo>
                    <a:pt x="13197" y="4304"/>
                  </a:lnTo>
                  <a:lnTo>
                    <a:pt x="13741" y="4304"/>
                  </a:lnTo>
                  <a:lnTo>
                    <a:pt x="13741" y="3764"/>
                  </a:lnTo>
                  <a:lnTo>
                    <a:pt x="13741" y="3225"/>
                  </a:lnTo>
                  <a:lnTo>
                    <a:pt x="13183" y="3225"/>
                  </a:lnTo>
                  <a:lnTo>
                    <a:pt x="12625" y="3225"/>
                  </a:lnTo>
                  <a:lnTo>
                    <a:pt x="12616" y="3222"/>
                  </a:lnTo>
                  <a:lnTo>
                    <a:pt x="12610" y="3218"/>
                  </a:lnTo>
                  <a:lnTo>
                    <a:pt x="12606" y="3212"/>
                  </a:lnTo>
                  <a:lnTo>
                    <a:pt x="12606" y="3204"/>
                  </a:lnTo>
                  <a:lnTo>
                    <a:pt x="12606" y="3196"/>
                  </a:lnTo>
                  <a:lnTo>
                    <a:pt x="12610" y="3190"/>
                  </a:lnTo>
                  <a:lnTo>
                    <a:pt x="12616" y="3186"/>
                  </a:lnTo>
                  <a:lnTo>
                    <a:pt x="12625" y="3184"/>
                  </a:lnTo>
                  <a:lnTo>
                    <a:pt x="12793" y="3184"/>
                  </a:lnTo>
                  <a:lnTo>
                    <a:pt x="12793" y="3031"/>
                  </a:lnTo>
                  <a:lnTo>
                    <a:pt x="12353" y="3031"/>
                  </a:lnTo>
                  <a:lnTo>
                    <a:pt x="12353" y="3184"/>
                  </a:lnTo>
                  <a:lnTo>
                    <a:pt x="12493" y="3184"/>
                  </a:lnTo>
                  <a:lnTo>
                    <a:pt x="12502" y="3186"/>
                  </a:lnTo>
                  <a:lnTo>
                    <a:pt x="12509" y="3190"/>
                  </a:lnTo>
                  <a:lnTo>
                    <a:pt x="12512" y="3196"/>
                  </a:lnTo>
                  <a:lnTo>
                    <a:pt x="12514" y="3204"/>
                  </a:lnTo>
                  <a:lnTo>
                    <a:pt x="12512" y="3212"/>
                  </a:lnTo>
                  <a:lnTo>
                    <a:pt x="12509" y="3218"/>
                  </a:lnTo>
                  <a:lnTo>
                    <a:pt x="12502" y="3222"/>
                  </a:lnTo>
                  <a:lnTo>
                    <a:pt x="12493" y="3225"/>
                  </a:lnTo>
                  <a:lnTo>
                    <a:pt x="12236" y="3225"/>
                  </a:lnTo>
                  <a:lnTo>
                    <a:pt x="12236" y="3670"/>
                  </a:lnTo>
                  <a:lnTo>
                    <a:pt x="12233" y="3679"/>
                  </a:lnTo>
                  <a:lnTo>
                    <a:pt x="12229" y="3685"/>
                  </a:lnTo>
                  <a:lnTo>
                    <a:pt x="12223" y="3689"/>
                  </a:lnTo>
                  <a:lnTo>
                    <a:pt x="12215" y="3690"/>
                  </a:lnTo>
                  <a:lnTo>
                    <a:pt x="12207" y="3689"/>
                  </a:lnTo>
                  <a:lnTo>
                    <a:pt x="12201" y="3685"/>
                  </a:lnTo>
                  <a:lnTo>
                    <a:pt x="12197" y="3679"/>
                  </a:lnTo>
                  <a:lnTo>
                    <a:pt x="12194" y="3670"/>
                  </a:lnTo>
                  <a:lnTo>
                    <a:pt x="12194" y="3204"/>
                  </a:lnTo>
                  <a:lnTo>
                    <a:pt x="12197" y="3196"/>
                  </a:lnTo>
                  <a:lnTo>
                    <a:pt x="12201" y="3190"/>
                  </a:lnTo>
                  <a:lnTo>
                    <a:pt x="12207" y="3186"/>
                  </a:lnTo>
                  <a:lnTo>
                    <a:pt x="12215" y="3184"/>
                  </a:lnTo>
                  <a:lnTo>
                    <a:pt x="12314" y="3184"/>
                  </a:lnTo>
                  <a:lnTo>
                    <a:pt x="12314" y="3011"/>
                  </a:lnTo>
                  <a:lnTo>
                    <a:pt x="12315" y="3003"/>
                  </a:lnTo>
                  <a:lnTo>
                    <a:pt x="12319" y="2997"/>
                  </a:lnTo>
                  <a:lnTo>
                    <a:pt x="12325" y="2993"/>
                  </a:lnTo>
                  <a:lnTo>
                    <a:pt x="12333" y="2991"/>
                  </a:lnTo>
                  <a:lnTo>
                    <a:pt x="12814" y="2991"/>
                  </a:lnTo>
                  <a:lnTo>
                    <a:pt x="12822" y="2993"/>
                  </a:lnTo>
                  <a:lnTo>
                    <a:pt x="12828" y="2997"/>
                  </a:lnTo>
                  <a:lnTo>
                    <a:pt x="12832" y="3003"/>
                  </a:lnTo>
                  <a:lnTo>
                    <a:pt x="12833" y="3011"/>
                  </a:lnTo>
                  <a:lnTo>
                    <a:pt x="12833" y="3184"/>
                  </a:lnTo>
                  <a:lnTo>
                    <a:pt x="13761" y="3184"/>
                  </a:lnTo>
                  <a:lnTo>
                    <a:pt x="13769" y="3186"/>
                  </a:lnTo>
                  <a:lnTo>
                    <a:pt x="13776" y="3190"/>
                  </a:lnTo>
                  <a:lnTo>
                    <a:pt x="13779" y="3196"/>
                  </a:lnTo>
                  <a:lnTo>
                    <a:pt x="13782" y="3204"/>
                  </a:lnTo>
                  <a:lnTo>
                    <a:pt x="13782" y="3764"/>
                  </a:lnTo>
                  <a:lnTo>
                    <a:pt x="13782" y="4324"/>
                  </a:lnTo>
                  <a:lnTo>
                    <a:pt x="13779" y="4332"/>
                  </a:lnTo>
                  <a:lnTo>
                    <a:pt x="13776" y="4338"/>
                  </a:lnTo>
                  <a:lnTo>
                    <a:pt x="13769" y="4342"/>
                  </a:lnTo>
                  <a:lnTo>
                    <a:pt x="13761" y="4343"/>
                  </a:lnTo>
                  <a:lnTo>
                    <a:pt x="13197" y="4343"/>
                  </a:lnTo>
                  <a:lnTo>
                    <a:pt x="12633" y="4343"/>
                  </a:lnTo>
                  <a:lnTo>
                    <a:pt x="12628" y="4347"/>
                  </a:lnTo>
                  <a:lnTo>
                    <a:pt x="12621" y="4349"/>
                  </a:lnTo>
                  <a:lnTo>
                    <a:pt x="12016" y="4349"/>
                  </a:lnTo>
                  <a:lnTo>
                    <a:pt x="11412" y="4349"/>
                  </a:lnTo>
                  <a:lnTo>
                    <a:pt x="11403" y="4346"/>
                  </a:lnTo>
                  <a:lnTo>
                    <a:pt x="11397" y="4341"/>
                  </a:lnTo>
                  <a:lnTo>
                    <a:pt x="11388" y="4334"/>
                  </a:lnTo>
                  <a:lnTo>
                    <a:pt x="11385" y="4329"/>
                  </a:lnTo>
                  <a:lnTo>
                    <a:pt x="11385" y="4323"/>
                  </a:lnTo>
                  <a:lnTo>
                    <a:pt x="11385" y="3936"/>
                  </a:lnTo>
                  <a:lnTo>
                    <a:pt x="11346" y="3930"/>
                  </a:lnTo>
                  <a:lnTo>
                    <a:pt x="11307" y="3924"/>
                  </a:lnTo>
                  <a:lnTo>
                    <a:pt x="11271" y="3913"/>
                  </a:lnTo>
                  <a:lnTo>
                    <a:pt x="11235" y="3898"/>
                  </a:lnTo>
                  <a:lnTo>
                    <a:pt x="11202" y="3881"/>
                  </a:lnTo>
                  <a:lnTo>
                    <a:pt x="11171" y="3860"/>
                  </a:lnTo>
                  <a:lnTo>
                    <a:pt x="11142" y="3837"/>
                  </a:lnTo>
                  <a:lnTo>
                    <a:pt x="11115" y="3811"/>
                  </a:lnTo>
                  <a:lnTo>
                    <a:pt x="11090" y="3783"/>
                  </a:lnTo>
                  <a:lnTo>
                    <a:pt x="11069" y="3753"/>
                  </a:lnTo>
                  <a:lnTo>
                    <a:pt x="11049" y="3721"/>
                  </a:lnTo>
                  <a:lnTo>
                    <a:pt x="11034" y="3686"/>
                  </a:lnTo>
                  <a:lnTo>
                    <a:pt x="11021" y="3650"/>
                  </a:lnTo>
                  <a:lnTo>
                    <a:pt x="11011" y="3613"/>
                  </a:lnTo>
                  <a:lnTo>
                    <a:pt x="11006" y="3575"/>
                  </a:lnTo>
                  <a:lnTo>
                    <a:pt x="11005" y="3535"/>
                  </a:lnTo>
                  <a:lnTo>
                    <a:pt x="11006" y="3494"/>
                  </a:lnTo>
                  <a:lnTo>
                    <a:pt x="11012" y="3453"/>
                  </a:lnTo>
                  <a:lnTo>
                    <a:pt x="11022" y="3415"/>
                  </a:lnTo>
                  <a:lnTo>
                    <a:pt x="11035" y="3379"/>
                  </a:lnTo>
                  <a:lnTo>
                    <a:pt x="11052" y="3343"/>
                  </a:lnTo>
                  <a:lnTo>
                    <a:pt x="11072" y="3310"/>
                  </a:lnTo>
                  <a:lnTo>
                    <a:pt x="11096" y="3280"/>
                  </a:lnTo>
                  <a:lnTo>
                    <a:pt x="11121" y="3251"/>
                  </a:lnTo>
                  <a:lnTo>
                    <a:pt x="11151" y="3226"/>
                  </a:lnTo>
                  <a:lnTo>
                    <a:pt x="11181" y="3203"/>
                  </a:lnTo>
                  <a:lnTo>
                    <a:pt x="11214" y="3182"/>
                  </a:lnTo>
                  <a:lnTo>
                    <a:pt x="11249" y="3166"/>
                  </a:lnTo>
                  <a:lnTo>
                    <a:pt x="11287" y="3152"/>
                  </a:lnTo>
                  <a:lnTo>
                    <a:pt x="11325" y="3143"/>
                  </a:lnTo>
                  <a:lnTo>
                    <a:pt x="11365" y="3136"/>
                  </a:lnTo>
                  <a:lnTo>
                    <a:pt x="11406" y="3134"/>
                  </a:lnTo>
                  <a:lnTo>
                    <a:pt x="11447" y="3136"/>
                  </a:lnTo>
                  <a:lnTo>
                    <a:pt x="11487" y="3143"/>
                  </a:lnTo>
                  <a:lnTo>
                    <a:pt x="11525" y="3152"/>
                  </a:lnTo>
                  <a:lnTo>
                    <a:pt x="11562" y="3166"/>
                  </a:lnTo>
                  <a:lnTo>
                    <a:pt x="11597" y="3182"/>
                  </a:lnTo>
                  <a:lnTo>
                    <a:pt x="11630" y="3203"/>
                  </a:lnTo>
                  <a:lnTo>
                    <a:pt x="11661" y="3226"/>
                  </a:lnTo>
                  <a:lnTo>
                    <a:pt x="11689" y="3251"/>
                  </a:lnTo>
                  <a:lnTo>
                    <a:pt x="11716" y="3280"/>
                  </a:lnTo>
                  <a:lnTo>
                    <a:pt x="11739" y="3310"/>
                  </a:lnTo>
                  <a:lnTo>
                    <a:pt x="11759" y="3343"/>
                  </a:lnTo>
                  <a:lnTo>
                    <a:pt x="11775" y="3379"/>
                  </a:lnTo>
                  <a:lnTo>
                    <a:pt x="11789" y="3415"/>
                  </a:lnTo>
                  <a:lnTo>
                    <a:pt x="11800" y="3453"/>
                  </a:lnTo>
                  <a:lnTo>
                    <a:pt x="11805" y="3494"/>
                  </a:lnTo>
                  <a:lnTo>
                    <a:pt x="11807" y="3535"/>
                  </a:lnTo>
                  <a:lnTo>
                    <a:pt x="11806" y="3575"/>
                  </a:lnTo>
                  <a:lnTo>
                    <a:pt x="11800" y="3613"/>
                  </a:lnTo>
                  <a:lnTo>
                    <a:pt x="11791" y="3650"/>
                  </a:lnTo>
                  <a:lnTo>
                    <a:pt x="11778" y="3686"/>
                  </a:lnTo>
                  <a:lnTo>
                    <a:pt x="11761" y="3721"/>
                  </a:lnTo>
                  <a:lnTo>
                    <a:pt x="11743" y="3753"/>
                  </a:lnTo>
                  <a:lnTo>
                    <a:pt x="11720" y="3783"/>
                  </a:lnTo>
                  <a:lnTo>
                    <a:pt x="11696" y="3811"/>
                  </a:lnTo>
                  <a:lnTo>
                    <a:pt x="11669" y="3837"/>
                  </a:lnTo>
                  <a:lnTo>
                    <a:pt x="11639" y="3860"/>
                  </a:lnTo>
                  <a:lnTo>
                    <a:pt x="11608" y="3881"/>
                  </a:lnTo>
                  <a:lnTo>
                    <a:pt x="11575" y="3898"/>
                  </a:lnTo>
                  <a:lnTo>
                    <a:pt x="11539" y="3913"/>
                  </a:lnTo>
                  <a:lnTo>
                    <a:pt x="11502" y="3924"/>
                  </a:lnTo>
                  <a:lnTo>
                    <a:pt x="11465" y="3932"/>
                  </a:lnTo>
                  <a:lnTo>
                    <a:pt x="11425" y="3936"/>
                  </a:lnTo>
                  <a:lnTo>
                    <a:pt x="11425" y="4205"/>
                  </a:lnTo>
                  <a:lnTo>
                    <a:pt x="11443" y="4178"/>
                  </a:lnTo>
                  <a:lnTo>
                    <a:pt x="11464" y="4153"/>
                  </a:lnTo>
                  <a:lnTo>
                    <a:pt x="11488" y="4130"/>
                  </a:lnTo>
                  <a:lnTo>
                    <a:pt x="11516" y="4108"/>
                  </a:lnTo>
                  <a:lnTo>
                    <a:pt x="11549" y="4090"/>
                  </a:lnTo>
                  <a:lnTo>
                    <a:pt x="11585" y="4076"/>
                  </a:lnTo>
                  <a:lnTo>
                    <a:pt x="11625" y="4067"/>
                  </a:lnTo>
                  <a:lnTo>
                    <a:pt x="11646" y="4065"/>
                  </a:lnTo>
                  <a:lnTo>
                    <a:pt x="11669" y="4065"/>
                  </a:lnTo>
                  <a:lnTo>
                    <a:pt x="11685" y="4066"/>
                  </a:lnTo>
                  <a:lnTo>
                    <a:pt x="11702" y="4069"/>
                  </a:lnTo>
                  <a:lnTo>
                    <a:pt x="11719" y="4074"/>
                  </a:lnTo>
                  <a:lnTo>
                    <a:pt x="11734" y="4080"/>
                  </a:lnTo>
                  <a:lnTo>
                    <a:pt x="11766" y="4092"/>
                  </a:lnTo>
                  <a:lnTo>
                    <a:pt x="11783" y="4095"/>
                  </a:lnTo>
                  <a:lnTo>
                    <a:pt x="11800" y="4097"/>
                  </a:lnTo>
                  <a:lnTo>
                    <a:pt x="11814" y="4095"/>
                  </a:lnTo>
                  <a:lnTo>
                    <a:pt x="11825" y="4090"/>
                  </a:lnTo>
                  <a:lnTo>
                    <a:pt x="11837" y="4084"/>
                  </a:lnTo>
                  <a:lnTo>
                    <a:pt x="11847" y="4076"/>
                  </a:lnTo>
                  <a:lnTo>
                    <a:pt x="11847" y="3213"/>
                  </a:lnTo>
                  <a:lnTo>
                    <a:pt x="11833" y="3208"/>
                  </a:lnTo>
                  <a:lnTo>
                    <a:pt x="11820" y="3199"/>
                  </a:lnTo>
                  <a:lnTo>
                    <a:pt x="11796" y="3182"/>
                  </a:lnTo>
                  <a:lnTo>
                    <a:pt x="11784" y="3173"/>
                  </a:lnTo>
                  <a:lnTo>
                    <a:pt x="11771" y="3167"/>
                  </a:lnTo>
                  <a:lnTo>
                    <a:pt x="11757" y="3163"/>
                  </a:lnTo>
                  <a:lnTo>
                    <a:pt x="11742" y="3163"/>
                  </a:lnTo>
                  <a:lnTo>
                    <a:pt x="11696" y="3170"/>
                  </a:lnTo>
                  <a:lnTo>
                    <a:pt x="11678" y="3172"/>
                  </a:lnTo>
                  <a:lnTo>
                    <a:pt x="11661" y="3171"/>
                  </a:lnTo>
                  <a:lnTo>
                    <a:pt x="11646" y="3166"/>
                  </a:lnTo>
                  <a:lnTo>
                    <a:pt x="11632" y="3156"/>
                  </a:lnTo>
                  <a:lnTo>
                    <a:pt x="11624" y="3148"/>
                  </a:lnTo>
                  <a:lnTo>
                    <a:pt x="11617" y="3139"/>
                  </a:lnTo>
                  <a:lnTo>
                    <a:pt x="11602" y="3115"/>
                  </a:lnTo>
                  <a:lnTo>
                    <a:pt x="11591" y="3093"/>
                  </a:lnTo>
                  <a:lnTo>
                    <a:pt x="11580" y="3079"/>
                  </a:lnTo>
                  <a:lnTo>
                    <a:pt x="11570" y="3070"/>
                  </a:lnTo>
                  <a:lnTo>
                    <a:pt x="11561" y="3065"/>
                  </a:lnTo>
                  <a:lnTo>
                    <a:pt x="11537" y="3060"/>
                  </a:lnTo>
                  <a:lnTo>
                    <a:pt x="11520" y="3055"/>
                  </a:lnTo>
                  <a:lnTo>
                    <a:pt x="11498" y="3047"/>
                  </a:lnTo>
                  <a:lnTo>
                    <a:pt x="11475" y="3033"/>
                  </a:lnTo>
                  <a:lnTo>
                    <a:pt x="11467" y="3024"/>
                  </a:lnTo>
                  <a:lnTo>
                    <a:pt x="11462" y="3015"/>
                  </a:lnTo>
                  <a:lnTo>
                    <a:pt x="11456" y="2996"/>
                  </a:lnTo>
                  <a:lnTo>
                    <a:pt x="11453" y="2974"/>
                  </a:lnTo>
                  <a:lnTo>
                    <a:pt x="11453" y="2953"/>
                  </a:lnTo>
                  <a:lnTo>
                    <a:pt x="11451" y="2933"/>
                  </a:lnTo>
                  <a:lnTo>
                    <a:pt x="11446" y="2913"/>
                  </a:lnTo>
                  <a:lnTo>
                    <a:pt x="11440" y="2904"/>
                  </a:lnTo>
                  <a:lnTo>
                    <a:pt x="11434" y="2896"/>
                  </a:lnTo>
                  <a:lnTo>
                    <a:pt x="11399" y="2864"/>
                  </a:lnTo>
                  <a:lnTo>
                    <a:pt x="11387" y="2851"/>
                  </a:lnTo>
                  <a:lnTo>
                    <a:pt x="11376" y="2837"/>
                  </a:lnTo>
                  <a:lnTo>
                    <a:pt x="11371" y="2823"/>
                  </a:lnTo>
                  <a:lnTo>
                    <a:pt x="11370" y="2805"/>
                  </a:lnTo>
                  <a:lnTo>
                    <a:pt x="11375" y="2783"/>
                  </a:lnTo>
                  <a:lnTo>
                    <a:pt x="11384" y="2757"/>
                  </a:lnTo>
                  <a:lnTo>
                    <a:pt x="11394" y="2734"/>
                  </a:lnTo>
                  <a:lnTo>
                    <a:pt x="11398" y="2722"/>
                  </a:lnTo>
                  <a:lnTo>
                    <a:pt x="11401" y="2711"/>
                  </a:lnTo>
                  <a:lnTo>
                    <a:pt x="11397" y="2689"/>
                  </a:lnTo>
                  <a:lnTo>
                    <a:pt x="11389" y="2670"/>
                  </a:lnTo>
                  <a:lnTo>
                    <a:pt x="11380" y="2650"/>
                  </a:lnTo>
                  <a:lnTo>
                    <a:pt x="11373" y="2633"/>
                  </a:lnTo>
                  <a:lnTo>
                    <a:pt x="11369" y="2613"/>
                  </a:lnTo>
                  <a:lnTo>
                    <a:pt x="11373" y="2593"/>
                  </a:lnTo>
                  <a:lnTo>
                    <a:pt x="11378" y="2581"/>
                  </a:lnTo>
                  <a:lnTo>
                    <a:pt x="11387" y="2570"/>
                  </a:lnTo>
                  <a:lnTo>
                    <a:pt x="11412" y="2543"/>
                  </a:lnTo>
                  <a:lnTo>
                    <a:pt x="11430" y="2526"/>
                  </a:lnTo>
                  <a:lnTo>
                    <a:pt x="11442" y="2512"/>
                  </a:lnTo>
                  <a:lnTo>
                    <a:pt x="11448" y="2502"/>
                  </a:lnTo>
                  <a:lnTo>
                    <a:pt x="11451" y="2492"/>
                  </a:lnTo>
                  <a:lnTo>
                    <a:pt x="11452" y="2466"/>
                  </a:lnTo>
                  <a:lnTo>
                    <a:pt x="11456" y="2427"/>
                  </a:lnTo>
                  <a:lnTo>
                    <a:pt x="11460" y="2413"/>
                  </a:lnTo>
                  <a:lnTo>
                    <a:pt x="11465" y="2401"/>
                  </a:lnTo>
                  <a:lnTo>
                    <a:pt x="11471" y="2392"/>
                  </a:lnTo>
                  <a:lnTo>
                    <a:pt x="11479" y="2384"/>
                  </a:lnTo>
                  <a:lnTo>
                    <a:pt x="11497" y="2374"/>
                  </a:lnTo>
                  <a:lnTo>
                    <a:pt x="11516" y="2368"/>
                  </a:lnTo>
                  <a:lnTo>
                    <a:pt x="11537" y="2363"/>
                  </a:lnTo>
                  <a:lnTo>
                    <a:pt x="11557" y="2356"/>
                  </a:lnTo>
                  <a:lnTo>
                    <a:pt x="11566" y="2351"/>
                  </a:lnTo>
                  <a:lnTo>
                    <a:pt x="11575" y="2346"/>
                  </a:lnTo>
                  <a:lnTo>
                    <a:pt x="11582" y="2340"/>
                  </a:lnTo>
                  <a:lnTo>
                    <a:pt x="11589" y="2331"/>
                  </a:lnTo>
                  <a:lnTo>
                    <a:pt x="11612" y="2291"/>
                  </a:lnTo>
                  <a:lnTo>
                    <a:pt x="11623" y="2275"/>
                  </a:lnTo>
                  <a:lnTo>
                    <a:pt x="11633" y="2263"/>
                  </a:lnTo>
                  <a:lnTo>
                    <a:pt x="11647" y="2254"/>
                  </a:lnTo>
                  <a:lnTo>
                    <a:pt x="11664" y="2249"/>
                  </a:lnTo>
                  <a:lnTo>
                    <a:pt x="11685" y="2248"/>
                  </a:lnTo>
                  <a:lnTo>
                    <a:pt x="11714" y="2251"/>
                  </a:lnTo>
                  <a:lnTo>
                    <a:pt x="11743" y="2257"/>
                  </a:lnTo>
                  <a:lnTo>
                    <a:pt x="11762" y="2257"/>
                  </a:lnTo>
                  <a:lnTo>
                    <a:pt x="11780" y="2249"/>
                  </a:lnTo>
                  <a:lnTo>
                    <a:pt x="11805" y="2231"/>
                  </a:lnTo>
                  <a:lnTo>
                    <a:pt x="11832" y="2213"/>
                  </a:lnTo>
                  <a:lnTo>
                    <a:pt x="11848" y="2207"/>
                  </a:lnTo>
                  <a:lnTo>
                    <a:pt x="11866" y="2204"/>
                  </a:lnTo>
                  <a:lnTo>
                    <a:pt x="11885" y="2207"/>
                  </a:lnTo>
                  <a:lnTo>
                    <a:pt x="11901" y="2213"/>
                  </a:lnTo>
                  <a:lnTo>
                    <a:pt x="11916" y="2222"/>
                  </a:lnTo>
                  <a:lnTo>
                    <a:pt x="11930" y="2232"/>
                  </a:lnTo>
                  <a:lnTo>
                    <a:pt x="11943" y="2243"/>
                  </a:lnTo>
                  <a:lnTo>
                    <a:pt x="11959" y="2251"/>
                  </a:lnTo>
                  <a:lnTo>
                    <a:pt x="11974" y="2257"/>
                  </a:lnTo>
                  <a:lnTo>
                    <a:pt x="11992" y="2257"/>
                  </a:lnTo>
                  <a:lnTo>
                    <a:pt x="12037" y="2250"/>
                  </a:lnTo>
                  <a:lnTo>
                    <a:pt x="12056" y="2248"/>
                  </a:lnTo>
                  <a:lnTo>
                    <a:pt x="12073" y="2249"/>
                  </a:lnTo>
                  <a:lnTo>
                    <a:pt x="12088" y="2254"/>
                  </a:lnTo>
                  <a:lnTo>
                    <a:pt x="12102" y="2264"/>
                  </a:lnTo>
                  <a:lnTo>
                    <a:pt x="12109" y="2272"/>
                  </a:lnTo>
                  <a:lnTo>
                    <a:pt x="12116" y="2281"/>
                  </a:lnTo>
                  <a:lnTo>
                    <a:pt x="12130" y="2305"/>
                  </a:lnTo>
                  <a:lnTo>
                    <a:pt x="12143" y="2327"/>
                  </a:lnTo>
                  <a:lnTo>
                    <a:pt x="12153" y="2341"/>
                  </a:lnTo>
                  <a:lnTo>
                    <a:pt x="12162" y="2350"/>
                  </a:lnTo>
                  <a:lnTo>
                    <a:pt x="12173" y="2355"/>
                  </a:lnTo>
                  <a:lnTo>
                    <a:pt x="12197" y="2360"/>
                  </a:lnTo>
                  <a:lnTo>
                    <a:pt x="12214" y="2365"/>
                  </a:lnTo>
                  <a:lnTo>
                    <a:pt x="12234" y="2373"/>
                  </a:lnTo>
                  <a:lnTo>
                    <a:pt x="12257" y="2388"/>
                  </a:lnTo>
                  <a:lnTo>
                    <a:pt x="12265" y="2396"/>
                  </a:lnTo>
                  <a:lnTo>
                    <a:pt x="12271" y="2405"/>
                  </a:lnTo>
                  <a:lnTo>
                    <a:pt x="12278" y="2425"/>
                  </a:lnTo>
                  <a:lnTo>
                    <a:pt x="12279" y="2446"/>
                  </a:lnTo>
                  <a:lnTo>
                    <a:pt x="12280" y="2466"/>
                  </a:lnTo>
                  <a:lnTo>
                    <a:pt x="12282" y="2488"/>
                  </a:lnTo>
                  <a:lnTo>
                    <a:pt x="12287" y="2507"/>
                  </a:lnTo>
                  <a:lnTo>
                    <a:pt x="12292" y="2516"/>
                  </a:lnTo>
                  <a:lnTo>
                    <a:pt x="12300" y="2524"/>
                  </a:lnTo>
                  <a:lnTo>
                    <a:pt x="12333" y="2556"/>
                  </a:lnTo>
                  <a:lnTo>
                    <a:pt x="12347" y="2569"/>
                  </a:lnTo>
                  <a:lnTo>
                    <a:pt x="12356" y="2583"/>
                  </a:lnTo>
                  <a:lnTo>
                    <a:pt x="12361" y="2598"/>
                  </a:lnTo>
                  <a:lnTo>
                    <a:pt x="12362" y="2615"/>
                  </a:lnTo>
                  <a:lnTo>
                    <a:pt x="12359" y="2636"/>
                  </a:lnTo>
                  <a:lnTo>
                    <a:pt x="12348" y="2663"/>
                  </a:lnTo>
                  <a:lnTo>
                    <a:pt x="12337" y="2690"/>
                  </a:lnTo>
                  <a:lnTo>
                    <a:pt x="12333" y="2711"/>
                  </a:lnTo>
                  <a:lnTo>
                    <a:pt x="12336" y="2731"/>
                  </a:lnTo>
                  <a:lnTo>
                    <a:pt x="12343" y="2750"/>
                  </a:lnTo>
                  <a:lnTo>
                    <a:pt x="12352" y="2769"/>
                  </a:lnTo>
                  <a:lnTo>
                    <a:pt x="12360" y="2787"/>
                  </a:lnTo>
                  <a:lnTo>
                    <a:pt x="12364" y="2806"/>
                  </a:lnTo>
                  <a:lnTo>
                    <a:pt x="12360" y="2828"/>
                  </a:lnTo>
                  <a:lnTo>
                    <a:pt x="12355" y="2838"/>
                  </a:lnTo>
                  <a:lnTo>
                    <a:pt x="12347" y="2851"/>
                  </a:lnTo>
                  <a:lnTo>
                    <a:pt x="12321" y="2877"/>
                  </a:lnTo>
                  <a:lnTo>
                    <a:pt x="12302" y="2893"/>
                  </a:lnTo>
                  <a:lnTo>
                    <a:pt x="12291" y="2907"/>
                  </a:lnTo>
                  <a:lnTo>
                    <a:pt x="12284" y="2918"/>
                  </a:lnTo>
                  <a:lnTo>
                    <a:pt x="12282" y="2929"/>
                  </a:lnTo>
                  <a:lnTo>
                    <a:pt x="12282" y="2953"/>
                  </a:lnTo>
                  <a:lnTo>
                    <a:pt x="12278" y="2993"/>
                  </a:lnTo>
                  <a:lnTo>
                    <a:pt x="12274" y="3007"/>
                  </a:lnTo>
                  <a:lnTo>
                    <a:pt x="12269" y="3019"/>
                  </a:lnTo>
                  <a:lnTo>
                    <a:pt x="12262" y="3028"/>
                  </a:lnTo>
                  <a:lnTo>
                    <a:pt x="12255" y="3035"/>
                  </a:lnTo>
                  <a:lnTo>
                    <a:pt x="12237" y="3046"/>
                  </a:lnTo>
                  <a:lnTo>
                    <a:pt x="12216" y="3053"/>
                  </a:lnTo>
                  <a:lnTo>
                    <a:pt x="12196" y="3058"/>
                  </a:lnTo>
                  <a:lnTo>
                    <a:pt x="12177" y="3065"/>
                  </a:lnTo>
                  <a:lnTo>
                    <a:pt x="12168" y="3069"/>
                  </a:lnTo>
                  <a:lnTo>
                    <a:pt x="12159" y="3074"/>
                  </a:lnTo>
                  <a:lnTo>
                    <a:pt x="12151" y="3081"/>
                  </a:lnTo>
                  <a:lnTo>
                    <a:pt x="12144" y="3089"/>
                  </a:lnTo>
                  <a:lnTo>
                    <a:pt x="12121" y="3130"/>
                  </a:lnTo>
                  <a:lnTo>
                    <a:pt x="12111" y="3145"/>
                  </a:lnTo>
                  <a:lnTo>
                    <a:pt x="12100" y="3158"/>
                  </a:lnTo>
                  <a:lnTo>
                    <a:pt x="12087" y="3167"/>
                  </a:lnTo>
                  <a:lnTo>
                    <a:pt x="12070" y="3171"/>
                  </a:lnTo>
                  <a:lnTo>
                    <a:pt x="12048" y="3172"/>
                  </a:lnTo>
                  <a:lnTo>
                    <a:pt x="12020" y="3168"/>
                  </a:lnTo>
                  <a:lnTo>
                    <a:pt x="11989" y="3163"/>
                  </a:lnTo>
                  <a:lnTo>
                    <a:pt x="11971" y="3163"/>
                  </a:lnTo>
                  <a:lnTo>
                    <a:pt x="11953" y="3172"/>
                  </a:lnTo>
                  <a:lnTo>
                    <a:pt x="11929" y="3189"/>
                  </a:lnTo>
                  <a:lnTo>
                    <a:pt x="11910" y="3202"/>
                  </a:lnTo>
                  <a:lnTo>
                    <a:pt x="11887" y="3213"/>
                  </a:lnTo>
                  <a:lnTo>
                    <a:pt x="11887" y="4017"/>
                  </a:lnTo>
                  <a:lnTo>
                    <a:pt x="11933" y="3925"/>
                  </a:lnTo>
                  <a:lnTo>
                    <a:pt x="11961" y="3877"/>
                  </a:lnTo>
                  <a:lnTo>
                    <a:pt x="11994" y="3829"/>
                  </a:lnTo>
                  <a:lnTo>
                    <a:pt x="12014" y="3808"/>
                  </a:lnTo>
                  <a:lnTo>
                    <a:pt x="12035" y="3787"/>
                  </a:lnTo>
                  <a:lnTo>
                    <a:pt x="12060" y="3769"/>
                  </a:lnTo>
                  <a:lnTo>
                    <a:pt x="12073" y="3762"/>
                  </a:lnTo>
                  <a:lnTo>
                    <a:pt x="12085" y="3754"/>
                  </a:lnTo>
                  <a:lnTo>
                    <a:pt x="12115" y="3741"/>
                  </a:lnTo>
                  <a:lnTo>
                    <a:pt x="12148" y="3731"/>
                  </a:lnTo>
                  <a:lnTo>
                    <a:pt x="12184" y="3725"/>
                  </a:lnTo>
                  <a:lnTo>
                    <a:pt x="12224" y="3723"/>
                  </a:lnTo>
                  <a:lnTo>
                    <a:pt x="12283" y="3727"/>
                  </a:lnTo>
                  <a:lnTo>
                    <a:pt x="12341" y="3739"/>
                  </a:lnTo>
                  <a:lnTo>
                    <a:pt x="12368" y="3748"/>
                  </a:lnTo>
                  <a:lnTo>
                    <a:pt x="12395" y="3758"/>
                  </a:lnTo>
                  <a:lnTo>
                    <a:pt x="12420" y="3769"/>
                  </a:lnTo>
                  <a:lnTo>
                    <a:pt x="12446" y="3782"/>
                  </a:lnTo>
                  <a:lnTo>
                    <a:pt x="12446" y="3681"/>
                  </a:lnTo>
                  <a:lnTo>
                    <a:pt x="12447" y="3672"/>
                  </a:lnTo>
                  <a:lnTo>
                    <a:pt x="12452" y="3666"/>
                  </a:lnTo>
                  <a:lnTo>
                    <a:pt x="12459" y="3662"/>
                  </a:lnTo>
                  <a:lnTo>
                    <a:pt x="12465" y="3661"/>
                  </a:lnTo>
                  <a:lnTo>
                    <a:pt x="12473" y="3662"/>
                  </a:lnTo>
                  <a:lnTo>
                    <a:pt x="12479" y="3666"/>
                  </a:lnTo>
                  <a:lnTo>
                    <a:pt x="12484" y="3672"/>
                  </a:lnTo>
                  <a:lnTo>
                    <a:pt x="12486" y="3681"/>
                  </a:lnTo>
                  <a:close/>
                  <a:moveTo>
                    <a:pt x="12630" y="4171"/>
                  </a:moveTo>
                  <a:lnTo>
                    <a:pt x="12628" y="4130"/>
                  </a:lnTo>
                  <a:lnTo>
                    <a:pt x="12621" y="4089"/>
                  </a:lnTo>
                  <a:lnTo>
                    <a:pt x="12613" y="4051"/>
                  </a:lnTo>
                  <a:lnTo>
                    <a:pt x="12598" y="4012"/>
                  </a:lnTo>
                  <a:lnTo>
                    <a:pt x="12582" y="3976"/>
                  </a:lnTo>
                  <a:lnTo>
                    <a:pt x="12561" y="3943"/>
                  </a:lnTo>
                  <a:lnTo>
                    <a:pt x="12537" y="3911"/>
                  </a:lnTo>
                  <a:lnTo>
                    <a:pt x="12511" y="3883"/>
                  </a:lnTo>
                  <a:lnTo>
                    <a:pt x="12482" y="3856"/>
                  </a:lnTo>
                  <a:lnTo>
                    <a:pt x="12451" y="3833"/>
                  </a:lnTo>
                  <a:lnTo>
                    <a:pt x="12418" y="3813"/>
                  </a:lnTo>
                  <a:lnTo>
                    <a:pt x="12382" y="3795"/>
                  </a:lnTo>
                  <a:lnTo>
                    <a:pt x="12345" y="3781"/>
                  </a:lnTo>
                  <a:lnTo>
                    <a:pt x="12306" y="3772"/>
                  </a:lnTo>
                  <a:lnTo>
                    <a:pt x="12265" y="3765"/>
                  </a:lnTo>
                  <a:lnTo>
                    <a:pt x="12224" y="3763"/>
                  </a:lnTo>
                  <a:lnTo>
                    <a:pt x="12197" y="3764"/>
                  </a:lnTo>
                  <a:lnTo>
                    <a:pt x="12173" y="3767"/>
                  </a:lnTo>
                  <a:lnTo>
                    <a:pt x="12150" y="3772"/>
                  </a:lnTo>
                  <a:lnTo>
                    <a:pt x="12128" y="3780"/>
                  </a:lnTo>
                  <a:lnTo>
                    <a:pt x="12089" y="3797"/>
                  </a:lnTo>
                  <a:lnTo>
                    <a:pt x="12073" y="3809"/>
                  </a:lnTo>
                  <a:lnTo>
                    <a:pt x="12057" y="3822"/>
                  </a:lnTo>
                  <a:lnTo>
                    <a:pt x="12029" y="3850"/>
                  </a:lnTo>
                  <a:lnTo>
                    <a:pt x="12005" y="3881"/>
                  </a:lnTo>
                  <a:lnTo>
                    <a:pt x="11984" y="3915"/>
                  </a:lnTo>
                  <a:lnTo>
                    <a:pt x="11965" y="3950"/>
                  </a:lnTo>
                  <a:lnTo>
                    <a:pt x="11932" y="4017"/>
                  </a:lnTo>
                  <a:lnTo>
                    <a:pt x="11915" y="4049"/>
                  </a:lnTo>
                  <a:lnTo>
                    <a:pt x="11897" y="4077"/>
                  </a:lnTo>
                  <a:lnTo>
                    <a:pt x="11878" y="4102"/>
                  </a:lnTo>
                  <a:lnTo>
                    <a:pt x="11866" y="4112"/>
                  </a:lnTo>
                  <a:lnTo>
                    <a:pt x="11855" y="4120"/>
                  </a:lnTo>
                  <a:lnTo>
                    <a:pt x="11843" y="4127"/>
                  </a:lnTo>
                  <a:lnTo>
                    <a:pt x="11830" y="4132"/>
                  </a:lnTo>
                  <a:lnTo>
                    <a:pt x="11800" y="4136"/>
                  </a:lnTo>
                  <a:lnTo>
                    <a:pt x="11783" y="4135"/>
                  </a:lnTo>
                  <a:lnTo>
                    <a:pt x="11766" y="4131"/>
                  </a:lnTo>
                  <a:lnTo>
                    <a:pt x="11750" y="4126"/>
                  </a:lnTo>
                  <a:lnTo>
                    <a:pt x="11734" y="4120"/>
                  </a:lnTo>
                  <a:lnTo>
                    <a:pt x="11702" y="4109"/>
                  </a:lnTo>
                  <a:lnTo>
                    <a:pt x="11685" y="4106"/>
                  </a:lnTo>
                  <a:lnTo>
                    <a:pt x="11669" y="4104"/>
                  </a:lnTo>
                  <a:lnTo>
                    <a:pt x="11625" y="4108"/>
                  </a:lnTo>
                  <a:lnTo>
                    <a:pt x="11603" y="4112"/>
                  </a:lnTo>
                  <a:lnTo>
                    <a:pt x="11584" y="4118"/>
                  </a:lnTo>
                  <a:lnTo>
                    <a:pt x="11565" y="4127"/>
                  </a:lnTo>
                  <a:lnTo>
                    <a:pt x="11546" y="4136"/>
                  </a:lnTo>
                  <a:lnTo>
                    <a:pt x="11529" y="4148"/>
                  </a:lnTo>
                  <a:lnTo>
                    <a:pt x="11512" y="4161"/>
                  </a:lnTo>
                  <a:lnTo>
                    <a:pt x="11498" y="4175"/>
                  </a:lnTo>
                  <a:lnTo>
                    <a:pt x="11484" y="4190"/>
                  </a:lnTo>
                  <a:lnTo>
                    <a:pt x="11471" y="4208"/>
                  </a:lnTo>
                  <a:lnTo>
                    <a:pt x="11461" y="4226"/>
                  </a:lnTo>
                  <a:lnTo>
                    <a:pt x="11452" y="4245"/>
                  </a:lnTo>
                  <a:lnTo>
                    <a:pt x="11444" y="4265"/>
                  </a:lnTo>
                  <a:lnTo>
                    <a:pt x="11438" y="4286"/>
                  </a:lnTo>
                  <a:lnTo>
                    <a:pt x="11434" y="4309"/>
                  </a:lnTo>
                  <a:lnTo>
                    <a:pt x="12171" y="4309"/>
                  </a:lnTo>
                  <a:lnTo>
                    <a:pt x="12177" y="4305"/>
                  </a:lnTo>
                  <a:lnTo>
                    <a:pt x="12184" y="4304"/>
                  </a:lnTo>
                  <a:lnTo>
                    <a:pt x="12609" y="4304"/>
                  </a:lnTo>
                  <a:lnTo>
                    <a:pt x="12618" y="4271"/>
                  </a:lnTo>
                  <a:lnTo>
                    <a:pt x="12625" y="4239"/>
                  </a:lnTo>
                  <a:lnTo>
                    <a:pt x="12629" y="4204"/>
                  </a:lnTo>
                  <a:lnTo>
                    <a:pt x="12630" y="4171"/>
                  </a:lnTo>
                  <a:close/>
                  <a:moveTo>
                    <a:pt x="11425" y="3810"/>
                  </a:moveTo>
                  <a:lnTo>
                    <a:pt x="11524" y="3712"/>
                  </a:lnTo>
                  <a:lnTo>
                    <a:pt x="11532" y="3707"/>
                  </a:lnTo>
                  <a:lnTo>
                    <a:pt x="11539" y="3705"/>
                  </a:lnTo>
                  <a:lnTo>
                    <a:pt x="11547" y="3707"/>
                  </a:lnTo>
                  <a:lnTo>
                    <a:pt x="11553" y="3712"/>
                  </a:lnTo>
                  <a:lnTo>
                    <a:pt x="11557" y="3717"/>
                  </a:lnTo>
                  <a:lnTo>
                    <a:pt x="11558" y="3725"/>
                  </a:lnTo>
                  <a:lnTo>
                    <a:pt x="11557" y="3732"/>
                  </a:lnTo>
                  <a:lnTo>
                    <a:pt x="11553" y="3740"/>
                  </a:lnTo>
                  <a:lnTo>
                    <a:pt x="11426" y="3866"/>
                  </a:lnTo>
                  <a:lnTo>
                    <a:pt x="11425" y="3895"/>
                  </a:lnTo>
                  <a:lnTo>
                    <a:pt x="11460" y="3892"/>
                  </a:lnTo>
                  <a:lnTo>
                    <a:pt x="11494" y="3884"/>
                  </a:lnTo>
                  <a:lnTo>
                    <a:pt x="11528" y="3874"/>
                  </a:lnTo>
                  <a:lnTo>
                    <a:pt x="11558" y="3861"/>
                  </a:lnTo>
                  <a:lnTo>
                    <a:pt x="11589" y="3846"/>
                  </a:lnTo>
                  <a:lnTo>
                    <a:pt x="11617" y="3828"/>
                  </a:lnTo>
                  <a:lnTo>
                    <a:pt x="11643" y="3806"/>
                  </a:lnTo>
                  <a:lnTo>
                    <a:pt x="11667" y="3783"/>
                  </a:lnTo>
                  <a:lnTo>
                    <a:pt x="11689" y="3758"/>
                  </a:lnTo>
                  <a:lnTo>
                    <a:pt x="11710" y="3731"/>
                  </a:lnTo>
                  <a:lnTo>
                    <a:pt x="11726" y="3702"/>
                  </a:lnTo>
                  <a:lnTo>
                    <a:pt x="11741" y="3671"/>
                  </a:lnTo>
                  <a:lnTo>
                    <a:pt x="11752" y="3639"/>
                  </a:lnTo>
                  <a:lnTo>
                    <a:pt x="11761" y="3606"/>
                  </a:lnTo>
                  <a:lnTo>
                    <a:pt x="11766" y="3571"/>
                  </a:lnTo>
                  <a:lnTo>
                    <a:pt x="11767" y="3535"/>
                  </a:lnTo>
                  <a:lnTo>
                    <a:pt x="11765" y="3498"/>
                  </a:lnTo>
                  <a:lnTo>
                    <a:pt x="11760" y="3462"/>
                  </a:lnTo>
                  <a:lnTo>
                    <a:pt x="11751" y="3428"/>
                  </a:lnTo>
                  <a:lnTo>
                    <a:pt x="11739" y="3395"/>
                  </a:lnTo>
                  <a:lnTo>
                    <a:pt x="11724" y="3363"/>
                  </a:lnTo>
                  <a:lnTo>
                    <a:pt x="11706" y="3333"/>
                  </a:lnTo>
                  <a:lnTo>
                    <a:pt x="11684" y="3305"/>
                  </a:lnTo>
                  <a:lnTo>
                    <a:pt x="11661" y="3280"/>
                  </a:lnTo>
                  <a:lnTo>
                    <a:pt x="11635" y="3257"/>
                  </a:lnTo>
                  <a:lnTo>
                    <a:pt x="11608" y="3236"/>
                  </a:lnTo>
                  <a:lnTo>
                    <a:pt x="11578" y="3218"/>
                  </a:lnTo>
                  <a:lnTo>
                    <a:pt x="11547" y="3203"/>
                  </a:lnTo>
                  <a:lnTo>
                    <a:pt x="11530" y="3196"/>
                  </a:lnTo>
                  <a:lnTo>
                    <a:pt x="11514" y="3190"/>
                  </a:lnTo>
                  <a:lnTo>
                    <a:pt x="11479" y="3181"/>
                  </a:lnTo>
                  <a:lnTo>
                    <a:pt x="11443" y="3176"/>
                  </a:lnTo>
                  <a:lnTo>
                    <a:pt x="11406" y="3175"/>
                  </a:lnTo>
                  <a:lnTo>
                    <a:pt x="11369" y="3176"/>
                  </a:lnTo>
                  <a:lnTo>
                    <a:pt x="11333" y="3181"/>
                  </a:lnTo>
                  <a:lnTo>
                    <a:pt x="11298" y="3190"/>
                  </a:lnTo>
                  <a:lnTo>
                    <a:pt x="11265" y="3203"/>
                  </a:lnTo>
                  <a:lnTo>
                    <a:pt x="11233" y="3218"/>
                  </a:lnTo>
                  <a:lnTo>
                    <a:pt x="11203" y="3236"/>
                  </a:lnTo>
                  <a:lnTo>
                    <a:pt x="11175" y="3257"/>
                  </a:lnTo>
                  <a:lnTo>
                    <a:pt x="11149" y="3280"/>
                  </a:lnTo>
                  <a:lnTo>
                    <a:pt x="11126" y="3305"/>
                  </a:lnTo>
                  <a:lnTo>
                    <a:pt x="11106" y="3333"/>
                  </a:lnTo>
                  <a:lnTo>
                    <a:pt x="11088" y="3363"/>
                  </a:lnTo>
                  <a:lnTo>
                    <a:pt x="11072" y="3395"/>
                  </a:lnTo>
                  <a:lnTo>
                    <a:pt x="11066" y="3411"/>
                  </a:lnTo>
                  <a:lnTo>
                    <a:pt x="11060" y="3428"/>
                  </a:lnTo>
                  <a:lnTo>
                    <a:pt x="11051" y="3462"/>
                  </a:lnTo>
                  <a:lnTo>
                    <a:pt x="11046" y="3498"/>
                  </a:lnTo>
                  <a:lnTo>
                    <a:pt x="11044" y="3535"/>
                  </a:lnTo>
                  <a:lnTo>
                    <a:pt x="11046" y="3570"/>
                  </a:lnTo>
                  <a:lnTo>
                    <a:pt x="11051" y="3606"/>
                  </a:lnTo>
                  <a:lnTo>
                    <a:pt x="11060" y="3639"/>
                  </a:lnTo>
                  <a:lnTo>
                    <a:pt x="11070" y="3671"/>
                  </a:lnTo>
                  <a:lnTo>
                    <a:pt x="11085" y="3702"/>
                  </a:lnTo>
                  <a:lnTo>
                    <a:pt x="11102" y="3731"/>
                  </a:lnTo>
                  <a:lnTo>
                    <a:pt x="11121" y="3758"/>
                  </a:lnTo>
                  <a:lnTo>
                    <a:pt x="11143" y="3783"/>
                  </a:lnTo>
                  <a:lnTo>
                    <a:pt x="11167" y="3806"/>
                  </a:lnTo>
                  <a:lnTo>
                    <a:pt x="11193" y="3827"/>
                  </a:lnTo>
                  <a:lnTo>
                    <a:pt x="11221" y="3846"/>
                  </a:lnTo>
                  <a:lnTo>
                    <a:pt x="11252" y="3861"/>
                  </a:lnTo>
                  <a:lnTo>
                    <a:pt x="11283" y="3874"/>
                  </a:lnTo>
                  <a:lnTo>
                    <a:pt x="11316" y="3884"/>
                  </a:lnTo>
                  <a:lnTo>
                    <a:pt x="11349" y="3891"/>
                  </a:lnTo>
                  <a:lnTo>
                    <a:pt x="11385" y="3895"/>
                  </a:lnTo>
                  <a:lnTo>
                    <a:pt x="11385" y="3757"/>
                  </a:lnTo>
                  <a:lnTo>
                    <a:pt x="11258" y="3631"/>
                  </a:lnTo>
                  <a:lnTo>
                    <a:pt x="11253" y="3624"/>
                  </a:lnTo>
                  <a:lnTo>
                    <a:pt x="11252" y="3616"/>
                  </a:lnTo>
                  <a:lnTo>
                    <a:pt x="11255" y="3608"/>
                  </a:lnTo>
                  <a:lnTo>
                    <a:pt x="11258" y="3602"/>
                  </a:lnTo>
                  <a:lnTo>
                    <a:pt x="11265" y="3598"/>
                  </a:lnTo>
                  <a:lnTo>
                    <a:pt x="11271" y="3597"/>
                  </a:lnTo>
                  <a:lnTo>
                    <a:pt x="11279" y="3598"/>
                  </a:lnTo>
                  <a:lnTo>
                    <a:pt x="11287" y="3602"/>
                  </a:lnTo>
                  <a:lnTo>
                    <a:pt x="11385" y="3700"/>
                  </a:lnTo>
                  <a:lnTo>
                    <a:pt x="11385" y="3589"/>
                  </a:lnTo>
                  <a:lnTo>
                    <a:pt x="11385" y="3581"/>
                  </a:lnTo>
                  <a:lnTo>
                    <a:pt x="11385" y="3447"/>
                  </a:lnTo>
                  <a:lnTo>
                    <a:pt x="11387" y="3439"/>
                  </a:lnTo>
                  <a:lnTo>
                    <a:pt x="11392" y="3433"/>
                  </a:lnTo>
                  <a:lnTo>
                    <a:pt x="11398" y="3429"/>
                  </a:lnTo>
                  <a:lnTo>
                    <a:pt x="11405" y="3428"/>
                  </a:lnTo>
                  <a:lnTo>
                    <a:pt x="11412" y="3429"/>
                  </a:lnTo>
                  <a:lnTo>
                    <a:pt x="11419" y="3433"/>
                  </a:lnTo>
                  <a:lnTo>
                    <a:pt x="11424" y="3439"/>
                  </a:lnTo>
                  <a:lnTo>
                    <a:pt x="11425" y="3447"/>
                  </a:lnTo>
                  <a:lnTo>
                    <a:pt x="11425" y="3537"/>
                  </a:lnTo>
                  <a:lnTo>
                    <a:pt x="11517" y="3445"/>
                  </a:lnTo>
                  <a:lnTo>
                    <a:pt x="11525" y="3439"/>
                  </a:lnTo>
                  <a:lnTo>
                    <a:pt x="11533" y="3438"/>
                  </a:lnTo>
                  <a:lnTo>
                    <a:pt x="11541" y="3441"/>
                  </a:lnTo>
                  <a:lnTo>
                    <a:pt x="11546" y="3445"/>
                  </a:lnTo>
                  <a:lnTo>
                    <a:pt x="11551" y="3451"/>
                  </a:lnTo>
                  <a:lnTo>
                    <a:pt x="11552" y="3457"/>
                  </a:lnTo>
                  <a:lnTo>
                    <a:pt x="11551" y="3465"/>
                  </a:lnTo>
                  <a:lnTo>
                    <a:pt x="11546" y="3473"/>
                  </a:lnTo>
                  <a:lnTo>
                    <a:pt x="11425" y="3593"/>
                  </a:lnTo>
                  <a:lnTo>
                    <a:pt x="11425" y="3810"/>
                  </a:lnTo>
                  <a:close/>
                  <a:moveTo>
                    <a:pt x="11847" y="2875"/>
                  </a:moveTo>
                  <a:lnTo>
                    <a:pt x="11847" y="2753"/>
                  </a:lnTo>
                  <a:lnTo>
                    <a:pt x="11743" y="2650"/>
                  </a:lnTo>
                  <a:lnTo>
                    <a:pt x="11738" y="2643"/>
                  </a:lnTo>
                  <a:lnTo>
                    <a:pt x="11737" y="2635"/>
                  </a:lnTo>
                  <a:lnTo>
                    <a:pt x="11739" y="2627"/>
                  </a:lnTo>
                  <a:lnTo>
                    <a:pt x="11743" y="2622"/>
                  </a:lnTo>
                  <a:lnTo>
                    <a:pt x="11750" y="2617"/>
                  </a:lnTo>
                  <a:lnTo>
                    <a:pt x="11757" y="2616"/>
                  </a:lnTo>
                  <a:lnTo>
                    <a:pt x="11764" y="2617"/>
                  </a:lnTo>
                  <a:lnTo>
                    <a:pt x="11771" y="2622"/>
                  </a:lnTo>
                  <a:lnTo>
                    <a:pt x="11847" y="2696"/>
                  </a:lnTo>
                  <a:lnTo>
                    <a:pt x="11847" y="2643"/>
                  </a:lnTo>
                  <a:lnTo>
                    <a:pt x="11848" y="2634"/>
                  </a:lnTo>
                  <a:lnTo>
                    <a:pt x="11853" y="2627"/>
                  </a:lnTo>
                  <a:lnTo>
                    <a:pt x="11860" y="2624"/>
                  </a:lnTo>
                  <a:lnTo>
                    <a:pt x="11866" y="2622"/>
                  </a:lnTo>
                  <a:lnTo>
                    <a:pt x="11874" y="2624"/>
                  </a:lnTo>
                  <a:lnTo>
                    <a:pt x="11880" y="2627"/>
                  </a:lnTo>
                  <a:lnTo>
                    <a:pt x="11885" y="2634"/>
                  </a:lnTo>
                  <a:lnTo>
                    <a:pt x="11887" y="2643"/>
                  </a:lnTo>
                  <a:lnTo>
                    <a:pt x="11887" y="2741"/>
                  </a:lnTo>
                  <a:lnTo>
                    <a:pt x="11887" y="2748"/>
                  </a:lnTo>
                  <a:lnTo>
                    <a:pt x="11887" y="2831"/>
                  </a:lnTo>
                  <a:lnTo>
                    <a:pt x="12024" y="2693"/>
                  </a:lnTo>
                  <a:lnTo>
                    <a:pt x="12032" y="2688"/>
                  </a:lnTo>
                  <a:lnTo>
                    <a:pt x="12039" y="2686"/>
                  </a:lnTo>
                  <a:lnTo>
                    <a:pt x="12047" y="2689"/>
                  </a:lnTo>
                  <a:lnTo>
                    <a:pt x="12052" y="2693"/>
                  </a:lnTo>
                  <a:lnTo>
                    <a:pt x="12057" y="2699"/>
                  </a:lnTo>
                  <a:lnTo>
                    <a:pt x="12059" y="2707"/>
                  </a:lnTo>
                  <a:lnTo>
                    <a:pt x="12057" y="2714"/>
                  </a:lnTo>
                  <a:lnTo>
                    <a:pt x="12052" y="2721"/>
                  </a:lnTo>
                  <a:lnTo>
                    <a:pt x="11887" y="2887"/>
                  </a:lnTo>
                  <a:lnTo>
                    <a:pt x="11887" y="2960"/>
                  </a:lnTo>
                  <a:lnTo>
                    <a:pt x="11887" y="2968"/>
                  </a:lnTo>
                  <a:lnTo>
                    <a:pt x="11887" y="3172"/>
                  </a:lnTo>
                  <a:lnTo>
                    <a:pt x="11897" y="3164"/>
                  </a:lnTo>
                  <a:lnTo>
                    <a:pt x="11907" y="3156"/>
                  </a:lnTo>
                  <a:lnTo>
                    <a:pt x="11919" y="3147"/>
                  </a:lnTo>
                  <a:lnTo>
                    <a:pt x="11932" y="3138"/>
                  </a:lnTo>
                  <a:lnTo>
                    <a:pt x="11947" y="3130"/>
                  </a:lnTo>
                  <a:lnTo>
                    <a:pt x="11968" y="3126"/>
                  </a:lnTo>
                  <a:lnTo>
                    <a:pt x="11993" y="3125"/>
                  </a:lnTo>
                  <a:lnTo>
                    <a:pt x="12027" y="3129"/>
                  </a:lnTo>
                  <a:lnTo>
                    <a:pt x="12043" y="3131"/>
                  </a:lnTo>
                  <a:lnTo>
                    <a:pt x="12056" y="3131"/>
                  </a:lnTo>
                  <a:lnTo>
                    <a:pt x="12066" y="3129"/>
                  </a:lnTo>
                  <a:lnTo>
                    <a:pt x="12075" y="3125"/>
                  </a:lnTo>
                  <a:lnTo>
                    <a:pt x="12088" y="3112"/>
                  </a:lnTo>
                  <a:lnTo>
                    <a:pt x="12097" y="3097"/>
                  </a:lnTo>
                  <a:lnTo>
                    <a:pt x="12106" y="3078"/>
                  </a:lnTo>
                  <a:lnTo>
                    <a:pt x="12118" y="3058"/>
                  </a:lnTo>
                  <a:lnTo>
                    <a:pt x="12135" y="3040"/>
                  </a:lnTo>
                  <a:lnTo>
                    <a:pt x="12148" y="3033"/>
                  </a:lnTo>
                  <a:lnTo>
                    <a:pt x="12162" y="3026"/>
                  </a:lnTo>
                  <a:lnTo>
                    <a:pt x="12211" y="3012"/>
                  </a:lnTo>
                  <a:lnTo>
                    <a:pt x="12224" y="3007"/>
                  </a:lnTo>
                  <a:lnTo>
                    <a:pt x="12232" y="3001"/>
                  </a:lnTo>
                  <a:lnTo>
                    <a:pt x="12237" y="2992"/>
                  </a:lnTo>
                  <a:lnTo>
                    <a:pt x="12238" y="2978"/>
                  </a:lnTo>
                  <a:lnTo>
                    <a:pt x="12242" y="2928"/>
                  </a:lnTo>
                  <a:lnTo>
                    <a:pt x="12244" y="2911"/>
                  </a:lnTo>
                  <a:lnTo>
                    <a:pt x="12250" y="2897"/>
                  </a:lnTo>
                  <a:lnTo>
                    <a:pt x="12262" y="2875"/>
                  </a:lnTo>
                  <a:lnTo>
                    <a:pt x="12270" y="2868"/>
                  </a:lnTo>
                  <a:lnTo>
                    <a:pt x="12279" y="2860"/>
                  </a:lnTo>
                  <a:lnTo>
                    <a:pt x="12296" y="2847"/>
                  </a:lnTo>
                  <a:lnTo>
                    <a:pt x="12310" y="2836"/>
                  </a:lnTo>
                  <a:lnTo>
                    <a:pt x="12315" y="2828"/>
                  </a:lnTo>
                  <a:lnTo>
                    <a:pt x="12319" y="2821"/>
                  </a:lnTo>
                  <a:lnTo>
                    <a:pt x="12320" y="2812"/>
                  </a:lnTo>
                  <a:lnTo>
                    <a:pt x="12320" y="2801"/>
                  </a:lnTo>
                  <a:lnTo>
                    <a:pt x="12312" y="2773"/>
                  </a:lnTo>
                  <a:lnTo>
                    <a:pt x="12300" y="2743"/>
                  </a:lnTo>
                  <a:lnTo>
                    <a:pt x="12294" y="2727"/>
                  </a:lnTo>
                  <a:lnTo>
                    <a:pt x="12293" y="2711"/>
                  </a:lnTo>
                  <a:lnTo>
                    <a:pt x="12294" y="2693"/>
                  </a:lnTo>
                  <a:lnTo>
                    <a:pt x="12300" y="2676"/>
                  </a:lnTo>
                  <a:lnTo>
                    <a:pt x="12318" y="2629"/>
                  </a:lnTo>
                  <a:lnTo>
                    <a:pt x="12323" y="2616"/>
                  </a:lnTo>
                  <a:lnTo>
                    <a:pt x="12323" y="2606"/>
                  </a:lnTo>
                  <a:lnTo>
                    <a:pt x="12319" y="2598"/>
                  </a:lnTo>
                  <a:lnTo>
                    <a:pt x="12309" y="2588"/>
                  </a:lnTo>
                  <a:lnTo>
                    <a:pt x="12271" y="2553"/>
                  </a:lnTo>
                  <a:lnTo>
                    <a:pt x="12261" y="2540"/>
                  </a:lnTo>
                  <a:lnTo>
                    <a:pt x="12252" y="2529"/>
                  </a:lnTo>
                  <a:lnTo>
                    <a:pt x="12247" y="2516"/>
                  </a:lnTo>
                  <a:lnTo>
                    <a:pt x="12243" y="2505"/>
                  </a:lnTo>
                  <a:lnTo>
                    <a:pt x="12242" y="2483"/>
                  </a:lnTo>
                  <a:lnTo>
                    <a:pt x="12242" y="2461"/>
                  </a:lnTo>
                  <a:lnTo>
                    <a:pt x="12241" y="2443"/>
                  </a:lnTo>
                  <a:lnTo>
                    <a:pt x="12238" y="2434"/>
                  </a:lnTo>
                  <a:lnTo>
                    <a:pt x="12236" y="2427"/>
                  </a:lnTo>
                  <a:lnTo>
                    <a:pt x="12229" y="2419"/>
                  </a:lnTo>
                  <a:lnTo>
                    <a:pt x="12220" y="2413"/>
                  </a:lnTo>
                  <a:lnTo>
                    <a:pt x="12209" y="2406"/>
                  </a:lnTo>
                  <a:lnTo>
                    <a:pt x="12193" y="2401"/>
                  </a:lnTo>
                  <a:lnTo>
                    <a:pt x="12164" y="2393"/>
                  </a:lnTo>
                  <a:lnTo>
                    <a:pt x="12143" y="2384"/>
                  </a:lnTo>
                  <a:lnTo>
                    <a:pt x="12129" y="2376"/>
                  </a:lnTo>
                  <a:lnTo>
                    <a:pt x="12120" y="2365"/>
                  </a:lnTo>
                  <a:lnTo>
                    <a:pt x="12106" y="2340"/>
                  </a:lnTo>
                  <a:lnTo>
                    <a:pt x="12096" y="2322"/>
                  </a:lnTo>
                  <a:lnTo>
                    <a:pt x="12082" y="2301"/>
                  </a:lnTo>
                  <a:lnTo>
                    <a:pt x="12077" y="2295"/>
                  </a:lnTo>
                  <a:lnTo>
                    <a:pt x="12070" y="2291"/>
                  </a:lnTo>
                  <a:lnTo>
                    <a:pt x="12055" y="2287"/>
                  </a:lnTo>
                  <a:lnTo>
                    <a:pt x="12038" y="2289"/>
                  </a:lnTo>
                  <a:lnTo>
                    <a:pt x="12020" y="2292"/>
                  </a:lnTo>
                  <a:lnTo>
                    <a:pt x="12000" y="2296"/>
                  </a:lnTo>
                  <a:lnTo>
                    <a:pt x="11978" y="2296"/>
                  </a:lnTo>
                  <a:lnTo>
                    <a:pt x="11955" y="2292"/>
                  </a:lnTo>
                  <a:lnTo>
                    <a:pt x="11930" y="2281"/>
                  </a:lnTo>
                  <a:lnTo>
                    <a:pt x="11900" y="2259"/>
                  </a:lnTo>
                  <a:lnTo>
                    <a:pt x="11882" y="2248"/>
                  </a:lnTo>
                  <a:lnTo>
                    <a:pt x="11866" y="2244"/>
                  </a:lnTo>
                  <a:lnTo>
                    <a:pt x="11851" y="2246"/>
                  </a:lnTo>
                  <a:lnTo>
                    <a:pt x="11843" y="2250"/>
                  </a:lnTo>
                  <a:lnTo>
                    <a:pt x="11837" y="2254"/>
                  </a:lnTo>
                  <a:lnTo>
                    <a:pt x="11812" y="2276"/>
                  </a:lnTo>
                  <a:lnTo>
                    <a:pt x="11796" y="2286"/>
                  </a:lnTo>
                  <a:lnTo>
                    <a:pt x="11774" y="2294"/>
                  </a:lnTo>
                  <a:lnTo>
                    <a:pt x="11744" y="2295"/>
                  </a:lnTo>
                  <a:lnTo>
                    <a:pt x="11726" y="2294"/>
                  </a:lnTo>
                  <a:lnTo>
                    <a:pt x="11706" y="2291"/>
                  </a:lnTo>
                  <a:lnTo>
                    <a:pt x="11691" y="2289"/>
                  </a:lnTo>
                  <a:lnTo>
                    <a:pt x="11676" y="2289"/>
                  </a:lnTo>
                  <a:lnTo>
                    <a:pt x="11666" y="2291"/>
                  </a:lnTo>
                  <a:lnTo>
                    <a:pt x="11658" y="2295"/>
                  </a:lnTo>
                  <a:lnTo>
                    <a:pt x="11646" y="2308"/>
                  </a:lnTo>
                  <a:lnTo>
                    <a:pt x="11637" y="2324"/>
                  </a:lnTo>
                  <a:lnTo>
                    <a:pt x="11628" y="2342"/>
                  </a:lnTo>
                  <a:lnTo>
                    <a:pt x="11616" y="2361"/>
                  </a:lnTo>
                  <a:lnTo>
                    <a:pt x="11598" y="2379"/>
                  </a:lnTo>
                  <a:lnTo>
                    <a:pt x="11585" y="2387"/>
                  </a:lnTo>
                  <a:lnTo>
                    <a:pt x="11570" y="2393"/>
                  </a:lnTo>
                  <a:lnTo>
                    <a:pt x="11521" y="2409"/>
                  </a:lnTo>
                  <a:lnTo>
                    <a:pt x="11508" y="2414"/>
                  </a:lnTo>
                  <a:lnTo>
                    <a:pt x="11501" y="2419"/>
                  </a:lnTo>
                  <a:lnTo>
                    <a:pt x="11497" y="2428"/>
                  </a:lnTo>
                  <a:lnTo>
                    <a:pt x="11494" y="2442"/>
                  </a:lnTo>
                  <a:lnTo>
                    <a:pt x="11491" y="2492"/>
                  </a:lnTo>
                  <a:lnTo>
                    <a:pt x="11488" y="2509"/>
                  </a:lnTo>
                  <a:lnTo>
                    <a:pt x="11484" y="2523"/>
                  </a:lnTo>
                  <a:lnTo>
                    <a:pt x="11470" y="2544"/>
                  </a:lnTo>
                  <a:lnTo>
                    <a:pt x="11462" y="2552"/>
                  </a:lnTo>
                  <a:lnTo>
                    <a:pt x="11455" y="2560"/>
                  </a:lnTo>
                  <a:lnTo>
                    <a:pt x="11438" y="2572"/>
                  </a:lnTo>
                  <a:lnTo>
                    <a:pt x="11424" y="2585"/>
                  </a:lnTo>
                  <a:lnTo>
                    <a:pt x="11419" y="2592"/>
                  </a:lnTo>
                  <a:lnTo>
                    <a:pt x="11415" y="2599"/>
                  </a:lnTo>
                  <a:lnTo>
                    <a:pt x="11412" y="2608"/>
                  </a:lnTo>
                  <a:lnTo>
                    <a:pt x="11412" y="2620"/>
                  </a:lnTo>
                  <a:lnTo>
                    <a:pt x="11421" y="2647"/>
                  </a:lnTo>
                  <a:lnTo>
                    <a:pt x="11434" y="2677"/>
                  </a:lnTo>
                  <a:lnTo>
                    <a:pt x="11438" y="2694"/>
                  </a:lnTo>
                  <a:lnTo>
                    <a:pt x="11440" y="2711"/>
                  </a:lnTo>
                  <a:lnTo>
                    <a:pt x="11438" y="2732"/>
                  </a:lnTo>
                  <a:lnTo>
                    <a:pt x="11432" y="2751"/>
                  </a:lnTo>
                  <a:lnTo>
                    <a:pt x="11416" y="2782"/>
                  </a:lnTo>
                  <a:lnTo>
                    <a:pt x="11411" y="2797"/>
                  </a:lnTo>
                  <a:lnTo>
                    <a:pt x="11411" y="2805"/>
                  </a:lnTo>
                  <a:lnTo>
                    <a:pt x="11412" y="2812"/>
                  </a:lnTo>
                  <a:lnTo>
                    <a:pt x="11420" y="2828"/>
                  </a:lnTo>
                  <a:lnTo>
                    <a:pt x="11438" y="2847"/>
                  </a:lnTo>
                  <a:lnTo>
                    <a:pt x="11461" y="2868"/>
                  </a:lnTo>
                  <a:lnTo>
                    <a:pt x="11476" y="2884"/>
                  </a:lnTo>
                  <a:lnTo>
                    <a:pt x="11484" y="2899"/>
                  </a:lnTo>
                  <a:lnTo>
                    <a:pt x="11488" y="2911"/>
                  </a:lnTo>
                  <a:lnTo>
                    <a:pt x="11491" y="2941"/>
                  </a:lnTo>
                  <a:lnTo>
                    <a:pt x="11491" y="2960"/>
                  </a:lnTo>
                  <a:lnTo>
                    <a:pt x="11494" y="2985"/>
                  </a:lnTo>
                  <a:lnTo>
                    <a:pt x="11502" y="3000"/>
                  </a:lnTo>
                  <a:lnTo>
                    <a:pt x="11514" y="3010"/>
                  </a:lnTo>
                  <a:lnTo>
                    <a:pt x="11529" y="3015"/>
                  </a:lnTo>
                  <a:lnTo>
                    <a:pt x="11547" y="3020"/>
                  </a:lnTo>
                  <a:lnTo>
                    <a:pt x="11567" y="3026"/>
                  </a:lnTo>
                  <a:lnTo>
                    <a:pt x="11587" y="3034"/>
                  </a:lnTo>
                  <a:lnTo>
                    <a:pt x="11606" y="3048"/>
                  </a:lnTo>
                  <a:lnTo>
                    <a:pt x="11615" y="3057"/>
                  </a:lnTo>
                  <a:lnTo>
                    <a:pt x="11623" y="3069"/>
                  </a:lnTo>
                  <a:lnTo>
                    <a:pt x="11648" y="3112"/>
                  </a:lnTo>
                  <a:lnTo>
                    <a:pt x="11656" y="3124"/>
                  </a:lnTo>
                  <a:lnTo>
                    <a:pt x="11664" y="3130"/>
                  </a:lnTo>
                  <a:lnTo>
                    <a:pt x="11673" y="3133"/>
                  </a:lnTo>
                  <a:lnTo>
                    <a:pt x="11687" y="3131"/>
                  </a:lnTo>
                  <a:lnTo>
                    <a:pt x="11737" y="3124"/>
                  </a:lnTo>
                  <a:lnTo>
                    <a:pt x="11757" y="3124"/>
                  </a:lnTo>
                  <a:lnTo>
                    <a:pt x="11774" y="3126"/>
                  </a:lnTo>
                  <a:lnTo>
                    <a:pt x="11789" y="3131"/>
                  </a:lnTo>
                  <a:lnTo>
                    <a:pt x="11803" y="3139"/>
                  </a:lnTo>
                  <a:lnTo>
                    <a:pt x="11826" y="3156"/>
                  </a:lnTo>
                  <a:lnTo>
                    <a:pt x="11847" y="3171"/>
                  </a:lnTo>
                  <a:lnTo>
                    <a:pt x="11847" y="2973"/>
                  </a:lnTo>
                  <a:lnTo>
                    <a:pt x="11769" y="2895"/>
                  </a:lnTo>
                  <a:lnTo>
                    <a:pt x="11764" y="2887"/>
                  </a:lnTo>
                  <a:lnTo>
                    <a:pt x="11762" y="2879"/>
                  </a:lnTo>
                  <a:lnTo>
                    <a:pt x="11765" y="2873"/>
                  </a:lnTo>
                  <a:lnTo>
                    <a:pt x="11769" y="2867"/>
                  </a:lnTo>
                  <a:lnTo>
                    <a:pt x="11775" y="2863"/>
                  </a:lnTo>
                  <a:lnTo>
                    <a:pt x="11782" y="2860"/>
                  </a:lnTo>
                  <a:lnTo>
                    <a:pt x="11789" y="2861"/>
                  </a:lnTo>
                  <a:lnTo>
                    <a:pt x="11797" y="2867"/>
                  </a:lnTo>
                  <a:lnTo>
                    <a:pt x="11847" y="2916"/>
                  </a:lnTo>
                  <a:lnTo>
                    <a:pt x="11847" y="2882"/>
                  </a:lnTo>
                  <a:lnTo>
                    <a:pt x="11847" y="2875"/>
                  </a:lnTo>
                  <a:close/>
                  <a:moveTo>
                    <a:pt x="11887" y="2960"/>
                  </a:moveTo>
                  <a:lnTo>
                    <a:pt x="11887" y="2968"/>
                  </a:lnTo>
                  <a:lnTo>
                    <a:pt x="11887" y="2960"/>
                  </a:lnTo>
                  <a:close/>
                  <a:moveTo>
                    <a:pt x="11887" y="2741"/>
                  </a:moveTo>
                  <a:lnTo>
                    <a:pt x="11887" y="2748"/>
                  </a:lnTo>
                  <a:lnTo>
                    <a:pt x="11887" y="2741"/>
                  </a:lnTo>
                  <a:close/>
                  <a:moveTo>
                    <a:pt x="11847" y="2882"/>
                  </a:moveTo>
                  <a:lnTo>
                    <a:pt x="11847" y="2875"/>
                  </a:lnTo>
                  <a:lnTo>
                    <a:pt x="11847" y="2882"/>
                  </a:lnTo>
                  <a:close/>
                  <a:moveTo>
                    <a:pt x="9740" y="1741"/>
                  </a:moveTo>
                  <a:lnTo>
                    <a:pt x="9740" y="1619"/>
                  </a:lnTo>
                  <a:lnTo>
                    <a:pt x="9741" y="1611"/>
                  </a:lnTo>
                  <a:lnTo>
                    <a:pt x="9747" y="1604"/>
                  </a:lnTo>
                  <a:lnTo>
                    <a:pt x="9753" y="1601"/>
                  </a:lnTo>
                  <a:lnTo>
                    <a:pt x="9761" y="1599"/>
                  </a:lnTo>
                  <a:lnTo>
                    <a:pt x="10006" y="1599"/>
                  </a:lnTo>
                  <a:lnTo>
                    <a:pt x="10013" y="1601"/>
                  </a:lnTo>
                  <a:lnTo>
                    <a:pt x="10020" y="1604"/>
                  </a:lnTo>
                  <a:lnTo>
                    <a:pt x="10024" y="1611"/>
                  </a:lnTo>
                  <a:lnTo>
                    <a:pt x="10026" y="1619"/>
                  </a:lnTo>
                  <a:lnTo>
                    <a:pt x="10026" y="1741"/>
                  </a:lnTo>
                  <a:lnTo>
                    <a:pt x="10978" y="1741"/>
                  </a:lnTo>
                  <a:lnTo>
                    <a:pt x="10987" y="1744"/>
                  </a:lnTo>
                  <a:lnTo>
                    <a:pt x="10994" y="1749"/>
                  </a:lnTo>
                  <a:lnTo>
                    <a:pt x="11211" y="2048"/>
                  </a:lnTo>
                  <a:lnTo>
                    <a:pt x="11235" y="2048"/>
                  </a:lnTo>
                  <a:lnTo>
                    <a:pt x="11242" y="2051"/>
                  </a:lnTo>
                  <a:lnTo>
                    <a:pt x="11248" y="2055"/>
                  </a:lnTo>
                  <a:lnTo>
                    <a:pt x="11253" y="2061"/>
                  </a:lnTo>
                  <a:lnTo>
                    <a:pt x="11255" y="2069"/>
                  </a:lnTo>
                  <a:lnTo>
                    <a:pt x="11255" y="2241"/>
                  </a:lnTo>
                  <a:lnTo>
                    <a:pt x="11253" y="2249"/>
                  </a:lnTo>
                  <a:lnTo>
                    <a:pt x="11248" y="2255"/>
                  </a:lnTo>
                  <a:lnTo>
                    <a:pt x="11242" y="2260"/>
                  </a:lnTo>
                  <a:lnTo>
                    <a:pt x="11235" y="2262"/>
                  </a:lnTo>
                  <a:lnTo>
                    <a:pt x="11224" y="2262"/>
                  </a:lnTo>
                  <a:lnTo>
                    <a:pt x="11224" y="3107"/>
                  </a:lnTo>
                  <a:lnTo>
                    <a:pt x="11223" y="3116"/>
                  </a:lnTo>
                  <a:lnTo>
                    <a:pt x="11217" y="3122"/>
                  </a:lnTo>
                  <a:lnTo>
                    <a:pt x="11211" y="3126"/>
                  </a:lnTo>
                  <a:lnTo>
                    <a:pt x="11205" y="3127"/>
                  </a:lnTo>
                  <a:lnTo>
                    <a:pt x="11197" y="3126"/>
                  </a:lnTo>
                  <a:lnTo>
                    <a:pt x="11190" y="3122"/>
                  </a:lnTo>
                  <a:lnTo>
                    <a:pt x="11185" y="3116"/>
                  </a:lnTo>
                  <a:lnTo>
                    <a:pt x="11184" y="3107"/>
                  </a:lnTo>
                  <a:lnTo>
                    <a:pt x="11184" y="2262"/>
                  </a:lnTo>
                  <a:lnTo>
                    <a:pt x="10285" y="2262"/>
                  </a:lnTo>
                  <a:lnTo>
                    <a:pt x="9388" y="2262"/>
                  </a:lnTo>
                  <a:lnTo>
                    <a:pt x="9388" y="3282"/>
                  </a:lnTo>
                  <a:lnTo>
                    <a:pt x="9388" y="4304"/>
                  </a:lnTo>
                  <a:lnTo>
                    <a:pt x="10285" y="4304"/>
                  </a:lnTo>
                  <a:lnTo>
                    <a:pt x="11184" y="4304"/>
                  </a:lnTo>
                  <a:lnTo>
                    <a:pt x="11184" y="3976"/>
                  </a:lnTo>
                  <a:lnTo>
                    <a:pt x="11185" y="3969"/>
                  </a:lnTo>
                  <a:lnTo>
                    <a:pt x="11190" y="3962"/>
                  </a:lnTo>
                  <a:lnTo>
                    <a:pt x="11197" y="3959"/>
                  </a:lnTo>
                  <a:lnTo>
                    <a:pt x="11205" y="3957"/>
                  </a:lnTo>
                  <a:lnTo>
                    <a:pt x="11211" y="3959"/>
                  </a:lnTo>
                  <a:lnTo>
                    <a:pt x="11217" y="3962"/>
                  </a:lnTo>
                  <a:lnTo>
                    <a:pt x="11223" y="3969"/>
                  </a:lnTo>
                  <a:lnTo>
                    <a:pt x="11224" y="3976"/>
                  </a:lnTo>
                  <a:lnTo>
                    <a:pt x="11224" y="4324"/>
                  </a:lnTo>
                  <a:lnTo>
                    <a:pt x="11223" y="4332"/>
                  </a:lnTo>
                  <a:lnTo>
                    <a:pt x="11217" y="4338"/>
                  </a:lnTo>
                  <a:lnTo>
                    <a:pt x="11211" y="4342"/>
                  </a:lnTo>
                  <a:lnTo>
                    <a:pt x="11205" y="4343"/>
                  </a:lnTo>
                  <a:lnTo>
                    <a:pt x="10285" y="4343"/>
                  </a:lnTo>
                  <a:lnTo>
                    <a:pt x="9367" y="4343"/>
                  </a:lnTo>
                  <a:lnTo>
                    <a:pt x="9361" y="4342"/>
                  </a:lnTo>
                  <a:lnTo>
                    <a:pt x="9354" y="4338"/>
                  </a:lnTo>
                  <a:lnTo>
                    <a:pt x="9349" y="4332"/>
                  </a:lnTo>
                  <a:lnTo>
                    <a:pt x="9348" y="4324"/>
                  </a:lnTo>
                  <a:lnTo>
                    <a:pt x="9348" y="3808"/>
                  </a:lnTo>
                  <a:lnTo>
                    <a:pt x="9348" y="3292"/>
                  </a:lnTo>
                  <a:lnTo>
                    <a:pt x="9348" y="2777"/>
                  </a:lnTo>
                  <a:lnTo>
                    <a:pt x="9348" y="2262"/>
                  </a:lnTo>
                  <a:lnTo>
                    <a:pt x="9336" y="2262"/>
                  </a:lnTo>
                  <a:lnTo>
                    <a:pt x="9329" y="2260"/>
                  </a:lnTo>
                  <a:lnTo>
                    <a:pt x="9322" y="2255"/>
                  </a:lnTo>
                  <a:lnTo>
                    <a:pt x="9318" y="2249"/>
                  </a:lnTo>
                  <a:lnTo>
                    <a:pt x="9317" y="2241"/>
                  </a:lnTo>
                  <a:lnTo>
                    <a:pt x="9317" y="2069"/>
                  </a:lnTo>
                  <a:lnTo>
                    <a:pt x="9318" y="2061"/>
                  </a:lnTo>
                  <a:lnTo>
                    <a:pt x="9322" y="2055"/>
                  </a:lnTo>
                  <a:lnTo>
                    <a:pt x="9329" y="2051"/>
                  </a:lnTo>
                  <a:lnTo>
                    <a:pt x="9336" y="2048"/>
                  </a:lnTo>
                  <a:lnTo>
                    <a:pt x="9364" y="2048"/>
                  </a:lnTo>
                  <a:lnTo>
                    <a:pt x="9581" y="1749"/>
                  </a:lnTo>
                  <a:lnTo>
                    <a:pt x="9589" y="1744"/>
                  </a:lnTo>
                  <a:lnTo>
                    <a:pt x="9598" y="1741"/>
                  </a:lnTo>
                  <a:lnTo>
                    <a:pt x="9740" y="1741"/>
                  </a:lnTo>
                  <a:close/>
                  <a:moveTo>
                    <a:pt x="9985" y="1741"/>
                  </a:moveTo>
                  <a:lnTo>
                    <a:pt x="9985" y="1639"/>
                  </a:lnTo>
                  <a:lnTo>
                    <a:pt x="9780" y="1639"/>
                  </a:lnTo>
                  <a:lnTo>
                    <a:pt x="9780" y="1741"/>
                  </a:lnTo>
                  <a:lnTo>
                    <a:pt x="9799" y="1741"/>
                  </a:lnTo>
                  <a:lnTo>
                    <a:pt x="9808" y="1743"/>
                  </a:lnTo>
                  <a:lnTo>
                    <a:pt x="9815" y="1748"/>
                  </a:lnTo>
                  <a:lnTo>
                    <a:pt x="9818" y="1754"/>
                  </a:lnTo>
                  <a:lnTo>
                    <a:pt x="9820" y="1762"/>
                  </a:lnTo>
                  <a:lnTo>
                    <a:pt x="9818" y="1768"/>
                  </a:lnTo>
                  <a:lnTo>
                    <a:pt x="9815" y="1775"/>
                  </a:lnTo>
                  <a:lnTo>
                    <a:pt x="9808" y="1780"/>
                  </a:lnTo>
                  <a:lnTo>
                    <a:pt x="9799" y="1781"/>
                  </a:lnTo>
                  <a:lnTo>
                    <a:pt x="9607" y="1781"/>
                  </a:lnTo>
                  <a:lnTo>
                    <a:pt x="9413" y="2048"/>
                  </a:lnTo>
                  <a:lnTo>
                    <a:pt x="10288" y="2048"/>
                  </a:lnTo>
                  <a:lnTo>
                    <a:pt x="11162" y="2048"/>
                  </a:lnTo>
                  <a:lnTo>
                    <a:pt x="10967" y="1781"/>
                  </a:lnTo>
                  <a:lnTo>
                    <a:pt x="9953" y="1781"/>
                  </a:lnTo>
                  <a:lnTo>
                    <a:pt x="9944" y="1780"/>
                  </a:lnTo>
                  <a:lnTo>
                    <a:pt x="9938" y="1775"/>
                  </a:lnTo>
                  <a:lnTo>
                    <a:pt x="9934" y="1768"/>
                  </a:lnTo>
                  <a:lnTo>
                    <a:pt x="9933" y="1762"/>
                  </a:lnTo>
                  <a:lnTo>
                    <a:pt x="9934" y="1754"/>
                  </a:lnTo>
                  <a:lnTo>
                    <a:pt x="9938" y="1748"/>
                  </a:lnTo>
                  <a:lnTo>
                    <a:pt x="9944" y="1743"/>
                  </a:lnTo>
                  <a:lnTo>
                    <a:pt x="9953" y="1741"/>
                  </a:lnTo>
                  <a:lnTo>
                    <a:pt x="9985" y="1741"/>
                  </a:lnTo>
                  <a:close/>
                  <a:moveTo>
                    <a:pt x="9372" y="2089"/>
                  </a:moveTo>
                  <a:lnTo>
                    <a:pt x="9357" y="2089"/>
                  </a:lnTo>
                  <a:lnTo>
                    <a:pt x="9357" y="2222"/>
                  </a:lnTo>
                  <a:lnTo>
                    <a:pt x="10285" y="2222"/>
                  </a:lnTo>
                  <a:lnTo>
                    <a:pt x="11215" y="2222"/>
                  </a:lnTo>
                  <a:lnTo>
                    <a:pt x="11215" y="2089"/>
                  </a:lnTo>
                  <a:lnTo>
                    <a:pt x="11205" y="2089"/>
                  </a:lnTo>
                  <a:lnTo>
                    <a:pt x="11198" y="2089"/>
                  </a:lnTo>
                  <a:lnTo>
                    <a:pt x="10288" y="2089"/>
                  </a:lnTo>
                  <a:lnTo>
                    <a:pt x="9379" y="2089"/>
                  </a:lnTo>
                  <a:lnTo>
                    <a:pt x="9372" y="2089"/>
                  </a:lnTo>
                  <a:close/>
                  <a:moveTo>
                    <a:pt x="11205" y="2089"/>
                  </a:moveTo>
                  <a:lnTo>
                    <a:pt x="11198" y="2089"/>
                  </a:lnTo>
                  <a:lnTo>
                    <a:pt x="11205" y="2089"/>
                  </a:lnTo>
                  <a:close/>
                  <a:moveTo>
                    <a:pt x="9379" y="2089"/>
                  </a:moveTo>
                  <a:lnTo>
                    <a:pt x="9372" y="2089"/>
                  </a:lnTo>
                  <a:lnTo>
                    <a:pt x="9379" y="2089"/>
                  </a:lnTo>
                  <a:close/>
                  <a:moveTo>
                    <a:pt x="11106" y="1136"/>
                  </a:moveTo>
                  <a:lnTo>
                    <a:pt x="11083" y="1126"/>
                  </a:lnTo>
                  <a:lnTo>
                    <a:pt x="11056" y="1122"/>
                  </a:lnTo>
                  <a:lnTo>
                    <a:pt x="11035" y="1125"/>
                  </a:lnTo>
                  <a:lnTo>
                    <a:pt x="11017" y="1130"/>
                  </a:lnTo>
                  <a:lnTo>
                    <a:pt x="10999" y="1140"/>
                  </a:lnTo>
                  <a:lnTo>
                    <a:pt x="10985" y="1152"/>
                  </a:lnTo>
                  <a:lnTo>
                    <a:pt x="10972" y="1167"/>
                  </a:lnTo>
                  <a:lnTo>
                    <a:pt x="10963" y="1185"/>
                  </a:lnTo>
                  <a:lnTo>
                    <a:pt x="10957" y="1204"/>
                  </a:lnTo>
                  <a:lnTo>
                    <a:pt x="10956" y="1225"/>
                  </a:lnTo>
                  <a:lnTo>
                    <a:pt x="10958" y="1246"/>
                  </a:lnTo>
                  <a:lnTo>
                    <a:pt x="11683" y="1245"/>
                  </a:lnTo>
                  <a:lnTo>
                    <a:pt x="11683" y="1227"/>
                  </a:lnTo>
                  <a:lnTo>
                    <a:pt x="11682" y="1208"/>
                  </a:lnTo>
                  <a:lnTo>
                    <a:pt x="11675" y="1190"/>
                  </a:lnTo>
                  <a:lnTo>
                    <a:pt x="11666" y="1174"/>
                  </a:lnTo>
                  <a:lnTo>
                    <a:pt x="11653" y="1159"/>
                  </a:lnTo>
                  <a:lnTo>
                    <a:pt x="11647" y="1153"/>
                  </a:lnTo>
                  <a:lnTo>
                    <a:pt x="11639" y="1148"/>
                  </a:lnTo>
                  <a:lnTo>
                    <a:pt x="11621" y="1139"/>
                  </a:lnTo>
                  <a:lnTo>
                    <a:pt x="11603" y="1133"/>
                  </a:lnTo>
                  <a:lnTo>
                    <a:pt x="11583" y="1131"/>
                  </a:lnTo>
                  <a:lnTo>
                    <a:pt x="11558" y="1134"/>
                  </a:lnTo>
                  <a:lnTo>
                    <a:pt x="11542" y="1138"/>
                  </a:lnTo>
                  <a:lnTo>
                    <a:pt x="11523" y="1139"/>
                  </a:lnTo>
                  <a:lnTo>
                    <a:pt x="11489" y="1133"/>
                  </a:lnTo>
                  <a:lnTo>
                    <a:pt x="11489" y="1113"/>
                  </a:lnTo>
                  <a:lnTo>
                    <a:pt x="11487" y="1096"/>
                  </a:lnTo>
                  <a:lnTo>
                    <a:pt x="11482" y="1078"/>
                  </a:lnTo>
                  <a:lnTo>
                    <a:pt x="11476" y="1061"/>
                  </a:lnTo>
                  <a:lnTo>
                    <a:pt x="11469" y="1044"/>
                  </a:lnTo>
                  <a:lnTo>
                    <a:pt x="11460" y="1030"/>
                  </a:lnTo>
                  <a:lnTo>
                    <a:pt x="11451" y="1016"/>
                  </a:lnTo>
                  <a:lnTo>
                    <a:pt x="11439" y="1002"/>
                  </a:lnTo>
                  <a:lnTo>
                    <a:pt x="11412" y="980"/>
                  </a:lnTo>
                  <a:lnTo>
                    <a:pt x="11383" y="964"/>
                  </a:lnTo>
                  <a:lnTo>
                    <a:pt x="11366" y="957"/>
                  </a:lnTo>
                  <a:lnTo>
                    <a:pt x="11349" y="954"/>
                  </a:lnTo>
                  <a:lnTo>
                    <a:pt x="11312" y="950"/>
                  </a:lnTo>
                  <a:lnTo>
                    <a:pt x="11278" y="954"/>
                  </a:lnTo>
                  <a:lnTo>
                    <a:pt x="11261" y="957"/>
                  </a:lnTo>
                  <a:lnTo>
                    <a:pt x="11246" y="963"/>
                  </a:lnTo>
                  <a:lnTo>
                    <a:pt x="11230" y="970"/>
                  </a:lnTo>
                  <a:lnTo>
                    <a:pt x="11216" y="978"/>
                  </a:lnTo>
                  <a:lnTo>
                    <a:pt x="11190" y="998"/>
                  </a:lnTo>
                  <a:lnTo>
                    <a:pt x="11170" y="1024"/>
                  </a:lnTo>
                  <a:lnTo>
                    <a:pt x="11153" y="1053"/>
                  </a:lnTo>
                  <a:lnTo>
                    <a:pt x="11147" y="1069"/>
                  </a:lnTo>
                  <a:lnTo>
                    <a:pt x="11142" y="1085"/>
                  </a:lnTo>
                  <a:lnTo>
                    <a:pt x="11138" y="1102"/>
                  </a:lnTo>
                  <a:lnTo>
                    <a:pt x="11137" y="1120"/>
                  </a:lnTo>
                  <a:lnTo>
                    <a:pt x="11134" y="1131"/>
                  </a:lnTo>
                  <a:lnTo>
                    <a:pt x="11126" y="1138"/>
                  </a:lnTo>
                  <a:lnTo>
                    <a:pt x="11122" y="1139"/>
                  </a:lnTo>
                  <a:lnTo>
                    <a:pt x="11117" y="1140"/>
                  </a:lnTo>
                  <a:lnTo>
                    <a:pt x="11106" y="1136"/>
                  </a:lnTo>
                  <a:close/>
                  <a:moveTo>
                    <a:pt x="11528" y="1106"/>
                  </a:moveTo>
                  <a:lnTo>
                    <a:pt x="11539" y="1098"/>
                  </a:lnTo>
                  <a:lnTo>
                    <a:pt x="11555" y="1094"/>
                  </a:lnTo>
                  <a:lnTo>
                    <a:pt x="11583" y="1090"/>
                  </a:lnTo>
                  <a:lnTo>
                    <a:pt x="11611" y="1094"/>
                  </a:lnTo>
                  <a:lnTo>
                    <a:pt x="11624" y="1097"/>
                  </a:lnTo>
                  <a:lnTo>
                    <a:pt x="11637" y="1102"/>
                  </a:lnTo>
                  <a:lnTo>
                    <a:pt x="11660" y="1115"/>
                  </a:lnTo>
                  <a:lnTo>
                    <a:pt x="11682" y="1131"/>
                  </a:lnTo>
                  <a:lnTo>
                    <a:pt x="11698" y="1151"/>
                  </a:lnTo>
                  <a:lnTo>
                    <a:pt x="11712" y="1174"/>
                  </a:lnTo>
                  <a:lnTo>
                    <a:pt x="11720" y="1199"/>
                  </a:lnTo>
                  <a:lnTo>
                    <a:pt x="11723" y="1213"/>
                  </a:lnTo>
                  <a:lnTo>
                    <a:pt x="11723" y="1227"/>
                  </a:lnTo>
                  <a:lnTo>
                    <a:pt x="11723" y="1243"/>
                  </a:lnTo>
                  <a:lnTo>
                    <a:pt x="11721" y="1262"/>
                  </a:lnTo>
                  <a:lnTo>
                    <a:pt x="11714" y="1278"/>
                  </a:lnTo>
                  <a:lnTo>
                    <a:pt x="11707" y="1284"/>
                  </a:lnTo>
                  <a:lnTo>
                    <a:pt x="11700" y="1285"/>
                  </a:lnTo>
                  <a:lnTo>
                    <a:pt x="10943" y="1286"/>
                  </a:lnTo>
                  <a:lnTo>
                    <a:pt x="10934" y="1285"/>
                  </a:lnTo>
                  <a:lnTo>
                    <a:pt x="10928" y="1280"/>
                  </a:lnTo>
                  <a:lnTo>
                    <a:pt x="10924" y="1271"/>
                  </a:lnTo>
                  <a:lnTo>
                    <a:pt x="10920" y="1262"/>
                  </a:lnTo>
                  <a:lnTo>
                    <a:pt x="10916" y="1240"/>
                  </a:lnTo>
                  <a:lnTo>
                    <a:pt x="10915" y="1225"/>
                  </a:lnTo>
                  <a:lnTo>
                    <a:pt x="10919" y="1197"/>
                  </a:lnTo>
                  <a:lnTo>
                    <a:pt x="10926" y="1170"/>
                  </a:lnTo>
                  <a:lnTo>
                    <a:pt x="10939" y="1145"/>
                  </a:lnTo>
                  <a:lnTo>
                    <a:pt x="10956" y="1125"/>
                  </a:lnTo>
                  <a:lnTo>
                    <a:pt x="10978" y="1107"/>
                  </a:lnTo>
                  <a:lnTo>
                    <a:pt x="10989" y="1099"/>
                  </a:lnTo>
                  <a:lnTo>
                    <a:pt x="11001" y="1094"/>
                  </a:lnTo>
                  <a:lnTo>
                    <a:pt x="11028" y="1085"/>
                  </a:lnTo>
                  <a:lnTo>
                    <a:pt x="11042" y="1083"/>
                  </a:lnTo>
                  <a:lnTo>
                    <a:pt x="11056" y="1083"/>
                  </a:lnTo>
                  <a:lnTo>
                    <a:pt x="11079" y="1084"/>
                  </a:lnTo>
                  <a:lnTo>
                    <a:pt x="11101" y="1089"/>
                  </a:lnTo>
                  <a:lnTo>
                    <a:pt x="11110" y="1052"/>
                  </a:lnTo>
                  <a:lnTo>
                    <a:pt x="11126" y="1019"/>
                  </a:lnTo>
                  <a:lnTo>
                    <a:pt x="11147" y="988"/>
                  </a:lnTo>
                  <a:lnTo>
                    <a:pt x="11173" y="961"/>
                  </a:lnTo>
                  <a:lnTo>
                    <a:pt x="11202" y="940"/>
                  </a:lnTo>
                  <a:lnTo>
                    <a:pt x="11237" y="923"/>
                  </a:lnTo>
                  <a:lnTo>
                    <a:pt x="11274" y="913"/>
                  </a:lnTo>
                  <a:lnTo>
                    <a:pt x="11312" y="910"/>
                  </a:lnTo>
                  <a:lnTo>
                    <a:pt x="11355" y="914"/>
                  </a:lnTo>
                  <a:lnTo>
                    <a:pt x="11374" y="918"/>
                  </a:lnTo>
                  <a:lnTo>
                    <a:pt x="11393" y="925"/>
                  </a:lnTo>
                  <a:lnTo>
                    <a:pt x="11428" y="942"/>
                  </a:lnTo>
                  <a:lnTo>
                    <a:pt x="11444" y="954"/>
                  </a:lnTo>
                  <a:lnTo>
                    <a:pt x="11458" y="966"/>
                  </a:lnTo>
                  <a:lnTo>
                    <a:pt x="11473" y="980"/>
                  </a:lnTo>
                  <a:lnTo>
                    <a:pt x="11485" y="996"/>
                  </a:lnTo>
                  <a:lnTo>
                    <a:pt x="11506" y="1029"/>
                  </a:lnTo>
                  <a:lnTo>
                    <a:pt x="11514" y="1047"/>
                  </a:lnTo>
                  <a:lnTo>
                    <a:pt x="11520" y="1066"/>
                  </a:lnTo>
                  <a:lnTo>
                    <a:pt x="11525" y="1085"/>
                  </a:lnTo>
                  <a:lnTo>
                    <a:pt x="11528" y="1106"/>
                  </a:lnTo>
                  <a:close/>
                  <a:moveTo>
                    <a:pt x="13515" y="644"/>
                  </a:moveTo>
                  <a:lnTo>
                    <a:pt x="13404" y="644"/>
                  </a:lnTo>
                  <a:lnTo>
                    <a:pt x="13404" y="754"/>
                  </a:lnTo>
                  <a:lnTo>
                    <a:pt x="13515" y="754"/>
                  </a:lnTo>
                  <a:lnTo>
                    <a:pt x="13515" y="644"/>
                  </a:lnTo>
                  <a:close/>
                  <a:moveTo>
                    <a:pt x="13534" y="605"/>
                  </a:moveTo>
                  <a:lnTo>
                    <a:pt x="13542" y="606"/>
                  </a:lnTo>
                  <a:lnTo>
                    <a:pt x="13549" y="611"/>
                  </a:lnTo>
                  <a:lnTo>
                    <a:pt x="13552" y="617"/>
                  </a:lnTo>
                  <a:lnTo>
                    <a:pt x="13555" y="624"/>
                  </a:lnTo>
                  <a:lnTo>
                    <a:pt x="13555" y="754"/>
                  </a:lnTo>
                  <a:lnTo>
                    <a:pt x="14078" y="754"/>
                  </a:lnTo>
                  <a:lnTo>
                    <a:pt x="14086" y="757"/>
                  </a:lnTo>
                  <a:lnTo>
                    <a:pt x="14092" y="761"/>
                  </a:lnTo>
                  <a:lnTo>
                    <a:pt x="14097" y="767"/>
                  </a:lnTo>
                  <a:lnTo>
                    <a:pt x="14099" y="775"/>
                  </a:lnTo>
                  <a:lnTo>
                    <a:pt x="14099" y="1471"/>
                  </a:lnTo>
                  <a:lnTo>
                    <a:pt x="14099" y="2170"/>
                  </a:lnTo>
                  <a:lnTo>
                    <a:pt x="14097" y="2177"/>
                  </a:lnTo>
                  <a:lnTo>
                    <a:pt x="14092" y="2184"/>
                  </a:lnTo>
                  <a:lnTo>
                    <a:pt x="14086" y="2188"/>
                  </a:lnTo>
                  <a:lnTo>
                    <a:pt x="14078" y="2189"/>
                  </a:lnTo>
                  <a:lnTo>
                    <a:pt x="14072" y="2188"/>
                  </a:lnTo>
                  <a:lnTo>
                    <a:pt x="14065" y="2184"/>
                  </a:lnTo>
                  <a:lnTo>
                    <a:pt x="14060" y="2177"/>
                  </a:lnTo>
                  <a:lnTo>
                    <a:pt x="14059" y="2170"/>
                  </a:lnTo>
                  <a:lnTo>
                    <a:pt x="14059" y="1482"/>
                  </a:lnTo>
                  <a:lnTo>
                    <a:pt x="14059" y="795"/>
                  </a:lnTo>
                  <a:lnTo>
                    <a:pt x="13534" y="795"/>
                  </a:lnTo>
                  <a:lnTo>
                    <a:pt x="13384" y="795"/>
                  </a:lnTo>
                  <a:lnTo>
                    <a:pt x="13150" y="795"/>
                  </a:lnTo>
                  <a:lnTo>
                    <a:pt x="13141" y="793"/>
                  </a:lnTo>
                  <a:lnTo>
                    <a:pt x="13134" y="789"/>
                  </a:lnTo>
                  <a:lnTo>
                    <a:pt x="13131" y="782"/>
                  </a:lnTo>
                  <a:lnTo>
                    <a:pt x="13129" y="775"/>
                  </a:lnTo>
                  <a:lnTo>
                    <a:pt x="13131" y="767"/>
                  </a:lnTo>
                  <a:lnTo>
                    <a:pt x="13134" y="761"/>
                  </a:lnTo>
                  <a:lnTo>
                    <a:pt x="13141" y="757"/>
                  </a:lnTo>
                  <a:lnTo>
                    <a:pt x="13150" y="754"/>
                  </a:lnTo>
                  <a:lnTo>
                    <a:pt x="13201" y="754"/>
                  </a:lnTo>
                  <a:lnTo>
                    <a:pt x="13201" y="612"/>
                  </a:lnTo>
                  <a:lnTo>
                    <a:pt x="12798" y="612"/>
                  </a:lnTo>
                  <a:lnTo>
                    <a:pt x="12798" y="754"/>
                  </a:lnTo>
                  <a:lnTo>
                    <a:pt x="12852" y="754"/>
                  </a:lnTo>
                  <a:lnTo>
                    <a:pt x="12861" y="757"/>
                  </a:lnTo>
                  <a:lnTo>
                    <a:pt x="12868" y="761"/>
                  </a:lnTo>
                  <a:lnTo>
                    <a:pt x="12872" y="767"/>
                  </a:lnTo>
                  <a:lnTo>
                    <a:pt x="12873" y="775"/>
                  </a:lnTo>
                  <a:lnTo>
                    <a:pt x="12872" y="782"/>
                  </a:lnTo>
                  <a:lnTo>
                    <a:pt x="12868" y="789"/>
                  </a:lnTo>
                  <a:lnTo>
                    <a:pt x="12861" y="793"/>
                  </a:lnTo>
                  <a:lnTo>
                    <a:pt x="12852" y="795"/>
                  </a:lnTo>
                  <a:lnTo>
                    <a:pt x="12664" y="795"/>
                  </a:lnTo>
                  <a:lnTo>
                    <a:pt x="12664" y="1810"/>
                  </a:lnTo>
                  <a:lnTo>
                    <a:pt x="12664" y="2826"/>
                  </a:lnTo>
                  <a:lnTo>
                    <a:pt x="12661" y="2835"/>
                  </a:lnTo>
                  <a:lnTo>
                    <a:pt x="12657" y="2840"/>
                  </a:lnTo>
                  <a:lnTo>
                    <a:pt x="12651" y="2844"/>
                  </a:lnTo>
                  <a:lnTo>
                    <a:pt x="12643" y="2845"/>
                  </a:lnTo>
                  <a:lnTo>
                    <a:pt x="12636" y="2844"/>
                  </a:lnTo>
                  <a:lnTo>
                    <a:pt x="12629" y="2840"/>
                  </a:lnTo>
                  <a:lnTo>
                    <a:pt x="12625" y="2835"/>
                  </a:lnTo>
                  <a:lnTo>
                    <a:pt x="12624" y="2826"/>
                  </a:lnTo>
                  <a:lnTo>
                    <a:pt x="12624" y="2313"/>
                  </a:lnTo>
                  <a:lnTo>
                    <a:pt x="12624" y="1800"/>
                  </a:lnTo>
                  <a:lnTo>
                    <a:pt x="12624" y="1287"/>
                  </a:lnTo>
                  <a:lnTo>
                    <a:pt x="12624" y="775"/>
                  </a:lnTo>
                  <a:lnTo>
                    <a:pt x="12625" y="767"/>
                  </a:lnTo>
                  <a:lnTo>
                    <a:pt x="12629" y="761"/>
                  </a:lnTo>
                  <a:lnTo>
                    <a:pt x="12636" y="757"/>
                  </a:lnTo>
                  <a:lnTo>
                    <a:pt x="12643" y="754"/>
                  </a:lnTo>
                  <a:lnTo>
                    <a:pt x="12759" y="754"/>
                  </a:lnTo>
                  <a:lnTo>
                    <a:pt x="12759" y="592"/>
                  </a:lnTo>
                  <a:lnTo>
                    <a:pt x="12760" y="584"/>
                  </a:lnTo>
                  <a:lnTo>
                    <a:pt x="12764" y="578"/>
                  </a:lnTo>
                  <a:lnTo>
                    <a:pt x="12770" y="574"/>
                  </a:lnTo>
                  <a:lnTo>
                    <a:pt x="12778" y="573"/>
                  </a:lnTo>
                  <a:lnTo>
                    <a:pt x="13220" y="573"/>
                  </a:lnTo>
                  <a:lnTo>
                    <a:pt x="13228" y="574"/>
                  </a:lnTo>
                  <a:lnTo>
                    <a:pt x="13234" y="578"/>
                  </a:lnTo>
                  <a:lnTo>
                    <a:pt x="13240" y="584"/>
                  </a:lnTo>
                  <a:lnTo>
                    <a:pt x="13241" y="592"/>
                  </a:lnTo>
                  <a:lnTo>
                    <a:pt x="13241" y="754"/>
                  </a:lnTo>
                  <a:lnTo>
                    <a:pt x="13364" y="754"/>
                  </a:lnTo>
                  <a:lnTo>
                    <a:pt x="13364" y="624"/>
                  </a:lnTo>
                  <a:lnTo>
                    <a:pt x="13365" y="617"/>
                  </a:lnTo>
                  <a:lnTo>
                    <a:pt x="13370" y="611"/>
                  </a:lnTo>
                  <a:lnTo>
                    <a:pt x="13377" y="606"/>
                  </a:lnTo>
                  <a:lnTo>
                    <a:pt x="13384" y="605"/>
                  </a:lnTo>
                  <a:lnTo>
                    <a:pt x="13534" y="605"/>
                  </a:lnTo>
                  <a:close/>
                  <a:moveTo>
                    <a:pt x="15835" y="2587"/>
                  </a:moveTo>
                  <a:lnTo>
                    <a:pt x="15677" y="2587"/>
                  </a:lnTo>
                  <a:lnTo>
                    <a:pt x="15677" y="3445"/>
                  </a:lnTo>
                  <a:lnTo>
                    <a:pt x="15677" y="4304"/>
                  </a:lnTo>
                  <a:lnTo>
                    <a:pt x="16008" y="4304"/>
                  </a:lnTo>
                  <a:lnTo>
                    <a:pt x="16008" y="3419"/>
                  </a:lnTo>
                  <a:lnTo>
                    <a:pt x="16008" y="2534"/>
                  </a:lnTo>
                  <a:lnTo>
                    <a:pt x="16009" y="2525"/>
                  </a:lnTo>
                  <a:lnTo>
                    <a:pt x="16012" y="2519"/>
                  </a:lnTo>
                  <a:lnTo>
                    <a:pt x="16016" y="2515"/>
                  </a:lnTo>
                  <a:lnTo>
                    <a:pt x="16021" y="2511"/>
                  </a:lnTo>
                  <a:lnTo>
                    <a:pt x="16027" y="2511"/>
                  </a:lnTo>
                  <a:lnTo>
                    <a:pt x="16032" y="2512"/>
                  </a:lnTo>
                  <a:lnTo>
                    <a:pt x="16039" y="2516"/>
                  </a:lnTo>
                  <a:lnTo>
                    <a:pt x="16045" y="2523"/>
                  </a:lnTo>
                  <a:lnTo>
                    <a:pt x="16536" y="3199"/>
                  </a:lnTo>
                  <a:lnTo>
                    <a:pt x="16536" y="2534"/>
                  </a:lnTo>
                  <a:lnTo>
                    <a:pt x="16538" y="2525"/>
                  </a:lnTo>
                  <a:lnTo>
                    <a:pt x="16540" y="2519"/>
                  </a:lnTo>
                  <a:lnTo>
                    <a:pt x="16544" y="2515"/>
                  </a:lnTo>
                  <a:lnTo>
                    <a:pt x="16549" y="2511"/>
                  </a:lnTo>
                  <a:lnTo>
                    <a:pt x="16556" y="2511"/>
                  </a:lnTo>
                  <a:lnTo>
                    <a:pt x="16562" y="2512"/>
                  </a:lnTo>
                  <a:lnTo>
                    <a:pt x="16567" y="2516"/>
                  </a:lnTo>
                  <a:lnTo>
                    <a:pt x="16573" y="2523"/>
                  </a:lnTo>
                  <a:lnTo>
                    <a:pt x="17076" y="3214"/>
                  </a:lnTo>
                  <a:lnTo>
                    <a:pt x="17076" y="2534"/>
                  </a:lnTo>
                  <a:lnTo>
                    <a:pt x="17077" y="2525"/>
                  </a:lnTo>
                  <a:lnTo>
                    <a:pt x="17080" y="2519"/>
                  </a:lnTo>
                  <a:lnTo>
                    <a:pt x="17084" y="2515"/>
                  </a:lnTo>
                  <a:lnTo>
                    <a:pt x="17089" y="2511"/>
                  </a:lnTo>
                  <a:lnTo>
                    <a:pt x="17094" y="2511"/>
                  </a:lnTo>
                  <a:lnTo>
                    <a:pt x="17100" y="2512"/>
                  </a:lnTo>
                  <a:lnTo>
                    <a:pt x="17107" y="2516"/>
                  </a:lnTo>
                  <a:lnTo>
                    <a:pt x="17112" y="2523"/>
                  </a:lnTo>
                  <a:lnTo>
                    <a:pt x="17640" y="3249"/>
                  </a:lnTo>
                  <a:lnTo>
                    <a:pt x="17644" y="3258"/>
                  </a:lnTo>
                  <a:lnTo>
                    <a:pt x="17644" y="3265"/>
                  </a:lnTo>
                  <a:lnTo>
                    <a:pt x="17642" y="3272"/>
                  </a:lnTo>
                  <a:lnTo>
                    <a:pt x="17636" y="3277"/>
                  </a:lnTo>
                  <a:lnTo>
                    <a:pt x="17630" y="3281"/>
                  </a:lnTo>
                  <a:lnTo>
                    <a:pt x="17622" y="3281"/>
                  </a:lnTo>
                  <a:lnTo>
                    <a:pt x="17615" y="3280"/>
                  </a:lnTo>
                  <a:lnTo>
                    <a:pt x="17608" y="3273"/>
                  </a:lnTo>
                  <a:lnTo>
                    <a:pt x="17116" y="2595"/>
                  </a:lnTo>
                  <a:lnTo>
                    <a:pt x="17116" y="3262"/>
                  </a:lnTo>
                  <a:lnTo>
                    <a:pt x="17113" y="3271"/>
                  </a:lnTo>
                  <a:lnTo>
                    <a:pt x="17108" y="3278"/>
                  </a:lnTo>
                  <a:lnTo>
                    <a:pt x="17099" y="3281"/>
                  </a:lnTo>
                  <a:lnTo>
                    <a:pt x="17090" y="3281"/>
                  </a:lnTo>
                  <a:lnTo>
                    <a:pt x="17080" y="3281"/>
                  </a:lnTo>
                  <a:lnTo>
                    <a:pt x="17074" y="3278"/>
                  </a:lnTo>
                  <a:lnTo>
                    <a:pt x="17070" y="3273"/>
                  </a:lnTo>
                  <a:lnTo>
                    <a:pt x="16577" y="2595"/>
                  </a:lnTo>
                  <a:lnTo>
                    <a:pt x="16577" y="3258"/>
                  </a:lnTo>
                  <a:lnTo>
                    <a:pt x="16577" y="3264"/>
                  </a:lnTo>
                  <a:lnTo>
                    <a:pt x="16575" y="3269"/>
                  </a:lnTo>
                  <a:lnTo>
                    <a:pt x="16571" y="3276"/>
                  </a:lnTo>
                  <a:lnTo>
                    <a:pt x="16563" y="3281"/>
                  </a:lnTo>
                  <a:lnTo>
                    <a:pt x="16554" y="3281"/>
                  </a:lnTo>
                  <a:lnTo>
                    <a:pt x="16547" y="3278"/>
                  </a:lnTo>
                  <a:lnTo>
                    <a:pt x="16541" y="3276"/>
                  </a:lnTo>
                  <a:lnTo>
                    <a:pt x="16539" y="3271"/>
                  </a:lnTo>
                  <a:lnTo>
                    <a:pt x="16049" y="2595"/>
                  </a:lnTo>
                  <a:lnTo>
                    <a:pt x="16049" y="3450"/>
                  </a:lnTo>
                  <a:lnTo>
                    <a:pt x="16049" y="4304"/>
                  </a:lnTo>
                  <a:lnTo>
                    <a:pt x="16844" y="4304"/>
                  </a:lnTo>
                  <a:lnTo>
                    <a:pt x="16853" y="4305"/>
                  </a:lnTo>
                  <a:lnTo>
                    <a:pt x="16859" y="4310"/>
                  </a:lnTo>
                  <a:lnTo>
                    <a:pt x="16863" y="4317"/>
                  </a:lnTo>
                  <a:lnTo>
                    <a:pt x="16865" y="4324"/>
                  </a:lnTo>
                  <a:lnTo>
                    <a:pt x="16863" y="4331"/>
                  </a:lnTo>
                  <a:lnTo>
                    <a:pt x="16859" y="4337"/>
                  </a:lnTo>
                  <a:lnTo>
                    <a:pt x="16853" y="4342"/>
                  </a:lnTo>
                  <a:lnTo>
                    <a:pt x="16844" y="4343"/>
                  </a:lnTo>
                  <a:lnTo>
                    <a:pt x="16250" y="4343"/>
                  </a:lnTo>
                  <a:lnTo>
                    <a:pt x="15657" y="4343"/>
                  </a:lnTo>
                  <a:lnTo>
                    <a:pt x="14760" y="4343"/>
                  </a:lnTo>
                  <a:lnTo>
                    <a:pt x="13864" y="4343"/>
                  </a:lnTo>
                  <a:lnTo>
                    <a:pt x="13856" y="4342"/>
                  </a:lnTo>
                  <a:lnTo>
                    <a:pt x="13850" y="4338"/>
                  </a:lnTo>
                  <a:lnTo>
                    <a:pt x="13846" y="4332"/>
                  </a:lnTo>
                  <a:lnTo>
                    <a:pt x="13843" y="4324"/>
                  </a:lnTo>
                  <a:lnTo>
                    <a:pt x="13843" y="3455"/>
                  </a:lnTo>
                  <a:lnTo>
                    <a:pt x="13843" y="2587"/>
                  </a:lnTo>
                  <a:lnTo>
                    <a:pt x="13686" y="2587"/>
                  </a:lnTo>
                  <a:lnTo>
                    <a:pt x="13677" y="2585"/>
                  </a:lnTo>
                  <a:lnTo>
                    <a:pt x="13670" y="2581"/>
                  </a:lnTo>
                  <a:lnTo>
                    <a:pt x="13667" y="2575"/>
                  </a:lnTo>
                  <a:lnTo>
                    <a:pt x="13665" y="2567"/>
                  </a:lnTo>
                  <a:lnTo>
                    <a:pt x="13667" y="2560"/>
                  </a:lnTo>
                  <a:lnTo>
                    <a:pt x="13670" y="2553"/>
                  </a:lnTo>
                  <a:lnTo>
                    <a:pt x="13677" y="2549"/>
                  </a:lnTo>
                  <a:lnTo>
                    <a:pt x="13686" y="2547"/>
                  </a:lnTo>
                  <a:lnTo>
                    <a:pt x="13963" y="2547"/>
                  </a:lnTo>
                  <a:lnTo>
                    <a:pt x="13963" y="2374"/>
                  </a:lnTo>
                  <a:lnTo>
                    <a:pt x="13964" y="2367"/>
                  </a:lnTo>
                  <a:lnTo>
                    <a:pt x="13968" y="2360"/>
                  </a:lnTo>
                  <a:lnTo>
                    <a:pt x="13974" y="2355"/>
                  </a:lnTo>
                  <a:lnTo>
                    <a:pt x="13982" y="2354"/>
                  </a:lnTo>
                  <a:lnTo>
                    <a:pt x="14750" y="2354"/>
                  </a:lnTo>
                  <a:lnTo>
                    <a:pt x="15519" y="2354"/>
                  </a:lnTo>
                  <a:lnTo>
                    <a:pt x="15527" y="2355"/>
                  </a:lnTo>
                  <a:lnTo>
                    <a:pt x="15534" y="2360"/>
                  </a:lnTo>
                  <a:lnTo>
                    <a:pt x="15537" y="2367"/>
                  </a:lnTo>
                  <a:lnTo>
                    <a:pt x="15539" y="2374"/>
                  </a:lnTo>
                  <a:lnTo>
                    <a:pt x="15539" y="2547"/>
                  </a:lnTo>
                  <a:lnTo>
                    <a:pt x="15835" y="2547"/>
                  </a:lnTo>
                  <a:lnTo>
                    <a:pt x="15844" y="2549"/>
                  </a:lnTo>
                  <a:lnTo>
                    <a:pt x="15850" y="2553"/>
                  </a:lnTo>
                  <a:lnTo>
                    <a:pt x="15854" y="2560"/>
                  </a:lnTo>
                  <a:lnTo>
                    <a:pt x="15855" y="2567"/>
                  </a:lnTo>
                  <a:lnTo>
                    <a:pt x="15854" y="2575"/>
                  </a:lnTo>
                  <a:lnTo>
                    <a:pt x="15850" y="2581"/>
                  </a:lnTo>
                  <a:lnTo>
                    <a:pt x="15844" y="2585"/>
                  </a:lnTo>
                  <a:lnTo>
                    <a:pt x="15835" y="2587"/>
                  </a:lnTo>
                  <a:close/>
                  <a:moveTo>
                    <a:pt x="15636" y="2587"/>
                  </a:moveTo>
                  <a:lnTo>
                    <a:pt x="14760" y="2587"/>
                  </a:lnTo>
                  <a:lnTo>
                    <a:pt x="13885" y="2587"/>
                  </a:lnTo>
                  <a:lnTo>
                    <a:pt x="13885" y="3445"/>
                  </a:lnTo>
                  <a:lnTo>
                    <a:pt x="13885" y="4304"/>
                  </a:lnTo>
                  <a:lnTo>
                    <a:pt x="14760" y="4304"/>
                  </a:lnTo>
                  <a:lnTo>
                    <a:pt x="15636" y="4304"/>
                  </a:lnTo>
                  <a:lnTo>
                    <a:pt x="15636" y="3445"/>
                  </a:lnTo>
                  <a:lnTo>
                    <a:pt x="15636" y="2587"/>
                  </a:lnTo>
                  <a:close/>
                  <a:moveTo>
                    <a:pt x="14002" y="2547"/>
                  </a:moveTo>
                  <a:lnTo>
                    <a:pt x="14750" y="2547"/>
                  </a:lnTo>
                  <a:lnTo>
                    <a:pt x="15499" y="2547"/>
                  </a:lnTo>
                  <a:lnTo>
                    <a:pt x="15499" y="2393"/>
                  </a:lnTo>
                  <a:lnTo>
                    <a:pt x="14750" y="2393"/>
                  </a:lnTo>
                  <a:lnTo>
                    <a:pt x="14002" y="2393"/>
                  </a:lnTo>
                  <a:lnTo>
                    <a:pt x="14002" y="2547"/>
                  </a:lnTo>
                  <a:close/>
                  <a:moveTo>
                    <a:pt x="15171" y="3639"/>
                  </a:moveTo>
                  <a:lnTo>
                    <a:pt x="15171" y="3751"/>
                  </a:lnTo>
                  <a:lnTo>
                    <a:pt x="15168" y="3760"/>
                  </a:lnTo>
                  <a:lnTo>
                    <a:pt x="15164" y="3765"/>
                  </a:lnTo>
                  <a:lnTo>
                    <a:pt x="15158" y="3769"/>
                  </a:lnTo>
                  <a:lnTo>
                    <a:pt x="15150" y="3771"/>
                  </a:lnTo>
                  <a:lnTo>
                    <a:pt x="15142" y="3769"/>
                  </a:lnTo>
                  <a:lnTo>
                    <a:pt x="15136" y="3765"/>
                  </a:lnTo>
                  <a:lnTo>
                    <a:pt x="15132" y="3760"/>
                  </a:lnTo>
                  <a:lnTo>
                    <a:pt x="15131" y="3751"/>
                  </a:lnTo>
                  <a:lnTo>
                    <a:pt x="15131" y="3639"/>
                  </a:lnTo>
                  <a:lnTo>
                    <a:pt x="15132" y="3630"/>
                  </a:lnTo>
                  <a:lnTo>
                    <a:pt x="15136" y="3624"/>
                  </a:lnTo>
                  <a:lnTo>
                    <a:pt x="15142" y="3620"/>
                  </a:lnTo>
                  <a:lnTo>
                    <a:pt x="15150" y="3618"/>
                  </a:lnTo>
                  <a:lnTo>
                    <a:pt x="15158" y="3620"/>
                  </a:lnTo>
                  <a:lnTo>
                    <a:pt x="15164" y="3624"/>
                  </a:lnTo>
                  <a:lnTo>
                    <a:pt x="15168" y="3630"/>
                  </a:lnTo>
                  <a:lnTo>
                    <a:pt x="15171" y="3639"/>
                  </a:lnTo>
                  <a:close/>
                  <a:moveTo>
                    <a:pt x="14908" y="3639"/>
                  </a:moveTo>
                  <a:lnTo>
                    <a:pt x="14908" y="3751"/>
                  </a:lnTo>
                  <a:lnTo>
                    <a:pt x="14905" y="3760"/>
                  </a:lnTo>
                  <a:lnTo>
                    <a:pt x="14901" y="3765"/>
                  </a:lnTo>
                  <a:lnTo>
                    <a:pt x="14895" y="3769"/>
                  </a:lnTo>
                  <a:lnTo>
                    <a:pt x="14887" y="3771"/>
                  </a:lnTo>
                  <a:lnTo>
                    <a:pt x="14880" y="3769"/>
                  </a:lnTo>
                  <a:lnTo>
                    <a:pt x="14873" y="3765"/>
                  </a:lnTo>
                  <a:lnTo>
                    <a:pt x="14869" y="3760"/>
                  </a:lnTo>
                  <a:lnTo>
                    <a:pt x="14867" y="3751"/>
                  </a:lnTo>
                  <a:lnTo>
                    <a:pt x="14867" y="3639"/>
                  </a:lnTo>
                  <a:lnTo>
                    <a:pt x="14869" y="3630"/>
                  </a:lnTo>
                  <a:lnTo>
                    <a:pt x="14873" y="3624"/>
                  </a:lnTo>
                  <a:lnTo>
                    <a:pt x="14880" y="3620"/>
                  </a:lnTo>
                  <a:lnTo>
                    <a:pt x="14887" y="3618"/>
                  </a:lnTo>
                  <a:lnTo>
                    <a:pt x="14895" y="3620"/>
                  </a:lnTo>
                  <a:lnTo>
                    <a:pt x="14901" y="3624"/>
                  </a:lnTo>
                  <a:lnTo>
                    <a:pt x="14905" y="3630"/>
                  </a:lnTo>
                  <a:lnTo>
                    <a:pt x="14908" y="3639"/>
                  </a:lnTo>
                  <a:close/>
                  <a:moveTo>
                    <a:pt x="14644" y="3639"/>
                  </a:moveTo>
                  <a:lnTo>
                    <a:pt x="14644" y="3751"/>
                  </a:lnTo>
                  <a:lnTo>
                    <a:pt x="14642" y="3760"/>
                  </a:lnTo>
                  <a:lnTo>
                    <a:pt x="14637" y="3765"/>
                  </a:lnTo>
                  <a:lnTo>
                    <a:pt x="14631" y="3769"/>
                  </a:lnTo>
                  <a:lnTo>
                    <a:pt x="14624" y="3771"/>
                  </a:lnTo>
                  <a:lnTo>
                    <a:pt x="14617" y="3769"/>
                  </a:lnTo>
                  <a:lnTo>
                    <a:pt x="14610" y="3765"/>
                  </a:lnTo>
                  <a:lnTo>
                    <a:pt x="14606" y="3760"/>
                  </a:lnTo>
                  <a:lnTo>
                    <a:pt x="14604" y="3751"/>
                  </a:lnTo>
                  <a:lnTo>
                    <a:pt x="14604" y="3639"/>
                  </a:lnTo>
                  <a:lnTo>
                    <a:pt x="14606" y="3630"/>
                  </a:lnTo>
                  <a:lnTo>
                    <a:pt x="14610" y="3624"/>
                  </a:lnTo>
                  <a:lnTo>
                    <a:pt x="14617" y="3620"/>
                  </a:lnTo>
                  <a:lnTo>
                    <a:pt x="14624" y="3618"/>
                  </a:lnTo>
                  <a:lnTo>
                    <a:pt x="14631" y="3620"/>
                  </a:lnTo>
                  <a:lnTo>
                    <a:pt x="14637" y="3624"/>
                  </a:lnTo>
                  <a:lnTo>
                    <a:pt x="14642" y="3630"/>
                  </a:lnTo>
                  <a:lnTo>
                    <a:pt x="14644" y="3639"/>
                  </a:lnTo>
                  <a:close/>
                  <a:moveTo>
                    <a:pt x="14381" y="3639"/>
                  </a:moveTo>
                  <a:lnTo>
                    <a:pt x="14381" y="3751"/>
                  </a:lnTo>
                  <a:lnTo>
                    <a:pt x="14379" y="3760"/>
                  </a:lnTo>
                  <a:lnTo>
                    <a:pt x="14374" y="3765"/>
                  </a:lnTo>
                  <a:lnTo>
                    <a:pt x="14368" y="3769"/>
                  </a:lnTo>
                  <a:lnTo>
                    <a:pt x="14362" y="3771"/>
                  </a:lnTo>
                  <a:lnTo>
                    <a:pt x="14354" y="3769"/>
                  </a:lnTo>
                  <a:lnTo>
                    <a:pt x="14347" y="3765"/>
                  </a:lnTo>
                  <a:lnTo>
                    <a:pt x="14342" y="3760"/>
                  </a:lnTo>
                  <a:lnTo>
                    <a:pt x="14341" y="3751"/>
                  </a:lnTo>
                  <a:lnTo>
                    <a:pt x="14341" y="3639"/>
                  </a:lnTo>
                  <a:lnTo>
                    <a:pt x="14342" y="3630"/>
                  </a:lnTo>
                  <a:lnTo>
                    <a:pt x="14347" y="3624"/>
                  </a:lnTo>
                  <a:lnTo>
                    <a:pt x="14354" y="3620"/>
                  </a:lnTo>
                  <a:lnTo>
                    <a:pt x="14362" y="3618"/>
                  </a:lnTo>
                  <a:lnTo>
                    <a:pt x="14368" y="3620"/>
                  </a:lnTo>
                  <a:lnTo>
                    <a:pt x="14374" y="3624"/>
                  </a:lnTo>
                  <a:lnTo>
                    <a:pt x="14379" y="3630"/>
                  </a:lnTo>
                  <a:lnTo>
                    <a:pt x="14381" y="3639"/>
                  </a:lnTo>
                  <a:close/>
                  <a:moveTo>
                    <a:pt x="14118" y="3639"/>
                  </a:moveTo>
                  <a:lnTo>
                    <a:pt x="14118" y="3751"/>
                  </a:lnTo>
                  <a:lnTo>
                    <a:pt x="14117" y="3760"/>
                  </a:lnTo>
                  <a:lnTo>
                    <a:pt x="14111" y="3765"/>
                  </a:lnTo>
                  <a:lnTo>
                    <a:pt x="14105" y="3769"/>
                  </a:lnTo>
                  <a:lnTo>
                    <a:pt x="14097" y="3771"/>
                  </a:lnTo>
                  <a:lnTo>
                    <a:pt x="14091" y="3769"/>
                  </a:lnTo>
                  <a:lnTo>
                    <a:pt x="14085" y="3765"/>
                  </a:lnTo>
                  <a:lnTo>
                    <a:pt x="14079" y="3760"/>
                  </a:lnTo>
                  <a:lnTo>
                    <a:pt x="14078" y="3751"/>
                  </a:lnTo>
                  <a:lnTo>
                    <a:pt x="14078" y="3639"/>
                  </a:lnTo>
                  <a:lnTo>
                    <a:pt x="14079" y="3630"/>
                  </a:lnTo>
                  <a:lnTo>
                    <a:pt x="14085" y="3624"/>
                  </a:lnTo>
                  <a:lnTo>
                    <a:pt x="14091" y="3620"/>
                  </a:lnTo>
                  <a:lnTo>
                    <a:pt x="14097" y="3618"/>
                  </a:lnTo>
                  <a:lnTo>
                    <a:pt x="14105" y="3620"/>
                  </a:lnTo>
                  <a:lnTo>
                    <a:pt x="14111" y="3624"/>
                  </a:lnTo>
                  <a:lnTo>
                    <a:pt x="14117" y="3630"/>
                  </a:lnTo>
                  <a:lnTo>
                    <a:pt x="14118" y="3639"/>
                  </a:lnTo>
                  <a:close/>
                  <a:moveTo>
                    <a:pt x="15434" y="3392"/>
                  </a:moveTo>
                  <a:lnTo>
                    <a:pt x="15434" y="3505"/>
                  </a:lnTo>
                  <a:lnTo>
                    <a:pt x="15432" y="3514"/>
                  </a:lnTo>
                  <a:lnTo>
                    <a:pt x="15427" y="3520"/>
                  </a:lnTo>
                  <a:lnTo>
                    <a:pt x="15421" y="3524"/>
                  </a:lnTo>
                  <a:lnTo>
                    <a:pt x="15413" y="3524"/>
                  </a:lnTo>
                  <a:lnTo>
                    <a:pt x="15407" y="3524"/>
                  </a:lnTo>
                  <a:lnTo>
                    <a:pt x="15400" y="3520"/>
                  </a:lnTo>
                  <a:lnTo>
                    <a:pt x="15395" y="3514"/>
                  </a:lnTo>
                  <a:lnTo>
                    <a:pt x="15394" y="3505"/>
                  </a:lnTo>
                  <a:lnTo>
                    <a:pt x="15394" y="3392"/>
                  </a:lnTo>
                  <a:lnTo>
                    <a:pt x="15395" y="3383"/>
                  </a:lnTo>
                  <a:lnTo>
                    <a:pt x="15400" y="3378"/>
                  </a:lnTo>
                  <a:lnTo>
                    <a:pt x="15407" y="3374"/>
                  </a:lnTo>
                  <a:lnTo>
                    <a:pt x="15413" y="3373"/>
                  </a:lnTo>
                  <a:lnTo>
                    <a:pt x="15421" y="3374"/>
                  </a:lnTo>
                  <a:lnTo>
                    <a:pt x="15427" y="3378"/>
                  </a:lnTo>
                  <a:lnTo>
                    <a:pt x="15432" y="3383"/>
                  </a:lnTo>
                  <a:lnTo>
                    <a:pt x="15434" y="3392"/>
                  </a:lnTo>
                  <a:close/>
                  <a:moveTo>
                    <a:pt x="15171" y="3392"/>
                  </a:moveTo>
                  <a:lnTo>
                    <a:pt x="15171" y="3505"/>
                  </a:lnTo>
                  <a:lnTo>
                    <a:pt x="15168" y="3514"/>
                  </a:lnTo>
                  <a:lnTo>
                    <a:pt x="15164" y="3520"/>
                  </a:lnTo>
                  <a:lnTo>
                    <a:pt x="15158" y="3524"/>
                  </a:lnTo>
                  <a:lnTo>
                    <a:pt x="15150" y="3524"/>
                  </a:lnTo>
                  <a:lnTo>
                    <a:pt x="15142" y="3524"/>
                  </a:lnTo>
                  <a:lnTo>
                    <a:pt x="15136" y="3520"/>
                  </a:lnTo>
                  <a:lnTo>
                    <a:pt x="15132" y="3514"/>
                  </a:lnTo>
                  <a:lnTo>
                    <a:pt x="15131" y="3505"/>
                  </a:lnTo>
                  <a:lnTo>
                    <a:pt x="15131" y="3392"/>
                  </a:lnTo>
                  <a:lnTo>
                    <a:pt x="15132" y="3383"/>
                  </a:lnTo>
                  <a:lnTo>
                    <a:pt x="15136" y="3378"/>
                  </a:lnTo>
                  <a:lnTo>
                    <a:pt x="15142" y="3374"/>
                  </a:lnTo>
                  <a:lnTo>
                    <a:pt x="15150" y="3373"/>
                  </a:lnTo>
                  <a:lnTo>
                    <a:pt x="15158" y="3374"/>
                  </a:lnTo>
                  <a:lnTo>
                    <a:pt x="15164" y="3378"/>
                  </a:lnTo>
                  <a:lnTo>
                    <a:pt x="15168" y="3383"/>
                  </a:lnTo>
                  <a:lnTo>
                    <a:pt x="15171" y="3392"/>
                  </a:lnTo>
                  <a:close/>
                  <a:moveTo>
                    <a:pt x="14908" y="3392"/>
                  </a:moveTo>
                  <a:lnTo>
                    <a:pt x="14908" y="3505"/>
                  </a:lnTo>
                  <a:lnTo>
                    <a:pt x="14905" y="3514"/>
                  </a:lnTo>
                  <a:lnTo>
                    <a:pt x="14901" y="3520"/>
                  </a:lnTo>
                  <a:lnTo>
                    <a:pt x="14895" y="3524"/>
                  </a:lnTo>
                  <a:lnTo>
                    <a:pt x="14887" y="3524"/>
                  </a:lnTo>
                  <a:lnTo>
                    <a:pt x="14880" y="3524"/>
                  </a:lnTo>
                  <a:lnTo>
                    <a:pt x="14873" y="3520"/>
                  </a:lnTo>
                  <a:lnTo>
                    <a:pt x="14869" y="3514"/>
                  </a:lnTo>
                  <a:lnTo>
                    <a:pt x="14867" y="3505"/>
                  </a:lnTo>
                  <a:lnTo>
                    <a:pt x="14867" y="3392"/>
                  </a:lnTo>
                  <a:lnTo>
                    <a:pt x="14869" y="3383"/>
                  </a:lnTo>
                  <a:lnTo>
                    <a:pt x="14873" y="3378"/>
                  </a:lnTo>
                  <a:lnTo>
                    <a:pt x="14880" y="3374"/>
                  </a:lnTo>
                  <a:lnTo>
                    <a:pt x="14887" y="3373"/>
                  </a:lnTo>
                  <a:lnTo>
                    <a:pt x="14895" y="3374"/>
                  </a:lnTo>
                  <a:lnTo>
                    <a:pt x="14901" y="3378"/>
                  </a:lnTo>
                  <a:lnTo>
                    <a:pt x="14905" y="3383"/>
                  </a:lnTo>
                  <a:lnTo>
                    <a:pt x="14908" y="3392"/>
                  </a:lnTo>
                  <a:close/>
                  <a:moveTo>
                    <a:pt x="14644" y="3392"/>
                  </a:moveTo>
                  <a:lnTo>
                    <a:pt x="14644" y="3505"/>
                  </a:lnTo>
                  <a:lnTo>
                    <a:pt x="14642" y="3514"/>
                  </a:lnTo>
                  <a:lnTo>
                    <a:pt x="14637" y="3520"/>
                  </a:lnTo>
                  <a:lnTo>
                    <a:pt x="14631" y="3524"/>
                  </a:lnTo>
                  <a:lnTo>
                    <a:pt x="14624" y="3524"/>
                  </a:lnTo>
                  <a:lnTo>
                    <a:pt x="14617" y="3524"/>
                  </a:lnTo>
                  <a:lnTo>
                    <a:pt x="14610" y="3520"/>
                  </a:lnTo>
                  <a:lnTo>
                    <a:pt x="14606" y="3514"/>
                  </a:lnTo>
                  <a:lnTo>
                    <a:pt x="14604" y="3505"/>
                  </a:lnTo>
                  <a:lnTo>
                    <a:pt x="14604" y="3392"/>
                  </a:lnTo>
                  <a:lnTo>
                    <a:pt x="14606" y="3383"/>
                  </a:lnTo>
                  <a:lnTo>
                    <a:pt x="14610" y="3378"/>
                  </a:lnTo>
                  <a:lnTo>
                    <a:pt x="14617" y="3374"/>
                  </a:lnTo>
                  <a:lnTo>
                    <a:pt x="14624" y="3373"/>
                  </a:lnTo>
                  <a:lnTo>
                    <a:pt x="14631" y="3374"/>
                  </a:lnTo>
                  <a:lnTo>
                    <a:pt x="14637" y="3378"/>
                  </a:lnTo>
                  <a:lnTo>
                    <a:pt x="14642" y="3383"/>
                  </a:lnTo>
                  <a:lnTo>
                    <a:pt x="14644" y="3392"/>
                  </a:lnTo>
                  <a:close/>
                  <a:moveTo>
                    <a:pt x="14381" y="3392"/>
                  </a:moveTo>
                  <a:lnTo>
                    <a:pt x="14381" y="3505"/>
                  </a:lnTo>
                  <a:lnTo>
                    <a:pt x="14379" y="3514"/>
                  </a:lnTo>
                  <a:lnTo>
                    <a:pt x="14374" y="3520"/>
                  </a:lnTo>
                  <a:lnTo>
                    <a:pt x="14368" y="3524"/>
                  </a:lnTo>
                  <a:lnTo>
                    <a:pt x="14362" y="3524"/>
                  </a:lnTo>
                  <a:lnTo>
                    <a:pt x="14354" y="3524"/>
                  </a:lnTo>
                  <a:lnTo>
                    <a:pt x="14347" y="3520"/>
                  </a:lnTo>
                  <a:lnTo>
                    <a:pt x="14342" y="3514"/>
                  </a:lnTo>
                  <a:lnTo>
                    <a:pt x="14341" y="3505"/>
                  </a:lnTo>
                  <a:lnTo>
                    <a:pt x="14341" y="3392"/>
                  </a:lnTo>
                  <a:lnTo>
                    <a:pt x="14342" y="3383"/>
                  </a:lnTo>
                  <a:lnTo>
                    <a:pt x="14347" y="3378"/>
                  </a:lnTo>
                  <a:lnTo>
                    <a:pt x="14354" y="3374"/>
                  </a:lnTo>
                  <a:lnTo>
                    <a:pt x="14362" y="3373"/>
                  </a:lnTo>
                  <a:lnTo>
                    <a:pt x="14368" y="3374"/>
                  </a:lnTo>
                  <a:lnTo>
                    <a:pt x="14374" y="3378"/>
                  </a:lnTo>
                  <a:lnTo>
                    <a:pt x="14379" y="3383"/>
                  </a:lnTo>
                  <a:lnTo>
                    <a:pt x="14381" y="3392"/>
                  </a:lnTo>
                  <a:close/>
                  <a:moveTo>
                    <a:pt x="14118" y="3392"/>
                  </a:moveTo>
                  <a:lnTo>
                    <a:pt x="14118" y="3505"/>
                  </a:lnTo>
                  <a:lnTo>
                    <a:pt x="14117" y="3514"/>
                  </a:lnTo>
                  <a:lnTo>
                    <a:pt x="14111" y="3520"/>
                  </a:lnTo>
                  <a:lnTo>
                    <a:pt x="14105" y="3524"/>
                  </a:lnTo>
                  <a:lnTo>
                    <a:pt x="14097" y="3524"/>
                  </a:lnTo>
                  <a:lnTo>
                    <a:pt x="14091" y="3524"/>
                  </a:lnTo>
                  <a:lnTo>
                    <a:pt x="14085" y="3520"/>
                  </a:lnTo>
                  <a:lnTo>
                    <a:pt x="14079" y="3514"/>
                  </a:lnTo>
                  <a:lnTo>
                    <a:pt x="14078" y="3505"/>
                  </a:lnTo>
                  <a:lnTo>
                    <a:pt x="14078" y="3392"/>
                  </a:lnTo>
                  <a:lnTo>
                    <a:pt x="14079" y="3383"/>
                  </a:lnTo>
                  <a:lnTo>
                    <a:pt x="14085" y="3378"/>
                  </a:lnTo>
                  <a:lnTo>
                    <a:pt x="14091" y="3374"/>
                  </a:lnTo>
                  <a:lnTo>
                    <a:pt x="14097" y="3373"/>
                  </a:lnTo>
                  <a:lnTo>
                    <a:pt x="14105" y="3374"/>
                  </a:lnTo>
                  <a:lnTo>
                    <a:pt x="14111" y="3378"/>
                  </a:lnTo>
                  <a:lnTo>
                    <a:pt x="14117" y="3383"/>
                  </a:lnTo>
                  <a:lnTo>
                    <a:pt x="14118" y="3392"/>
                  </a:lnTo>
                  <a:close/>
                  <a:moveTo>
                    <a:pt x="15434" y="3145"/>
                  </a:moveTo>
                  <a:lnTo>
                    <a:pt x="15434" y="3258"/>
                  </a:lnTo>
                  <a:lnTo>
                    <a:pt x="15432" y="3267"/>
                  </a:lnTo>
                  <a:lnTo>
                    <a:pt x="15427" y="3273"/>
                  </a:lnTo>
                  <a:lnTo>
                    <a:pt x="15421" y="3277"/>
                  </a:lnTo>
                  <a:lnTo>
                    <a:pt x="15413" y="3278"/>
                  </a:lnTo>
                  <a:lnTo>
                    <a:pt x="15407" y="3277"/>
                  </a:lnTo>
                  <a:lnTo>
                    <a:pt x="15400" y="3273"/>
                  </a:lnTo>
                  <a:lnTo>
                    <a:pt x="15395" y="3267"/>
                  </a:lnTo>
                  <a:lnTo>
                    <a:pt x="15394" y="3258"/>
                  </a:lnTo>
                  <a:lnTo>
                    <a:pt x="15394" y="3145"/>
                  </a:lnTo>
                  <a:lnTo>
                    <a:pt x="15395" y="3138"/>
                  </a:lnTo>
                  <a:lnTo>
                    <a:pt x="15400" y="3131"/>
                  </a:lnTo>
                  <a:lnTo>
                    <a:pt x="15407" y="3127"/>
                  </a:lnTo>
                  <a:lnTo>
                    <a:pt x="15413" y="3126"/>
                  </a:lnTo>
                  <a:lnTo>
                    <a:pt x="15421" y="3127"/>
                  </a:lnTo>
                  <a:lnTo>
                    <a:pt x="15427" y="3131"/>
                  </a:lnTo>
                  <a:lnTo>
                    <a:pt x="15432" y="3138"/>
                  </a:lnTo>
                  <a:lnTo>
                    <a:pt x="15434" y="3145"/>
                  </a:lnTo>
                  <a:close/>
                  <a:moveTo>
                    <a:pt x="15171" y="3145"/>
                  </a:moveTo>
                  <a:lnTo>
                    <a:pt x="15171" y="3258"/>
                  </a:lnTo>
                  <a:lnTo>
                    <a:pt x="15168" y="3267"/>
                  </a:lnTo>
                  <a:lnTo>
                    <a:pt x="15164" y="3273"/>
                  </a:lnTo>
                  <a:lnTo>
                    <a:pt x="15158" y="3277"/>
                  </a:lnTo>
                  <a:lnTo>
                    <a:pt x="15150" y="3278"/>
                  </a:lnTo>
                  <a:lnTo>
                    <a:pt x="15142" y="3277"/>
                  </a:lnTo>
                  <a:lnTo>
                    <a:pt x="15136" y="3273"/>
                  </a:lnTo>
                  <a:lnTo>
                    <a:pt x="15132" y="3267"/>
                  </a:lnTo>
                  <a:lnTo>
                    <a:pt x="15131" y="3258"/>
                  </a:lnTo>
                  <a:lnTo>
                    <a:pt x="15131" y="3145"/>
                  </a:lnTo>
                  <a:lnTo>
                    <a:pt x="15132" y="3138"/>
                  </a:lnTo>
                  <a:lnTo>
                    <a:pt x="15136" y="3131"/>
                  </a:lnTo>
                  <a:lnTo>
                    <a:pt x="15142" y="3127"/>
                  </a:lnTo>
                  <a:lnTo>
                    <a:pt x="15150" y="3126"/>
                  </a:lnTo>
                  <a:lnTo>
                    <a:pt x="15158" y="3127"/>
                  </a:lnTo>
                  <a:lnTo>
                    <a:pt x="15164" y="3131"/>
                  </a:lnTo>
                  <a:lnTo>
                    <a:pt x="15168" y="3138"/>
                  </a:lnTo>
                  <a:lnTo>
                    <a:pt x="15171" y="3145"/>
                  </a:lnTo>
                  <a:close/>
                  <a:moveTo>
                    <a:pt x="14908" y="3145"/>
                  </a:moveTo>
                  <a:lnTo>
                    <a:pt x="14908" y="3258"/>
                  </a:lnTo>
                  <a:lnTo>
                    <a:pt x="14905" y="3267"/>
                  </a:lnTo>
                  <a:lnTo>
                    <a:pt x="14901" y="3273"/>
                  </a:lnTo>
                  <a:lnTo>
                    <a:pt x="14895" y="3277"/>
                  </a:lnTo>
                  <a:lnTo>
                    <a:pt x="14887" y="3278"/>
                  </a:lnTo>
                  <a:lnTo>
                    <a:pt x="14880" y="3277"/>
                  </a:lnTo>
                  <a:lnTo>
                    <a:pt x="14873" y="3273"/>
                  </a:lnTo>
                  <a:lnTo>
                    <a:pt x="14869" y="3267"/>
                  </a:lnTo>
                  <a:lnTo>
                    <a:pt x="14867" y="3258"/>
                  </a:lnTo>
                  <a:lnTo>
                    <a:pt x="14867" y="3145"/>
                  </a:lnTo>
                  <a:lnTo>
                    <a:pt x="14869" y="3138"/>
                  </a:lnTo>
                  <a:lnTo>
                    <a:pt x="14873" y="3131"/>
                  </a:lnTo>
                  <a:lnTo>
                    <a:pt x="14880" y="3127"/>
                  </a:lnTo>
                  <a:lnTo>
                    <a:pt x="14887" y="3126"/>
                  </a:lnTo>
                  <a:lnTo>
                    <a:pt x="14895" y="3127"/>
                  </a:lnTo>
                  <a:lnTo>
                    <a:pt x="14901" y="3131"/>
                  </a:lnTo>
                  <a:lnTo>
                    <a:pt x="14905" y="3138"/>
                  </a:lnTo>
                  <a:lnTo>
                    <a:pt x="14908" y="3145"/>
                  </a:lnTo>
                  <a:close/>
                  <a:moveTo>
                    <a:pt x="14644" y="3145"/>
                  </a:moveTo>
                  <a:lnTo>
                    <a:pt x="14644" y="3258"/>
                  </a:lnTo>
                  <a:lnTo>
                    <a:pt x="14642" y="3267"/>
                  </a:lnTo>
                  <a:lnTo>
                    <a:pt x="14637" y="3273"/>
                  </a:lnTo>
                  <a:lnTo>
                    <a:pt x="14631" y="3277"/>
                  </a:lnTo>
                  <a:lnTo>
                    <a:pt x="14624" y="3278"/>
                  </a:lnTo>
                  <a:lnTo>
                    <a:pt x="14617" y="3277"/>
                  </a:lnTo>
                  <a:lnTo>
                    <a:pt x="14610" y="3273"/>
                  </a:lnTo>
                  <a:lnTo>
                    <a:pt x="14606" y="3267"/>
                  </a:lnTo>
                  <a:lnTo>
                    <a:pt x="14604" y="3258"/>
                  </a:lnTo>
                  <a:lnTo>
                    <a:pt x="14604" y="3145"/>
                  </a:lnTo>
                  <a:lnTo>
                    <a:pt x="14606" y="3138"/>
                  </a:lnTo>
                  <a:lnTo>
                    <a:pt x="14610" y="3131"/>
                  </a:lnTo>
                  <a:lnTo>
                    <a:pt x="14617" y="3127"/>
                  </a:lnTo>
                  <a:lnTo>
                    <a:pt x="14624" y="3126"/>
                  </a:lnTo>
                  <a:lnTo>
                    <a:pt x="14631" y="3127"/>
                  </a:lnTo>
                  <a:lnTo>
                    <a:pt x="14637" y="3131"/>
                  </a:lnTo>
                  <a:lnTo>
                    <a:pt x="14642" y="3138"/>
                  </a:lnTo>
                  <a:lnTo>
                    <a:pt x="14644" y="3145"/>
                  </a:lnTo>
                  <a:close/>
                  <a:moveTo>
                    <a:pt x="14381" y="3145"/>
                  </a:moveTo>
                  <a:lnTo>
                    <a:pt x="14381" y="3258"/>
                  </a:lnTo>
                  <a:lnTo>
                    <a:pt x="14379" y="3267"/>
                  </a:lnTo>
                  <a:lnTo>
                    <a:pt x="14374" y="3273"/>
                  </a:lnTo>
                  <a:lnTo>
                    <a:pt x="14368" y="3277"/>
                  </a:lnTo>
                  <a:lnTo>
                    <a:pt x="14362" y="3278"/>
                  </a:lnTo>
                  <a:lnTo>
                    <a:pt x="14354" y="3277"/>
                  </a:lnTo>
                  <a:lnTo>
                    <a:pt x="14347" y="3273"/>
                  </a:lnTo>
                  <a:lnTo>
                    <a:pt x="14342" y="3267"/>
                  </a:lnTo>
                  <a:lnTo>
                    <a:pt x="14341" y="3258"/>
                  </a:lnTo>
                  <a:lnTo>
                    <a:pt x="14341" y="3145"/>
                  </a:lnTo>
                  <a:lnTo>
                    <a:pt x="14342" y="3138"/>
                  </a:lnTo>
                  <a:lnTo>
                    <a:pt x="14347" y="3131"/>
                  </a:lnTo>
                  <a:lnTo>
                    <a:pt x="14354" y="3127"/>
                  </a:lnTo>
                  <a:lnTo>
                    <a:pt x="14362" y="3126"/>
                  </a:lnTo>
                  <a:lnTo>
                    <a:pt x="14368" y="3127"/>
                  </a:lnTo>
                  <a:lnTo>
                    <a:pt x="14374" y="3131"/>
                  </a:lnTo>
                  <a:lnTo>
                    <a:pt x="14379" y="3138"/>
                  </a:lnTo>
                  <a:lnTo>
                    <a:pt x="14381" y="3145"/>
                  </a:lnTo>
                  <a:close/>
                  <a:moveTo>
                    <a:pt x="14118" y="3145"/>
                  </a:moveTo>
                  <a:lnTo>
                    <a:pt x="14118" y="3258"/>
                  </a:lnTo>
                  <a:lnTo>
                    <a:pt x="14117" y="3267"/>
                  </a:lnTo>
                  <a:lnTo>
                    <a:pt x="14111" y="3273"/>
                  </a:lnTo>
                  <a:lnTo>
                    <a:pt x="14105" y="3277"/>
                  </a:lnTo>
                  <a:lnTo>
                    <a:pt x="14097" y="3278"/>
                  </a:lnTo>
                  <a:lnTo>
                    <a:pt x="14091" y="3277"/>
                  </a:lnTo>
                  <a:lnTo>
                    <a:pt x="14085" y="3273"/>
                  </a:lnTo>
                  <a:lnTo>
                    <a:pt x="14079" y="3267"/>
                  </a:lnTo>
                  <a:lnTo>
                    <a:pt x="14078" y="3258"/>
                  </a:lnTo>
                  <a:lnTo>
                    <a:pt x="14078" y="3145"/>
                  </a:lnTo>
                  <a:lnTo>
                    <a:pt x="14079" y="3138"/>
                  </a:lnTo>
                  <a:lnTo>
                    <a:pt x="14085" y="3131"/>
                  </a:lnTo>
                  <a:lnTo>
                    <a:pt x="14091" y="3127"/>
                  </a:lnTo>
                  <a:lnTo>
                    <a:pt x="14097" y="3126"/>
                  </a:lnTo>
                  <a:lnTo>
                    <a:pt x="14105" y="3127"/>
                  </a:lnTo>
                  <a:lnTo>
                    <a:pt x="14111" y="3131"/>
                  </a:lnTo>
                  <a:lnTo>
                    <a:pt x="14117" y="3138"/>
                  </a:lnTo>
                  <a:lnTo>
                    <a:pt x="14118" y="3145"/>
                  </a:lnTo>
                  <a:close/>
                  <a:moveTo>
                    <a:pt x="15434" y="2900"/>
                  </a:moveTo>
                  <a:lnTo>
                    <a:pt x="15434" y="3011"/>
                  </a:lnTo>
                  <a:lnTo>
                    <a:pt x="15432" y="3020"/>
                  </a:lnTo>
                  <a:lnTo>
                    <a:pt x="15427" y="3026"/>
                  </a:lnTo>
                  <a:lnTo>
                    <a:pt x="15421" y="3030"/>
                  </a:lnTo>
                  <a:lnTo>
                    <a:pt x="15413" y="3031"/>
                  </a:lnTo>
                  <a:lnTo>
                    <a:pt x="15407" y="3030"/>
                  </a:lnTo>
                  <a:lnTo>
                    <a:pt x="15400" y="3026"/>
                  </a:lnTo>
                  <a:lnTo>
                    <a:pt x="15395" y="3020"/>
                  </a:lnTo>
                  <a:lnTo>
                    <a:pt x="15394" y="3011"/>
                  </a:lnTo>
                  <a:lnTo>
                    <a:pt x="15394" y="2900"/>
                  </a:lnTo>
                  <a:lnTo>
                    <a:pt x="15395" y="2891"/>
                  </a:lnTo>
                  <a:lnTo>
                    <a:pt x="15400" y="2884"/>
                  </a:lnTo>
                  <a:lnTo>
                    <a:pt x="15407" y="2881"/>
                  </a:lnTo>
                  <a:lnTo>
                    <a:pt x="15413" y="2879"/>
                  </a:lnTo>
                  <a:lnTo>
                    <a:pt x="15421" y="2881"/>
                  </a:lnTo>
                  <a:lnTo>
                    <a:pt x="15427" y="2884"/>
                  </a:lnTo>
                  <a:lnTo>
                    <a:pt x="15432" y="2891"/>
                  </a:lnTo>
                  <a:lnTo>
                    <a:pt x="15434" y="2900"/>
                  </a:lnTo>
                  <a:close/>
                  <a:moveTo>
                    <a:pt x="15171" y="2900"/>
                  </a:moveTo>
                  <a:lnTo>
                    <a:pt x="15171" y="3011"/>
                  </a:lnTo>
                  <a:lnTo>
                    <a:pt x="15168" y="3020"/>
                  </a:lnTo>
                  <a:lnTo>
                    <a:pt x="15164" y="3026"/>
                  </a:lnTo>
                  <a:lnTo>
                    <a:pt x="15158" y="3030"/>
                  </a:lnTo>
                  <a:lnTo>
                    <a:pt x="15150" y="3031"/>
                  </a:lnTo>
                  <a:lnTo>
                    <a:pt x="15142" y="3030"/>
                  </a:lnTo>
                  <a:lnTo>
                    <a:pt x="15136" y="3026"/>
                  </a:lnTo>
                  <a:lnTo>
                    <a:pt x="15132" y="3020"/>
                  </a:lnTo>
                  <a:lnTo>
                    <a:pt x="15131" y="3011"/>
                  </a:lnTo>
                  <a:lnTo>
                    <a:pt x="15131" y="2900"/>
                  </a:lnTo>
                  <a:lnTo>
                    <a:pt x="15132" y="2891"/>
                  </a:lnTo>
                  <a:lnTo>
                    <a:pt x="15136" y="2884"/>
                  </a:lnTo>
                  <a:lnTo>
                    <a:pt x="15142" y="2881"/>
                  </a:lnTo>
                  <a:lnTo>
                    <a:pt x="15150" y="2879"/>
                  </a:lnTo>
                  <a:lnTo>
                    <a:pt x="15158" y="2881"/>
                  </a:lnTo>
                  <a:lnTo>
                    <a:pt x="15164" y="2884"/>
                  </a:lnTo>
                  <a:lnTo>
                    <a:pt x="15168" y="2891"/>
                  </a:lnTo>
                  <a:lnTo>
                    <a:pt x="15171" y="2900"/>
                  </a:lnTo>
                  <a:close/>
                  <a:moveTo>
                    <a:pt x="14908" y="2900"/>
                  </a:moveTo>
                  <a:lnTo>
                    <a:pt x="14908" y="3011"/>
                  </a:lnTo>
                  <a:lnTo>
                    <a:pt x="14905" y="3020"/>
                  </a:lnTo>
                  <a:lnTo>
                    <a:pt x="14901" y="3026"/>
                  </a:lnTo>
                  <a:lnTo>
                    <a:pt x="14895" y="3030"/>
                  </a:lnTo>
                  <a:lnTo>
                    <a:pt x="14887" y="3031"/>
                  </a:lnTo>
                  <a:lnTo>
                    <a:pt x="14880" y="3030"/>
                  </a:lnTo>
                  <a:lnTo>
                    <a:pt x="14873" y="3026"/>
                  </a:lnTo>
                  <a:lnTo>
                    <a:pt x="14869" y="3020"/>
                  </a:lnTo>
                  <a:lnTo>
                    <a:pt x="14867" y="3011"/>
                  </a:lnTo>
                  <a:lnTo>
                    <a:pt x="14867" y="2900"/>
                  </a:lnTo>
                  <a:lnTo>
                    <a:pt x="14869" y="2891"/>
                  </a:lnTo>
                  <a:lnTo>
                    <a:pt x="14873" y="2884"/>
                  </a:lnTo>
                  <a:lnTo>
                    <a:pt x="14880" y="2881"/>
                  </a:lnTo>
                  <a:lnTo>
                    <a:pt x="14887" y="2879"/>
                  </a:lnTo>
                  <a:lnTo>
                    <a:pt x="14895" y="2881"/>
                  </a:lnTo>
                  <a:lnTo>
                    <a:pt x="14901" y="2884"/>
                  </a:lnTo>
                  <a:lnTo>
                    <a:pt x="14905" y="2891"/>
                  </a:lnTo>
                  <a:lnTo>
                    <a:pt x="14908" y="2900"/>
                  </a:lnTo>
                  <a:close/>
                  <a:moveTo>
                    <a:pt x="14644" y="2900"/>
                  </a:moveTo>
                  <a:lnTo>
                    <a:pt x="14644" y="3011"/>
                  </a:lnTo>
                  <a:lnTo>
                    <a:pt x="14642" y="3020"/>
                  </a:lnTo>
                  <a:lnTo>
                    <a:pt x="14637" y="3026"/>
                  </a:lnTo>
                  <a:lnTo>
                    <a:pt x="14631" y="3030"/>
                  </a:lnTo>
                  <a:lnTo>
                    <a:pt x="14624" y="3031"/>
                  </a:lnTo>
                  <a:lnTo>
                    <a:pt x="14617" y="3030"/>
                  </a:lnTo>
                  <a:lnTo>
                    <a:pt x="14610" y="3026"/>
                  </a:lnTo>
                  <a:lnTo>
                    <a:pt x="14606" y="3020"/>
                  </a:lnTo>
                  <a:lnTo>
                    <a:pt x="14604" y="3011"/>
                  </a:lnTo>
                  <a:lnTo>
                    <a:pt x="14604" y="2900"/>
                  </a:lnTo>
                  <a:lnTo>
                    <a:pt x="14606" y="2891"/>
                  </a:lnTo>
                  <a:lnTo>
                    <a:pt x="14610" y="2884"/>
                  </a:lnTo>
                  <a:lnTo>
                    <a:pt x="14617" y="2881"/>
                  </a:lnTo>
                  <a:lnTo>
                    <a:pt x="14624" y="2879"/>
                  </a:lnTo>
                  <a:lnTo>
                    <a:pt x="14631" y="2881"/>
                  </a:lnTo>
                  <a:lnTo>
                    <a:pt x="14637" y="2884"/>
                  </a:lnTo>
                  <a:lnTo>
                    <a:pt x="14642" y="2891"/>
                  </a:lnTo>
                  <a:lnTo>
                    <a:pt x="14644" y="2900"/>
                  </a:lnTo>
                  <a:close/>
                  <a:moveTo>
                    <a:pt x="14381" y="2900"/>
                  </a:moveTo>
                  <a:lnTo>
                    <a:pt x="14381" y="3011"/>
                  </a:lnTo>
                  <a:lnTo>
                    <a:pt x="14379" y="3020"/>
                  </a:lnTo>
                  <a:lnTo>
                    <a:pt x="14374" y="3026"/>
                  </a:lnTo>
                  <a:lnTo>
                    <a:pt x="14368" y="3030"/>
                  </a:lnTo>
                  <a:lnTo>
                    <a:pt x="14362" y="3031"/>
                  </a:lnTo>
                  <a:lnTo>
                    <a:pt x="14354" y="3030"/>
                  </a:lnTo>
                  <a:lnTo>
                    <a:pt x="14347" y="3026"/>
                  </a:lnTo>
                  <a:lnTo>
                    <a:pt x="14342" y="3020"/>
                  </a:lnTo>
                  <a:lnTo>
                    <a:pt x="14341" y="3011"/>
                  </a:lnTo>
                  <a:lnTo>
                    <a:pt x="14341" y="2900"/>
                  </a:lnTo>
                  <a:lnTo>
                    <a:pt x="14342" y="2891"/>
                  </a:lnTo>
                  <a:lnTo>
                    <a:pt x="14347" y="2884"/>
                  </a:lnTo>
                  <a:lnTo>
                    <a:pt x="14354" y="2881"/>
                  </a:lnTo>
                  <a:lnTo>
                    <a:pt x="14362" y="2879"/>
                  </a:lnTo>
                  <a:lnTo>
                    <a:pt x="14368" y="2881"/>
                  </a:lnTo>
                  <a:lnTo>
                    <a:pt x="14374" y="2884"/>
                  </a:lnTo>
                  <a:lnTo>
                    <a:pt x="14379" y="2891"/>
                  </a:lnTo>
                  <a:lnTo>
                    <a:pt x="14381" y="2900"/>
                  </a:lnTo>
                  <a:close/>
                  <a:moveTo>
                    <a:pt x="14118" y="2900"/>
                  </a:moveTo>
                  <a:lnTo>
                    <a:pt x="14118" y="3011"/>
                  </a:lnTo>
                  <a:lnTo>
                    <a:pt x="14117" y="3020"/>
                  </a:lnTo>
                  <a:lnTo>
                    <a:pt x="14111" y="3026"/>
                  </a:lnTo>
                  <a:lnTo>
                    <a:pt x="14105" y="3030"/>
                  </a:lnTo>
                  <a:lnTo>
                    <a:pt x="14097" y="3031"/>
                  </a:lnTo>
                  <a:lnTo>
                    <a:pt x="14091" y="3030"/>
                  </a:lnTo>
                  <a:lnTo>
                    <a:pt x="14085" y="3026"/>
                  </a:lnTo>
                  <a:lnTo>
                    <a:pt x="14079" y="3020"/>
                  </a:lnTo>
                  <a:lnTo>
                    <a:pt x="14078" y="3011"/>
                  </a:lnTo>
                  <a:lnTo>
                    <a:pt x="14078" y="2900"/>
                  </a:lnTo>
                  <a:lnTo>
                    <a:pt x="14079" y="2891"/>
                  </a:lnTo>
                  <a:lnTo>
                    <a:pt x="14085" y="2884"/>
                  </a:lnTo>
                  <a:lnTo>
                    <a:pt x="14091" y="2881"/>
                  </a:lnTo>
                  <a:lnTo>
                    <a:pt x="14097" y="2879"/>
                  </a:lnTo>
                  <a:lnTo>
                    <a:pt x="14105" y="2881"/>
                  </a:lnTo>
                  <a:lnTo>
                    <a:pt x="14111" y="2884"/>
                  </a:lnTo>
                  <a:lnTo>
                    <a:pt x="14117" y="2891"/>
                  </a:lnTo>
                  <a:lnTo>
                    <a:pt x="14118" y="2900"/>
                  </a:lnTo>
                  <a:close/>
                  <a:moveTo>
                    <a:pt x="15434" y="3639"/>
                  </a:moveTo>
                  <a:lnTo>
                    <a:pt x="15434" y="3751"/>
                  </a:lnTo>
                  <a:lnTo>
                    <a:pt x="15432" y="3760"/>
                  </a:lnTo>
                  <a:lnTo>
                    <a:pt x="15427" y="3765"/>
                  </a:lnTo>
                  <a:lnTo>
                    <a:pt x="15421" y="3769"/>
                  </a:lnTo>
                  <a:lnTo>
                    <a:pt x="15413" y="3771"/>
                  </a:lnTo>
                  <a:lnTo>
                    <a:pt x="15407" y="3769"/>
                  </a:lnTo>
                  <a:lnTo>
                    <a:pt x="15400" y="3765"/>
                  </a:lnTo>
                  <a:lnTo>
                    <a:pt x="15395" y="3760"/>
                  </a:lnTo>
                  <a:lnTo>
                    <a:pt x="15394" y="3751"/>
                  </a:lnTo>
                  <a:lnTo>
                    <a:pt x="15394" y="3639"/>
                  </a:lnTo>
                  <a:lnTo>
                    <a:pt x="15395" y="3630"/>
                  </a:lnTo>
                  <a:lnTo>
                    <a:pt x="15400" y="3624"/>
                  </a:lnTo>
                  <a:lnTo>
                    <a:pt x="15407" y="3620"/>
                  </a:lnTo>
                  <a:lnTo>
                    <a:pt x="15413" y="3618"/>
                  </a:lnTo>
                  <a:lnTo>
                    <a:pt x="15421" y="3620"/>
                  </a:lnTo>
                  <a:lnTo>
                    <a:pt x="15427" y="3624"/>
                  </a:lnTo>
                  <a:lnTo>
                    <a:pt x="15432" y="3630"/>
                  </a:lnTo>
                  <a:lnTo>
                    <a:pt x="15434" y="3639"/>
                  </a:lnTo>
                  <a:close/>
                  <a:moveTo>
                    <a:pt x="18172" y="964"/>
                  </a:moveTo>
                  <a:lnTo>
                    <a:pt x="17643" y="964"/>
                  </a:lnTo>
                  <a:lnTo>
                    <a:pt x="17643" y="1019"/>
                  </a:lnTo>
                  <a:lnTo>
                    <a:pt x="18172" y="1019"/>
                  </a:lnTo>
                  <a:lnTo>
                    <a:pt x="18172" y="964"/>
                  </a:lnTo>
                  <a:close/>
                  <a:moveTo>
                    <a:pt x="17665" y="1323"/>
                  </a:moveTo>
                  <a:lnTo>
                    <a:pt x="18163" y="2010"/>
                  </a:lnTo>
                  <a:lnTo>
                    <a:pt x="18134" y="1058"/>
                  </a:lnTo>
                  <a:lnTo>
                    <a:pt x="17680" y="1058"/>
                  </a:lnTo>
                  <a:lnTo>
                    <a:pt x="17665" y="1322"/>
                  </a:lnTo>
                  <a:lnTo>
                    <a:pt x="17665" y="1323"/>
                  </a:lnTo>
                  <a:close/>
                  <a:moveTo>
                    <a:pt x="17638" y="1754"/>
                  </a:moveTo>
                  <a:lnTo>
                    <a:pt x="18179" y="2500"/>
                  </a:lnTo>
                  <a:lnTo>
                    <a:pt x="18166" y="2079"/>
                  </a:lnTo>
                  <a:lnTo>
                    <a:pt x="18161" y="2074"/>
                  </a:lnTo>
                  <a:lnTo>
                    <a:pt x="17661" y="1385"/>
                  </a:lnTo>
                  <a:lnTo>
                    <a:pt x="17638" y="1754"/>
                  </a:lnTo>
                  <a:close/>
                  <a:moveTo>
                    <a:pt x="17611" y="2186"/>
                  </a:moveTo>
                  <a:lnTo>
                    <a:pt x="18194" y="2989"/>
                  </a:lnTo>
                  <a:lnTo>
                    <a:pt x="18181" y="2571"/>
                  </a:lnTo>
                  <a:lnTo>
                    <a:pt x="17634" y="1817"/>
                  </a:lnTo>
                  <a:lnTo>
                    <a:pt x="17611" y="2186"/>
                  </a:lnTo>
                  <a:close/>
                  <a:moveTo>
                    <a:pt x="22919" y="2556"/>
                  </a:moveTo>
                  <a:lnTo>
                    <a:pt x="22895" y="2525"/>
                  </a:lnTo>
                  <a:lnTo>
                    <a:pt x="22869" y="2494"/>
                  </a:lnTo>
                  <a:lnTo>
                    <a:pt x="22841" y="2464"/>
                  </a:lnTo>
                  <a:lnTo>
                    <a:pt x="22812" y="2434"/>
                  </a:lnTo>
                  <a:lnTo>
                    <a:pt x="22748" y="2377"/>
                  </a:lnTo>
                  <a:lnTo>
                    <a:pt x="22714" y="2350"/>
                  </a:lnTo>
                  <a:lnTo>
                    <a:pt x="22678" y="2323"/>
                  </a:lnTo>
                  <a:lnTo>
                    <a:pt x="22603" y="2272"/>
                  </a:lnTo>
                  <a:lnTo>
                    <a:pt x="22522" y="2225"/>
                  </a:lnTo>
                  <a:lnTo>
                    <a:pt x="22436" y="2181"/>
                  </a:lnTo>
                  <a:lnTo>
                    <a:pt x="22346" y="2142"/>
                  </a:lnTo>
                  <a:lnTo>
                    <a:pt x="22250" y="2104"/>
                  </a:lnTo>
                  <a:lnTo>
                    <a:pt x="22151" y="2072"/>
                  </a:lnTo>
                  <a:lnTo>
                    <a:pt x="22048" y="2046"/>
                  </a:lnTo>
                  <a:lnTo>
                    <a:pt x="21995" y="2033"/>
                  </a:lnTo>
                  <a:lnTo>
                    <a:pt x="21941" y="2023"/>
                  </a:lnTo>
                  <a:lnTo>
                    <a:pt x="21831" y="2003"/>
                  </a:lnTo>
                  <a:lnTo>
                    <a:pt x="21774" y="1997"/>
                  </a:lnTo>
                  <a:lnTo>
                    <a:pt x="21718" y="1991"/>
                  </a:lnTo>
                  <a:lnTo>
                    <a:pt x="21601" y="1983"/>
                  </a:lnTo>
                  <a:lnTo>
                    <a:pt x="21483" y="1980"/>
                  </a:lnTo>
                  <a:lnTo>
                    <a:pt x="21365" y="1983"/>
                  </a:lnTo>
                  <a:lnTo>
                    <a:pt x="21249" y="1991"/>
                  </a:lnTo>
                  <a:lnTo>
                    <a:pt x="21136" y="2003"/>
                  </a:lnTo>
                  <a:lnTo>
                    <a:pt x="21026" y="2023"/>
                  </a:lnTo>
                  <a:lnTo>
                    <a:pt x="20972" y="2033"/>
                  </a:lnTo>
                  <a:lnTo>
                    <a:pt x="20919" y="2046"/>
                  </a:lnTo>
                  <a:lnTo>
                    <a:pt x="20815" y="2072"/>
                  </a:lnTo>
                  <a:lnTo>
                    <a:pt x="20717" y="2104"/>
                  </a:lnTo>
                  <a:lnTo>
                    <a:pt x="20622" y="2142"/>
                  </a:lnTo>
                  <a:lnTo>
                    <a:pt x="20531" y="2181"/>
                  </a:lnTo>
                  <a:lnTo>
                    <a:pt x="20445" y="2225"/>
                  </a:lnTo>
                  <a:lnTo>
                    <a:pt x="20364" y="2272"/>
                  </a:lnTo>
                  <a:lnTo>
                    <a:pt x="20288" y="2323"/>
                  </a:lnTo>
                  <a:lnTo>
                    <a:pt x="20219" y="2377"/>
                  </a:lnTo>
                  <a:lnTo>
                    <a:pt x="20187" y="2405"/>
                  </a:lnTo>
                  <a:lnTo>
                    <a:pt x="20155" y="2434"/>
                  </a:lnTo>
                  <a:lnTo>
                    <a:pt x="20125" y="2464"/>
                  </a:lnTo>
                  <a:lnTo>
                    <a:pt x="20098" y="2494"/>
                  </a:lnTo>
                  <a:lnTo>
                    <a:pt x="20047" y="2556"/>
                  </a:lnTo>
                  <a:lnTo>
                    <a:pt x="20765" y="2556"/>
                  </a:lnTo>
                  <a:lnTo>
                    <a:pt x="21483" y="2556"/>
                  </a:lnTo>
                  <a:lnTo>
                    <a:pt x="22201" y="2556"/>
                  </a:lnTo>
                  <a:lnTo>
                    <a:pt x="22919" y="2556"/>
                  </a:lnTo>
                  <a:close/>
                  <a:moveTo>
                    <a:pt x="21733" y="1952"/>
                  </a:moveTo>
                  <a:lnTo>
                    <a:pt x="21733" y="1794"/>
                  </a:lnTo>
                  <a:lnTo>
                    <a:pt x="21235" y="1794"/>
                  </a:lnTo>
                  <a:lnTo>
                    <a:pt x="21235" y="1952"/>
                  </a:lnTo>
                  <a:lnTo>
                    <a:pt x="21295" y="1947"/>
                  </a:lnTo>
                  <a:lnTo>
                    <a:pt x="21358" y="1943"/>
                  </a:lnTo>
                  <a:lnTo>
                    <a:pt x="21420" y="1941"/>
                  </a:lnTo>
                  <a:lnTo>
                    <a:pt x="21483" y="1939"/>
                  </a:lnTo>
                  <a:lnTo>
                    <a:pt x="21609" y="1943"/>
                  </a:lnTo>
                  <a:lnTo>
                    <a:pt x="21733" y="1952"/>
                  </a:lnTo>
                  <a:close/>
                  <a:moveTo>
                    <a:pt x="20024" y="2977"/>
                  </a:moveTo>
                  <a:lnTo>
                    <a:pt x="20754" y="2977"/>
                  </a:lnTo>
                  <a:lnTo>
                    <a:pt x="21483" y="2977"/>
                  </a:lnTo>
                  <a:lnTo>
                    <a:pt x="22213" y="2977"/>
                  </a:lnTo>
                  <a:lnTo>
                    <a:pt x="22943" y="2977"/>
                  </a:lnTo>
                  <a:lnTo>
                    <a:pt x="22943" y="2750"/>
                  </a:lnTo>
                  <a:lnTo>
                    <a:pt x="22213" y="2750"/>
                  </a:lnTo>
                  <a:lnTo>
                    <a:pt x="21483" y="2750"/>
                  </a:lnTo>
                  <a:lnTo>
                    <a:pt x="20754" y="2750"/>
                  </a:lnTo>
                  <a:lnTo>
                    <a:pt x="20024" y="2750"/>
                  </a:lnTo>
                  <a:lnTo>
                    <a:pt x="20024" y="2977"/>
                  </a:lnTo>
                  <a:close/>
                  <a:moveTo>
                    <a:pt x="20768" y="4017"/>
                  </a:moveTo>
                  <a:lnTo>
                    <a:pt x="20768" y="4324"/>
                  </a:lnTo>
                  <a:lnTo>
                    <a:pt x="20974" y="4324"/>
                  </a:lnTo>
                  <a:lnTo>
                    <a:pt x="20974" y="3670"/>
                  </a:lnTo>
                  <a:lnTo>
                    <a:pt x="20974" y="3016"/>
                  </a:lnTo>
                  <a:lnTo>
                    <a:pt x="20523" y="3016"/>
                  </a:lnTo>
                  <a:lnTo>
                    <a:pt x="20523" y="3670"/>
                  </a:lnTo>
                  <a:lnTo>
                    <a:pt x="20523" y="4324"/>
                  </a:lnTo>
                  <a:lnTo>
                    <a:pt x="20728" y="4324"/>
                  </a:lnTo>
                  <a:lnTo>
                    <a:pt x="20728" y="4017"/>
                  </a:lnTo>
                  <a:lnTo>
                    <a:pt x="20731" y="4008"/>
                  </a:lnTo>
                  <a:lnTo>
                    <a:pt x="20734" y="4002"/>
                  </a:lnTo>
                  <a:lnTo>
                    <a:pt x="20741" y="3998"/>
                  </a:lnTo>
                  <a:lnTo>
                    <a:pt x="20749" y="3997"/>
                  </a:lnTo>
                  <a:lnTo>
                    <a:pt x="20756" y="3998"/>
                  </a:lnTo>
                  <a:lnTo>
                    <a:pt x="20763" y="4002"/>
                  </a:lnTo>
                  <a:lnTo>
                    <a:pt x="20767" y="4008"/>
                  </a:lnTo>
                  <a:lnTo>
                    <a:pt x="20768" y="4017"/>
                  </a:lnTo>
                  <a:close/>
                  <a:moveTo>
                    <a:pt x="21260" y="4017"/>
                  </a:moveTo>
                  <a:lnTo>
                    <a:pt x="21260" y="4324"/>
                  </a:lnTo>
                  <a:lnTo>
                    <a:pt x="21467" y="4324"/>
                  </a:lnTo>
                  <a:lnTo>
                    <a:pt x="21467" y="3670"/>
                  </a:lnTo>
                  <a:lnTo>
                    <a:pt x="21467" y="3016"/>
                  </a:lnTo>
                  <a:lnTo>
                    <a:pt x="21014" y="3016"/>
                  </a:lnTo>
                  <a:lnTo>
                    <a:pt x="21014" y="3670"/>
                  </a:lnTo>
                  <a:lnTo>
                    <a:pt x="21014" y="4324"/>
                  </a:lnTo>
                  <a:lnTo>
                    <a:pt x="21220" y="4324"/>
                  </a:lnTo>
                  <a:lnTo>
                    <a:pt x="21220" y="4017"/>
                  </a:lnTo>
                  <a:lnTo>
                    <a:pt x="21222" y="4008"/>
                  </a:lnTo>
                  <a:lnTo>
                    <a:pt x="21227" y="4002"/>
                  </a:lnTo>
                  <a:lnTo>
                    <a:pt x="21233" y="3998"/>
                  </a:lnTo>
                  <a:lnTo>
                    <a:pt x="21241" y="3997"/>
                  </a:lnTo>
                  <a:lnTo>
                    <a:pt x="21247" y="3998"/>
                  </a:lnTo>
                  <a:lnTo>
                    <a:pt x="21254" y="4002"/>
                  </a:lnTo>
                  <a:lnTo>
                    <a:pt x="21259" y="4008"/>
                  </a:lnTo>
                  <a:lnTo>
                    <a:pt x="21260" y="4017"/>
                  </a:lnTo>
                  <a:close/>
                  <a:moveTo>
                    <a:pt x="21753" y="4017"/>
                  </a:moveTo>
                  <a:lnTo>
                    <a:pt x="21753" y="4324"/>
                  </a:lnTo>
                  <a:lnTo>
                    <a:pt x="21959" y="4324"/>
                  </a:lnTo>
                  <a:lnTo>
                    <a:pt x="21959" y="3670"/>
                  </a:lnTo>
                  <a:lnTo>
                    <a:pt x="21959" y="3016"/>
                  </a:lnTo>
                  <a:lnTo>
                    <a:pt x="21506" y="3016"/>
                  </a:lnTo>
                  <a:lnTo>
                    <a:pt x="21506" y="3670"/>
                  </a:lnTo>
                  <a:lnTo>
                    <a:pt x="21506" y="4324"/>
                  </a:lnTo>
                  <a:lnTo>
                    <a:pt x="21713" y="4324"/>
                  </a:lnTo>
                  <a:lnTo>
                    <a:pt x="21713" y="4017"/>
                  </a:lnTo>
                  <a:lnTo>
                    <a:pt x="21714" y="4008"/>
                  </a:lnTo>
                  <a:lnTo>
                    <a:pt x="21719" y="4002"/>
                  </a:lnTo>
                  <a:lnTo>
                    <a:pt x="21726" y="3998"/>
                  </a:lnTo>
                  <a:lnTo>
                    <a:pt x="21732" y="3997"/>
                  </a:lnTo>
                  <a:lnTo>
                    <a:pt x="21740" y="3998"/>
                  </a:lnTo>
                  <a:lnTo>
                    <a:pt x="21746" y="4002"/>
                  </a:lnTo>
                  <a:lnTo>
                    <a:pt x="21751" y="4008"/>
                  </a:lnTo>
                  <a:lnTo>
                    <a:pt x="21753" y="4017"/>
                  </a:lnTo>
                  <a:close/>
                  <a:moveTo>
                    <a:pt x="22245" y="4017"/>
                  </a:moveTo>
                  <a:lnTo>
                    <a:pt x="22245" y="4324"/>
                  </a:lnTo>
                  <a:lnTo>
                    <a:pt x="22450" y="4324"/>
                  </a:lnTo>
                  <a:lnTo>
                    <a:pt x="22450" y="3670"/>
                  </a:lnTo>
                  <a:lnTo>
                    <a:pt x="22450" y="3016"/>
                  </a:lnTo>
                  <a:lnTo>
                    <a:pt x="21999" y="3016"/>
                  </a:lnTo>
                  <a:lnTo>
                    <a:pt x="21999" y="3670"/>
                  </a:lnTo>
                  <a:lnTo>
                    <a:pt x="21999" y="4324"/>
                  </a:lnTo>
                  <a:lnTo>
                    <a:pt x="22205" y="4324"/>
                  </a:lnTo>
                  <a:lnTo>
                    <a:pt x="22205" y="4017"/>
                  </a:lnTo>
                  <a:lnTo>
                    <a:pt x="22207" y="4008"/>
                  </a:lnTo>
                  <a:lnTo>
                    <a:pt x="22210" y="4002"/>
                  </a:lnTo>
                  <a:lnTo>
                    <a:pt x="22217" y="3998"/>
                  </a:lnTo>
                  <a:lnTo>
                    <a:pt x="22224" y="3997"/>
                  </a:lnTo>
                  <a:lnTo>
                    <a:pt x="22232" y="3998"/>
                  </a:lnTo>
                  <a:lnTo>
                    <a:pt x="22239" y="4002"/>
                  </a:lnTo>
                  <a:lnTo>
                    <a:pt x="22242" y="4008"/>
                  </a:lnTo>
                  <a:lnTo>
                    <a:pt x="22245" y="4017"/>
                  </a:lnTo>
                  <a:close/>
                  <a:moveTo>
                    <a:pt x="22737" y="4017"/>
                  </a:moveTo>
                  <a:lnTo>
                    <a:pt x="22737" y="4324"/>
                  </a:lnTo>
                  <a:lnTo>
                    <a:pt x="22943" y="4324"/>
                  </a:lnTo>
                  <a:lnTo>
                    <a:pt x="22943" y="3670"/>
                  </a:lnTo>
                  <a:lnTo>
                    <a:pt x="22943" y="3016"/>
                  </a:lnTo>
                  <a:lnTo>
                    <a:pt x="22491" y="3016"/>
                  </a:lnTo>
                  <a:lnTo>
                    <a:pt x="22491" y="3670"/>
                  </a:lnTo>
                  <a:lnTo>
                    <a:pt x="22491" y="4324"/>
                  </a:lnTo>
                  <a:lnTo>
                    <a:pt x="22696" y="4324"/>
                  </a:lnTo>
                  <a:lnTo>
                    <a:pt x="22696" y="4017"/>
                  </a:lnTo>
                  <a:lnTo>
                    <a:pt x="22699" y="4008"/>
                  </a:lnTo>
                  <a:lnTo>
                    <a:pt x="22703" y="4002"/>
                  </a:lnTo>
                  <a:lnTo>
                    <a:pt x="22709" y="3998"/>
                  </a:lnTo>
                  <a:lnTo>
                    <a:pt x="22717" y="3997"/>
                  </a:lnTo>
                  <a:lnTo>
                    <a:pt x="22725" y="3998"/>
                  </a:lnTo>
                  <a:lnTo>
                    <a:pt x="22731" y="4002"/>
                  </a:lnTo>
                  <a:lnTo>
                    <a:pt x="22735" y="4008"/>
                  </a:lnTo>
                  <a:lnTo>
                    <a:pt x="22737" y="4017"/>
                  </a:lnTo>
                  <a:close/>
                  <a:moveTo>
                    <a:pt x="21727" y="1754"/>
                  </a:moveTo>
                  <a:lnTo>
                    <a:pt x="21714" y="1740"/>
                  </a:lnTo>
                  <a:lnTo>
                    <a:pt x="21696" y="1727"/>
                  </a:lnTo>
                  <a:lnTo>
                    <a:pt x="21673" y="1714"/>
                  </a:lnTo>
                  <a:lnTo>
                    <a:pt x="21645" y="1703"/>
                  </a:lnTo>
                  <a:lnTo>
                    <a:pt x="21612" y="1693"/>
                  </a:lnTo>
                  <a:lnTo>
                    <a:pt x="21573" y="1686"/>
                  </a:lnTo>
                  <a:lnTo>
                    <a:pt x="21531" y="1681"/>
                  </a:lnTo>
                  <a:lnTo>
                    <a:pt x="21483" y="1679"/>
                  </a:lnTo>
                  <a:lnTo>
                    <a:pt x="21437" y="1681"/>
                  </a:lnTo>
                  <a:lnTo>
                    <a:pt x="21394" y="1686"/>
                  </a:lnTo>
                  <a:lnTo>
                    <a:pt x="21356" y="1693"/>
                  </a:lnTo>
                  <a:lnTo>
                    <a:pt x="21322" y="1703"/>
                  </a:lnTo>
                  <a:lnTo>
                    <a:pt x="21294" y="1714"/>
                  </a:lnTo>
                  <a:lnTo>
                    <a:pt x="21270" y="1727"/>
                  </a:lnTo>
                  <a:lnTo>
                    <a:pt x="21253" y="1740"/>
                  </a:lnTo>
                  <a:lnTo>
                    <a:pt x="21241" y="1754"/>
                  </a:lnTo>
                  <a:lnTo>
                    <a:pt x="21727" y="1754"/>
                  </a:lnTo>
                  <a:close/>
                  <a:moveTo>
                    <a:pt x="19597" y="4131"/>
                  </a:moveTo>
                  <a:lnTo>
                    <a:pt x="19564" y="4135"/>
                  </a:lnTo>
                  <a:lnTo>
                    <a:pt x="19532" y="4145"/>
                  </a:lnTo>
                  <a:lnTo>
                    <a:pt x="19500" y="4154"/>
                  </a:lnTo>
                  <a:lnTo>
                    <a:pt x="19465" y="4159"/>
                  </a:lnTo>
                  <a:lnTo>
                    <a:pt x="19436" y="4154"/>
                  </a:lnTo>
                  <a:lnTo>
                    <a:pt x="19423" y="4149"/>
                  </a:lnTo>
                  <a:lnTo>
                    <a:pt x="19410" y="4143"/>
                  </a:lnTo>
                  <a:lnTo>
                    <a:pt x="19388" y="4125"/>
                  </a:lnTo>
                  <a:lnTo>
                    <a:pt x="19369" y="4100"/>
                  </a:lnTo>
                  <a:lnTo>
                    <a:pt x="19351" y="4072"/>
                  </a:lnTo>
                  <a:lnTo>
                    <a:pt x="19334" y="4040"/>
                  </a:lnTo>
                  <a:lnTo>
                    <a:pt x="19300" y="3973"/>
                  </a:lnTo>
                  <a:lnTo>
                    <a:pt x="19282" y="3937"/>
                  </a:lnTo>
                  <a:lnTo>
                    <a:pt x="19260" y="3904"/>
                  </a:lnTo>
                  <a:lnTo>
                    <a:pt x="19235" y="3872"/>
                  </a:lnTo>
                  <a:lnTo>
                    <a:pt x="19209" y="3843"/>
                  </a:lnTo>
                  <a:lnTo>
                    <a:pt x="19175" y="3820"/>
                  </a:lnTo>
                  <a:lnTo>
                    <a:pt x="19157" y="3810"/>
                  </a:lnTo>
                  <a:lnTo>
                    <a:pt x="19138" y="3801"/>
                  </a:lnTo>
                  <a:lnTo>
                    <a:pt x="19116" y="3795"/>
                  </a:lnTo>
                  <a:lnTo>
                    <a:pt x="19093" y="3790"/>
                  </a:lnTo>
                  <a:lnTo>
                    <a:pt x="19069" y="3787"/>
                  </a:lnTo>
                  <a:lnTo>
                    <a:pt x="19042" y="3786"/>
                  </a:lnTo>
                  <a:lnTo>
                    <a:pt x="19014" y="3790"/>
                  </a:lnTo>
                  <a:lnTo>
                    <a:pt x="19002" y="3795"/>
                  </a:lnTo>
                  <a:lnTo>
                    <a:pt x="18993" y="3801"/>
                  </a:lnTo>
                  <a:lnTo>
                    <a:pt x="18974" y="3817"/>
                  </a:lnTo>
                  <a:lnTo>
                    <a:pt x="18952" y="3836"/>
                  </a:lnTo>
                  <a:lnTo>
                    <a:pt x="18925" y="3854"/>
                  </a:lnTo>
                  <a:lnTo>
                    <a:pt x="18908" y="3863"/>
                  </a:lnTo>
                  <a:lnTo>
                    <a:pt x="18889" y="3869"/>
                  </a:lnTo>
                  <a:lnTo>
                    <a:pt x="18865" y="3875"/>
                  </a:lnTo>
                  <a:lnTo>
                    <a:pt x="18838" y="3881"/>
                  </a:lnTo>
                  <a:lnTo>
                    <a:pt x="18806" y="3884"/>
                  </a:lnTo>
                  <a:lnTo>
                    <a:pt x="18769" y="3886"/>
                  </a:lnTo>
                  <a:lnTo>
                    <a:pt x="18742" y="3883"/>
                  </a:lnTo>
                  <a:lnTo>
                    <a:pt x="18720" y="3879"/>
                  </a:lnTo>
                  <a:lnTo>
                    <a:pt x="18688" y="3868"/>
                  </a:lnTo>
                  <a:lnTo>
                    <a:pt x="18662" y="3855"/>
                  </a:lnTo>
                  <a:lnTo>
                    <a:pt x="18649" y="3851"/>
                  </a:lnTo>
                  <a:lnTo>
                    <a:pt x="18637" y="3850"/>
                  </a:lnTo>
                  <a:lnTo>
                    <a:pt x="18615" y="3851"/>
                  </a:lnTo>
                  <a:lnTo>
                    <a:pt x="18594" y="3856"/>
                  </a:lnTo>
                  <a:lnTo>
                    <a:pt x="18575" y="3864"/>
                  </a:lnTo>
                  <a:lnTo>
                    <a:pt x="18557" y="3875"/>
                  </a:lnTo>
                  <a:lnTo>
                    <a:pt x="18540" y="3888"/>
                  </a:lnTo>
                  <a:lnTo>
                    <a:pt x="18524" y="3902"/>
                  </a:lnTo>
                  <a:lnTo>
                    <a:pt x="18494" y="3936"/>
                  </a:lnTo>
                  <a:lnTo>
                    <a:pt x="18467" y="3973"/>
                  </a:lnTo>
                  <a:lnTo>
                    <a:pt x="18442" y="4011"/>
                  </a:lnTo>
                  <a:lnTo>
                    <a:pt x="18416" y="4047"/>
                  </a:lnTo>
                  <a:lnTo>
                    <a:pt x="18389" y="4077"/>
                  </a:lnTo>
                  <a:lnTo>
                    <a:pt x="18366" y="4097"/>
                  </a:lnTo>
                  <a:lnTo>
                    <a:pt x="18337" y="4116"/>
                  </a:lnTo>
                  <a:lnTo>
                    <a:pt x="18266" y="4155"/>
                  </a:lnTo>
                  <a:lnTo>
                    <a:pt x="18261" y="4161"/>
                  </a:lnTo>
                  <a:lnTo>
                    <a:pt x="18253" y="4163"/>
                  </a:lnTo>
                  <a:lnTo>
                    <a:pt x="18207" y="4191"/>
                  </a:lnTo>
                  <a:lnTo>
                    <a:pt x="18169" y="4221"/>
                  </a:lnTo>
                  <a:lnTo>
                    <a:pt x="18153" y="4236"/>
                  </a:lnTo>
                  <a:lnTo>
                    <a:pt x="18147" y="4245"/>
                  </a:lnTo>
                  <a:lnTo>
                    <a:pt x="18142" y="4253"/>
                  </a:lnTo>
                  <a:lnTo>
                    <a:pt x="18134" y="4269"/>
                  </a:lnTo>
                  <a:lnTo>
                    <a:pt x="18131" y="4287"/>
                  </a:lnTo>
                  <a:lnTo>
                    <a:pt x="18133" y="4308"/>
                  </a:lnTo>
                  <a:lnTo>
                    <a:pt x="18137" y="4329"/>
                  </a:lnTo>
                  <a:lnTo>
                    <a:pt x="18256" y="4329"/>
                  </a:lnTo>
                  <a:lnTo>
                    <a:pt x="18261" y="4329"/>
                  </a:lnTo>
                  <a:lnTo>
                    <a:pt x="19046" y="4329"/>
                  </a:lnTo>
                  <a:lnTo>
                    <a:pt x="19830" y="4329"/>
                  </a:lnTo>
                  <a:lnTo>
                    <a:pt x="19825" y="4308"/>
                  </a:lnTo>
                  <a:lnTo>
                    <a:pt x="19819" y="4286"/>
                  </a:lnTo>
                  <a:lnTo>
                    <a:pt x="19810" y="4265"/>
                  </a:lnTo>
                  <a:lnTo>
                    <a:pt x="19801" y="4248"/>
                  </a:lnTo>
                  <a:lnTo>
                    <a:pt x="19778" y="4213"/>
                  </a:lnTo>
                  <a:lnTo>
                    <a:pt x="19764" y="4198"/>
                  </a:lnTo>
                  <a:lnTo>
                    <a:pt x="19748" y="4185"/>
                  </a:lnTo>
                  <a:lnTo>
                    <a:pt x="19733" y="4172"/>
                  </a:lnTo>
                  <a:lnTo>
                    <a:pt x="19716" y="4162"/>
                  </a:lnTo>
                  <a:lnTo>
                    <a:pt x="19698" y="4153"/>
                  </a:lnTo>
                  <a:lnTo>
                    <a:pt x="19679" y="4145"/>
                  </a:lnTo>
                  <a:lnTo>
                    <a:pt x="19660" y="4139"/>
                  </a:lnTo>
                  <a:lnTo>
                    <a:pt x="19639" y="4134"/>
                  </a:lnTo>
                  <a:lnTo>
                    <a:pt x="19597" y="4131"/>
                  </a:lnTo>
                  <a:close/>
                  <a:moveTo>
                    <a:pt x="18860" y="2743"/>
                  </a:moveTo>
                  <a:lnTo>
                    <a:pt x="18742" y="2904"/>
                  </a:lnTo>
                  <a:lnTo>
                    <a:pt x="18742" y="3047"/>
                  </a:lnTo>
                  <a:lnTo>
                    <a:pt x="18794" y="3040"/>
                  </a:lnTo>
                  <a:lnTo>
                    <a:pt x="18803" y="3039"/>
                  </a:lnTo>
                  <a:lnTo>
                    <a:pt x="18811" y="3043"/>
                  </a:lnTo>
                  <a:lnTo>
                    <a:pt x="18815" y="3048"/>
                  </a:lnTo>
                  <a:lnTo>
                    <a:pt x="18819" y="3056"/>
                  </a:lnTo>
                  <a:lnTo>
                    <a:pt x="18819" y="3062"/>
                  </a:lnTo>
                  <a:lnTo>
                    <a:pt x="18816" y="3070"/>
                  </a:lnTo>
                  <a:lnTo>
                    <a:pt x="18811" y="3075"/>
                  </a:lnTo>
                  <a:lnTo>
                    <a:pt x="18802" y="3079"/>
                  </a:lnTo>
                  <a:lnTo>
                    <a:pt x="18773" y="3084"/>
                  </a:lnTo>
                  <a:lnTo>
                    <a:pt x="18742" y="3086"/>
                  </a:lnTo>
                  <a:lnTo>
                    <a:pt x="18742" y="3827"/>
                  </a:lnTo>
                  <a:lnTo>
                    <a:pt x="18741" y="3836"/>
                  </a:lnTo>
                  <a:lnTo>
                    <a:pt x="18735" y="3842"/>
                  </a:lnTo>
                  <a:lnTo>
                    <a:pt x="18751" y="3845"/>
                  </a:lnTo>
                  <a:lnTo>
                    <a:pt x="18769" y="3845"/>
                  </a:lnTo>
                  <a:lnTo>
                    <a:pt x="18798" y="3845"/>
                  </a:lnTo>
                  <a:lnTo>
                    <a:pt x="18825" y="3843"/>
                  </a:lnTo>
                  <a:lnTo>
                    <a:pt x="18850" y="3840"/>
                  </a:lnTo>
                  <a:lnTo>
                    <a:pt x="18871" y="3835"/>
                  </a:lnTo>
                  <a:lnTo>
                    <a:pt x="18892" y="3826"/>
                  </a:lnTo>
                  <a:lnTo>
                    <a:pt x="18911" y="3815"/>
                  </a:lnTo>
                  <a:lnTo>
                    <a:pt x="18952" y="3782"/>
                  </a:lnTo>
                  <a:lnTo>
                    <a:pt x="18973" y="3767"/>
                  </a:lnTo>
                  <a:lnTo>
                    <a:pt x="18982" y="3760"/>
                  </a:lnTo>
                  <a:lnTo>
                    <a:pt x="18992" y="3755"/>
                  </a:lnTo>
                  <a:lnTo>
                    <a:pt x="19015" y="3748"/>
                  </a:lnTo>
                  <a:lnTo>
                    <a:pt x="19042" y="3745"/>
                  </a:lnTo>
                  <a:lnTo>
                    <a:pt x="19075" y="3748"/>
                  </a:lnTo>
                  <a:lnTo>
                    <a:pt x="19107" y="3751"/>
                  </a:lnTo>
                  <a:lnTo>
                    <a:pt x="19135" y="3758"/>
                  </a:lnTo>
                  <a:lnTo>
                    <a:pt x="19162" y="3768"/>
                  </a:lnTo>
                  <a:lnTo>
                    <a:pt x="19187" y="3780"/>
                  </a:lnTo>
                  <a:lnTo>
                    <a:pt x="19209" y="3794"/>
                  </a:lnTo>
                  <a:lnTo>
                    <a:pt x="19229" y="3809"/>
                  </a:lnTo>
                  <a:lnTo>
                    <a:pt x="19248" y="3827"/>
                  </a:lnTo>
                  <a:lnTo>
                    <a:pt x="19282" y="3866"/>
                  </a:lnTo>
                  <a:lnTo>
                    <a:pt x="19311" y="3911"/>
                  </a:lnTo>
                  <a:lnTo>
                    <a:pt x="19338" y="3960"/>
                  </a:lnTo>
                  <a:lnTo>
                    <a:pt x="19364" y="4012"/>
                  </a:lnTo>
                  <a:lnTo>
                    <a:pt x="19369" y="4021"/>
                  </a:lnTo>
                  <a:lnTo>
                    <a:pt x="19369" y="3649"/>
                  </a:lnTo>
                  <a:lnTo>
                    <a:pt x="19334" y="3663"/>
                  </a:lnTo>
                  <a:lnTo>
                    <a:pt x="19319" y="3670"/>
                  </a:lnTo>
                  <a:lnTo>
                    <a:pt x="19302" y="3676"/>
                  </a:lnTo>
                  <a:lnTo>
                    <a:pt x="19284" y="3676"/>
                  </a:lnTo>
                  <a:lnTo>
                    <a:pt x="19275" y="3675"/>
                  </a:lnTo>
                  <a:lnTo>
                    <a:pt x="19265" y="3671"/>
                  </a:lnTo>
                  <a:lnTo>
                    <a:pt x="19255" y="3666"/>
                  </a:lnTo>
                  <a:lnTo>
                    <a:pt x="19244" y="3658"/>
                  </a:lnTo>
                  <a:lnTo>
                    <a:pt x="19221" y="3634"/>
                  </a:lnTo>
                  <a:lnTo>
                    <a:pt x="19205" y="3616"/>
                  </a:lnTo>
                  <a:lnTo>
                    <a:pt x="19191" y="3604"/>
                  </a:lnTo>
                  <a:lnTo>
                    <a:pt x="19180" y="3598"/>
                  </a:lnTo>
                  <a:lnTo>
                    <a:pt x="19169" y="3595"/>
                  </a:lnTo>
                  <a:lnTo>
                    <a:pt x="19144" y="3594"/>
                  </a:lnTo>
                  <a:lnTo>
                    <a:pt x="19105" y="3590"/>
                  </a:lnTo>
                  <a:lnTo>
                    <a:pt x="19091" y="3586"/>
                  </a:lnTo>
                  <a:lnTo>
                    <a:pt x="19079" y="3581"/>
                  </a:lnTo>
                  <a:lnTo>
                    <a:pt x="19062" y="3567"/>
                  </a:lnTo>
                  <a:lnTo>
                    <a:pt x="19052" y="3549"/>
                  </a:lnTo>
                  <a:lnTo>
                    <a:pt x="19044" y="3530"/>
                  </a:lnTo>
                  <a:lnTo>
                    <a:pt x="19039" y="3510"/>
                  </a:lnTo>
                  <a:lnTo>
                    <a:pt x="19033" y="3489"/>
                  </a:lnTo>
                  <a:lnTo>
                    <a:pt x="19029" y="3480"/>
                  </a:lnTo>
                  <a:lnTo>
                    <a:pt x="19024" y="3471"/>
                  </a:lnTo>
                  <a:lnTo>
                    <a:pt x="19016" y="3464"/>
                  </a:lnTo>
                  <a:lnTo>
                    <a:pt x="19009" y="3457"/>
                  </a:lnTo>
                  <a:lnTo>
                    <a:pt x="18967" y="3434"/>
                  </a:lnTo>
                  <a:lnTo>
                    <a:pt x="18952" y="3424"/>
                  </a:lnTo>
                  <a:lnTo>
                    <a:pt x="18939" y="3414"/>
                  </a:lnTo>
                  <a:lnTo>
                    <a:pt x="18930" y="3400"/>
                  </a:lnTo>
                  <a:lnTo>
                    <a:pt x="18926" y="3383"/>
                  </a:lnTo>
                  <a:lnTo>
                    <a:pt x="18925" y="3361"/>
                  </a:lnTo>
                  <a:lnTo>
                    <a:pt x="18929" y="3333"/>
                  </a:lnTo>
                  <a:lnTo>
                    <a:pt x="18934" y="3304"/>
                  </a:lnTo>
                  <a:lnTo>
                    <a:pt x="18934" y="3285"/>
                  </a:lnTo>
                  <a:lnTo>
                    <a:pt x="18925" y="3267"/>
                  </a:lnTo>
                  <a:lnTo>
                    <a:pt x="18908" y="3242"/>
                  </a:lnTo>
                  <a:lnTo>
                    <a:pt x="18891" y="3216"/>
                  </a:lnTo>
                  <a:lnTo>
                    <a:pt x="18884" y="3199"/>
                  </a:lnTo>
                  <a:lnTo>
                    <a:pt x="18882" y="3181"/>
                  </a:lnTo>
                  <a:lnTo>
                    <a:pt x="18884" y="3162"/>
                  </a:lnTo>
                  <a:lnTo>
                    <a:pt x="18891" y="3145"/>
                  </a:lnTo>
                  <a:lnTo>
                    <a:pt x="18908" y="3118"/>
                  </a:lnTo>
                  <a:lnTo>
                    <a:pt x="18923" y="3098"/>
                  </a:lnTo>
                  <a:lnTo>
                    <a:pt x="18930" y="3083"/>
                  </a:lnTo>
                  <a:lnTo>
                    <a:pt x="18934" y="3070"/>
                  </a:lnTo>
                  <a:lnTo>
                    <a:pt x="18935" y="3060"/>
                  </a:lnTo>
                  <a:lnTo>
                    <a:pt x="18929" y="3035"/>
                  </a:lnTo>
                  <a:lnTo>
                    <a:pt x="18925" y="2996"/>
                  </a:lnTo>
                  <a:lnTo>
                    <a:pt x="18928" y="2969"/>
                  </a:lnTo>
                  <a:lnTo>
                    <a:pt x="18932" y="2959"/>
                  </a:lnTo>
                  <a:lnTo>
                    <a:pt x="18938" y="2950"/>
                  </a:lnTo>
                  <a:lnTo>
                    <a:pt x="18944" y="2942"/>
                  </a:lnTo>
                  <a:lnTo>
                    <a:pt x="18952" y="2936"/>
                  </a:lnTo>
                  <a:lnTo>
                    <a:pt x="18970" y="2924"/>
                  </a:lnTo>
                  <a:lnTo>
                    <a:pt x="19007" y="2904"/>
                  </a:lnTo>
                  <a:lnTo>
                    <a:pt x="19023" y="2891"/>
                  </a:lnTo>
                  <a:lnTo>
                    <a:pt x="19033" y="2872"/>
                  </a:lnTo>
                  <a:lnTo>
                    <a:pt x="19047" y="2828"/>
                  </a:lnTo>
                  <a:lnTo>
                    <a:pt x="19053" y="2810"/>
                  </a:lnTo>
                  <a:lnTo>
                    <a:pt x="19061" y="2796"/>
                  </a:lnTo>
                  <a:lnTo>
                    <a:pt x="19073" y="2785"/>
                  </a:lnTo>
                  <a:lnTo>
                    <a:pt x="19088" y="2776"/>
                  </a:lnTo>
                  <a:lnTo>
                    <a:pt x="19109" y="2771"/>
                  </a:lnTo>
                  <a:lnTo>
                    <a:pt x="19138" y="2768"/>
                  </a:lnTo>
                  <a:lnTo>
                    <a:pt x="19162" y="2766"/>
                  </a:lnTo>
                  <a:lnTo>
                    <a:pt x="19180" y="2763"/>
                  </a:lnTo>
                  <a:lnTo>
                    <a:pt x="19192" y="2758"/>
                  </a:lnTo>
                  <a:lnTo>
                    <a:pt x="19201" y="2751"/>
                  </a:lnTo>
                  <a:lnTo>
                    <a:pt x="19216" y="2732"/>
                  </a:lnTo>
                  <a:lnTo>
                    <a:pt x="19228" y="2719"/>
                  </a:lnTo>
                  <a:lnTo>
                    <a:pt x="19243" y="2704"/>
                  </a:lnTo>
                  <a:lnTo>
                    <a:pt x="19265" y="2690"/>
                  </a:lnTo>
                  <a:lnTo>
                    <a:pt x="19274" y="2686"/>
                  </a:lnTo>
                  <a:lnTo>
                    <a:pt x="19284" y="2685"/>
                  </a:lnTo>
                  <a:lnTo>
                    <a:pt x="19302" y="2686"/>
                  </a:lnTo>
                  <a:lnTo>
                    <a:pt x="19319" y="2691"/>
                  </a:lnTo>
                  <a:lnTo>
                    <a:pt x="19352" y="2707"/>
                  </a:lnTo>
                  <a:lnTo>
                    <a:pt x="19370" y="2713"/>
                  </a:lnTo>
                  <a:lnTo>
                    <a:pt x="19388" y="2716"/>
                  </a:lnTo>
                  <a:lnTo>
                    <a:pt x="19410" y="2712"/>
                  </a:lnTo>
                  <a:lnTo>
                    <a:pt x="19429" y="2705"/>
                  </a:lnTo>
                  <a:lnTo>
                    <a:pt x="19448" y="2696"/>
                  </a:lnTo>
                  <a:lnTo>
                    <a:pt x="19466" y="2689"/>
                  </a:lnTo>
                  <a:lnTo>
                    <a:pt x="19486" y="2685"/>
                  </a:lnTo>
                  <a:lnTo>
                    <a:pt x="19506" y="2688"/>
                  </a:lnTo>
                  <a:lnTo>
                    <a:pt x="19518" y="2694"/>
                  </a:lnTo>
                  <a:lnTo>
                    <a:pt x="19529" y="2702"/>
                  </a:lnTo>
                  <a:lnTo>
                    <a:pt x="19556" y="2727"/>
                  </a:lnTo>
                  <a:lnTo>
                    <a:pt x="19573" y="2746"/>
                  </a:lnTo>
                  <a:lnTo>
                    <a:pt x="19586" y="2758"/>
                  </a:lnTo>
                  <a:lnTo>
                    <a:pt x="19597" y="2764"/>
                  </a:lnTo>
                  <a:lnTo>
                    <a:pt x="19607" y="2767"/>
                  </a:lnTo>
                  <a:lnTo>
                    <a:pt x="19633" y="2767"/>
                  </a:lnTo>
                  <a:lnTo>
                    <a:pt x="19673" y="2771"/>
                  </a:lnTo>
                  <a:lnTo>
                    <a:pt x="19687" y="2774"/>
                  </a:lnTo>
                  <a:lnTo>
                    <a:pt x="19698" y="2780"/>
                  </a:lnTo>
                  <a:lnTo>
                    <a:pt x="19715" y="2794"/>
                  </a:lnTo>
                  <a:lnTo>
                    <a:pt x="19725" y="2812"/>
                  </a:lnTo>
                  <a:lnTo>
                    <a:pt x="19732" y="2832"/>
                  </a:lnTo>
                  <a:lnTo>
                    <a:pt x="19737" y="2852"/>
                  </a:lnTo>
                  <a:lnTo>
                    <a:pt x="19743" y="2872"/>
                  </a:lnTo>
                  <a:lnTo>
                    <a:pt x="19748" y="2881"/>
                  </a:lnTo>
                  <a:lnTo>
                    <a:pt x="19754" y="2890"/>
                  </a:lnTo>
                  <a:lnTo>
                    <a:pt x="19760" y="2897"/>
                  </a:lnTo>
                  <a:lnTo>
                    <a:pt x="19769" y="2904"/>
                  </a:lnTo>
                  <a:lnTo>
                    <a:pt x="19809" y="2927"/>
                  </a:lnTo>
                  <a:lnTo>
                    <a:pt x="19825" y="2937"/>
                  </a:lnTo>
                  <a:lnTo>
                    <a:pt x="19837" y="2948"/>
                  </a:lnTo>
                  <a:lnTo>
                    <a:pt x="19846" y="2961"/>
                  </a:lnTo>
                  <a:lnTo>
                    <a:pt x="19851" y="2978"/>
                  </a:lnTo>
                  <a:lnTo>
                    <a:pt x="19852" y="3000"/>
                  </a:lnTo>
                  <a:lnTo>
                    <a:pt x="19848" y="3028"/>
                  </a:lnTo>
                  <a:lnTo>
                    <a:pt x="19843" y="3057"/>
                  </a:lnTo>
                  <a:lnTo>
                    <a:pt x="19843" y="3076"/>
                  </a:lnTo>
                  <a:lnTo>
                    <a:pt x="19851" y="3094"/>
                  </a:lnTo>
                  <a:lnTo>
                    <a:pt x="19869" y="3118"/>
                  </a:lnTo>
                  <a:lnTo>
                    <a:pt x="19887" y="3145"/>
                  </a:lnTo>
                  <a:lnTo>
                    <a:pt x="19893" y="3162"/>
                  </a:lnTo>
                  <a:lnTo>
                    <a:pt x="19896" y="3181"/>
                  </a:lnTo>
                  <a:lnTo>
                    <a:pt x="19893" y="3199"/>
                  </a:lnTo>
                  <a:lnTo>
                    <a:pt x="19887" y="3216"/>
                  </a:lnTo>
                  <a:lnTo>
                    <a:pt x="19878" y="3230"/>
                  </a:lnTo>
                  <a:lnTo>
                    <a:pt x="19868" y="3244"/>
                  </a:lnTo>
                  <a:lnTo>
                    <a:pt x="19857" y="3258"/>
                  </a:lnTo>
                  <a:lnTo>
                    <a:pt x="19848" y="3272"/>
                  </a:lnTo>
                  <a:lnTo>
                    <a:pt x="19843" y="3287"/>
                  </a:lnTo>
                  <a:lnTo>
                    <a:pt x="19843" y="3305"/>
                  </a:lnTo>
                  <a:lnTo>
                    <a:pt x="19850" y="3351"/>
                  </a:lnTo>
                  <a:lnTo>
                    <a:pt x="19852" y="3369"/>
                  </a:lnTo>
                  <a:lnTo>
                    <a:pt x="19851" y="3386"/>
                  </a:lnTo>
                  <a:lnTo>
                    <a:pt x="19846" y="3401"/>
                  </a:lnTo>
                  <a:lnTo>
                    <a:pt x="19836" y="3415"/>
                  </a:lnTo>
                  <a:lnTo>
                    <a:pt x="19819" y="3429"/>
                  </a:lnTo>
                  <a:lnTo>
                    <a:pt x="19795" y="3445"/>
                  </a:lnTo>
                  <a:lnTo>
                    <a:pt x="19773" y="3456"/>
                  </a:lnTo>
                  <a:lnTo>
                    <a:pt x="19759" y="3466"/>
                  </a:lnTo>
                  <a:lnTo>
                    <a:pt x="19750" y="3476"/>
                  </a:lnTo>
                  <a:lnTo>
                    <a:pt x="19745" y="3485"/>
                  </a:lnTo>
                  <a:lnTo>
                    <a:pt x="19739" y="3510"/>
                  </a:lnTo>
                  <a:lnTo>
                    <a:pt x="19734" y="3526"/>
                  </a:lnTo>
                  <a:lnTo>
                    <a:pt x="19727" y="3547"/>
                  </a:lnTo>
                  <a:lnTo>
                    <a:pt x="19711" y="3570"/>
                  </a:lnTo>
                  <a:lnTo>
                    <a:pt x="19704" y="3579"/>
                  </a:lnTo>
                  <a:lnTo>
                    <a:pt x="19695" y="3584"/>
                  </a:lnTo>
                  <a:lnTo>
                    <a:pt x="19674" y="3590"/>
                  </a:lnTo>
                  <a:lnTo>
                    <a:pt x="19653" y="3593"/>
                  </a:lnTo>
                  <a:lnTo>
                    <a:pt x="19632" y="3593"/>
                  </a:lnTo>
                  <a:lnTo>
                    <a:pt x="19611" y="3594"/>
                  </a:lnTo>
                  <a:lnTo>
                    <a:pt x="19592" y="3601"/>
                  </a:lnTo>
                  <a:lnTo>
                    <a:pt x="19583" y="3606"/>
                  </a:lnTo>
                  <a:lnTo>
                    <a:pt x="19575" y="3612"/>
                  </a:lnTo>
                  <a:lnTo>
                    <a:pt x="19543" y="3647"/>
                  </a:lnTo>
                  <a:lnTo>
                    <a:pt x="19530" y="3659"/>
                  </a:lnTo>
                  <a:lnTo>
                    <a:pt x="19516" y="3668"/>
                  </a:lnTo>
                  <a:lnTo>
                    <a:pt x="19501" y="3675"/>
                  </a:lnTo>
                  <a:lnTo>
                    <a:pt x="19484" y="3676"/>
                  </a:lnTo>
                  <a:lnTo>
                    <a:pt x="19462" y="3671"/>
                  </a:lnTo>
                  <a:lnTo>
                    <a:pt x="19436" y="3661"/>
                  </a:lnTo>
                  <a:lnTo>
                    <a:pt x="19409" y="3649"/>
                  </a:lnTo>
                  <a:lnTo>
                    <a:pt x="19409" y="4083"/>
                  </a:lnTo>
                  <a:lnTo>
                    <a:pt x="19409" y="4086"/>
                  </a:lnTo>
                  <a:lnTo>
                    <a:pt x="19420" y="4099"/>
                  </a:lnTo>
                  <a:lnTo>
                    <a:pt x="19434" y="4109"/>
                  </a:lnTo>
                  <a:lnTo>
                    <a:pt x="19448" y="4117"/>
                  </a:lnTo>
                  <a:lnTo>
                    <a:pt x="19465" y="4118"/>
                  </a:lnTo>
                  <a:lnTo>
                    <a:pt x="19498" y="4115"/>
                  </a:lnTo>
                  <a:lnTo>
                    <a:pt x="19530" y="4104"/>
                  </a:lnTo>
                  <a:lnTo>
                    <a:pt x="19564" y="4095"/>
                  </a:lnTo>
                  <a:lnTo>
                    <a:pt x="19597" y="4090"/>
                  </a:lnTo>
                  <a:lnTo>
                    <a:pt x="19629" y="4093"/>
                  </a:lnTo>
                  <a:lnTo>
                    <a:pt x="19660" y="4098"/>
                  </a:lnTo>
                  <a:lnTo>
                    <a:pt x="19688" y="4106"/>
                  </a:lnTo>
                  <a:lnTo>
                    <a:pt x="19715" y="4116"/>
                  </a:lnTo>
                  <a:lnTo>
                    <a:pt x="19739" y="4130"/>
                  </a:lnTo>
                  <a:lnTo>
                    <a:pt x="19761" y="4144"/>
                  </a:lnTo>
                  <a:lnTo>
                    <a:pt x="19782" y="4161"/>
                  </a:lnTo>
                  <a:lnTo>
                    <a:pt x="19800" y="4178"/>
                  </a:lnTo>
                  <a:lnTo>
                    <a:pt x="19830" y="4217"/>
                  </a:lnTo>
                  <a:lnTo>
                    <a:pt x="19842" y="4236"/>
                  </a:lnTo>
                  <a:lnTo>
                    <a:pt x="19852" y="4255"/>
                  </a:lnTo>
                  <a:lnTo>
                    <a:pt x="19861" y="4274"/>
                  </a:lnTo>
                  <a:lnTo>
                    <a:pt x="19866" y="4292"/>
                  </a:lnTo>
                  <a:lnTo>
                    <a:pt x="19871" y="4309"/>
                  </a:lnTo>
                  <a:lnTo>
                    <a:pt x="19874" y="4324"/>
                  </a:lnTo>
                  <a:lnTo>
                    <a:pt x="20236" y="4324"/>
                  </a:lnTo>
                  <a:lnTo>
                    <a:pt x="20236" y="4017"/>
                  </a:lnTo>
                  <a:lnTo>
                    <a:pt x="20238" y="4008"/>
                  </a:lnTo>
                  <a:lnTo>
                    <a:pt x="20242" y="4002"/>
                  </a:lnTo>
                  <a:lnTo>
                    <a:pt x="20248" y="3998"/>
                  </a:lnTo>
                  <a:lnTo>
                    <a:pt x="20256" y="3997"/>
                  </a:lnTo>
                  <a:lnTo>
                    <a:pt x="20264" y="3998"/>
                  </a:lnTo>
                  <a:lnTo>
                    <a:pt x="20270" y="4002"/>
                  </a:lnTo>
                  <a:lnTo>
                    <a:pt x="20274" y="4008"/>
                  </a:lnTo>
                  <a:lnTo>
                    <a:pt x="20277" y="4017"/>
                  </a:lnTo>
                  <a:lnTo>
                    <a:pt x="20277" y="4324"/>
                  </a:lnTo>
                  <a:lnTo>
                    <a:pt x="20482" y="4324"/>
                  </a:lnTo>
                  <a:lnTo>
                    <a:pt x="20482" y="3670"/>
                  </a:lnTo>
                  <a:lnTo>
                    <a:pt x="20482" y="3016"/>
                  </a:lnTo>
                  <a:lnTo>
                    <a:pt x="20024" y="3016"/>
                  </a:lnTo>
                  <a:lnTo>
                    <a:pt x="20024" y="3584"/>
                  </a:lnTo>
                  <a:lnTo>
                    <a:pt x="20024" y="4152"/>
                  </a:lnTo>
                  <a:lnTo>
                    <a:pt x="20023" y="4161"/>
                  </a:lnTo>
                  <a:lnTo>
                    <a:pt x="20018" y="4167"/>
                  </a:lnTo>
                  <a:lnTo>
                    <a:pt x="20011" y="4171"/>
                  </a:lnTo>
                  <a:lnTo>
                    <a:pt x="20005" y="4172"/>
                  </a:lnTo>
                  <a:lnTo>
                    <a:pt x="19997" y="4171"/>
                  </a:lnTo>
                  <a:lnTo>
                    <a:pt x="19991" y="4167"/>
                  </a:lnTo>
                  <a:lnTo>
                    <a:pt x="19986" y="4161"/>
                  </a:lnTo>
                  <a:lnTo>
                    <a:pt x="19984" y="4152"/>
                  </a:lnTo>
                  <a:lnTo>
                    <a:pt x="19984" y="3451"/>
                  </a:lnTo>
                  <a:lnTo>
                    <a:pt x="19984" y="2750"/>
                  </a:lnTo>
                  <a:lnTo>
                    <a:pt x="19946" y="2750"/>
                  </a:lnTo>
                  <a:lnTo>
                    <a:pt x="19939" y="2748"/>
                  </a:lnTo>
                  <a:lnTo>
                    <a:pt x="19933" y="2744"/>
                  </a:lnTo>
                  <a:lnTo>
                    <a:pt x="19928" y="2737"/>
                  </a:lnTo>
                  <a:lnTo>
                    <a:pt x="19927" y="2730"/>
                  </a:lnTo>
                  <a:lnTo>
                    <a:pt x="19927" y="2576"/>
                  </a:lnTo>
                  <a:lnTo>
                    <a:pt x="19928" y="2569"/>
                  </a:lnTo>
                  <a:lnTo>
                    <a:pt x="19933" y="2562"/>
                  </a:lnTo>
                  <a:lnTo>
                    <a:pt x="19939" y="2558"/>
                  </a:lnTo>
                  <a:lnTo>
                    <a:pt x="19946" y="2556"/>
                  </a:lnTo>
                  <a:lnTo>
                    <a:pt x="19998" y="2556"/>
                  </a:lnTo>
                  <a:lnTo>
                    <a:pt x="20041" y="2500"/>
                  </a:lnTo>
                  <a:lnTo>
                    <a:pt x="20089" y="2443"/>
                  </a:lnTo>
                  <a:lnTo>
                    <a:pt x="20116" y="2418"/>
                  </a:lnTo>
                  <a:lnTo>
                    <a:pt x="20143" y="2391"/>
                  </a:lnTo>
                  <a:lnTo>
                    <a:pt x="20201" y="2340"/>
                  </a:lnTo>
                  <a:lnTo>
                    <a:pt x="20264" y="2292"/>
                  </a:lnTo>
                  <a:lnTo>
                    <a:pt x="20331" y="2246"/>
                  </a:lnTo>
                  <a:lnTo>
                    <a:pt x="20402" y="2203"/>
                  </a:lnTo>
                  <a:lnTo>
                    <a:pt x="20477" y="2163"/>
                  </a:lnTo>
                  <a:lnTo>
                    <a:pt x="20556" y="2126"/>
                  </a:lnTo>
                  <a:lnTo>
                    <a:pt x="20638" y="2092"/>
                  </a:lnTo>
                  <a:lnTo>
                    <a:pt x="20681" y="2075"/>
                  </a:lnTo>
                  <a:lnTo>
                    <a:pt x="20724" y="2060"/>
                  </a:lnTo>
                  <a:lnTo>
                    <a:pt x="20813" y="2033"/>
                  </a:lnTo>
                  <a:lnTo>
                    <a:pt x="20904" y="2009"/>
                  </a:lnTo>
                  <a:lnTo>
                    <a:pt x="20999" y="1987"/>
                  </a:lnTo>
                  <a:lnTo>
                    <a:pt x="21095" y="1970"/>
                  </a:lnTo>
                  <a:lnTo>
                    <a:pt x="21194" y="1956"/>
                  </a:lnTo>
                  <a:lnTo>
                    <a:pt x="21194" y="1775"/>
                  </a:lnTo>
                  <a:lnTo>
                    <a:pt x="21196" y="1759"/>
                  </a:lnTo>
                  <a:lnTo>
                    <a:pt x="21200" y="1744"/>
                  </a:lnTo>
                  <a:lnTo>
                    <a:pt x="21209" y="1730"/>
                  </a:lnTo>
                  <a:lnTo>
                    <a:pt x="21219" y="1717"/>
                  </a:lnTo>
                  <a:lnTo>
                    <a:pt x="21232" y="1705"/>
                  </a:lnTo>
                  <a:lnTo>
                    <a:pt x="21247" y="1694"/>
                  </a:lnTo>
                  <a:lnTo>
                    <a:pt x="21265" y="1684"/>
                  </a:lnTo>
                  <a:lnTo>
                    <a:pt x="21285" y="1675"/>
                  </a:lnTo>
                  <a:lnTo>
                    <a:pt x="21329" y="1659"/>
                  </a:lnTo>
                  <a:lnTo>
                    <a:pt x="21378" y="1648"/>
                  </a:lnTo>
                  <a:lnTo>
                    <a:pt x="21429" y="1642"/>
                  </a:lnTo>
                  <a:lnTo>
                    <a:pt x="21483" y="1639"/>
                  </a:lnTo>
                  <a:lnTo>
                    <a:pt x="21537" y="1642"/>
                  </a:lnTo>
                  <a:lnTo>
                    <a:pt x="21590" y="1648"/>
                  </a:lnTo>
                  <a:lnTo>
                    <a:pt x="21614" y="1653"/>
                  </a:lnTo>
                  <a:lnTo>
                    <a:pt x="21638" y="1659"/>
                  </a:lnTo>
                  <a:lnTo>
                    <a:pt x="21660" y="1666"/>
                  </a:lnTo>
                  <a:lnTo>
                    <a:pt x="21682" y="1675"/>
                  </a:lnTo>
                  <a:lnTo>
                    <a:pt x="21719" y="1694"/>
                  </a:lnTo>
                  <a:lnTo>
                    <a:pt x="21747" y="1717"/>
                  </a:lnTo>
                  <a:lnTo>
                    <a:pt x="21759" y="1730"/>
                  </a:lnTo>
                  <a:lnTo>
                    <a:pt x="21767" y="1744"/>
                  </a:lnTo>
                  <a:lnTo>
                    <a:pt x="21772" y="1759"/>
                  </a:lnTo>
                  <a:lnTo>
                    <a:pt x="21773" y="1775"/>
                  </a:lnTo>
                  <a:lnTo>
                    <a:pt x="21773" y="1956"/>
                  </a:lnTo>
                  <a:lnTo>
                    <a:pt x="21872" y="1970"/>
                  </a:lnTo>
                  <a:lnTo>
                    <a:pt x="21969" y="1987"/>
                  </a:lnTo>
                  <a:lnTo>
                    <a:pt x="22063" y="2009"/>
                  </a:lnTo>
                  <a:lnTo>
                    <a:pt x="22155" y="2033"/>
                  </a:lnTo>
                  <a:lnTo>
                    <a:pt x="22244" y="2060"/>
                  </a:lnTo>
                  <a:lnTo>
                    <a:pt x="22328" y="2092"/>
                  </a:lnTo>
                  <a:lnTo>
                    <a:pt x="22412" y="2126"/>
                  </a:lnTo>
                  <a:lnTo>
                    <a:pt x="22490" y="2163"/>
                  </a:lnTo>
                  <a:lnTo>
                    <a:pt x="22566" y="2203"/>
                  </a:lnTo>
                  <a:lnTo>
                    <a:pt x="22601" y="2225"/>
                  </a:lnTo>
                  <a:lnTo>
                    <a:pt x="22636" y="2246"/>
                  </a:lnTo>
                  <a:lnTo>
                    <a:pt x="22703" y="2292"/>
                  </a:lnTo>
                  <a:lnTo>
                    <a:pt x="22766" y="2340"/>
                  </a:lnTo>
                  <a:lnTo>
                    <a:pt x="22795" y="2365"/>
                  </a:lnTo>
                  <a:lnTo>
                    <a:pt x="22825" y="2391"/>
                  </a:lnTo>
                  <a:lnTo>
                    <a:pt x="22877" y="2445"/>
                  </a:lnTo>
                  <a:lnTo>
                    <a:pt x="22926" y="2500"/>
                  </a:lnTo>
                  <a:lnTo>
                    <a:pt x="22969" y="2556"/>
                  </a:lnTo>
                  <a:lnTo>
                    <a:pt x="23021" y="2556"/>
                  </a:lnTo>
                  <a:lnTo>
                    <a:pt x="23028" y="2558"/>
                  </a:lnTo>
                  <a:lnTo>
                    <a:pt x="23035" y="2562"/>
                  </a:lnTo>
                  <a:lnTo>
                    <a:pt x="23039" y="2569"/>
                  </a:lnTo>
                  <a:lnTo>
                    <a:pt x="23040" y="2576"/>
                  </a:lnTo>
                  <a:lnTo>
                    <a:pt x="23040" y="2730"/>
                  </a:lnTo>
                  <a:lnTo>
                    <a:pt x="23039" y="2737"/>
                  </a:lnTo>
                  <a:lnTo>
                    <a:pt x="23035" y="2744"/>
                  </a:lnTo>
                  <a:lnTo>
                    <a:pt x="23028" y="2748"/>
                  </a:lnTo>
                  <a:lnTo>
                    <a:pt x="23021" y="2750"/>
                  </a:lnTo>
                  <a:lnTo>
                    <a:pt x="22982" y="2750"/>
                  </a:lnTo>
                  <a:lnTo>
                    <a:pt x="22982" y="3547"/>
                  </a:lnTo>
                  <a:lnTo>
                    <a:pt x="22982" y="4345"/>
                  </a:lnTo>
                  <a:lnTo>
                    <a:pt x="22981" y="4352"/>
                  </a:lnTo>
                  <a:lnTo>
                    <a:pt x="22977" y="4359"/>
                  </a:lnTo>
                  <a:lnTo>
                    <a:pt x="22971" y="4363"/>
                  </a:lnTo>
                  <a:lnTo>
                    <a:pt x="22963" y="4365"/>
                  </a:lnTo>
                  <a:lnTo>
                    <a:pt x="22717" y="4365"/>
                  </a:lnTo>
                  <a:lnTo>
                    <a:pt x="21733" y="4365"/>
                  </a:lnTo>
                  <a:lnTo>
                    <a:pt x="21241" y="4365"/>
                  </a:lnTo>
                  <a:lnTo>
                    <a:pt x="20749" y="4365"/>
                  </a:lnTo>
                  <a:lnTo>
                    <a:pt x="20257" y="4365"/>
                  </a:lnTo>
                  <a:lnTo>
                    <a:pt x="19865" y="4365"/>
                  </a:lnTo>
                  <a:lnTo>
                    <a:pt x="19859" y="4368"/>
                  </a:lnTo>
                  <a:lnTo>
                    <a:pt x="19852" y="4369"/>
                  </a:lnTo>
                  <a:lnTo>
                    <a:pt x="18987" y="4369"/>
                  </a:lnTo>
                  <a:lnTo>
                    <a:pt x="18122" y="4369"/>
                  </a:lnTo>
                  <a:lnTo>
                    <a:pt x="18119" y="4369"/>
                  </a:lnTo>
                  <a:lnTo>
                    <a:pt x="17558" y="4369"/>
                  </a:lnTo>
                  <a:lnTo>
                    <a:pt x="17549" y="4366"/>
                  </a:lnTo>
                  <a:lnTo>
                    <a:pt x="17543" y="4363"/>
                  </a:lnTo>
                  <a:lnTo>
                    <a:pt x="17540" y="4356"/>
                  </a:lnTo>
                  <a:lnTo>
                    <a:pt x="17539" y="4349"/>
                  </a:lnTo>
                  <a:lnTo>
                    <a:pt x="17540" y="4341"/>
                  </a:lnTo>
                  <a:lnTo>
                    <a:pt x="17543" y="4334"/>
                  </a:lnTo>
                  <a:lnTo>
                    <a:pt x="17549" y="4331"/>
                  </a:lnTo>
                  <a:lnTo>
                    <a:pt x="17558" y="4329"/>
                  </a:lnTo>
                  <a:lnTo>
                    <a:pt x="18096" y="4329"/>
                  </a:lnTo>
                  <a:lnTo>
                    <a:pt x="18092" y="4305"/>
                  </a:lnTo>
                  <a:lnTo>
                    <a:pt x="18090" y="4287"/>
                  </a:lnTo>
                  <a:lnTo>
                    <a:pt x="18094" y="4262"/>
                  </a:lnTo>
                  <a:lnTo>
                    <a:pt x="18103" y="4237"/>
                  </a:lnTo>
                  <a:lnTo>
                    <a:pt x="18116" y="4216"/>
                  </a:lnTo>
                  <a:lnTo>
                    <a:pt x="18134" y="4196"/>
                  </a:lnTo>
                  <a:lnTo>
                    <a:pt x="18155" y="4178"/>
                  </a:lnTo>
                  <a:lnTo>
                    <a:pt x="18178" y="4162"/>
                  </a:lnTo>
                  <a:lnTo>
                    <a:pt x="18230" y="4131"/>
                  </a:lnTo>
                  <a:lnTo>
                    <a:pt x="18213" y="3595"/>
                  </a:lnTo>
                  <a:lnTo>
                    <a:pt x="18197" y="3061"/>
                  </a:lnTo>
                  <a:lnTo>
                    <a:pt x="17607" y="2249"/>
                  </a:lnTo>
                  <a:lnTo>
                    <a:pt x="17579" y="2705"/>
                  </a:lnTo>
                  <a:lnTo>
                    <a:pt x="17576" y="2714"/>
                  </a:lnTo>
                  <a:lnTo>
                    <a:pt x="17571" y="2719"/>
                  </a:lnTo>
                  <a:lnTo>
                    <a:pt x="17557" y="2725"/>
                  </a:lnTo>
                  <a:lnTo>
                    <a:pt x="17551" y="2722"/>
                  </a:lnTo>
                  <a:lnTo>
                    <a:pt x="17544" y="2718"/>
                  </a:lnTo>
                  <a:lnTo>
                    <a:pt x="17540" y="2712"/>
                  </a:lnTo>
                  <a:lnTo>
                    <a:pt x="17539" y="2703"/>
                  </a:lnTo>
                  <a:lnTo>
                    <a:pt x="17570" y="2195"/>
                  </a:lnTo>
                  <a:lnTo>
                    <a:pt x="17571" y="2188"/>
                  </a:lnTo>
                  <a:lnTo>
                    <a:pt x="17597" y="1763"/>
                  </a:lnTo>
                  <a:lnTo>
                    <a:pt x="17597" y="1755"/>
                  </a:lnTo>
                  <a:lnTo>
                    <a:pt x="17640" y="1058"/>
                  </a:lnTo>
                  <a:lnTo>
                    <a:pt x="17622" y="1058"/>
                  </a:lnTo>
                  <a:lnTo>
                    <a:pt x="17615" y="1057"/>
                  </a:lnTo>
                  <a:lnTo>
                    <a:pt x="17608" y="1053"/>
                  </a:lnTo>
                  <a:lnTo>
                    <a:pt x="17604" y="1047"/>
                  </a:lnTo>
                  <a:lnTo>
                    <a:pt x="17603" y="1039"/>
                  </a:lnTo>
                  <a:lnTo>
                    <a:pt x="17603" y="943"/>
                  </a:lnTo>
                  <a:lnTo>
                    <a:pt x="17604" y="936"/>
                  </a:lnTo>
                  <a:lnTo>
                    <a:pt x="17608" y="929"/>
                  </a:lnTo>
                  <a:lnTo>
                    <a:pt x="17615" y="925"/>
                  </a:lnTo>
                  <a:lnTo>
                    <a:pt x="17622" y="924"/>
                  </a:lnTo>
                  <a:lnTo>
                    <a:pt x="18192" y="924"/>
                  </a:lnTo>
                  <a:lnTo>
                    <a:pt x="18199" y="925"/>
                  </a:lnTo>
                  <a:lnTo>
                    <a:pt x="18206" y="929"/>
                  </a:lnTo>
                  <a:lnTo>
                    <a:pt x="18211" y="936"/>
                  </a:lnTo>
                  <a:lnTo>
                    <a:pt x="18212" y="943"/>
                  </a:lnTo>
                  <a:lnTo>
                    <a:pt x="18212" y="1039"/>
                  </a:lnTo>
                  <a:lnTo>
                    <a:pt x="18211" y="1047"/>
                  </a:lnTo>
                  <a:lnTo>
                    <a:pt x="18206" y="1053"/>
                  </a:lnTo>
                  <a:lnTo>
                    <a:pt x="18199" y="1057"/>
                  </a:lnTo>
                  <a:lnTo>
                    <a:pt x="18192" y="1058"/>
                  </a:lnTo>
                  <a:lnTo>
                    <a:pt x="18174" y="1058"/>
                  </a:lnTo>
                  <a:lnTo>
                    <a:pt x="18201" y="1919"/>
                  </a:lnTo>
                  <a:lnTo>
                    <a:pt x="18930" y="1919"/>
                  </a:lnTo>
                  <a:lnTo>
                    <a:pt x="19661" y="1919"/>
                  </a:lnTo>
                  <a:lnTo>
                    <a:pt x="19698" y="1158"/>
                  </a:lnTo>
                  <a:lnTo>
                    <a:pt x="19736" y="399"/>
                  </a:lnTo>
                  <a:lnTo>
                    <a:pt x="19738" y="392"/>
                  </a:lnTo>
                  <a:lnTo>
                    <a:pt x="19742" y="386"/>
                  </a:lnTo>
                  <a:lnTo>
                    <a:pt x="19748" y="382"/>
                  </a:lnTo>
                  <a:lnTo>
                    <a:pt x="19756" y="381"/>
                  </a:lnTo>
                  <a:lnTo>
                    <a:pt x="20084" y="381"/>
                  </a:lnTo>
                  <a:lnTo>
                    <a:pt x="20092" y="382"/>
                  </a:lnTo>
                  <a:lnTo>
                    <a:pt x="20098" y="386"/>
                  </a:lnTo>
                  <a:lnTo>
                    <a:pt x="20102" y="392"/>
                  </a:lnTo>
                  <a:lnTo>
                    <a:pt x="20105" y="399"/>
                  </a:lnTo>
                  <a:lnTo>
                    <a:pt x="20142" y="1126"/>
                  </a:lnTo>
                  <a:lnTo>
                    <a:pt x="20181" y="1855"/>
                  </a:lnTo>
                  <a:lnTo>
                    <a:pt x="20179" y="1864"/>
                  </a:lnTo>
                  <a:lnTo>
                    <a:pt x="20175" y="1870"/>
                  </a:lnTo>
                  <a:lnTo>
                    <a:pt x="20169" y="1874"/>
                  </a:lnTo>
                  <a:lnTo>
                    <a:pt x="20161" y="1877"/>
                  </a:lnTo>
                  <a:lnTo>
                    <a:pt x="20147" y="1872"/>
                  </a:lnTo>
                  <a:lnTo>
                    <a:pt x="20143" y="1867"/>
                  </a:lnTo>
                  <a:lnTo>
                    <a:pt x="20141" y="1858"/>
                  </a:lnTo>
                  <a:lnTo>
                    <a:pt x="20102" y="1139"/>
                  </a:lnTo>
                  <a:lnTo>
                    <a:pt x="20065" y="420"/>
                  </a:lnTo>
                  <a:lnTo>
                    <a:pt x="19775" y="420"/>
                  </a:lnTo>
                  <a:lnTo>
                    <a:pt x="19737" y="1180"/>
                  </a:lnTo>
                  <a:lnTo>
                    <a:pt x="19700" y="1939"/>
                  </a:lnTo>
                  <a:lnTo>
                    <a:pt x="19700" y="1942"/>
                  </a:lnTo>
                  <a:lnTo>
                    <a:pt x="19698" y="1947"/>
                  </a:lnTo>
                  <a:lnTo>
                    <a:pt x="19695" y="1952"/>
                  </a:lnTo>
                  <a:lnTo>
                    <a:pt x="19688" y="1956"/>
                  </a:lnTo>
                  <a:lnTo>
                    <a:pt x="19682" y="1959"/>
                  </a:lnTo>
                  <a:lnTo>
                    <a:pt x="18942" y="1959"/>
                  </a:lnTo>
                  <a:lnTo>
                    <a:pt x="18202" y="1959"/>
                  </a:lnTo>
                  <a:lnTo>
                    <a:pt x="18221" y="2560"/>
                  </a:lnTo>
                  <a:lnTo>
                    <a:pt x="18221" y="2567"/>
                  </a:lnTo>
                  <a:lnTo>
                    <a:pt x="18244" y="3338"/>
                  </a:lnTo>
                  <a:lnTo>
                    <a:pt x="18269" y="4111"/>
                  </a:lnTo>
                  <a:lnTo>
                    <a:pt x="18320" y="4081"/>
                  </a:lnTo>
                  <a:lnTo>
                    <a:pt x="18342" y="4066"/>
                  </a:lnTo>
                  <a:lnTo>
                    <a:pt x="18361" y="4049"/>
                  </a:lnTo>
                  <a:lnTo>
                    <a:pt x="18392" y="4015"/>
                  </a:lnTo>
                  <a:lnTo>
                    <a:pt x="18419" y="3976"/>
                  </a:lnTo>
                  <a:lnTo>
                    <a:pt x="18447" y="3936"/>
                  </a:lnTo>
                  <a:lnTo>
                    <a:pt x="18475" y="3897"/>
                  </a:lnTo>
                  <a:lnTo>
                    <a:pt x="18506" y="3863"/>
                  </a:lnTo>
                  <a:lnTo>
                    <a:pt x="18524" y="3849"/>
                  </a:lnTo>
                  <a:lnTo>
                    <a:pt x="18542" y="3835"/>
                  </a:lnTo>
                  <a:lnTo>
                    <a:pt x="18562" y="3824"/>
                  </a:lnTo>
                  <a:lnTo>
                    <a:pt x="18585" y="3817"/>
                  </a:lnTo>
                  <a:lnTo>
                    <a:pt x="18610" y="3811"/>
                  </a:lnTo>
                  <a:lnTo>
                    <a:pt x="18637" y="3810"/>
                  </a:lnTo>
                  <a:lnTo>
                    <a:pt x="18656" y="3811"/>
                  </a:lnTo>
                  <a:lnTo>
                    <a:pt x="18673" y="3817"/>
                  </a:lnTo>
                  <a:lnTo>
                    <a:pt x="18702" y="3831"/>
                  </a:lnTo>
                  <a:lnTo>
                    <a:pt x="18702" y="3827"/>
                  </a:lnTo>
                  <a:lnTo>
                    <a:pt x="18702" y="3086"/>
                  </a:lnTo>
                  <a:lnTo>
                    <a:pt x="18664" y="3083"/>
                  </a:lnTo>
                  <a:lnTo>
                    <a:pt x="18625" y="3075"/>
                  </a:lnTo>
                  <a:lnTo>
                    <a:pt x="18588" y="3065"/>
                  </a:lnTo>
                  <a:lnTo>
                    <a:pt x="18553" y="3051"/>
                  </a:lnTo>
                  <a:lnTo>
                    <a:pt x="18519" y="3033"/>
                  </a:lnTo>
                  <a:lnTo>
                    <a:pt x="18488" y="3012"/>
                  </a:lnTo>
                  <a:lnTo>
                    <a:pt x="18458" y="2989"/>
                  </a:lnTo>
                  <a:lnTo>
                    <a:pt x="18431" y="2964"/>
                  </a:lnTo>
                  <a:lnTo>
                    <a:pt x="18407" y="2936"/>
                  </a:lnTo>
                  <a:lnTo>
                    <a:pt x="18385" y="2905"/>
                  </a:lnTo>
                  <a:lnTo>
                    <a:pt x="18366" y="2873"/>
                  </a:lnTo>
                  <a:lnTo>
                    <a:pt x="18349" y="2838"/>
                  </a:lnTo>
                  <a:lnTo>
                    <a:pt x="18337" y="2803"/>
                  </a:lnTo>
                  <a:lnTo>
                    <a:pt x="18328" y="2766"/>
                  </a:lnTo>
                  <a:lnTo>
                    <a:pt x="18322" y="2726"/>
                  </a:lnTo>
                  <a:lnTo>
                    <a:pt x="18320" y="2686"/>
                  </a:lnTo>
                  <a:lnTo>
                    <a:pt x="18322" y="2645"/>
                  </a:lnTo>
                  <a:lnTo>
                    <a:pt x="18328" y="2606"/>
                  </a:lnTo>
                  <a:lnTo>
                    <a:pt x="18338" y="2567"/>
                  </a:lnTo>
                  <a:lnTo>
                    <a:pt x="18352" y="2530"/>
                  </a:lnTo>
                  <a:lnTo>
                    <a:pt x="18369" y="2496"/>
                  </a:lnTo>
                  <a:lnTo>
                    <a:pt x="18388" y="2462"/>
                  </a:lnTo>
                  <a:lnTo>
                    <a:pt x="18412" y="2432"/>
                  </a:lnTo>
                  <a:lnTo>
                    <a:pt x="18438" y="2404"/>
                  </a:lnTo>
                  <a:lnTo>
                    <a:pt x="18466" y="2377"/>
                  </a:lnTo>
                  <a:lnTo>
                    <a:pt x="18497" y="2354"/>
                  </a:lnTo>
                  <a:lnTo>
                    <a:pt x="18530" y="2335"/>
                  </a:lnTo>
                  <a:lnTo>
                    <a:pt x="18565" y="2317"/>
                  </a:lnTo>
                  <a:lnTo>
                    <a:pt x="18602" y="2304"/>
                  </a:lnTo>
                  <a:lnTo>
                    <a:pt x="18640" y="2294"/>
                  </a:lnTo>
                  <a:lnTo>
                    <a:pt x="18680" y="2287"/>
                  </a:lnTo>
                  <a:lnTo>
                    <a:pt x="18721" y="2286"/>
                  </a:lnTo>
                  <a:lnTo>
                    <a:pt x="18764" y="2287"/>
                  </a:lnTo>
                  <a:lnTo>
                    <a:pt x="18803" y="2294"/>
                  </a:lnTo>
                  <a:lnTo>
                    <a:pt x="18842" y="2304"/>
                  </a:lnTo>
                  <a:lnTo>
                    <a:pt x="18879" y="2318"/>
                  </a:lnTo>
                  <a:lnTo>
                    <a:pt x="18914" y="2335"/>
                  </a:lnTo>
                  <a:lnTo>
                    <a:pt x="18947" y="2355"/>
                  </a:lnTo>
                  <a:lnTo>
                    <a:pt x="18978" y="2378"/>
                  </a:lnTo>
                  <a:lnTo>
                    <a:pt x="19007" y="2404"/>
                  </a:lnTo>
                  <a:lnTo>
                    <a:pt x="19033" y="2433"/>
                  </a:lnTo>
                  <a:lnTo>
                    <a:pt x="19056" y="2464"/>
                  </a:lnTo>
                  <a:lnTo>
                    <a:pt x="19075" y="2497"/>
                  </a:lnTo>
                  <a:lnTo>
                    <a:pt x="19092" y="2532"/>
                  </a:lnTo>
                  <a:lnTo>
                    <a:pt x="19106" y="2569"/>
                  </a:lnTo>
                  <a:lnTo>
                    <a:pt x="19115" y="2607"/>
                  </a:lnTo>
                  <a:lnTo>
                    <a:pt x="19121" y="2645"/>
                  </a:lnTo>
                  <a:lnTo>
                    <a:pt x="19124" y="2686"/>
                  </a:lnTo>
                  <a:lnTo>
                    <a:pt x="19121" y="2695"/>
                  </a:lnTo>
                  <a:lnTo>
                    <a:pt x="19118" y="2702"/>
                  </a:lnTo>
                  <a:lnTo>
                    <a:pt x="19111" y="2705"/>
                  </a:lnTo>
                  <a:lnTo>
                    <a:pt x="19103" y="2707"/>
                  </a:lnTo>
                  <a:lnTo>
                    <a:pt x="19096" y="2705"/>
                  </a:lnTo>
                  <a:lnTo>
                    <a:pt x="19089" y="2702"/>
                  </a:lnTo>
                  <a:lnTo>
                    <a:pt x="19085" y="2695"/>
                  </a:lnTo>
                  <a:lnTo>
                    <a:pt x="19083" y="2686"/>
                  </a:lnTo>
                  <a:lnTo>
                    <a:pt x="19082" y="2650"/>
                  </a:lnTo>
                  <a:lnTo>
                    <a:pt x="19076" y="2615"/>
                  </a:lnTo>
                  <a:lnTo>
                    <a:pt x="19067" y="2580"/>
                  </a:lnTo>
                  <a:lnTo>
                    <a:pt x="19055" y="2547"/>
                  </a:lnTo>
                  <a:lnTo>
                    <a:pt x="19041" y="2515"/>
                  </a:lnTo>
                  <a:lnTo>
                    <a:pt x="19023" y="2485"/>
                  </a:lnTo>
                  <a:lnTo>
                    <a:pt x="19002" y="2457"/>
                  </a:lnTo>
                  <a:lnTo>
                    <a:pt x="18978" y="2432"/>
                  </a:lnTo>
                  <a:lnTo>
                    <a:pt x="18952" y="2409"/>
                  </a:lnTo>
                  <a:lnTo>
                    <a:pt x="18925" y="2388"/>
                  </a:lnTo>
                  <a:lnTo>
                    <a:pt x="18894" y="2369"/>
                  </a:lnTo>
                  <a:lnTo>
                    <a:pt x="18864" y="2354"/>
                  </a:lnTo>
                  <a:lnTo>
                    <a:pt x="18830" y="2342"/>
                  </a:lnTo>
                  <a:lnTo>
                    <a:pt x="18796" y="2333"/>
                  </a:lnTo>
                  <a:lnTo>
                    <a:pt x="18758" y="2328"/>
                  </a:lnTo>
                  <a:lnTo>
                    <a:pt x="18721" y="2326"/>
                  </a:lnTo>
                  <a:lnTo>
                    <a:pt x="18684" y="2328"/>
                  </a:lnTo>
                  <a:lnTo>
                    <a:pt x="18648" y="2333"/>
                  </a:lnTo>
                  <a:lnTo>
                    <a:pt x="18614" y="2342"/>
                  </a:lnTo>
                  <a:lnTo>
                    <a:pt x="18580" y="2354"/>
                  </a:lnTo>
                  <a:lnTo>
                    <a:pt x="18549" y="2369"/>
                  </a:lnTo>
                  <a:lnTo>
                    <a:pt x="18520" y="2387"/>
                  </a:lnTo>
                  <a:lnTo>
                    <a:pt x="18492" y="2407"/>
                  </a:lnTo>
                  <a:lnTo>
                    <a:pt x="18466" y="2432"/>
                  </a:lnTo>
                  <a:lnTo>
                    <a:pt x="18443" y="2457"/>
                  </a:lnTo>
                  <a:lnTo>
                    <a:pt x="18421" y="2484"/>
                  </a:lnTo>
                  <a:lnTo>
                    <a:pt x="18403" y="2515"/>
                  </a:lnTo>
                  <a:lnTo>
                    <a:pt x="18388" y="2546"/>
                  </a:lnTo>
                  <a:lnTo>
                    <a:pt x="18381" y="2562"/>
                  </a:lnTo>
                  <a:lnTo>
                    <a:pt x="18376" y="2579"/>
                  </a:lnTo>
                  <a:lnTo>
                    <a:pt x="18367" y="2613"/>
                  </a:lnTo>
                  <a:lnTo>
                    <a:pt x="18362" y="2649"/>
                  </a:lnTo>
                  <a:lnTo>
                    <a:pt x="18360" y="2686"/>
                  </a:lnTo>
                  <a:lnTo>
                    <a:pt x="18362" y="2722"/>
                  </a:lnTo>
                  <a:lnTo>
                    <a:pt x="18367" y="2757"/>
                  </a:lnTo>
                  <a:lnTo>
                    <a:pt x="18375" y="2790"/>
                  </a:lnTo>
                  <a:lnTo>
                    <a:pt x="18387" y="2823"/>
                  </a:lnTo>
                  <a:lnTo>
                    <a:pt x="18401" y="2854"/>
                  </a:lnTo>
                  <a:lnTo>
                    <a:pt x="18417" y="2882"/>
                  </a:lnTo>
                  <a:lnTo>
                    <a:pt x="18438" y="2910"/>
                  </a:lnTo>
                  <a:lnTo>
                    <a:pt x="18460" y="2936"/>
                  </a:lnTo>
                  <a:lnTo>
                    <a:pt x="18484" y="2959"/>
                  </a:lnTo>
                  <a:lnTo>
                    <a:pt x="18510" y="2979"/>
                  </a:lnTo>
                  <a:lnTo>
                    <a:pt x="18538" y="2997"/>
                  </a:lnTo>
                  <a:lnTo>
                    <a:pt x="18569" y="3014"/>
                  </a:lnTo>
                  <a:lnTo>
                    <a:pt x="18599" y="3026"/>
                  </a:lnTo>
                  <a:lnTo>
                    <a:pt x="18633" y="3037"/>
                  </a:lnTo>
                  <a:lnTo>
                    <a:pt x="18667" y="3043"/>
                  </a:lnTo>
                  <a:lnTo>
                    <a:pt x="18702" y="3047"/>
                  </a:lnTo>
                  <a:lnTo>
                    <a:pt x="18702" y="3011"/>
                  </a:lnTo>
                  <a:lnTo>
                    <a:pt x="18701" y="3008"/>
                  </a:lnTo>
                  <a:lnTo>
                    <a:pt x="18597" y="2865"/>
                  </a:lnTo>
                  <a:lnTo>
                    <a:pt x="18593" y="2858"/>
                  </a:lnTo>
                  <a:lnTo>
                    <a:pt x="18593" y="2850"/>
                  </a:lnTo>
                  <a:lnTo>
                    <a:pt x="18596" y="2842"/>
                  </a:lnTo>
                  <a:lnTo>
                    <a:pt x="18601" y="2837"/>
                  </a:lnTo>
                  <a:lnTo>
                    <a:pt x="18607" y="2835"/>
                  </a:lnTo>
                  <a:lnTo>
                    <a:pt x="18615" y="2833"/>
                  </a:lnTo>
                  <a:lnTo>
                    <a:pt x="18623" y="2836"/>
                  </a:lnTo>
                  <a:lnTo>
                    <a:pt x="18629" y="2842"/>
                  </a:lnTo>
                  <a:lnTo>
                    <a:pt x="18702" y="2943"/>
                  </a:lnTo>
                  <a:lnTo>
                    <a:pt x="18702" y="2901"/>
                  </a:lnTo>
                  <a:lnTo>
                    <a:pt x="18702" y="2895"/>
                  </a:lnTo>
                  <a:lnTo>
                    <a:pt x="18702" y="2744"/>
                  </a:lnTo>
                  <a:lnTo>
                    <a:pt x="18606" y="2611"/>
                  </a:lnTo>
                  <a:lnTo>
                    <a:pt x="18602" y="2603"/>
                  </a:lnTo>
                  <a:lnTo>
                    <a:pt x="18602" y="2595"/>
                  </a:lnTo>
                  <a:lnTo>
                    <a:pt x="18606" y="2588"/>
                  </a:lnTo>
                  <a:lnTo>
                    <a:pt x="18611" y="2583"/>
                  </a:lnTo>
                  <a:lnTo>
                    <a:pt x="18617" y="2580"/>
                  </a:lnTo>
                  <a:lnTo>
                    <a:pt x="18625" y="2579"/>
                  </a:lnTo>
                  <a:lnTo>
                    <a:pt x="18633" y="2581"/>
                  </a:lnTo>
                  <a:lnTo>
                    <a:pt x="18639" y="2588"/>
                  </a:lnTo>
                  <a:lnTo>
                    <a:pt x="18702" y="2675"/>
                  </a:lnTo>
                  <a:lnTo>
                    <a:pt x="18702" y="2599"/>
                  </a:lnTo>
                  <a:lnTo>
                    <a:pt x="18705" y="2590"/>
                  </a:lnTo>
                  <a:lnTo>
                    <a:pt x="18708" y="2584"/>
                  </a:lnTo>
                  <a:lnTo>
                    <a:pt x="18715" y="2580"/>
                  </a:lnTo>
                  <a:lnTo>
                    <a:pt x="18723" y="2579"/>
                  </a:lnTo>
                  <a:lnTo>
                    <a:pt x="18730" y="2580"/>
                  </a:lnTo>
                  <a:lnTo>
                    <a:pt x="18737" y="2584"/>
                  </a:lnTo>
                  <a:lnTo>
                    <a:pt x="18741" y="2590"/>
                  </a:lnTo>
                  <a:lnTo>
                    <a:pt x="18742" y="2599"/>
                  </a:lnTo>
                  <a:lnTo>
                    <a:pt x="18742" y="2734"/>
                  </a:lnTo>
                  <a:lnTo>
                    <a:pt x="18742" y="2740"/>
                  </a:lnTo>
                  <a:lnTo>
                    <a:pt x="18742" y="2836"/>
                  </a:lnTo>
                  <a:lnTo>
                    <a:pt x="18828" y="2718"/>
                  </a:lnTo>
                  <a:lnTo>
                    <a:pt x="18834" y="2712"/>
                  </a:lnTo>
                  <a:lnTo>
                    <a:pt x="18842" y="2711"/>
                  </a:lnTo>
                  <a:lnTo>
                    <a:pt x="18856" y="2714"/>
                  </a:lnTo>
                  <a:lnTo>
                    <a:pt x="18861" y="2719"/>
                  </a:lnTo>
                  <a:lnTo>
                    <a:pt x="18864" y="2726"/>
                  </a:lnTo>
                  <a:lnTo>
                    <a:pt x="18864" y="2734"/>
                  </a:lnTo>
                  <a:lnTo>
                    <a:pt x="18860" y="2743"/>
                  </a:lnTo>
                  <a:close/>
                  <a:moveTo>
                    <a:pt x="20006" y="2597"/>
                  </a:moveTo>
                  <a:lnTo>
                    <a:pt x="19966" y="2597"/>
                  </a:lnTo>
                  <a:lnTo>
                    <a:pt x="19966" y="2709"/>
                  </a:lnTo>
                  <a:lnTo>
                    <a:pt x="20724" y="2709"/>
                  </a:lnTo>
                  <a:lnTo>
                    <a:pt x="21483" y="2709"/>
                  </a:lnTo>
                  <a:lnTo>
                    <a:pt x="22241" y="2709"/>
                  </a:lnTo>
                  <a:lnTo>
                    <a:pt x="23000" y="2709"/>
                  </a:lnTo>
                  <a:lnTo>
                    <a:pt x="23000" y="2597"/>
                  </a:lnTo>
                  <a:lnTo>
                    <a:pt x="22962" y="2597"/>
                  </a:lnTo>
                  <a:lnTo>
                    <a:pt x="22954" y="2597"/>
                  </a:lnTo>
                  <a:lnTo>
                    <a:pt x="22218" y="2597"/>
                  </a:lnTo>
                  <a:lnTo>
                    <a:pt x="21483" y="2597"/>
                  </a:lnTo>
                  <a:lnTo>
                    <a:pt x="20747" y="2597"/>
                  </a:lnTo>
                  <a:lnTo>
                    <a:pt x="20013" y="2597"/>
                  </a:lnTo>
                  <a:lnTo>
                    <a:pt x="20006" y="2597"/>
                  </a:lnTo>
                  <a:close/>
                  <a:moveTo>
                    <a:pt x="19369" y="3221"/>
                  </a:moveTo>
                  <a:lnTo>
                    <a:pt x="19369" y="3011"/>
                  </a:lnTo>
                  <a:lnTo>
                    <a:pt x="19370" y="3002"/>
                  </a:lnTo>
                  <a:lnTo>
                    <a:pt x="19375" y="2996"/>
                  </a:lnTo>
                  <a:lnTo>
                    <a:pt x="19382" y="2992"/>
                  </a:lnTo>
                  <a:lnTo>
                    <a:pt x="19388" y="2991"/>
                  </a:lnTo>
                  <a:lnTo>
                    <a:pt x="19396" y="2992"/>
                  </a:lnTo>
                  <a:lnTo>
                    <a:pt x="19402" y="2996"/>
                  </a:lnTo>
                  <a:lnTo>
                    <a:pt x="19407" y="3002"/>
                  </a:lnTo>
                  <a:lnTo>
                    <a:pt x="19409" y="3011"/>
                  </a:lnTo>
                  <a:lnTo>
                    <a:pt x="19409" y="3162"/>
                  </a:lnTo>
                  <a:lnTo>
                    <a:pt x="19442" y="3116"/>
                  </a:lnTo>
                  <a:lnTo>
                    <a:pt x="19448" y="3111"/>
                  </a:lnTo>
                  <a:lnTo>
                    <a:pt x="19456" y="3108"/>
                  </a:lnTo>
                  <a:lnTo>
                    <a:pt x="19470" y="3112"/>
                  </a:lnTo>
                  <a:lnTo>
                    <a:pt x="19475" y="3117"/>
                  </a:lnTo>
                  <a:lnTo>
                    <a:pt x="19478" y="3124"/>
                  </a:lnTo>
                  <a:lnTo>
                    <a:pt x="19478" y="3131"/>
                  </a:lnTo>
                  <a:lnTo>
                    <a:pt x="19474" y="3140"/>
                  </a:lnTo>
                  <a:lnTo>
                    <a:pt x="19409" y="3231"/>
                  </a:lnTo>
                  <a:lnTo>
                    <a:pt x="19409" y="3413"/>
                  </a:lnTo>
                  <a:lnTo>
                    <a:pt x="19432" y="3381"/>
                  </a:lnTo>
                  <a:lnTo>
                    <a:pt x="19438" y="3374"/>
                  </a:lnTo>
                  <a:lnTo>
                    <a:pt x="19446" y="3372"/>
                  </a:lnTo>
                  <a:lnTo>
                    <a:pt x="19460" y="3375"/>
                  </a:lnTo>
                  <a:lnTo>
                    <a:pt x="19465" y="3382"/>
                  </a:lnTo>
                  <a:lnTo>
                    <a:pt x="19468" y="3388"/>
                  </a:lnTo>
                  <a:lnTo>
                    <a:pt x="19468" y="3396"/>
                  </a:lnTo>
                  <a:lnTo>
                    <a:pt x="19464" y="3404"/>
                  </a:lnTo>
                  <a:lnTo>
                    <a:pt x="19409" y="3480"/>
                  </a:lnTo>
                  <a:lnTo>
                    <a:pt x="19409" y="3491"/>
                  </a:lnTo>
                  <a:lnTo>
                    <a:pt x="19409" y="3498"/>
                  </a:lnTo>
                  <a:lnTo>
                    <a:pt x="19409" y="3608"/>
                  </a:lnTo>
                  <a:lnTo>
                    <a:pt x="19425" y="3613"/>
                  </a:lnTo>
                  <a:lnTo>
                    <a:pt x="19441" y="3620"/>
                  </a:lnTo>
                  <a:lnTo>
                    <a:pt x="19455" y="3627"/>
                  </a:lnTo>
                  <a:lnTo>
                    <a:pt x="19468" y="3632"/>
                  </a:lnTo>
                  <a:lnTo>
                    <a:pt x="19480" y="3635"/>
                  </a:lnTo>
                  <a:lnTo>
                    <a:pt x="19488" y="3635"/>
                  </a:lnTo>
                  <a:lnTo>
                    <a:pt x="19494" y="3632"/>
                  </a:lnTo>
                  <a:lnTo>
                    <a:pt x="19501" y="3630"/>
                  </a:lnTo>
                  <a:lnTo>
                    <a:pt x="19509" y="3625"/>
                  </a:lnTo>
                  <a:lnTo>
                    <a:pt x="19525" y="3608"/>
                  </a:lnTo>
                  <a:lnTo>
                    <a:pt x="19547" y="3585"/>
                  </a:lnTo>
                  <a:lnTo>
                    <a:pt x="19562" y="3570"/>
                  </a:lnTo>
                  <a:lnTo>
                    <a:pt x="19577" y="3562"/>
                  </a:lnTo>
                  <a:lnTo>
                    <a:pt x="19591" y="3558"/>
                  </a:lnTo>
                  <a:lnTo>
                    <a:pt x="19620" y="3556"/>
                  </a:lnTo>
                  <a:lnTo>
                    <a:pt x="19639" y="3554"/>
                  </a:lnTo>
                  <a:lnTo>
                    <a:pt x="19664" y="3552"/>
                  </a:lnTo>
                  <a:lnTo>
                    <a:pt x="19679" y="3544"/>
                  </a:lnTo>
                  <a:lnTo>
                    <a:pt x="19684" y="3539"/>
                  </a:lnTo>
                  <a:lnTo>
                    <a:pt x="19688" y="3533"/>
                  </a:lnTo>
                  <a:lnTo>
                    <a:pt x="19695" y="3517"/>
                  </a:lnTo>
                  <a:lnTo>
                    <a:pt x="19700" y="3499"/>
                  </a:lnTo>
                  <a:lnTo>
                    <a:pt x="19705" y="3479"/>
                  </a:lnTo>
                  <a:lnTo>
                    <a:pt x="19714" y="3460"/>
                  </a:lnTo>
                  <a:lnTo>
                    <a:pt x="19728" y="3441"/>
                  </a:lnTo>
                  <a:lnTo>
                    <a:pt x="19737" y="3432"/>
                  </a:lnTo>
                  <a:lnTo>
                    <a:pt x="19748" y="3424"/>
                  </a:lnTo>
                  <a:lnTo>
                    <a:pt x="19792" y="3398"/>
                  </a:lnTo>
                  <a:lnTo>
                    <a:pt x="19804" y="3391"/>
                  </a:lnTo>
                  <a:lnTo>
                    <a:pt x="19810" y="3383"/>
                  </a:lnTo>
                  <a:lnTo>
                    <a:pt x="19813" y="3373"/>
                  </a:lnTo>
                  <a:lnTo>
                    <a:pt x="19811" y="3360"/>
                  </a:lnTo>
                  <a:lnTo>
                    <a:pt x="19804" y="3310"/>
                  </a:lnTo>
                  <a:lnTo>
                    <a:pt x="19804" y="3286"/>
                  </a:lnTo>
                  <a:lnTo>
                    <a:pt x="19807" y="3265"/>
                  </a:lnTo>
                  <a:lnTo>
                    <a:pt x="19816" y="3248"/>
                  </a:lnTo>
                  <a:lnTo>
                    <a:pt x="19827" y="3232"/>
                  </a:lnTo>
                  <a:lnTo>
                    <a:pt x="19847" y="3207"/>
                  </a:lnTo>
                  <a:lnTo>
                    <a:pt x="19854" y="3194"/>
                  </a:lnTo>
                  <a:lnTo>
                    <a:pt x="19856" y="3181"/>
                  </a:lnTo>
                  <a:lnTo>
                    <a:pt x="19854" y="3164"/>
                  </a:lnTo>
                  <a:lnTo>
                    <a:pt x="19850" y="3158"/>
                  </a:lnTo>
                  <a:lnTo>
                    <a:pt x="19846" y="3152"/>
                  </a:lnTo>
                  <a:lnTo>
                    <a:pt x="19824" y="3126"/>
                  </a:lnTo>
                  <a:lnTo>
                    <a:pt x="19814" y="3109"/>
                  </a:lnTo>
                  <a:lnTo>
                    <a:pt x="19806" y="3088"/>
                  </a:lnTo>
                  <a:lnTo>
                    <a:pt x="19805" y="3060"/>
                  </a:lnTo>
                  <a:lnTo>
                    <a:pt x="19806" y="3042"/>
                  </a:lnTo>
                  <a:lnTo>
                    <a:pt x="19809" y="3020"/>
                  </a:lnTo>
                  <a:lnTo>
                    <a:pt x="19811" y="3005"/>
                  </a:lnTo>
                  <a:lnTo>
                    <a:pt x="19811" y="2992"/>
                  </a:lnTo>
                  <a:lnTo>
                    <a:pt x="19809" y="2982"/>
                  </a:lnTo>
                  <a:lnTo>
                    <a:pt x="19805" y="2973"/>
                  </a:lnTo>
                  <a:lnTo>
                    <a:pt x="19792" y="2960"/>
                  </a:lnTo>
                  <a:lnTo>
                    <a:pt x="19775" y="2951"/>
                  </a:lnTo>
                  <a:lnTo>
                    <a:pt x="19757" y="2942"/>
                  </a:lnTo>
                  <a:lnTo>
                    <a:pt x="19738" y="2930"/>
                  </a:lnTo>
                  <a:lnTo>
                    <a:pt x="19720" y="2913"/>
                  </a:lnTo>
                  <a:lnTo>
                    <a:pt x="19712" y="2900"/>
                  </a:lnTo>
                  <a:lnTo>
                    <a:pt x="19706" y="2884"/>
                  </a:lnTo>
                  <a:lnTo>
                    <a:pt x="19691" y="2837"/>
                  </a:lnTo>
                  <a:lnTo>
                    <a:pt x="19686" y="2824"/>
                  </a:lnTo>
                  <a:lnTo>
                    <a:pt x="19683" y="2819"/>
                  </a:lnTo>
                  <a:lnTo>
                    <a:pt x="19680" y="2815"/>
                  </a:lnTo>
                  <a:lnTo>
                    <a:pt x="19671" y="2812"/>
                  </a:lnTo>
                  <a:lnTo>
                    <a:pt x="19657" y="2810"/>
                  </a:lnTo>
                  <a:lnTo>
                    <a:pt x="19607" y="2806"/>
                  </a:lnTo>
                  <a:lnTo>
                    <a:pt x="19591" y="2803"/>
                  </a:lnTo>
                  <a:lnTo>
                    <a:pt x="19577" y="2799"/>
                  </a:lnTo>
                  <a:lnTo>
                    <a:pt x="19555" y="2786"/>
                  </a:lnTo>
                  <a:lnTo>
                    <a:pt x="19547" y="2778"/>
                  </a:lnTo>
                  <a:lnTo>
                    <a:pt x="19539" y="2769"/>
                  </a:lnTo>
                  <a:lnTo>
                    <a:pt x="19527" y="2753"/>
                  </a:lnTo>
                  <a:lnTo>
                    <a:pt x="19514" y="2739"/>
                  </a:lnTo>
                  <a:lnTo>
                    <a:pt x="19507" y="2734"/>
                  </a:lnTo>
                  <a:lnTo>
                    <a:pt x="19500" y="2730"/>
                  </a:lnTo>
                  <a:lnTo>
                    <a:pt x="19491" y="2727"/>
                  </a:lnTo>
                  <a:lnTo>
                    <a:pt x="19479" y="2728"/>
                  </a:lnTo>
                  <a:lnTo>
                    <a:pt x="19452" y="2736"/>
                  </a:lnTo>
                  <a:lnTo>
                    <a:pt x="19421" y="2749"/>
                  </a:lnTo>
                  <a:lnTo>
                    <a:pt x="19405" y="2754"/>
                  </a:lnTo>
                  <a:lnTo>
                    <a:pt x="19388" y="2755"/>
                  </a:lnTo>
                  <a:lnTo>
                    <a:pt x="19366" y="2753"/>
                  </a:lnTo>
                  <a:lnTo>
                    <a:pt x="19347" y="2746"/>
                  </a:lnTo>
                  <a:lnTo>
                    <a:pt x="19316" y="2731"/>
                  </a:lnTo>
                  <a:lnTo>
                    <a:pt x="19301" y="2727"/>
                  </a:lnTo>
                  <a:lnTo>
                    <a:pt x="19293" y="2726"/>
                  </a:lnTo>
                  <a:lnTo>
                    <a:pt x="19287" y="2727"/>
                  </a:lnTo>
                  <a:lnTo>
                    <a:pt x="19270" y="2736"/>
                  </a:lnTo>
                  <a:lnTo>
                    <a:pt x="19251" y="2753"/>
                  </a:lnTo>
                  <a:lnTo>
                    <a:pt x="19230" y="2776"/>
                  </a:lnTo>
                  <a:lnTo>
                    <a:pt x="19214" y="2791"/>
                  </a:lnTo>
                  <a:lnTo>
                    <a:pt x="19200" y="2799"/>
                  </a:lnTo>
                  <a:lnTo>
                    <a:pt x="19187" y="2804"/>
                  </a:lnTo>
                  <a:lnTo>
                    <a:pt x="19157" y="2805"/>
                  </a:lnTo>
                  <a:lnTo>
                    <a:pt x="19138" y="2806"/>
                  </a:lnTo>
                  <a:lnTo>
                    <a:pt x="19112" y="2810"/>
                  </a:lnTo>
                  <a:lnTo>
                    <a:pt x="19098" y="2817"/>
                  </a:lnTo>
                  <a:lnTo>
                    <a:pt x="19093" y="2822"/>
                  </a:lnTo>
                  <a:lnTo>
                    <a:pt x="19088" y="2828"/>
                  </a:lnTo>
                  <a:lnTo>
                    <a:pt x="19082" y="2844"/>
                  </a:lnTo>
                  <a:lnTo>
                    <a:pt x="19078" y="2863"/>
                  </a:lnTo>
                  <a:lnTo>
                    <a:pt x="19071" y="2882"/>
                  </a:lnTo>
                  <a:lnTo>
                    <a:pt x="19064" y="2902"/>
                  </a:lnTo>
                  <a:lnTo>
                    <a:pt x="19050" y="2920"/>
                  </a:lnTo>
                  <a:lnTo>
                    <a:pt x="19041" y="2929"/>
                  </a:lnTo>
                  <a:lnTo>
                    <a:pt x="19029" y="2937"/>
                  </a:lnTo>
                  <a:lnTo>
                    <a:pt x="18985" y="2962"/>
                  </a:lnTo>
                  <a:lnTo>
                    <a:pt x="18974" y="2970"/>
                  </a:lnTo>
                  <a:lnTo>
                    <a:pt x="18967" y="2978"/>
                  </a:lnTo>
                  <a:lnTo>
                    <a:pt x="18965" y="2988"/>
                  </a:lnTo>
                  <a:lnTo>
                    <a:pt x="18966" y="3002"/>
                  </a:lnTo>
                  <a:lnTo>
                    <a:pt x="18974" y="3052"/>
                  </a:lnTo>
                  <a:lnTo>
                    <a:pt x="18974" y="3079"/>
                  </a:lnTo>
                  <a:lnTo>
                    <a:pt x="18967" y="3101"/>
                  </a:lnTo>
                  <a:lnTo>
                    <a:pt x="18956" y="3121"/>
                  </a:lnTo>
                  <a:lnTo>
                    <a:pt x="18941" y="3143"/>
                  </a:lnTo>
                  <a:lnTo>
                    <a:pt x="18926" y="3164"/>
                  </a:lnTo>
                  <a:lnTo>
                    <a:pt x="18923" y="3172"/>
                  </a:lnTo>
                  <a:lnTo>
                    <a:pt x="18921" y="3181"/>
                  </a:lnTo>
                  <a:lnTo>
                    <a:pt x="18924" y="3196"/>
                  </a:lnTo>
                  <a:lnTo>
                    <a:pt x="18928" y="3204"/>
                  </a:lnTo>
                  <a:lnTo>
                    <a:pt x="18932" y="3211"/>
                  </a:lnTo>
                  <a:lnTo>
                    <a:pt x="18953" y="3235"/>
                  </a:lnTo>
                  <a:lnTo>
                    <a:pt x="18964" y="3251"/>
                  </a:lnTo>
                  <a:lnTo>
                    <a:pt x="18970" y="3273"/>
                  </a:lnTo>
                  <a:lnTo>
                    <a:pt x="18973" y="3303"/>
                  </a:lnTo>
                  <a:lnTo>
                    <a:pt x="18971" y="3320"/>
                  </a:lnTo>
                  <a:lnTo>
                    <a:pt x="18969" y="3341"/>
                  </a:lnTo>
                  <a:lnTo>
                    <a:pt x="18966" y="3356"/>
                  </a:lnTo>
                  <a:lnTo>
                    <a:pt x="18966" y="3369"/>
                  </a:lnTo>
                  <a:lnTo>
                    <a:pt x="18969" y="3381"/>
                  </a:lnTo>
                  <a:lnTo>
                    <a:pt x="18973" y="3388"/>
                  </a:lnTo>
                  <a:lnTo>
                    <a:pt x="18984" y="3401"/>
                  </a:lnTo>
                  <a:lnTo>
                    <a:pt x="19001" y="3410"/>
                  </a:lnTo>
                  <a:lnTo>
                    <a:pt x="19020" y="3419"/>
                  </a:lnTo>
                  <a:lnTo>
                    <a:pt x="19039" y="3430"/>
                  </a:lnTo>
                  <a:lnTo>
                    <a:pt x="19057" y="3448"/>
                  </a:lnTo>
                  <a:lnTo>
                    <a:pt x="19065" y="3461"/>
                  </a:lnTo>
                  <a:lnTo>
                    <a:pt x="19071" y="3476"/>
                  </a:lnTo>
                  <a:lnTo>
                    <a:pt x="19085" y="3524"/>
                  </a:lnTo>
                  <a:lnTo>
                    <a:pt x="19091" y="3538"/>
                  </a:lnTo>
                  <a:lnTo>
                    <a:pt x="19093" y="3542"/>
                  </a:lnTo>
                  <a:lnTo>
                    <a:pt x="19097" y="3546"/>
                  </a:lnTo>
                  <a:lnTo>
                    <a:pt x="19106" y="3549"/>
                  </a:lnTo>
                  <a:lnTo>
                    <a:pt x="19120" y="3551"/>
                  </a:lnTo>
                  <a:lnTo>
                    <a:pt x="19170" y="3556"/>
                  </a:lnTo>
                  <a:lnTo>
                    <a:pt x="19187" y="3558"/>
                  </a:lnTo>
                  <a:lnTo>
                    <a:pt x="19201" y="3562"/>
                  </a:lnTo>
                  <a:lnTo>
                    <a:pt x="19221" y="3576"/>
                  </a:lnTo>
                  <a:lnTo>
                    <a:pt x="19230" y="3584"/>
                  </a:lnTo>
                  <a:lnTo>
                    <a:pt x="19238" y="3592"/>
                  </a:lnTo>
                  <a:lnTo>
                    <a:pt x="19251" y="3608"/>
                  </a:lnTo>
                  <a:lnTo>
                    <a:pt x="19262" y="3622"/>
                  </a:lnTo>
                  <a:lnTo>
                    <a:pt x="19270" y="3627"/>
                  </a:lnTo>
                  <a:lnTo>
                    <a:pt x="19278" y="3631"/>
                  </a:lnTo>
                  <a:lnTo>
                    <a:pt x="19287" y="3634"/>
                  </a:lnTo>
                  <a:lnTo>
                    <a:pt x="19297" y="3634"/>
                  </a:lnTo>
                  <a:lnTo>
                    <a:pt x="19325" y="3625"/>
                  </a:lnTo>
                  <a:lnTo>
                    <a:pt x="19347" y="3616"/>
                  </a:lnTo>
                  <a:lnTo>
                    <a:pt x="19369" y="3608"/>
                  </a:lnTo>
                  <a:lnTo>
                    <a:pt x="19369" y="3506"/>
                  </a:lnTo>
                  <a:lnTo>
                    <a:pt x="19364" y="3502"/>
                  </a:lnTo>
                  <a:lnTo>
                    <a:pt x="19360" y="3498"/>
                  </a:lnTo>
                  <a:lnTo>
                    <a:pt x="19359" y="3487"/>
                  </a:lnTo>
                  <a:lnTo>
                    <a:pt x="19264" y="3358"/>
                  </a:lnTo>
                  <a:lnTo>
                    <a:pt x="19260" y="3349"/>
                  </a:lnTo>
                  <a:lnTo>
                    <a:pt x="19260" y="3341"/>
                  </a:lnTo>
                  <a:lnTo>
                    <a:pt x="19264" y="3335"/>
                  </a:lnTo>
                  <a:lnTo>
                    <a:pt x="19269" y="3329"/>
                  </a:lnTo>
                  <a:lnTo>
                    <a:pt x="19275" y="3326"/>
                  </a:lnTo>
                  <a:lnTo>
                    <a:pt x="19283" y="3326"/>
                  </a:lnTo>
                  <a:lnTo>
                    <a:pt x="19289" y="3328"/>
                  </a:lnTo>
                  <a:lnTo>
                    <a:pt x="19297" y="3333"/>
                  </a:lnTo>
                  <a:lnTo>
                    <a:pt x="19369" y="3433"/>
                  </a:lnTo>
                  <a:lnTo>
                    <a:pt x="19369" y="3320"/>
                  </a:lnTo>
                  <a:lnTo>
                    <a:pt x="19262" y="3176"/>
                  </a:lnTo>
                  <a:lnTo>
                    <a:pt x="19259" y="3167"/>
                  </a:lnTo>
                  <a:lnTo>
                    <a:pt x="19259" y="3159"/>
                  </a:lnTo>
                  <a:lnTo>
                    <a:pt x="19262" y="3153"/>
                  </a:lnTo>
                  <a:lnTo>
                    <a:pt x="19268" y="3148"/>
                  </a:lnTo>
                  <a:lnTo>
                    <a:pt x="19274" y="3144"/>
                  </a:lnTo>
                  <a:lnTo>
                    <a:pt x="19282" y="3144"/>
                  </a:lnTo>
                  <a:lnTo>
                    <a:pt x="19289" y="3147"/>
                  </a:lnTo>
                  <a:lnTo>
                    <a:pt x="19296" y="3152"/>
                  </a:lnTo>
                  <a:lnTo>
                    <a:pt x="19369" y="3253"/>
                  </a:lnTo>
                  <a:lnTo>
                    <a:pt x="19369" y="3227"/>
                  </a:lnTo>
                  <a:lnTo>
                    <a:pt x="19369" y="3221"/>
                  </a:lnTo>
                  <a:close/>
                  <a:moveTo>
                    <a:pt x="22962" y="2597"/>
                  </a:moveTo>
                  <a:lnTo>
                    <a:pt x="22954" y="2597"/>
                  </a:lnTo>
                  <a:lnTo>
                    <a:pt x="22962" y="2597"/>
                  </a:lnTo>
                  <a:close/>
                  <a:moveTo>
                    <a:pt x="20013" y="2597"/>
                  </a:moveTo>
                  <a:lnTo>
                    <a:pt x="20006" y="2597"/>
                  </a:lnTo>
                  <a:lnTo>
                    <a:pt x="20013" y="2597"/>
                  </a:lnTo>
                  <a:close/>
                  <a:moveTo>
                    <a:pt x="19409" y="3491"/>
                  </a:moveTo>
                  <a:lnTo>
                    <a:pt x="19409" y="3498"/>
                  </a:lnTo>
                  <a:lnTo>
                    <a:pt x="19409" y="3491"/>
                  </a:lnTo>
                  <a:close/>
                  <a:moveTo>
                    <a:pt x="19369" y="3227"/>
                  </a:moveTo>
                  <a:lnTo>
                    <a:pt x="19369" y="3221"/>
                  </a:lnTo>
                  <a:lnTo>
                    <a:pt x="19369" y="3227"/>
                  </a:lnTo>
                  <a:close/>
                  <a:moveTo>
                    <a:pt x="20708" y="1885"/>
                  </a:moveTo>
                  <a:lnTo>
                    <a:pt x="20672" y="1152"/>
                  </a:lnTo>
                  <a:lnTo>
                    <a:pt x="20636" y="420"/>
                  </a:lnTo>
                  <a:lnTo>
                    <a:pt x="20345" y="420"/>
                  </a:lnTo>
                  <a:lnTo>
                    <a:pt x="20306" y="1139"/>
                  </a:lnTo>
                  <a:lnTo>
                    <a:pt x="20269" y="1858"/>
                  </a:lnTo>
                  <a:lnTo>
                    <a:pt x="20268" y="1867"/>
                  </a:lnTo>
                  <a:lnTo>
                    <a:pt x="20263" y="1872"/>
                  </a:lnTo>
                  <a:lnTo>
                    <a:pt x="20256" y="1876"/>
                  </a:lnTo>
                  <a:lnTo>
                    <a:pt x="20248" y="1877"/>
                  </a:lnTo>
                  <a:lnTo>
                    <a:pt x="20241" y="1874"/>
                  </a:lnTo>
                  <a:lnTo>
                    <a:pt x="20234" y="1870"/>
                  </a:lnTo>
                  <a:lnTo>
                    <a:pt x="20231" y="1864"/>
                  </a:lnTo>
                  <a:lnTo>
                    <a:pt x="20229" y="1855"/>
                  </a:lnTo>
                  <a:lnTo>
                    <a:pt x="20268" y="1126"/>
                  </a:lnTo>
                  <a:lnTo>
                    <a:pt x="20306" y="399"/>
                  </a:lnTo>
                  <a:lnTo>
                    <a:pt x="20307" y="392"/>
                  </a:lnTo>
                  <a:lnTo>
                    <a:pt x="20313" y="386"/>
                  </a:lnTo>
                  <a:lnTo>
                    <a:pt x="20318" y="382"/>
                  </a:lnTo>
                  <a:lnTo>
                    <a:pt x="20325" y="381"/>
                  </a:lnTo>
                  <a:lnTo>
                    <a:pt x="20655" y="381"/>
                  </a:lnTo>
                  <a:lnTo>
                    <a:pt x="20661" y="382"/>
                  </a:lnTo>
                  <a:lnTo>
                    <a:pt x="20668" y="386"/>
                  </a:lnTo>
                  <a:lnTo>
                    <a:pt x="20673" y="392"/>
                  </a:lnTo>
                  <a:lnTo>
                    <a:pt x="20674" y="399"/>
                  </a:lnTo>
                  <a:lnTo>
                    <a:pt x="20710" y="1140"/>
                  </a:lnTo>
                  <a:lnTo>
                    <a:pt x="20747" y="1882"/>
                  </a:lnTo>
                  <a:lnTo>
                    <a:pt x="20746" y="1891"/>
                  </a:lnTo>
                  <a:lnTo>
                    <a:pt x="20742" y="1897"/>
                  </a:lnTo>
                  <a:lnTo>
                    <a:pt x="20736" y="1901"/>
                  </a:lnTo>
                  <a:lnTo>
                    <a:pt x="20728" y="1902"/>
                  </a:lnTo>
                  <a:lnTo>
                    <a:pt x="20715" y="1899"/>
                  </a:lnTo>
                  <a:lnTo>
                    <a:pt x="20710" y="1892"/>
                  </a:lnTo>
                  <a:lnTo>
                    <a:pt x="20708" y="1885"/>
                  </a:lnTo>
                  <a:close/>
                  <a:moveTo>
                    <a:pt x="2868" y="3476"/>
                  </a:moveTo>
                  <a:lnTo>
                    <a:pt x="2980" y="3323"/>
                  </a:lnTo>
                  <a:lnTo>
                    <a:pt x="2953" y="3268"/>
                  </a:lnTo>
                  <a:lnTo>
                    <a:pt x="2939" y="3245"/>
                  </a:lnTo>
                  <a:lnTo>
                    <a:pt x="2925" y="3225"/>
                  </a:lnTo>
                  <a:lnTo>
                    <a:pt x="2911" y="3207"/>
                  </a:lnTo>
                  <a:lnTo>
                    <a:pt x="2897" y="3193"/>
                  </a:lnTo>
                  <a:lnTo>
                    <a:pt x="2883" y="3181"/>
                  </a:lnTo>
                  <a:lnTo>
                    <a:pt x="2868" y="3175"/>
                  </a:lnTo>
                  <a:lnTo>
                    <a:pt x="2868" y="3476"/>
                  </a:lnTo>
                  <a:close/>
                  <a:moveTo>
                    <a:pt x="2998" y="3365"/>
                  </a:moveTo>
                  <a:lnTo>
                    <a:pt x="2868" y="3544"/>
                  </a:lnTo>
                  <a:lnTo>
                    <a:pt x="2868" y="3753"/>
                  </a:lnTo>
                  <a:lnTo>
                    <a:pt x="3045" y="3507"/>
                  </a:lnTo>
                  <a:lnTo>
                    <a:pt x="3027" y="3445"/>
                  </a:lnTo>
                  <a:lnTo>
                    <a:pt x="2998" y="3365"/>
                  </a:lnTo>
                  <a:close/>
                  <a:moveTo>
                    <a:pt x="2716" y="3324"/>
                  </a:moveTo>
                  <a:lnTo>
                    <a:pt x="2829" y="3479"/>
                  </a:lnTo>
                  <a:lnTo>
                    <a:pt x="2829" y="3173"/>
                  </a:lnTo>
                  <a:lnTo>
                    <a:pt x="2813" y="3181"/>
                  </a:lnTo>
                  <a:lnTo>
                    <a:pt x="2798" y="3193"/>
                  </a:lnTo>
                  <a:lnTo>
                    <a:pt x="2790" y="3199"/>
                  </a:lnTo>
                  <a:lnTo>
                    <a:pt x="2783" y="3207"/>
                  </a:lnTo>
                  <a:lnTo>
                    <a:pt x="2768" y="3225"/>
                  </a:lnTo>
                  <a:lnTo>
                    <a:pt x="2742" y="3269"/>
                  </a:lnTo>
                  <a:lnTo>
                    <a:pt x="2715" y="3323"/>
                  </a:lnTo>
                  <a:lnTo>
                    <a:pt x="2716" y="3324"/>
                  </a:lnTo>
                  <a:close/>
                  <a:moveTo>
                    <a:pt x="3060" y="3557"/>
                  </a:moveTo>
                  <a:lnTo>
                    <a:pt x="2868" y="3820"/>
                  </a:lnTo>
                  <a:lnTo>
                    <a:pt x="2868" y="4028"/>
                  </a:lnTo>
                  <a:lnTo>
                    <a:pt x="3089" y="3725"/>
                  </a:lnTo>
                  <a:lnTo>
                    <a:pt x="3094" y="3718"/>
                  </a:lnTo>
                  <a:lnTo>
                    <a:pt x="3080" y="3640"/>
                  </a:lnTo>
                  <a:lnTo>
                    <a:pt x="3060" y="3557"/>
                  </a:lnTo>
                  <a:close/>
                  <a:moveTo>
                    <a:pt x="2654" y="3515"/>
                  </a:moveTo>
                  <a:lnTo>
                    <a:pt x="2829" y="3754"/>
                  </a:lnTo>
                  <a:lnTo>
                    <a:pt x="2829" y="3547"/>
                  </a:lnTo>
                  <a:lnTo>
                    <a:pt x="2698" y="3367"/>
                  </a:lnTo>
                  <a:lnTo>
                    <a:pt x="2672" y="3437"/>
                  </a:lnTo>
                  <a:lnTo>
                    <a:pt x="2650" y="3511"/>
                  </a:lnTo>
                  <a:lnTo>
                    <a:pt x="2654" y="3515"/>
                  </a:lnTo>
                  <a:close/>
                  <a:moveTo>
                    <a:pt x="3103" y="3773"/>
                  </a:moveTo>
                  <a:lnTo>
                    <a:pt x="2868" y="4095"/>
                  </a:lnTo>
                  <a:lnTo>
                    <a:pt x="2868" y="4102"/>
                  </a:lnTo>
                  <a:lnTo>
                    <a:pt x="2893" y="4098"/>
                  </a:lnTo>
                  <a:lnTo>
                    <a:pt x="2917" y="4093"/>
                  </a:lnTo>
                  <a:lnTo>
                    <a:pt x="2940" y="4085"/>
                  </a:lnTo>
                  <a:lnTo>
                    <a:pt x="2962" y="4076"/>
                  </a:lnTo>
                  <a:lnTo>
                    <a:pt x="2983" y="4065"/>
                  </a:lnTo>
                  <a:lnTo>
                    <a:pt x="3003" y="4051"/>
                  </a:lnTo>
                  <a:lnTo>
                    <a:pt x="3021" y="4037"/>
                  </a:lnTo>
                  <a:lnTo>
                    <a:pt x="3038" y="4020"/>
                  </a:lnTo>
                  <a:lnTo>
                    <a:pt x="3067" y="3982"/>
                  </a:lnTo>
                  <a:lnTo>
                    <a:pt x="3079" y="3961"/>
                  </a:lnTo>
                  <a:lnTo>
                    <a:pt x="3089" y="3939"/>
                  </a:lnTo>
                  <a:lnTo>
                    <a:pt x="3097" y="3916"/>
                  </a:lnTo>
                  <a:lnTo>
                    <a:pt x="3103" y="3893"/>
                  </a:lnTo>
                  <a:lnTo>
                    <a:pt x="3107" y="3868"/>
                  </a:lnTo>
                  <a:lnTo>
                    <a:pt x="3108" y="3843"/>
                  </a:lnTo>
                  <a:lnTo>
                    <a:pt x="3107" y="3811"/>
                  </a:lnTo>
                  <a:lnTo>
                    <a:pt x="3103" y="3773"/>
                  </a:lnTo>
                  <a:close/>
                  <a:moveTo>
                    <a:pt x="2603" y="3719"/>
                  </a:moveTo>
                  <a:lnTo>
                    <a:pt x="2829" y="4012"/>
                  </a:lnTo>
                  <a:lnTo>
                    <a:pt x="2829" y="3822"/>
                  </a:lnTo>
                  <a:lnTo>
                    <a:pt x="2638" y="3560"/>
                  </a:lnTo>
                  <a:lnTo>
                    <a:pt x="2618" y="3644"/>
                  </a:lnTo>
                  <a:lnTo>
                    <a:pt x="2603" y="3719"/>
                  </a:lnTo>
                  <a:close/>
                  <a:moveTo>
                    <a:pt x="2784" y="1296"/>
                  </a:moveTo>
                  <a:lnTo>
                    <a:pt x="2784" y="1465"/>
                  </a:lnTo>
                  <a:lnTo>
                    <a:pt x="2781" y="1474"/>
                  </a:lnTo>
                  <a:lnTo>
                    <a:pt x="2777" y="1480"/>
                  </a:lnTo>
                  <a:lnTo>
                    <a:pt x="2771" y="1484"/>
                  </a:lnTo>
                  <a:lnTo>
                    <a:pt x="2763" y="1486"/>
                  </a:lnTo>
                  <a:lnTo>
                    <a:pt x="2756" y="1484"/>
                  </a:lnTo>
                  <a:lnTo>
                    <a:pt x="2749" y="1480"/>
                  </a:lnTo>
                  <a:lnTo>
                    <a:pt x="2745" y="1474"/>
                  </a:lnTo>
                  <a:lnTo>
                    <a:pt x="2743" y="1465"/>
                  </a:lnTo>
                  <a:lnTo>
                    <a:pt x="2743" y="1296"/>
                  </a:lnTo>
                  <a:lnTo>
                    <a:pt x="2650" y="1296"/>
                  </a:lnTo>
                  <a:lnTo>
                    <a:pt x="2650" y="1465"/>
                  </a:lnTo>
                  <a:lnTo>
                    <a:pt x="2649" y="1474"/>
                  </a:lnTo>
                  <a:lnTo>
                    <a:pt x="2644" y="1480"/>
                  </a:lnTo>
                  <a:lnTo>
                    <a:pt x="2638" y="1484"/>
                  </a:lnTo>
                  <a:lnTo>
                    <a:pt x="2631" y="1486"/>
                  </a:lnTo>
                  <a:lnTo>
                    <a:pt x="2624" y="1484"/>
                  </a:lnTo>
                  <a:lnTo>
                    <a:pt x="2617" y="1480"/>
                  </a:lnTo>
                  <a:lnTo>
                    <a:pt x="2612" y="1474"/>
                  </a:lnTo>
                  <a:lnTo>
                    <a:pt x="2611" y="1465"/>
                  </a:lnTo>
                  <a:lnTo>
                    <a:pt x="2611" y="1296"/>
                  </a:lnTo>
                  <a:lnTo>
                    <a:pt x="2518" y="1296"/>
                  </a:lnTo>
                  <a:lnTo>
                    <a:pt x="2518" y="1465"/>
                  </a:lnTo>
                  <a:lnTo>
                    <a:pt x="2516" y="1474"/>
                  </a:lnTo>
                  <a:lnTo>
                    <a:pt x="2512" y="1480"/>
                  </a:lnTo>
                  <a:lnTo>
                    <a:pt x="2506" y="1484"/>
                  </a:lnTo>
                  <a:lnTo>
                    <a:pt x="2498" y="1486"/>
                  </a:lnTo>
                  <a:lnTo>
                    <a:pt x="2490" y="1484"/>
                  </a:lnTo>
                  <a:lnTo>
                    <a:pt x="2484" y="1480"/>
                  </a:lnTo>
                  <a:lnTo>
                    <a:pt x="2480" y="1474"/>
                  </a:lnTo>
                  <a:lnTo>
                    <a:pt x="2477" y="1465"/>
                  </a:lnTo>
                  <a:lnTo>
                    <a:pt x="2477" y="1296"/>
                  </a:lnTo>
                  <a:lnTo>
                    <a:pt x="2385" y="1296"/>
                  </a:lnTo>
                  <a:lnTo>
                    <a:pt x="2385" y="1465"/>
                  </a:lnTo>
                  <a:lnTo>
                    <a:pt x="2384" y="1474"/>
                  </a:lnTo>
                  <a:lnTo>
                    <a:pt x="2379" y="1480"/>
                  </a:lnTo>
                  <a:lnTo>
                    <a:pt x="2372" y="1484"/>
                  </a:lnTo>
                  <a:lnTo>
                    <a:pt x="2366" y="1486"/>
                  </a:lnTo>
                  <a:lnTo>
                    <a:pt x="2358" y="1484"/>
                  </a:lnTo>
                  <a:lnTo>
                    <a:pt x="2352" y="1480"/>
                  </a:lnTo>
                  <a:lnTo>
                    <a:pt x="2347" y="1474"/>
                  </a:lnTo>
                  <a:lnTo>
                    <a:pt x="2345" y="1465"/>
                  </a:lnTo>
                  <a:lnTo>
                    <a:pt x="2345" y="1296"/>
                  </a:lnTo>
                  <a:lnTo>
                    <a:pt x="2282" y="1296"/>
                  </a:lnTo>
                  <a:lnTo>
                    <a:pt x="2282" y="1634"/>
                  </a:lnTo>
                  <a:lnTo>
                    <a:pt x="2852" y="1634"/>
                  </a:lnTo>
                  <a:lnTo>
                    <a:pt x="2852" y="1296"/>
                  </a:lnTo>
                  <a:lnTo>
                    <a:pt x="2784" y="1296"/>
                  </a:lnTo>
                  <a:close/>
                  <a:moveTo>
                    <a:pt x="332" y="4356"/>
                  </a:moveTo>
                  <a:lnTo>
                    <a:pt x="322" y="4359"/>
                  </a:lnTo>
                  <a:lnTo>
                    <a:pt x="313" y="4356"/>
                  </a:lnTo>
                  <a:lnTo>
                    <a:pt x="0" y="4356"/>
                  </a:lnTo>
                  <a:lnTo>
                    <a:pt x="0" y="4317"/>
                  </a:lnTo>
                  <a:lnTo>
                    <a:pt x="64" y="4317"/>
                  </a:lnTo>
                  <a:lnTo>
                    <a:pt x="64" y="3833"/>
                  </a:lnTo>
                  <a:lnTo>
                    <a:pt x="0" y="3833"/>
                  </a:lnTo>
                  <a:lnTo>
                    <a:pt x="0" y="3792"/>
                  </a:lnTo>
                  <a:lnTo>
                    <a:pt x="197" y="3792"/>
                  </a:lnTo>
                  <a:lnTo>
                    <a:pt x="206" y="3795"/>
                  </a:lnTo>
                  <a:lnTo>
                    <a:pt x="213" y="3799"/>
                  </a:lnTo>
                  <a:lnTo>
                    <a:pt x="217" y="3805"/>
                  </a:lnTo>
                  <a:lnTo>
                    <a:pt x="218" y="3813"/>
                  </a:lnTo>
                  <a:lnTo>
                    <a:pt x="217" y="3820"/>
                  </a:lnTo>
                  <a:lnTo>
                    <a:pt x="213" y="3827"/>
                  </a:lnTo>
                  <a:lnTo>
                    <a:pt x="206" y="3831"/>
                  </a:lnTo>
                  <a:lnTo>
                    <a:pt x="197" y="3833"/>
                  </a:lnTo>
                  <a:lnTo>
                    <a:pt x="104" y="3833"/>
                  </a:lnTo>
                  <a:lnTo>
                    <a:pt x="104" y="4317"/>
                  </a:lnTo>
                  <a:lnTo>
                    <a:pt x="303" y="4317"/>
                  </a:lnTo>
                  <a:lnTo>
                    <a:pt x="303" y="3544"/>
                  </a:lnTo>
                  <a:lnTo>
                    <a:pt x="303" y="2772"/>
                  </a:lnTo>
                  <a:lnTo>
                    <a:pt x="304" y="2764"/>
                  </a:lnTo>
                  <a:lnTo>
                    <a:pt x="308" y="2758"/>
                  </a:lnTo>
                  <a:lnTo>
                    <a:pt x="314" y="2753"/>
                  </a:lnTo>
                  <a:lnTo>
                    <a:pt x="322" y="2751"/>
                  </a:lnTo>
                  <a:lnTo>
                    <a:pt x="440" y="2751"/>
                  </a:lnTo>
                  <a:lnTo>
                    <a:pt x="440" y="2579"/>
                  </a:lnTo>
                  <a:lnTo>
                    <a:pt x="441" y="2571"/>
                  </a:lnTo>
                  <a:lnTo>
                    <a:pt x="446" y="2565"/>
                  </a:lnTo>
                  <a:lnTo>
                    <a:pt x="453" y="2560"/>
                  </a:lnTo>
                  <a:lnTo>
                    <a:pt x="460" y="2558"/>
                  </a:lnTo>
                  <a:lnTo>
                    <a:pt x="541" y="2558"/>
                  </a:lnTo>
                  <a:lnTo>
                    <a:pt x="1007" y="2558"/>
                  </a:lnTo>
                  <a:lnTo>
                    <a:pt x="1997" y="2558"/>
                  </a:lnTo>
                  <a:lnTo>
                    <a:pt x="2004" y="2560"/>
                  </a:lnTo>
                  <a:lnTo>
                    <a:pt x="2011" y="2565"/>
                  </a:lnTo>
                  <a:lnTo>
                    <a:pt x="2014" y="2571"/>
                  </a:lnTo>
                  <a:lnTo>
                    <a:pt x="2017" y="2579"/>
                  </a:lnTo>
                  <a:lnTo>
                    <a:pt x="2017" y="2751"/>
                  </a:lnTo>
                  <a:lnTo>
                    <a:pt x="2098" y="2751"/>
                  </a:lnTo>
                  <a:lnTo>
                    <a:pt x="2098" y="2203"/>
                  </a:lnTo>
                  <a:lnTo>
                    <a:pt x="2098" y="1654"/>
                  </a:lnTo>
                  <a:lnTo>
                    <a:pt x="2099" y="1647"/>
                  </a:lnTo>
                  <a:lnTo>
                    <a:pt x="2103" y="1640"/>
                  </a:lnTo>
                  <a:lnTo>
                    <a:pt x="2109" y="1635"/>
                  </a:lnTo>
                  <a:lnTo>
                    <a:pt x="2117" y="1634"/>
                  </a:lnTo>
                  <a:lnTo>
                    <a:pt x="2243" y="1634"/>
                  </a:lnTo>
                  <a:lnTo>
                    <a:pt x="2243" y="1276"/>
                  </a:lnTo>
                  <a:lnTo>
                    <a:pt x="2244" y="1268"/>
                  </a:lnTo>
                  <a:lnTo>
                    <a:pt x="2249" y="1262"/>
                  </a:lnTo>
                  <a:lnTo>
                    <a:pt x="2254" y="1258"/>
                  </a:lnTo>
                  <a:lnTo>
                    <a:pt x="2262" y="1257"/>
                  </a:lnTo>
                  <a:lnTo>
                    <a:pt x="2872" y="1257"/>
                  </a:lnTo>
                  <a:lnTo>
                    <a:pt x="2880" y="1258"/>
                  </a:lnTo>
                  <a:lnTo>
                    <a:pt x="2886" y="1262"/>
                  </a:lnTo>
                  <a:lnTo>
                    <a:pt x="2890" y="1268"/>
                  </a:lnTo>
                  <a:lnTo>
                    <a:pt x="2893" y="1276"/>
                  </a:lnTo>
                  <a:lnTo>
                    <a:pt x="2893" y="1634"/>
                  </a:lnTo>
                  <a:lnTo>
                    <a:pt x="3017" y="1634"/>
                  </a:lnTo>
                  <a:lnTo>
                    <a:pt x="3025" y="1635"/>
                  </a:lnTo>
                  <a:lnTo>
                    <a:pt x="3031" y="1640"/>
                  </a:lnTo>
                  <a:lnTo>
                    <a:pt x="3035" y="1647"/>
                  </a:lnTo>
                  <a:lnTo>
                    <a:pt x="3038" y="1654"/>
                  </a:lnTo>
                  <a:lnTo>
                    <a:pt x="3038" y="2434"/>
                  </a:lnTo>
                  <a:lnTo>
                    <a:pt x="3038" y="3214"/>
                  </a:lnTo>
                  <a:lnTo>
                    <a:pt x="3035" y="3223"/>
                  </a:lnTo>
                  <a:lnTo>
                    <a:pt x="3031" y="3230"/>
                  </a:lnTo>
                  <a:lnTo>
                    <a:pt x="3025" y="3234"/>
                  </a:lnTo>
                  <a:lnTo>
                    <a:pt x="3017" y="3235"/>
                  </a:lnTo>
                  <a:lnTo>
                    <a:pt x="3010" y="3234"/>
                  </a:lnTo>
                  <a:lnTo>
                    <a:pt x="3003" y="3230"/>
                  </a:lnTo>
                  <a:lnTo>
                    <a:pt x="2999" y="3223"/>
                  </a:lnTo>
                  <a:lnTo>
                    <a:pt x="2998" y="3214"/>
                  </a:lnTo>
                  <a:lnTo>
                    <a:pt x="2998" y="2443"/>
                  </a:lnTo>
                  <a:lnTo>
                    <a:pt x="2998" y="1674"/>
                  </a:lnTo>
                  <a:lnTo>
                    <a:pt x="2138" y="1674"/>
                  </a:lnTo>
                  <a:lnTo>
                    <a:pt x="2138" y="2333"/>
                  </a:lnTo>
                  <a:lnTo>
                    <a:pt x="2138" y="2994"/>
                  </a:lnTo>
                  <a:lnTo>
                    <a:pt x="2138" y="3655"/>
                  </a:lnTo>
                  <a:lnTo>
                    <a:pt x="2138" y="4317"/>
                  </a:lnTo>
                  <a:lnTo>
                    <a:pt x="2829" y="4317"/>
                  </a:lnTo>
                  <a:lnTo>
                    <a:pt x="2829" y="4141"/>
                  </a:lnTo>
                  <a:lnTo>
                    <a:pt x="2799" y="4138"/>
                  </a:lnTo>
                  <a:lnTo>
                    <a:pt x="2771" y="4132"/>
                  </a:lnTo>
                  <a:lnTo>
                    <a:pt x="2744" y="4123"/>
                  </a:lnTo>
                  <a:lnTo>
                    <a:pt x="2731" y="4118"/>
                  </a:lnTo>
                  <a:lnTo>
                    <a:pt x="2718" y="4113"/>
                  </a:lnTo>
                  <a:lnTo>
                    <a:pt x="2694" y="4099"/>
                  </a:lnTo>
                  <a:lnTo>
                    <a:pt x="2671" y="4084"/>
                  </a:lnTo>
                  <a:lnTo>
                    <a:pt x="2649" y="4067"/>
                  </a:lnTo>
                  <a:lnTo>
                    <a:pt x="2630" y="4048"/>
                  </a:lnTo>
                  <a:lnTo>
                    <a:pt x="2612" y="4026"/>
                  </a:lnTo>
                  <a:lnTo>
                    <a:pt x="2595" y="4005"/>
                  </a:lnTo>
                  <a:lnTo>
                    <a:pt x="2581" y="3980"/>
                  </a:lnTo>
                  <a:lnTo>
                    <a:pt x="2570" y="3955"/>
                  </a:lnTo>
                  <a:lnTo>
                    <a:pt x="2561" y="3929"/>
                  </a:lnTo>
                  <a:lnTo>
                    <a:pt x="2554" y="3901"/>
                  </a:lnTo>
                  <a:lnTo>
                    <a:pt x="2549" y="3873"/>
                  </a:lnTo>
                  <a:lnTo>
                    <a:pt x="2548" y="3843"/>
                  </a:lnTo>
                  <a:lnTo>
                    <a:pt x="2549" y="3813"/>
                  </a:lnTo>
                  <a:lnTo>
                    <a:pt x="2554" y="3773"/>
                  </a:lnTo>
                  <a:lnTo>
                    <a:pt x="2570" y="3675"/>
                  </a:lnTo>
                  <a:lnTo>
                    <a:pt x="2581" y="3617"/>
                  </a:lnTo>
                  <a:lnTo>
                    <a:pt x="2595" y="3558"/>
                  </a:lnTo>
                  <a:lnTo>
                    <a:pt x="2630" y="3436"/>
                  </a:lnTo>
                  <a:lnTo>
                    <a:pt x="2650" y="3377"/>
                  </a:lnTo>
                  <a:lnTo>
                    <a:pt x="2674" y="3320"/>
                  </a:lnTo>
                  <a:lnTo>
                    <a:pt x="2698" y="3268"/>
                  </a:lnTo>
                  <a:lnTo>
                    <a:pt x="2725" y="3222"/>
                  </a:lnTo>
                  <a:lnTo>
                    <a:pt x="2753" y="3185"/>
                  </a:lnTo>
                  <a:lnTo>
                    <a:pt x="2783" y="3156"/>
                  </a:lnTo>
                  <a:lnTo>
                    <a:pt x="2799" y="3144"/>
                  </a:lnTo>
                  <a:lnTo>
                    <a:pt x="2815" y="3136"/>
                  </a:lnTo>
                  <a:lnTo>
                    <a:pt x="2831" y="3133"/>
                  </a:lnTo>
                  <a:lnTo>
                    <a:pt x="2848" y="3130"/>
                  </a:lnTo>
                  <a:lnTo>
                    <a:pt x="2866" y="3133"/>
                  </a:lnTo>
                  <a:lnTo>
                    <a:pt x="2883" y="3138"/>
                  </a:lnTo>
                  <a:lnTo>
                    <a:pt x="2899" y="3145"/>
                  </a:lnTo>
                  <a:lnTo>
                    <a:pt x="2915" y="3157"/>
                  </a:lnTo>
                  <a:lnTo>
                    <a:pt x="2945" y="3187"/>
                  </a:lnTo>
                  <a:lnTo>
                    <a:pt x="2953" y="3196"/>
                  </a:lnTo>
                  <a:lnTo>
                    <a:pt x="2960" y="3205"/>
                  </a:lnTo>
                  <a:lnTo>
                    <a:pt x="2974" y="3226"/>
                  </a:lnTo>
                  <a:lnTo>
                    <a:pt x="3001" y="3272"/>
                  </a:lnTo>
                  <a:lnTo>
                    <a:pt x="3024" y="3323"/>
                  </a:lnTo>
                  <a:lnTo>
                    <a:pt x="3045" y="3377"/>
                  </a:lnTo>
                  <a:lnTo>
                    <a:pt x="3065" y="3433"/>
                  </a:lnTo>
                  <a:lnTo>
                    <a:pt x="3083" y="3492"/>
                  </a:lnTo>
                  <a:lnTo>
                    <a:pt x="3099" y="3551"/>
                  </a:lnTo>
                  <a:lnTo>
                    <a:pt x="3113" y="3609"/>
                  </a:lnTo>
                  <a:lnTo>
                    <a:pt x="3125" y="3666"/>
                  </a:lnTo>
                  <a:lnTo>
                    <a:pt x="3135" y="3719"/>
                  </a:lnTo>
                  <a:lnTo>
                    <a:pt x="3142" y="3767"/>
                  </a:lnTo>
                  <a:lnTo>
                    <a:pt x="3147" y="3809"/>
                  </a:lnTo>
                  <a:lnTo>
                    <a:pt x="3148" y="3843"/>
                  </a:lnTo>
                  <a:lnTo>
                    <a:pt x="3147" y="3873"/>
                  </a:lnTo>
                  <a:lnTo>
                    <a:pt x="3143" y="3901"/>
                  </a:lnTo>
                  <a:lnTo>
                    <a:pt x="3135" y="3929"/>
                  </a:lnTo>
                  <a:lnTo>
                    <a:pt x="3126" y="3955"/>
                  </a:lnTo>
                  <a:lnTo>
                    <a:pt x="3115" y="3980"/>
                  </a:lnTo>
                  <a:lnTo>
                    <a:pt x="3101" y="4005"/>
                  </a:lnTo>
                  <a:lnTo>
                    <a:pt x="3067" y="4048"/>
                  </a:lnTo>
                  <a:lnTo>
                    <a:pt x="3025" y="4084"/>
                  </a:lnTo>
                  <a:lnTo>
                    <a:pt x="3002" y="4099"/>
                  </a:lnTo>
                  <a:lnTo>
                    <a:pt x="2977" y="4113"/>
                  </a:lnTo>
                  <a:lnTo>
                    <a:pt x="2952" y="4123"/>
                  </a:lnTo>
                  <a:lnTo>
                    <a:pt x="2925" y="4132"/>
                  </a:lnTo>
                  <a:lnTo>
                    <a:pt x="2897" y="4138"/>
                  </a:lnTo>
                  <a:lnTo>
                    <a:pt x="2868" y="4141"/>
                  </a:lnTo>
                  <a:lnTo>
                    <a:pt x="2868" y="4317"/>
                  </a:lnTo>
                  <a:lnTo>
                    <a:pt x="2998" y="4317"/>
                  </a:lnTo>
                  <a:lnTo>
                    <a:pt x="2998" y="4193"/>
                  </a:lnTo>
                  <a:lnTo>
                    <a:pt x="2999" y="4184"/>
                  </a:lnTo>
                  <a:lnTo>
                    <a:pt x="3003" y="4177"/>
                  </a:lnTo>
                  <a:lnTo>
                    <a:pt x="3010" y="4173"/>
                  </a:lnTo>
                  <a:lnTo>
                    <a:pt x="3017" y="4172"/>
                  </a:lnTo>
                  <a:lnTo>
                    <a:pt x="3025" y="4173"/>
                  </a:lnTo>
                  <a:lnTo>
                    <a:pt x="3031" y="4177"/>
                  </a:lnTo>
                  <a:lnTo>
                    <a:pt x="3035" y="4184"/>
                  </a:lnTo>
                  <a:lnTo>
                    <a:pt x="3038" y="4193"/>
                  </a:lnTo>
                  <a:lnTo>
                    <a:pt x="3038" y="4332"/>
                  </a:lnTo>
                  <a:lnTo>
                    <a:pt x="3036" y="4340"/>
                  </a:lnTo>
                  <a:lnTo>
                    <a:pt x="3031" y="4346"/>
                  </a:lnTo>
                  <a:lnTo>
                    <a:pt x="3025" y="4354"/>
                  </a:lnTo>
                  <a:lnTo>
                    <a:pt x="3013" y="4356"/>
                  </a:lnTo>
                  <a:lnTo>
                    <a:pt x="2343" y="4356"/>
                  </a:lnTo>
                  <a:lnTo>
                    <a:pt x="1672" y="4356"/>
                  </a:lnTo>
                  <a:lnTo>
                    <a:pt x="1001" y="4356"/>
                  </a:lnTo>
                  <a:lnTo>
                    <a:pt x="332" y="4356"/>
                  </a:lnTo>
                  <a:close/>
                  <a:moveTo>
                    <a:pt x="1458" y="2791"/>
                  </a:moveTo>
                  <a:lnTo>
                    <a:pt x="900" y="2791"/>
                  </a:lnTo>
                  <a:lnTo>
                    <a:pt x="342" y="2791"/>
                  </a:lnTo>
                  <a:lnTo>
                    <a:pt x="342" y="3553"/>
                  </a:lnTo>
                  <a:lnTo>
                    <a:pt x="342" y="4317"/>
                  </a:lnTo>
                  <a:lnTo>
                    <a:pt x="1218" y="4317"/>
                  </a:lnTo>
                  <a:lnTo>
                    <a:pt x="2095" y="4317"/>
                  </a:lnTo>
                  <a:lnTo>
                    <a:pt x="2095" y="3553"/>
                  </a:lnTo>
                  <a:lnTo>
                    <a:pt x="2095" y="2791"/>
                  </a:lnTo>
                  <a:lnTo>
                    <a:pt x="1723" y="2791"/>
                  </a:lnTo>
                  <a:lnTo>
                    <a:pt x="1714" y="2790"/>
                  </a:lnTo>
                  <a:lnTo>
                    <a:pt x="1708" y="2786"/>
                  </a:lnTo>
                  <a:lnTo>
                    <a:pt x="1704" y="2780"/>
                  </a:lnTo>
                  <a:lnTo>
                    <a:pt x="1703" y="2772"/>
                  </a:lnTo>
                  <a:lnTo>
                    <a:pt x="1704" y="2764"/>
                  </a:lnTo>
                  <a:lnTo>
                    <a:pt x="1708" y="2758"/>
                  </a:lnTo>
                  <a:lnTo>
                    <a:pt x="1714" y="2754"/>
                  </a:lnTo>
                  <a:lnTo>
                    <a:pt x="1723" y="2751"/>
                  </a:lnTo>
                  <a:lnTo>
                    <a:pt x="1976" y="2751"/>
                  </a:lnTo>
                  <a:lnTo>
                    <a:pt x="1976" y="2598"/>
                  </a:lnTo>
                  <a:lnTo>
                    <a:pt x="1025" y="2598"/>
                  </a:lnTo>
                  <a:lnTo>
                    <a:pt x="1018" y="2602"/>
                  </a:lnTo>
                  <a:lnTo>
                    <a:pt x="1010" y="2603"/>
                  </a:lnTo>
                  <a:lnTo>
                    <a:pt x="544" y="2603"/>
                  </a:lnTo>
                  <a:lnTo>
                    <a:pt x="536" y="2602"/>
                  </a:lnTo>
                  <a:lnTo>
                    <a:pt x="531" y="2598"/>
                  </a:lnTo>
                  <a:lnTo>
                    <a:pt x="480" y="2598"/>
                  </a:lnTo>
                  <a:lnTo>
                    <a:pt x="480" y="2751"/>
                  </a:lnTo>
                  <a:lnTo>
                    <a:pt x="1458" y="2751"/>
                  </a:lnTo>
                  <a:lnTo>
                    <a:pt x="1467" y="2754"/>
                  </a:lnTo>
                  <a:lnTo>
                    <a:pt x="1473" y="2758"/>
                  </a:lnTo>
                  <a:lnTo>
                    <a:pt x="1477" y="2764"/>
                  </a:lnTo>
                  <a:lnTo>
                    <a:pt x="1478" y="2772"/>
                  </a:lnTo>
                  <a:lnTo>
                    <a:pt x="1477" y="2780"/>
                  </a:lnTo>
                  <a:lnTo>
                    <a:pt x="1473" y="2786"/>
                  </a:lnTo>
                  <a:lnTo>
                    <a:pt x="1467" y="2790"/>
                  </a:lnTo>
                  <a:lnTo>
                    <a:pt x="1458" y="2791"/>
                  </a:lnTo>
                  <a:close/>
                  <a:moveTo>
                    <a:pt x="2829" y="4085"/>
                  </a:moveTo>
                  <a:lnTo>
                    <a:pt x="2829" y="4077"/>
                  </a:lnTo>
                  <a:lnTo>
                    <a:pt x="2594" y="3774"/>
                  </a:lnTo>
                  <a:lnTo>
                    <a:pt x="2590" y="3814"/>
                  </a:lnTo>
                  <a:lnTo>
                    <a:pt x="2588" y="3843"/>
                  </a:lnTo>
                  <a:lnTo>
                    <a:pt x="2589" y="3868"/>
                  </a:lnTo>
                  <a:lnTo>
                    <a:pt x="2593" y="3893"/>
                  </a:lnTo>
                  <a:lnTo>
                    <a:pt x="2599" y="3916"/>
                  </a:lnTo>
                  <a:lnTo>
                    <a:pt x="2607" y="3939"/>
                  </a:lnTo>
                  <a:lnTo>
                    <a:pt x="2617" y="3961"/>
                  </a:lnTo>
                  <a:lnTo>
                    <a:pt x="2629" y="3982"/>
                  </a:lnTo>
                  <a:lnTo>
                    <a:pt x="2643" y="4002"/>
                  </a:lnTo>
                  <a:lnTo>
                    <a:pt x="2658" y="4020"/>
                  </a:lnTo>
                  <a:lnTo>
                    <a:pt x="2675" y="4037"/>
                  </a:lnTo>
                  <a:lnTo>
                    <a:pt x="2693" y="4051"/>
                  </a:lnTo>
                  <a:lnTo>
                    <a:pt x="2713" y="4065"/>
                  </a:lnTo>
                  <a:lnTo>
                    <a:pt x="2734" y="4076"/>
                  </a:lnTo>
                  <a:lnTo>
                    <a:pt x="2756" y="4085"/>
                  </a:lnTo>
                  <a:lnTo>
                    <a:pt x="2779" y="4093"/>
                  </a:lnTo>
                  <a:lnTo>
                    <a:pt x="2803" y="4098"/>
                  </a:lnTo>
                  <a:lnTo>
                    <a:pt x="2829" y="4102"/>
                  </a:lnTo>
                  <a:lnTo>
                    <a:pt x="2829" y="4093"/>
                  </a:lnTo>
                  <a:lnTo>
                    <a:pt x="2829" y="4085"/>
                  </a:lnTo>
                  <a:close/>
                  <a:moveTo>
                    <a:pt x="1903" y="3824"/>
                  </a:moveTo>
                  <a:lnTo>
                    <a:pt x="1903" y="3937"/>
                  </a:lnTo>
                  <a:lnTo>
                    <a:pt x="1902" y="3946"/>
                  </a:lnTo>
                  <a:lnTo>
                    <a:pt x="1896" y="3952"/>
                  </a:lnTo>
                  <a:lnTo>
                    <a:pt x="1890" y="3956"/>
                  </a:lnTo>
                  <a:lnTo>
                    <a:pt x="1882" y="3957"/>
                  </a:lnTo>
                  <a:lnTo>
                    <a:pt x="1876" y="3956"/>
                  </a:lnTo>
                  <a:lnTo>
                    <a:pt x="1870" y="3952"/>
                  </a:lnTo>
                  <a:lnTo>
                    <a:pt x="1864" y="3946"/>
                  </a:lnTo>
                  <a:lnTo>
                    <a:pt x="1863" y="3937"/>
                  </a:lnTo>
                  <a:lnTo>
                    <a:pt x="1863" y="3824"/>
                  </a:lnTo>
                  <a:lnTo>
                    <a:pt x="1864" y="3817"/>
                  </a:lnTo>
                  <a:lnTo>
                    <a:pt x="1870" y="3810"/>
                  </a:lnTo>
                  <a:lnTo>
                    <a:pt x="1876" y="3806"/>
                  </a:lnTo>
                  <a:lnTo>
                    <a:pt x="1882" y="3805"/>
                  </a:lnTo>
                  <a:lnTo>
                    <a:pt x="1890" y="3806"/>
                  </a:lnTo>
                  <a:lnTo>
                    <a:pt x="1896" y="3810"/>
                  </a:lnTo>
                  <a:lnTo>
                    <a:pt x="1902" y="3817"/>
                  </a:lnTo>
                  <a:lnTo>
                    <a:pt x="1903" y="3824"/>
                  </a:lnTo>
                  <a:close/>
                  <a:moveTo>
                    <a:pt x="587" y="3118"/>
                  </a:moveTo>
                  <a:lnTo>
                    <a:pt x="587" y="3231"/>
                  </a:lnTo>
                  <a:lnTo>
                    <a:pt x="586" y="3240"/>
                  </a:lnTo>
                  <a:lnTo>
                    <a:pt x="581" y="3246"/>
                  </a:lnTo>
                  <a:lnTo>
                    <a:pt x="574" y="3250"/>
                  </a:lnTo>
                  <a:lnTo>
                    <a:pt x="567" y="3251"/>
                  </a:lnTo>
                  <a:lnTo>
                    <a:pt x="560" y="3250"/>
                  </a:lnTo>
                  <a:lnTo>
                    <a:pt x="554" y="3246"/>
                  </a:lnTo>
                  <a:lnTo>
                    <a:pt x="549" y="3240"/>
                  </a:lnTo>
                  <a:lnTo>
                    <a:pt x="548" y="3231"/>
                  </a:lnTo>
                  <a:lnTo>
                    <a:pt x="548" y="3118"/>
                  </a:lnTo>
                  <a:lnTo>
                    <a:pt x="549" y="3111"/>
                  </a:lnTo>
                  <a:lnTo>
                    <a:pt x="554" y="3104"/>
                  </a:lnTo>
                  <a:lnTo>
                    <a:pt x="560" y="3101"/>
                  </a:lnTo>
                  <a:lnTo>
                    <a:pt x="567" y="3099"/>
                  </a:lnTo>
                  <a:lnTo>
                    <a:pt x="574" y="3101"/>
                  </a:lnTo>
                  <a:lnTo>
                    <a:pt x="581" y="3104"/>
                  </a:lnTo>
                  <a:lnTo>
                    <a:pt x="586" y="3111"/>
                  </a:lnTo>
                  <a:lnTo>
                    <a:pt x="587" y="3118"/>
                  </a:lnTo>
                  <a:close/>
                  <a:moveTo>
                    <a:pt x="850" y="3118"/>
                  </a:moveTo>
                  <a:lnTo>
                    <a:pt x="850" y="3231"/>
                  </a:lnTo>
                  <a:lnTo>
                    <a:pt x="849" y="3240"/>
                  </a:lnTo>
                  <a:lnTo>
                    <a:pt x="844" y="3246"/>
                  </a:lnTo>
                  <a:lnTo>
                    <a:pt x="837" y="3250"/>
                  </a:lnTo>
                  <a:lnTo>
                    <a:pt x="831" y="3251"/>
                  </a:lnTo>
                  <a:lnTo>
                    <a:pt x="823" y="3250"/>
                  </a:lnTo>
                  <a:lnTo>
                    <a:pt x="817" y="3246"/>
                  </a:lnTo>
                  <a:lnTo>
                    <a:pt x="812" y="3240"/>
                  </a:lnTo>
                  <a:lnTo>
                    <a:pt x="810" y="3231"/>
                  </a:lnTo>
                  <a:lnTo>
                    <a:pt x="810" y="3118"/>
                  </a:lnTo>
                  <a:lnTo>
                    <a:pt x="812" y="3111"/>
                  </a:lnTo>
                  <a:lnTo>
                    <a:pt x="817" y="3104"/>
                  </a:lnTo>
                  <a:lnTo>
                    <a:pt x="823" y="3101"/>
                  </a:lnTo>
                  <a:lnTo>
                    <a:pt x="831" y="3099"/>
                  </a:lnTo>
                  <a:lnTo>
                    <a:pt x="837" y="3101"/>
                  </a:lnTo>
                  <a:lnTo>
                    <a:pt x="844" y="3104"/>
                  </a:lnTo>
                  <a:lnTo>
                    <a:pt x="849" y="3111"/>
                  </a:lnTo>
                  <a:lnTo>
                    <a:pt x="850" y="3118"/>
                  </a:lnTo>
                  <a:close/>
                  <a:moveTo>
                    <a:pt x="1113" y="3118"/>
                  </a:moveTo>
                  <a:lnTo>
                    <a:pt x="1113" y="3231"/>
                  </a:lnTo>
                  <a:lnTo>
                    <a:pt x="1112" y="3240"/>
                  </a:lnTo>
                  <a:lnTo>
                    <a:pt x="1107" y="3246"/>
                  </a:lnTo>
                  <a:lnTo>
                    <a:pt x="1100" y="3250"/>
                  </a:lnTo>
                  <a:lnTo>
                    <a:pt x="1094" y="3251"/>
                  </a:lnTo>
                  <a:lnTo>
                    <a:pt x="1086" y="3250"/>
                  </a:lnTo>
                  <a:lnTo>
                    <a:pt x="1080" y="3246"/>
                  </a:lnTo>
                  <a:lnTo>
                    <a:pt x="1076" y="3240"/>
                  </a:lnTo>
                  <a:lnTo>
                    <a:pt x="1073" y="3231"/>
                  </a:lnTo>
                  <a:lnTo>
                    <a:pt x="1073" y="3118"/>
                  </a:lnTo>
                  <a:lnTo>
                    <a:pt x="1076" y="3111"/>
                  </a:lnTo>
                  <a:lnTo>
                    <a:pt x="1080" y="3104"/>
                  </a:lnTo>
                  <a:lnTo>
                    <a:pt x="1086" y="3101"/>
                  </a:lnTo>
                  <a:lnTo>
                    <a:pt x="1094" y="3099"/>
                  </a:lnTo>
                  <a:lnTo>
                    <a:pt x="1100" y="3101"/>
                  </a:lnTo>
                  <a:lnTo>
                    <a:pt x="1107" y="3104"/>
                  </a:lnTo>
                  <a:lnTo>
                    <a:pt x="1112" y="3111"/>
                  </a:lnTo>
                  <a:lnTo>
                    <a:pt x="1113" y="3118"/>
                  </a:lnTo>
                  <a:close/>
                  <a:moveTo>
                    <a:pt x="1377" y="3118"/>
                  </a:moveTo>
                  <a:lnTo>
                    <a:pt x="1377" y="3231"/>
                  </a:lnTo>
                  <a:lnTo>
                    <a:pt x="1375" y="3240"/>
                  </a:lnTo>
                  <a:lnTo>
                    <a:pt x="1371" y="3246"/>
                  </a:lnTo>
                  <a:lnTo>
                    <a:pt x="1364" y="3250"/>
                  </a:lnTo>
                  <a:lnTo>
                    <a:pt x="1357" y="3251"/>
                  </a:lnTo>
                  <a:lnTo>
                    <a:pt x="1349" y="3250"/>
                  </a:lnTo>
                  <a:lnTo>
                    <a:pt x="1343" y="3246"/>
                  </a:lnTo>
                  <a:lnTo>
                    <a:pt x="1339" y="3240"/>
                  </a:lnTo>
                  <a:lnTo>
                    <a:pt x="1336" y="3231"/>
                  </a:lnTo>
                  <a:lnTo>
                    <a:pt x="1336" y="3118"/>
                  </a:lnTo>
                  <a:lnTo>
                    <a:pt x="1339" y="3111"/>
                  </a:lnTo>
                  <a:lnTo>
                    <a:pt x="1343" y="3104"/>
                  </a:lnTo>
                  <a:lnTo>
                    <a:pt x="1349" y="3101"/>
                  </a:lnTo>
                  <a:lnTo>
                    <a:pt x="1357" y="3099"/>
                  </a:lnTo>
                  <a:lnTo>
                    <a:pt x="1364" y="3101"/>
                  </a:lnTo>
                  <a:lnTo>
                    <a:pt x="1371" y="3104"/>
                  </a:lnTo>
                  <a:lnTo>
                    <a:pt x="1375" y="3111"/>
                  </a:lnTo>
                  <a:lnTo>
                    <a:pt x="1377" y="3118"/>
                  </a:lnTo>
                  <a:close/>
                  <a:moveTo>
                    <a:pt x="1640" y="3118"/>
                  </a:moveTo>
                  <a:lnTo>
                    <a:pt x="1640" y="3231"/>
                  </a:lnTo>
                  <a:lnTo>
                    <a:pt x="1637" y="3240"/>
                  </a:lnTo>
                  <a:lnTo>
                    <a:pt x="1634" y="3246"/>
                  </a:lnTo>
                  <a:lnTo>
                    <a:pt x="1627" y="3250"/>
                  </a:lnTo>
                  <a:lnTo>
                    <a:pt x="1620" y="3251"/>
                  </a:lnTo>
                  <a:lnTo>
                    <a:pt x="1612" y="3250"/>
                  </a:lnTo>
                  <a:lnTo>
                    <a:pt x="1605" y="3246"/>
                  </a:lnTo>
                  <a:lnTo>
                    <a:pt x="1602" y="3240"/>
                  </a:lnTo>
                  <a:lnTo>
                    <a:pt x="1600" y="3231"/>
                  </a:lnTo>
                  <a:lnTo>
                    <a:pt x="1600" y="3118"/>
                  </a:lnTo>
                  <a:lnTo>
                    <a:pt x="1602" y="3111"/>
                  </a:lnTo>
                  <a:lnTo>
                    <a:pt x="1605" y="3104"/>
                  </a:lnTo>
                  <a:lnTo>
                    <a:pt x="1612" y="3101"/>
                  </a:lnTo>
                  <a:lnTo>
                    <a:pt x="1620" y="3099"/>
                  </a:lnTo>
                  <a:lnTo>
                    <a:pt x="1627" y="3101"/>
                  </a:lnTo>
                  <a:lnTo>
                    <a:pt x="1634" y="3104"/>
                  </a:lnTo>
                  <a:lnTo>
                    <a:pt x="1637" y="3111"/>
                  </a:lnTo>
                  <a:lnTo>
                    <a:pt x="1640" y="3118"/>
                  </a:lnTo>
                  <a:close/>
                  <a:moveTo>
                    <a:pt x="1903" y="3118"/>
                  </a:moveTo>
                  <a:lnTo>
                    <a:pt x="1903" y="3231"/>
                  </a:lnTo>
                  <a:lnTo>
                    <a:pt x="1902" y="3240"/>
                  </a:lnTo>
                  <a:lnTo>
                    <a:pt x="1896" y="3246"/>
                  </a:lnTo>
                  <a:lnTo>
                    <a:pt x="1890" y="3250"/>
                  </a:lnTo>
                  <a:lnTo>
                    <a:pt x="1882" y="3251"/>
                  </a:lnTo>
                  <a:lnTo>
                    <a:pt x="1876" y="3250"/>
                  </a:lnTo>
                  <a:lnTo>
                    <a:pt x="1870" y="3246"/>
                  </a:lnTo>
                  <a:lnTo>
                    <a:pt x="1864" y="3240"/>
                  </a:lnTo>
                  <a:lnTo>
                    <a:pt x="1863" y="3231"/>
                  </a:lnTo>
                  <a:lnTo>
                    <a:pt x="1863" y="3118"/>
                  </a:lnTo>
                  <a:lnTo>
                    <a:pt x="1864" y="3111"/>
                  </a:lnTo>
                  <a:lnTo>
                    <a:pt x="1870" y="3104"/>
                  </a:lnTo>
                  <a:lnTo>
                    <a:pt x="1876" y="3101"/>
                  </a:lnTo>
                  <a:lnTo>
                    <a:pt x="1882" y="3099"/>
                  </a:lnTo>
                  <a:lnTo>
                    <a:pt x="1890" y="3101"/>
                  </a:lnTo>
                  <a:lnTo>
                    <a:pt x="1896" y="3104"/>
                  </a:lnTo>
                  <a:lnTo>
                    <a:pt x="1902" y="3111"/>
                  </a:lnTo>
                  <a:lnTo>
                    <a:pt x="1903" y="3118"/>
                  </a:lnTo>
                  <a:close/>
                  <a:moveTo>
                    <a:pt x="587" y="3354"/>
                  </a:moveTo>
                  <a:lnTo>
                    <a:pt x="587" y="3466"/>
                  </a:lnTo>
                  <a:lnTo>
                    <a:pt x="586" y="3475"/>
                  </a:lnTo>
                  <a:lnTo>
                    <a:pt x="581" y="3482"/>
                  </a:lnTo>
                  <a:lnTo>
                    <a:pt x="574" y="3485"/>
                  </a:lnTo>
                  <a:lnTo>
                    <a:pt x="567" y="3487"/>
                  </a:lnTo>
                  <a:lnTo>
                    <a:pt x="560" y="3485"/>
                  </a:lnTo>
                  <a:lnTo>
                    <a:pt x="554" y="3482"/>
                  </a:lnTo>
                  <a:lnTo>
                    <a:pt x="549" y="3475"/>
                  </a:lnTo>
                  <a:lnTo>
                    <a:pt x="548" y="3466"/>
                  </a:lnTo>
                  <a:lnTo>
                    <a:pt x="548" y="3354"/>
                  </a:lnTo>
                  <a:lnTo>
                    <a:pt x="549" y="3346"/>
                  </a:lnTo>
                  <a:lnTo>
                    <a:pt x="554" y="3340"/>
                  </a:lnTo>
                  <a:lnTo>
                    <a:pt x="560" y="3336"/>
                  </a:lnTo>
                  <a:lnTo>
                    <a:pt x="567" y="3335"/>
                  </a:lnTo>
                  <a:lnTo>
                    <a:pt x="574" y="3336"/>
                  </a:lnTo>
                  <a:lnTo>
                    <a:pt x="581" y="3340"/>
                  </a:lnTo>
                  <a:lnTo>
                    <a:pt x="586" y="3346"/>
                  </a:lnTo>
                  <a:lnTo>
                    <a:pt x="587" y="3354"/>
                  </a:lnTo>
                  <a:close/>
                  <a:moveTo>
                    <a:pt x="850" y="3354"/>
                  </a:moveTo>
                  <a:lnTo>
                    <a:pt x="850" y="3466"/>
                  </a:lnTo>
                  <a:lnTo>
                    <a:pt x="849" y="3475"/>
                  </a:lnTo>
                  <a:lnTo>
                    <a:pt x="844" y="3482"/>
                  </a:lnTo>
                  <a:lnTo>
                    <a:pt x="837" y="3485"/>
                  </a:lnTo>
                  <a:lnTo>
                    <a:pt x="831" y="3487"/>
                  </a:lnTo>
                  <a:lnTo>
                    <a:pt x="823" y="3485"/>
                  </a:lnTo>
                  <a:lnTo>
                    <a:pt x="817" y="3482"/>
                  </a:lnTo>
                  <a:lnTo>
                    <a:pt x="812" y="3475"/>
                  </a:lnTo>
                  <a:lnTo>
                    <a:pt x="810" y="3466"/>
                  </a:lnTo>
                  <a:lnTo>
                    <a:pt x="810" y="3354"/>
                  </a:lnTo>
                  <a:lnTo>
                    <a:pt x="812" y="3346"/>
                  </a:lnTo>
                  <a:lnTo>
                    <a:pt x="817" y="3340"/>
                  </a:lnTo>
                  <a:lnTo>
                    <a:pt x="823" y="3336"/>
                  </a:lnTo>
                  <a:lnTo>
                    <a:pt x="831" y="3335"/>
                  </a:lnTo>
                  <a:lnTo>
                    <a:pt x="837" y="3336"/>
                  </a:lnTo>
                  <a:lnTo>
                    <a:pt x="844" y="3340"/>
                  </a:lnTo>
                  <a:lnTo>
                    <a:pt x="849" y="3346"/>
                  </a:lnTo>
                  <a:lnTo>
                    <a:pt x="850" y="3354"/>
                  </a:lnTo>
                  <a:close/>
                  <a:moveTo>
                    <a:pt x="1113" y="3354"/>
                  </a:moveTo>
                  <a:lnTo>
                    <a:pt x="1113" y="3466"/>
                  </a:lnTo>
                  <a:lnTo>
                    <a:pt x="1112" y="3475"/>
                  </a:lnTo>
                  <a:lnTo>
                    <a:pt x="1107" y="3482"/>
                  </a:lnTo>
                  <a:lnTo>
                    <a:pt x="1100" y="3485"/>
                  </a:lnTo>
                  <a:lnTo>
                    <a:pt x="1094" y="3487"/>
                  </a:lnTo>
                  <a:lnTo>
                    <a:pt x="1086" y="3485"/>
                  </a:lnTo>
                  <a:lnTo>
                    <a:pt x="1080" y="3482"/>
                  </a:lnTo>
                  <a:lnTo>
                    <a:pt x="1076" y="3475"/>
                  </a:lnTo>
                  <a:lnTo>
                    <a:pt x="1073" y="3466"/>
                  </a:lnTo>
                  <a:lnTo>
                    <a:pt x="1073" y="3354"/>
                  </a:lnTo>
                  <a:lnTo>
                    <a:pt x="1076" y="3346"/>
                  </a:lnTo>
                  <a:lnTo>
                    <a:pt x="1080" y="3340"/>
                  </a:lnTo>
                  <a:lnTo>
                    <a:pt x="1086" y="3336"/>
                  </a:lnTo>
                  <a:lnTo>
                    <a:pt x="1094" y="3335"/>
                  </a:lnTo>
                  <a:lnTo>
                    <a:pt x="1100" y="3336"/>
                  </a:lnTo>
                  <a:lnTo>
                    <a:pt x="1107" y="3340"/>
                  </a:lnTo>
                  <a:lnTo>
                    <a:pt x="1112" y="3346"/>
                  </a:lnTo>
                  <a:lnTo>
                    <a:pt x="1113" y="3354"/>
                  </a:lnTo>
                  <a:close/>
                  <a:moveTo>
                    <a:pt x="1377" y="3354"/>
                  </a:moveTo>
                  <a:lnTo>
                    <a:pt x="1377" y="3466"/>
                  </a:lnTo>
                  <a:lnTo>
                    <a:pt x="1375" y="3475"/>
                  </a:lnTo>
                  <a:lnTo>
                    <a:pt x="1371" y="3482"/>
                  </a:lnTo>
                  <a:lnTo>
                    <a:pt x="1364" y="3485"/>
                  </a:lnTo>
                  <a:lnTo>
                    <a:pt x="1357" y="3487"/>
                  </a:lnTo>
                  <a:lnTo>
                    <a:pt x="1349" y="3485"/>
                  </a:lnTo>
                  <a:lnTo>
                    <a:pt x="1343" y="3482"/>
                  </a:lnTo>
                  <a:lnTo>
                    <a:pt x="1339" y="3475"/>
                  </a:lnTo>
                  <a:lnTo>
                    <a:pt x="1336" y="3466"/>
                  </a:lnTo>
                  <a:lnTo>
                    <a:pt x="1336" y="3354"/>
                  </a:lnTo>
                  <a:lnTo>
                    <a:pt x="1339" y="3346"/>
                  </a:lnTo>
                  <a:lnTo>
                    <a:pt x="1343" y="3340"/>
                  </a:lnTo>
                  <a:lnTo>
                    <a:pt x="1349" y="3336"/>
                  </a:lnTo>
                  <a:lnTo>
                    <a:pt x="1357" y="3335"/>
                  </a:lnTo>
                  <a:lnTo>
                    <a:pt x="1364" y="3336"/>
                  </a:lnTo>
                  <a:lnTo>
                    <a:pt x="1371" y="3340"/>
                  </a:lnTo>
                  <a:lnTo>
                    <a:pt x="1375" y="3346"/>
                  </a:lnTo>
                  <a:lnTo>
                    <a:pt x="1377" y="3354"/>
                  </a:lnTo>
                  <a:close/>
                  <a:moveTo>
                    <a:pt x="1640" y="3354"/>
                  </a:moveTo>
                  <a:lnTo>
                    <a:pt x="1640" y="3466"/>
                  </a:lnTo>
                  <a:lnTo>
                    <a:pt x="1637" y="3475"/>
                  </a:lnTo>
                  <a:lnTo>
                    <a:pt x="1634" y="3482"/>
                  </a:lnTo>
                  <a:lnTo>
                    <a:pt x="1627" y="3485"/>
                  </a:lnTo>
                  <a:lnTo>
                    <a:pt x="1620" y="3487"/>
                  </a:lnTo>
                  <a:lnTo>
                    <a:pt x="1612" y="3485"/>
                  </a:lnTo>
                  <a:lnTo>
                    <a:pt x="1605" y="3482"/>
                  </a:lnTo>
                  <a:lnTo>
                    <a:pt x="1602" y="3475"/>
                  </a:lnTo>
                  <a:lnTo>
                    <a:pt x="1600" y="3466"/>
                  </a:lnTo>
                  <a:lnTo>
                    <a:pt x="1600" y="3354"/>
                  </a:lnTo>
                  <a:lnTo>
                    <a:pt x="1602" y="3346"/>
                  </a:lnTo>
                  <a:lnTo>
                    <a:pt x="1605" y="3340"/>
                  </a:lnTo>
                  <a:lnTo>
                    <a:pt x="1612" y="3336"/>
                  </a:lnTo>
                  <a:lnTo>
                    <a:pt x="1620" y="3335"/>
                  </a:lnTo>
                  <a:lnTo>
                    <a:pt x="1627" y="3336"/>
                  </a:lnTo>
                  <a:lnTo>
                    <a:pt x="1634" y="3340"/>
                  </a:lnTo>
                  <a:lnTo>
                    <a:pt x="1637" y="3346"/>
                  </a:lnTo>
                  <a:lnTo>
                    <a:pt x="1640" y="3354"/>
                  </a:lnTo>
                  <a:close/>
                  <a:moveTo>
                    <a:pt x="1903" y="3354"/>
                  </a:moveTo>
                  <a:lnTo>
                    <a:pt x="1903" y="3466"/>
                  </a:lnTo>
                  <a:lnTo>
                    <a:pt x="1902" y="3475"/>
                  </a:lnTo>
                  <a:lnTo>
                    <a:pt x="1896" y="3482"/>
                  </a:lnTo>
                  <a:lnTo>
                    <a:pt x="1890" y="3485"/>
                  </a:lnTo>
                  <a:lnTo>
                    <a:pt x="1882" y="3487"/>
                  </a:lnTo>
                  <a:lnTo>
                    <a:pt x="1876" y="3485"/>
                  </a:lnTo>
                  <a:lnTo>
                    <a:pt x="1870" y="3482"/>
                  </a:lnTo>
                  <a:lnTo>
                    <a:pt x="1864" y="3475"/>
                  </a:lnTo>
                  <a:lnTo>
                    <a:pt x="1863" y="3466"/>
                  </a:lnTo>
                  <a:lnTo>
                    <a:pt x="1863" y="3354"/>
                  </a:lnTo>
                  <a:lnTo>
                    <a:pt x="1864" y="3346"/>
                  </a:lnTo>
                  <a:lnTo>
                    <a:pt x="1870" y="3340"/>
                  </a:lnTo>
                  <a:lnTo>
                    <a:pt x="1876" y="3336"/>
                  </a:lnTo>
                  <a:lnTo>
                    <a:pt x="1882" y="3335"/>
                  </a:lnTo>
                  <a:lnTo>
                    <a:pt x="1890" y="3336"/>
                  </a:lnTo>
                  <a:lnTo>
                    <a:pt x="1896" y="3340"/>
                  </a:lnTo>
                  <a:lnTo>
                    <a:pt x="1902" y="3346"/>
                  </a:lnTo>
                  <a:lnTo>
                    <a:pt x="1903" y="3354"/>
                  </a:lnTo>
                  <a:close/>
                  <a:moveTo>
                    <a:pt x="587" y="3589"/>
                  </a:moveTo>
                  <a:lnTo>
                    <a:pt x="587" y="3702"/>
                  </a:lnTo>
                  <a:lnTo>
                    <a:pt x="586" y="3710"/>
                  </a:lnTo>
                  <a:lnTo>
                    <a:pt x="581" y="3717"/>
                  </a:lnTo>
                  <a:lnTo>
                    <a:pt x="574" y="3721"/>
                  </a:lnTo>
                  <a:lnTo>
                    <a:pt x="567" y="3722"/>
                  </a:lnTo>
                  <a:lnTo>
                    <a:pt x="560" y="3721"/>
                  </a:lnTo>
                  <a:lnTo>
                    <a:pt x="554" y="3717"/>
                  </a:lnTo>
                  <a:lnTo>
                    <a:pt x="549" y="3710"/>
                  </a:lnTo>
                  <a:lnTo>
                    <a:pt x="548" y="3702"/>
                  </a:lnTo>
                  <a:lnTo>
                    <a:pt x="548" y="3589"/>
                  </a:lnTo>
                  <a:lnTo>
                    <a:pt x="549" y="3581"/>
                  </a:lnTo>
                  <a:lnTo>
                    <a:pt x="554" y="3575"/>
                  </a:lnTo>
                  <a:lnTo>
                    <a:pt x="560" y="3571"/>
                  </a:lnTo>
                  <a:lnTo>
                    <a:pt x="567" y="3570"/>
                  </a:lnTo>
                  <a:lnTo>
                    <a:pt x="574" y="3571"/>
                  </a:lnTo>
                  <a:lnTo>
                    <a:pt x="581" y="3575"/>
                  </a:lnTo>
                  <a:lnTo>
                    <a:pt x="586" y="3581"/>
                  </a:lnTo>
                  <a:lnTo>
                    <a:pt x="587" y="3589"/>
                  </a:lnTo>
                  <a:close/>
                  <a:moveTo>
                    <a:pt x="850" y="3589"/>
                  </a:moveTo>
                  <a:lnTo>
                    <a:pt x="850" y="3702"/>
                  </a:lnTo>
                  <a:lnTo>
                    <a:pt x="849" y="3710"/>
                  </a:lnTo>
                  <a:lnTo>
                    <a:pt x="844" y="3717"/>
                  </a:lnTo>
                  <a:lnTo>
                    <a:pt x="837" y="3721"/>
                  </a:lnTo>
                  <a:lnTo>
                    <a:pt x="831" y="3722"/>
                  </a:lnTo>
                  <a:lnTo>
                    <a:pt x="823" y="3721"/>
                  </a:lnTo>
                  <a:lnTo>
                    <a:pt x="817" y="3717"/>
                  </a:lnTo>
                  <a:lnTo>
                    <a:pt x="812" y="3710"/>
                  </a:lnTo>
                  <a:lnTo>
                    <a:pt x="810" y="3702"/>
                  </a:lnTo>
                  <a:lnTo>
                    <a:pt x="810" y="3589"/>
                  </a:lnTo>
                  <a:lnTo>
                    <a:pt x="812" y="3581"/>
                  </a:lnTo>
                  <a:lnTo>
                    <a:pt x="817" y="3575"/>
                  </a:lnTo>
                  <a:lnTo>
                    <a:pt x="823" y="3571"/>
                  </a:lnTo>
                  <a:lnTo>
                    <a:pt x="831" y="3570"/>
                  </a:lnTo>
                  <a:lnTo>
                    <a:pt x="837" y="3571"/>
                  </a:lnTo>
                  <a:lnTo>
                    <a:pt x="844" y="3575"/>
                  </a:lnTo>
                  <a:lnTo>
                    <a:pt x="849" y="3581"/>
                  </a:lnTo>
                  <a:lnTo>
                    <a:pt x="850" y="3589"/>
                  </a:lnTo>
                  <a:close/>
                  <a:moveTo>
                    <a:pt x="1113" y="3589"/>
                  </a:moveTo>
                  <a:lnTo>
                    <a:pt x="1113" y="3702"/>
                  </a:lnTo>
                  <a:lnTo>
                    <a:pt x="1112" y="3710"/>
                  </a:lnTo>
                  <a:lnTo>
                    <a:pt x="1107" y="3717"/>
                  </a:lnTo>
                  <a:lnTo>
                    <a:pt x="1100" y="3721"/>
                  </a:lnTo>
                  <a:lnTo>
                    <a:pt x="1094" y="3722"/>
                  </a:lnTo>
                  <a:lnTo>
                    <a:pt x="1086" y="3721"/>
                  </a:lnTo>
                  <a:lnTo>
                    <a:pt x="1080" y="3717"/>
                  </a:lnTo>
                  <a:lnTo>
                    <a:pt x="1076" y="3710"/>
                  </a:lnTo>
                  <a:lnTo>
                    <a:pt x="1073" y="3702"/>
                  </a:lnTo>
                  <a:lnTo>
                    <a:pt x="1073" y="3589"/>
                  </a:lnTo>
                  <a:lnTo>
                    <a:pt x="1076" y="3581"/>
                  </a:lnTo>
                  <a:lnTo>
                    <a:pt x="1080" y="3575"/>
                  </a:lnTo>
                  <a:lnTo>
                    <a:pt x="1086" y="3571"/>
                  </a:lnTo>
                  <a:lnTo>
                    <a:pt x="1094" y="3570"/>
                  </a:lnTo>
                  <a:lnTo>
                    <a:pt x="1100" y="3571"/>
                  </a:lnTo>
                  <a:lnTo>
                    <a:pt x="1107" y="3575"/>
                  </a:lnTo>
                  <a:lnTo>
                    <a:pt x="1112" y="3581"/>
                  </a:lnTo>
                  <a:lnTo>
                    <a:pt x="1113" y="3589"/>
                  </a:lnTo>
                  <a:close/>
                  <a:moveTo>
                    <a:pt x="1377" y="3589"/>
                  </a:moveTo>
                  <a:lnTo>
                    <a:pt x="1377" y="3702"/>
                  </a:lnTo>
                  <a:lnTo>
                    <a:pt x="1375" y="3710"/>
                  </a:lnTo>
                  <a:lnTo>
                    <a:pt x="1371" y="3717"/>
                  </a:lnTo>
                  <a:lnTo>
                    <a:pt x="1364" y="3721"/>
                  </a:lnTo>
                  <a:lnTo>
                    <a:pt x="1357" y="3722"/>
                  </a:lnTo>
                  <a:lnTo>
                    <a:pt x="1349" y="3721"/>
                  </a:lnTo>
                  <a:lnTo>
                    <a:pt x="1343" y="3717"/>
                  </a:lnTo>
                  <a:lnTo>
                    <a:pt x="1339" y="3710"/>
                  </a:lnTo>
                  <a:lnTo>
                    <a:pt x="1336" y="3702"/>
                  </a:lnTo>
                  <a:lnTo>
                    <a:pt x="1336" y="3589"/>
                  </a:lnTo>
                  <a:lnTo>
                    <a:pt x="1339" y="3581"/>
                  </a:lnTo>
                  <a:lnTo>
                    <a:pt x="1343" y="3575"/>
                  </a:lnTo>
                  <a:lnTo>
                    <a:pt x="1349" y="3571"/>
                  </a:lnTo>
                  <a:lnTo>
                    <a:pt x="1357" y="3570"/>
                  </a:lnTo>
                  <a:lnTo>
                    <a:pt x="1364" y="3571"/>
                  </a:lnTo>
                  <a:lnTo>
                    <a:pt x="1371" y="3575"/>
                  </a:lnTo>
                  <a:lnTo>
                    <a:pt x="1375" y="3581"/>
                  </a:lnTo>
                  <a:lnTo>
                    <a:pt x="1377" y="3589"/>
                  </a:lnTo>
                  <a:close/>
                  <a:moveTo>
                    <a:pt x="1640" y="3589"/>
                  </a:moveTo>
                  <a:lnTo>
                    <a:pt x="1640" y="3702"/>
                  </a:lnTo>
                  <a:lnTo>
                    <a:pt x="1637" y="3710"/>
                  </a:lnTo>
                  <a:lnTo>
                    <a:pt x="1634" y="3717"/>
                  </a:lnTo>
                  <a:lnTo>
                    <a:pt x="1627" y="3721"/>
                  </a:lnTo>
                  <a:lnTo>
                    <a:pt x="1620" y="3722"/>
                  </a:lnTo>
                  <a:lnTo>
                    <a:pt x="1612" y="3721"/>
                  </a:lnTo>
                  <a:lnTo>
                    <a:pt x="1605" y="3717"/>
                  </a:lnTo>
                  <a:lnTo>
                    <a:pt x="1602" y="3710"/>
                  </a:lnTo>
                  <a:lnTo>
                    <a:pt x="1600" y="3702"/>
                  </a:lnTo>
                  <a:lnTo>
                    <a:pt x="1600" y="3589"/>
                  </a:lnTo>
                  <a:lnTo>
                    <a:pt x="1602" y="3581"/>
                  </a:lnTo>
                  <a:lnTo>
                    <a:pt x="1605" y="3575"/>
                  </a:lnTo>
                  <a:lnTo>
                    <a:pt x="1612" y="3571"/>
                  </a:lnTo>
                  <a:lnTo>
                    <a:pt x="1620" y="3570"/>
                  </a:lnTo>
                  <a:lnTo>
                    <a:pt x="1627" y="3571"/>
                  </a:lnTo>
                  <a:lnTo>
                    <a:pt x="1634" y="3575"/>
                  </a:lnTo>
                  <a:lnTo>
                    <a:pt x="1637" y="3581"/>
                  </a:lnTo>
                  <a:lnTo>
                    <a:pt x="1640" y="3589"/>
                  </a:lnTo>
                  <a:close/>
                  <a:moveTo>
                    <a:pt x="1903" y="3589"/>
                  </a:moveTo>
                  <a:lnTo>
                    <a:pt x="1903" y="3702"/>
                  </a:lnTo>
                  <a:lnTo>
                    <a:pt x="1902" y="3710"/>
                  </a:lnTo>
                  <a:lnTo>
                    <a:pt x="1896" y="3717"/>
                  </a:lnTo>
                  <a:lnTo>
                    <a:pt x="1890" y="3721"/>
                  </a:lnTo>
                  <a:lnTo>
                    <a:pt x="1882" y="3722"/>
                  </a:lnTo>
                  <a:lnTo>
                    <a:pt x="1876" y="3721"/>
                  </a:lnTo>
                  <a:lnTo>
                    <a:pt x="1870" y="3717"/>
                  </a:lnTo>
                  <a:lnTo>
                    <a:pt x="1864" y="3710"/>
                  </a:lnTo>
                  <a:lnTo>
                    <a:pt x="1863" y="3702"/>
                  </a:lnTo>
                  <a:lnTo>
                    <a:pt x="1863" y="3589"/>
                  </a:lnTo>
                  <a:lnTo>
                    <a:pt x="1864" y="3581"/>
                  </a:lnTo>
                  <a:lnTo>
                    <a:pt x="1870" y="3575"/>
                  </a:lnTo>
                  <a:lnTo>
                    <a:pt x="1876" y="3571"/>
                  </a:lnTo>
                  <a:lnTo>
                    <a:pt x="1882" y="3570"/>
                  </a:lnTo>
                  <a:lnTo>
                    <a:pt x="1890" y="3571"/>
                  </a:lnTo>
                  <a:lnTo>
                    <a:pt x="1896" y="3575"/>
                  </a:lnTo>
                  <a:lnTo>
                    <a:pt x="1902" y="3581"/>
                  </a:lnTo>
                  <a:lnTo>
                    <a:pt x="1903" y="3589"/>
                  </a:lnTo>
                  <a:close/>
                  <a:moveTo>
                    <a:pt x="587" y="3824"/>
                  </a:moveTo>
                  <a:lnTo>
                    <a:pt x="587" y="3937"/>
                  </a:lnTo>
                  <a:lnTo>
                    <a:pt x="586" y="3946"/>
                  </a:lnTo>
                  <a:lnTo>
                    <a:pt x="581" y="3952"/>
                  </a:lnTo>
                  <a:lnTo>
                    <a:pt x="574" y="3956"/>
                  </a:lnTo>
                  <a:lnTo>
                    <a:pt x="567" y="3957"/>
                  </a:lnTo>
                  <a:lnTo>
                    <a:pt x="560" y="3956"/>
                  </a:lnTo>
                  <a:lnTo>
                    <a:pt x="554" y="3952"/>
                  </a:lnTo>
                  <a:lnTo>
                    <a:pt x="549" y="3946"/>
                  </a:lnTo>
                  <a:lnTo>
                    <a:pt x="548" y="3937"/>
                  </a:lnTo>
                  <a:lnTo>
                    <a:pt x="548" y="3824"/>
                  </a:lnTo>
                  <a:lnTo>
                    <a:pt x="549" y="3817"/>
                  </a:lnTo>
                  <a:lnTo>
                    <a:pt x="554" y="3810"/>
                  </a:lnTo>
                  <a:lnTo>
                    <a:pt x="560" y="3806"/>
                  </a:lnTo>
                  <a:lnTo>
                    <a:pt x="567" y="3805"/>
                  </a:lnTo>
                  <a:lnTo>
                    <a:pt x="574" y="3806"/>
                  </a:lnTo>
                  <a:lnTo>
                    <a:pt x="581" y="3810"/>
                  </a:lnTo>
                  <a:lnTo>
                    <a:pt x="586" y="3817"/>
                  </a:lnTo>
                  <a:lnTo>
                    <a:pt x="587" y="3824"/>
                  </a:lnTo>
                  <a:close/>
                  <a:moveTo>
                    <a:pt x="850" y="3824"/>
                  </a:moveTo>
                  <a:lnTo>
                    <a:pt x="850" y="3937"/>
                  </a:lnTo>
                  <a:lnTo>
                    <a:pt x="849" y="3946"/>
                  </a:lnTo>
                  <a:lnTo>
                    <a:pt x="844" y="3952"/>
                  </a:lnTo>
                  <a:lnTo>
                    <a:pt x="837" y="3956"/>
                  </a:lnTo>
                  <a:lnTo>
                    <a:pt x="831" y="3957"/>
                  </a:lnTo>
                  <a:lnTo>
                    <a:pt x="823" y="3956"/>
                  </a:lnTo>
                  <a:lnTo>
                    <a:pt x="817" y="3952"/>
                  </a:lnTo>
                  <a:lnTo>
                    <a:pt x="812" y="3946"/>
                  </a:lnTo>
                  <a:lnTo>
                    <a:pt x="810" y="3937"/>
                  </a:lnTo>
                  <a:lnTo>
                    <a:pt x="810" y="3824"/>
                  </a:lnTo>
                  <a:lnTo>
                    <a:pt x="812" y="3817"/>
                  </a:lnTo>
                  <a:lnTo>
                    <a:pt x="817" y="3810"/>
                  </a:lnTo>
                  <a:lnTo>
                    <a:pt x="823" y="3806"/>
                  </a:lnTo>
                  <a:lnTo>
                    <a:pt x="831" y="3805"/>
                  </a:lnTo>
                  <a:lnTo>
                    <a:pt x="837" y="3806"/>
                  </a:lnTo>
                  <a:lnTo>
                    <a:pt x="844" y="3810"/>
                  </a:lnTo>
                  <a:lnTo>
                    <a:pt x="849" y="3817"/>
                  </a:lnTo>
                  <a:lnTo>
                    <a:pt x="850" y="3824"/>
                  </a:lnTo>
                  <a:close/>
                  <a:moveTo>
                    <a:pt x="1113" y="3824"/>
                  </a:moveTo>
                  <a:lnTo>
                    <a:pt x="1113" y="3937"/>
                  </a:lnTo>
                  <a:lnTo>
                    <a:pt x="1112" y="3946"/>
                  </a:lnTo>
                  <a:lnTo>
                    <a:pt x="1107" y="3952"/>
                  </a:lnTo>
                  <a:lnTo>
                    <a:pt x="1100" y="3956"/>
                  </a:lnTo>
                  <a:lnTo>
                    <a:pt x="1094" y="3957"/>
                  </a:lnTo>
                  <a:lnTo>
                    <a:pt x="1086" y="3956"/>
                  </a:lnTo>
                  <a:lnTo>
                    <a:pt x="1080" y="3952"/>
                  </a:lnTo>
                  <a:lnTo>
                    <a:pt x="1076" y="3946"/>
                  </a:lnTo>
                  <a:lnTo>
                    <a:pt x="1073" y="3937"/>
                  </a:lnTo>
                  <a:lnTo>
                    <a:pt x="1073" y="3824"/>
                  </a:lnTo>
                  <a:lnTo>
                    <a:pt x="1076" y="3817"/>
                  </a:lnTo>
                  <a:lnTo>
                    <a:pt x="1080" y="3810"/>
                  </a:lnTo>
                  <a:lnTo>
                    <a:pt x="1086" y="3806"/>
                  </a:lnTo>
                  <a:lnTo>
                    <a:pt x="1094" y="3805"/>
                  </a:lnTo>
                  <a:lnTo>
                    <a:pt x="1100" y="3806"/>
                  </a:lnTo>
                  <a:lnTo>
                    <a:pt x="1107" y="3810"/>
                  </a:lnTo>
                  <a:lnTo>
                    <a:pt x="1112" y="3817"/>
                  </a:lnTo>
                  <a:lnTo>
                    <a:pt x="1113" y="3824"/>
                  </a:lnTo>
                  <a:close/>
                  <a:moveTo>
                    <a:pt x="1377" y="3824"/>
                  </a:moveTo>
                  <a:lnTo>
                    <a:pt x="1377" y="3937"/>
                  </a:lnTo>
                  <a:lnTo>
                    <a:pt x="1375" y="3946"/>
                  </a:lnTo>
                  <a:lnTo>
                    <a:pt x="1371" y="3952"/>
                  </a:lnTo>
                  <a:lnTo>
                    <a:pt x="1364" y="3956"/>
                  </a:lnTo>
                  <a:lnTo>
                    <a:pt x="1357" y="3957"/>
                  </a:lnTo>
                  <a:lnTo>
                    <a:pt x="1349" y="3956"/>
                  </a:lnTo>
                  <a:lnTo>
                    <a:pt x="1343" y="3952"/>
                  </a:lnTo>
                  <a:lnTo>
                    <a:pt x="1339" y="3946"/>
                  </a:lnTo>
                  <a:lnTo>
                    <a:pt x="1336" y="3937"/>
                  </a:lnTo>
                  <a:lnTo>
                    <a:pt x="1336" y="3824"/>
                  </a:lnTo>
                  <a:lnTo>
                    <a:pt x="1339" y="3817"/>
                  </a:lnTo>
                  <a:lnTo>
                    <a:pt x="1343" y="3810"/>
                  </a:lnTo>
                  <a:lnTo>
                    <a:pt x="1349" y="3806"/>
                  </a:lnTo>
                  <a:lnTo>
                    <a:pt x="1357" y="3805"/>
                  </a:lnTo>
                  <a:lnTo>
                    <a:pt x="1364" y="3806"/>
                  </a:lnTo>
                  <a:lnTo>
                    <a:pt x="1371" y="3810"/>
                  </a:lnTo>
                  <a:lnTo>
                    <a:pt x="1375" y="3817"/>
                  </a:lnTo>
                  <a:lnTo>
                    <a:pt x="1377" y="3824"/>
                  </a:lnTo>
                  <a:close/>
                  <a:moveTo>
                    <a:pt x="1640" y="3824"/>
                  </a:moveTo>
                  <a:lnTo>
                    <a:pt x="1640" y="3937"/>
                  </a:lnTo>
                  <a:lnTo>
                    <a:pt x="1637" y="3946"/>
                  </a:lnTo>
                  <a:lnTo>
                    <a:pt x="1634" y="3952"/>
                  </a:lnTo>
                  <a:lnTo>
                    <a:pt x="1627" y="3956"/>
                  </a:lnTo>
                  <a:lnTo>
                    <a:pt x="1620" y="3957"/>
                  </a:lnTo>
                  <a:lnTo>
                    <a:pt x="1612" y="3956"/>
                  </a:lnTo>
                  <a:lnTo>
                    <a:pt x="1605" y="3952"/>
                  </a:lnTo>
                  <a:lnTo>
                    <a:pt x="1602" y="3946"/>
                  </a:lnTo>
                  <a:lnTo>
                    <a:pt x="1600" y="3937"/>
                  </a:lnTo>
                  <a:lnTo>
                    <a:pt x="1600" y="3824"/>
                  </a:lnTo>
                  <a:lnTo>
                    <a:pt x="1602" y="3817"/>
                  </a:lnTo>
                  <a:lnTo>
                    <a:pt x="1605" y="3810"/>
                  </a:lnTo>
                  <a:lnTo>
                    <a:pt x="1612" y="3806"/>
                  </a:lnTo>
                  <a:lnTo>
                    <a:pt x="1620" y="3805"/>
                  </a:lnTo>
                  <a:lnTo>
                    <a:pt x="1627" y="3806"/>
                  </a:lnTo>
                  <a:lnTo>
                    <a:pt x="1634" y="3810"/>
                  </a:lnTo>
                  <a:lnTo>
                    <a:pt x="1637" y="3817"/>
                  </a:lnTo>
                  <a:lnTo>
                    <a:pt x="1640" y="3824"/>
                  </a:lnTo>
                  <a:close/>
                  <a:moveTo>
                    <a:pt x="2829" y="4093"/>
                  </a:moveTo>
                  <a:lnTo>
                    <a:pt x="2829" y="4085"/>
                  </a:lnTo>
                  <a:lnTo>
                    <a:pt x="2829" y="4093"/>
                  </a:lnTo>
                  <a:close/>
                  <a:moveTo>
                    <a:pt x="0" y="915"/>
                  </a:moveTo>
                  <a:lnTo>
                    <a:pt x="492" y="915"/>
                  </a:lnTo>
                  <a:lnTo>
                    <a:pt x="500" y="917"/>
                  </a:lnTo>
                  <a:lnTo>
                    <a:pt x="507" y="922"/>
                  </a:lnTo>
                  <a:lnTo>
                    <a:pt x="512" y="928"/>
                  </a:lnTo>
                  <a:lnTo>
                    <a:pt x="513" y="936"/>
                  </a:lnTo>
                  <a:lnTo>
                    <a:pt x="513" y="1633"/>
                  </a:lnTo>
                  <a:lnTo>
                    <a:pt x="513" y="2329"/>
                  </a:lnTo>
                  <a:lnTo>
                    <a:pt x="512" y="2338"/>
                  </a:lnTo>
                  <a:lnTo>
                    <a:pt x="507" y="2345"/>
                  </a:lnTo>
                  <a:lnTo>
                    <a:pt x="500" y="2349"/>
                  </a:lnTo>
                  <a:lnTo>
                    <a:pt x="492" y="2350"/>
                  </a:lnTo>
                  <a:lnTo>
                    <a:pt x="486" y="2349"/>
                  </a:lnTo>
                  <a:lnTo>
                    <a:pt x="480" y="2345"/>
                  </a:lnTo>
                  <a:lnTo>
                    <a:pt x="474" y="2338"/>
                  </a:lnTo>
                  <a:lnTo>
                    <a:pt x="473" y="2329"/>
                  </a:lnTo>
                  <a:lnTo>
                    <a:pt x="473" y="1642"/>
                  </a:lnTo>
                  <a:lnTo>
                    <a:pt x="473" y="955"/>
                  </a:lnTo>
                  <a:lnTo>
                    <a:pt x="0" y="955"/>
                  </a:lnTo>
                  <a:lnTo>
                    <a:pt x="0" y="915"/>
                  </a:lnTo>
                  <a:close/>
                  <a:moveTo>
                    <a:pt x="190" y="1345"/>
                  </a:moveTo>
                  <a:lnTo>
                    <a:pt x="190" y="1450"/>
                  </a:lnTo>
                  <a:lnTo>
                    <a:pt x="188" y="1457"/>
                  </a:lnTo>
                  <a:lnTo>
                    <a:pt x="183" y="1464"/>
                  </a:lnTo>
                  <a:lnTo>
                    <a:pt x="177" y="1468"/>
                  </a:lnTo>
                  <a:lnTo>
                    <a:pt x="171" y="1469"/>
                  </a:lnTo>
                  <a:lnTo>
                    <a:pt x="163" y="1468"/>
                  </a:lnTo>
                  <a:lnTo>
                    <a:pt x="156" y="1464"/>
                  </a:lnTo>
                  <a:lnTo>
                    <a:pt x="151" y="1457"/>
                  </a:lnTo>
                  <a:lnTo>
                    <a:pt x="150" y="1450"/>
                  </a:lnTo>
                  <a:lnTo>
                    <a:pt x="150" y="1345"/>
                  </a:lnTo>
                  <a:lnTo>
                    <a:pt x="151" y="1337"/>
                  </a:lnTo>
                  <a:lnTo>
                    <a:pt x="156" y="1331"/>
                  </a:lnTo>
                  <a:lnTo>
                    <a:pt x="163" y="1327"/>
                  </a:lnTo>
                  <a:lnTo>
                    <a:pt x="171" y="1326"/>
                  </a:lnTo>
                  <a:lnTo>
                    <a:pt x="177" y="1327"/>
                  </a:lnTo>
                  <a:lnTo>
                    <a:pt x="183" y="1331"/>
                  </a:lnTo>
                  <a:lnTo>
                    <a:pt x="188" y="1337"/>
                  </a:lnTo>
                  <a:lnTo>
                    <a:pt x="190" y="1345"/>
                  </a:lnTo>
                  <a:close/>
                  <a:moveTo>
                    <a:pt x="190" y="1576"/>
                  </a:moveTo>
                  <a:lnTo>
                    <a:pt x="190" y="1680"/>
                  </a:lnTo>
                  <a:lnTo>
                    <a:pt x="188" y="1689"/>
                  </a:lnTo>
                  <a:lnTo>
                    <a:pt x="183" y="1695"/>
                  </a:lnTo>
                  <a:lnTo>
                    <a:pt x="177" y="1699"/>
                  </a:lnTo>
                  <a:lnTo>
                    <a:pt x="171" y="1700"/>
                  </a:lnTo>
                  <a:lnTo>
                    <a:pt x="163" y="1699"/>
                  </a:lnTo>
                  <a:lnTo>
                    <a:pt x="156" y="1695"/>
                  </a:lnTo>
                  <a:lnTo>
                    <a:pt x="151" y="1689"/>
                  </a:lnTo>
                  <a:lnTo>
                    <a:pt x="150" y="1680"/>
                  </a:lnTo>
                  <a:lnTo>
                    <a:pt x="150" y="1576"/>
                  </a:lnTo>
                  <a:lnTo>
                    <a:pt x="151" y="1567"/>
                  </a:lnTo>
                  <a:lnTo>
                    <a:pt x="156" y="1561"/>
                  </a:lnTo>
                  <a:lnTo>
                    <a:pt x="163" y="1558"/>
                  </a:lnTo>
                  <a:lnTo>
                    <a:pt x="171" y="1557"/>
                  </a:lnTo>
                  <a:lnTo>
                    <a:pt x="177" y="1558"/>
                  </a:lnTo>
                  <a:lnTo>
                    <a:pt x="183" y="1561"/>
                  </a:lnTo>
                  <a:lnTo>
                    <a:pt x="188" y="1567"/>
                  </a:lnTo>
                  <a:lnTo>
                    <a:pt x="190" y="1576"/>
                  </a:lnTo>
                  <a:close/>
                  <a:moveTo>
                    <a:pt x="190" y="1808"/>
                  </a:moveTo>
                  <a:lnTo>
                    <a:pt x="190" y="1911"/>
                  </a:lnTo>
                  <a:lnTo>
                    <a:pt x="188" y="1920"/>
                  </a:lnTo>
                  <a:lnTo>
                    <a:pt x="183" y="1927"/>
                  </a:lnTo>
                  <a:lnTo>
                    <a:pt x="177" y="1931"/>
                  </a:lnTo>
                  <a:lnTo>
                    <a:pt x="171" y="1932"/>
                  </a:lnTo>
                  <a:lnTo>
                    <a:pt x="163" y="1931"/>
                  </a:lnTo>
                  <a:lnTo>
                    <a:pt x="156" y="1927"/>
                  </a:lnTo>
                  <a:lnTo>
                    <a:pt x="151" y="1920"/>
                  </a:lnTo>
                  <a:lnTo>
                    <a:pt x="150" y="1911"/>
                  </a:lnTo>
                  <a:lnTo>
                    <a:pt x="150" y="1808"/>
                  </a:lnTo>
                  <a:lnTo>
                    <a:pt x="151" y="1799"/>
                  </a:lnTo>
                  <a:lnTo>
                    <a:pt x="156" y="1792"/>
                  </a:lnTo>
                  <a:lnTo>
                    <a:pt x="163" y="1789"/>
                  </a:lnTo>
                  <a:lnTo>
                    <a:pt x="171" y="1787"/>
                  </a:lnTo>
                  <a:lnTo>
                    <a:pt x="177" y="1789"/>
                  </a:lnTo>
                  <a:lnTo>
                    <a:pt x="183" y="1792"/>
                  </a:lnTo>
                  <a:lnTo>
                    <a:pt x="188" y="1799"/>
                  </a:lnTo>
                  <a:lnTo>
                    <a:pt x="190" y="1808"/>
                  </a:lnTo>
                  <a:close/>
                  <a:moveTo>
                    <a:pt x="190" y="2039"/>
                  </a:moveTo>
                  <a:lnTo>
                    <a:pt x="190" y="2143"/>
                  </a:lnTo>
                  <a:lnTo>
                    <a:pt x="188" y="2150"/>
                  </a:lnTo>
                  <a:lnTo>
                    <a:pt x="183" y="2157"/>
                  </a:lnTo>
                  <a:lnTo>
                    <a:pt x="177" y="2161"/>
                  </a:lnTo>
                  <a:lnTo>
                    <a:pt x="171" y="2162"/>
                  </a:lnTo>
                  <a:lnTo>
                    <a:pt x="163" y="2161"/>
                  </a:lnTo>
                  <a:lnTo>
                    <a:pt x="156" y="2157"/>
                  </a:lnTo>
                  <a:lnTo>
                    <a:pt x="151" y="2150"/>
                  </a:lnTo>
                  <a:lnTo>
                    <a:pt x="150" y="2143"/>
                  </a:lnTo>
                  <a:lnTo>
                    <a:pt x="150" y="2039"/>
                  </a:lnTo>
                  <a:lnTo>
                    <a:pt x="151" y="2030"/>
                  </a:lnTo>
                  <a:lnTo>
                    <a:pt x="156" y="2024"/>
                  </a:lnTo>
                  <a:lnTo>
                    <a:pt x="163" y="2020"/>
                  </a:lnTo>
                  <a:lnTo>
                    <a:pt x="171" y="2019"/>
                  </a:lnTo>
                  <a:lnTo>
                    <a:pt x="177" y="2020"/>
                  </a:lnTo>
                  <a:lnTo>
                    <a:pt x="183" y="2024"/>
                  </a:lnTo>
                  <a:lnTo>
                    <a:pt x="188" y="2030"/>
                  </a:lnTo>
                  <a:lnTo>
                    <a:pt x="190" y="2039"/>
                  </a:lnTo>
                  <a:close/>
                  <a:moveTo>
                    <a:pt x="190" y="2269"/>
                  </a:moveTo>
                  <a:lnTo>
                    <a:pt x="190" y="2373"/>
                  </a:lnTo>
                  <a:lnTo>
                    <a:pt x="188" y="2382"/>
                  </a:lnTo>
                  <a:lnTo>
                    <a:pt x="183" y="2388"/>
                  </a:lnTo>
                  <a:lnTo>
                    <a:pt x="177" y="2392"/>
                  </a:lnTo>
                  <a:lnTo>
                    <a:pt x="171" y="2393"/>
                  </a:lnTo>
                  <a:lnTo>
                    <a:pt x="163" y="2392"/>
                  </a:lnTo>
                  <a:lnTo>
                    <a:pt x="156" y="2388"/>
                  </a:lnTo>
                  <a:lnTo>
                    <a:pt x="151" y="2382"/>
                  </a:lnTo>
                  <a:lnTo>
                    <a:pt x="150" y="2373"/>
                  </a:lnTo>
                  <a:lnTo>
                    <a:pt x="150" y="2269"/>
                  </a:lnTo>
                  <a:lnTo>
                    <a:pt x="151" y="2260"/>
                  </a:lnTo>
                  <a:lnTo>
                    <a:pt x="156" y="2255"/>
                  </a:lnTo>
                  <a:lnTo>
                    <a:pt x="163" y="2251"/>
                  </a:lnTo>
                  <a:lnTo>
                    <a:pt x="171" y="2250"/>
                  </a:lnTo>
                  <a:lnTo>
                    <a:pt x="177" y="2251"/>
                  </a:lnTo>
                  <a:lnTo>
                    <a:pt x="183" y="2255"/>
                  </a:lnTo>
                  <a:lnTo>
                    <a:pt x="188" y="2260"/>
                  </a:lnTo>
                  <a:lnTo>
                    <a:pt x="190" y="2269"/>
                  </a:lnTo>
                  <a:close/>
                  <a:moveTo>
                    <a:pt x="190" y="2501"/>
                  </a:moveTo>
                  <a:lnTo>
                    <a:pt x="190" y="2604"/>
                  </a:lnTo>
                  <a:lnTo>
                    <a:pt x="188" y="2613"/>
                  </a:lnTo>
                  <a:lnTo>
                    <a:pt x="183" y="2620"/>
                  </a:lnTo>
                  <a:lnTo>
                    <a:pt x="177" y="2624"/>
                  </a:lnTo>
                  <a:lnTo>
                    <a:pt x="171" y="2625"/>
                  </a:lnTo>
                  <a:lnTo>
                    <a:pt x="163" y="2624"/>
                  </a:lnTo>
                  <a:lnTo>
                    <a:pt x="156" y="2620"/>
                  </a:lnTo>
                  <a:lnTo>
                    <a:pt x="151" y="2613"/>
                  </a:lnTo>
                  <a:lnTo>
                    <a:pt x="150" y="2604"/>
                  </a:lnTo>
                  <a:lnTo>
                    <a:pt x="150" y="2501"/>
                  </a:lnTo>
                  <a:lnTo>
                    <a:pt x="151" y="2492"/>
                  </a:lnTo>
                  <a:lnTo>
                    <a:pt x="156" y="2485"/>
                  </a:lnTo>
                  <a:lnTo>
                    <a:pt x="163" y="2482"/>
                  </a:lnTo>
                  <a:lnTo>
                    <a:pt x="171" y="2480"/>
                  </a:lnTo>
                  <a:lnTo>
                    <a:pt x="177" y="2482"/>
                  </a:lnTo>
                  <a:lnTo>
                    <a:pt x="183" y="2485"/>
                  </a:lnTo>
                  <a:lnTo>
                    <a:pt x="188" y="2492"/>
                  </a:lnTo>
                  <a:lnTo>
                    <a:pt x="190" y="2501"/>
                  </a:lnTo>
                  <a:close/>
                  <a:moveTo>
                    <a:pt x="190" y="2732"/>
                  </a:moveTo>
                  <a:lnTo>
                    <a:pt x="190" y="2836"/>
                  </a:lnTo>
                  <a:lnTo>
                    <a:pt x="188" y="2845"/>
                  </a:lnTo>
                  <a:lnTo>
                    <a:pt x="183" y="2850"/>
                  </a:lnTo>
                  <a:lnTo>
                    <a:pt x="177" y="2854"/>
                  </a:lnTo>
                  <a:lnTo>
                    <a:pt x="171" y="2855"/>
                  </a:lnTo>
                  <a:lnTo>
                    <a:pt x="163" y="2854"/>
                  </a:lnTo>
                  <a:lnTo>
                    <a:pt x="156" y="2850"/>
                  </a:lnTo>
                  <a:lnTo>
                    <a:pt x="151" y="2845"/>
                  </a:lnTo>
                  <a:lnTo>
                    <a:pt x="150" y="2836"/>
                  </a:lnTo>
                  <a:lnTo>
                    <a:pt x="150" y="2732"/>
                  </a:lnTo>
                  <a:lnTo>
                    <a:pt x="151" y="2723"/>
                  </a:lnTo>
                  <a:lnTo>
                    <a:pt x="156" y="2717"/>
                  </a:lnTo>
                  <a:lnTo>
                    <a:pt x="163" y="2713"/>
                  </a:lnTo>
                  <a:lnTo>
                    <a:pt x="171" y="2712"/>
                  </a:lnTo>
                  <a:lnTo>
                    <a:pt x="177" y="2713"/>
                  </a:lnTo>
                  <a:lnTo>
                    <a:pt x="183" y="2717"/>
                  </a:lnTo>
                  <a:lnTo>
                    <a:pt x="188" y="2723"/>
                  </a:lnTo>
                  <a:lnTo>
                    <a:pt x="190" y="2732"/>
                  </a:lnTo>
                  <a:close/>
                  <a:moveTo>
                    <a:pt x="190" y="2962"/>
                  </a:moveTo>
                  <a:lnTo>
                    <a:pt x="190" y="3066"/>
                  </a:lnTo>
                  <a:lnTo>
                    <a:pt x="188" y="3075"/>
                  </a:lnTo>
                  <a:lnTo>
                    <a:pt x="183" y="3081"/>
                  </a:lnTo>
                  <a:lnTo>
                    <a:pt x="177" y="3085"/>
                  </a:lnTo>
                  <a:lnTo>
                    <a:pt x="171" y="3086"/>
                  </a:lnTo>
                  <a:lnTo>
                    <a:pt x="163" y="3085"/>
                  </a:lnTo>
                  <a:lnTo>
                    <a:pt x="156" y="3081"/>
                  </a:lnTo>
                  <a:lnTo>
                    <a:pt x="151" y="3075"/>
                  </a:lnTo>
                  <a:lnTo>
                    <a:pt x="150" y="3066"/>
                  </a:lnTo>
                  <a:lnTo>
                    <a:pt x="150" y="2962"/>
                  </a:lnTo>
                  <a:lnTo>
                    <a:pt x="151" y="2953"/>
                  </a:lnTo>
                  <a:lnTo>
                    <a:pt x="156" y="2948"/>
                  </a:lnTo>
                  <a:lnTo>
                    <a:pt x="163" y="2945"/>
                  </a:lnTo>
                  <a:lnTo>
                    <a:pt x="171" y="2943"/>
                  </a:lnTo>
                  <a:lnTo>
                    <a:pt x="177" y="2945"/>
                  </a:lnTo>
                  <a:lnTo>
                    <a:pt x="183" y="2948"/>
                  </a:lnTo>
                  <a:lnTo>
                    <a:pt x="188" y="2953"/>
                  </a:lnTo>
                  <a:lnTo>
                    <a:pt x="190" y="2962"/>
                  </a:lnTo>
                  <a:close/>
                  <a:moveTo>
                    <a:pt x="2375" y="1897"/>
                  </a:moveTo>
                  <a:lnTo>
                    <a:pt x="2375" y="2001"/>
                  </a:lnTo>
                  <a:lnTo>
                    <a:pt x="2372" y="2010"/>
                  </a:lnTo>
                  <a:lnTo>
                    <a:pt x="2368" y="2016"/>
                  </a:lnTo>
                  <a:lnTo>
                    <a:pt x="2362" y="2020"/>
                  </a:lnTo>
                  <a:lnTo>
                    <a:pt x="2354" y="2021"/>
                  </a:lnTo>
                  <a:lnTo>
                    <a:pt x="2347" y="2020"/>
                  </a:lnTo>
                  <a:lnTo>
                    <a:pt x="2340" y="2016"/>
                  </a:lnTo>
                  <a:lnTo>
                    <a:pt x="2336" y="2010"/>
                  </a:lnTo>
                  <a:lnTo>
                    <a:pt x="2334" y="2001"/>
                  </a:lnTo>
                  <a:lnTo>
                    <a:pt x="2334" y="1897"/>
                  </a:lnTo>
                  <a:lnTo>
                    <a:pt x="2336" y="1888"/>
                  </a:lnTo>
                  <a:lnTo>
                    <a:pt x="2340" y="1882"/>
                  </a:lnTo>
                  <a:lnTo>
                    <a:pt x="2347" y="1878"/>
                  </a:lnTo>
                  <a:lnTo>
                    <a:pt x="2354" y="1877"/>
                  </a:lnTo>
                  <a:lnTo>
                    <a:pt x="2362" y="1878"/>
                  </a:lnTo>
                  <a:lnTo>
                    <a:pt x="2368" y="1882"/>
                  </a:lnTo>
                  <a:lnTo>
                    <a:pt x="2372" y="1888"/>
                  </a:lnTo>
                  <a:lnTo>
                    <a:pt x="2375" y="1897"/>
                  </a:lnTo>
                  <a:close/>
                  <a:moveTo>
                    <a:pt x="2589" y="1897"/>
                  </a:moveTo>
                  <a:lnTo>
                    <a:pt x="2589" y="2001"/>
                  </a:lnTo>
                  <a:lnTo>
                    <a:pt x="2588" y="2010"/>
                  </a:lnTo>
                  <a:lnTo>
                    <a:pt x="2583" y="2016"/>
                  </a:lnTo>
                  <a:lnTo>
                    <a:pt x="2576" y="2020"/>
                  </a:lnTo>
                  <a:lnTo>
                    <a:pt x="2570" y="2021"/>
                  </a:lnTo>
                  <a:lnTo>
                    <a:pt x="2562" y="2020"/>
                  </a:lnTo>
                  <a:lnTo>
                    <a:pt x="2556" y="2016"/>
                  </a:lnTo>
                  <a:lnTo>
                    <a:pt x="2550" y="2010"/>
                  </a:lnTo>
                  <a:lnTo>
                    <a:pt x="2549" y="2001"/>
                  </a:lnTo>
                  <a:lnTo>
                    <a:pt x="2549" y="1897"/>
                  </a:lnTo>
                  <a:lnTo>
                    <a:pt x="2550" y="1888"/>
                  </a:lnTo>
                  <a:lnTo>
                    <a:pt x="2556" y="1882"/>
                  </a:lnTo>
                  <a:lnTo>
                    <a:pt x="2562" y="1878"/>
                  </a:lnTo>
                  <a:lnTo>
                    <a:pt x="2570" y="1877"/>
                  </a:lnTo>
                  <a:lnTo>
                    <a:pt x="2576" y="1878"/>
                  </a:lnTo>
                  <a:lnTo>
                    <a:pt x="2583" y="1882"/>
                  </a:lnTo>
                  <a:lnTo>
                    <a:pt x="2588" y="1888"/>
                  </a:lnTo>
                  <a:lnTo>
                    <a:pt x="2589" y="1897"/>
                  </a:lnTo>
                  <a:close/>
                  <a:moveTo>
                    <a:pt x="2804" y="1897"/>
                  </a:moveTo>
                  <a:lnTo>
                    <a:pt x="2804" y="2001"/>
                  </a:lnTo>
                  <a:lnTo>
                    <a:pt x="2803" y="2010"/>
                  </a:lnTo>
                  <a:lnTo>
                    <a:pt x="2798" y="2016"/>
                  </a:lnTo>
                  <a:lnTo>
                    <a:pt x="2792" y="2020"/>
                  </a:lnTo>
                  <a:lnTo>
                    <a:pt x="2784" y="2021"/>
                  </a:lnTo>
                  <a:lnTo>
                    <a:pt x="2777" y="2020"/>
                  </a:lnTo>
                  <a:lnTo>
                    <a:pt x="2771" y="2016"/>
                  </a:lnTo>
                  <a:lnTo>
                    <a:pt x="2766" y="2010"/>
                  </a:lnTo>
                  <a:lnTo>
                    <a:pt x="2765" y="2001"/>
                  </a:lnTo>
                  <a:lnTo>
                    <a:pt x="2765" y="1897"/>
                  </a:lnTo>
                  <a:lnTo>
                    <a:pt x="2766" y="1888"/>
                  </a:lnTo>
                  <a:lnTo>
                    <a:pt x="2771" y="1882"/>
                  </a:lnTo>
                  <a:lnTo>
                    <a:pt x="2777" y="1878"/>
                  </a:lnTo>
                  <a:lnTo>
                    <a:pt x="2784" y="1877"/>
                  </a:lnTo>
                  <a:lnTo>
                    <a:pt x="2792" y="1878"/>
                  </a:lnTo>
                  <a:lnTo>
                    <a:pt x="2798" y="1882"/>
                  </a:lnTo>
                  <a:lnTo>
                    <a:pt x="2803" y="1888"/>
                  </a:lnTo>
                  <a:lnTo>
                    <a:pt x="2804" y="1897"/>
                  </a:lnTo>
                  <a:close/>
                  <a:moveTo>
                    <a:pt x="2375" y="2245"/>
                  </a:moveTo>
                  <a:lnTo>
                    <a:pt x="2375" y="2349"/>
                  </a:lnTo>
                  <a:lnTo>
                    <a:pt x="2372" y="2358"/>
                  </a:lnTo>
                  <a:lnTo>
                    <a:pt x="2368" y="2364"/>
                  </a:lnTo>
                  <a:lnTo>
                    <a:pt x="2362" y="2368"/>
                  </a:lnTo>
                  <a:lnTo>
                    <a:pt x="2354" y="2369"/>
                  </a:lnTo>
                  <a:lnTo>
                    <a:pt x="2347" y="2368"/>
                  </a:lnTo>
                  <a:lnTo>
                    <a:pt x="2340" y="2364"/>
                  </a:lnTo>
                  <a:lnTo>
                    <a:pt x="2336" y="2358"/>
                  </a:lnTo>
                  <a:lnTo>
                    <a:pt x="2334" y="2349"/>
                  </a:lnTo>
                  <a:lnTo>
                    <a:pt x="2334" y="2245"/>
                  </a:lnTo>
                  <a:lnTo>
                    <a:pt x="2336" y="2236"/>
                  </a:lnTo>
                  <a:lnTo>
                    <a:pt x="2340" y="2230"/>
                  </a:lnTo>
                  <a:lnTo>
                    <a:pt x="2347" y="2226"/>
                  </a:lnTo>
                  <a:lnTo>
                    <a:pt x="2354" y="2225"/>
                  </a:lnTo>
                  <a:lnTo>
                    <a:pt x="2362" y="2226"/>
                  </a:lnTo>
                  <a:lnTo>
                    <a:pt x="2368" y="2230"/>
                  </a:lnTo>
                  <a:lnTo>
                    <a:pt x="2372" y="2236"/>
                  </a:lnTo>
                  <a:lnTo>
                    <a:pt x="2375" y="2245"/>
                  </a:lnTo>
                  <a:close/>
                  <a:moveTo>
                    <a:pt x="2589" y="2245"/>
                  </a:moveTo>
                  <a:lnTo>
                    <a:pt x="2589" y="2349"/>
                  </a:lnTo>
                  <a:lnTo>
                    <a:pt x="2588" y="2358"/>
                  </a:lnTo>
                  <a:lnTo>
                    <a:pt x="2583" y="2364"/>
                  </a:lnTo>
                  <a:lnTo>
                    <a:pt x="2576" y="2368"/>
                  </a:lnTo>
                  <a:lnTo>
                    <a:pt x="2570" y="2369"/>
                  </a:lnTo>
                  <a:lnTo>
                    <a:pt x="2562" y="2368"/>
                  </a:lnTo>
                  <a:lnTo>
                    <a:pt x="2556" y="2364"/>
                  </a:lnTo>
                  <a:lnTo>
                    <a:pt x="2550" y="2358"/>
                  </a:lnTo>
                  <a:lnTo>
                    <a:pt x="2549" y="2349"/>
                  </a:lnTo>
                  <a:lnTo>
                    <a:pt x="2549" y="2245"/>
                  </a:lnTo>
                  <a:lnTo>
                    <a:pt x="2550" y="2236"/>
                  </a:lnTo>
                  <a:lnTo>
                    <a:pt x="2556" y="2230"/>
                  </a:lnTo>
                  <a:lnTo>
                    <a:pt x="2562" y="2226"/>
                  </a:lnTo>
                  <a:lnTo>
                    <a:pt x="2570" y="2225"/>
                  </a:lnTo>
                  <a:lnTo>
                    <a:pt x="2576" y="2226"/>
                  </a:lnTo>
                  <a:lnTo>
                    <a:pt x="2583" y="2230"/>
                  </a:lnTo>
                  <a:lnTo>
                    <a:pt x="2588" y="2236"/>
                  </a:lnTo>
                  <a:lnTo>
                    <a:pt x="2589" y="2245"/>
                  </a:lnTo>
                  <a:close/>
                  <a:moveTo>
                    <a:pt x="2804" y="2245"/>
                  </a:moveTo>
                  <a:lnTo>
                    <a:pt x="2804" y="2349"/>
                  </a:lnTo>
                  <a:lnTo>
                    <a:pt x="2803" y="2358"/>
                  </a:lnTo>
                  <a:lnTo>
                    <a:pt x="2798" y="2364"/>
                  </a:lnTo>
                  <a:lnTo>
                    <a:pt x="2792" y="2368"/>
                  </a:lnTo>
                  <a:lnTo>
                    <a:pt x="2784" y="2369"/>
                  </a:lnTo>
                  <a:lnTo>
                    <a:pt x="2777" y="2368"/>
                  </a:lnTo>
                  <a:lnTo>
                    <a:pt x="2771" y="2364"/>
                  </a:lnTo>
                  <a:lnTo>
                    <a:pt x="2766" y="2358"/>
                  </a:lnTo>
                  <a:lnTo>
                    <a:pt x="2765" y="2349"/>
                  </a:lnTo>
                  <a:lnTo>
                    <a:pt x="2765" y="2245"/>
                  </a:lnTo>
                  <a:lnTo>
                    <a:pt x="2766" y="2236"/>
                  </a:lnTo>
                  <a:lnTo>
                    <a:pt x="2771" y="2230"/>
                  </a:lnTo>
                  <a:lnTo>
                    <a:pt x="2777" y="2226"/>
                  </a:lnTo>
                  <a:lnTo>
                    <a:pt x="2784" y="2225"/>
                  </a:lnTo>
                  <a:lnTo>
                    <a:pt x="2792" y="2226"/>
                  </a:lnTo>
                  <a:lnTo>
                    <a:pt x="2798" y="2230"/>
                  </a:lnTo>
                  <a:lnTo>
                    <a:pt x="2803" y="2236"/>
                  </a:lnTo>
                  <a:lnTo>
                    <a:pt x="2804" y="2245"/>
                  </a:lnTo>
                  <a:close/>
                  <a:moveTo>
                    <a:pt x="2375" y="2593"/>
                  </a:moveTo>
                  <a:lnTo>
                    <a:pt x="2375" y="2696"/>
                  </a:lnTo>
                  <a:lnTo>
                    <a:pt x="2372" y="2705"/>
                  </a:lnTo>
                  <a:lnTo>
                    <a:pt x="2368" y="2712"/>
                  </a:lnTo>
                  <a:lnTo>
                    <a:pt x="2362" y="2716"/>
                  </a:lnTo>
                  <a:lnTo>
                    <a:pt x="2354" y="2717"/>
                  </a:lnTo>
                  <a:lnTo>
                    <a:pt x="2347" y="2716"/>
                  </a:lnTo>
                  <a:lnTo>
                    <a:pt x="2340" y="2712"/>
                  </a:lnTo>
                  <a:lnTo>
                    <a:pt x="2336" y="2705"/>
                  </a:lnTo>
                  <a:lnTo>
                    <a:pt x="2334" y="2696"/>
                  </a:lnTo>
                  <a:lnTo>
                    <a:pt x="2334" y="2593"/>
                  </a:lnTo>
                  <a:lnTo>
                    <a:pt x="2336" y="2584"/>
                  </a:lnTo>
                  <a:lnTo>
                    <a:pt x="2340" y="2578"/>
                  </a:lnTo>
                  <a:lnTo>
                    <a:pt x="2347" y="2574"/>
                  </a:lnTo>
                  <a:lnTo>
                    <a:pt x="2354" y="2572"/>
                  </a:lnTo>
                  <a:lnTo>
                    <a:pt x="2362" y="2574"/>
                  </a:lnTo>
                  <a:lnTo>
                    <a:pt x="2368" y="2578"/>
                  </a:lnTo>
                  <a:lnTo>
                    <a:pt x="2372" y="2584"/>
                  </a:lnTo>
                  <a:lnTo>
                    <a:pt x="2375" y="2593"/>
                  </a:lnTo>
                  <a:close/>
                  <a:moveTo>
                    <a:pt x="2589" y="2593"/>
                  </a:moveTo>
                  <a:lnTo>
                    <a:pt x="2589" y="2696"/>
                  </a:lnTo>
                  <a:lnTo>
                    <a:pt x="2588" y="2705"/>
                  </a:lnTo>
                  <a:lnTo>
                    <a:pt x="2583" y="2712"/>
                  </a:lnTo>
                  <a:lnTo>
                    <a:pt x="2576" y="2716"/>
                  </a:lnTo>
                  <a:lnTo>
                    <a:pt x="2570" y="2717"/>
                  </a:lnTo>
                  <a:lnTo>
                    <a:pt x="2562" y="2716"/>
                  </a:lnTo>
                  <a:lnTo>
                    <a:pt x="2556" y="2712"/>
                  </a:lnTo>
                  <a:lnTo>
                    <a:pt x="2550" y="2705"/>
                  </a:lnTo>
                  <a:lnTo>
                    <a:pt x="2549" y="2696"/>
                  </a:lnTo>
                  <a:lnTo>
                    <a:pt x="2549" y="2593"/>
                  </a:lnTo>
                  <a:lnTo>
                    <a:pt x="2550" y="2584"/>
                  </a:lnTo>
                  <a:lnTo>
                    <a:pt x="2556" y="2578"/>
                  </a:lnTo>
                  <a:lnTo>
                    <a:pt x="2562" y="2574"/>
                  </a:lnTo>
                  <a:lnTo>
                    <a:pt x="2570" y="2572"/>
                  </a:lnTo>
                  <a:lnTo>
                    <a:pt x="2576" y="2574"/>
                  </a:lnTo>
                  <a:lnTo>
                    <a:pt x="2583" y="2578"/>
                  </a:lnTo>
                  <a:lnTo>
                    <a:pt x="2588" y="2584"/>
                  </a:lnTo>
                  <a:lnTo>
                    <a:pt x="2589" y="2593"/>
                  </a:lnTo>
                  <a:close/>
                  <a:moveTo>
                    <a:pt x="2804" y="2593"/>
                  </a:moveTo>
                  <a:lnTo>
                    <a:pt x="2804" y="2696"/>
                  </a:lnTo>
                  <a:lnTo>
                    <a:pt x="2803" y="2705"/>
                  </a:lnTo>
                  <a:lnTo>
                    <a:pt x="2798" y="2712"/>
                  </a:lnTo>
                  <a:lnTo>
                    <a:pt x="2792" y="2716"/>
                  </a:lnTo>
                  <a:lnTo>
                    <a:pt x="2784" y="2717"/>
                  </a:lnTo>
                  <a:lnTo>
                    <a:pt x="2777" y="2716"/>
                  </a:lnTo>
                  <a:lnTo>
                    <a:pt x="2771" y="2712"/>
                  </a:lnTo>
                  <a:lnTo>
                    <a:pt x="2766" y="2705"/>
                  </a:lnTo>
                  <a:lnTo>
                    <a:pt x="2765" y="2696"/>
                  </a:lnTo>
                  <a:lnTo>
                    <a:pt x="2765" y="2593"/>
                  </a:lnTo>
                  <a:lnTo>
                    <a:pt x="2766" y="2584"/>
                  </a:lnTo>
                  <a:lnTo>
                    <a:pt x="2771" y="2578"/>
                  </a:lnTo>
                  <a:lnTo>
                    <a:pt x="2777" y="2574"/>
                  </a:lnTo>
                  <a:lnTo>
                    <a:pt x="2784" y="2572"/>
                  </a:lnTo>
                  <a:lnTo>
                    <a:pt x="2792" y="2574"/>
                  </a:lnTo>
                  <a:lnTo>
                    <a:pt x="2798" y="2578"/>
                  </a:lnTo>
                  <a:lnTo>
                    <a:pt x="2803" y="2584"/>
                  </a:lnTo>
                  <a:lnTo>
                    <a:pt x="2804" y="2593"/>
                  </a:lnTo>
                  <a:close/>
                  <a:moveTo>
                    <a:pt x="2375" y="2941"/>
                  </a:moveTo>
                  <a:lnTo>
                    <a:pt x="2375" y="3044"/>
                  </a:lnTo>
                  <a:lnTo>
                    <a:pt x="2372" y="3053"/>
                  </a:lnTo>
                  <a:lnTo>
                    <a:pt x="2368" y="3060"/>
                  </a:lnTo>
                  <a:lnTo>
                    <a:pt x="2362" y="3063"/>
                  </a:lnTo>
                  <a:lnTo>
                    <a:pt x="2354" y="3065"/>
                  </a:lnTo>
                  <a:lnTo>
                    <a:pt x="2347" y="3063"/>
                  </a:lnTo>
                  <a:lnTo>
                    <a:pt x="2340" y="3060"/>
                  </a:lnTo>
                  <a:lnTo>
                    <a:pt x="2336" y="3053"/>
                  </a:lnTo>
                  <a:lnTo>
                    <a:pt x="2334" y="3044"/>
                  </a:lnTo>
                  <a:lnTo>
                    <a:pt x="2334" y="2941"/>
                  </a:lnTo>
                  <a:lnTo>
                    <a:pt x="2336" y="2932"/>
                  </a:lnTo>
                  <a:lnTo>
                    <a:pt x="2340" y="2925"/>
                  </a:lnTo>
                  <a:lnTo>
                    <a:pt x="2347" y="2922"/>
                  </a:lnTo>
                  <a:lnTo>
                    <a:pt x="2354" y="2920"/>
                  </a:lnTo>
                  <a:lnTo>
                    <a:pt x="2362" y="2922"/>
                  </a:lnTo>
                  <a:lnTo>
                    <a:pt x="2368" y="2925"/>
                  </a:lnTo>
                  <a:lnTo>
                    <a:pt x="2372" y="2932"/>
                  </a:lnTo>
                  <a:lnTo>
                    <a:pt x="2375" y="2941"/>
                  </a:lnTo>
                  <a:close/>
                  <a:moveTo>
                    <a:pt x="2589" y="2941"/>
                  </a:moveTo>
                  <a:lnTo>
                    <a:pt x="2589" y="3044"/>
                  </a:lnTo>
                  <a:lnTo>
                    <a:pt x="2588" y="3053"/>
                  </a:lnTo>
                  <a:lnTo>
                    <a:pt x="2583" y="3060"/>
                  </a:lnTo>
                  <a:lnTo>
                    <a:pt x="2576" y="3063"/>
                  </a:lnTo>
                  <a:lnTo>
                    <a:pt x="2570" y="3065"/>
                  </a:lnTo>
                  <a:lnTo>
                    <a:pt x="2562" y="3063"/>
                  </a:lnTo>
                  <a:lnTo>
                    <a:pt x="2556" y="3060"/>
                  </a:lnTo>
                  <a:lnTo>
                    <a:pt x="2550" y="3053"/>
                  </a:lnTo>
                  <a:lnTo>
                    <a:pt x="2549" y="3044"/>
                  </a:lnTo>
                  <a:lnTo>
                    <a:pt x="2549" y="2941"/>
                  </a:lnTo>
                  <a:lnTo>
                    <a:pt x="2550" y="2932"/>
                  </a:lnTo>
                  <a:lnTo>
                    <a:pt x="2556" y="2925"/>
                  </a:lnTo>
                  <a:lnTo>
                    <a:pt x="2562" y="2922"/>
                  </a:lnTo>
                  <a:lnTo>
                    <a:pt x="2570" y="2920"/>
                  </a:lnTo>
                  <a:lnTo>
                    <a:pt x="2576" y="2922"/>
                  </a:lnTo>
                  <a:lnTo>
                    <a:pt x="2583" y="2925"/>
                  </a:lnTo>
                  <a:lnTo>
                    <a:pt x="2588" y="2932"/>
                  </a:lnTo>
                  <a:lnTo>
                    <a:pt x="2589" y="2941"/>
                  </a:lnTo>
                  <a:close/>
                  <a:moveTo>
                    <a:pt x="2804" y="2941"/>
                  </a:moveTo>
                  <a:lnTo>
                    <a:pt x="2804" y="3044"/>
                  </a:lnTo>
                  <a:lnTo>
                    <a:pt x="2803" y="3053"/>
                  </a:lnTo>
                  <a:lnTo>
                    <a:pt x="2798" y="3060"/>
                  </a:lnTo>
                  <a:lnTo>
                    <a:pt x="2792" y="3063"/>
                  </a:lnTo>
                  <a:lnTo>
                    <a:pt x="2784" y="3065"/>
                  </a:lnTo>
                  <a:lnTo>
                    <a:pt x="2777" y="3063"/>
                  </a:lnTo>
                  <a:lnTo>
                    <a:pt x="2771" y="3060"/>
                  </a:lnTo>
                  <a:lnTo>
                    <a:pt x="2766" y="3053"/>
                  </a:lnTo>
                  <a:lnTo>
                    <a:pt x="2765" y="3044"/>
                  </a:lnTo>
                  <a:lnTo>
                    <a:pt x="2765" y="2941"/>
                  </a:lnTo>
                  <a:lnTo>
                    <a:pt x="2766" y="2932"/>
                  </a:lnTo>
                  <a:lnTo>
                    <a:pt x="2771" y="2925"/>
                  </a:lnTo>
                  <a:lnTo>
                    <a:pt x="2777" y="2922"/>
                  </a:lnTo>
                  <a:lnTo>
                    <a:pt x="2784" y="2920"/>
                  </a:lnTo>
                  <a:lnTo>
                    <a:pt x="2792" y="2922"/>
                  </a:lnTo>
                  <a:lnTo>
                    <a:pt x="2798" y="2925"/>
                  </a:lnTo>
                  <a:lnTo>
                    <a:pt x="2803" y="2932"/>
                  </a:lnTo>
                  <a:lnTo>
                    <a:pt x="2804" y="2941"/>
                  </a:lnTo>
                  <a:close/>
                  <a:moveTo>
                    <a:pt x="6888" y="1521"/>
                  </a:moveTo>
                  <a:lnTo>
                    <a:pt x="6778" y="1521"/>
                  </a:lnTo>
                  <a:lnTo>
                    <a:pt x="6778" y="1631"/>
                  </a:lnTo>
                  <a:lnTo>
                    <a:pt x="6888" y="1631"/>
                  </a:lnTo>
                  <a:lnTo>
                    <a:pt x="6888" y="1521"/>
                  </a:lnTo>
                  <a:close/>
                  <a:moveTo>
                    <a:pt x="7276" y="2772"/>
                  </a:moveTo>
                  <a:lnTo>
                    <a:pt x="7276" y="2585"/>
                  </a:lnTo>
                  <a:lnTo>
                    <a:pt x="7276" y="2277"/>
                  </a:lnTo>
                  <a:lnTo>
                    <a:pt x="7277" y="2271"/>
                  </a:lnTo>
                  <a:lnTo>
                    <a:pt x="7277" y="1671"/>
                  </a:lnTo>
                  <a:lnTo>
                    <a:pt x="6909" y="1671"/>
                  </a:lnTo>
                  <a:lnTo>
                    <a:pt x="6758" y="1671"/>
                  </a:lnTo>
                  <a:lnTo>
                    <a:pt x="6469" y="1671"/>
                  </a:lnTo>
                  <a:lnTo>
                    <a:pt x="6460" y="1670"/>
                  </a:lnTo>
                  <a:lnTo>
                    <a:pt x="6454" y="1665"/>
                  </a:lnTo>
                  <a:lnTo>
                    <a:pt x="6450" y="1658"/>
                  </a:lnTo>
                  <a:lnTo>
                    <a:pt x="6449" y="1652"/>
                  </a:lnTo>
                  <a:lnTo>
                    <a:pt x="6450" y="1644"/>
                  </a:lnTo>
                  <a:lnTo>
                    <a:pt x="6454" y="1638"/>
                  </a:lnTo>
                  <a:lnTo>
                    <a:pt x="6460" y="1633"/>
                  </a:lnTo>
                  <a:lnTo>
                    <a:pt x="6469" y="1631"/>
                  </a:lnTo>
                  <a:lnTo>
                    <a:pt x="6574" y="1631"/>
                  </a:lnTo>
                  <a:lnTo>
                    <a:pt x="6574" y="1488"/>
                  </a:lnTo>
                  <a:lnTo>
                    <a:pt x="6172" y="1488"/>
                  </a:lnTo>
                  <a:lnTo>
                    <a:pt x="6172" y="1631"/>
                  </a:lnTo>
                  <a:lnTo>
                    <a:pt x="6204" y="1631"/>
                  </a:lnTo>
                  <a:lnTo>
                    <a:pt x="6213" y="1633"/>
                  </a:lnTo>
                  <a:lnTo>
                    <a:pt x="6219" y="1638"/>
                  </a:lnTo>
                  <a:lnTo>
                    <a:pt x="6223" y="1644"/>
                  </a:lnTo>
                  <a:lnTo>
                    <a:pt x="6224" y="1652"/>
                  </a:lnTo>
                  <a:lnTo>
                    <a:pt x="6223" y="1658"/>
                  </a:lnTo>
                  <a:lnTo>
                    <a:pt x="6219" y="1665"/>
                  </a:lnTo>
                  <a:lnTo>
                    <a:pt x="6213" y="1670"/>
                  </a:lnTo>
                  <a:lnTo>
                    <a:pt x="6204" y="1671"/>
                  </a:lnTo>
                  <a:lnTo>
                    <a:pt x="6037" y="1671"/>
                  </a:lnTo>
                  <a:lnTo>
                    <a:pt x="6037" y="2332"/>
                  </a:lnTo>
                  <a:lnTo>
                    <a:pt x="6037" y="2993"/>
                  </a:lnTo>
                  <a:lnTo>
                    <a:pt x="6037" y="3654"/>
                  </a:lnTo>
                  <a:lnTo>
                    <a:pt x="6037" y="4317"/>
                  </a:lnTo>
                  <a:lnTo>
                    <a:pt x="6656" y="4317"/>
                  </a:lnTo>
                  <a:lnTo>
                    <a:pt x="7276" y="4317"/>
                  </a:lnTo>
                  <a:lnTo>
                    <a:pt x="7276" y="3544"/>
                  </a:lnTo>
                  <a:lnTo>
                    <a:pt x="7276" y="2772"/>
                  </a:lnTo>
                  <a:close/>
                  <a:moveTo>
                    <a:pt x="9050" y="2792"/>
                  </a:moveTo>
                  <a:lnTo>
                    <a:pt x="8182" y="2792"/>
                  </a:lnTo>
                  <a:lnTo>
                    <a:pt x="7315" y="2792"/>
                  </a:lnTo>
                  <a:lnTo>
                    <a:pt x="7315" y="3554"/>
                  </a:lnTo>
                  <a:lnTo>
                    <a:pt x="7315" y="4317"/>
                  </a:lnTo>
                  <a:lnTo>
                    <a:pt x="8182" y="4317"/>
                  </a:lnTo>
                  <a:lnTo>
                    <a:pt x="9050" y="4317"/>
                  </a:lnTo>
                  <a:lnTo>
                    <a:pt x="9050" y="3554"/>
                  </a:lnTo>
                  <a:lnTo>
                    <a:pt x="9050" y="2792"/>
                  </a:lnTo>
                  <a:close/>
                  <a:moveTo>
                    <a:pt x="8412" y="2258"/>
                  </a:moveTo>
                  <a:lnTo>
                    <a:pt x="8412" y="2135"/>
                  </a:lnTo>
                  <a:lnTo>
                    <a:pt x="8413" y="2127"/>
                  </a:lnTo>
                  <a:lnTo>
                    <a:pt x="8418" y="2121"/>
                  </a:lnTo>
                  <a:lnTo>
                    <a:pt x="8425" y="2117"/>
                  </a:lnTo>
                  <a:lnTo>
                    <a:pt x="8432" y="2116"/>
                  </a:lnTo>
                  <a:lnTo>
                    <a:pt x="8677" y="2116"/>
                  </a:lnTo>
                  <a:lnTo>
                    <a:pt x="8685" y="2117"/>
                  </a:lnTo>
                  <a:lnTo>
                    <a:pt x="8691" y="2121"/>
                  </a:lnTo>
                  <a:lnTo>
                    <a:pt x="8695" y="2127"/>
                  </a:lnTo>
                  <a:lnTo>
                    <a:pt x="8698" y="2135"/>
                  </a:lnTo>
                  <a:lnTo>
                    <a:pt x="8698" y="2258"/>
                  </a:lnTo>
                  <a:lnTo>
                    <a:pt x="8853" y="2258"/>
                  </a:lnTo>
                  <a:lnTo>
                    <a:pt x="8868" y="2266"/>
                  </a:lnTo>
                  <a:lnTo>
                    <a:pt x="9089" y="2565"/>
                  </a:lnTo>
                  <a:lnTo>
                    <a:pt x="9100" y="2565"/>
                  </a:lnTo>
                  <a:lnTo>
                    <a:pt x="9108" y="2566"/>
                  </a:lnTo>
                  <a:lnTo>
                    <a:pt x="9114" y="2571"/>
                  </a:lnTo>
                  <a:lnTo>
                    <a:pt x="9120" y="2578"/>
                  </a:lnTo>
                  <a:lnTo>
                    <a:pt x="9121" y="2585"/>
                  </a:lnTo>
                  <a:lnTo>
                    <a:pt x="9121" y="2772"/>
                  </a:lnTo>
                  <a:lnTo>
                    <a:pt x="9120" y="2780"/>
                  </a:lnTo>
                  <a:lnTo>
                    <a:pt x="9114" y="2786"/>
                  </a:lnTo>
                  <a:lnTo>
                    <a:pt x="9108" y="2791"/>
                  </a:lnTo>
                  <a:lnTo>
                    <a:pt x="9100" y="2792"/>
                  </a:lnTo>
                  <a:lnTo>
                    <a:pt x="9090" y="2792"/>
                  </a:lnTo>
                  <a:lnTo>
                    <a:pt x="9090" y="3563"/>
                  </a:lnTo>
                  <a:lnTo>
                    <a:pt x="9090" y="4336"/>
                  </a:lnTo>
                  <a:lnTo>
                    <a:pt x="9089" y="4343"/>
                  </a:lnTo>
                  <a:lnTo>
                    <a:pt x="9084" y="4350"/>
                  </a:lnTo>
                  <a:lnTo>
                    <a:pt x="9077" y="4355"/>
                  </a:lnTo>
                  <a:lnTo>
                    <a:pt x="9070" y="4356"/>
                  </a:lnTo>
                  <a:lnTo>
                    <a:pt x="8184" y="4356"/>
                  </a:lnTo>
                  <a:lnTo>
                    <a:pt x="7297" y="4356"/>
                  </a:lnTo>
                  <a:lnTo>
                    <a:pt x="7295" y="4356"/>
                  </a:lnTo>
                  <a:lnTo>
                    <a:pt x="6656" y="4356"/>
                  </a:lnTo>
                  <a:lnTo>
                    <a:pt x="6018" y="4356"/>
                  </a:lnTo>
                  <a:lnTo>
                    <a:pt x="6010" y="4355"/>
                  </a:lnTo>
                  <a:lnTo>
                    <a:pt x="6004" y="4350"/>
                  </a:lnTo>
                  <a:lnTo>
                    <a:pt x="5999" y="4343"/>
                  </a:lnTo>
                  <a:lnTo>
                    <a:pt x="5997" y="4336"/>
                  </a:lnTo>
                  <a:lnTo>
                    <a:pt x="5997" y="3664"/>
                  </a:lnTo>
                  <a:lnTo>
                    <a:pt x="5997" y="2993"/>
                  </a:lnTo>
                  <a:lnTo>
                    <a:pt x="5997" y="2322"/>
                  </a:lnTo>
                  <a:lnTo>
                    <a:pt x="5997" y="1652"/>
                  </a:lnTo>
                  <a:lnTo>
                    <a:pt x="5999" y="1644"/>
                  </a:lnTo>
                  <a:lnTo>
                    <a:pt x="6004" y="1638"/>
                  </a:lnTo>
                  <a:lnTo>
                    <a:pt x="6010" y="1633"/>
                  </a:lnTo>
                  <a:lnTo>
                    <a:pt x="6018" y="1631"/>
                  </a:lnTo>
                  <a:lnTo>
                    <a:pt x="6132" y="1631"/>
                  </a:lnTo>
                  <a:lnTo>
                    <a:pt x="6132" y="1469"/>
                  </a:lnTo>
                  <a:lnTo>
                    <a:pt x="6133" y="1461"/>
                  </a:lnTo>
                  <a:lnTo>
                    <a:pt x="6138" y="1455"/>
                  </a:lnTo>
                  <a:lnTo>
                    <a:pt x="6145" y="1451"/>
                  </a:lnTo>
                  <a:lnTo>
                    <a:pt x="6152" y="1448"/>
                  </a:lnTo>
                  <a:lnTo>
                    <a:pt x="6595" y="1448"/>
                  </a:lnTo>
                  <a:lnTo>
                    <a:pt x="6602" y="1451"/>
                  </a:lnTo>
                  <a:lnTo>
                    <a:pt x="6609" y="1455"/>
                  </a:lnTo>
                  <a:lnTo>
                    <a:pt x="6613" y="1461"/>
                  </a:lnTo>
                  <a:lnTo>
                    <a:pt x="6614" y="1469"/>
                  </a:lnTo>
                  <a:lnTo>
                    <a:pt x="6614" y="1631"/>
                  </a:lnTo>
                  <a:lnTo>
                    <a:pt x="6738" y="1631"/>
                  </a:lnTo>
                  <a:lnTo>
                    <a:pt x="6738" y="1501"/>
                  </a:lnTo>
                  <a:lnTo>
                    <a:pt x="6740" y="1493"/>
                  </a:lnTo>
                  <a:lnTo>
                    <a:pt x="6744" y="1487"/>
                  </a:lnTo>
                  <a:lnTo>
                    <a:pt x="6750" y="1483"/>
                  </a:lnTo>
                  <a:lnTo>
                    <a:pt x="6758" y="1480"/>
                  </a:lnTo>
                  <a:lnTo>
                    <a:pt x="6909" y="1480"/>
                  </a:lnTo>
                  <a:lnTo>
                    <a:pt x="6917" y="1483"/>
                  </a:lnTo>
                  <a:lnTo>
                    <a:pt x="6923" y="1487"/>
                  </a:lnTo>
                  <a:lnTo>
                    <a:pt x="6927" y="1493"/>
                  </a:lnTo>
                  <a:lnTo>
                    <a:pt x="6928" y="1501"/>
                  </a:lnTo>
                  <a:lnTo>
                    <a:pt x="6928" y="1631"/>
                  </a:lnTo>
                  <a:lnTo>
                    <a:pt x="7297" y="1631"/>
                  </a:lnTo>
                  <a:lnTo>
                    <a:pt x="7305" y="1633"/>
                  </a:lnTo>
                  <a:lnTo>
                    <a:pt x="7312" y="1638"/>
                  </a:lnTo>
                  <a:lnTo>
                    <a:pt x="7315" y="1644"/>
                  </a:lnTo>
                  <a:lnTo>
                    <a:pt x="7317" y="1652"/>
                  </a:lnTo>
                  <a:lnTo>
                    <a:pt x="7317" y="2258"/>
                  </a:lnTo>
                  <a:lnTo>
                    <a:pt x="7864" y="2258"/>
                  </a:lnTo>
                  <a:lnTo>
                    <a:pt x="8412" y="2258"/>
                  </a:lnTo>
                  <a:close/>
                  <a:moveTo>
                    <a:pt x="8657" y="2258"/>
                  </a:moveTo>
                  <a:lnTo>
                    <a:pt x="8657" y="2156"/>
                  </a:lnTo>
                  <a:lnTo>
                    <a:pt x="8452" y="2156"/>
                  </a:lnTo>
                  <a:lnTo>
                    <a:pt x="8452" y="2258"/>
                  </a:lnTo>
                  <a:lnTo>
                    <a:pt x="8482" y="2258"/>
                  </a:lnTo>
                  <a:lnTo>
                    <a:pt x="8491" y="2259"/>
                  </a:lnTo>
                  <a:lnTo>
                    <a:pt x="8496" y="2264"/>
                  </a:lnTo>
                  <a:lnTo>
                    <a:pt x="8500" y="2271"/>
                  </a:lnTo>
                  <a:lnTo>
                    <a:pt x="8502" y="2277"/>
                  </a:lnTo>
                  <a:lnTo>
                    <a:pt x="8500" y="2285"/>
                  </a:lnTo>
                  <a:lnTo>
                    <a:pt x="8496" y="2291"/>
                  </a:lnTo>
                  <a:lnTo>
                    <a:pt x="8491" y="2296"/>
                  </a:lnTo>
                  <a:lnTo>
                    <a:pt x="8482" y="2298"/>
                  </a:lnTo>
                  <a:lnTo>
                    <a:pt x="7899" y="2298"/>
                  </a:lnTo>
                  <a:lnTo>
                    <a:pt x="7315" y="2298"/>
                  </a:lnTo>
                  <a:lnTo>
                    <a:pt x="7315" y="2565"/>
                  </a:lnTo>
                  <a:lnTo>
                    <a:pt x="8177" y="2565"/>
                  </a:lnTo>
                  <a:lnTo>
                    <a:pt x="9039" y="2565"/>
                  </a:lnTo>
                  <a:lnTo>
                    <a:pt x="8843" y="2298"/>
                  </a:lnTo>
                  <a:lnTo>
                    <a:pt x="8637" y="2298"/>
                  </a:lnTo>
                  <a:lnTo>
                    <a:pt x="8630" y="2296"/>
                  </a:lnTo>
                  <a:lnTo>
                    <a:pt x="8623" y="2291"/>
                  </a:lnTo>
                  <a:lnTo>
                    <a:pt x="8619" y="2285"/>
                  </a:lnTo>
                  <a:lnTo>
                    <a:pt x="8618" y="2277"/>
                  </a:lnTo>
                  <a:lnTo>
                    <a:pt x="8619" y="2271"/>
                  </a:lnTo>
                  <a:lnTo>
                    <a:pt x="8623" y="2264"/>
                  </a:lnTo>
                  <a:lnTo>
                    <a:pt x="8630" y="2259"/>
                  </a:lnTo>
                  <a:lnTo>
                    <a:pt x="8637" y="2258"/>
                  </a:lnTo>
                  <a:lnTo>
                    <a:pt x="8657" y="2258"/>
                  </a:lnTo>
                  <a:close/>
                  <a:moveTo>
                    <a:pt x="9075" y="2604"/>
                  </a:moveTo>
                  <a:lnTo>
                    <a:pt x="8195" y="2604"/>
                  </a:lnTo>
                  <a:lnTo>
                    <a:pt x="7315" y="2604"/>
                  </a:lnTo>
                  <a:lnTo>
                    <a:pt x="7315" y="2753"/>
                  </a:lnTo>
                  <a:lnTo>
                    <a:pt x="8192" y="2753"/>
                  </a:lnTo>
                  <a:lnTo>
                    <a:pt x="9070" y="2753"/>
                  </a:lnTo>
                  <a:lnTo>
                    <a:pt x="9081" y="2753"/>
                  </a:lnTo>
                  <a:lnTo>
                    <a:pt x="9081" y="2604"/>
                  </a:lnTo>
                  <a:lnTo>
                    <a:pt x="9075" y="2604"/>
                  </a:lnTo>
                  <a:close/>
                  <a:moveTo>
                    <a:pt x="6236" y="1893"/>
                  </a:moveTo>
                  <a:lnTo>
                    <a:pt x="6369" y="1893"/>
                  </a:lnTo>
                  <a:lnTo>
                    <a:pt x="6378" y="1895"/>
                  </a:lnTo>
                  <a:lnTo>
                    <a:pt x="6384" y="1900"/>
                  </a:lnTo>
                  <a:lnTo>
                    <a:pt x="6387" y="1906"/>
                  </a:lnTo>
                  <a:lnTo>
                    <a:pt x="6388" y="1913"/>
                  </a:lnTo>
                  <a:lnTo>
                    <a:pt x="6387" y="1920"/>
                  </a:lnTo>
                  <a:lnTo>
                    <a:pt x="6384" y="1927"/>
                  </a:lnTo>
                  <a:lnTo>
                    <a:pt x="6378" y="1932"/>
                  </a:lnTo>
                  <a:lnTo>
                    <a:pt x="6369" y="1933"/>
                  </a:lnTo>
                  <a:lnTo>
                    <a:pt x="6236" y="1933"/>
                  </a:lnTo>
                  <a:lnTo>
                    <a:pt x="6227" y="1932"/>
                  </a:lnTo>
                  <a:lnTo>
                    <a:pt x="6220" y="1927"/>
                  </a:lnTo>
                  <a:lnTo>
                    <a:pt x="6216" y="1920"/>
                  </a:lnTo>
                  <a:lnTo>
                    <a:pt x="6215" y="1913"/>
                  </a:lnTo>
                  <a:lnTo>
                    <a:pt x="6216" y="1906"/>
                  </a:lnTo>
                  <a:lnTo>
                    <a:pt x="6220" y="1900"/>
                  </a:lnTo>
                  <a:lnTo>
                    <a:pt x="6227" y="1895"/>
                  </a:lnTo>
                  <a:lnTo>
                    <a:pt x="6236" y="1893"/>
                  </a:lnTo>
                  <a:close/>
                  <a:moveTo>
                    <a:pt x="6472" y="1893"/>
                  </a:moveTo>
                  <a:lnTo>
                    <a:pt x="6605" y="1893"/>
                  </a:lnTo>
                  <a:lnTo>
                    <a:pt x="6614" y="1895"/>
                  </a:lnTo>
                  <a:lnTo>
                    <a:pt x="6620" y="1900"/>
                  </a:lnTo>
                  <a:lnTo>
                    <a:pt x="6624" y="1906"/>
                  </a:lnTo>
                  <a:lnTo>
                    <a:pt x="6626" y="1913"/>
                  </a:lnTo>
                  <a:lnTo>
                    <a:pt x="6624" y="1920"/>
                  </a:lnTo>
                  <a:lnTo>
                    <a:pt x="6620" y="1927"/>
                  </a:lnTo>
                  <a:lnTo>
                    <a:pt x="6614" y="1932"/>
                  </a:lnTo>
                  <a:lnTo>
                    <a:pt x="6605" y="1933"/>
                  </a:lnTo>
                  <a:lnTo>
                    <a:pt x="6472" y="1933"/>
                  </a:lnTo>
                  <a:lnTo>
                    <a:pt x="6464" y="1932"/>
                  </a:lnTo>
                  <a:lnTo>
                    <a:pt x="6458" y="1927"/>
                  </a:lnTo>
                  <a:lnTo>
                    <a:pt x="6454" y="1920"/>
                  </a:lnTo>
                  <a:lnTo>
                    <a:pt x="6452" y="1913"/>
                  </a:lnTo>
                  <a:lnTo>
                    <a:pt x="6454" y="1906"/>
                  </a:lnTo>
                  <a:lnTo>
                    <a:pt x="6458" y="1900"/>
                  </a:lnTo>
                  <a:lnTo>
                    <a:pt x="6464" y="1895"/>
                  </a:lnTo>
                  <a:lnTo>
                    <a:pt x="6472" y="1893"/>
                  </a:lnTo>
                  <a:close/>
                  <a:moveTo>
                    <a:pt x="6709" y="1893"/>
                  </a:moveTo>
                  <a:lnTo>
                    <a:pt x="6842" y="1893"/>
                  </a:lnTo>
                  <a:lnTo>
                    <a:pt x="6851" y="1895"/>
                  </a:lnTo>
                  <a:lnTo>
                    <a:pt x="6858" y="1900"/>
                  </a:lnTo>
                  <a:lnTo>
                    <a:pt x="6861" y="1906"/>
                  </a:lnTo>
                  <a:lnTo>
                    <a:pt x="6863" y="1913"/>
                  </a:lnTo>
                  <a:lnTo>
                    <a:pt x="6861" y="1920"/>
                  </a:lnTo>
                  <a:lnTo>
                    <a:pt x="6858" y="1927"/>
                  </a:lnTo>
                  <a:lnTo>
                    <a:pt x="6851" y="1932"/>
                  </a:lnTo>
                  <a:lnTo>
                    <a:pt x="6842" y="1933"/>
                  </a:lnTo>
                  <a:lnTo>
                    <a:pt x="6709" y="1933"/>
                  </a:lnTo>
                  <a:lnTo>
                    <a:pt x="6700" y="1932"/>
                  </a:lnTo>
                  <a:lnTo>
                    <a:pt x="6693" y="1927"/>
                  </a:lnTo>
                  <a:lnTo>
                    <a:pt x="6690" y="1920"/>
                  </a:lnTo>
                  <a:lnTo>
                    <a:pt x="6688" y="1913"/>
                  </a:lnTo>
                  <a:lnTo>
                    <a:pt x="6690" y="1906"/>
                  </a:lnTo>
                  <a:lnTo>
                    <a:pt x="6693" y="1900"/>
                  </a:lnTo>
                  <a:lnTo>
                    <a:pt x="6700" y="1895"/>
                  </a:lnTo>
                  <a:lnTo>
                    <a:pt x="6709" y="1893"/>
                  </a:lnTo>
                  <a:close/>
                  <a:moveTo>
                    <a:pt x="6946" y="1893"/>
                  </a:moveTo>
                  <a:lnTo>
                    <a:pt x="7078" y="1893"/>
                  </a:lnTo>
                  <a:lnTo>
                    <a:pt x="7087" y="1895"/>
                  </a:lnTo>
                  <a:lnTo>
                    <a:pt x="7094" y="1900"/>
                  </a:lnTo>
                  <a:lnTo>
                    <a:pt x="7097" y="1906"/>
                  </a:lnTo>
                  <a:lnTo>
                    <a:pt x="7099" y="1913"/>
                  </a:lnTo>
                  <a:lnTo>
                    <a:pt x="7097" y="1920"/>
                  </a:lnTo>
                  <a:lnTo>
                    <a:pt x="7094" y="1927"/>
                  </a:lnTo>
                  <a:lnTo>
                    <a:pt x="7087" y="1932"/>
                  </a:lnTo>
                  <a:lnTo>
                    <a:pt x="7078" y="1933"/>
                  </a:lnTo>
                  <a:lnTo>
                    <a:pt x="6946" y="1933"/>
                  </a:lnTo>
                  <a:lnTo>
                    <a:pt x="6937" y="1932"/>
                  </a:lnTo>
                  <a:lnTo>
                    <a:pt x="6931" y="1927"/>
                  </a:lnTo>
                  <a:lnTo>
                    <a:pt x="6927" y="1920"/>
                  </a:lnTo>
                  <a:lnTo>
                    <a:pt x="6926" y="1913"/>
                  </a:lnTo>
                  <a:lnTo>
                    <a:pt x="6927" y="1906"/>
                  </a:lnTo>
                  <a:lnTo>
                    <a:pt x="6931" y="1900"/>
                  </a:lnTo>
                  <a:lnTo>
                    <a:pt x="6937" y="1895"/>
                  </a:lnTo>
                  <a:lnTo>
                    <a:pt x="6946" y="1893"/>
                  </a:lnTo>
                  <a:close/>
                  <a:moveTo>
                    <a:pt x="6236" y="2156"/>
                  </a:moveTo>
                  <a:lnTo>
                    <a:pt x="6369" y="2156"/>
                  </a:lnTo>
                  <a:lnTo>
                    <a:pt x="6378" y="2158"/>
                  </a:lnTo>
                  <a:lnTo>
                    <a:pt x="6384" y="2162"/>
                  </a:lnTo>
                  <a:lnTo>
                    <a:pt x="6387" y="2168"/>
                  </a:lnTo>
                  <a:lnTo>
                    <a:pt x="6388" y="2176"/>
                  </a:lnTo>
                  <a:lnTo>
                    <a:pt x="6387" y="2184"/>
                  </a:lnTo>
                  <a:lnTo>
                    <a:pt x="6384" y="2190"/>
                  </a:lnTo>
                  <a:lnTo>
                    <a:pt x="6378" y="2194"/>
                  </a:lnTo>
                  <a:lnTo>
                    <a:pt x="6369" y="2197"/>
                  </a:lnTo>
                  <a:lnTo>
                    <a:pt x="6236" y="2197"/>
                  </a:lnTo>
                  <a:lnTo>
                    <a:pt x="6227" y="2194"/>
                  </a:lnTo>
                  <a:lnTo>
                    <a:pt x="6220" y="2190"/>
                  </a:lnTo>
                  <a:lnTo>
                    <a:pt x="6216" y="2184"/>
                  </a:lnTo>
                  <a:lnTo>
                    <a:pt x="6215" y="2176"/>
                  </a:lnTo>
                  <a:lnTo>
                    <a:pt x="6216" y="2168"/>
                  </a:lnTo>
                  <a:lnTo>
                    <a:pt x="6220" y="2162"/>
                  </a:lnTo>
                  <a:lnTo>
                    <a:pt x="6227" y="2158"/>
                  </a:lnTo>
                  <a:lnTo>
                    <a:pt x="6236" y="2156"/>
                  </a:lnTo>
                  <a:close/>
                  <a:moveTo>
                    <a:pt x="6472" y="2156"/>
                  </a:moveTo>
                  <a:lnTo>
                    <a:pt x="6605" y="2156"/>
                  </a:lnTo>
                  <a:lnTo>
                    <a:pt x="6614" y="2158"/>
                  </a:lnTo>
                  <a:lnTo>
                    <a:pt x="6620" y="2162"/>
                  </a:lnTo>
                  <a:lnTo>
                    <a:pt x="6624" y="2168"/>
                  </a:lnTo>
                  <a:lnTo>
                    <a:pt x="6626" y="2176"/>
                  </a:lnTo>
                  <a:lnTo>
                    <a:pt x="6624" y="2184"/>
                  </a:lnTo>
                  <a:lnTo>
                    <a:pt x="6620" y="2190"/>
                  </a:lnTo>
                  <a:lnTo>
                    <a:pt x="6614" y="2194"/>
                  </a:lnTo>
                  <a:lnTo>
                    <a:pt x="6605" y="2197"/>
                  </a:lnTo>
                  <a:lnTo>
                    <a:pt x="6472" y="2197"/>
                  </a:lnTo>
                  <a:lnTo>
                    <a:pt x="6464" y="2194"/>
                  </a:lnTo>
                  <a:lnTo>
                    <a:pt x="6458" y="2190"/>
                  </a:lnTo>
                  <a:lnTo>
                    <a:pt x="6454" y="2184"/>
                  </a:lnTo>
                  <a:lnTo>
                    <a:pt x="6452" y="2176"/>
                  </a:lnTo>
                  <a:lnTo>
                    <a:pt x="6454" y="2168"/>
                  </a:lnTo>
                  <a:lnTo>
                    <a:pt x="6458" y="2162"/>
                  </a:lnTo>
                  <a:lnTo>
                    <a:pt x="6464" y="2158"/>
                  </a:lnTo>
                  <a:lnTo>
                    <a:pt x="6472" y="2156"/>
                  </a:lnTo>
                  <a:close/>
                  <a:moveTo>
                    <a:pt x="6709" y="2156"/>
                  </a:moveTo>
                  <a:lnTo>
                    <a:pt x="6842" y="2156"/>
                  </a:lnTo>
                  <a:lnTo>
                    <a:pt x="6851" y="2158"/>
                  </a:lnTo>
                  <a:lnTo>
                    <a:pt x="6858" y="2162"/>
                  </a:lnTo>
                  <a:lnTo>
                    <a:pt x="6861" y="2168"/>
                  </a:lnTo>
                  <a:lnTo>
                    <a:pt x="6863" y="2176"/>
                  </a:lnTo>
                  <a:lnTo>
                    <a:pt x="6861" y="2184"/>
                  </a:lnTo>
                  <a:lnTo>
                    <a:pt x="6858" y="2190"/>
                  </a:lnTo>
                  <a:lnTo>
                    <a:pt x="6851" y="2194"/>
                  </a:lnTo>
                  <a:lnTo>
                    <a:pt x="6842" y="2197"/>
                  </a:lnTo>
                  <a:lnTo>
                    <a:pt x="6709" y="2197"/>
                  </a:lnTo>
                  <a:lnTo>
                    <a:pt x="6700" y="2194"/>
                  </a:lnTo>
                  <a:lnTo>
                    <a:pt x="6693" y="2190"/>
                  </a:lnTo>
                  <a:lnTo>
                    <a:pt x="6690" y="2184"/>
                  </a:lnTo>
                  <a:lnTo>
                    <a:pt x="6688" y="2176"/>
                  </a:lnTo>
                  <a:lnTo>
                    <a:pt x="6690" y="2168"/>
                  </a:lnTo>
                  <a:lnTo>
                    <a:pt x="6693" y="2162"/>
                  </a:lnTo>
                  <a:lnTo>
                    <a:pt x="6700" y="2158"/>
                  </a:lnTo>
                  <a:lnTo>
                    <a:pt x="6709" y="2156"/>
                  </a:lnTo>
                  <a:close/>
                  <a:moveTo>
                    <a:pt x="6946" y="2156"/>
                  </a:moveTo>
                  <a:lnTo>
                    <a:pt x="7078" y="2156"/>
                  </a:lnTo>
                  <a:lnTo>
                    <a:pt x="7087" y="2158"/>
                  </a:lnTo>
                  <a:lnTo>
                    <a:pt x="7094" y="2162"/>
                  </a:lnTo>
                  <a:lnTo>
                    <a:pt x="7097" y="2168"/>
                  </a:lnTo>
                  <a:lnTo>
                    <a:pt x="7099" y="2176"/>
                  </a:lnTo>
                  <a:lnTo>
                    <a:pt x="7097" y="2184"/>
                  </a:lnTo>
                  <a:lnTo>
                    <a:pt x="7094" y="2190"/>
                  </a:lnTo>
                  <a:lnTo>
                    <a:pt x="7087" y="2194"/>
                  </a:lnTo>
                  <a:lnTo>
                    <a:pt x="7078" y="2197"/>
                  </a:lnTo>
                  <a:lnTo>
                    <a:pt x="6946" y="2197"/>
                  </a:lnTo>
                  <a:lnTo>
                    <a:pt x="6937" y="2194"/>
                  </a:lnTo>
                  <a:lnTo>
                    <a:pt x="6931" y="2190"/>
                  </a:lnTo>
                  <a:lnTo>
                    <a:pt x="6927" y="2184"/>
                  </a:lnTo>
                  <a:lnTo>
                    <a:pt x="6926" y="2176"/>
                  </a:lnTo>
                  <a:lnTo>
                    <a:pt x="6927" y="2168"/>
                  </a:lnTo>
                  <a:lnTo>
                    <a:pt x="6931" y="2162"/>
                  </a:lnTo>
                  <a:lnTo>
                    <a:pt x="6937" y="2158"/>
                  </a:lnTo>
                  <a:lnTo>
                    <a:pt x="6946" y="2156"/>
                  </a:lnTo>
                  <a:close/>
                  <a:moveTo>
                    <a:pt x="6236" y="2419"/>
                  </a:moveTo>
                  <a:lnTo>
                    <a:pt x="6369" y="2419"/>
                  </a:lnTo>
                  <a:lnTo>
                    <a:pt x="6378" y="2420"/>
                  </a:lnTo>
                  <a:lnTo>
                    <a:pt x="6384" y="2425"/>
                  </a:lnTo>
                  <a:lnTo>
                    <a:pt x="6387" y="2432"/>
                  </a:lnTo>
                  <a:lnTo>
                    <a:pt x="6388" y="2439"/>
                  </a:lnTo>
                  <a:lnTo>
                    <a:pt x="6387" y="2446"/>
                  </a:lnTo>
                  <a:lnTo>
                    <a:pt x="6384" y="2452"/>
                  </a:lnTo>
                  <a:lnTo>
                    <a:pt x="6378" y="2457"/>
                  </a:lnTo>
                  <a:lnTo>
                    <a:pt x="6369" y="2459"/>
                  </a:lnTo>
                  <a:lnTo>
                    <a:pt x="6236" y="2459"/>
                  </a:lnTo>
                  <a:lnTo>
                    <a:pt x="6227" y="2457"/>
                  </a:lnTo>
                  <a:lnTo>
                    <a:pt x="6220" y="2452"/>
                  </a:lnTo>
                  <a:lnTo>
                    <a:pt x="6216" y="2446"/>
                  </a:lnTo>
                  <a:lnTo>
                    <a:pt x="6215" y="2439"/>
                  </a:lnTo>
                  <a:lnTo>
                    <a:pt x="6216" y="2432"/>
                  </a:lnTo>
                  <a:lnTo>
                    <a:pt x="6220" y="2425"/>
                  </a:lnTo>
                  <a:lnTo>
                    <a:pt x="6227" y="2420"/>
                  </a:lnTo>
                  <a:lnTo>
                    <a:pt x="6236" y="2419"/>
                  </a:lnTo>
                  <a:close/>
                  <a:moveTo>
                    <a:pt x="6472" y="2419"/>
                  </a:moveTo>
                  <a:lnTo>
                    <a:pt x="6605" y="2419"/>
                  </a:lnTo>
                  <a:lnTo>
                    <a:pt x="6614" y="2420"/>
                  </a:lnTo>
                  <a:lnTo>
                    <a:pt x="6620" y="2425"/>
                  </a:lnTo>
                  <a:lnTo>
                    <a:pt x="6624" y="2432"/>
                  </a:lnTo>
                  <a:lnTo>
                    <a:pt x="6626" y="2439"/>
                  </a:lnTo>
                  <a:lnTo>
                    <a:pt x="6624" y="2446"/>
                  </a:lnTo>
                  <a:lnTo>
                    <a:pt x="6620" y="2452"/>
                  </a:lnTo>
                  <a:lnTo>
                    <a:pt x="6614" y="2457"/>
                  </a:lnTo>
                  <a:lnTo>
                    <a:pt x="6605" y="2459"/>
                  </a:lnTo>
                  <a:lnTo>
                    <a:pt x="6472" y="2459"/>
                  </a:lnTo>
                  <a:lnTo>
                    <a:pt x="6464" y="2457"/>
                  </a:lnTo>
                  <a:lnTo>
                    <a:pt x="6458" y="2452"/>
                  </a:lnTo>
                  <a:lnTo>
                    <a:pt x="6454" y="2446"/>
                  </a:lnTo>
                  <a:lnTo>
                    <a:pt x="6452" y="2439"/>
                  </a:lnTo>
                  <a:lnTo>
                    <a:pt x="6454" y="2432"/>
                  </a:lnTo>
                  <a:lnTo>
                    <a:pt x="6458" y="2425"/>
                  </a:lnTo>
                  <a:lnTo>
                    <a:pt x="6464" y="2420"/>
                  </a:lnTo>
                  <a:lnTo>
                    <a:pt x="6472" y="2419"/>
                  </a:lnTo>
                  <a:close/>
                  <a:moveTo>
                    <a:pt x="6709" y="2419"/>
                  </a:moveTo>
                  <a:lnTo>
                    <a:pt x="6842" y="2419"/>
                  </a:lnTo>
                  <a:lnTo>
                    <a:pt x="6851" y="2420"/>
                  </a:lnTo>
                  <a:lnTo>
                    <a:pt x="6858" y="2425"/>
                  </a:lnTo>
                  <a:lnTo>
                    <a:pt x="6861" y="2432"/>
                  </a:lnTo>
                  <a:lnTo>
                    <a:pt x="6863" y="2439"/>
                  </a:lnTo>
                  <a:lnTo>
                    <a:pt x="6861" y="2446"/>
                  </a:lnTo>
                  <a:lnTo>
                    <a:pt x="6858" y="2452"/>
                  </a:lnTo>
                  <a:lnTo>
                    <a:pt x="6851" y="2457"/>
                  </a:lnTo>
                  <a:lnTo>
                    <a:pt x="6842" y="2459"/>
                  </a:lnTo>
                  <a:lnTo>
                    <a:pt x="6709" y="2459"/>
                  </a:lnTo>
                  <a:lnTo>
                    <a:pt x="6700" y="2457"/>
                  </a:lnTo>
                  <a:lnTo>
                    <a:pt x="6693" y="2452"/>
                  </a:lnTo>
                  <a:lnTo>
                    <a:pt x="6690" y="2446"/>
                  </a:lnTo>
                  <a:lnTo>
                    <a:pt x="6688" y="2439"/>
                  </a:lnTo>
                  <a:lnTo>
                    <a:pt x="6690" y="2432"/>
                  </a:lnTo>
                  <a:lnTo>
                    <a:pt x="6693" y="2425"/>
                  </a:lnTo>
                  <a:lnTo>
                    <a:pt x="6700" y="2420"/>
                  </a:lnTo>
                  <a:lnTo>
                    <a:pt x="6709" y="2419"/>
                  </a:lnTo>
                  <a:close/>
                  <a:moveTo>
                    <a:pt x="6946" y="2419"/>
                  </a:moveTo>
                  <a:lnTo>
                    <a:pt x="7078" y="2419"/>
                  </a:lnTo>
                  <a:lnTo>
                    <a:pt x="7087" y="2420"/>
                  </a:lnTo>
                  <a:lnTo>
                    <a:pt x="7094" y="2425"/>
                  </a:lnTo>
                  <a:lnTo>
                    <a:pt x="7097" y="2432"/>
                  </a:lnTo>
                  <a:lnTo>
                    <a:pt x="7099" y="2439"/>
                  </a:lnTo>
                  <a:lnTo>
                    <a:pt x="7097" y="2446"/>
                  </a:lnTo>
                  <a:lnTo>
                    <a:pt x="7094" y="2452"/>
                  </a:lnTo>
                  <a:lnTo>
                    <a:pt x="7087" y="2457"/>
                  </a:lnTo>
                  <a:lnTo>
                    <a:pt x="7078" y="2459"/>
                  </a:lnTo>
                  <a:lnTo>
                    <a:pt x="6946" y="2459"/>
                  </a:lnTo>
                  <a:lnTo>
                    <a:pt x="6937" y="2457"/>
                  </a:lnTo>
                  <a:lnTo>
                    <a:pt x="6931" y="2452"/>
                  </a:lnTo>
                  <a:lnTo>
                    <a:pt x="6927" y="2446"/>
                  </a:lnTo>
                  <a:lnTo>
                    <a:pt x="6926" y="2439"/>
                  </a:lnTo>
                  <a:lnTo>
                    <a:pt x="6927" y="2432"/>
                  </a:lnTo>
                  <a:lnTo>
                    <a:pt x="6931" y="2425"/>
                  </a:lnTo>
                  <a:lnTo>
                    <a:pt x="6937" y="2420"/>
                  </a:lnTo>
                  <a:lnTo>
                    <a:pt x="6946" y="2419"/>
                  </a:lnTo>
                  <a:close/>
                  <a:moveTo>
                    <a:pt x="6236" y="2682"/>
                  </a:moveTo>
                  <a:lnTo>
                    <a:pt x="6369" y="2682"/>
                  </a:lnTo>
                  <a:lnTo>
                    <a:pt x="6378" y="2684"/>
                  </a:lnTo>
                  <a:lnTo>
                    <a:pt x="6384" y="2689"/>
                  </a:lnTo>
                  <a:lnTo>
                    <a:pt x="6387" y="2695"/>
                  </a:lnTo>
                  <a:lnTo>
                    <a:pt x="6388" y="2702"/>
                  </a:lnTo>
                  <a:lnTo>
                    <a:pt x="6387" y="2709"/>
                  </a:lnTo>
                  <a:lnTo>
                    <a:pt x="6384" y="2716"/>
                  </a:lnTo>
                  <a:lnTo>
                    <a:pt x="6378" y="2721"/>
                  </a:lnTo>
                  <a:lnTo>
                    <a:pt x="6369" y="2722"/>
                  </a:lnTo>
                  <a:lnTo>
                    <a:pt x="6236" y="2722"/>
                  </a:lnTo>
                  <a:lnTo>
                    <a:pt x="6227" y="2721"/>
                  </a:lnTo>
                  <a:lnTo>
                    <a:pt x="6220" y="2716"/>
                  </a:lnTo>
                  <a:lnTo>
                    <a:pt x="6216" y="2709"/>
                  </a:lnTo>
                  <a:lnTo>
                    <a:pt x="6215" y="2702"/>
                  </a:lnTo>
                  <a:lnTo>
                    <a:pt x="6216" y="2695"/>
                  </a:lnTo>
                  <a:lnTo>
                    <a:pt x="6220" y="2689"/>
                  </a:lnTo>
                  <a:lnTo>
                    <a:pt x="6227" y="2684"/>
                  </a:lnTo>
                  <a:lnTo>
                    <a:pt x="6236" y="2682"/>
                  </a:lnTo>
                  <a:close/>
                  <a:moveTo>
                    <a:pt x="6472" y="2682"/>
                  </a:moveTo>
                  <a:lnTo>
                    <a:pt x="6605" y="2682"/>
                  </a:lnTo>
                  <a:lnTo>
                    <a:pt x="6614" y="2684"/>
                  </a:lnTo>
                  <a:lnTo>
                    <a:pt x="6620" y="2689"/>
                  </a:lnTo>
                  <a:lnTo>
                    <a:pt x="6624" y="2695"/>
                  </a:lnTo>
                  <a:lnTo>
                    <a:pt x="6626" y="2702"/>
                  </a:lnTo>
                  <a:lnTo>
                    <a:pt x="6624" y="2709"/>
                  </a:lnTo>
                  <a:lnTo>
                    <a:pt x="6620" y="2716"/>
                  </a:lnTo>
                  <a:lnTo>
                    <a:pt x="6614" y="2721"/>
                  </a:lnTo>
                  <a:lnTo>
                    <a:pt x="6605" y="2722"/>
                  </a:lnTo>
                  <a:lnTo>
                    <a:pt x="6472" y="2722"/>
                  </a:lnTo>
                  <a:lnTo>
                    <a:pt x="6464" y="2721"/>
                  </a:lnTo>
                  <a:lnTo>
                    <a:pt x="6458" y="2716"/>
                  </a:lnTo>
                  <a:lnTo>
                    <a:pt x="6454" y="2709"/>
                  </a:lnTo>
                  <a:lnTo>
                    <a:pt x="6452" y="2702"/>
                  </a:lnTo>
                  <a:lnTo>
                    <a:pt x="6454" y="2695"/>
                  </a:lnTo>
                  <a:lnTo>
                    <a:pt x="6458" y="2689"/>
                  </a:lnTo>
                  <a:lnTo>
                    <a:pt x="6464" y="2684"/>
                  </a:lnTo>
                  <a:lnTo>
                    <a:pt x="6472" y="2682"/>
                  </a:lnTo>
                  <a:close/>
                  <a:moveTo>
                    <a:pt x="6709" y="2682"/>
                  </a:moveTo>
                  <a:lnTo>
                    <a:pt x="6842" y="2682"/>
                  </a:lnTo>
                  <a:lnTo>
                    <a:pt x="6851" y="2684"/>
                  </a:lnTo>
                  <a:lnTo>
                    <a:pt x="6858" y="2689"/>
                  </a:lnTo>
                  <a:lnTo>
                    <a:pt x="6861" y="2695"/>
                  </a:lnTo>
                  <a:lnTo>
                    <a:pt x="6863" y="2702"/>
                  </a:lnTo>
                  <a:lnTo>
                    <a:pt x="6861" y="2709"/>
                  </a:lnTo>
                  <a:lnTo>
                    <a:pt x="6858" y="2716"/>
                  </a:lnTo>
                  <a:lnTo>
                    <a:pt x="6851" y="2721"/>
                  </a:lnTo>
                  <a:lnTo>
                    <a:pt x="6842" y="2722"/>
                  </a:lnTo>
                  <a:lnTo>
                    <a:pt x="6709" y="2722"/>
                  </a:lnTo>
                  <a:lnTo>
                    <a:pt x="6700" y="2721"/>
                  </a:lnTo>
                  <a:lnTo>
                    <a:pt x="6693" y="2716"/>
                  </a:lnTo>
                  <a:lnTo>
                    <a:pt x="6690" y="2709"/>
                  </a:lnTo>
                  <a:lnTo>
                    <a:pt x="6688" y="2702"/>
                  </a:lnTo>
                  <a:lnTo>
                    <a:pt x="6690" y="2695"/>
                  </a:lnTo>
                  <a:lnTo>
                    <a:pt x="6693" y="2689"/>
                  </a:lnTo>
                  <a:lnTo>
                    <a:pt x="6700" y="2684"/>
                  </a:lnTo>
                  <a:lnTo>
                    <a:pt x="6709" y="2682"/>
                  </a:lnTo>
                  <a:close/>
                  <a:moveTo>
                    <a:pt x="6946" y="2682"/>
                  </a:moveTo>
                  <a:lnTo>
                    <a:pt x="7078" y="2682"/>
                  </a:lnTo>
                  <a:lnTo>
                    <a:pt x="7087" y="2684"/>
                  </a:lnTo>
                  <a:lnTo>
                    <a:pt x="7094" y="2689"/>
                  </a:lnTo>
                  <a:lnTo>
                    <a:pt x="7097" y="2695"/>
                  </a:lnTo>
                  <a:lnTo>
                    <a:pt x="7099" y="2702"/>
                  </a:lnTo>
                  <a:lnTo>
                    <a:pt x="7097" y="2709"/>
                  </a:lnTo>
                  <a:lnTo>
                    <a:pt x="7094" y="2716"/>
                  </a:lnTo>
                  <a:lnTo>
                    <a:pt x="7087" y="2721"/>
                  </a:lnTo>
                  <a:lnTo>
                    <a:pt x="7078" y="2722"/>
                  </a:lnTo>
                  <a:lnTo>
                    <a:pt x="6946" y="2722"/>
                  </a:lnTo>
                  <a:lnTo>
                    <a:pt x="6937" y="2721"/>
                  </a:lnTo>
                  <a:lnTo>
                    <a:pt x="6931" y="2716"/>
                  </a:lnTo>
                  <a:lnTo>
                    <a:pt x="6927" y="2709"/>
                  </a:lnTo>
                  <a:lnTo>
                    <a:pt x="6926" y="2702"/>
                  </a:lnTo>
                  <a:lnTo>
                    <a:pt x="6927" y="2695"/>
                  </a:lnTo>
                  <a:lnTo>
                    <a:pt x="6931" y="2689"/>
                  </a:lnTo>
                  <a:lnTo>
                    <a:pt x="6937" y="2684"/>
                  </a:lnTo>
                  <a:lnTo>
                    <a:pt x="6946" y="2682"/>
                  </a:lnTo>
                  <a:close/>
                  <a:moveTo>
                    <a:pt x="6236" y="2946"/>
                  </a:moveTo>
                  <a:lnTo>
                    <a:pt x="6369" y="2946"/>
                  </a:lnTo>
                  <a:lnTo>
                    <a:pt x="6378" y="2947"/>
                  </a:lnTo>
                  <a:lnTo>
                    <a:pt x="6384" y="2951"/>
                  </a:lnTo>
                  <a:lnTo>
                    <a:pt x="6387" y="2957"/>
                  </a:lnTo>
                  <a:lnTo>
                    <a:pt x="6388" y="2965"/>
                  </a:lnTo>
                  <a:lnTo>
                    <a:pt x="6387" y="2973"/>
                  </a:lnTo>
                  <a:lnTo>
                    <a:pt x="6384" y="2979"/>
                  </a:lnTo>
                  <a:lnTo>
                    <a:pt x="6378" y="2983"/>
                  </a:lnTo>
                  <a:lnTo>
                    <a:pt x="6369" y="2985"/>
                  </a:lnTo>
                  <a:lnTo>
                    <a:pt x="6236" y="2985"/>
                  </a:lnTo>
                  <a:lnTo>
                    <a:pt x="6227" y="2983"/>
                  </a:lnTo>
                  <a:lnTo>
                    <a:pt x="6220" y="2979"/>
                  </a:lnTo>
                  <a:lnTo>
                    <a:pt x="6216" y="2973"/>
                  </a:lnTo>
                  <a:lnTo>
                    <a:pt x="6215" y="2965"/>
                  </a:lnTo>
                  <a:lnTo>
                    <a:pt x="6216" y="2957"/>
                  </a:lnTo>
                  <a:lnTo>
                    <a:pt x="6220" y="2951"/>
                  </a:lnTo>
                  <a:lnTo>
                    <a:pt x="6227" y="2947"/>
                  </a:lnTo>
                  <a:lnTo>
                    <a:pt x="6236" y="2946"/>
                  </a:lnTo>
                  <a:close/>
                  <a:moveTo>
                    <a:pt x="6472" y="2946"/>
                  </a:moveTo>
                  <a:lnTo>
                    <a:pt x="6605" y="2946"/>
                  </a:lnTo>
                  <a:lnTo>
                    <a:pt x="6614" y="2947"/>
                  </a:lnTo>
                  <a:lnTo>
                    <a:pt x="6620" y="2951"/>
                  </a:lnTo>
                  <a:lnTo>
                    <a:pt x="6624" y="2957"/>
                  </a:lnTo>
                  <a:lnTo>
                    <a:pt x="6626" y="2965"/>
                  </a:lnTo>
                  <a:lnTo>
                    <a:pt x="6624" y="2973"/>
                  </a:lnTo>
                  <a:lnTo>
                    <a:pt x="6620" y="2979"/>
                  </a:lnTo>
                  <a:lnTo>
                    <a:pt x="6614" y="2983"/>
                  </a:lnTo>
                  <a:lnTo>
                    <a:pt x="6605" y="2985"/>
                  </a:lnTo>
                  <a:lnTo>
                    <a:pt x="6472" y="2985"/>
                  </a:lnTo>
                  <a:lnTo>
                    <a:pt x="6464" y="2983"/>
                  </a:lnTo>
                  <a:lnTo>
                    <a:pt x="6458" y="2979"/>
                  </a:lnTo>
                  <a:lnTo>
                    <a:pt x="6454" y="2973"/>
                  </a:lnTo>
                  <a:lnTo>
                    <a:pt x="6452" y="2965"/>
                  </a:lnTo>
                  <a:lnTo>
                    <a:pt x="6454" y="2957"/>
                  </a:lnTo>
                  <a:lnTo>
                    <a:pt x="6458" y="2951"/>
                  </a:lnTo>
                  <a:lnTo>
                    <a:pt x="6464" y="2947"/>
                  </a:lnTo>
                  <a:lnTo>
                    <a:pt x="6472" y="2946"/>
                  </a:lnTo>
                  <a:close/>
                  <a:moveTo>
                    <a:pt x="6709" y="2946"/>
                  </a:moveTo>
                  <a:lnTo>
                    <a:pt x="6842" y="2946"/>
                  </a:lnTo>
                  <a:lnTo>
                    <a:pt x="6851" y="2947"/>
                  </a:lnTo>
                  <a:lnTo>
                    <a:pt x="6858" y="2951"/>
                  </a:lnTo>
                  <a:lnTo>
                    <a:pt x="6861" y="2957"/>
                  </a:lnTo>
                  <a:lnTo>
                    <a:pt x="6863" y="2965"/>
                  </a:lnTo>
                  <a:lnTo>
                    <a:pt x="6861" y="2973"/>
                  </a:lnTo>
                  <a:lnTo>
                    <a:pt x="6858" y="2979"/>
                  </a:lnTo>
                  <a:lnTo>
                    <a:pt x="6851" y="2983"/>
                  </a:lnTo>
                  <a:lnTo>
                    <a:pt x="6842" y="2985"/>
                  </a:lnTo>
                  <a:lnTo>
                    <a:pt x="6709" y="2985"/>
                  </a:lnTo>
                  <a:lnTo>
                    <a:pt x="6700" y="2983"/>
                  </a:lnTo>
                  <a:lnTo>
                    <a:pt x="6693" y="2979"/>
                  </a:lnTo>
                  <a:lnTo>
                    <a:pt x="6690" y="2973"/>
                  </a:lnTo>
                  <a:lnTo>
                    <a:pt x="6688" y="2965"/>
                  </a:lnTo>
                  <a:lnTo>
                    <a:pt x="6690" y="2957"/>
                  </a:lnTo>
                  <a:lnTo>
                    <a:pt x="6693" y="2951"/>
                  </a:lnTo>
                  <a:lnTo>
                    <a:pt x="6700" y="2947"/>
                  </a:lnTo>
                  <a:lnTo>
                    <a:pt x="6709" y="2946"/>
                  </a:lnTo>
                  <a:close/>
                  <a:moveTo>
                    <a:pt x="6946" y="2946"/>
                  </a:moveTo>
                  <a:lnTo>
                    <a:pt x="7078" y="2946"/>
                  </a:lnTo>
                  <a:lnTo>
                    <a:pt x="7087" y="2947"/>
                  </a:lnTo>
                  <a:lnTo>
                    <a:pt x="7094" y="2951"/>
                  </a:lnTo>
                  <a:lnTo>
                    <a:pt x="7097" y="2957"/>
                  </a:lnTo>
                  <a:lnTo>
                    <a:pt x="7099" y="2965"/>
                  </a:lnTo>
                  <a:lnTo>
                    <a:pt x="7097" y="2973"/>
                  </a:lnTo>
                  <a:lnTo>
                    <a:pt x="7094" y="2979"/>
                  </a:lnTo>
                  <a:lnTo>
                    <a:pt x="7087" y="2983"/>
                  </a:lnTo>
                  <a:lnTo>
                    <a:pt x="7078" y="2985"/>
                  </a:lnTo>
                  <a:lnTo>
                    <a:pt x="6946" y="2985"/>
                  </a:lnTo>
                  <a:lnTo>
                    <a:pt x="6937" y="2983"/>
                  </a:lnTo>
                  <a:lnTo>
                    <a:pt x="6931" y="2979"/>
                  </a:lnTo>
                  <a:lnTo>
                    <a:pt x="6927" y="2973"/>
                  </a:lnTo>
                  <a:lnTo>
                    <a:pt x="6926" y="2965"/>
                  </a:lnTo>
                  <a:lnTo>
                    <a:pt x="6927" y="2957"/>
                  </a:lnTo>
                  <a:lnTo>
                    <a:pt x="6931" y="2951"/>
                  </a:lnTo>
                  <a:lnTo>
                    <a:pt x="6937" y="2947"/>
                  </a:lnTo>
                  <a:lnTo>
                    <a:pt x="6946" y="2946"/>
                  </a:lnTo>
                  <a:close/>
                  <a:moveTo>
                    <a:pt x="6236" y="3208"/>
                  </a:moveTo>
                  <a:lnTo>
                    <a:pt x="6369" y="3208"/>
                  </a:lnTo>
                  <a:lnTo>
                    <a:pt x="6378" y="3211"/>
                  </a:lnTo>
                  <a:lnTo>
                    <a:pt x="6384" y="3214"/>
                  </a:lnTo>
                  <a:lnTo>
                    <a:pt x="6387" y="3221"/>
                  </a:lnTo>
                  <a:lnTo>
                    <a:pt x="6388" y="3228"/>
                  </a:lnTo>
                  <a:lnTo>
                    <a:pt x="6387" y="3236"/>
                  </a:lnTo>
                  <a:lnTo>
                    <a:pt x="6384" y="3242"/>
                  </a:lnTo>
                  <a:lnTo>
                    <a:pt x="6378" y="3246"/>
                  </a:lnTo>
                  <a:lnTo>
                    <a:pt x="6369" y="3248"/>
                  </a:lnTo>
                  <a:lnTo>
                    <a:pt x="6236" y="3248"/>
                  </a:lnTo>
                  <a:lnTo>
                    <a:pt x="6227" y="3246"/>
                  </a:lnTo>
                  <a:lnTo>
                    <a:pt x="6220" y="3242"/>
                  </a:lnTo>
                  <a:lnTo>
                    <a:pt x="6216" y="3236"/>
                  </a:lnTo>
                  <a:lnTo>
                    <a:pt x="6215" y="3228"/>
                  </a:lnTo>
                  <a:lnTo>
                    <a:pt x="6216" y="3221"/>
                  </a:lnTo>
                  <a:lnTo>
                    <a:pt x="6220" y="3214"/>
                  </a:lnTo>
                  <a:lnTo>
                    <a:pt x="6227" y="3211"/>
                  </a:lnTo>
                  <a:lnTo>
                    <a:pt x="6236" y="3208"/>
                  </a:lnTo>
                  <a:close/>
                  <a:moveTo>
                    <a:pt x="6472" y="3208"/>
                  </a:moveTo>
                  <a:lnTo>
                    <a:pt x="6605" y="3208"/>
                  </a:lnTo>
                  <a:lnTo>
                    <a:pt x="6614" y="3211"/>
                  </a:lnTo>
                  <a:lnTo>
                    <a:pt x="6620" y="3214"/>
                  </a:lnTo>
                  <a:lnTo>
                    <a:pt x="6624" y="3221"/>
                  </a:lnTo>
                  <a:lnTo>
                    <a:pt x="6626" y="3228"/>
                  </a:lnTo>
                  <a:lnTo>
                    <a:pt x="6624" y="3236"/>
                  </a:lnTo>
                  <a:lnTo>
                    <a:pt x="6620" y="3242"/>
                  </a:lnTo>
                  <a:lnTo>
                    <a:pt x="6614" y="3246"/>
                  </a:lnTo>
                  <a:lnTo>
                    <a:pt x="6605" y="3248"/>
                  </a:lnTo>
                  <a:lnTo>
                    <a:pt x="6472" y="3248"/>
                  </a:lnTo>
                  <a:lnTo>
                    <a:pt x="6464" y="3246"/>
                  </a:lnTo>
                  <a:lnTo>
                    <a:pt x="6458" y="3242"/>
                  </a:lnTo>
                  <a:lnTo>
                    <a:pt x="6454" y="3236"/>
                  </a:lnTo>
                  <a:lnTo>
                    <a:pt x="6452" y="3228"/>
                  </a:lnTo>
                  <a:lnTo>
                    <a:pt x="6454" y="3221"/>
                  </a:lnTo>
                  <a:lnTo>
                    <a:pt x="6458" y="3214"/>
                  </a:lnTo>
                  <a:lnTo>
                    <a:pt x="6464" y="3211"/>
                  </a:lnTo>
                  <a:lnTo>
                    <a:pt x="6472" y="3208"/>
                  </a:lnTo>
                  <a:close/>
                  <a:moveTo>
                    <a:pt x="6709" y="3208"/>
                  </a:moveTo>
                  <a:lnTo>
                    <a:pt x="6842" y="3208"/>
                  </a:lnTo>
                  <a:lnTo>
                    <a:pt x="6851" y="3211"/>
                  </a:lnTo>
                  <a:lnTo>
                    <a:pt x="6858" y="3214"/>
                  </a:lnTo>
                  <a:lnTo>
                    <a:pt x="6861" y="3221"/>
                  </a:lnTo>
                  <a:lnTo>
                    <a:pt x="6863" y="3228"/>
                  </a:lnTo>
                  <a:lnTo>
                    <a:pt x="6861" y="3236"/>
                  </a:lnTo>
                  <a:lnTo>
                    <a:pt x="6858" y="3242"/>
                  </a:lnTo>
                  <a:lnTo>
                    <a:pt x="6851" y="3246"/>
                  </a:lnTo>
                  <a:lnTo>
                    <a:pt x="6842" y="3248"/>
                  </a:lnTo>
                  <a:lnTo>
                    <a:pt x="6709" y="3248"/>
                  </a:lnTo>
                  <a:lnTo>
                    <a:pt x="6700" y="3246"/>
                  </a:lnTo>
                  <a:lnTo>
                    <a:pt x="6693" y="3242"/>
                  </a:lnTo>
                  <a:lnTo>
                    <a:pt x="6690" y="3236"/>
                  </a:lnTo>
                  <a:lnTo>
                    <a:pt x="6688" y="3228"/>
                  </a:lnTo>
                  <a:lnTo>
                    <a:pt x="6690" y="3221"/>
                  </a:lnTo>
                  <a:lnTo>
                    <a:pt x="6693" y="3214"/>
                  </a:lnTo>
                  <a:lnTo>
                    <a:pt x="6700" y="3211"/>
                  </a:lnTo>
                  <a:lnTo>
                    <a:pt x="6709" y="3208"/>
                  </a:lnTo>
                  <a:close/>
                  <a:moveTo>
                    <a:pt x="6946" y="3208"/>
                  </a:moveTo>
                  <a:lnTo>
                    <a:pt x="7078" y="3208"/>
                  </a:lnTo>
                  <a:lnTo>
                    <a:pt x="7087" y="3211"/>
                  </a:lnTo>
                  <a:lnTo>
                    <a:pt x="7094" y="3214"/>
                  </a:lnTo>
                  <a:lnTo>
                    <a:pt x="7097" y="3221"/>
                  </a:lnTo>
                  <a:lnTo>
                    <a:pt x="7099" y="3228"/>
                  </a:lnTo>
                  <a:lnTo>
                    <a:pt x="7097" y="3236"/>
                  </a:lnTo>
                  <a:lnTo>
                    <a:pt x="7094" y="3242"/>
                  </a:lnTo>
                  <a:lnTo>
                    <a:pt x="7087" y="3246"/>
                  </a:lnTo>
                  <a:lnTo>
                    <a:pt x="7078" y="3248"/>
                  </a:lnTo>
                  <a:lnTo>
                    <a:pt x="6946" y="3248"/>
                  </a:lnTo>
                  <a:lnTo>
                    <a:pt x="6937" y="3246"/>
                  </a:lnTo>
                  <a:lnTo>
                    <a:pt x="6931" y="3242"/>
                  </a:lnTo>
                  <a:lnTo>
                    <a:pt x="6927" y="3236"/>
                  </a:lnTo>
                  <a:lnTo>
                    <a:pt x="6926" y="3228"/>
                  </a:lnTo>
                  <a:lnTo>
                    <a:pt x="6927" y="3221"/>
                  </a:lnTo>
                  <a:lnTo>
                    <a:pt x="6931" y="3214"/>
                  </a:lnTo>
                  <a:lnTo>
                    <a:pt x="6937" y="3211"/>
                  </a:lnTo>
                  <a:lnTo>
                    <a:pt x="6946" y="3208"/>
                  </a:lnTo>
                  <a:close/>
                  <a:moveTo>
                    <a:pt x="6236" y="3471"/>
                  </a:moveTo>
                  <a:lnTo>
                    <a:pt x="6369" y="3471"/>
                  </a:lnTo>
                  <a:lnTo>
                    <a:pt x="6378" y="3473"/>
                  </a:lnTo>
                  <a:lnTo>
                    <a:pt x="6384" y="3478"/>
                  </a:lnTo>
                  <a:lnTo>
                    <a:pt x="6387" y="3484"/>
                  </a:lnTo>
                  <a:lnTo>
                    <a:pt x="6388" y="3492"/>
                  </a:lnTo>
                  <a:lnTo>
                    <a:pt x="6387" y="3498"/>
                  </a:lnTo>
                  <a:lnTo>
                    <a:pt x="6384" y="3505"/>
                  </a:lnTo>
                  <a:lnTo>
                    <a:pt x="6378" y="3510"/>
                  </a:lnTo>
                  <a:lnTo>
                    <a:pt x="6369" y="3511"/>
                  </a:lnTo>
                  <a:lnTo>
                    <a:pt x="6236" y="3511"/>
                  </a:lnTo>
                  <a:lnTo>
                    <a:pt x="6227" y="3510"/>
                  </a:lnTo>
                  <a:lnTo>
                    <a:pt x="6220" y="3505"/>
                  </a:lnTo>
                  <a:lnTo>
                    <a:pt x="6216" y="3498"/>
                  </a:lnTo>
                  <a:lnTo>
                    <a:pt x="6215" y="3492"/>
                  </a:lnTo>
                  <a:lnTo>
                    <a:pt x="6216" y="3484"/>
                  </a:lnTo>
                  <a:lnTo>
                    <a:pt x="6220" y="3478"/>
                  </a:lnTo>
                  <a:lnTo>
                    <a:pt x="6227" y="3473"/>
                  </a:lnTo>
                  <a:lnTo>
                    <a:pt x="6236" y="3471"/>
                  </a:lnTo>
                  <a:close/>
                  <a:moveTo>
                    <a:pt x="6472" y="3471"/>
                  </a:moveTo>
                  <a:lnTo>
                    <a:pt x="6605" y="3471"/>
                  </a:lnTo>
                  <a:lnTo>
                    <a:pt x="6614" y="3473"/>
                  </a:lnTo>
                  <a:lnTo>
                    <a:pt x="6620" y="3478"/>
                  </a:lnTo>
                  <a:lnTo>
                    <a:pt x="6624" y="3484"/>
                  </a:lnTo>
                  <a:lnTo>
                    <a:pt x="6626" y="3492"/>
                  </a:lnTo>
                  <a:lnTo>
                    <a:pt x="6624" y="3498"/>
                  </a:lnTo>
                  <a:lnTo>
                    <a:pt x="6620" y="3505"/>
                  </a:lnTo>
                  <a:lnTo>
                    <a:pt x="6614" y="3510"/>
                  </a:lnTo>
                  <a:lnTo>
                    <a:pt x="6605" y="3511"/>
                  </a:lnTo>
                  <a:lnTo>
                    <a:pt x="6472" y="3511"/>
                  </a:lnTo>
                  <a:lnTo>
                    <a:pt x="6464" y="3510"/>
                  </a:lnTo>
                  <a:lnTo>
                    <a:pt x="6458" y="3505"/>
                  </a:lnTo>
                  <a:lnTo>
                    <a:pt x="6454" y="3498"/>
                  </a:lnTo>
                  <a:lnTo>
                    <a:pt x="6452" y="3492"/>
                  </a:lnTo>
                  <a:lnTo>
                    <a:pt x="6454" y="3484"/>
                  </a:lnTo>
                  <a:lnTo>
                    <a:pt x="6458" y="3478"/>
                  </a:lnTo>
                  <a:lnTo>
                    <a:pt x="6464" y="3473"/>
                  </a:lnTo>
                  <a:lnTo>
                    <a:pt x="6472" y="3471"/>
                  </a:lnTo>
                  <a:close/>
                  <a:moveTo>
                    <a:pt x="6709" y="3471"/>
                  </a:moveTo>
                  <a:lnTo>
                    <a:pt x="6842" y="3471"/>
                  </a:lnTo>
                  <a:lnTo>
                    <a:pt x="6851" y="3473"/>
                  </a:lnTo>
                  <a:lnTo>
                    <a:pt x="6858" y="3478"/>
                  </a:lnTo>
                  <a:lnTo>
                    <a:pt x="6861" y="3484"/>
                  </a:lnTo>
                  <a:lnTo>
                    <a:pt x="6863" y="3492"/>
                  </a:lnTo>
                  <a:lnTo>
                    <a:pt x="6861" y="3498"/>
                  </a:lnTo>
                  <a:lnTo>
                    <a:pt x="6858" y="3505"/>
                  </a:lnTo>
                  <a:lnTo>
                    <a:pt x="6851" y="3510"/>
                  </a:lnTo>
                  <a:lnTo>
                    <a:pt x="6842" y="3511"/>
                  </a:lnTo>
                  <a:lnTo>
                    <a:pt x="6709" y="3511"/>
                  </a:lnTo>
                  <a:lnTo>
                    <a:pt x="6700" y="3510"/>
                  </a:lnTo>
                  <a:lnTo>
                    <a:pt x="6693" y="3505"/>
                  </a:lnTo>
                  <a:lnTo>
                    <a:pt x="6690" y="3498"/>
                  </a:lnTo>
                  <a:lnTo>
                    <a:pt x="6688" y="3492"/>
                  </a:lnTo>
                  <a:lnTo>
                    <a:pt x="6690" y="3484"/>
                  </a:lnTo>
                  <a:lnTo>
                    <a:pt x="6693" y="3478"/>
                  </a:lnTo>
                  <a:lnTo>
                    <a:pt x="6700" y="3473"/>
                  </a:lnTo>
                  <a:lnTo>
                    <a:pt x="6709" y="3471"/>
                  </a:lnTo>
                  <a:close/>
                  <a:moveTo>
                    <a:pt x="6946" y="3471"/>
                  </a:moveTo>
                  <a:lnTo>
                    <a:pt x="7078" y="3471"/>
                  </a:lnTo>
                  <a:lnTo>
                    <a:pt x="7087" y="3473"/>
                  </a:lnTo>
                  <a:lnTo>
                    <a:pt x="7094" y="3478"/>
                  </a:lnTo>
                  <a:lnTo>
                    <a:pt x="7097" y="3484"/>
                  </a:lnTo>
                  <a:lnTo>
                    <a:pt x="7099" y="3492"/>
                  </a:lnTo>
                  <a:lnTo>
                    <a:pt x="7097" y="3498"/>
                  </a:lnTo>
                  <a:lnTo>
                    <a:pt x="7094" y="3505"/>
                  </a:lnTo>
                  <a:lnTo>
                    <a:pt x="7087" y="3510"/>
                  </a:lnTo>
                  <a:lnTo>
                    <a:pt x="7078" y="3511"/>
                  </a:lnTo>
                  <a:lnTo>
                    <a:pt x="6946" y="3511"/>
                  </a:lnTo>
                  <a:lnTo>
                    <a:pt x="6937" y="3510"/>
                  </a:lnTo>
                  <a:lnTo>
                    <a:pt x="6931" y="3505"/>
                  </a:lnTo>
                  <a:lnTo>
                    <a:pt x="6927" y="3498"/>
                  </a:lnTo>
                  <a:lnTo>
                    <a:pt x="6926" y="3492"/>
                  </a:lnTo>
                  <a:lnTo>
                    <a:pt x="6927" y="3484"/>
                  </a:lnTo>
                  <a:lnTo>
                    <a:pt x="6931" y="3478"/>
                  </a:lnTo>
                  <a:lnTo>
                    <a:pt x="6937" y="3473"/>
                  </a:lnTo>
                  <a:lnTo>
                    <a:pt x="6946" y="3471"/>
                  </a:lnTo>
                  <a:close/>
                  <a:moveTo>
                    <a:pt x="6236" y="3735"/>
                  </a:moveTo>
                  <a:lnTo>
                    <a:pt x="6369" y="3735"/>
                  </a:lnTo>
                  <a:lnTo>
                    <a:pt x="6378" y="3736"/>
                  </a:lnTo>
                  <a:lnTo>
                    <a:pt x="6384" y="3741"/>
                  </a:lnTo>
                  <a:lnTo>
                    <a:pt x="6387" y="3748"/>
                  </a:lnTo>
                  <a:lnTo>
                    <a:pt x="6388" y="3754"/>
                  </a:lnTo>
                  <a:lnTo>
                    <a:pt x="6387" y="3762"/>
                  </a:lnTo>
                  <a:lnTo>
                    <a:pt x="6384" y="3768"/>
                  </a:lnTo>
                  <a:lnTo>
                    <a:pt x="6378" y="3773"/>
                  </a:lnTo>
                  <a:lnTo>
                    <a:pt x="6369" y="3774"/>
                  </a:lnTo>
                  <a:lnTo>
                    <a:pt x="6236" y="3774"/>
                  </a:lnTo>
                  <a:lnTo>
                    <a:pt x="6227" y="3773"/>
                  </a:lnTo>
                  <a:lnTo>
                    <a:pt x="6220" y="3768"/>
                  </a:lnTo>
                  <a:lnTo>
                    <a:pt x="6216" y="3762"/>
                  </a:lnTo>
                  <a:lnTo>
                    <a:pt x="6215" y="3754"/>
                  </a:lnTo>
                  <a:lnTo>
                    <a:pt x="6216" y="3748"/>
                  </a:lnTo>
                  <a:lnTo>
                    <a:pt x="6220" y="3741"/>
                  </a:lnTo>
                  <a:lnTo>
                    <a:pt x="6227" y="3736"/>
                  </a:lnTo>
                  <a:lnTo>
                    <a:pt x="6236" y="3735"/>
                  </a:lnTo>
                  <a:close/>
                  <a:moveTo>
                    <a:pt x="6472" y="3735"/>
                  </a:moveTo>
                  <a:lnTo>
                    <a:pt x="6605" y="3735"/>
                  </a:lnTo>
                  <a:lnTo>
                    <a:pt x="6614" y="3736"/>
                  </a:lnTo>
                  <a:lnTo>
                    <a:pt x="6620" y="3741"/>
                  </a:lnTo>
                  <a:lnTo>
                    <a:pt x="6624" y="3748"/>
                  </a:lnTo>
                  <a:lnTo>
                    <a:pt x="6626" y="3754"/>
                  </a:lnTo>
                  <a:lnTo>
                    <a:pt x="6624" y="3762"/>
                  </a:lnTo>
                  <a:lnTo>
                    <a:pt x="6620" y="3768"/>
                  </a:lnTo>
                  <a:lnTo>
                    <a:pt x="6614" y="3773"/>
                  </a:lnTo>
                  <a:lnTo>
                    <a:pt x="6605" y="3774"/>
                  </a:lnTo>
                  <a:lnTo>
                    <a:pt x="6472" y="3774"/>
                  </a:lnTo>
                  <a:lnTo>
                    <a:pt x="6464" y="3773"/>
                  </a:lnTo>
                  <a:lnTo>
                    <a:pt x="6458" y="3768"/>
                  </a:lnTo>
                  <a:lnTo>
                    <a:pt x="6454" y="3762"/>
                  </a:lnTo>
                  <a:lnTo>
                    <a:pt x="6452" y="3754"/>
                  </a:lnTo>
                  <a:lnTo>
                    <a:pt x="6454" y="3748"/>
                  </a:lnTo>
                  <a:lnTo>
                    <a:pt x="6458" y="3741"/>
                  </a:lnTo>
                  <a:lnTo>
                    <a:pt x="6464" y="3736"/>
                  </a:lnTo>
                  <a:lnTo>
                    <a:pt x="6472" y="3735"/>
                  </a:lnTo>
                  <a:close/>
                  <a:moveTo>
                    <a:pt x="6709" y="3735"/>
                  </a:moveTo>
                  <a:lnTo>
                    <a:pt x="6842" y="3735"/>
                  </a:lnTo>
                  <a:lnTo>
                    <a:pt x="6851" y="3736"/>
                  </a:lnTo>
                  <a:lnTo>
                    <a:pt x="6858" y="3741"/>
                  </a:lnTo>
                  <a:lnTo>
                    <a:pt x="6861" y="3748"/>
                  </a:lnTo>
                  <a:lnTo>
                    <a:pt x="6863" y="3754"/>
                  </a:lnTo>
                  <a:lnTo>
                    <a:pt x="6861" y="3762"/>
                  </a:lnTo>
                  <a:lnTo>
                    <a:pt x="6858" y="3768"/>
                  </a:lnTo>
                  <a:lnTo>
                    <a:pt x="6851" y="3773"/>
                  </a:lnTo>
                  <a:lnTo>
                    <a:pt x="6842" y="3774"/>
                  </a:lnTo>
                  <a:lnTo>
                    <a:pt x="6709" y="3774"/>
                  </a:lnTo>
                  <a:lnTo>
                    <a:pt x="6700" y="3773"/>
                  </a:lnTo>
                  <a:lnTo>
                    <a:pt x="6693" y="3768"/>
                  </a:lnTo>
                  <a:lnTo>
                    <a:pt x="6690" y="3762"/>
                  </a:lnTo>
                  <a:lnTo>
                    <a:pt x="6688" y="3754"/>
                  </a:lnTo>
                  <a:lnTo>
                    <a:pt x="6690" y="3748"/>
                  </a:lnTo>
                  <a:lnTo>
                    <a:pt x="6693" y="3741"/>
                  </a:lnTo>
                  <a:lnTo>
                    <a:pt x="6700" y="3736"/>
                  </a:lnTo>
                  <a:lnTo>
                    <a:pt x="6709" y="3735"/>
                  </a:lnTo>
                  <a:close/>
                  <a:moveTo>
                    <a:pt x="6946" y="3735"/>
                  </a:moveTo>
                  <a:lnTo>
                    <a:pt x="7078" y="3735"/>
                  </a:lnTo>
                  <a:lnTo>
                    <a:pt x="7087" y="3736"/>
                  </a:lnTo>
                  <a:lnTo>
                    <a:pt x="7094" y="3741"/>
                  </a:lnTo>
                  <a:lnTo>
                    <a:pt x="7097" y="3748"/>
                  </a:lnTo>
                  <a:lnTo>
                    <a:pt x="7099" y="3754"/>
                  </a:lnTo>
                  <a:lnTo>
                    <a:pt x="7097" y="3762"/>
                  </a:lnTo>
                  <a:lnTo>
                    <a:pt x="7094" y="3768"/>
                  </a:lnTo>
                  <a:lnTo>
                    <a:pt x="7087" y="3773"/>
                  </a:lnTo>
                  <a:lnTo>
                    <a:pt x="7078" y="3774"/>
                  </a:lnTo>
                  <a:lnTo>
                    <a:pt x="6946" y="3774"/>
                  </a:lnTo>
                  <a:lnTo>
                    <a:pt x="6937" y="3773"/>
                  </a:lnTo>
                  <a:lnTo>
                    <a:pt x="6931" y="3768"/>
                  </a:lnTo>
                  <a:lnTo>
                    <a:pt x="6927" y="3762"/>
                  </a:lnTo>
                  <a:lnTo>
                    <a:pt x="6926" y="3754"/>
                  </a:lnTo>
                  <a:lnTo>
                    <a:pt x="6927" y="3748"/>
                  </a:lnTo>
                  <a:lnTo>
                    <a:pt x="6931" y="3741"/>
                  </a:lnTo>
                  <a:lnTo>
                    <a:pt x="6937" y="3736"/>
                  </a:lnTo>
                  <a:lnTo>
                    <a:pt x="6946" y="3735"/>
                  </a:lnTo>
                  <a:close/>
                  <a:moveTo>
                    <a:pt x="6236" y="3997"/>
                  </a:moveTo>
                  <a:lnTo>
                    <a:pt x="6369" y="3997"/>
                  </a:lnTo>
                  <a:lnTo>
                    <a:pt x="6378" y="3999"/>
                  </a:lnTo>
                  <a:lnTo>
                    <a:pt x="6384" y="4003"/>
                  </a:lnTo>
                  <a:lnTo>
                    <a:pt x="6387" y="4010"/>
                  </a:lnTo>
                  <a:lnTo>
                    <a:pt x="6388" y="4017"/>
                  </a:lnTo>
                  <a:lnTo>
                    <a:pt x="6387" y="4025"/>
                  </a:lnTo>
                  <a:lnTo>
                    <a:pt x="6384" y="4031"/>
                  </a:lnTo>
                  <a:lnTo>
                    <a:pt x="6378" y="4035"/>
                  </a:lnTo>
                  <a:lnTo>
                    <a:pt x="6369" y="4038"/>
                  </a:lnTo>
                  <a:lnTo>
                    <a:pt x="6236" y="4038"/>
                  </a:lnTo>
                  <a:lnTo>
                    <a:pt x="6227" y="4035"/>
                  </a:lnTo>
                  <a:lnTo>
                    <a:pt x="6220" y="4031"/>
                  </a:lnTo>
                  <a:lnTo>
                    <a:pt x="6216" y="4025"/>
                  </a:lnTo>
                  <a:lnTo>
                    <a:pt x="6215" y="4017"/>
                  </a:lnTo>
                  <a:lnTo>
                    <a:pt x="6216" y="4010"/>
                  </a:lnTo>
                  <a:lnTo>
                    <a:pt x="6220" y="4003"/>
                  </a:lnTo>
                  <a:lnTo>
                    <a:pt x="6227" y="3999"/>
                  </a:lnTo>
                  <a:lnTo>
                    <a:pt x="6236" y="3997"/>
                  </a:lnTo>
                  <a:close/>
                  <a:moveTo>
                    <a:pt x="6472" y="3997"/>
                  </a:moveTo>
                  <a:lnTo>
                    <a:pt x="6605" y="3997"/>
                  </a:lnTo>
                  <a:lnTo>
                    <a:pt x="6614" y="3999"/>
                  </a:lnTo>
                  <a:lnTo>
                    <a:pt x="6620" y="4003"/>
                  </a:lnTo>
                  <a:lnTo>
                    <a:pt x="6624" y="4010"/>
                  </a:lnTo>
                  <a:lnTo>
                    <a:pt x="6626" y="4017"/>
                  </a:lnTo>
                  <a:lnTo>
                    <a:pt x="6624" y="4025"/>
                  </a:lnTo>
                  <a:lnTo>
                    <a:pt x="6620" y="4031"/>
                  </a:lnTo>
                  <a:lnTo>
                    <a:pt x="6614" y="4035"/>
                  </a:lnTo>
                  <a:lnTo>
                    <a:pt x="6605" y="4038"/>
                  </a:lnTo>
                  <a:lnTo>
                    <a:pt x="6472" y="4038"/>
                  </a:lnTo>
                  <a:lnTo>
                    <a:pt x="6464" y="4035"/>
                  </a:lnTo>
                  <a:lnTo>
                    <a:pt x="6458" y="4031"/>
                  </a:lnTo>
                  <a:lnTo>
                    <a:pt x="6454" y="4025"/>
                  </a:lnTo>
                  <a:lnTo>
                    <a:pt x="6452" y="4017"/>
                  </a:lnTo>
                  <a:lnTo>
                    <a:pt x="6454" y="4010"/>
                  </a:lnTo>
                  <a:lnTo>
                    <a:pt x="6458" y="4003"/>
                  </a:lnTo>
                  <a:lnTo>
                    <a:pt x="6464" y="3999"/>
                  </a:lnTo>
                  <a:lnTo>
                    <a:pt x="6472" y="3997"/>
                  </a:lnTo>
                  <a:close/>
                  <a:moveTo>
                    <a:pt x="6709" y="3997"/>
                  </a:moveTo>
                  <a:lnTo>
                    <a:pt x="6842" y="3997"/>
                  </a:lnTo>
                  <a:lnTo>
                    <a:pt x="6851" y="3999"/>
                  </a:lnTo>
                  <a:lnTo>
                    <a:pt x="6858" y="4003"/>
                  </a:lnTo>
                  <a:lnTo>
                    <a:pt x="6861" y="4010"/>
                  </a:lnTo>
                  <a:lnTo>
                    <a:pt x="6863" y="4017"/>
                  </a:lnTo>
                  <a:lnTo>
                    <a:pt x="6861" y="4025"/>
                  </a:lnTo>
                  <a:lnTo>
                    <a:pt x="6858" y="4031"/>
                  </a:lnTo>
                  <a:lnTo>
                    <a:pt x="6851" y="4035"/>
                  </a:lnTo>
                  <a:lnTo>
                    <a:pt x="6842" y="4038"/>
                  </a:lnTo>
                  <a:lnTo>
                    <a:pt x="6709" y="4038"/>
                  </a:lnTo>
                  <a:lnTo>
                    <a:pt x="6700" y="4035"/>
                  </a:lnTo>
                  <a:lnTo>
                    <a:pt x="6693" y="4031"/>
                  </a:lnTo>
                  <a:lnTo>
                    <a:pt x="6690" y="4025"/>
                  </a:lnTo>
                  <a:lnTo>
                    <a:pt x="6688" y="4017"/>
                  </a:lnTo>
                  <a:lnTo>
                    <a:pt x="6690" y="4010"/>
                  </a:lnTo>
                  <a:lnTo>
                    <a:pt x="6693" y="4003"/>
                  </a:lnTo>
                  <a:lnTo>
                    <a:pt x="6700" y="3999"/>
                  </a:lnTo>
                  <a:lnTo>
                    <a:pt x="6709" y="3997"/>
                  </a:lnTo>
                  <a:close/>
                  <a:moveTo>
                    <a:pt x="6946" y="3997"/>
                  </a:moveTo>
                  <a:lnTo>
                    <a:pt x="7078" y="3997"/>
                  </a:lnTo>
                  <a:lnTo>
                    <a:pt x="7087" y="3999"/>
                  </a:lnTo>
                  <a:lnTo>
                    <a:pt x="7094" y="4003"/>
                  </a:lnTo>
                  <a:lnTo>
                    <a:pt x="7097" y="4010"/>
                  </a:lnTo>
                  <a:lnTo>
                    <a:pt x="7099" y="4017"/>
                  </a:lnTo>
                  <a:lnTo>
                    <a:pt x="7097" y="4025"/>
                  </a:lnTo>
                  <a:lnTo>
                    <a:pt x="7094" y="4031"/>
                  </a:lnTo>
                  <a:lnTo>
                    <a:pt x="7087" y="4035"/>
                  </a:lnTo>
                  <a:lnTo>
                    <a:pt x="7078" y="4038"/>
                  </a:lnTo>
                  <a:lnTo>
                    <a:pt x="6946" y="4038"/>
                  </a:lnTo>
                  <a:lnTo>
                    <a:pt x="6937" y="4035"/>
                  </a:lnTo>
                  <a:lnTo>
                    <a:pt x="6931" y="4031"/>
                  </a:lnTo>
                  <a:lnTo>
                    <a:pt x="6927" y="4025"/>
                  </a:lnTo>
                  <a:lnTo>
                    <a:pt x="6926" y="4017"/>
                  </a:lnTo>
                  <a:lnTo>
                    <a:pt x="6927" y="4010"/>
                  </a:lnTo>
                  <a:lnTo>
                    <a:pt x="6931" y="4003"/>
                  </a:lnTo>
                  <a:lnTo>
                    <a:pt x="6937" y="3999"/>
                  </a:lnTo>
                  <a:lnTo>
                    <a:pt x="6946" y="3997"/>
                  </a:lnTo>
                  <a:close/>
                  <a:moveTo>
                    <a:pt x="7545" y="2941"/>
                  </a:moveTo>
                  <a:lnTo>
                    <a:pt x="7545" y="3052"/>
                  </a:lnTo>
                  <a:lnTo>
                    <a:pt x="7542" y="3061"/>
                  </a:lnTo>
                  <a:lnTo>
                    <a:pt x="7539" y="3067"/>
                  </a:lnTo>
                  <a:lnTo>
                    <a:pt x="7532" y="3071"/>
                  </a:lnTo>
                  <a:lnTo>
                    <a:pt x="7524" y="3072"/>
                  </a:lnTo>
                  <a:lnTo>
                    <a:pt x="7517" y="3071"/>
                  </a:lnTo>
                  <a:lnTo>
                    <a:pt x="7510" y="3067"/>
                  </a:lnTo>
                  <a:lnTo>
                    <a:pt x="7506" y="3061"/>
                  </a:lnTo>
                  <a:lnTo>
                    <a:pt x="7505" y="3052"/>
                  </a:lnTo>
                  <a:lnTo>
                    <a:pt x="7505" y="2941"/>
                  </a:lnTo>
                  <a:lnTo>
                    <a:pt x="7506" y="2932"/>
                  </a:lnTo>
                  <a:lnTo>
                    <a:pt x="7510" y="2925"/>
                  </a:lnTo>
                  <a:lnTo>
                    <a:pt x="7517" y="2922"/>
                  </a:lnTo>
                  <a:lnTo>
                    <a:pt x="7524" y="2920"/>
                  </a:lnTo>
                  <a:lnTo>
                    <a:pt x="7532" y="2922"/>
                  </a:lnTo>
                  <a:lnTo>
                    <a:pt x="7539" y="2925"/>
                  </a:lnTo>
                  <a:lnTo>
                    <a:pt x="7542" y="2932"/>
                  </a:lnTo>
                  <a:lnTo>
                    <a:pt x="7545" y="2941"/>
                  </a:lnTo>
                  <a:close/>
                  <a:moveTo>
                    <a:pt x="7808" y="2941"/>
                  </a:moveTo>
                  <a:lnTo>
                    <a:pt x="7808" y="3052"/>
                  </a:lnTo>
                  <a:lnTo>
                    <a:pt x="7807" y="3061"/>
                  </a:lnTo>
                  <a:lnTo>
                    <a:pt x="7801" y="3067"/>
                  </a:lnTo>
                  <a:lnTo>
                    <a:pt x="7795" y="3071"/>
                  </a:lnTo>
                  <a:lnTo>
                    <a:pt x="7787" y="3072"/>
                  </a:lnTo>
                  <a:lnTo>
                    <a:pt x="7781" y="3071"/>
                  </a:lnTo>
                  <a:lnTo>
                    <a:pt x="7774" y="3067"/>
                  </a:lnTo>
                  <a:lnTo>
                    <a:pt x="7769" y="3061"/>
                  </a:lnTo>
                  <a:lnTo>
                    <a:pt x="7768" y="3052"/>
                  </a:lnTo>
                  <a:lnTo>
                    <a:pt x="7768" y="2941"/>
                  </a:lnTo>
                  <a:lnTo>
                    <a:pt x="7769" y="2932"/>
                  </a:lnTo>
                  <a:lnTo>
                    <a:pt x="7774" y="2925"/>
                  </a:lnTo>
                  <a:lnTo>
                    <a:pt x="7781" y="2922"/>
                  </a:lnTo>
                  <a:lnTo>
                    <a:pt x="7787" y="2920"/>
                  </a:lnTo>
                  <a:lnTo>
                    <a:pt x="7795" y="2922"/>
                  </a:lnTo>
                  <a:lnTo>
                    <a:pt x="7801" y="2925"/>
                  </a:lnTo>
                  <a:lnTo>
                    <a:pt x="7807" y="2932"/>
                  </a:lnTo>
                  <a:lnTo>
                    <a:pt x="7808" y="2941"/>
                  </a:lnTo>
                  <a:close/>
                  <a:moveTo>
                    <a:pt x="8071" y="2941"/>
                  </a:moveTo>
                  <a:lnTo>
                    <a:pt x="8071" y="3052"/>
                  </a:lnTo>
                  <a:lnTo>
                    <a:pt x="8069" y="3061"/>
                  </a:lnTo>
                  <a:lnTo>
                    <a:pt x="8064" y="3067"/>
                  </a:lnTo>
                  <a:lnTo>
                    <a:pt x="8058" y="3071"/>
                  </a:lnTo>
                  <a:lnTo>
                    <a:pt x="8051" y="3072"/>
                  </a:lnTo>
                  <a:lnTo>
                    <a:pt x="8044" y="3071"/>
                  </a:lnTo>
                  <a:lnTo>
                    <a:pt x="8037" y="3067"/>
                  </a:lnTo>
                  <a:lnTo>
                    <a:pt x="8032" y="3061"/>
                  </a:lnTo>
                  <a:lnTo>
                    <a:pt x="8031" y="3052"/>
                  </a:lnTo>
                  <a:lnTo>
                    <a:pt x="8031" y="2941"/>
                  </a:lnTo>
                  <a:lnTo>
                    <a:pt x="8032" y="2932"/>
                  </a:lnTo>
                  <a:lnTo>
                    <a:pt x="8037" y="2925"/>
                  </a:lnTo>
                  <a:lnTo>
                    <a:pt x="8044" y="2922"/>
                  </a:lnTo>
                  <a:lnTo>
                    <a:pt x="8051" y="2920"/>
                  </a:lnTo>
                  <a:lnTo>
                    <a:pt x="8058" y="2922"/>
                  </a:lnTo>
                  <a:lnTo>
                    <a:pt x="8064" y="2925"/>
                  </a:lnTo>
                  <a:lnTo>
                    <a:pt x="8069" y="2932"/>
                  </a:lnTo>
                  <a:lnTo>
                    <a:pt x="8071" y="2941"/>
                  </a:lnTo>
                  <a:close/>
                  <a:moveTo>
                    <a:pt x="8334" y="2941"/>
                  </a:moveTo>
                  <a:lnTo>
                    <a:pt x="8334" y="3052"/>
                  </a:lnTo>
                  <a:lnTo>
                    <a:pt x="8332" y="3061"/>
                  </a:lnTo>
                  <a:lnTo>
                    <a:pt x="8327" y="3067"/>
                  </a:lnTo>
                  <a:lnTo>
                    <a:pt x="8322" y="3071"/>
                  </a:lnTo>
                  <a:lnTo>
                    <a:pt x="8314" y="3072"/>
                  </a:lnTo>
                  <a:lnTo>
                    <a:pt x="8307" y="3071"/>
                  </a:lnTo>
                  <a:lnTo>
                    <a:pt x="8300" y="3067"/>
                  </a:lnTo>
                  <a:lnTo>
                    <a:pt x="8296" y="3061"/>
                  </a:lnTo>
                  <a:lnTo>
                    <a:pt x="8294" y="3052"/>
                  </a:lnTo>
                  <a:lnTo>
                    <a:pt x="8294" y="2941"/>
                  </a:lnTo>
                  <a:lnTo>
                    <a:pt x="8296" y="2932"/>
                  </a:lnTo>
                  <a:lnTo>
                    <a:pt x="8300" y="2925"/>
                  </a:lnTo>
                  <a:lnTo>
                    <a:pt x="8307" y="2922"/>
                  </a:lnTo>
                  <a:lnTo>
                    <a:pt x="8314" y="2920"/>
                  </a:lnTo>
                  <a:lnTo>
                    <a:pt x="8322" y="2922"/>
                  </a:lnTo>
                  <a:lnTo>
                    <a:pt x="8327" y="2925"/>
                  </a:lnTo>
                  <a:lnTo>
                    <a:pt x="8332" y="2932"/>
                  </a:lnTo>
                  <a:lnTo>
                    <a:pt x="8334" y="2941"/>
                  </a:lnTo>
                  <a:close/>
                  <a:moveTo>
                    <a:pt x="8598" y="2941"/>
                  </a:moveTo>
                  <a:lnTo>
                    <a:pt x="8598" y="3052"/>
                  </a:lnTo>
                  <a:lnTo>
                    <a:pt x="8595" y="3061"/>
                  </a:lnTo>
                  <a:lnTo>
                    <a:pt x="8591" y="3067"/>
                  </a:lnTo>
                  <a:lnTo>
                    <a:pt x="8585" y="3071"/>
                  </a:lnTo>
                  <a:lnTo>
                    <a:pt x="8577" y="3072"/>
                  </a:lnTo>
                  <a:lnTo>
                    <a:pt x="8569" y="3071"/>
                  </a:lnTo>
                  <a:lnTo>
                    <a:pt x="8563" y="3067"/>
                  </a:lnTo>
                  <a:lnTo>
                    <a:pt x="8559" y="3061"/>
                  </a:lnTo>
                  <a:lnTo>
                    <a:pt x="8557" y="3052"/>
                  </a:lnTo>
                  <a:lnTo>
                    <a:pt x="8557" y="2941"/>
                  </a:lnTo>
                  <a:lnTo>
                    <a:pt x="8559" y="2932"/>
                  </a:lnTo>
                  <a:lnTo>
                    <a:pt x="8563" y="2925"/>
                  </a:lnTo>
                  <a:lnTo>
                    <a:pt x="8569" y="2922"/>
                  </a:lnTo>
                  <a:lnTo>
                    <a:pt x="8577" y="2920"/>
                  </a:lnTo>
                  <a:lnTo>
                    <a:pt x="8585" y="2922"/>
                  </a:lnTo>
                  <a:lnTo>
                    <a:pt x="8591" y="2925"/>
                  </a:lnTo>
                  <a:lnTo>
                    <a:pt x="8595" y="2932"/>
                  </a:lnTo>
                  <a:lnTo>
                    <a:pt x="8598" y="2941"/>
                  </a:lnTo>
                  <a:close/>
                  <a:moveTo>
                    <a:pt x="8861" y="2941"/>
                  </a:moveTo>
                  <a:lnTo>
                    <a:pt x="8861" y="3052"/>
                  </a:lnTo>
                  <a:lnTo>
                    <a:pt x="8858" y="3061"/>
                  </a:lnTo>
                  <a:lnTo>
                    <a:pt x="8854" y="3067"/>
                  </a:lnTo>
                  <a:lnTo>
                    <a:pt x="8848" y="3071"/>
                  </a:lnTo>
                  <a:lnTo>
                    <a:pt x="8840" y="3072"/>
                  </a:lnTo>
                  <a:lnTo>
                    <a:pt x="8832" y="3071"/>
                  </a:lnTo>
                  <a:lnTo>
                    <a:pt x="8826" y="3067"/>
                  </a:lnTo>
                  <a:lnTo>
                    <a:pt x="8822" y="3061"/>
                  </a:lnTo>
                  <a:lnTo>
                    <a:pt x="8821" y="3052"/>
                  </a:lnTo>
                  <a:lnTo>
                    <a:pt x="8821" y="2941"/>
                  </a:lnTo>
                  <a:lnTo>
                    <a:pt x="8822" y="2932"/>
                  </a:lnTo>
                  <a:lnTo>
                    <a:pt x="8826" y="2925"/>
                  </a:lnTo>
                  <a:lnTo>
                    <a:pt x="8832" y="2922"/>
                  </a:lnTo>
                  <a:lnTo>
                    <a:pt x="8840" y="2920"/>
                  </a:lnTo>
                  <a:lnTo>
                    <a:pt x="8848" y="2922"/>
                  </a:lnTo>
                  <a:lnTo>
                    <a:pt x="8854" y="2925"/>
                  </a:lnTo>
                  <a:lnTo>
                    <a:pt x="8858" y="2932"/>
                  </a:lnTo>
                  <a:lnTo>
                    <a:pt x="8861" y="2941"/>
                  </a:lnTo>
                  <a:close/>
                  <a:moveTo>
                    <a:pt x="7545" y="3186"/>
                  </a:moveTo>
                  <a:lnTo>
                    <a:pt x="7545" y="3299"/>
                  </a:lnTo>
                  <a:lnTo>
                    <a:pt x="7542" y="3308"/>
                  </a:lnTo>
                  <a:lnTo>
                    <a:pt x="7539" y="3314"/>
                  </a:lnTo>
                  <a:lnTo>
                    <a:pt x="7532" y="3318"/>
                  </a:lnTo>
                  <a:lnTo>
                    <a:pt x="7524" y="3319"/>
                  </a:lnTo>
                  <a:lnTo>
                    <a:pt x="7517" y="3318"/>
                  </a:lnTo>
                  <a:lnTo>
                    <a:pt x="7510" y="3314"/>
                  </a:lnTo>
                  <a:lnTo>
                    <a:pt x="7506" y="3308"/>
                  </a:lnTo>
                  <a:lnTo>
                    <a:pt x="7505" y="3299"/>
                  </a:lnTo>
                  <a:lnTo>
                    <a:pt x="7505" y="3186"/>
                  </a:lnTo>
                  <a:lnTo>
                    <a:pt x="7506" y="3179"/>
                  </a:lnTo>
                  <a:lnTo>
                    <a:pt x="7510" y="3172"/>
                  </a:lnTo>
                  <a:lnTo>
                    <a:pt x="7517" y="3168"/>
                  </a:lnTo>
                  <a:lnTo>
                    <a:pt x="7524" y="3167"/>
                  </a:lnTo>
                  <a:lnTo>
                    <a:pt x="7532" y="3168"/>
                  </a:lnTo>
                  <a:lnTo>
                    <a:pt x="7539" y="3172"/>
                  </a:lnTo>
                  <a:lnTo>
                    <a:pt x="7542" y="3179"/>
                  </a:lnTo>
                  <a:lnTo>
                    <a:pt x="7545" y="3186"/>
                  </a:lnTo>
                  <a:close/>
                  <a:moveTo>
                    <a:pt x="7808" y="3186"/>
                  </a:moveTo>
                  <a:lnTo>
                    <a:pt x="7808" y="3299"/>
                  </a:lnTo>
                  <a:lnTo>
                    <a:pt x="7807" y="3308"/>
                  </a:lnTo>
                  <a:lnTo>
                    <a:pt x="7801" y="3314"/>
                  </a:lnTo>
                  <a:lnTo>
                    <a:pt x="7795" y="3318"/>
                  </a:lnTo>
                  <a:lnTo>
                    <a:pt x="7787" y="3319"/>
                  </a:lnTo>
                  <a:lnTo>
                    <a:pt x="7781" y="3318"/>
                  </a:lnTo>
                  <a:lnTo>
                    <a:pt x="7774" y="3314"/>
                  </a:lnTo>
                  <a:lnTo>
                    <a:pt x="7769" y="3308"/>
                  </a:lnTo>
                  <a:lnTo>
                    <a:pt x="7768" y="3299"/>
                  </a:lnTo>
                  <a:lnTo>
                    <a:pt x="7768" y="3186"/>
                  </a:lnTo>
                  <a:lnTo>
                    <a:pt x="7769" y="3179"/>
                  </a:lnTo>
                  <a:lnTo>
                    <a:pt x="7774" y="3172"/>
                  </a:lnTo>
                  <a:lnTo>
                    <a:pt x="7781" y="3168"/>
                  </a:lnTo>
                  <a:lnTo>
                    <a:pt x="7787" y="3167"/>
                  </a:lnTo>
                  <a:lnTo>
                    <a:pt x="7795" y="3168"/>
                  </a:lnTo>
                  <a:lnTo>
                    <a:pt x="7801" y="3172"/>
                  </a:lnTo>
                  <a:lnTo>
                    <a:pt x="7807" y="3179"/>
                  </a:lnTo>
                  <a:lnTo>
                    <a:pt x="7808" y="3186"/>
                  </a:lnTo>
                  <a:close/>
                  <a:moveTo>
                    <a:pt x="8071" y="3186"/>
                  </a:moveTo>
                  <a:lnTo>
                    <a:pt x="8071" y="3299"/>
                  </a:lnTo>
                  <a:lnTo>
                    <a:pt x="8069" y="3308"/>
                  </a:lnTo>
                  <a:lnTo>
                    <a:pt x="8064" y="3314"/>
                  </a:lnTo>
                  <a:lnTo>
                    <a:pt x="8058" y="3318"/>
                  </a:lnTo>
                  <a:lnTo>
                    <a:pt x="8051" y="3319"/>
                  </a:lnTo>
                  <a:lnTo>
                    <a:pt x="8044" y="3318"/>
                  </a:lnTo>
                  <a:lnTo>
                    <a:pt x="8037" y="3314"/>
                  </a:lnTo>
                  <a:lnTo>
                    <a:pt x="8032" y="3308"/>
                  </a:lnTo>
                  <a:lnTo>
                    <a:pt x="8031" y="3299"/>
                  </a:lnTo>
                  <a:lnTo>
                    <a:pt x="8031" y="3186"/>
                  </a:lnTo>
                  <a:lnTo>
                    <a:pt x="8032" y="3179"/>
                  </a:lnTo>
                  <a:lnTo>
                    <a:pt x="8037" y="3172"/>
                  </a:lnTo>
                  <a:lnTo>
                    <a:pt x="8044" y="3168"/>
                  </a:lnTo>
                  <a:lnTo>
                    <a:pt x="8051" y="3167"/>
                  </a:lnTo>
                  <a:lnTo>
                    <a:pt x="8058" y="3168"/>
                  </a:lnTo>
                  <a:lnTo>
                    <a:pt x="8064" y="3172"/>
                  </a:lnTo>
                  <a:lnTo>
                    <a:pt x="8069" y="3179"/>
                  </a:lnTo>
                  <a:lnTo>
                    <a:pt x="8071" y="3186"/>
                  </a:lnTo>
                  <a:close/>
                  <a:moveTo>
                    <a:pt x="8334" y="3186"/>
                  </a:moveTo>
                  <a:lnTo>
                    <a:pt x="8334" y="3299"/>
                  </a:lnTo>
                  <a:lnTo>
                    <a:pt x="8332" y="3308"/>
                  </a:lnTo>
                  <a:lnTo>
                    <a:pt x="8327" y="3314"/>
                  </a:lnTo>
                  <a:lnTo>
                    <a:pt x="8322" y="3318"/>
                  </a:lnTo>
                  <a:lnTo>
                    <a:pt x="8314" y="3319"/>
                  </a:lnTo>
                  <a:lnTo>
                    <a:pt x="8307" y="3318"/>
                  </a:lnTo>
                  <a:lnTo>
                    <a:pt x="8300" y="3314"/>
                  </a:lnTo>
                  <a:lnTo>
                    <a:pt x="8296" y="3308"/>
                  </a:lnTo>
                  <a:lnTo>
                    <a:pt x="8294" y="3299"/>
                  </a:lnTo>
                  <a:lnTo>
                    <a:pt x="8294" y="3186"/>
                  </a:lnTo>
                  <a:lnTo>
                    <a:pt x="8296" y="3179"/>
                  </a:lnTo>
                  <a:lnTo>
                    <a:pt x="8300" y="3172"/>
                  </a:lnTo>
                  <a:lnTo>
                    <a:pt x="8307" y="3168"/>
                  </a:lnTo>
                  <a:lnTo>
                    <a:pt x="8314" y="3167"/>
                  </a:lnTo>
                  <a:lnTo>
                    <a:pt x="8322" y="3168"/>
                  </a:lnTo>
                  <a:lnTo>
                    <a:pt x="8327" y="3172"/>
                  </a:lnTo>
                  <a:lnTo>
                    <a:pt x="8332" y="3179"/>
                  </a:lnTo>
                  <a:lnTo>
                    <a:pt x="8334" y="3186"/>
                  </a:lnTo>
                  <a:close/>
                  <a:moveTo>
                    <a:pt x="8598" y="3186"/>
                  </a:moveTo>
                  <a:lnTo>
                    <a:pt x="8598" y="3299"/>
                  </a:lnTo>
                  <a:lnTo>
                    <a:pt x="8595" y="3308"/>
                  </a:lnTo>
                  <a:lnTo>
                    <a:pt x="8591" y="3314"/>
                  </a:lnTo>
                  <a:lnTo>
                    <a:pt x="8585" y="3318"/>
                  </a:lnTo>
                  <a:lnTo>
                    <a:pt x="8577" y="3319"/>
                  </a:lnTo>
                  <a:lnTo>
                    <a:pt x="8569" y="3318"/>
                  </a:lnTo>
                  <a:lnTo>
                    <a:pt x="8563" y="3314"/>
                  </a:lnTo>
                  <a:lnTo>
                    <a:pt x="8559" y="3308"/>
                  </a:lnTo>
                  <a:lnTo>
                    <a:pt x="8557" y="3299"/>
                  </a:lnTo>
                  <a:lnTo>
                    <a:pt x="8557" y="3186"/>
                  </a:lnTo>
                  <a:lnTo>
                    <a:pt x="8559" y="3179"/>
                  </a:lnTo>
                  <a:lnTo>
                    <a:pt x="8563" y="3172"/>
                  </a:lnTo>
                  <a:lnTo>
                    <a:pt x="8569" y="3168"/>
                  </a:lnTo>
                  <a:lnTo>
                    <a:pt x="8577" y="3167"/>
                  </a:lnTo>
                  <a:lnTo>
                    <a:pt x="8585" y="3168"/>
                  </a:lnTo>
                  <a:lnTo>
                    <a:pt x="8591" y="3172"/>
                  </a:lnTo>
                  <a:lnTo>
                    <a:pt x="8595" y="3179"/>
                  </a:lnTo>
                  <a:lnTo>
                    <a:pt x="8598" y="3186"/>
                  </a:lnTo>
                  <a:close/>
                  <a:moveTo>
                    <a:pt x="8861" y="3186"/>
                  </a:moveTo>
                  <a:lnTo>
                    <a:pt x="8861" y="3299"/>
                  </a:lnTo>
                  <a:lnTo>
                    <a:pt x="8858" y="3308"/>
                  </a:lnTo>
                  <a:lnTo>
                    <a:pt x="8854" y="3314"/>
                  </a:lnTo>
                  <a:lnTo>
                    <a:pt x="8848" y="3318"/>
                  </a:lnTo>
                  <a:lnTo>
                    <a:pt x="8840" y="3319"/>
                  </a:lnTo>
                  <a:lnTo>
                    <a:pt x="8832" y="3318"/>
                  </a:lnTo>
                  <a:lnTo>
                    <a:pt x="8826" y="3314"/>
                  </a:lnTo>
                  <a:lnTo>
                    <a:pt x="8822" y="3308"/>
                  </a:lnTo>
                  <a:lnTo>
                    <a:pt x="8821" y="3299"/>
                  </a:lnTo>
                  <a:lnTo>
                    <a:pt x="8821" y="3186"/>
                  </a:lnTo>
                  <a:lnTo>
                    <a:pt x="8822" y="3179"/>
                  </a:lnTo>
                  <a:lnTo>
                    <a:pt x="8826" y="3172"/>
                  </a:lnTo>
                  <a:lnTo>
                    <a:pt x="8832" y="3168"/>
                  </a:lnTo>
                  <a:lnTo>
                    <a:pt x="8840" y="3167"/>
                  </a:lnTo>
                  <a:lnTo>
                    <a:pt x="8848" y="3168"/>
                  </a:lnTo>
                  <a:lnTo>
                    <a:pt x="8854" y="3172"/>
                  </a:lnTo>
                  <a:lnTo>
                    <a:pt x="8858" y="3179"/>
                  </a:lnTo>
                  <a:lnTo>
                    <a:pt x="8861" y="3186"/>
                  </a:lnTo>
                  <a:close/>
                  <a:moveTo>
                    <a:pt x="7545" y="3433"/>
                  </a:moveTo>
                  <a:lnTo>
                    <a:pt x="7545" y="3546"/>
                  </a:lnTo>
                  <a:lnTo>
                    <a:pt x="7542" y="3554"/>
                  </a:lnTo>
                  <a:lnTo>
                    <a:pt x="7539" y="3561"/>
                  </a:lnTo>
                  <a:lnTo>
                    <a:pt x="7532" y="3565"/>
                  </a:lnTo>
                  <a:lnTo>
                    <a:pt x="7524" y="3565"/>
                  </a:lnTo>
                  <a:lnTo>
                    <a:pt x="7517" y="3565"/>
                  </a:lnTo>
                  <a:lnTo>
                    <a:pt x="7510" y="3561"/>
                  </a:lnTo>
                  <a:lnTo>
                    <a:pt x="7506" y="3554"/>
                  </a:lnTo>
                  <a:lnTo>
                    <a:pt x="7505" y="3546"/>
                  </a:lnTo>
                  <a:lnTo>
                    <a:pt x="7505" y="3433"/>
                  </a:lnTo>
                  <a:lnTo>
                    <a:pt x="7506" y="3424"/>
                  </a:lnTo>
                  <a:lnTo>
                    <a:pt x="7510" y="3419"/>
                  </a:lnTo>
                  <a:lnTo>
                    <a:pt x="7517" y="3415"/>
                  </a:lnTo>
                  <a:lnTo>
                    <a:pt x="7524" y="3414"/>
                  </a:lnTo>
                  <a:lnTo>
                    <a:pt x="7532" y="3415"/>
                  </a:lnTo>
                  <a:lnTo>
                    <a:pt x="7539" y="3419"/>
                  </a:lnTo>
                  <a:lnTo>
                    <a:pt x="7542" y="3424"/>
                  </a:lnTo>
                  <a:lnTo>
                    <a:pt x="7545" y="3433"/>
                  </a:lnTo>
                  <a:close/>
                  <a:moveTo>
                    <a:pt x="7808" y="3433"/>
                  </a:moveTo>
                  <a:lnTo>
                    <a:pt x="7808" y="3546"/>
                  </a:lnTo>
                  <a:lnTo>
                    <a:pt x="7807" y="3554"/>
                  </a:lnTo>
                  <a:lnTo>
                    <a:pt x="7801" y="3561"/>
                  </a:lnTo>
                  <a:lnTo>
                    <a:pt x="7795" y="3565"/>
                  </a:lnTo>
                  <a:lnTo>
                    <a:pt x="7787" y="3565"/>
                  </a:lnTo>
                  <a:lnTo>
                    <a:pt x="7781" y="3565"/>
                  </a:lnTo>
                  <a:lnTo>
                    <a:pt x="7774" y="3561"/>
                  </a:lnTo>
                  <a:lnTo>
                    <a:pt x="7769" y="3554"/>
                  </a:lnTo>
                  <a:lnTo>
                    <a:pt x="7768" y="3546"/>
                  </a:lnTo>
                  <a:lnTo>
                    <a:pt x="7768" y="3433"/>
                  </a:lnTo>
                  <a:lnTo>
                    <a:pt x="7769" y="3424"/>
                  </a:lnTo>
                  <a:lnTo>
                    <a:pt x="7774" y="3419"/>
                  </a:lnTo>
                  <a:lnTo>
                    <a:pt x="7781" y="3415"/>
                  </a:lnTo>
                  <a:lnTo>
                    <a:pt x="7787" y="3414"/>
                  </a:lnTo>
                  <a:lnTo>
                    <a:pt x="7795" y="3415"/>
                  </a:lnTo>
                  <a:lnTo>
                    <a:pt x="7801" y="3419"/>
                  </a:lnTo>
                  <a:lnTo>
                    <a:pt x="7807" y="3424"/>
                  </a:lnTo>
                  <a:lnTo>
                    <a:pt x="7808" y="3433"/>
                  </a:lnTo>
                  <a:close/>
                  <a:moveTo>
                    <a:pt x="8071" y="3433"/>
                  </a:moveTo>
                  <a:lnTo>
                    <a:pt x="8071" y="3546"/>
                  </a:lnTo>
                  <a:lnTo>
                    <a:pt x="8069" y="3554"/>
                  </a:lnTo>
                  <a:lnTo>
                    <a:pt x="8064" y="3561"/>
                  </a:lnTo>
                  <a:lnTo>
                    <a:pt x="8058" y="3565"/>
                  </a:lnTo>
                  <a:lnTo>
                    <a:pt x="8051" y="3565"/>
                  </a:lnTo>
                  <a:lnTo>
                    <a:pt x="8044" y="3565"/>
                  </a:lnTo>
                  <a:lnTo>
                    <a:pt x="8037" y="3561"/>
                  </a:lnTo>
                  <a:lnTo>
                    <a:pt x="8032" y="3554"/>
                  </a:lnTo>
                  <a:lnTo>
                    <a:pt x="8031" y="3546"/>
                  </a:lnTo>
                  <a:lnTo>
                    <a:pt x="8031" y="3433"/>
                  </a:lnTo>
                  <a:lnTo>
                    <a:pt x="8032" y="3424"/>
                  </a:lnTo>
                  <a:lnTo>
                    <a:pt x="8037" y="3419"/>
                  </a:lnTo>
                  <a:lnTo>
                    <a:pt x="8044" y="3415"/>
                  </a:lnTo>
                  <a:lnTo>
                    <a:pt x="8051" y="3414"/>
                  </a:lnTo>
                  <a:lnTo>
                    <a:pt x="8058" y="3415"/>
                  </a:lnTo>
                  <a:lnTo>
                    <a:pt x="8064" y="3419"/>
                  </a:lnTo>
                  <a:lnTo>
                    <a:pt x="8069" y="3424"/>
                  </a:lnTo>
                  <a:lnTo>
                    <a:pt x="8071" y="3433"/>
                  </a:lnTo>
                  <a:close/>
                  <a:moveTo>
                    <a:pt x="8334" y="3433"/>
                  </a:moveTo>
                  <a:lnTo>
                    <a:pt x="8334" y="3546"/>
                  </a:lnTo>
                  <a:lnTo>
                    <a:pt x="8332" y="3554"/>
                  </a:lnTo>
                  <a:lnTo>
                    <a:pt x="8327" y="3561"/>
                  </a:lnTo>
                  <a:lnTo>
                    <a:pt x="8322" y="3565"/>
                  </a:lnTo>
                  <a:lnTo>
                    <a:pt x="8314" y="3565"/>
                  </a:lnTo>
                  <a:lnTo>
                    <a:pt x="8307" y="3565"/>
                  </a:lnTo>
                  <a:lnTo>
                    <a:pt x="8300" y="3561"/>
                  </a:lnTo>
                  <a:lnTo>
                    <a:pt x="8296" y="3554"/>
                  </a:lnTo>
                  <a:lnTo>
                    <a:pt x="8294" y="3546"/>
                  </a:lnTo>
                  <a:lnTo>
                    <a:pt x="8294" y="3433"/>
                  </a:lnTo>
                  <a:lnTo>
                    <a:pt x="8296" y="3424"/>
                  </a:lnTo>
                  <a:lnTo>
                    <a:pt x="8300" y="3419"/>
                  </a:lnTo>
                  <a:lnTo>
                    <a:pt x="8307" y="3415"/>
                  </a:lnTo>
                  <a:lnTo>
                    <a:pt x="8314" y="3414"/>
                  </a:lnTo>
                  <a:lnTo>
                    <a:pt x="8322" y="3415"/>
                  </a:lnTo>
                  <a:lnTo>
                    <a:pt x="8327" y="3419"/>
                  </a:lnTo>
                  <a:lnTo>
                    <a:pt x="8332" y="3424"/>
                  </a:lnTo>
                  <a:lnTo>
                    <a:pt x="8334" y="3433"/>
                  </a:lnTo>
                  <a:close/>
                  <a:moveTo>
                    <a:pt x="8598" y="3433"/>
                  </a:moveTo>
                  <a:lnTo>
                    <a:pt x="8598" y="3546"/>
                  </a:lnTo>
                  <a:lnTo>
                    <a:pt x="8595" y="3554"/>
                  </a:lnTo>
                  <a:lnTo>
                    <a:pt x="8591" y="3561"/>
                  </a:lnTo>
                  <a:lnTo>
                    <a:pt x="8585" y="3565"/>
                  </a:lnTo>
                  <a:lnTo>
                    <a:pt x="8577" y="3565"/>
                  </a:lnTo>
                  <a:lnTo>
                    <a:pt x="8569" y="3565"/>
                  </a:lnTo>
                  <a:lnTo>
                    <a:pt x="8563" y="3561"/>
                  </a:lnTo>
                  <a:lnTo>
                    <a:pt x="8559" y="3554"/>
                  </a:lnTo>
                  <a:lnTo>
                    <a:pt x="8557" y="3546"/>
                  </a:lnTo>
                  <a:lnTo>
                    <a:pt x="8557" y="3433"/>
                  </a:lnTo>
                  <a:lnTo>
                    <a:pt x="8559" y="3424"/>
                  </a:lnTo>
                  <a:lnTo>
                    <a:pt x="8563" y="3419"/>
                  </a:lnTo>
                  <a:lnTo>
                    <a:pt x="8569" y="3415"/>
                  </a:lnTo>
                  <a:lnTo>
                    <a:pt x="8577" y="3414"/>
                  </a:lnTo>
                  <a:lnTo>
                    <a:pt x="8585" y="3415"/>
                  </a:lnTo>
                  <a:lnTo>
                    <a:pt x="8591" y="3419"/>
                  </a:lnTo>
                  <a:lnTo>
                    <a:pt x="8595" y="3424"/>
                  </a:lnTo>
                  <a:lnTo>
                    <a:pt x="8598" y="3433"/>
                  </a:lnTo>
                  <a:close/>
                  <a:moveTo>
                    <a:pt x="8861" y="3433"/>
                  </a:moveTo>
                  <a:lnTo>
                    <a:pt x="8861" y="3546"/>
                  </a:lnTo>
                  <a:lnTo>
                    <a:pt x="8858" y="3554"/>
                  </a:lnTo>
                  <a:lnTo>
                    <a:pt x="8854" y="3561"/>
                  </a:lnTo>
                  <a:lnTo>
                    <a:pt x="8848" y="3565"/>
                  </a:lnTo>
                  <a:lnTo>
                    <a:pt x="8840" y="3565"/>
                  </a:lnTo>
                  <a:lnTo>
                    <a:pt x="8832" y="3565"/>
                  </a:lnTo>
                  <a:lnTo>
                    <a:pt x="8826" y="3561"/>
                  </a:lnTo>
                  <a:lnTo>
                    <a:pt x="8822" y="3554"/>
                  </a:lnTo>
                  <a:lnTo>
                    <a:pt x="8821" y="3546"/>
                  </a:lnTo>
                  <a:lnTo>
                    <a:pt x="8821" y="3433"/>
                  </a:lnTo>
                  <a:lnTo>
                    <a:pt x="8822" y="3424"/>
                  </a:lnTo>
                  <a:lnTo>
                    <a:pt x="8826" y="3419"/>
                  </a:lnTo>
                  <a:lnTo>
                    <a:pt x="8832" y="3415"/>
                  </a:lnTo>
                  <a:lnTo>
                    <a:pt x="8840" y="3414"/>
                  </a:lnTo>
                  <a:lnTo>
                    <a:pt x="8848" y="3415"/>
                  </a:lnTo>
                  <a:lnTo>
                    <a:pt x="8854" y="3419"/>
                  </a:lnTo>
                  <a:lnTo>
                    <a:pt x="8858" y="3424"/>
                  </a:lnTo>
                  <a:lnTo>
                    <a:pt x="8861" y="3433"/>
                  </a:lnTo>
                  <a:close/>
                  <a:moveTo>
                    <a:pt x="7545" y="3680"/>
                  </a:moveTo>
                  <a:lnTo>
                    <a:pt x="7545" y="3792"/>
                  </a:lnTo>
                  <a:lnTo>
                    <a:pt x="7542" y="3801"/>
                  </a:lnTo>
                  <a:lnTo>
                    <a:pt x="7539" y="3806"/>
                  </a:lnTo>
                  <a:lnTo>
                    <a:pt x="7532" y="3810"/>
                  </a:lnTo>
                  <a:lnTo>
                    <a:pt x="7524" y="3811"/>
                  </a:lnTo>
                  <a:lnTo>
                    <a:pt x="7517" y="3810"/>
                  </a:lnTo>
                  <a:lnTo>
                    <a:pt x="7510" y="3806"/>
                  </a:lnTo>
                  <a:lnTo>
                    <a:pt x="7506" y="3801"/>
                  </a:lnTo>
                  <a:lnTo>
                    <a:pt x="7505" y="3792"/>
                  </a:lnTo>
                  <a:lnTo>
                    <a:pt x="7505" y="3680"/>
                  </a:lnTo>
                  <a:lnTo>
                    <a:pt x="7506" y="3671"/>
                  </a:lnTo>
                  <a:lnTo>
                    <a:pt x="7510" y="3664"/>
                  </a:lnTo>
                  <a:lnTo>
                    <a:pt x="7517" y="3661"/>
                  </a:lnTo>
                  <a:lnTo>
                    <a:pt x="7524" y="3659"/>
                  </a:lnTo>
                  <a:lnTo>
                    <a:pt x="7532" y="3661"/>
                  </a:lnTo>
                  <a:lnTo>
                    <a:pt x="7539" y="3664"/>
                  </a:lnTo>
                  <a:lnTo>
                    <a:pt x="7542" y="3671"/>
                  </a:lnTo>
                  <a:lnTo>
                    <a:pt x="7545" y="3680"/>
                  </a:lnTo>
                  <a:close/>
                  <a:moveTo>
                    <a:pt x="7808" y="3680"/>
                  </a:moveTo>
                  <a:lnTo>
                    <a:pt x="7808" y="3792"/>
                  </a:lnTo>
                  <a:lnTo>
                    <a:pt x="7807" y="3801"/>
                  </a:lnTo>
                  <a:lnTo>
                    <a:pt x="7801" y="3806"/>
                  </a:lnTo>
                  <a:lnTo>
                    <a:pt x="7795" y="3810"/>
                  </a:lnTo>
                  <a:lnTo>
                    <a:pt x="7787" y="3811"/>
                  </a:lnTo>
                  <a:lnTo>
                    <a:pt x="7781" y="3810"/>
                  </a:lnTo>
                  <a:lnTo>
                    <a:pt x="7774" y="3806"/>
                  </a:lnTo>
                  <a:lnTo>
                    <a:pt x="7769" y="3801"/>
                  </a:lnTo>
                  <a:lnTo>
                    <a:pt x="7768" y="3792"/>
                  </a:lnTo>
                  <a:lnTo>
                    <a:pt x="7768" y="3680"/>
                  </a:lnTo>
                  <a:lnTo>
                    <a:pt x="7769" y="3671"/>
                  </a:lnTo>
                  <a:lnTo>
                    <a:pt x="7774" y="3664"/>
                  </a:lnTo>
                  <a:lnTo>
                    <a:pt x="7781" y="3661"/>
                  </a:lnTo>
                  <a:lnTo>
                    <a:pt x="7787" y="3659"/>
                  </a:lnTo>
                  <a:lnTo>
                    <a:pt x="7795" y="3661"/>
                  </a:lnTo>
                  <a:lnTo>
                    <a:pt x="7801" y="3664"/>
                  </a:lnTo>
                  <a:lnTo>
                    <a:pt x="7807" y="3671"/>
                  </a:lnTo>
                  <a:lnTo>
                    <a:pt x="7808" y="3680"/>
                  </a:lnTo>
                  <a:close/>
                  <a:moveTo>
                    <a:pt x="8071" y="3680"/>
                  </a:moveTo>
                  <a:lnTo>
                    <a:pt x="8071" y="3792"/>
                  </a:lnTo>
                  <a:lnTo>
                    <a:pt x="8069" y="3801"/>
                  </a:lnTo>
                  <a:lnTo>
                    <a:pt x="8064" y="3806"/>
                  </a:lnTo>
                  <a:lnTo>
                    <a:pt x="8058" y="3810"/>
                  </a:lnTo>
                  <a:lnTo>
                    <a:pt x="8051" y="3811"/>
                  </a:lnTo>
                  <a:lnTo>
                    <a:pt x="8044" y="3810"/>
                  </a:lnTo>
                  <a:lnTo>
                    <a:pt x="8037" y="3806"/>
                  </a:lnTo>
                  <a:lnTo>
                    <a:pt x="8032" y="3801"/>
                  </a:lnTo>
                  <a:lnTo>
                    <a:pt x="8031" y="3792"/>
                  </a:lnTo>
                  <a:lnTo>
                    <a:pt x="8031" y="3680"/>
                  </a:lnTo>
                  <a:lnTo>
                    <a:pt x="8032" y="3671"/>
                  </a:lnTo>
                  <a:lnTo>
                    <a:pt x="8037" y="3664"/>
                  </a:lnTo>
                  <a:lnTo>
                    <a:pt x="8044" y="3661"/>
                  </a:lnTo>
                  <a:lnTo>
                    <a:pt x="8051" y="3659"/>
                  </a:lnTo>
                  <a:lnTo>
                    <a:pt x="8058" y="3661"/>
                  </a:lnTo>
                  <a:lnTo>
                    <a:pt x="8064" y="3664"/>
                  </a:lnTo>
                  <a:lnTo>
                    <a:pt x="8069" y="3671"/>
                  </a:lnTo>
                  <a:lnTo>
                    <a:pt x="8071" y="3680"/>
                  </a:lnTo>
                  <a:close/>
                  <a:moveTo>
                    <a:pt x="8334" y="3680"/>
                  </a:moveTo>
                  <a:lnTo>
                    <a:pt x="8334" y="3792"/>
                  </a:lnTo>
                  <a:lnTo>
                    <a:pt x="8332" y="3801"/>
                  </a:lnTo>
                  <a:lnTo>
                    <a:pt x="8327" y="3806"/>
                  </a:lnTo>
                  <a:lnTo>
                    <a:pt x="8322" y="3810"/>
                  </a:lnTo>
                  <a:lnTo>
                    <a:pt x="8314" y="3811"/>
                  </a:lnTo>
                  <a:lnTo>
                    <a:pt x="8307" y="3810"/>
                  </a:lnTo>
                  <a:lnTo>
                    <a:pt x="8300" y="3806"/>
                  </a:lnTo>
                  <a:lnTo>
                    <a:pt x="8296" y="3801"/>
                  </a:lnTo>
                  <a:lnTo>
                    <a:pt x="8294" y="3792"/>
                  </a:lnTo>
                  <a:lnTo>
                    <a:pt x="8294" y="3680"/>
                  </a:lnTo>
                  <a:lnTo>
                    <a:pt x="8296" y="3671"/>
                  </a:lnTo>
                  <a:lnTo>
                    <a:pt x="8300" y="3664"/>
                  </a:lnTo>
                  <a:lnTo>
                    <a:pt x="8307" y="3661"/>
                  </a:lnTo>
                  <a:lnTo>
                    <a:pt x="8314" y="3659"/>
                  </a:lnTo>
                  <a:lnTo>
                    <a:pt x="8322" y="3661"/>
                  </a:lnTo>
                  <a:lnTo>
                    <a:pt x="8327" y="3664"/>
                  </a:lnTo>
                  <a:lnTo>
                    <a:pt x="8332" y="3671"/>
                  </a:lnTo>
                  <a:lnTo>
                    <a:pt x="8334" y="3680"/>
                  </a:lnTo>
                  <a:close/>
                  <a:moveTo>
                    <a:pt x="8598" y="3680"/>
                  </a:moveTo>
                  <a:lnTo>
                    <a:pt x="8598" y="3792"/>
                  </a:lnTo>
                  <a:lnTo>
                    <a:pt x="8595" y="3801"/>
                  </a:lnTo>
                  <a:lnTo>
                    <a:pt x="8591" y="3806"/>
                  </a:lnTo>
                  <a:lnTo>
                    <a:pt x="8585" y="3810"/>
                  </a:lnTo>
                  <a:lnTo>
                    <a:pt x="8577" y="3811"/>
                  </a:lnTo>
                  <a:lnTo>
                    <a:pt x="8569" y="3810"/>
                  </a:lnTo>
                  <a:lnTo>
                    <a:pt x="8563" y="3806"/>
                  </a:lnTo>
                  <a:lnTo>
                    <a:pt x="8559" y="3801"/>
                  </a:lnTo>
                  <a:lnTo>
                    <a:pt x="8557" y="3792"/>
                  </a:lnTo>
                  <a:lnTo>
                    <a:pt x="8557" y="3680"/>
                  </a:lnTo>
                  <a:lnTo>
                    <a:pt x="8559" y="3671"/>
                  </a:lnTo>
                  <a:lnTo>
                    <a:pt x="8563" y="3664"/>
                  </a:lnTo>
                  <a:lnTo>
                    <a:pt x="8569" y="3661"/>
                  </a:lnTo>
                  <a:lnTo>
                    <a:pt x="8577" y="3659"/>
                  </a:lnTo>
                  <a:lnTo>
                    <a:pt x="8585" y="3661"/>
                  </a:lnTo>
                  <a:lnTo>
                    <a:pt x="8591" y="3664"/>
                  </a:lnTo>
                  <a:lnTo>
                    <a:pt x="8595" y="3671"/>
                  </a:lnTo>
                  <a:lnTo>
                    <a:pt x="8598" y="3680"/>
                  </a:lnTo>
                  <a:close/>
                  <a:moveTo>
                    <a:pt x="8861" y="3680"/>
                  </a:moveTo>
                  <a:lnTo>
                    <a:pt x="8861" y="3792"/>
                  </a:lnTo>
                  <a:lnTo>
                    <a:pt x="8858" y="3801"/>
                  </a:lnTo>
                  <a:lnTo>
                    <a:pt x="8854" y="3806"/>
                  </a:lnTo>
                  <a:lnTo>
                    <a:pt x="8848" y="3810"/>
                  </a:lnTo>
                  <a:lnTo>
                    <a:pt x="8840" y="3811"/>
                  </a:lnTo>
                  <a:lnTo>
                    <a:pt x="8832" y="3810"/>
                  </a:lnTo>
                  <a:lnTo>
                    <a:pt x="8826" y="3806"/>
                  </a:lnTo>
                  <a:lnTo>
                    <a:pt x="8822" y="3801"/>
                  </a:lnTo>
                  <a:lnTo>
                    <a:pt x="8821" y="3792"/>
                  </a:lnTo>
                  <a:lnTo>
                    <a:pt x="8821" y="3680"/>
                  </a:lnTo>
                  <a:lnTo>
                    <a:pt x="8822" y="3671"/>
                  </a:lnTo>
                  <a:lnTo>
                    <a:pt x="8826" y="3664"/>
                  </a:lnTo>
                  <a:lnTo>
                    <a:pt x="8832" y="3661"/>
                  </a:lnTo>
                  <a:lnTo>
                    <a:pt x="8840" y="3659"/>
                  </a:lnTo>
                  <a:lnTo>
                    <a:pt x="8848" y="3661"/>
                  </a:lnTo>
                  <a:lnTo>
                    <a:pt x="8854" y="3664"/>
                  </a:lnTo>
                  <a:lnTo>
                    <a:pt x="8858" y="3671"/>
                  </a:lnTo>
                  <a:lnTo>
                    <a:pt x="8861" y="3680"/>
                  </a:lnTo>
                  <a:close/>
                  <a:moveTo>
                    <a:pt x="9081" y="2604"/>
                  </a:moveTo>
                  <a:lnTo>
                    <a:pt x="9075" y="2604"/>
                  </a:lnTo>
                  <a:lnTo>
                    <a:pt x="9081" y="2604"/>
                  </a:lnTo>
                  <a:close/>
                  <a:moveTo>
                    <a:pt x="5536" y="1840"/>
                  </a:moveTo>
                  <a:lnTo>
                    <a:pt x="5109" y="1840"/>
                  </a:lnTo>
                  <a:lnTo>
                    <a:pt x="5109" y="1950"/>
                  </a:lnTo>
                  <a:lnTo>
                    <a:pt x="5536" y="1950"/>
                  </a:lnTo>
                  <a:lnTo>
                    <a:pt x="5536" y="1840"/>
                  </a:lnTo>
                  <a:close/>
                  <a:moveTo>
                    <a:pt x="4446" y="3790"/>
                  </a:moveTo>
                  <a:lnTo>
                    <a:pt x="5309" y="3790"/>
                  </a:lnTo>
                  <a:lnTo>
                    <a:pt x="5318" y="3791"/>
                  </a:lnTo>
                  <a:lnTo>
                    <a:pt x="5324" y="3796"/>
                  </a:lnTo>
                  <a:lnTo>
                    <a:pt x="5328" y="3803"/>
                  </a:lnTo>
                  <a:lnTo>
                    <a:pt x="5329" y="3809"/>
                  </a:lnTo>
                  <a:lnTo>
                    <a:pt x="5328" y="3817"/>
                  </a:lnTo>
                  <a:lnTo>
                    <a:pt x="5324" y="3823"/>
                  </a:lnTo>
                  <a:lnTo>
                    <a:pt x="5318" y="3828"/>
                  </a:lnTo>
                  <a:lnTo>
                    <a:pt x="5309" y="3829"/>
                  </a:lnTo>
                  <a:lnTo>
                    <a:pt x="5215" y="3829"/>
                  </a:lnTo>
                  <a:lnTo>
                    <a:pt x="5215" y="4317"/>
                  </a:lnTo>
                  <a:lnTo>
                    <a:pt x="5754" y="4317"/>
                  </a:lnTo>
                  <a:lnTo>
                    <a:pt x="5754" y="3782"/>
                  </a:lnTo>
                  <a:lnTo>
                    <a:pt x="5754" y="3249"/>
                  </a:lnTo>
                  <a:lnTo>
                    <a:pt x="5754" y="2716"/>
                  </a:lnTo>
                  <a:lnTo>
                    <a:pt x="5754" y="2182"/>
                  </a:lnTo>
                  <a:lnTo>
                    <a:pt x="5195" y="2182"/>
                  </a:lnTo>
                  <a:lnTo>
                    <a:pt x="4637" y="2182"/>
                  </a:lnTo>
                  <a:lnTo>
                    <a:pt x="4629" y="2181"/>
                  </a:lnTo>
                  <a:lnTo>
                    <a:pt x="4623" y="2176"/>
                  </a:lnTo>
                  <a:lnTo>
                    <a:pt x="4619" y="2170"/>
                  </a:lnTo>
                  <a:lnTo>
                    <a:pt x="4617" y="2163"/>
                  </a:lnTo>
                  <a:lnTo>
                    <a:pt x="4619" y="2156"/>
                  </a:lnTo>
                  <a:lnTo>
                    <a:pt x="4623" y="2149"/>
                  </a:lnTo>
                  <a:lnTo>
                    <a:pt x="4629" y="2144"/>
                  </a:lnTo>
                  <a:lnTo>
                    <a:pt x="4637" y="2143"/>
                  </a:lnTo>
                  <a:lnTo>
                    <a:pt x="5615" y="2143"/>
                  </a:lnTo>
                  <a:lnTo>
                    <a:pt x="5615" y="1989"/>
                  </a:lnTo>
                  <a:lnTo>
                    <a:pt x="5555" y="1989"/>
                  </a:lnTo>
                  <a:lnTo>
                    <a:pt x="5089" y="1989"/>
                  </a:lnTo>
                  <a:lnTo>
                    <a:pt x="4119" y="1989"/>
                  </a:lnTo>
                  <a:lnTo>
                    <a:pt x="4119" y="2143"/>
                  </a:lnTo>
                  <a:lnTo>
                    <a:pt x="4373" y="2143"/>
                  </a:lnTo>
                  <a:lnTo>
                    <a:pt x="4382" y="2144"/>
                  </a:lnTo>
                  <a:lnTo>
                    <a:pt x="4387" y="2149"/>
                  </a:lnTo>
                  <a:lnTo>
                    <a:pt x="4391" y="2156"/>
                  </a:lnTo>
                  <a:lnTo>
                    <a:pt x="4392" y="2163"/>
                  </a:lnTo>
                  <a:lnTo>
                    <a:pt x="4391" y="2170"/>
                  </a:lnTo>
                  <a:lnTo>
                    <a:pt x="4387" y="2176"/>
                  </a:lnTo>
                  <a:lnTo>
                    <a:pt x="4382" y="2181"/>
                  </a:lnTo>
                  <a:lnTo>
                    <a:pt x="4373" y="2182"/>
                  </a:lnTo>
                  <a:lnTo>
                    <a:pt x="4001" y="2182"/>
                  </a:lnTo>
                  <a:lnTo>
                    <a:pt x="4001" y="3195"/>
                  </a:lnTo>
                  <a:lnTo>
                    <a:pt x="3999" y="3204"/>
                  </a:lnTo>
                  <a:lnTo>
                    <a:pt x="3994" y="3211"/>
                  </a:lnTo>
                  <a:lnTo>
                    <a:pt x="3988" y="3214"/>
                  </a:lnTo>
                  <a:lnTo>
                    <a:pt x="3980" y="3216"/>
                  </a:lnTo>
                  <a:lnTo>
                    <a:pt x="3974" y="3214"/>
                  </a:lnTo>
                  <a:lnTo>
                    <a:pt x="3967" y="3211"/>
                  </a:lnTo>
                  <a:lnTo>
                    <a:pt x="3962" y="3204"/>
                  </a:lnTo>
                  <a:lnTo>
                    <a:pt x="3961" y="3195"/>
                  </a:lnTo>
                  <a:lnTo>
                    <a:pt x="3961" y="2679"/>
                  </a:lnTo>
                  <a:lnTo>
                    <a:pt x="3961" y="2163"/>
                  </a:lnTo>
                  <a:lnTo>
                    <a:pt x="3962" y="2156"/>
                  </a:lnTo>
                  <a:lnTo>
                    <a:pt x="3966" y="2149"/>
                  </a:lnTo>
                  <a:lnTo>
                    <a:pt x="3973" y="2144"/>
                  </a:lnTo>
                  <a:lnTo>
                    <a:pt x="3980" y="2143"/>
                  </a:lnTo>
                  <a:lnTo>
                    <a:pt x="4079" y="2143"/>
                  </a:lnTo>
                  <a:lnTo>
                    <a:pt x="4079" y="1970"/>
                  </a:lnTo>
                  <a:lnTo>
                    <a:pt x="4080" y="1963"/>
                  </a:lnTo>
                  <a:lnTo>
                    <a:pt x="4085" y="1956"/>
                  </a:lnTo>
                  <a:lnTo>
                    <a:pt x="4092" y="1951"/>
                  </a:lnTo>
                  <a:lnTo>
                    <a:pt x="4099" y="1950"/>
                  </a:lnTo>
                  <a:lnTo>
                    <a:pt x="5069" y="1950"/>
                  </a:lnTo>
                  <a:lnTo>
                    <a:pt x="5069" y="1819"/>
                  </a:lnTo>
                  <a:lnTo>
                    <a:pt x="5070" y="1812"/>
                  </a:lnTo>
                  <a:lnTo>
                    <a:pt x="5075" y="1805"/>
                  </a:lnTo>
                  <a:lnTo>
                    <a:pt x="5082" y="1801"/>
                  </a:lnTo>
                  <a:lnTo>
                    <a:pt x="5089" y="1799"/>
                  </a:lnTo>
                  <a:lnTo>
                    <a:pt x="5555" y="1799"/>
                  </a:lnTo>
                  <a:lnTo>
                    <a:pt x="5563" y="1801"/>
                  </a:lnTo>
                  <a:lnTo>
                    <a:pt x="5569" y="1805"/>
                  </a:lnTo>
                  <a:lnTo>
                    <a:pt x="5573" y="1812"/>
                  </a:lnTo>
                  <a:lnTo>
                    <a:pt x="5575" y="1819"/>
                  </a:lnTo>
                  <a:lnTo>
                    <a:pt x="5575" y="1950"/>
                  </a:lnTo>
                  <a:lnTo>
                    <a:pt x="5636" y="1950"/>
                  </a:lnTo>
                  <a:lnTo>
                    <a:pt x="5643" y="1951"/>
                  </a:lnTo>
                  <a:lnTo>
                    <a:pt x="5650" y="1956"/>
                  </a:lnTo>
                  <a:lnTo>
                    <a:pt x="5654" y="1963"/>
                  </a:lnTo>
                  <a:lnTo>
                    <a:pt x="5656" y="1970"/>
                  </a:lnTo>
                  <a:lnTo>
                    <a:pt x="5656" y="2143"/>
                  </a:lnTo>
                  <a:lnTo>
                    <a:pt x="5773" y="2143"/>
                  </a:lnTo>
                  <a:lnTo>
                    <a:pt x="5781" y="2144"/>
                  </a:lnTo>
                  <a:lnTo>
                    <a:pt x="5787" y="2149"/>
                  </a:lnTo>
                  <a:lnTo>
                    <a:pt x="5792" y="2156"/>
                  </a:lnTo>
                  <a:lnTo>
                    <a:pt x="5793" y="2163"/>
                  </a:lnTo>
                  <a:lnTo>
                    <a:pt x="5793" y="2705"/>
                  </a:lnTo>
                  <a:lnTo>
                    <a:pt x="5793" y="3249"/>
                  </a:lnTo>
                  <a:lnTo>
                    <a:pt x="5793" y="3792"/>
                  </a:lnTo>
                  <a:lnTo>
                    <a:pt x="5793" y="4336"/>
                  </a:lnTo>
                  <a:lnTo>
                    <a:pt x="5792" y="4343"/>
                  </a:lnTo>
                  <a:lnTo>
                    <a:pt x="5787" y="4350"/>
                  </a:lnTo>
                  <a:lnTo>
                    <a:pt x="5781" y="4355"/>
                  </a:lnTo>
                  <a:lnTo>
                    <a:pt x="5773" y="4356"/>
                  </a:lnTo>
                  <a:lnTo>
                    <a:pt x="5195" y="4356"/>
                  </a:lnTo>
                  <a:lnTo>
                    <a:pt x="4560" y="4356"/>
                  </a:lnTo>
                  <a:lnTo>
                    <a:pt x="3980" y="4356"/>
                  </a:lnTo>
                  <a:lnTo>
                    <a:pt x="3973" y="4355"/>
                  </a:lnTo>
                  <a:lnTo>
                    <a:pt x="3966" y="4350"/>
                  </a:lnTo>
                  <a:lnTo>
                    <a:pt x="3962" y="4343"/>
                  </a:lnTo>
                  <a:lnTo>
                    <a:pt x="3961" y="4336"/>
                  </a:lnTo>
                  <a:lnTo>
                    <a:pt x="3961" y="4037"/>
                  </a:lnTo>
                  <a:lnTo>
                    <a:pt x="3962" y="4028"/>
                  </a:lnTo>
                  <a:lnTo>
                    <a:pt x="3967" y="4021"/>
                  </a:lnTo>
                  <a:lnTo>
                    <a:pt x="3974" y="4017"/>
                  </a:lnTo>
                  <a:lnTo>
                    <a:pt x="3980" y="4016"/>
                  </a:lnTo>
                  <a:lnTo>
                    <a:pt x="3988" y="4017"/>
                  </a:lnTo>
                  <a:lnTo>
                    <a:pt x="3994" y="4021"/>
                  </a:lnTo>
                  <a:lnTo>
                    <a:pt x="3999" y="4028"/>
                  </a:lnTo>
                  <a:lnTo>
                    <a:pt x="4001" y="4037"/>
                  </a:lnTo>
                  <a:lnTo>
                    <a:pt x="4001" y="4317"/>
                  </a:lnTo>
                  <a:lnTo>
                    <a:pt x="4539" y="4317"/>
                  </a:lnTo>
                  <a:lnTo>
                    <a:pt x="4539" y="3829"/>
                  </a:lnTo>
                  <a:lnTo>
                    <a:pt x="4446" y="3829"/>
                  </a:lnTo>
                  <a:lnTo>
                    <a:pt x="4437" y="3828"/>
                  </a:lnTo>
                  <a:lnTo>
                    <a:pt x="4430" y="3823"/>
                  </a:lnTo>
                  <a:lnTo>
                    <a:pt x="4426" y="3817"/>
                  </a:lnTo>
                  <a:lnTo>
                    <a:pt x="4425" y="3809"/>
                  </a:lnTo>
                  <a:lnTo>
                    <a:pt x="4426" y="3803"/>
                  </a:lnTo>
                  <a:lnTo>
                    <a:pt x="4430" y="3796"/>
                  </a:lnTo>
                  <a:lnTo>
                    <a:pt x="4437" y="3791"/>
                  </a:lnTo>
                  <a:lnTo>
                    <a:pt x="4446" y="3790"/>
                  </a:lnTo>
                  <a:close/>
                  <a:moveTo>
                    <a:pt x="4897" y="3950"/>
                  </a:moveTo>
                  <a:lnTo>
                    <a:pt x="4897" y="4317"/>
                  </a:lnTo>
                  <a:lnTo>
                    <a:pt x="5175" y="4317"/>
                  </a:lnTo>
                  <a:lnTo>
                    <a:pt x="5175" y="3829"/>
                  </a:lnTo>
                  <a:lnTo>
                    <a:pt x="4579" y="3829"/>
                  </a:lnTo>
                  <a:lnTo>
                    <a:pt x="4579" y="4317"/>
                  </a:lnTo>
                  <a:lnTo>
                    <a:pt x="4857" y="4317"/>
                  </a:lnTo>
                  <a:lnTo>
                    <a:pt x="4857" y="3950"/>
                  </a:lnTo>
                  <a:lnTo>
                    <a:pt x="4859" y="3941"/>
                  </a:lnTo>
                  <a:lnTo>
                    <a:pt x="4864" y="3934"/>
                  </a:lnTo>
                  <a:lnTo>
                    <a:pt x="4870" y="3930"/>
                  </a:lnTo>
                  <a:lnTo>
                    <a:pt x="4877" y="3929"/>
                  </a:lnTo>
                  <a:lnTo>
                    <a:pt x="4884" y="3930"/>
                  </a:lnTo>
                  <a:lnTo>
                    <a:pt x="4891" y="3934"/>
                  </a:lnTo>
                  <a:lnTo>
                    <a:pt x="4896" y="3941"/>
                  </a:lnTo>
                  <a:lnTo>
                    <a:pt x="4897" y="3950"/>
                  </a:lnTo>
                  <a:close/>
                  <a:moveTo>
                    <a:pt x="8349" y="481"/>
                  </a:moveTo>
                  <a:lnTo>
                    <a:pt x="8337" y="483"/>
                  </a:lnTo>
                  <a:lnTo>
                    <a:pt x="8328" y="482"/>
                  </a:lnTo>
                  <a:lnTo>
                    <a:pt x="8321" y="475"/>
                  </a:lnTo>
                  <a:lnTo>
                    <a:pt x="8318" y="464"/>
                  </a:lnTo>
                  <a:lnTo>
                    <a:pt x="8316" y="446"/>
                  </a:lnTo>
                  <a:lnTo>
                    <a:pt x="8312" y="428"/>
                  </a:lnTo>
                  <a:lnTo>
                    <a:pt x="8299" y="394"/>
                  </a:lnTo>
                  <a:lnTo>
                    <a:pt x="8280" y="364"/>
                  </a:lnTo>
                  <a:lnTo>
                    <a:pt x="8255" y="337"/>
                  </a:lnTo>
                  <a:lnTo>
                    <a:pt x="8226" y="316"/>
                  </a:lnTo>
                  <a:lnTo>
                    <a:pt x="8192" y="299"/>
                  </a:lnTo>
                  <a:lnTo>
                    <a:pt x="8175" y="293"/>
                  </a:lnTo>
                  <a:lnTo>
                    <a:pt x="8157" y="289"/>
                  </a:lnTo>
                  <a:lnTo>
                    <a:pt x="8137" y="286"/>
                  </a:lnTo>
                  <a:lnTo>
                    <a:pt x="8119" y="285"/>
                  </a:lnTo>
                  <a:lnTo>
                    <a:pt x="8080" y="289"/>
                  </a:lnTo>
                  <a:lnTo>
                    <a:pt x="8060" y="294"/>
                  </a:lnTo>
                  <a:lnTo>
                    <a:pt x="8042" y="300"/>
                  </a:lnTo>
                  <a:lnTo>
                    <a:pt x="8008" y="318"/>
                  </a:lnTo>
                  <a:lnTo>
                    <a:pt x="7978" y="341"/>
                  </a:lnTo>
                  <a:lnTo>
                    <a:pt x="7966" y="355"/>
                  </a:lnTo>
                  <a:lnTo>
                    <a:pt x="7954" y="369"/>
                  </a:lnTo>
                  <a:lnTo>
                    <a:pt x="7935" y="403"/>
                  </a:lnTo>
                  <a:lnTo>
                    <a:pt x="7928" y="420"/>
                  </a:lnTo>
                  <a:lnTo>
                    <a:pt x="7923" y="438"/>
                  </a:lnTo>
                  <a:lnTo>
                    <a:pt x="7919" y="477"/>
                  </a:lnTo>
                  <a:lnTo>
                    <a:pt x="7867" y="477"/>
                  </a:lnTo>
                  <a:lnTo>
                    <a:pt x="7836" y="474"/>
                  </a:lnTo>
                  <a:lnTo>
                    <a:pt x="7815" y="477"/>
                  </a:lnTo>
                  <a:lnTo>
                    <a:pt x="7798" y="482"/>
                  </a:lnTo>
                  <a:lnTo>
                    <a:pt x="7780" y="492"/>
                  </a:lnTo>
                  <a:lnTo>
                    <a:pt x="7765" y="504"/>
                  </a:lnTo>
                  <a:lnTo>
                    <a:pt x="7754" y="519"/>
                  </a:lnTo>
                  <a:lnTo>
                    <a:pt x="7745" y="537"/>
                  </a:lnTo>
                  <a:lnTo>
                    <a:pt x="7740" y="556"/>
                  </a:lnTo>
                  <a:lnTo>
                    <a:pt x="7737" y="576"/>
                  </a:lnTo>
                  <a:lnTo>
                    <a:pt x="7740" y="598"/>
                  </a:lnTo>
                  <a:lnTo>
                    <a:pt x="8505" y="599"/>
                  </a:lnTo>
                  <a:lnTo>
                    <a:pt x="8508" y="574"/>
                  </a:lnTo>
                  <a:lnTo>
                    <a:pt x="8505" y="552"/>
                  </a:lnTo>
                  <a:lnTo>
                    <a:pt x="8499" y="532"/>
                  </a:lnTo>
                  <a:lnTo>
                    <a:pt x="8490" y="514"/>
                  </a:lnTo>
                  <a:lnTo>
                    <a:pt x="8477" y="497"/>
                  </a:lnTo>
                  <a:lnTo>
                    <a:pt x="8460" y="484"/>
                  </a:lnTo>
                  <a:lnTo>
                    <a:pt x="8443" y="474"/>
                  </a:lnTo>
                  <a:lnTo>
                    <a:pt x="8423" y="468"/>
                  </a:lnTo>
                  <a:lnTo>
                    <a:pt x="8401" y="465"/>
                  </a:lnTo>
                  <a:lnTo>
                    <a:pt x="8373" y="469"/>
                  </a:lnTo>
                  <a:lnTo>
                    <a:pt x="8349" y="481"/>
                  </a:lnTo>
                  <a:close/>
                  <a:moveTo>
                    <a:pt x="7880" y="455"/>
                  </a:moveTo>
                  <a:lnTo>
                    <a:pt x="7883" y="433"/>
                  </a:lnTo>
                  <a:lnTo>
                    <a:pt x="7889" y="411"/>
                  </a:lnTo>
                  <a:lnTo>
                    <a:pt x="7896" y="391"/>
                  </a:lnTo>
                  <a:lnTo>
                    <a:pt x="7905" y="372"/>
                  </a:lnTo>
                  <a:lnTo>
                    <a:pt x="7917" y="354"/>
                  </a:lnTo>
                  <a:lnTo>
                    <a:pt x="7930" y="336"/>
                  </a:lnTo>
                  <a:lnTo>
                    <a:pt x="7944" y="321"/>
                  </a:lnTo>
                  <a:lnTo>
                    <a:pt x="7959" y="305"/>
                  </a:lnTo>
                  <a:lnTo>
                    <a:pt x="7994" y="280"/>
                  </a:lnTo>
                  <a:lnTo>
                    <a:pt x="8032" y="261"/>
                  </a:lnTo>
                  <a:lnTo>
                    <a:pt x="8075" y="249"/>
                  </a:lnTo>
                  <a:lnTo>
                    <a:pt x="8119" y="245"/>
                  </a:lnTo>
                  <a:lnTo>
                    <a:pt x="8160" y="249"/>
                  </a:lnTo>
                  <a:lnTo>
                    <a:pt x="8200" y="259"/>
                  </a:lnTo>
                  <a:lnTo>
                    <a:pt x="8237" y="276"/>
                  </a:lnTo>
                  <a:lnTo>
                    <a:pt x="8254" y="286"/>
                  </a:lnTo>
                  <a:lnTo>
                    <a:pt x="8271" y="299"/>
                  </a:lnTo>
                  <a:lnTo>
                    <a:pt x="8300" y="326"/>
                  </a:lnTo>
                  <a:lnTo>
                    <a:pt x="8325" y="358"/>
                  </a:lnTo>
                  <a:lnTo>
                    <a:pt x="8335" y="376"/>
                  </a:lnTo>
                  <a:lnTo>
                    <a:pt x="8343" y="395"/>
                  </a:lnTo>
                  <a:lnTo>
                    <a:pt x="8350" y="414"/>
                  </a:lnTo>
                  <a:lnTo>
                    <a:pt x="8354" y="433"/>
                  </a:lnTo>
                  <a:lnTo>
                    <a:pt x="8377" y="428"/>
                  </a:lnTo>
                  <a:lnTo>
                    <a:pt x="8401" y="426"/>
                  </a:lnTo>
                  <a:lnTo>
                    <a:pt x="8431" y="428"/>
                  </a:lnTo>
                  <a:lnTo>
                    <a:pt x="8459" y="437"/>
                  </a:lnTo>
                  <a:lnTo>
                    <a:pt x="8484" y="451"/>
                  </a:lnTo>
                  <a:lnTo>
                    <a:pt x="8505" y="470"/>
                  </a:lnTo>
                  <a:lnTo>
                    <a:pt x="8523" y="492"/>
                  </a:lnTo>
                  <a:lnTo>
                    <a:pt x="8531" y="505"/>
                  </a:lnTo>
                  <a:lnTo>
                    <a:pt x="8536" y="518"/>
                  </a:lnTo>
                  <a:lnTo>
                    <a:pt x="8545" y="544"/>
                  </a:lnTo>
                  <a:lnTo>
                    <a:pt x="8548" y="560"/>
                  </a:lnTo>
                  <a:lnTo>
                    <a:pt x="8548" y="574"/>
                  </a:lnTo>
                  <a:lnTo>
                    <a:pt x="8548" y="592"/>
                  </a:lnTo>
                  <a:lnTo>
                    <a:pt x="8544" y="613"/>
                  </a:lnTo>
                  <a:lnTo>
                    <a:pt x="8540" y="624"/>
                  </a:lnTo>
                  <a:lnTo>
                    <a:pt x="8535" y="631"/>
                  </a:lnTo>
                  <a:lnTo>
                    <a:pt x="8528" y="638"/>
                  </a:lnTo>
                  <a:lnTo>
                    <a:pt x="8521" y="640"/>
                  </a:lnTo>
                  <a:lnTo>
                    <a:pt x="7724" y="638"/>
                  </a:lnTo>
                  <a:lnTo>
                    <a:pt x="7717" y="637"/>
                  </a:lnTo>
                  <a:lnTo>
                    <a:pt x="7710" y="631"/>
                  </a:lnTo>
                  <a:lnTo>
                    <a:pt x="7705" y="622"/>
                  </a:lnTo>
                  <a:lnTo>
                    <a:pt x="7701" y="613"/>
                  </a:lnTo>
                  <a:lnTo>
                    <a:pt x="7699" y="593"/>
                  </a:lnTo>
                  <a:lnTo>
                    <a:pt x="7698" y="576"/>
                  </a:lnTo>
                  <a:lnTo>
                    <a:pt x="7700" y="548"/>
                  </a:lnTo>
                  <a:lnTo>
                    <a:pt x="7708" y="521"/>
                  </a:lnTo>
                  <a:lnTo>
                    <a:pt x="7721" y="497"/>
                  </a:lnTo>
                  <a:lnTo>
                    <a:pt x="7737" y="477"/>
                  </a:lnTo>
                  <a:lnTo>
                    <a:pt x="7757" y="459"/>
                  </a:lnTo>
                  <a:lnTo>
                    <a:pt x="7781" y="446"/>
                  </a:lnTo>
                  <a:lnTo>
                    <a:pt x="7807" y="437"/>
                  </a:lnTo>
                  <a:lnTo>
                    <a:pt x="7836" y="434"/>
                  </a:lnTo>
                  <a:lnTo>
                    <a:pt x="7851" y="436"/>
                  </a:lnTo>
                  <a:lnTo>
                    <a:pt x="7864" y="440"/>
                  </a:lnTo>
                  <a:lnTo>
                    <a:pt x="7874" y="445"/>
                  </a:lnTo>
                  <a:lnTo>
                    <a:pt x="7880" y="455"/>
                  </a:lnTo>
                  <a:close/>
                  <a:moveTo>
                    <a:pt x="4157" y="902"/>
                  </a:moveTo>
                  <a:lnTo>
                    <a:pt x="4683" y="902"/>
                  </a:lnTo>
                  <a:lnTo>
                    <a:pt x="5210" y="902"/>
                  </a:lnTo>
                  <a:lnTo>
                    <a:pt x="5210" y="892"/>
                  </a:lnTo>
                  <a:lnTo>
                    <a:pt x="5207" y="865"/>
                  </a:lnTo>
                  <a:lnTo>
                    <a:pt x="5203" y="854"/>
                  </a:lnTo>
                  <a:lnTo>
                    <a:pt x="5200" y="841"/>
                  </a:lnTo>
                  <a:lnTo>
                    <a:pt x="5187" y="819"/>
                  </a:lnTo>
                  <a:lnTo>
                    <a:pt x="5179" y="809"/>
                  </a:lnTo>
                  <a:lnTo>
                    <a:pt x="5171" y="799"/>
                  </a:lnTo>
                  <a:lnTo>
                    <a:pt x="5151" y="784"/>
                  </a:lnTo>
                  <a:lnTo>
                    <a:pt x="5141" y="777"/>
                  </a:lnTo>
                  <a:lnTo>
                    <a:pt x="5129" y="771"/>
                  </a:lnTo>
                  <a:lnTo>
                    <a:pt x="5103" y="763"/>
                  </a:lnTo>
                  <a:lnTo>
                    <a:pt x="5077" y="761"/>
                  </a:lnTo>
                  <a:lnTo>
                    <a:pt x="5052" y="763"/>
                  </a:lnTo>
                  <a:lnTo>
                    <a:pt x="5042" y="767"/>
                  </a:lnTo>
                  <a:lnTo>
                    <a:pt x="5030" y="771"/>
                  </a:lnTo>
                  <a:lnTo>
                    <a:pt x="4996" y="791"/>
                  </a:lnTo>
                  <a:lnTo>
                    <a:pt x="4982" y="799"/>
                  </a:lnTo>
                  <a:lnTo>
                    <a:pt x="4970" y="801"/>
                  </a:lnTo>
                  <a:lnTo>
                    <a:pt x="4961" y="799"/>
                  </a:lnTo>
                  <a:lnTo>
                    <a:pt x="4955" y="786"/>
                  </a:lnTo>
                  <a:lnTo>
                    <a:pt x="4944" y="758"/>
                  </a:lnTo>
                  <a:lnTo>
                    <a:pt x="4938" y="745"/>
                  </a:lnTo>
                  <a:lnTo>
                    <a:pt x="4929" y="732"/>
                  </a:lnTo>
                  <a:lnTo>
                    <a:pt x="4911" y="711"/>
                  </a:lnTo>
                  <a:lnTo>
                    <a:pt x="4900" y="700"/>
                  </a:lnTo>
                  <a:lnTo>
                    <a:pt x="4888" y="690"/>
                  </a:lnTo>
                  <a:lnTo>
                    <a:pt x="4864" y="675"/>
                  </a:lnTo>
                  <a:lnTo>
                    <a:pt x="4837" y="662"/>
                  </a:lnTo>
                  <a:lnTo>
                    <a:pt x="4821" y="658"/>
                  </a:lnTo>
                  <a:lnTo>
                    <a:pt x="4807" y="656"/>
                  </a:lnTo>
                  <a:lnTo>
                    <a:pt x="4775" y="653"/>
                  </a:lnTo>
                  <a:lnTo>
                    <a:pt x="4751" y="656"/>
                  </a:lnTo>
                  <a:lnTo>
                    <a:pt x="4725" y="661"/>
                  </a:lnTo>
                  <a:lnTo>
                    <a:pt x="4702" y="665"/>
                  </a:lnTo>
                  <a:lnTo>
                    <a:pt x="4694" y="663"/>
                  </a:lnTo>
                  <a:lnTo>
                    <a:pt x="4688" y="660"/>
                  </a:lnTo>
                  <a:lnTo>
                    <a:pt x="4671" y="643"/>
                  </a:lnTo>
                  <a:lnTo>
                    <a:pt x="4653" y="628"/>
                  </a:lnTo>
                  <a:lnTo>
                    <a:pt x="4634" y="615"/>
                  </a:lnTo>
                  <a:lnTo>
                    <a:pt x="4614" y="605"/>
                  </a:lnTo>
                  <a:lnTo>
                    <a:pt x="4592" y="596"/>
                  </a:lnTo>
                  <a:lnTo>
                    <a:pt x="4570" y="589"/>
                  </a:lnTo>
                  <a:lnTo>
                    <a:pt x="4546" y="585"/>
                  </a:lnTo>
                  <a:lnTo>
                    <a:pt x="4521" y="584"/>
                  </a:lnTo>
                  <a:lnTo>
                    <a:pt x="4480" y="587"/>
                  </a:lnTo>
                  <a:lnTo>
                    <a:pt x="4462" y="590"/>
                  </a:lnTo>
                  <a:lnTo>
                    <a:pt x="4446" y="594"/>
                  </a:lnTo>
                  <a:lnTo>
                    <a:pt x="4416" y="607"/>
                  </a:lnTo>
                  <a:lnTo>
                    <a:pt x="4393" y="622"/>
                  </a:lnTo>
                  <a:lnTo>
                    <a:pt x="4373" y="640"/>
                  </a:lnTo>
                  <a:lnTo>
                    <a:pt x="4356" y="661"/>
                  </a:lnTo>
                  <a:lnTo>
                    <a:pt x="4343" y="683"/>
                  </a:lnTo>
                  <a:lnTo>
                    <a:pt x="4333" y="704"/>
                  </a:lnTo>
                  <a:lnTo>
                    <a:pt x="4317" y="749"/>
                  </a:lnTo>
                  <a:lnTo>
                    <a:pt x="4306" y="786"/>
                  </a:lnTo>
                  <a:lnTo>
                    <a:pt x="4293" y="812"/>
                  </a:lnTo>
                  <a:lnTo>
                    <a:pt x="4287" y="818"/>
                  </a:lnTo>
                  <a:lnTo>
                    <a:pt x="4276" y="819"/>
                  </a:lnTo>
                  <a:lnTo>
                    <a:pt x="4261" y="818"/>
                  </a:lnTo>
                  <a:lnTo>
                    <a:pt x="4242" y="819"/>
                  </a:lnTo>
                  <a:lnTo>
                    <a:pt x="4224" y="824"/>
                  </a:lnTo>
                  <a:lnTo>
                    <a:pt x="4207" y="832"/>
                  </a:lnTo>
                  <a:lnTo>
                    <a:pt x="4193" y="842"/>
                  </a:lnTo>
                  <a:lnTo>
                    <a:pt x="4180" y="854"/>
                  </a:lnTo>
                  <a:lnTo>
                    <a:pt x="4170" y="868"/>
                  </a:lnTo>
                  <a:lnTo>
                    <a:pt x="4162" y="885"/>
                  </a:lnTo>
                  <a:lnTo>
                    <a:pt x="4157" y="902"/>
                  </a:lnTo>
                  <a:close/>
                  <a:moveTo>
                    <a:pt x="5248" y="923"/>
                  </a:moveTo>
                  <a:lnTo>
                    <a:pt x="5243" y="933"/>
                  </a:lnTo>
                  <a:lnTo>
                    <a:pt x="5238" y="938"/>
                  </a:lnTo>
                  <a:lnTo>
                    <a:pt x="5227" y="942"/>
                  </a:lnTo>
                  <a:lnTo>
                    <a:pt x="4680" y="942"/>
                  </a:lnTo>
                  <a:lnTo>
                    <a:pt x="4135" y="942"/>
                  </a:lnTo>
                  <a:lnTo>
                    <a:pt x="4129" y="940"/>
                  </a:lnTo>
                  <a:lnTo>
                    <a:pt x="4123" y="936"/>
                  </a:lnTo>
                  <a:lnTo>
                    <a:pt x="4117" y="928"/>
                  </a:lnTo>
                  <a:lnTo>
                    <a:pt x="4116" y="920"/>
                  </a:lnTo>
                  <a:lnTo>
                    <a:pt x="4119" y="891"/>
                  </a:lnTo>
                  <a:lnTo>
                    <a:pt x="4128" y="864"/>
                  </a:lnTo>
                  <a:lnTo>
                    <a:pt x="4140" y="840"/>
                  </a:lnTo>
                  <a:lnTo>
                    <a:pt x="4158" y="819"/>
                  </a:lnTo>
                  <a:lnTo>
                    <a:pt x="4180" y="801"/>
                  </a:lnTo>
                  <a:lnTo>
                    <a:pt x="4205" y="789"/>
                  </a:lnTo>
                  <a:lnTo>
                    <a:pt x="4232" y="781"/>
                  </a:lnTo>
                  <a:lnTo>
                    <a:pt x="4261" y="777"/>
                  </a:lnTo>
                  <a:lnTo>
                    <a:pt x="4265" y="753"/>
                  </a:lnTo>
                  <a:lnTo>
                    <a:pt x="4270" y="730"/>
                  </a:lnTo>
                  <a:lnTo>
                    <a:pt x="4279" y="707"/>
                  </a:lnTo>
                  <a:lnTo>
                    <a:pt x="4288" y="686"/>
                  </a:lnTo>
                  <a:lnTo>
                    <a:pt x="4301" y="666"/>
                  </a:lnTo>
                  <a:lnTo>
                    <a:pt x="4314" y="647"/>
                  </a:lnTo>
                  <a:lnTo>
                    <a:pt x="4329" y="629"/>
                  </a:lnTo>
                  <a:lnTo>
                    <a:pt x="4346" y="612"/>
                  </a:lnTo>
                  <a:lnTo>
                    <a:pt x="4364" y="597"/>
                  </a:lnTo>
                  <a:lnTo>
                    <a:pt x="4383" y="584"/>
                  </a:lnTo>
                  <a:lnTo>
                    <a:pt x="4425" y="562"/>
                  </a:lnTo>
                  <a:lnTo>
                    <a:pt x="4448" y="555"/>
                  </a:lnTo>
                  <a:lnTo>
                    <a:pt x="4471" y="550"/>
                  </a:lnTo>
                  <a:lnTo>
                    <a:pt x="4496" y="546"/>
                  </a:lnTo>
                  <a:lnTo>
                    <a:pt x="4521" y="544"/>
                  </a:lnTo>
                  <a:lnTo>
                    <a:pt x="4548" y="546"/>
                  </a:lnTo>
                  <a:lnTo>
                    <a:pt x="4575" y="550"/>
                  </a:lnTo>
                  <a:lnTo>
                    <a:pt x="4625" y="565"/>
                  </a:lnTo>
                  <a:lnTo>
                    <a:pt x="4648" y="576"/>
                  </a:lnTo>
                  <a:lnTo>
                    <a:pt x="4670" y="590"/>
                  </a:lnTo>
                  <a:lnTo>
                    <a:pt x="4689" y="606"/>
                  </a:lnTo>
                  <a:lnTo>
                    <a:pt x="4709" y="622"/>
                  </a:lnTo>
                  <a:lnTo>
                    <a:pt x="4741" y="615"/>
                  </a:lnTo>
                  <a:lnTo>
                    <a:pt x="4775" y="612"/>
                  </a:lnTo>
                  <a:lnTo>
                    <a:pt x="4810" y="615"/>
                  </a:lnTo>
                  <a:lnTo>
                    <a:pt x="4827" y="619"/>
                  </a:lnTo>
                  <a:lnTo>
                    <a:pt x="4842" y="622"/>
                  </a:lnTo>
                  <a:lnTo>
                    <a:pt x="4873" y="635"/>
                  </a:lnTo>
                  <a:lnTo>
                    <a:pt x="4901" y="651"/>
                  </a:lnTo>
                  <a:lnTo>
                    <a:pt x="4927" y="671"/>
                  </a:lnTo>
                  <a:lnTo>
                    <a:pt x="4950" y="694"/>
                  </a:lnTo>
                  <a:lnTo>
                    <a:pt x="4969" y="720"/>
                  </a:lnTo>
                  <a:lnTo>
                    <a:pt x="4984" y="749"/>
                  </a:lnTo>
                  <a:lnTo>
                    <a:pt x="5005" y="738"/>
                  </a:lnTo>
                  <a:lnTo>
                    <a:pt x="5028" y="729"/>
                  </a:lnTo>
                  <a:lnTo>
                    <a:pt x="5052" y="722"/>
                  </a:lnTo>
                  <a:lnTo>
                    <a:pt x="5077" y="721"/>
                  </a:lnTo>
                  <a:lnTo>
                    <a:pt x="5112" y="725"/>
                  </a:lnTo>
                  <a:lnTo>
                    <a:pt x="5128" y="729"/>
                  </a:lnTo>
                  <a:lnTo>
                    <a:pt x="5145" y="734"/>
                  </a:lnTo>
                  <a:lnTo>
                    <a:pt x="5174" y="750"/>
                  </a:lnTo>
                  <a:lnTo>
                    <a:pt x="5200" y="771"/>
                  </a:lnTo>
                  <a:lnTo>
                    <a:pt x="5210" y="784"/>
                  </a:lnTo>
                  <a:lnTo>
                    <a:pt x="5220" y="796"/>
                  </a:lnTo>
                  <a:lnTo>
                    <a:pt x="5229" y="810"/>
                  </a:lnTo>
                  <a:lnTo>
                    <a:pt x="5237" y="826"/>
                  </a:lnTo>
                  <a:lnTo>
                    <a:pt x="5247" y="858"/>
                  </a:lnTo>
                  <a:lnTo>
                    <a:pt x="5250" y="892"/>
                  </a:lnTo>
                  <a:lnTo>
                    <a:pt x="5250" y="908"/>
                  </a:lnTo>
                  <a:lnTo>
                    <a:pt x="5248" y="923"/>
                  </a:lnTo>
                  <a:close/>
                  <a:moveTo>
                    <a:pt x="4239" y="2494"/>
                  </a:moveTo>
                  <a:lnTo>
                    <a:pt x="4239" y="2607"/>
                  </a:lnTo>
                  <a:lnTo>
                    <a:pt x="4238" y="2616"/>
                  </a:lnTo>
                  <a:lnTo>
                    <a:pt x="4233" y="2622"/>
                  </a:lnTo>
                  <a:lnTo>
                    <a:pt x="4226" y="2626"/>
                  </a:lnTo>
                  <a:lnTo>
                    <a:pt x="4219" y="2627"/>
                  </a:lnTo>
                  <a:lnTo>
                    <a:pt x="4212" y="2626"/>
                  </a:lnTo>
                  <a:lnTo>
                    <a:pt x="4206" y="2622"/>
                  </a:lnTo>
                  <a:lnTo>
                    <a:pt x="4201" y="2616"/>
                  </a:lnTo>
                  <a:lnTo>
                    <a:pt x="4199" y="2607"/>
                  </a:lnTo>
                  <a:lnTo>
                    <a:pt x="4199" y="2494"/>
                  </a:lnTo>
                  <a:lnTo>
                    <a:pt x="4201" y="2487"/>
                  </a:lnTo>
                  <a:lnTo>
                    <a:pt x="4206" y="2480"/>
                  </a:lnTo>
                  <a:lnTo>
                    <a:pt x="4212" y="2477"/>
                  </a:lnTo>
                  <a:lnTo>
                    <a:pt x="4219" y="2475"/>
                  </a:lnTo>
                  <a:lnTo>
                    <a:pt x="4226" y="2477"/>
                  </a:lnTo>
                  <a:lnTo>
                    <a:pt x="4233" y="2480"/>
                  </a:lnTo>
                  <a:lnTo>
                    <a:pt x="4238" y="2487"/>
                  </a:lnTo>
                  <a:lnTo>
                    <a:pt x="4239" y="2494"/>
                  </a:lnTo>
                  <a:close/>
                  <a:moveTo>
                    <a:pt x="4502" y="2494"/>
                  </a:moveTo>
                  <a:lnTo>
                    <a:pt x="4502" y="2607"/>
                  </a:lnTo>
                  <a:lnTo>
                    <a:pt x="4501" y="2616"/>
                  </a:lnTo>
                  <a:lnTo>
                    <a:pt x="4496" y="2622"/>
                  </a:lnTo>
                  <a:lnTo>
                    <a:pt x="4489" y="2626"/>
                  </a:lnTo>
                  <a:lnTo>
                    <a:pt x="4483" y="2627"/>
                  </a:lnTo>
                  <a:lnTo>
                    <a:pt x="4475" y="2626"/>
                  </a:lnTo>
                  <a:lnTo>
                    <a:pt x="4469" y="2622"/>
                  </a:lnTo>
                  <a:lnTo>
                    <a:pt x="4464" y="2616"/>
                  </a:lnTo>
                  <a:lnTo>
                    <a:pt x="4462" y="2607"/>
                  </a:lnTo>
                  <a:lnTo>
                    <a:pt x="4462" y="2494"/>
                  </a:lnTo>
                  <a:lnTo>
                    <a:pt x="4464" y="2487"/>
                  </a:lnTo>
                  <a:lnTo>
                    <a:pt x="4469" y="2480"/>
                  </a:lnTo>
                  <a:lnTo>
                    <a:pt x="4475" y="2477"/>
                  </a:lnTo>
                  <a:lnTo>
                    <a:pt x="4483" y="2475"/>
                  </a:lnTo>
                  <a:lnTo>
                    <a:pt x="4489" y="2477"/>
                  </a:lnTo>
                  <a:lnTo>
                    <a:pt x="4496" y="2480"/>
                  </a:lnTo>
                  <a:lnTo>
                    <a:pt x="4501" y="2487"/>
                  </a:lnTo>
                  <a:lnTo>
                    <a:pt x="4502" y="2494"/>
                  </a:lnTo>
                  <a:close/>
                  <a:moveTo>
                    <a:pt x="4765" y="2494"/>
                  </a:moveTo>
                  <a:lnTo>
                    <a:pt x="4765" y="2607"/>
                  </a:lnTo>
                  <a:lnTo>
                    <a:pt x="4764" y="2616"/>
                  </a:lnTo>
                  <a:lnTo>
                    <a:pt x="4759" y="2622"/>
                  </a:lnTo>
                  <a:lnTo>
                    <a:pt x="4752" y="2626"/>
                  </a:lnTo>
                  <a:lnTo>
                    <a:pt x="4746" y="2627"/>
                  </a:lnTo>
                  <a:lnTo>
                    <a:pt x="4738" y="2626"/>
                  </a:lnTo>
                  <a:lnTo>
                    <a:pt x="4732" y="2622"/>
                  </a:lnTo>
                  <a:lnTo>
                    <a:pt x="4728" y="2616"/>
                  </a:lnTo>
                  <a:lnTo>
                    <a:pt x="4725" y="2607"/>
                  </a:lnTo>
                  <a:lnTo>
                    <a:pt x="4725" y="2494"/>
                  </a:lnTo>
                  <a:lnTo>
                    <a:pt x="4728" y="2487"/>
                  </a:lnTo>
                  <a:lnTo>
                    <a:pt x="4732" y="2480"/>
                  </a:lnTo>
                  <a:lnTo>
                    <a:pt x="4738" y="2477"/>
                  </a:lnTo>
                  <a:lnTo>
                    <a:pt x="4746" y="2475"/>
                  </a:lnTo>
                  <a:lnTo>
                    <a:pt x="4752" y="2477"/>
                  </a:lnTo>
                  <a:lnTo>
                    <a:pt x="4759" y="2480"/>
                  </a:lnTo>
                  <a:lnTo>
                    <a:pt x="4764" y="2487"/>
                  </a:lnTo>
                  <a:lnTo>
                    <a:pt x="4765" y="2494"/>
                  </a:lnTo>
                  <a:close/>
                  <a:moveTo>
                    <a:pt x="5029" y="2494"/>
                  </a:moveTo>
                  <a:lnTo>
                    <a:pt x="5029" y="2607"/>
                  </a:lnTo>
                  <a:lnTo>
                    <a:pt x="5027" y="2616"/>
                  </a:lnTo>
                  <a:lnTo>
                    <a:pt x="5023" y="2622"/>
                  </a:lnTo>
                  <a:lnTo>
                    <a:pt x="5016" y="2626"/>
                  </a:lnTo>
                  <a:lnTo>
                    <a:pt x="5009" y="2627"/>
                  </a:lnTo>
                  <a:lnTo>
                    <a:pt x="5001" y="2626"/>
                  </a:lnTo>
                  <a:lnTo>
                    <a:pt x="4994" y="2622"/>
                  </a:lnTo>
                  <a:lnTo>
                    <a:pt x="4991" y="2616"/>
                  </a:lnTo>
                  <a:lnTo>
                    <a:pt x="4988" y="2607"/>
                  </a:lnTo>
                  <a:lnTo>
                    <a:pt x="4988" y="2494"/>
                  </a:lnTo>
                  <a:lnTo>
                    <a:pt x="4991" y="2487"/>
                  </a:lnTo>
                  <a:lnTo>
                    <a:pt x="4994" y="2480"/>
                  </a:lnTo>
                  <a:lnTo>
                    <a:pt x="5001" y="2477"/>
                  </a:lnTo>
                  <a:lnTo>
                    <a:pt x="5009" y="2475"/>
                  </a:lnTo>
                  <a:lnTo>
                    <a:pt x="5016" y="2477"/>
                  </a:lnTo>
                  <a:lnTo>
                    <a:pt x="5023" y="2480"/>
                  </a:lnTo>
                  <a:lnTo>
                    <a:pt x="5027" y="2487"/>
                  </a:lnTo>
                  <a:lnTo>
                    <a:pt x="5029" y="2494"/>
                  </a:lnTo>
                  <a:close/>
                  <a:moveTo>
                    <a:pt x="5292" y="2494"/>
                  </a:moveTo>
                  <a:lnTo>
                    <a:pt x="5292" y="2607"/>
                  </a:lnTo>
                  <a:lnTo>
                    <a:pt x="5289" y="2616"/>
                  </a:lnTo>
                  <a:lnTo>
                    <a:pt x="5286" y="2622"/>
                  </a:lnTo>
                  <a:lnTo>
                    <a:pt x="5279" y="2626"/>
                  </a:lnTo>
                  <a:lnTo>
                    <a:pt x="5271" y="2627"/>
                  </a:lnTo>
                  <a:lnTo>
                    <a:pt x="5264" y="2626"/>
                  </a:lnTo>
                  <a:lnTo>
                    <a:pt x="5257" y="2622"/>
                  </a:lnTo>
                  <a:lnTo>
                    <a:pt x="5253" y="2616"/>
                  </a:lnTo>
                  <a:lnTo>
                    <a:pt x="5252" y="2607"/>
                  </a:lnTo>
                  <a:lnTo>
                    <a:pt x="5252" y="2494"/>
                  </a:lnTo>
                  <a:lnTo>
                    <a:pt x="5253" y="2487"/>
                  </a:lnTo>
                  <a:lnTo>
                    <a:pt x="5257" y="2480"/>
                  </a:lnTo>
                  <a:lnTo>
                    <a:pt x="5264" y="2477"/>
                  </a:lnTo>
                  <a:lnTo>
                    <a:pt x="5271" y="2475"/>
                  </a:lnTo>
                  <a:lnTo>
                    <a:pt x="5279" y="2477"/>
                  </a:lnTo>
                  <a:lnTo>
                    <a:pt x="5286" y="2480"/>
                  </a:lnTo>
                  <a:lnTo>
                    <a:pt x="5289" y="2487"/>
                  </a:lnTo>
                  <a:lnTo>
                    <a:pt x="5292" y="2494"/>
                  </a:lnTo>
                  <a:close/>
                  <a:moveTo>
                    <a:pt x="5555" y="2494"/>
                  </a:moveTo>
                  <a:lnTo>
                    <a:pt x="5555" y="2607"/>
                  </a:lnTo>
                  <a:lnTo>
                    <a:pt x="5554" y="2616"/>
                  </a:lnTo>
                  <a:lnTo>
                    <a:pt x="5548" y="2622"/>
                  </a:lnTo>
                  <a:lnTo>
                    <a:pt x="5542" y="2626"/>
                  </a:lnTo>
                  <a:lnTo>
                    <a:pt x="5534" y="2627"/>
                  </a:lnTo>
                  <a:lnTo>
                    <a:pt x="5528" y="2626"/>
                  </a:lnTo>
                  <a:lnTo>
                    <a:pt x="5521" y="2622"/>
                  </a:lnTo>
                  <a:lnTo>
                    <a:pt x="5516" y="2616"/>
                  </a:lnTo>
                  <a:lnTo>
                    <a:pt x="5515" y="2607"/>
                  </a:lnTo>
                  <a:lnTo>
                    <a:pt x="5515" y="2494"/>
                  </a:lnTo>
                  <a:lnTo>
                    <a:pt x="5516" y="2487"/>
                  </a:lnTo>
                  <a:lnTo>
                    <a:pt x="5521" y="2480"/>
                  </a:lnTo>
                  <a:lnTo>
                    <a:pt x="5528" y="2477"/>
                  </a:lnTo>
                  <a:lnTo>
                    <a:pt x="5534" y="2475"/>
                  </a:lnTo>
                  <a:lnTo>
                    <a:pt x="5542" y="2477"/>
                  </a:lnTo>
                  <a:lnTo>
                    <a:pt x="5548" y="2480"/>
                  </a:lnTo>
                  <a:lnTo>
                    <a:pt x="5554" y="2487"/>
                  </a:lnTo>
                  <a:lnTo>
                    <a:pt x="5555" y="2494"/>
                  </a:lnTo>
                  <a:close/>
                  <a:moveTo>
                    <a:pt x="4239" y="2741"/>
                  </a:moveTo>
                  <a:lnTo>
                    <a:pt x="4239" y="2854"/>
                  </a:lnTo>
                  <a:lnTo>
                    <a:pt x="4238" y="2863"/>
                  </a:lnTo>
                  <a:lnTo>
                    <a:pt x="4233" y="2869"/>
                  </a:lnTo>
                  <a:lnTo>
                    <a:pt x="4226" y="2873"/>
                  </a:lnTo>
                  <a:lnTo>
                    <a:pt x="4219" y="2874"/>
                  </a:lnTo>
                  <a:lnTo>
                    <a:pt x="4212" y="2873"/>
                  </a:lnTo>
                  <a:lnTo>
                    <a:pt x="4206" y="2869"/>
                  </a:lnTo>
                  <a:lnTo>
                    <a:pt x="4201" y="2863"/>
                  </a:lnTo>
                  <a:lnTo>
                    <a:pt x="4199" y="2854"/>
                  </a:lnTo>
                  <a:lnTo>
                    <a:pt x="4199" y="2741"/>
                  </a:lnTo>
                  <a:lnTo>
                    <a:pt x="4201" y="2732"/>
                  </a:lnTo>
                  <a:lnTo>
                    <a:pt x="4206" y="2727"/>
                  </a:lnTo>
                  <a:lnTo>
                    <a:pt x="4212" y="2723"/>
                  </a:lnTo>
                  <a:lnTo>
                    <a:pt x="4219" y="2722"/>
                  </a:lnTo>
                  <a:lnTo>
                    <a:pt x="4226" y="2723"/>
                  </a:lnTo>
                  <a:lnTo>
                    <a:pt x="4233" y="2727"/>
                  </a:lnTo>
                  <a:lnTo>
                    <a:pt x="4238" y="2732"/>
                  </a:lnTo>
                  <a:lnTo>
                    <a:pt x="4239" y="2741"/>
                  </a:lnTo>
                  <a:close/>
                  <a:moveTo>
                    <a:pt x="4502" y="2741"/>
                  </a:moveTo>
                  <a:lnTo>
                    <a:pt x="4502" y="2854"/>
                  </a:lnTo>
                  <a:lnTo>
                    <a:pt x="4501" y="2863"/>
                  </a:lnTo>
                  <a:lnTo>
                    <a:pt x="4496" y="2869"/>
                  </a:lnTo>
                  <a:lnTo>
                    <a:pt x="4489" y="2873"/>
                  </a:lnTo>
                  <a:lnTo>
                    <a:pt x="4483" y="2874"/>
                  </a:lnTo>
                  <a:lnTo>
                    <a:pt x="4475" y="2873"/>
                  </a:lnTo>
                  <a:lnTo>
                    <a:pt x="4469" y="2869"/>
                  </a:lnTo>
                  <a:lnTo>
                    <a:pt x="4464" y="2863"/>
                  </a:lnTo>
                  <a:lnTo>
                    <a:pt x="4462" y="2854"/>
                  </a:lnTo>
                  <a:lnTo>
                    <a:pt x="4462" y="2741"/>
                  </a:lnTo>
                  <a:lnTo>
                    <a:pt x="4464" y="2732"/>
                  </a:lnTo>
                  <a:lnTo>
                    <a:pt x="4469" y="2727"/>
                  </a:lnTo>
                  <a:lnTo>
                    <a:pt x="4475" y="2723"/>
                  </a:lnTo>
                  <a:lnTo>
                    <a:pt x="4483" y="2722"/>
                  </a:lnTo>
                  <a:lnTo>
                    <a:pt x="4489" y="2723"/>
                  </a:lnTo>
                  <a:lnTo>
                    <a:pt x="4496" y="2727"/>
                  </a:lnTo>
                  <a:lnTo>
                    <a:pt x="4501" y="2732"/>
                  </a:lnTo>
                  <a:lnTo>
                    <a:pt x="4502" y="2741"/>
                  </a:lnTo>
                  <a:close/>
                  <a:moveTo>
                    <a:pt x="4765" y="2741"/>
                  </a:moveTo>
                  <a:lnTo>
                    <a:pt x="4765" y="2854"/>
                  </a:lnTo>
                  <a:lnTo>
                    <a:pt x="4764" y="2863"/>
                  </a:lnTo>
                  <a:lnTo>
                    <a:pt x="4759" y="2869"/>
                  </a:lnTo>
                  <a:lnTo>
                    <a:pt x="4752" y="2873"/>
                  </a:lnTo>
                  <a:lnTo>
                    <a:pt x="4746" y="2874"/>
                  </a:lnTo>
                  <a:lnTo>
                    <a:pt x="4738" y="2873"/>
                  </a:lnTo>
                  <a:lnTo>
                    <a:pt x="4732" y="2869"/>
                  </a:lnTo>
                  <a:lnTo>
                    <a:pt x="4728" y="2863"/>
                  </a:lnTo>
                  <a:lnTo>
                    <a:pt x="4725" y="2854"/>
                  </a:lnTo>
                  <a:lnTo>
                    <a:pt x="4725" y="2741"/>
                  </a:lnTo>
                  <a:lnTo>
                    <a:pt x="4728" y="2732"/>
                  </a:lnTo>
                  <a:lnTo>
                    <a:pt x="4732" y="2727"/>
                  </a:lnTo>
                  <a:lnTo>
                    <a:pt x="4738" y="2723"/>
                  </a:lnTo>
                  <a:lnTo>
                    <a:pt x="4746" y="2722"/>
                  </a:lnTo>
                  <a:lnTo>
                    <a:pt x="4752" y="2723"/>
                  </a:lnTo>
                  <a:lnTo>
                    <a:pt x="4759" y="2727"/>
                  </a:lnTo>
                  <a:lnTo>
                    <a:pt x="4764" y="2732"/>
                  </a:lnTo>
                  <a:lnTo>
                    <a:pt x="4765" y="2741"/>
                  </a:lnTo>
                  <a:close/>
                  <a:moveTo>
                    <a:pt x="5029" y="2741"/>
                  </a:moveTo>
                  <a:lnTo>
                    <a:pt x="5029" y="2854"/>
                  </a:lnTo>
                  <a:lnTo>
                    <a:pt x="5027" y="2863"/>
                  </a:lnTo>
                  <a:lnTo>
                    <a:pt x="5023" y="2869"/>
                  </a:lnTo>
                  <a:lnTo>
                    <a:pt x="5016" y="2873"/>
                  </a:lnTo>
                  <a:lnTo>
                    <a:pt x="5009" y="2874"/>
                  </a:lnTo>
                  <a:lnTo>
                    <a:pt x="5001" y="2873"/>
                  </a:lnTo>
                  <a:lnTo>
                    <a:pt x="4994" y="2869"/>
                  </a:lnTo>
                  <a:lnTo>
                    <a:pt x="4991" y="2863"/>
                  </a:lnTo>
                  <a:lnTo>
                    <a:pt x="4988" y="2854"/>
                  </a:lnTo>
                  <a:lnTo>
                    <a:pt x="4988" y="2741"/>
                  </a:lnTo>
                  <a:lnTo>
                    <a:pt x="4991" y="2732"/>
                  </a:lnTo>
                  <a:lnTo>
                    <a:pt x="4994" y="2727"/>
                  </a:lnTo>
                  <a:lnTo>
                    <a:pt x="5001" y="2723"/>
                  </a:lnTo>
                  <a:lnTo>
                    <a:pt x="5009" y="2722"/>
                  </a:lnTo>
                  <a:lnTo>
                    <a:pt x="5016" y="2723"/>
                  </a:lnTo>
                  <a:lnTo>
                    <a:pt x="5023" y="2727"/>
                  </a:lnTo>
                  <a:lnTo>
                    <a:pt x="5027" y="2732"/>
                  </a:lnTo>
                  <a:lnTo>
                    <a:pt x="5029" y="2741"/>
                  </a:lnTo>
                  <a:close/>
                  <a:moveTo>
                    <a:pt x="5292" y="2741"/>
                  </a:moveTo>
                  <a:lnTo>
                    <a:pt x="5292" y="2854"/>
                  </a:lnTo>
                  <a:lnTo>
                    <a:pt x="5289" y="2863"/>
                  </a:lnTo>
                  <a:lnTo>
                    <a:pt x="5286" y="2869"/>
                  </a:lnTo>
                  <a:lnTo>
                    <a:pt x="5279" y="2873"/>
                  </a:lnTo>
                  <a:lnTo>
                    <a:pt x="5271" y="2874"/>
                  </a:lnTo>
                  <a:lnTo>
                    <a:pt x="5264" y="2873"/>
                  </a:lnTo>
                  <a:lnTo>
                    <a:pt x="5257" y="2869"/>
                  </a:lnTo>
                  <a:lnTo>
                    <a:pt x="5253" y="2863"/>
                  </a:lnTo>
                  <a:lnTo>
                    <a:pt x="5252" y="2854"/>
                  </a:lnTo>
                  <a:lnTo>
                    <a:pt x="5252" y="2741"/>
                  </a:lnTo>
                  <a:lnTo>
                    <a:pt x="5253" y="2732"/>
                  </a:lnTo>
                  <a:lnTo>
                    <a:pt x="5257" y="2727"/>
                  </a:lnTo>
                  <a:lnTo>
                    <a:pt x="5264" y="2723"/>
                  </a:lnTo>
                  <a:lnTo>
                    <a:pt x="5271" y="2722"/>
                  </a:lnTo>
                  <a:lnTo>
                    <a:pt x="5279" y="2723"/>
                  </a:lnTo>
                  <a:lnTo>
                    <a:pt x="5286" y="2727"/>
                  </a:lnTo>
                  <a:lnTo>
                    <a:pt x="5289" y="2732"/>
                  </a:lnTo>
                  <a:lnTo>
                    <a:pt x="5292" y="2741"/>
                  </a:lnTo>
                  <a:close/>
                  <a:moveTo>
                    <a:pt x="5555" y="2741"/>
                  </a:moveTo>
                  <a:lnTo>
                    <a:pt x="5555" y="2854"/>
                  </a:lnTo>
                  <a:lnTo>
                    <a:pt x="5554" y="2863"/>
                  </a:lnTo>
                  <a:lnTo>
                    <a:pt x="5548" y="2869"/>
                  </a:lnTo>
                  <a:lnTo>
                    <a:pt x="5542" y="2873"/>
                  </a:lnTo>
                  <a:lnTo>
                    <a:pt x="5534" y="2874"/>
                  </a:lnTo>
                  <a:lnTo>
                    <a:pt x="5528" y="2873"/>
                  </a:lnTo>
                  <a:lnTo>
                    <a:pt x="5521" y="2869"/>
                  </a:lnTo>
                  <a:lnTo>
                    <a:pt x="5516" y="2863"/>
                  </a:lnTo>
                  <a:lnTo>
                    <a:pt x="5515" y="2854"/>
                  </a:lnTo>
                  <a:lnTo>
                    <a:pt x="5515" y="2741"/>
                  </a:lnTo>
                  <a:lnTo>
                    <a:pt x="5516" y="2732"/>
                  </a:lnTo>
                  <a:lnTo>
                    <a:pt x="5521" y="2727"/>
                  </a:lnTo>
                  <a:lnTo>
                    <a:pt x="5528" y="2723"/>
                  </a:lnTo>
                  <a:lnTo>
                    <a:pt x="5534" y="2722"/>
                  </a:lnTo>
                  <a:lnTo>
                    <a:pt x="5542" y="2723"/>
                  </a:lnTo>
                  <a:lnTo>
                    <a:pt x="5548" y="2727"/>
                  </a:lnTo>
                  <a:lnTo>
                    <a:pt x="5554" y="2732"/>
                  </a:lnTo>
                  <a:lnTo>
                    <a:pt x="5555" y="2741"/>
                  </a:lnTo>
                  <a:close/>
                  <a:moveTo>
                    <a:pt x="4239" y="2988"/>
                  </a:moveTo>
                  <a:lnTo>
                    <a:pt x="4239" y="3101"/>
                  </a:lnTo>
                  <a:lnTo>
                    <a:pt x="4238" y="3109"/>
                  </a:lnTo>
                  <a:lnTo>
                    <a:pt x="4233" y="3115"/>
                  </a:lnTo>
                  <a:lnTo>
                    <a:pt x="4226" y="3118"/>
                  </a:lnTo>
                  <a:lnTo>
                    <a:pt x="4219" y="3120"/>
                  </a:lnTo>
                  <a:lnTo>
                    <a:pt x="4212" y="3118"/>
                  </a:lnTo>
                  <a:lnTo>
                    <a:pt x="4206" y="3115"/>
                  </a:lnTo>
                  <a:lnTo>
                    <a:pt x="4201" y="3109"/>
                  </a:lnTo>
                  <a:lnTo>
                    <a:pt x="4199" y="3101"/>
                  </a:lnTo>
                  <a:lnTo>
                    <a:pt x="4199" y="2988"/>
                  </a:lnTo>
                  <a:lnTo>
                    <a:pt x="4201" y="2979"/>
                  </a:lnTo>
                  <a:lnTo>
                    <a:pt x="4206" y="2973"/>
                  </a:lnTo>
                  <a:lnTo>
                    <a:pt x="4212" y="2970"/>
                  </a:lnTo>
                  <a:lnTo>
                    <a:pt x="4219" y="2969"/>
                  </a:lnTo>
                  <a:lnTo>
                    <a:pt x="4226" y="2970"/>
                  </a:lnTo>
                  <a:lnTo>
                    <a:pt x="4233" y="2973"/>
                  </a:lnTo>
                  <a:lnTo>
                    <a:pt x="4238" y="2979"/>
                  </a:lnTo>
                  <a:lnTo>
                    <a:pt x="4239" y="2988"/>
                  </a:lnTo>
                  <a:close/>
                  <a:moveTo>
                    <a:pt x="4502" y="2988"/>
                  </a:moveTo>
                  <a:lnTo>
                    <a:pt x="4502" y="3101"/>
                  </a:lnTo>
                  <a:lnTo>
                    <a:pt x="4501" y="3109"/>
                  </a:lnTo>
                  <a:lnTo>
                    <a:pt x="4496" y="3115"/>
                  </a:lnTo>
                  <a:lnTo>
                    <a:pt x="4489" y="3118"/>
                  </a:lnTo>
                  <a:lnTo>
                    <a:pt x="4483" y="3120"/>
                  </a:lnTo>
                  <a:lnTo>
                    <a:pt x="4475" y="3118"/>
                  </a:lnTo>
                  <a:lnTo>
                    <a:pt x="4469" y="3115"/>
                  </a:lnTo>
                  <a:lnTo>
                    <a:pt x="4464" y="3109"/>
                  </a:lnTo>
                  <a:lnTo>
                    <a:pt x="4462" y="3101"/>
                  </a:lnTo>
                  <a:lnTo>
                    <a:pt x="4462" y="2988"/>
                  </a:lnTo>
                  <a:lnTo>
                    <a:pt x="4464" y="2979"/>
                  </a:lnTo>
                  <a:lnTo>
                    <a:pt x="4469" y="2973"/>
                  </a:lnTo>
                  <a:lnTo>
                    <a:pt x="4475" y="2970"/>
                  </a:lnTo>
                  <a:lnTo>
                    <a:pt x="4483" y="2969"/>
                  </a:lnTo>
                  <a:lnTo>
                    <a:pt x="4489" y="2970"/>
                  </a:lnTo>
                  <a:lnTo>
                    <a:pt x="4496" y="2973"/>
                  </a:lnTo>
                  <a:lnTo>
                    <a:pt x="4501" y="2979"/>
                  </a:lnTo>
                  <a:lnTo>
                    <a:pt x="4502" y="2988"/>
                  </a:lnTo>
                  <a:close/>
                  <a:moveTo>
                    <a:pt x="4765" y="2988"/>
                  </a:moveTo>
                  <a:lnTo>
                    <a:pt x="4765" y="3101"/>
                  </a:lnTo>
                  <a:lnTo>
                    <a:pt x="4764" y="3109"/>
                  </a:lnTo>
                  <a:lnTo>
                    <a:pt x="4759" y="3115"/>
                  </a:lnTo>
                  <a:lnTo>
                    <a:pt x="4752" y="3118"/>
                  </a:lnTo>
                  <a:lnTo>
                    <a:pt x="4746" y="3120"/>
                  </a:lnTo>
                  <a:lnTo>
                    <a:pt x="4738" y="3118"/>
                  </a:lnTo>
                  <a:lnTo>
                    <a:pt x="4732" y="3115"/>
                  </a:lnTo>
                  <a:lnTo>
                    <a:pt x="4728" y="3109"/>
                  </a:lnTo>
                  <a:lnTo>
                    <a:pt x="4725" y="3101"/>
                  </a:lnTo>
                  <a:lnTo>
                    <a:pt x="4725" y="2988"/>
                  </a:lnTo>
                  <a:lnTo>
                    <a:pt x="4728" y="2979"/>
                  </a:lnTo>
                  <a:lnTo>
                    <a:pt x="4732" y="2973"/>
                  </a:lnTo>
                  <a:lnTo>
                    <a:pt x="4738" y="2970"/>
                  </a:lnTo>
                  <a:lnTo>
                    <a:pt x="4746" y="2969"/>
                  </a:lnTo>
                  <a:lnTo>
                    <a:pt x="4752" y="2970"/>
                  </a:lnTo>
                  <a:lnTo>
                    <a:pt x="4759" y="2973"/>
                  </a:lnTo>
                  <a:lnTo>
                    <a:pt x="4764" y="2979"/>
                  </a:lnTo>
                  <a:lnTo>
                    <a:pt x="4765" y="2988"/>
                  </a:lnTo>
                  <a:close/>
                  <a:moveTo>
                    <a:pt x="5029" y="2988"/>
                  </a:moveTo>
                  <a:lnTo>
                    <a:pt x="5029" y="3101"/>
                  </a:lnTo>
                  <a:lnTo>
                    <a:pt x="5027" y="3109"/>
                  </a:lnTo>
                  <a:lnTo>
                    <a:pt x="5023" y="3115"/>
                  </a:lnTo>
                  <a:lnTo>
                    <a:pt x="5016" y="3118"/>
                  </a:lnTo>
                  <a:lnTo>
                    <a:pt x="5009" y="3120"/>
                  </a:lnTo>
                  <a:lnTo>
                    <a:pt x="5001" y="3118"/>
                  </a:lnTo>
                  <a:lnTo>
                    <a:pt x="4994" y="3115"/>
                  </a:lnTo>
                  <a:lnTo>
                    <a:pt x="4991" y="3109"/>
                  </a:lnTo>
                  <a:lnTo>
                    <a:pt x="4988" y="3101"/>
                  </a:lnTo>
                  <a:lnTo>
                    <a:pt x="4988" y="2988"/>
                  </a:lnTo>
                  <a:lnTo>
                    <a:pt x="4991" y="2979"/>
                  </a:lnTo>
                  <a:lnTo>
                    <a:pt x="4994" y="2973"/>
                  </a:lnTo>
                  <a:lnTo>
                    <a:pt x="5001" y="2970"/>
                  </a:lnTo>
                  <a:lnTo>
                    <a:pt x="5009" y="2969"/>
                  </a:lnTo>
                  <a:lnTo>
                    <a:pt x="5016" y="2970"/>
                  </a:lnTo>
                  <a:lnTo>
                    <a:pt x="5023" y="2973"/>
                  </a:lnTo>
                  <a:lnTo>
                    <a:pt x="5027" y="2979"/>
                  </a:lnTo>
                  <a:lnTo>
                    <a:pt x="5029" y="2988"/>
                  </a:lnTo>
                  <a:close/>
                  <a:moveTo>
                    <a:pt x="5292" y="2988"/>
                  </a:moveTo>
                  <a:lnTo>
                    <a:pt x="5292" y="3101"/>
                  </a:lnTo>
                  <a:lnTo>
                    <a:pt x="5289" y="3109"/>
                  </a:lnTo>
                  <a:lnTo>
                    <a:pt x="5286" y="3115"/>
                  </a:lnTo>
                  <a:lnTo>
                    <a:pt x="5279" y="3118"/>
                  </a:lnTo>
                  <a:lnTo>
                    <a:pt x="5271" y="3120"/>
                  </a:lnTo>
                  <a:lnTo>
                    <a:pt x="5264" y="3118"/>
                  </a:lnTo>
                  <a:lnTo>
                    <a:pt x="5257" y="3115"/>
                  </a:lnTo>
                  <a:lnTo>
                    <a:pt x="5253" y="3109"/>
                  </a:lnTo>
                  <a:lnTo>
                    <a:pt x="5252" y="3101"/>
                  </a:lnTo>
                  <a:lnTo>
                    <a:pt x="5252" y="2988"/>
                  </a:lnTo>
                  <a:lnTo>
                    <a:pt x="5253" y="2979"/>
                  </a:lnTo>
                  <a:lnTo>
                    <a:pt x="5257" y="2973"/>
                  </a:lnTo>
                  <a:lnTo>
                    <a:pt x="5264" y="2970"/>
                  </a:lnTo>
                  <a:lnTo>
                    <a:pt x="5271" y="2969"/>
                  </a:lnTo>
                  <a:lnTo>
                    <a:pt x="5279" y="2970"/>
                  </a:lnTo>
                  <a:lnTo>
                    <a:pt x="5286" y="2973"/>
                  </a:lnTo>
                  <a:lnTo>
                    <a:pt x="5289" y="2979"/>
                  </a:lnTo>
                  <a:lnTo>
                    <a:pt x="5292" y="2988"/>
                  </a:lnTo>
                  <a:close/>
                  <a:moveTo>
                    <a:pt x="5555" y="2988"/>
                  </a:moveTo>
                  <a:lnTo>
                    <a:pt x="5555" y="3101"/>
                  </a:lnTo>
                  <a:lnTo>
                    <a:pt x="5554" y="3109"/>
                  </a:lnTo>
                  <a:lnTo>
                    <a:pt x="5548" y="3115"/>
                  </a:lnTo>
                  <a:lnTo>
                    <a:pt x="5542" y="3118"/>
                  </a:lnTo>
                  <a:lnTo>
                    <a:pt x="5534" y="3120"/>
                  </a:lnTo>
                  <a:lnTo>
                    <a:pt x="5528" y="3118"/>
                  </a:lnTo>
                  <a:lnTo>
                    <a:pt x="5521" y="3115"/>
                  </a:lnTo>
                  <a:lnTo>
                    <a:pt x="5516" y="3109"/>
                  </a:lnTo>
                  <a:lnTo>
                    <a:pt x="5515" y="3101"/>
                  </a:lnTo>
                  <a:lnTo>
                    <a:pt x="5515" y="2988"/>
                  </a:lnTo>
                  <a:lnTo>
                    <a:pt x="5516" y="2979"/>
                  </a:lnTo>
                  <a:lnTo>
                    <a:pt x="5521" y="2973"/>
                  </a:lnTo>
                  <a:lnTo>
                    <a:pt x="5528" y="2970"/>
                  </a:lnTo>
                  <a:lnTo>
                    <a:pt x="5534" y="2969"/>
                  </a:lnTo>
                  <a:lnTo>
                    <a:pt x="5542" y="2970"/>
                  </a:lnTo>
                  <a:lnTo>
                    <a:pt x="5548" y="2973"/>
                  </a:lnTo>
                  <a:lnTo>
                    <a:pt x="5554" y="2979"/>
                  </a:lnTo>
                  <a:lnTo>
                    <a:pt x="5555" y="2988"/>
                  </a:lnTo>
                  <a:close/>
                  <a:moveTo>
                    <a:pt x="4239" y="3235"/>
                  </a:moveTo>
                  <a:lnTo>
                    <a:pt x="4239" y="3347"/>
                  </a:lnTo>
                  <a:lnTo>
                    <a:pt x="4238" y="3355"/>
                  </a:lnTo>
                  <a:lnTo>
                    <a:pt x="4233" y="3361"/>
                  </a:lnTo>
                  <a:lnTo>
                    <a:pt x="4226" y="3365"/>
                  </a:lnTo>
                  <a:lnTo>
                    <a:pt x="4219" y="3367"/>
                  </a:lnTo>
                  <a:lnTo>
                    <a:pt x="4212" y="3365"/>
                  </a:lnTo>
                  <a:lnTo>
                    <a:pt x="4206" y="3361"/>
                  </a:lnTo>
                  <a:lnTo>
                    <a:pt x="4201" y="3355"/>
                  </a:lnTo>
                  <a:lnTo>
                    <a:pt x="4199" y="3347"/>
                  </a:lnTo>
                  <a:lnTo>
                    <a:pt x="4199" y="3235"/>
                  </a:lnTo>
                  <a:lnTo>
                    <a:pt x="4201" y="3226"/>
                  </a:lnTo>
                  <a:lnTo>
                    <a:pt x="4206" y="3219"/>
                  </a:lnTo>
                  <a:lnTo>
                    <a:pt x="4212" y="3216"/>
                  </a:lnTo>
                  <a:lnTo>
                    <a:pt x="4219" y="3214"/>
                  </a:lnTo>
                  <a:lnTo>
                    <a:pt x="4226" y="3216"/>
                  </a:lnTo>
                  <a:lnTo>
                    <a:pt x="4233" y="3219"/>
                  </a:lnTo>
                  <a:lnTo>
                    <a:pt x="4238" y="3226"/>
                  </a:lnTo>
                  <a:lnTo>
                    <a:pt x="4239" y="3235"/>
                  </a:lnTo>
                  <a:close/>
                  <a:moveTo>
                    <a:pt x="4502" y="3235"/>
                  </a:moveTo>
                  <a:lnTo>
                    <a:pt x="4502" y="3347"/>
                  </a:lnTo>
                  <a:lnTo>
                    <a:pt x="4501" y="3355"/>
                  </a:lnTo>
                  <a:lnTo>
                    <a:pt x="4496" y="3361"/>
                  </a:lnTo>
                  <a:lnTo>
                    <a:pt x="4489" y="3365"/>
                  </a:lnTo>
                  <a:lnTo>
                    <a:pt x="4483" y="3367"/>
                  </a:lnTo>
                  <a:lnTo>
                    <a:pt x="4475" y="3365"/>
                  </a:lnTo>
                  <a:lnTo>
                    <a:pt x="4469" y="3361"/>
                  </a:lnTo>
                  <a:lnTo>
                    <a:pt x="4464" y="3355"/>
                  </a:lnTo>
                  <a:lnTo>
                    <a:pt x="4462" y="3347"/>
                  </a:lnTo>
                  <a:lnTo>
                    <a:pt x="4462" y="3235"/>
                  </a:lnTo>
                  <a:lnTo>
                    <a:pt x="4464" y="3226"/>
                  </a:lnTo>
                  <a:lnTo>
                    <a:pt x="4469" y="3219"/>
                  </a:lnTo>
                  <a:lnTo>
                    <a:pt x="4475" y="3216"/>
                  </a:lnTo>
                  <a:lnTo>
                    <a:pt x="4483" y="3214"/>
                  </a:lnTo>
                  <a:lnTo>
                    <a:pt x="4489" y="3216"/>
                  </a:lnTo>
                  <a:lnTo>
                    <a:pt x="4496" y="3219"/>
                  </a:lnTo>
                  <a:lnTo>
                    <a:pt x="4501" y="3226"/>
                  </a:lnTo>
                  <a:lnTo>
                    <a:pt x="4502" y="3235"/>
                  </a:lnTo>
                  <a:close/>
                  <a:moveTo>
                    <a:pt x="4765" y="3235"/>
                  </a:moveTo>
                  <a:lnTo>
                    <a:pt x="4765" y="3347"/>
                  </a:lnTo>
                  <a:lnTo>
                    <a:pt x="4764" y="3355"/>
                  </a:lnTo>
                  <a:lnTo>
                    <a:pt x="4759" y="3361"/>
                  </a:lnTo>
                  <a:lnTo>
                    <a:pt x="4752" y="3365"/>
                  </a:lnTo>
                  <a:lnTo>
                    <a:pt x="4746" y="3367"/>
                  </a:lnTo>
                  <a:lnTo>
                    <a:pt x="4738" y="3365"/>
                  </a:lnTo>
                  <a:lnTo>
                    <a:pt x="4732" y="3361"/>
                  </a:lnTo>
                  <a:lnTo>
                    <a:pt x="4728" y="3355"/>
                  </a:lnTo>
                  <a:lnTo>
                    <a:pt x="4725" y="3347"/>
                  </a:lnTo>
                  <a:lnTo>
                    <a:pt x="4725" y="3235"/>
                  </a:lnTo>
                  <a:lnTo>
                    <a:pt x="4728" y="3226"/>
                  </a:lnTo>
                  <a:lnTo>
                    <a:pt x="4732" y="3219"/>
                  </a:lnTo>
                  <a:lnTo>
                    <a:pt x="4738" y="3216"/>
                  </a:lnTo>
                  <a:lnTo>
                    <a:pt x="4746" y="3214"/>
                  </a:lnTo>
                  <a:lnTo>
                    <a:pt x="4752" y="3216"/>
                  </a:lnTo>
                  <a:lnTo>
                    <a:pt x="4759" y="3219"/>
                  </a:lnTo>
                  <a:lnTo>
                    <a:pt x="4764" y="3226"/>
                  </a:lnTo>
                  <a:lnTo>
                    <a:pt x="4765" y="3235"/>
                  </a:lnTo>
                  <a:close/>
                  <a:moveTo>
                    <a:pt x="5029" y="3235"/>
                  </a:moveTo>
                  <a:lnTo>
                    <a:pt x="5029" y="3347"/>
                  </a:lnTo>
                  <a:lnTo>
                    <a:pt x="5027" y="3355"/>
                  </a:lnTo>
                  <a:lnTo>
                    <a:pt x="5023" y="3361"/>
                  </a:lnTo>
                  <a:lnTo>
                    <a:pt x="5016" y="3365"/>
                  </a:lnTo>
                  <a:lnTo>
                    <a:pt x="5009" y="3367"/>
                  </a:lnTo>
                  <a:lnTo>
                    <a:pt x="5001" y="3365"/>
                  </a:lnTo>
                  <a:lnTo>
                    <a:pt x="4994" y="3361"/>
                  </a:lnTo>
                  <a:lnTo>
                    <a:pt x="4991" y="3355"/>
                  </a:lnTo>
                  <a:lnTo>
                    <a:pt x="4988" y="3347"/>
                  </a:lnTo>
                  <a:lnTo>
                    <a:pt x="4988" y="3235"/>
                  </a:lnTo>
                  <a:lnTo>
                    <a:pt x="4991" y="3226"/>
                  </a:lnTo>
                  <a:lnTo>
                    <a:pt x="4994" y="3219"/>
                  </a:lnTo>
                  <a:lnTo>
                    <a:pt x="5001" y="3216"/>
                  </a:lnTo>
                  <a:lnTo>
                    <a:pt x="5009" y="3214"/>
                  </a:lnTo>
                  <a:lnTo>
                    <a:pt x="5016" y="3216"/>
                  </a:lnTo>
                  <a:lnTo>
                    <a:pt x="5023" y="3219"/>
                  </a:lnTo>
                  <a:lnTo>
                    <a:pt x="5027" y="3226"/>
                  </a:lnTo>
                  <a:lnTo>
                    <a:pt x="5029" y="3235"/>
                  </a:lnTo>
                  <a:close/>
                  <a:moveTo>
                    <a:pt x="5292" y="3235"/>
                  </a:moveTo>
                  <a:lnTo>
                    <a:pt x="5292" y="3347"/>
                  </a:lnTo>
                  <a:lnTo>
                    <a:pt x="5289" y="3355"/>
                  </a:lnTo>
                  <a:lnTo>
                    <a:pt x="5286" y="3361"/>
                  </a:lnTo>
                  <a:lnTo>
                    <a:pt x="5279" y="3365"/>
                  </a:lnTo>
                  <a:lnTo>
                    <a:pt x="5271" y="3367"/>
                  </a:lnTo>
                  <a:lnTo>
                    <a:pt x="5264" y="3365"/>
                  </a:lnTo>
                  <a:lnTo>
                    <a:pt x="5257" y="3361"/>
                  </a:lnTo>
                  <a:lnTo>
                    <a:pt x="5253" y="3355"/>
                  </a:lnTo>
                  <a:lnTo>
                    <a:pt x="5252" y="3347"/>
                  </a:lnTo>
                  <a:lnTo>
                    <a:pt x="5252" y="3235"/>
                  </a:lnTo>
                  <a:lnTo>
                    <a:pt x="5253" y="3226"/>
                  </a:lnTo>
                  <a:lnTo>
                    <a:pt x="5257" y="3219"/>
                  </a:lnTo>
                  <a:lnTo>
                    <a:pt x="5264" y="3216"/>
                  </a:lnTo>
                  <a:lnTo>
                    <a:pt x="5271" y="3214"/>
                  </a:lnTo>
                  <a:lnTo>
                    <a:pt x="5279" y="3216"/>
                  </a:lnTo>
                  <a:lnTo>
                    <a:pt x="5286" y="3219"/>
                  </a:lnTo>
                  <a:lnTo>
                    <a:pt x="5289" y="3226"/>
                  </a:lnTo>
                  <a:lnTo>
                    <a:pt x="5292" y="3235"/>
                  </a:lnTo>
                  <a:close/>
                  <a:moveTo>
                    <a:pt x="5555" y="3235"/>
                  </a:moveTo>
                  <a:lnTo>
                    <a:pt x="5555" y="3347"/>
                  </a:lnTo>
                  <a:lnTo>
                    <a:pt x="5554" y="3355"/>
                  </a:lnTo>
                  <a:lnTo>
                    <a:pt x="5548" y="3361"/>
                  </a:lnTo>
                  <a:lnTo>
                    <a:pt x="5542" y="3365"/>
                  </a:lnTo>
                  <a:lnTo>
                    <a:pt x="5534" y="3367"/>
                  </a:lnTo>
                  <a:lnTo>
                    <a:pt x="5528" y="3365"/>
                  </a:lnTo>
                  <a:lnTo>
                    <a:pt x="5521" y="3361"/>
                  </a:lnTo>
                  <a:lnTo>
                    <a:pt x="5516" y="3355"/>
                  </a:lnTo>
                  <a:lnTo>
                    <a:pt x="5515" y="3347"/>
                  </a:lnTo>
                  <a:lnTo>
                    <a:pt x="5515" y="3235"/>
                  </a:lnTo>
                  <a:lnTo>
                    <a:pt x="5516" y="3226"/>
                  </a:lnTo>
                  <a:lnTo>
                    <a:pt x="5521" y="3219"/>
                  </a:lnTo>
                  <a:lnTo>
                    <a:pt x="5528" y="3216"/>
                  </a:lnTo>
                  <a:lnTo>
                    <a:pt x="5534" y="3214"/>
                  </a:lnTo>
                  <a:lnTo>
                    <a:pt x="5542" y="3216"/>
                  </a:lnTo>
                  <a:lnTo>
                    <a:pt x="5548" y="3219"/>
                  </a:lnTo>
                  <a:lnTo>
                    <a:pt x="5554" y="3226"/>
                  </a:lnTo>
                  <a:lnTo>
                    <a:pt x="5555" y="3235"/>
                  </a:lnTo>
                  <a:close/>
                  <a:moveTo>
                    <a:pt x="3624" y="4034"/>
                  </a:moveTo>
                  <a:lnTo>
                    <a:pt x="3624" y="3864"/>
                  </a:lnTo>
                  <a:lnTo>
                    <a:pt x="3625" y="3856"/>
                  </a:lnTo>
                  <a:lnTo>
                    <a:pt x="3629" y="3851"/>
                  </a:lnTo>
                  <a:lnTo>
                    <a:pt x="3634" y="3847"/>
                  </a:lnTo>
                  <a:lnTo>
                    <a:pt x="3639" y="3845"/>
                  </a:lnTo>
                  <a:lnTo>
                    <a:pt x="3646" y="3845"/>
                  </a:lnTo>
                  <a:lnTo>
                    <a:pt x="3652" y="3846"/>
                  </a:lnTo>
                  <a:lnTo>
                    <a:pt x="3657" y="3849"/>
                  </a:lnTo>
                  <a:lnTo>
                    <a:pt x="3662" y="3854"/>
                  </a:lnTo>
                  <a:lnTo>
                    <a:pt x="3666" y="3860"/>
                  </a:lnTo>
                  <a:lnTo>
                    <a:pt x="3667" y="3869"/>
                  </a:lnTo>
                  <a:lnTo>
                    <a:pt x="3667" y="4034"/>
                  </a:lnTo>
                  <a:lnTo>
                    <a:pt x="3710" y="4029"/>
                  </a:lnTo>
                  <a:lnTo>
                    <a:pt x="3751" y="4021"/>
                  </a:lnTo>
                  <a:lnTo>
                    <a:pt x="3789" y="4010"/>
                  </a:lnTo>
                  <a:lnTo>
                    <a:pt x="3828" y="3994"/>
                  </a:lnTo>
                  <a:lnTo>
                    <a:pt x="3846" y="3985"/>
                  </a:lnTo>
                  <a:lnTo>
                    <a:pt x="3864" y="3975"/>
                  </a:lnTo>
                  <a:lnTo>
                    <a:pt x="3897" y="3953"/>
                  </a:lnTo>
                  <a:lnTo>
                    <a:pt x="3928" y="3928"/>
                  </a:lnTo>
                  <a:lnTo>
                    <a:pt x="3957" y="3901"/>
                  </a:lnTo>
                  <a:lnTo>
                    <a:pt x="3970" y="3886"/>
                  </a:lnTo>
                  <a:lnTo>
                    <a:pt x="3983" y="3870"/>
                  </a:lnTo>
                  <a:lnTo>
                    <a:pt x="4006" y="3838"/>
                  </a:lnTo>
                  <a:lnTo>
                    <a:pt x="4026" y="3804"/>
                  </a:lnTo>
                  <a:lnTo>
                    <a:pt x="4043" y="3767"/>
                  </a:lnTo>
                  <a:lnTo>
                    <a:pt x="4057" y="3728"/>
                  </a:lnTo>
                  <a:lnTo>
                    <a:pt x="4067" y="3689"/>
                  </a:lnTo>
                  <a:lnTo>
                    <a:pt x="4074" y="3648"/>
                  </a:lnTo>
                  <a:lnTo>
                    <a:pt x="4075" y="3604"/>
                  </a:lnTo>
                  <a:lnTo>
                    <a:pt x="4074" y="3569"/>
                  </a:lnTo>
                  <a:lnTo>
                    <a:pt x="4069" y="3533"/>
                  </a:lnTo>
                  <a:lnTo>
                    <a:pt x="4062" y="3498"/>
                  </a:lnTo>
                  <a:lnTo>
                    <a:pt x="4052" y="3464"/>
                  </a:lnTo>
                  <a:lnTo>
                    <a:pt x="4039" y="3432"/>
                  </a:lnTo>
                  <a:lnTo>
                    <a:pt x="4024" y="3401"/>
                  </a:lnTo>
                  <a:lnTo>
                    <a:pt x="4006" y="3372"/>
                  </a:lnTo>
                  <a:lnTo>
                    <a:pt x="3987" y="3343"/>
                  </a:lnTo>
                  <a:lnTo>
                    <a:pt x="3955" y="3308"/>
                  </a:lnTo>
                  <a:lnTo>
                    <a:pt x="3919" y="3276"/>
                  </a:lnTo>
                  <a:lnTo>
                    <a:pt x="3880" y="3248"/>
                  </a:lnTo>
                  <a:lnTo>
                    <a:pt x="3860" y="3236"/>
                  </a:lnTo>
                  <a:lnTo>
                    <a:pt x="3839" y="3225"/>
                  </a:lnTo>
                  <a:lnTo>
                    <a:pt x="3817" y="3214"/>
                  </a:lnTo>
                  <a:lnTo>
                    <a:pt x="3794" y="3205"/>
                  </a:lnTo>
                  <a:lnTo>
                    <a:pt x="3748" y="3191"/>
                  </a:lnTo>
                  <a:lnTo>
                    <a:pt x="3699" y="3184"/>
                  </a:lnTo>
                  <a:lnTo>
                    <a:pt x="3674" y="3181"/>
                  </a:lnTo>
                  <a:lnTo>
                    <a:pt x="3648" y="3180"/>
                  </a:lnTo>
                  <a:lnTo>
                    <a:pt x="3604" y="3182"/>
                  </a:lnTo>
                  <a:lnTo>
                    <a:pt x="3562" y="3189"/>
                  </a:lnTo>
                  <a:lnTo>
                    <a:pt x="3521" y="3200"/>
                  </a:lnTo>
                  <a:lnTo>
                    <a:pt x="3481" y="3214"/>
                  </a:lnTo>
                  <a:lnTo>
                    <a:pt x="3443" y="3232"/>
                  </a:lnTo>
                  <a:lnTo>
                    <a:pt x="3408" y="3254"/>
                  </a:lnTo>
                  <a:lnTo>
                    <a:pt x="3375" y="3278"/>
                  </a:lnTo>
                  <a:lnTo>
                    <a:pt x="3344" y="3306"/>
                  </a:lnTo>
                  <a:lnTo>
                    <a:pt x="3316" y="3337"/>
                  </a:lnTo>
                  <a:lnTo>
                    <a:pt x="3292" y="3369"/>
                  </a:lnTo>
                  <a:lnTo>
                    <a:pt x="3270" y="3405"/>
                  </a:lnTo>
                  <a:lnTo>
                    <a:pt x="3252" y="3443"/>
                  </a:lnTo>
                  <a:lnTo>
                    <a:pt x="3238" y="3482"/>
                  </a:lnTo>
                  <a:lnTo>
                    <a:pt x="3226" y="3524"/>
                  </a:lnTo>
                  <a:lnTo>
                    <a:pt x="3220" y="3566"/>
                  </a:lnTo>
                  <a:lnTo>
                    <a:pt x="3219" y="3609"/>
                  </a:lnTo>
                  <a:lnTo>
                    <a:pt x="3220" y="3647"/>
                  </a:lnTo>
                  <a:lnTo>
                    <a:pt x="3224" y="3682"/>
                  </a:lnTo>
                  <a:lnTo>
                    <a:pt x="3231" y="3717"/>
                  </a:lnTo>
                  <a:lnTo>
                    <a:pt x="3242" y="3750"/>
                  </a:lnTo>
                  <a:lnTo>
                    <a:pt x="3254" y="3783"/>
                  </a:lnTo>
                  <a:lnTo>
                    <a:pt x="3270" y="3814"/>
                  </a:lnTo>
                  <a:lnTo>
                    <a:pt x="3288" y="3843"/>
                  </a:lnTo>
                  <a:lnTo>
                    <a:pt x="3307" y="3872"/>
                  </a:lnTo>
                  <a:lnTo>
                    <a:pt x="3336" y="3905"/>
                  </a:lnTo>
                  <a:lnTo>
                    <a:pt x="3370" y="3936"/>
                  </a:lnTo>
                  <a:lnTo>
                    <a:pt x="3388" y="3950"/>
                  </a:lnTo>
                  <a:lnTo>
                    <a:pt x="3407" y="3962"/>
                  </a:lnTo>
                  <a:lnTo>
                    <a:pt x="3445" y="3985"/>
                  </a:lnTo>
                  <a:lnTo>
                    <a:pt x="3487" y="4005"/>
                  </a:lnTo>
                  <a:lnTo>
                    <a:pt x="3531" y="4019"/>
                  </a:lnTo>
                  <a:lnTo>
                    <a:pt x="3576" y="4029"/>
                  </a:lnTo>
                  <a:lnTo>
                    <a:pt x="3624" y="4034"/>
                  </a:lnTo>
                  <a:close/>
                  <a:moveTo>
                    <a:pt x="3628" y="4333"/>
                  </a:moveTo>
                  <a:lnTo>
                    <a:pt x="3625" y="4328"/>
                  </a:lnTo>
                  <a:lnTo>
                    <a:pt x="3624" y="4320"/>
                  </a:lnTo>
                  <a:lnTo>
                    <a:pt x="3624" y="4079"/>
                  </a:lnTo>
                  <a:lnTo>
                    <a:pt x="3571" y="4072"/>
                  </a:lnTo>
                  <a:lnTo>
                    <a:pt x="3521" y="4062"/>
                  </a:lnTo>
                  <a:lnTo>
                    <a:pt x="3472" y="4045"/>
                  </a:lnTo>
                  <a:lnTo>
                    <a:pt x="3449" y="4035"/>
                  </a:lnTo>
                  <a:lnTo>
                    <a:pt x="3428" y="4024"/>
                  </a:lnTo>
                  <a:lnTo>
                    <a:pt x="3384" y="3998"/>
                  </a:lnTo>
                  <a:lnTo>
                    <a:pt x="3363" y="3984"/>
                  </a:lnTo>
                  <a:lnTo>
                    <a:pt x="3344" y="3967"/>
                  </a:lnTo>
                  <a:lnTo>
                    <a:pt x="3326" y="3951"/>
                  </a:lnTo>
                  <a:lnTo>
                    <a:pt x="3308" y="3934"/>
                  </a:lnTo>
                  <a:lnTo>
                    <a:pt x="3292" y="3915"/>
                  </a:lnTo>
                  <a:lnTo>
                    <a:pt x="3276" y="3896"/>
                  </a:lnTo>
                  <a:lnTo>
                    <a:pt x="3253" y="3865"/>
                  </a:lnTo>
                  <a:lnTo>
                    <a:pt x="3233" y="3832"/>
                  </a:lnTo>
                  <a:lnTo>
                    <a:pt x="3216" y="3797"/>
                  </a:lnTo>
                  <a:lnTo>
                    <a:pt x="3201" y="3762"/>
                  </a:lnTo>
                  <a:lnTo>
                    <a:pt x="3189" y="3725"/>
                  </a:lnTo>
                  <a:lnTo>
                    <a:pt x="3181" y="3686"/>
                  </a:lnTo>
                  <a:lnTo>
                    <a:pt x="3176" y="3645"/>
                  </a:lnTo>
                  <a:lnTo>
                    <a:pt x="3174" y="3604"/>
                  </a:lnTo>
                  <a:lnTo>
                    <a:pt x="3176" y="3557"/>
                  </a:lnTo>
                  <a:lnTo>
                    <a:pt x="3184" y="3510"/>
                  </a:lnTo>
                  <a:lnTo>
                    <a:pt x="3189" y="3488"/>
                  </a:lnTo>
                  <a:lnTo>
                    <a:pt x="3195" y="3465"/>
                  </a:lnTo>
                  <a:lnTo>
                    <a:pt x="3211" y="3423"/>
                  </a:lnTo>
                  <a:lnTo>
                    <a:pt x="3231" y="3382"/>
                  </a:lnTo>
                  <a:lnTo>
                    <a:pt x="3254" y="3342"/>
                  </a:lnTo>
                  <a:lnTo>
                    <a:pt x="3281" y="3306"/>
                  </a:lnTo>
                  <a:lnTo>
                    <a:pt x="3297" y="3290"/>
                  </a:lnTo>
                  <a:lnTo>
                    <a:pt x="3312" y="3273"/>
                  </a:lnTo>
                  <a:lnTo>
                    <a:pt x="3345" y="3242"/>
                  </a:lnTo>
                  <a:lnTo>
                    <a:pt x="3363" y="3228"/>
                  </a:lnTo>
                  <a:lnTo>
                    <a:pt x="3381" y="3216"/>
                  </a:lnTo>
                  <a:lnTo>
                    <a:pt x="3420" y="3193"/>
                  </a:lnTo>
                  <a:lnTo>
                    <a:pt x="3440" y="3182"/>
                  </a:lnTo>
                  <a:lnTo>
                    <a:pt x="3462" y="3172"/>
                  </a:lnTo>
                  <a:lnTo>
                    <a:pt x="3483" y="3164"/>
                  </a:lnTo>
                  <a:lnTo>
                    <a:pt x="3504" y="3157"/>
                  </a:lnTo>
                  <a:lnTo>
                    <a:pt x="3528" y="3150"/>
                  </a:lnTo>
                  <a:lnTo>
                    <a:pt x="3549" y="3145"/>
                  </a:lnTo>
                  <a:lnTo>
                    <a:pt x="3597" y="3138"/>
                  </a:lnTo>
                  <a:lnTo>
                    <a:pt x="3644" y="3135"/>
                  </a:lnTo>
                  <a:lnTo>
                    <a:pt x="3701" y="3139"/>
                  </a:lnTo>
                  <a:lnTo>
                    <a:pt x="3728" y="3143"/>
                  </a:lnTo>
                  <a:lnTo>
                    <a:pt x="3755" y="3149"/>
                  </a:lnTo>
                  <a:lnTo>
                    <a:pt x="3781" y="3156"/>
                  </a:lnTo>
                  <a:lnTo>
                    <a:pt x="3807" y="3164"/>
                  </a:lnTo>
                  <a:lnTo>
                    <a:pt x="3831" y="3175"/>
                  </a:lnTo>
                  <a:lnTo>
                    <a:pt x="3856" y="3185"/>
                  </a:lnTo>
                  <a:lnTo>
                    <a:pt x="3902" y="3212"/>
                  </a:lnTo>
                  <a:lnTo>
                    <a:pt x="3944" y="3242"/>
                  </a:lnTo>
                  <a:lnTo>
                    <a:pt x="3965" y="3260"/>
                  </a:lnTo>
                  <a:lnTo>
                    <a:pt x="3983" y="3278"/>
                  </a:lnTo>
                  <a:lnTo>
                    <a:pt x="4001" y="3299"/>
                  </a:lnTo>
                  <a:lnTo>
                    <a:pt x="4017" y="3318"/>
                  </a:lnTo>
                  <a:lnTo>
                    <a:pt x="4040" y="3350"/>
                  </a:lnTo>
                  <a:lnTo>
                    <a:pt x="4060" y="3382"/>
                  </a:lnTo>
                  <a:lnTo>
                    <a:pt x="4078" y="3416"/>
                  </a:lnTo>
                  <a:lnTo>
                    <a:pt x="4092" y="3453"/>
                  </a:lnTo>
                  <a:lnTo>
                    <a:pt x="4103" y="3491"/>
                  </a:lnTo>
                  <a:lnTo>
                    <a:pt x="4112" y="3529"/>
                  </a:lnTo>
                  <a:lnTo>
                    <a:pt x="4117" y="3569"/>
                  </a:lnTo>
                  <a:lnTo>
                    <a:pt x="4119" y="3609"/>
                  </a:lnTo>
                  <a:lnTo>
                    <a:pt x="4117" y="3657"/>
                  </a:lnTo>
                  <a:lnTo>
                    <a:pt x="4110" y="3702"/>
                  </a:lnTo>
                  <a:lnTo>
                    <a:pt x="4105" y="3725"/>
                  </a:lnTo>
                  <a:lnTo>
                    <a:pt x="4099" y="3746"/>
                  </a:lnTo>
                  <a:lnTo>
                    <a:pt x="4084" y="3788"/>
                  </a:lnTo>
                  <a:lnTo>
                    <a:pt x="4075" y="3809"/>
                  </a:lnTo>
                  <a:lnTo>
                    <a:pt x="4065" y="3828"/>
                  </a:lnTo>
                  <a:lnTo>
                    <a:pt x="4043" y="3866"/>
                  </a:lnTo>
                  <a:lnTo>
                    <a:pt x="4016" y="3902"/>
                  </a:lnTo>
                  <a:lnTo>
                    <a:pt x="3988" y="3936"/>
                  </a:lnTo>
                  <a:lnTo>
                    <a:pt x="3956" y="3965"/>
                  </a:lnTo>
                  <a:lnTo>
                    <a:pt x="3921" y="3993"/>
                  </a:lnTo>
                  <a:lnTo>
                    <a:pt x="3884" y="4016"/>
                  </a:lnTo>
                  <a:lnTo>
                    <a:pt x="3844" y="4037"/>
                  </a:lnTo>
                  <a:lnTo>
                    <a:pt x="3802" y="4053"/>
                  </a:lnTo>
                  <a:lnTo>
                    <a:pt x="3760" y="4066"/>
                  </a:lnTo>
                  <a:lnTo>
                    <a:pt x="3715" y="4075"/>
                  </a:lnTo>
                  <a:lnTo>
                    <a:pt x="3667" y="4079"/>
                  </a:lnTo>
                  <a:lnTo>
                    <a:pt x="3667" y="4336"/>
                  </a:lnTo>
                  <a:lnTo>
                    <a:pt x="3666" y="4345"/>
                  </a:lnTo>
                  <a:lnTo>
                    <a:pt x="3661" y="4351"/>
                  </a:lnTo>
                  <a:lnTo>
                    <a:pt x="3654" y="4355"/>
                  </a:lnTo>
                  <a:lnTo>
                    <a:pt x="3648" y="4356"/>
                  </a:lnTo>
                  <a:lnTo>
                    <a:pt x="3640" y="4355"/>
                  </a:lnTo>
                  <a:lnTo>
                    <a:pt x="3634" y="4351"/>
                  </a:lnTo>
                  <a:lnTo>
                    <a:pt x="3629" y="4345"/>
                  </a:lnTo>
                  <a:lnTo>
                    <a:pt x="3628" y="4336"/>
                  </a:lnTo>
                  <a:lnTo>
                    <a:pt x="3628" y="4333"/>
                  </a:lnTo>
                  <a:close/>
                </a:path>
              </a:pathLst>
            </a:custGeom>
            <a:solidFill>
              <a:srgbClr val="FF6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12">
              <a:extLst>
                <a:ext uri="{FF2B5EF4-FFF2-40B4-BE49-F238E27FC236}">
                  <a16:creationId xmlns:a16="http://schemas.microsoft.com/office/drawing/2014/main" id="{14CC01FD-39A4-473B-ADB7-2676F9E144F7}"/>
                </a:ext>
              </a:extLst>
            </p:cNvPr>
            <p:cNvSpPr>
              <a:spLocks noChangeAspect="1" noEditPoints="1"/>
            </p:cNvSpPr>
            <p:nvPr userDrawn="1"/>
          </p:nvSpPr>
          <p:spPr bwMode="black">
            <a:xfrm>
              <a:off x="5610994" y="5177099"/>
              <a:ext cx="193514" cy="216000"/>
            </a:xfrm>
            <a:custGeom>
              <a:avLst/>
              <a:gdLst>
                <a:gd name="T0" fmla="*/ 2964 w 3578"/>
                <a:gd name="T1" fmla="*/ 3151 h 3996"/>
                <a:gd name="T2" fmla="*/ 2988 w 3578"/>
                <a:gd name="T3" fmla="*/ 3131 h 3996"/>
                <a:gd name="T4" fmla="*/ 3002 w 3578"/>
                <a:gd name="T5" fmla="*/ 3095 h 3996"/>
                <a:gd name="T6" fmla="*/ 2998 w 3578"/>
                <a:gd name="T7" fmla="*/ 3052 h 3996"/>
                <a:gd name="T8" fmla="*/ 2570 w 3578"/>
                <a:gd name="T9" fmla="*/ 2480 h 3996"/>
                <a:gd name="T10" fmla="*/ 2976 w 3578"/>
                <a:gd name="T11" fmla="*/ 956 h 3996"/>
                <a:gd name="T12" fmla="*/ 2988 w 3578"/>
                <a:gd name="T13" fmla="*/ 917 h 3996"/>
                <a:gd name="T14" fmla="*/ 2981 w 3578"/>
                <a:gd name="T15" fmla="*/ 878 h 3996"/>
                <a:gd name="T16" fmla="*/ 2961 w 3578"/>
                <a:gd name="T17" fmla="*/ 853 h 3996"/>
                <a:gd name="T18" fmla="*/ 2936 w 3578"/>
                <a:gd name="T19" fmla="*/ 840 h 3996"/>
                <a:gd name="T20" fmla="*/ 2275 w 3578"/>
                <a:gd name="T21" fmla="*/ 835 h 3996"/>
                <a:gd name="T22" fmla="*/ 2209 w 3578"/>
                <a:gd name="T23" fmla="*/ 845 h 3996"/>
                <a:gd name="T24" fmla="*/ 2160 w 3578"/>
                <a:gd name="T25" fmla="*/ 872 h 3996"/>
                <a:gd name="T26" fmla="*/ 2119 w 3578"/>
                <a:gd name="T27" fmla="*/ 915 h 3996"/>
                <a:gd name="T28" fmla="*/ 1365 w 3578"/>
                <a:gd name="T29" fmla="*/ 931 h 3996"/>
                <a:gd name="T30" fmla="*/ 1356 w 3578"/>
                <a:gd name="T31" fmla="*/ 884 h 3996"/>
                <a:gd name="T32" fmla="*/ 1325 w 3578"/>
                <a:gd name="T33" fmla="*/ 851 h 3996"/>
                <a:gd name="T34" fmla="*/ 1280 w 3578"/>
                <a:gd name="T35" fmla="*/ 835 h 3996"/>
                <a:gd name="T36" fmla="*/ 664 w 3578"/>
                <a:gd name="T37" fmla="*/ 840 h 3996"/>
                <a:gd name="T38" fmla="*/ 625 w 3578"/>
                <a:gd name="T39" fmla="*/ 862 h 3996"/>
                <a:gd name="T40" fmla="*/ 602 w 3578"/>
                <a:gd name="T41" fmla="*/ 902 h 3996"/>
                <a:gd name="T42" fmla="*/ 598 w 3578"/>
                <a:gd name="T43" fmla="*/ 1998 h 3996"/>
                <a:gd name="T44" fmla="*/ 602 w 3578"/>
                <a:gd name="T45" fmla="*/ 3094 h 3996"/>
                <a:gd name="T46" fmla="*/ 625 w 3578"/>
                <a:gd name="T47" fmla="*/ 3133 h 3996"/>
                <a:gd name="T48" fmla="*/ 664 w 3578"/>
                <a:gd name="T49" fmla="*/ 3156 h 3996"/>
                <a:gd name="T50" fmla="*/ 1280 w 3578"/>
                <a:gd name="T51" fmla="*/ 3160 h 3996"/>
                <a:gd name="T52" fmla="*/ 1325 w 3578"/>
                <a:gd name="T53" fmla="*/ 3144 h 3996"/>
                <a:gd name="T54" fmla="*/ 1356 w 3578"/>
                <a:gd name="T55" fmla="*/ 3111 h 3996"/>
                <a:gd name="T56" fmla="*/ 1365 w 3578"/>
                <a:gd name="T57" fmla="*/ 3064 h 3996"/>
                <a:gd name="T58" fmla="*/ 2119 w 3578"/>
                <a:gd name="T59" fmla="*/ 3080 h 3996"/>
                <a:gd name="T60" fmla="*/ 2160 w 3578"/>
                <a:gd name="T61" fmla="*/ 3123 h 3996"/>
                <a:gd name="T62" fmla="*/ 2209 w 3578"/>
                <a:gd name="T63" fmla="*/ 3151 h 3996"/>
                <a:gd name="T64" fmla="*/ 2275 w 3578"/>
                <a:gd name="T65" fmla="*/ 3160 h 3996"/>
                <a:gd name="T66" fmla="*/ 4 w 3578"/>
                <a:gd name="T67" fmla="*/ 3929 h 3996"/>
                <a:gd name="T68" fmla="*/ 27 w 3578"/>
                <a:gd name="T69" fmla="*/ 3968 h 3996"/>
                <a:gd name="T70" fmla="*/ 66 w 3578"/>
                <a:gd name="T71" fmla="*/ 3991 h 3996"/>
                <a:gd name="T72" fmla="*/ 1789 w 3578"/>
                <a:gd name="T73" fmla="*/ 3996 h 3996"/>
                <a:gd name="T74" fmla="*/ 3512 w 3578"/>
                <a:gd name="T75" fmla="*/ 3991 h 3996"/>
                <a:gd name="T76" fmla="*/ 3552 w 3578"/>
                <a:gd name="T77" fmla="*/ 3968 h 3996"/>
                <a:gd name="T78" fmla="*/ 3574 w 3578"/>
                <a:gd name="T79" fmla="*/ 3929 h 3996"/>
                <a:gd name="T80" fmla="*/ 3577 w 3578"/>
                <a:gd name="T81" fmla="*/ 3624 h 3996"/>
                <a:gd name="T82" fmla="*/ 3563 w 3578"/>
                <a:gd name="T83" fmla="*/ 3579 h 3996"/>
                <a:gd name="T84" fmla="*/ 3529 w 3578"/>
                <a:gd name="T85" fmla="*/ 3549 h 3996"/>
                <a:gd name="T86" fmla="*/ 3482 w 3578"/>
                <a:gd name="T87" fmla="*/ 3538 h 3996"/>
                <a:gd name="T88" fmla="*/ 85 w 3578"/>
                <a:gd name="T89" fmla="*/ 3538 h 3996"/>
                <a:gd name="T90" fmla="*/ 41 w 3578"/>
                <a:gd name="T91" fmla="*/ 3554 h 3996"/>
                <a:gd name="T92" fmla="*/ 11 w 3578"/>
                <a:gd name="T93" fmla="*/ 3587 h 3996"/>
                <a:gd name="T94" fmla="*/ 0 w 3578"/>
                <a:gd name="T95" fmla="*/ 3634 h 3996"/>
                <a:gd name="T96" fmla="*/ 4 w 3578"/>
                <a:gd name="T97" fmla="*/ 391 h 3996"/>
                <a:gd name="T98" fmla="*/ 27 w 3578"/>
                <a:gd name="T99" fmla="*/ 430 h 3996"/>
                <a:gd name="T100" fmla="*/ 66 w 3578"/>
                <a:gd name="T101" fmla="*/ 453 h 3996"/>
                <a:gd name="T102" fmla="*/ 1789 w 3578"/>
                <a:gd name="T103" fmla="*/ 456 h 3996"/>
                <a:gd name="T104" fmla="*/ 3512 w 3578"/>
                <a:gd name="T105" fmla="*/ 453 h 3996"/>
                <a:gd name="T106" fmla="*/ 3552 w 3578"/>
                <a:gd name="T107" fmla="*/ 430 h 3996"/>
                <a:gd name="T108" fmla="*/ 3574 w 3578"/>
                <a:gd name="T109" fmla="*/ 391 h 3996"/>
                <a:gd name="T110" fmla="*/ 3577 w 3578"/>
                <a:gd name="T111" fmla="*/ 85 h 3996"/>
                <a:gd name="T112" fmla="*/ 3563 w 3578"/>
                <a:gd name="T113" fmla="*/ 41 h 3996"/>
                <a:gd name="T114" fmla="*/ 3529 w 3578"/>
                <a:gd name="T115" fmla="*/ 11 h 3996"/>
                <a:gd name="T116" fmla="*/ 3482 w 3578"/>
                <a:gd name="T117" fmla="*/ 0 h 3996"/>
                <a:gd name="T118" fmla="*/ 85 w 3578"/>
                <a:gd name="T119" fmla="*/ 0 h 3996"/>
                <a:gd name="T120" fmla="*/ 41 w 3578"/>
                <a:gd name="T121" fmla="*/ 16 h 3996"/>
                <a:gd name="T122" fmla="*/ 11 w 3578"/>
                <a:gd name="T123" fmla="*/ 49 h 3996"/>
                <a:gd name="T124" fmla="*/ 0 w 3578"/>
                <a:gd name="T125" fmla="*/ 95 h 3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78" h="3996">
                  <a:moveTo>
                    <a:pt x="2924" y="3160"/>
                  </a:moveTo>
                  <a:lnTo>
                    <a:pt x="2936" y="3160"/>
                  </a:lnTo>
                  <a:lnTo>
                    <a:pt x="2947" y="3157"/>
                  </a:lnTo>
                  <a:lnTo>
                    <a:pt x="2958" y="3153"/>
                  </a:lnTo>
                  <a:lnTo>
                    <a:pt x="2964" y="3151"/>
                  </a:lnTo>
                  <a:lnTo>
                    <a:pt x="2968" y="3148"/>
                  </a:lnTo>
                  <a:lnTo>
                    <a:pt x="2977" y="3142"/>
                  </a:lnTo>
                  <a:lnTo>
                    <a:pt x="2981" y="3139"/>
                  </a:lnTo>
                  <a:lnTo>
                    <a:pt x="2985" y="3135"/>
                  </a:lnTo>
                  <a:lnTo>
                    <a:pt x="2988" y="3131"/>
                  </a:lnTo>
                  <a:lnTo>
                    <a:pt x="2991" y="3126"/>
                  </a:lnTo>
                  <a:lnTo>
                    <a:pt x="2996" y="3117"/>
                  </a:lnTo>
                  <a:lnTo>
                    <a:pt x="3000" y="3106"/>
                  </a:lnTo>
                  <a:lnTo>
                    <a:pt x="3001" y="3101"/>
                  </a:lnTo>
                  <a:lnTo>
                    <a:pt x="3002" y="3095"/>
                  </a:lnTo>
                  <a:lnTo>
                    <a:pt x="3003" y="3084"/>
                  </a:lnTo>
                  <a:lnTo>
                    <a:pt x="3002" y="3072"/>
                  </a:lnTo>
                  <a:lnTo>
                    <a:pt x="3001" y="3065"/>
                  </a:lnTo>
                  <a:lnTo>
                    <a:pt x="2999" y="3059"/>
                  </a:lnTo>
                  <a:lnTo>
                    <a:pt x="2998" y="3052"/>
                  </a:lnTo>
                  <a:lnTo>
                    <a:pt x="2995" y="3045"/>
                  </a:lnTo>
                  <a:lnTo>
                    <a:pt x="2988" y="3032"/>
                  </a:lnTo>
                  <a:lnTo>
                    <a:pt x="2985" y="3026"/>
                  </a:lnTo>
                  <a:lnTo>
                    <a:pt x="2980" y="3019"/>
                  </a:lnTo>
                  <a:lnTo>
                    <a:pt x="2570" y="2480"/>
                  </a:lnTo>
                  <a:lnTo>
                    <a:pt x="2162" y="1941"/>
                  </a:lnTo>
                  <a:lnTo>
                    <a:pt x="2562" y="1459"/>
                  </a:lnTo>
                  <a:lnTo>
                    <a:pt x="2962" y="976"/>
                  </a:lnTo>
                  <a:lnTo>
                    <a:pt x="2972" y="962"/>
                  </a:lnTo>
                  <a:lnTo>
                    <a:pt x="2976" y="956"/>
                  </a:lnTo>
                  <a:lnTo>
                    <a:pt x="2979" y="949"/>
                  </a:lnTo>
                  <a:lnTo>
                    <a:pt x="2985" y="936"/>
                  </a:lnTo>
                  <a:lnTo>
                    <a:pt x="2986" y="929"/>
                  </a:lnTo>
                  <a:lnTo>
                    <a:pt x="2988" y="923"/>
                  </a:lnTo>
                  <a:lnTo>
                    <a:pt x="2988" y="917"/>
                  </a:lnTo>
                  <a:lnTo>
                    <a:pt x="2989" y="910"/>
                  </a:lnTo>
                  <a:lnTo>
                    <a:pt x="2988" y="899"/>
                  </a:lnTo>
                  <a:lnTo>
                    <a:pt x="2987" y="894"/>
                  </a:lnTo>
                  <a:lnTo>
                    <a:pt x="2986" y="888"/>
                  </a:lnTo>
                  <a:lnTo>
                    <a:pt x="2981" y="878"/>
                  </a:lnTo>
                  <a:lnTo>
                    <a:pt x="2979" y="873"/>
                  </a:lnTo>
                  <a:lnTo>
                    <a:pt x="2976" y="868"/>
                  </a:lnTo>
                  <a:lnTo>
                    <a:pt x="2972" y="864"/>
                  </a:lnTo>
                  <a:lnTo>
                    <a:pt x="2969" y="861"/>
                  </a:lnTo>
                  <a:lnTo>
                    <a:pt x="2961" y="853"/>
                  </a:lnTo>
                  <a:lnTo>
                    <a:pt x="2957" y="849"/>
                  </a:lnTo>
                  <a:lnTo>
                    <a:pt x="2951" y="846"/>
                  </a:lnTo>
                  <a:lnTo>
                    <a:pt x="2947" y="844"/>
                  </a:lnTo>
                  <a:lnTo>
                    <a:pt x="2941" y="842"/>
                  </a:lnTo>
                  <a:lnTo>
                    <a:pt x="2936" y="840"/>
                  </a:lnTo>
                  <a:lnTo>
                    <a:pt x="2930" y="838"/>
                  </a:lnTo>
                  <a:lnTo>
                    <a:pt x="2925" y="836"/>
                  </a:lnTo>
                  <a:lnTo>
                    <a:pt x="2919" y="836"/>
                  </a:lnTo>
                  <a:lnTo>
                    <a:pt x="2907" y="835"/>
                  </a:lnTo>
                  <a:lnTo>
                    <a:pt x="2275" y="835"/>
                  </a:lnTo>
                  <a:lnTo>
                    <a:pt x="2260" y="835"/>
                  </a:lnTo>
                  <a:lnTo>
                    <a:pt x="2246" y="836"/>
                  </a:lnTo>
                  <a:lnTo>
                    <a:pt x="2234" y="838"/>
                  </a:lnTo>
                  <a:lnTo>
                    <a:pt x="2222" y="841"/>
                  </a:lnTo>
                  <a:lnTo>
                    <a:pt x="2209" y="845"/>
                  </a:lnTo>
                  <a:lnTo>
                    <a:pt x="2198" y="848"/>
                  </a:lnTo>
                  <a:lnTo>
                    <a:pt x="2188" y="854"/>
                  </a:lnTo>
                  <a:lnTo>
                    <a:pt x="2178" y="859"/>
                  </a:lnTo>
                  <a:lnTo>
                    <a:pt x="2168" y="865"/>
                  </a:lnTo>
                  <a:lnTo>
                    <a:pt x="2160" y="872"/>
                  </a:lnTo>
                  <a:lnTo>
                    <a:pt x="2151" y="879"/>
                  </a:lnTo>
                  <a:lnTo>
                    <a:pt x="2142" y="887"/>
                  </a:lnTo>
                  <a:lnTo>
                    <a:pt x="2134" y="896"/>
                  </a:lnTo>
                  <a:lnTo>
                    <a:pt x="2126" y="905"/>
                  </a:lnTo>
                  <a:lnTo>
                    <a:pt x="2119" y="915"/>
                  </a:lnTo>
                  <a:lnTo>
                    <a:pt x="2111" y="925"/>
                  </a:lnTo>
                  <a:lnTo>
                    <a:pt x="1738" y="1404"/>
                  </a:lnTo>
                  <a:lnTo>
                    <a:pt x="1365" y="1885"/>
                  </a:lnTo>
                  <a:lnTo>
                    <a:pt x="1365" y="1408"/>
                  </a:lnTo>
                  <a:lnTo>
                    <a:pt x="1365" y="931"/>
                  </a:lnTo>
                  <a:lnTo>
                    <a:pt x="1365" y="920"/>
                  </a:lnTo>
                  <a:lnTo>
                    <a:pt x="1364" y="910"/>
                  </a:lnTo>
                  <a:lnTo>
                    <a:pt x="1362" y="902"/>
                  </a:lnTo>
                  <a:lnTo>
                    <a:pt x="1359" y="892"/>
                  </a:lnTo>
                  <a:lnTo>
                    <a:pt x="1356" y="884"/>
                  </a:lnTo>
                  <a:lnTo>
                    <a:pt x="1350" y="876"/>
                  </a:lnTo>
                  <a:lnTo>
                    <a:pt x="1346" y="868"/>
                  </a:lnTo>
                  <a:lnTo>
                    <a:pt x="1339" y="862"/>
                  </a:lnTo>
                  <a:lnTo>
                    <a:pt x="1332" y="856"/>
                  </a:lnTo>
                  <a:lnTo>
                    <a:pt x="1325" y="851"/>
                  </a:lnTo>
                  <a:lnTo>
                    <a:pt x="1317" y="846"/>
                  </a:lnTo>
                  <a:lnTo>
                    <a:pt x="1309" y="842"/>
                  </a:lnTo>
                  <a:lnTo>
                    <a:pt x="1300" y="840"/>
                  </a:lnTo>
                  <a:lnTo>
                    <a:pt x="1290" y="837"/>
                  </a:lnTo>
                  <a:lnTo>
                    <a:pt x="1280" y="835"/>
                  </a:lnTo>
                  <a:lnTo>
                    <a:pt x="1270" y="835"/>
                  </a:lnTo>
                  <a:lnTo>
                    <a:pt x="694" y="835"/>
                  </a:lnTo>
                  <a:lnTo>
                    <a:pt x="684" y="835"/>
                  </a:lnTo>
                  <a:lnTo>
                    <a:pt x="674" y="837"/>
                  </a:lnTo>
                  <a:lnTo>
                    <a:pt x="664" y="840"/>
                  </a:lnTo>
                  <a:lnTo>
                    <a:pt x="656" y="842"/>
                  </a:lnTo>
                  <a:lnTo>
                    <a:pt x="647" y="846"/>
                  </a:lnTo>
                  <a:lnTo>
                    <a:pt x="639" y="851"/>
                  </a:lnTo>
                  <a:lnTo>
                    <a:pt x="632" y="856"/>
                  </a:lnTo>
                  <a:lnTo>
                    <a:pt x="625" y="862"/>
                  </a:lnTo>
                  <a:lnTo>
                    <a:pt x="619" y="868"/>
                  </a:lnTo>
                  <a:lnTo>
                    <a:pt x="614" y="876"/>
                  </a:lnTo>
                  <a:lnTo>
                    <a:pt x="609" y="884"/>
                  </a:lnTo>
                  <a:lnTo>
                    <a:pt x="606" y="892"/>
                  </a:lnTo>
                  <a:lnTo>
                    <a:pt x="602" y="902"/>
                  </a:lnTo>
                  <a:lnTo>
                    <a:pt x="600" y="910"/>
                  </a:lnTo>
                  <a:lnTo>
                    <a:pt x="599" y="920"/>
                  </a:lnTo>
                  <a:lnTo>
                    <a:pt x="598" y="931"/>
                  </a:lnTo>
                  <a:lnTo>
                    <a:pt x="598" y="1464"/>
                  </a:lnTo>
                  <a:lnTo>
                    <a:pt x="598" y="1998"/>
                  </a:lnTo>
                  <a:lnTo>
                    <a:pt x="598" y="2531"/>
                  </a:lnTo>
                  <a:lnTo>
                    <a:pt x="598" y="3064"/>
                  </a:lnTo>
                  <a:lnTo>
                    <a:pt x="599" y="3074"/>
                  </a:lnTo>
                  <a:lnTo>
                    <a:pt x="600" y="3084"/>
                  </a:lnTo>
                  <a:lnTo>
                    <a:pt x="602" y="3094"/>
                  </a:lnTo>
                  <a:lnTo>
                    <a:pt x="606" y="3103"/>
                  </a:lnTo>
                  <a:lnTo>
                    <a:pt x="609" y="3111"/>
                  </a:lnTo>
                  <a:lnTo>
                    <a:pt x="614" y="3120"/>
                  </a:lnTo>
                  <a:lnTo>
                    <a:pt x="619" y="3126"/>
                  </a:lnTo>
                  <a:lnTo>
                    <a:pt x="625" y="3133"/>
                  </a:lnTo>
                  <a:lnTo>
                    <a:pt x="632" y="3140"/>
                  </a:lnTo>
                  <a:lnTo>
                    <a:pt x="639" y="3144"/>
                  </a:lnTo>
                  <a:lnTo>
                    <a:pt x="647" y="3150"/>
                  </a:lnTo>
                  <a:lnTo>
                    <a:pt x="656" y="3153"/>
                  </a:lnTo>
                  <a:lnTo>
                    <a:pt x="664" y="3156"/>
                  </a:lnTo>
                  <a:lnTo>
                    <a:pt x="674" y="3158"/>
                  </a:lnTo>
                  <a:lnTo>
                    <a:pt x="684" y="3160"/>
                  </a:lnTo>
                  <a:lnTo>
                    <a:pt x="694" y="3160"/>
                  </a:lnTo>
                  <a:lnTo>
                    <a:pt x="1270" y="3160"/>
                  </a:lnTo>
                  <a:lnTo>
                    <a:pt x="1280" y="3160"/>
                  </a:lnTo>
                  <a:lnTo>
                    <a:pt x="1290" y="3158"/>
                  </a:lnTo>
                  <a:lnTo>
                    <a:pt x="1300" y="3156"/>
                  </a:lnTo>
                  <a:lnTo>
                    <a:pt x="1309" y="3153"/>
                  </a:lnTo>
                  <a:lnTo>
                    <a:pt x="1317" y="3150"/>
                  </a:lnTo>
                  <a:lnTo>
                    <a:pt x="1325" y="3144"/>
                  </a:lnTo>
                  <a:lnTo>
                    <a:pt x="1332" y="3140"/>
                  </a:lnTo>
                  <a:lnTo>
                    <a:pt x="1339" y="3133"/>
                  </a:lnTo>
                  <a:lnTo>
                    <a:pt x="1346" y="3126"/>
                  </a:lnTo>
                  <a:lnTo>
                    <a:pt x="1350" y="3120"/>
                  </a:lnTo>
                  <a:lnTo>
                    <a:pt x="1356" y="3111"/>
                  </a:lnTo>
                  <a:lnTo>
                    <a:pt x="1359" y="3103"/>
                  </a:lnTo>
                  <a:lnTo>
                    <a:pt x="1362" y="3094"/>
                  </a:lnTo>
                  <a:lnTo>
                    <a:pt x="1364" y="3084"/>
                  </a:lnTo>
                  <a:lnTo>
                    <a:pt x="1365" y="3074"/>
                  </a:lnTo>
                  <a:lnTo>
                    <a:pt x="1365" y="3064"/>
                  </a:lnTo>
                  <a:lnTo>
                    <a:pt x="1365" y="2539"/>
                  </a:lnTo>
                  <a:lnTo>
                    <a:pt x="1365" y="2014"/>
                  </a:lnTo>
                  <a:lnTo>
                    <a:pt x="1738" y="2542"/>
                  </a:lnTo>
                  <a:lnTo>
                    <a:pt x="2111" y="3070"/>
                  </a:lnTo>
                  <a:lnTo>
                    <a:pt x="2119" y="3080"/>
                  </a:lnTo>
                  <a:lnTo>
                    <a:pt x="2126" y="3090"/>
                  </a:lnTo>
                  <a:lnTo>
                    <a:pt x="2134" y="3099"/>
                  </a:lnTo>
                  <a:lnTo>
                    <a:pt x="2142" y="3108"/>
                  </a:lnTo>
                  <a:lnTo>
                    <a:pt x="2151" y="3115"/>
                  </a:lnTo>
                  <a:lnTo>
                    <a:pt x="2160" y="3123"/>
                  </a:lnTo>
                  <a:lnTo>
                    <a:pt x="2168" y="3130"/>
                  </a:lnTo>
                  <a:lnTo>
                    <a:pt x="2178" y="3136"/>
                  </a:lnTo>
                  <a:lnTo>
                    <a:pt x="2188" y="3142"/>
                  </a:lnTo>
                  <a:lnTo>
                    <a:pt x="2198" y="3146"/>
                  </a:lnTo>
                  <a:lnTo>
                    <a:pt x="2209" y="3151"/>
                  </a:lnTo>
                  <a:lnTo>
                    <a:pt x="2222" y="3154"/>
                  </a:lnTo>
                  <a:lnTo>
                    <a:pt x="2234" y="3156"/>
                  </a:lnTo>
                  <a:lnTo>
                    <a:pt x="2246" y="3158"/>
                  </a:lnTo>
                  <a:lnTo>
                    <a:pt x="2260" y="3160"/>
                  </a:lnTo>
                  <a:lnTo>
                    <a:pt x="2275" y="3160"/>
                  </a:lnTo>
                  <a:lnTo>
                    <a:pt x="2924" y="3160"/>
                  </a:lnTo>
                  <a:close/>
                  <a:moveTo>
                    <a:pt x="0" y="3899"/>
                  </a:moveTo>
                  <a:lnTo>
                    <a:pt x="1" y="3909"/>
                  </a:lnTo>
                  <a:lnTo>
                    <a:pt x="2" y="3919"/>
                  </a:lnTo>
                  <a:lnTo>
                    <a:pt x="4" y="3929"/>
                  </a:lnTo>
                  <a:lnTo>
                    <a:pt x="8" y="3938"/>
                  </a:lnTo>
                  <a:lnTo>
                    <a:pt x="11" y="3947"/>
                  </a:lnTo>
                  <a:lnTo>
                    <a:pt x="16" y="3955"/>
                  </a:lnTo>
                  <a:lnTo>
                    <a:pt x="21" y="3961"/>
                  </a:lnTo>
                  <a:lnTo>
                    <a:pt x="27" y="3968"/>
                  </a:lnTo>
                  <a:lnTo>
                    <a:pt x="33" y="3975"/>
                  </a:lnTo>
                  <a:lnTo>
                    <a:pt x="41" y="3980"/>
                  </a:lnTo>
                  <a:lnTo>
                    <a:pt x="49" y="3985"/>
                  </a:lnTo>
                  <a:lnTo>
                    <a:pt x="58" y="3988"/>
                  </a:lnTo>
                  <a:lnTo>
                    <a:pt x="66" y="3991"/>
                  </a:lnTo>
                  <a:lnTo>
                    <a:pt x="75" y="3993"/>
                  </a:lnTo>
                  <a:lnTo>
                    <a:pt x="85" y="3995"/>
                  </a:lnTo>
                  <a:lnTo>
                    <a:pt x="96" y="3996"/>
                  </a:lnTo>
                  <a:lnTo>
                    <a:pt x="942" y="3996"/>
                  </a:lnTo>
                  <a:lnTo>
                    <a:pt x="1789" y="3996"/>
                  </a:lnTo>
                  <a:lnTo>
                    <a:pt x="2635" y="3996"/>
                  </a:lnTo>
                  <a:lnTo>
                    <a:pt x="3482" y="3996"/>
                  </a:lnTo>
                  <a:lnTo>
                    <a:pt x="3493" y="3995"/>
                  </a:lnTo>
                  <a:lnTo>
                    <a:pt x="3503" y="3993"/>
                  </a:lnTo>
                  <a:lnTo>
                    <a:pt x="3512" y="3991"/>
                  </a:lnTo>
                  <a:lnTo>
                    <a:pt x="3521" y="3988"/>
                  </a:lnTo>
                  <a:lnTo>
                    <a:pt x="3529" y="3985"/>
                  </a:lnTo>
                  <a:lnTo>
                    <a:pt x="3537" y="3980"/>
                  </a:lnTo>
                  <a:lnTo>
                    <a:pt x="3545" y="3975"/>
                  </a:lnTo>
                  <a:lnTo>
                    <a:pt x="3552" y="3968"/>
                  </a:lnTo>
                  <a:lnTo>
                    <a:pt x="3557" y="3961"/>
                  </a:lnTo>
                  <a:lnTo>
                    <a:pt x="3563" y="3955"/>
                  </a:lnTo>
                  <a:lnTo>
                    <a:pt x="3567" y="3947"/>
                  </a:lnTo>
                  <a:lnTo>
                    <a:pt x="3572" y="3938"/>
                  </a:lnTo>
                  <a:lnTo>
                    <a:pt x="3574" y="3929"/>
                  </a:lnTo>
                  <a:lnTo>
                    <a:pt x="3576" y="3919"/>
                  </a:lnTo>
                  <a:lnTo>
                    <a:pt x="3577" y="3909"/>
                  </a:lnTo>
                  <a:lnTo>
                    <a:pt x="3578" y="3899"/>
                  </a:lnTo>
                  <a:lnTo>
                    <a:pt x="3578" y="3634"/>
                  </a:lnTo>
                  <a:lnTo>
                    <a:pt x="3577" y="3624"/>
                  </a:lnTo>
                  <a:lnTo>
                    <a:pt x="3576" y="3614"/>
                  </a:lnTo>
                  <a:lnTo>
                    <a:pt x="3574" y="3605"/>
                  </a:lnTo>
                  <a:lnTo>
                    <a:pt x="3572" y="3595"/>
                  </a:lnTo>
                  <a:lnTo>
                    <a:pt x="3567" y="3587"/>
                  </a:lnTo>
                  <a:lnTo>
                    <a:pt x="3563" y="3579"/>
                  </a:lnTo>
                  <a:lnTo>
                    <a:pt x="3557" y="3572"/>
                  </a:lnTo>
                  <a:lnTo>
                    <a:pt x="3552" y="3565"/>
                  </a:lnTo>
                  <a:lnTo>
                    <a:pt x="3545" y="3559"/>
                  </a:lnTo>
                  <a:lnTo>
                    <a:pt x="3537" y="3554"/>
                  </a:lnTo>
                  <a:lnTo>
                    <a:pt x="3529" y="3549"/>
                  </a:lnTo>
                  <a:lnTo>
                    <a:pt x="3521" y="3545"/>
                  </a:lnTo>
                  <a:lnTo>
                    <a:pt x="3512" y="3542"/>
                  </a:lnTo>
                  <a:lnTo>
                    <a:pt x="3503" y="3539"/>
                  </a:lnTo>
                  <a:lnTo>
                    <a:pt x="3493" y="3538"/>
                  </a:lnTo>
                  <a:lnTo>
                    <a:pt x="3482" y="3538"/>
                  </a:lnTo>
                  <a:lnTo>
                    <a:pt x="2635" y="3538"/>
                  </a:lnTo>
                  <a:lnTo>
                    <a:pt x="1789" y="3538"/>
                  </a:lnTo>
                  <a:lnTo>
                    <a:pt x="942" y="3538"/>
                  </a:lnTo>
                  <a:lnTo>
                    <a:pt x="96" y="3538"/>
                  </a:lnTo>
                  <a:lnTo>
                    <a:pt x="85" y="3538"/>
                  </a:lnTo>
                  <a:lnTo>
                    <a:pt x="75" y="3539"/>
                  </a:lnTo>
                  <a:lnTo>
                    <a:pt x="66" y="3542"/>
                  </a:lnTo>
                  <a:lnTo>
                    <a:pt x="58" y="3545"/>
                  </a:lnTo>
                  <a:lnTo>
                    <a:pt x="49" y="3549"/>
                  </a:lnTo>
                  <a:lnTo>
                    <a:pt x="41" y="3554"/>
                  </a:lnTo>
                  <a:lnTo>
                    <a:pt x="33" y="3559"/>
                  </a:lnTo>
                  <a:lnTo>
                    <a:pt x="27" y="3565"/>
                  </a:lnTo>
                  <a:lnTo>
                    <a:pt x="21" y="3572"/>
                  </a:lnTo>
                  <a:lnTo>
                    <a:pt x="16" y="3579"/>
                  </a:lnTo>
                  <a:lnTo>
                    <a:pt x="11" y="3587"/>
                  </a:lnTo>
                  <a:lnTo>
                    <a:pt x="8" y="3595"/>
                  </a:lnTo>
                  <a:lnTo>
                    <a:pt x="4" y="3605"/>
                  </a:lnTo>
                  <a:lnTo>
                    <a:pt x="2" y="3614"/>
                  </a:lnTo>
                  <a:lnTo>
                    <a:pt x="1" y="3624"/>
                  </a:lnTo>
                  <a:lnTo>
                    <a:pt x="0" y="3634"/>
                  </a:lnTo>
                  <a:lnTo>
                    <a:pt x="0" y="3899"/>
                  </a:lnTo>
                  <a:close/>
                  <a:moveTo>
                    <a:pt x="0" y="361"/>
                  </a:moveTo>
                  <a:lnTo>
                    <a:pt x="1" y="371"/>
                  </a:lnTo>
                  <a:lnTo>
                    <a:pt x="2" y="381"/>
                  </a:lnTo>
                  <a:lnTo>
                    <a:pt x="4" y="391"/>
                  </a:lnTo>
                  <a:lnTo>
                    <a:pt x="8" y="400"/>
                  </a:lnTo>
                  <a:lnTo>
                    <a:pt x="11" y="409"/>
                  </a:lnTo>
                  <a:lnTo>
                    <a:pt x="16" y="416"/>
                  </a:lnTo>
                  <a:lnTo>
                    <a:pt x="21" y="423"/>
                  </a:lnTo>
                  <a:lnTo>
                    <a:pt x="27" y="430"/>
                  </a:lnTo>
                  <a:lnTo>
                    <a:pt x="33" y="436"/>
                  </a:lnTo>
                  <a:lnTo>
                    <a:pt x="41" y="441"/>
                  </a:lnTo>
                  <a:lnTo>
                    <a:pt x="49" y="446"/>
                  </a:lnTo>
                  <a:lnTo>
                    <a:pt x="58" y="450"/>
                  </a:lnTo>
                  <a:lnTo>
                    <a:pt x="66" y="453"/>
                  </a:lnTo>
                  <a:lnTo>
                    <a:pt x="75" y="455"/>
                  </a:lnTo>
                  <a:lnTo>
                    <a:pt x="85" y="456"/>
                  </a:lnTo>
                  <a:lnTo>
                    <a:pt x="96" y="456"/>
                  </a:lnTo>
                  <a:lnTo>
                    <a:pt x="942" y="456"/>
                  </a:lnTo>
                  <a:lnTo>
                    <a:pt x="1789" y="456"/>
                  </a:lnTo>
                  <a:lnTo>
                    <a:pt x="2635" y="456"/>
                  </a:lnTo>
                  <a:lnTo>
                    <a:pt x="3482" y="456"/>
                  </a:lnTo>
                  <a:lnTo>
                    <a:pt x="3493" y="456"/>
                  </a:lnTo>
                  <a:lnTo>
                    <a:pt x="3503" y="455"/>
                  </a:lnTo>
                  <a:lnTo>
                    <a:pt x="3512" y="453"/>
                  </a:lnTo>
                  <a:lnTo>
                    <a:pt x="3521" y="450"/>
                  </a:lnTo>
                  <a:lnTo>
                    <a:pt x="3529" y="446"/>
                  </a:lnTo>
                  <a:lnTo>
                    <a:pt x="3537" y="441"/>
                  </a:lnTo>
                  <a:lnTo>
                    <a:pt x="3545" y="436"/>
                  </a:lnTo>
                  <a:lnTo>
                    <a:pt x="3552" y="430"/>
                  </a:lnTo>
                  <a:lnTo>
                    <a:pt x="3557" y="423"/>
                  </a:lnTo>
                  <a:lnTo>
                    <a:pt x="3563" y="416"/>
                  </a:lnTo>
                  <a:lnTo>
                    <a:pt x="3567" y="409"/>
                  </a:lnTo>
                  <a:lnTo>
                    <a:pt x="3572" y="400"/>
                  </a:lnTo>
                  <a:lnTo>
                    <a:pt x="3574" y="391"/>
                  </a:lnTo>
                  <a:lnTo>
                    <a:pt x="3576" y="381"/>
                  </a:lnTo>
                  <a:lnTo>
                    <a:pt x="3577" y="371"/>
                  </a:lnTo>
                  <a:lnTo>
                    <a:pt x="3578" y="361"/>
                  </a:lnTo>
                  <a:lnTo>
                    <a:pt x="3578" y="95"/>
                  </a:lnTo>
                  <a:lnTo>
                    <a:pt x="3577" y="85"/>
                  </a:lnTo>
                  <a:lnTo>
                    <a:pt x="3576" y="75"/>
                  </a:lnTo>
                  <a:lnTo>
                    <a:pt x="3574" y="65"/>
                  </a:lnTo>
                  <a:lnTo>
                    <a:pt x="3572" y="57"/>
                  </a:lnTo>
                  <a:lnTo>
                    <a:pt x="3567" y="49"/>
                  </a:lnTo>
                  <a:lnTo>
                    <a:pt x="3563" y="41"/>
                  </a:lnTo>
                  <a:lnTo>
                    <a:pt x="3557" y="33"/>
                  </a:lnTo>
                  <a:lnTo>
                    <a:pt x="3552" y="27"/>
                  </a:lnTo>
                  <a:lnTo>
                    <a:pt x="3545" y="20"/>
                  </a:lnTo>
                  <a:lnTo>
                    <a:pt x="3537" y="16"/>
                  </a:lnTo>
                  <a:lnTo>
                    <a:pt x="3529" y="11"/>
                  </a:lnTo>
                  <a:lnTo>
                    <a:pt x="3521" y="7"/>
                  </a:lnTo>
                  <a:lnTo>
                    <a:pt x="3512" y="3"/>
                  </a:lnTo>
                  <a:lnTo>
                    <a:pt x="3503" y="1"/>
                  </a:lnTo>
                  <a:lnTo>
                    <a:pt x="3493" y="0"/>
                  </a:lnTo>
                  <a:lnTo>
                    <a:pt x="3482" y="0"/>
                  </a:lnTo>
                  <a:lnTo>
                    <a:pt x="2635" y="0"/>
                  </a:lnTo>
                  <a:lnTo>
                    <a:pt x="1789" y="0"/>
                  </a:lnTo>
                  <a:lnTo>
                    <a:pt x="942" y="0"/>
                  </a:lnTo>
                  <a:lnTo>
                    <a:pt x="96" y="0"/>
                  </a:lnTo>
                  <a:lnTo>
                    <a:pt x="85" y="0"/>
                  </a:lnTo>
                  <a:lnTo>
                    <a:pt x="75" y="1"/>
                  </a:lnTo>
                  <a:lnTo>
                    <a:pt x="66" y="3"/>
                  </a:lnTo>
                  <a:lnTo>
                    <a:pt x="58" y="7"/>
                  </a:lnTo>
                  <a:lnTo>
                    <a:pt x="49" y="11"/>
                  </a:lnTo>
                  <a:lnTo>
                    <a:pt x="41" y="16"/>
                  </a:lnTo>
                  <a:lnTo>
                    <a:pt x="33" y="20"/>
                  </a:lnTo>
                  <a:lnTo>
                    <a:pt x="27" y="27"/>
                  </a:lnTo>
                  <a:lnTo>
                    <a:pt x="21" y="33"/>
                  </a:lnTo>
                  <a:lnTo>
                    <a:pt x="16" y="41"/>
                  </a:lnTo>
                  <a:lnTo>
                    <a:pt x="11" y="49"/>
                  </a:lnTo>
                  <a:lnTo>
                    <a:pt x="8" y="57"/>
                  </a:lnTo>
                  <a:lnTo>
                    <a:pt x="4" y="65"/>
                  </a:lnTo>
                  <a:lnTo>
                    <a:pt x="2" y="75"/>
                  </a:lnTo>
                  <a:lnTo>
                    <a:pt x="1" y="85"/>
                  </a:lnTo>
                  <a:lnTo>
                    <a:pt x="0" y="95"/>
                  </a:lnTo>
                  <a:lnTo>
                    <a:pt x="0" y="36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Skatta Sans Regular" pitchFamily="50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11E5E5B-44AF-48A5-90BB-96E697682218}"/>
              </a:ext>
            </a:extLst>
          </p:cNvPr>
          <p:cNvGrpSpPr/>
          <p:nvPr userDrawn="1"/>
        </p:nvGrpSpPr>
        <p:grpSpPr>
          <a:xfrm>
            <a:off x="10344472" y="692696"/>
            <a:ext cx="1260000" cy="2520280"/>
            <a:chOff x="10579338" y="620688"/>
            <a:chExt cx="1260000" cy="2520280"/>
          </a:xfrm>
          <a:solidFill>
            <a:schemeClr val="accent2"/>
          </a:solidFill>
        </p:grpSpPr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46901497-766E-4E9B-AE1C-F6CD68BD76AA}"/>
                </a:ext>
              </a:extLst>
            </p:cNvPr>
            <p:cNvSpPr>
              <a:spLocks noChangeAspect="1" noEditPoints="1"/>
            </p:cNvSpPr>
            <p:nvPr/>
          </p:nvSpPr>
          <p:spPr bwMode="black">
            <a:xfrm>
              <a:off x="10705591" y="620688"/>
              <a:ext cx="1007493" cy="1124563"/>
            </a:xfrm>
            <a:custGeom>
              <a:avLst/>
              <a:gdLst>
                <a:gd name="T0" fmla="*/ 2964 w 3578"/>
                <a:gd name="T1" fmla="*/ 3151 h 3996"/>
                <a:gd name="T2" fmla="*/ 2988 w 3578"/>
                <a:gd name="T3" fmla="*/ 3131 h 3996"/>
                <a:gd name="T4" fmla="*/ 3002 w 3578"/>
                <a:gd name="T5" fmla="*/ 3095 h 3996"/>
                <a:gd name="T6" fmla="*/ 2998 w 3578"/>
                <a:gd name="T7" fmla="*/ 3052 h 3996"/>
                <a:gd name="T8" fmla="*/ 2570 w 3578"/>
                <a:gd name="T9" fmla="*/ 2480 h 3996"/>
                <a:gd name="T10" fmla="*/ 2976 w 3578"/>
                <a:gd name="T11" fmla="*/ 956 h 3996"/>
                <a:gd name="T12" fmla="*/ 2988 w 3578"/>
                <a:gd name="T13" fmla="*/ 917 h 3996"/>
                <a:gd name="T14" fmla="*/ 2981 w 3578"/>
                <a:gd name="T15" fmla="*/ 878 h 3996"/>
                <a:gd name="T16" fmla="*/ 2961 w 3578"/>
                <a:gd name="T17" fmla="*/ 853 h 3996"/>
                <a:gd name="T18" fmla="*/ 2936 w 3578"/>
                <a:gd name="T19" fmla="*/ 840 h 3996"/>
                <a:gd name="T20" fmla="*/ 2275 w 3578"/>
                <a:gd name="T21" fmla="*/ 835 h 3996"/>
                <a:gd name="T22" fmla="*/ 2209 w 3578"/>
                <a:gd name="T23" fmla="*/ 845 h 3996"/>
                <a:gd name="T24" fmla="*/ 2160 w 3578"/>
                <a:gd name="T25" fmla="*/ 872 h 3996"/>
                <a:gd name="T26" fmla="*/ 2119 w 3578"/>
                <a:gd name="T27" fmla="*/ 915 h 3996"/>
                <a:gd name="T28" fmla="*/ 1365 w 3578"/>
                <a:gd name="T29" fmla="*/ 931 h 3996"/>
                <a:gd name="T30" fmla="*/ 1356 w 3578"/>
                <a:gd name="T31" fmla="*/ 884 h 3996"/>
                <a:gd name="T32" fmla="*/ 1325 w 3578"/>
                <a:gd name="T33" fmla="*/ 851 h 3996"/>
                <a:gd name="T34" fmla="*/ 1280 w 3578"/>
                <a:gd name="T35" fmla="*/ 835 h 3996"/>
                <a:gd name="T36" fmla="*/ 664 w 3578"/>
                <a:gd name="T37" fmla="*/ 840 h 3996"/>
                <a:gd name="T38" fmla="*/ 625 w 3578"/>
                <a:gd name="T39" fmla="*/ 862 h 3996"/>
                <a:gd name="T40" fmla="*/ 602 w 3578"/>
                <a:gd name="T41" fmla="*/ 902 h 3996"/>
                <a:gd name="T42" fmla="*/ 598 w 3578"/>
                <a:gd name="T43" fmla="*/ 1998 h 3996"/>
                <a:gd name="T44" fmla="*/ 602 w 3578"/>
                <a:gd name="T45" fmla="*/ 3094 h 3996"/>
                <a:gd name="T46" fmla="*/ 625 w 3578"/>
                <a:gd name="T47" fmla="*/ 3133 h 3996"/>
                <a:gd name="T48" fmla="*/ 664 w 3578"/>
                <a:gd name="T49" fmla="*/ 3156 h 3996"/>
                <a:gd name="T50" fmla="*/ 1280 w 3578"/>
                <a:gd name="T51" fmla="*/ 3160 h 3996"/>
                <a:gd name="T52" fmla="*/ 1325 w 3578"/>
                <a:gd name="T53" fmla="*/ 3144 h 3996"/>
                <a:gd name="T54" fmla="*/ 1356 w 3578"/>
                <a:gd name="T55" fmla="*/ 3111 h 3996"/>
                <a:gd name="T56" fmla="*/ 1365 w 3578"/>
                <a:gd name="T57" fmla="*/ 3064 h 3996"/>
                <a:gd name="T58" fmla="*/ 2119 w 3578"/>
                <a:gd name="T59" fmla="*/ 3080 h 3996"/>
                <a:gd name="T60" fmla="*/ 2160 w 3578"/>
                <a:gd name="T61" fmla="*/ 3123 h 3996"/>
                <a:gd name="T62" fmla="*/ 2209 w 3578"/>
                <a:gd name="T63" fmla="*/ 3151 h 3996"/>
                <a:gd name="T64" fmla="*/ 2275 w 3578"/>
                <a:gd name="T65" fmla="*/ 3160 h 3996"/>
                <a:gd name="T66" fmla="*/ 4 w 3578"/>
                <a:gd name="T67" fmla="*/ 3929 h 3996"/>
                <a:gd name="T68" fmla="*/ 27 w 3578"/>
                <a:gd name="T69" fmla="*/ 3968 h 3996"/>
                <a:gd name="T70" fmla="*/ 66 w 3578"/>
                <a:gd name="T71" fmla="*/ 3991 h 3996"/>
                <a:gd name="T72" fmla="*/ 1789 w 3578"/>
                <a:gd name="T73" fmla="*/ 3996 h 3996"/>
                <a:gd name="T74" fmla="*/ 3512 w 3578"/>
                <a:gd name="T75" fmla="*/ 3991 h 3996"/>
                <a:gd name="T76" fmla="*/ 3552 w 3578"/>
                <a:gd name="T77" fmla="*/ 3968 h 3996"/>
                <a:gd name="T78" fmla="*/ 3574 w 3578"/>
                <a:gd name="T79" fmla="*/ 3929 h 3996"/>
                <a:gd name="T80" fmla="*/ 3577 w 3578"/>
                <a:gd name="T81" fmla="*/ 3624 h 3996"/>
                <a:gd name="T82" fmla="*/ 3563 w 3578"/>
                <a:gd name="T83" fmla="*/ 3579 h 3996"/>
                <a:gd name="T84" fmla="*/ 3529 w 3578"/>
                <a:gd name="T85" fmla="*/ 3549 h 3996"/>
                <a:gd name="T86" fmla="*/ 3482 w 3578"/>
                <a:gd name="T87" fmla="*/ 3538 h 3996"/>
                <a:gd name="T88" fmla="*/ 85 w 3578"/>
                <a:gd name="T89" fmla="*/ 3538 h 3996"/>
                <a:gd name="T90" fmla="*/ 41 w 3578"/>
                <a:gd name="T91" fmla="*/ 3554 h 3996"/>
                <a:gd name="T92" fmla="*/ 11 w 3578"/>
                <a:gd name="T93" fmla="*/ 3587 h 3996"/>
                <a:gd name="T94" fmla="*/ 0 w 3578"/>
                <a:gd name="T95" fmla="*/ 3634 h 3996"/>
                <a:gd name="T96" fmla="*/ 4 w 3578"/>
                <a:gd name="T97" fmla="*/ 391 h 3996"/>
                <a:gd name="T98" fmla="*/ 27 w 3578"/>
                <a:gd name="T99" fmla="*/ 430 h 3996"/>
                <a:gd name="T100" fmla="*/ 66 w 3578"/>
                <a:gd name="T101" fmla="*/ 453 h 3996"/>
                <a:gd name="T102" fmla="*/ 1789 w 3578"/>
                <a:gd name="T103" fmla="*/ 456 h 3996"/>
                <a:gd name="T104" fmla="*/ 3512 w 3578"/>
                <a:gd name="T105" fmla="*/ 453 h 3996"/>
                <a:gd name="T106" fmla="*/ 3552 w 3578"/>
                <a:gd name="T107" fmla="*/ 430 h 3996"/>
                <a:gd name="T108" fmla="*/ 3574 w 3578"/>
                <a:gd name="T109" fmla="*/ 391 h 3996"/>
                <a:gd name="T110" fmla="*/ 3577 w 3578"/>
                <a:gd name="T111" fmla="*/ 85 h 3996"/>
                <a:gd name="T112" fmla="*/ 3563 w 3578"/>
                <a:gd name="T113" fmla="*/ 41 h 3996"/>
                <a:gd name="T114" fmla="*/ 3529 w 3578"/>
                <a:gd name="T115" fmla="*/ 11 h 3996"/>
                <a:gd name="T116" fmla="*/ 3482 w 3578"/>
                <a:gd name="T117" fmla="*/ 0 h 3996"/>
                <a:gd name="T118" fmla="*/ 85 w 3578"/>
                <a:gd name="T119" fmla="*/ 0 h 3996"/>
                <a:gd name="T120" fmla="*/ 41 w 3578"/>
                <a:gd name="T121" fmla="*/ 16 h 3996"/>
                <a:gd name="T122" fmla="*/ 11 w 3578"/>
                <a:gd name="T123" fmla="*/ 49 h 3996"/>
                <a:gd name="T124" fmla="*/ 0 w 3578"/>
                <a:gd name="T125" fmla="*/ 95 h 3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78" h="3996">
                  <a:moveTo>
                    <a:pt x="2924" y="3160"/>
                  </a:moveTo>
                  <a:lnTo>
                    <a:pt x="2936" y="3160"/>
                  </a:lnTo>
                  <a:lnTo>
                    <a:pt x="2947" y="3157"/>
                  </a:lnTo>
                  <a:lnTo>
                    <a:pt x="2958" y="3153"/>
                  </a:lnTo>
                  <a:lnTo>
                    <a:pt x="2964" y="3151"/>
                  </a:lnTo>
                  <a:lnTo>
                    <a:pt x="2968" y="3148"/>
                  </a:lnTo>
                  <a:lnTo>
                    <a:pt x="2977" y="3142"/>
                  </a:lnTo>
                  <a:lnTo>
                    <a:pt x="2981" y="3139"/>
                  </a:lnTo>
                  <a:lnTo>
                    <a:pt x="2985" y="3135"/>
                  </a:lnTo>
                  <a:lnTo>
                    <a:pt x="2988" y="3131"/>
                  </a:lnTo>
                  <a:lnTo>
                    <a:pt x="2991" y="3126"/>
                  </a:lnTo>
                  <a:lnTo>
                    <a:pt x="2996" y="3117"/>
                  </a:lnTo>
                  <a:lnTo>
                    <a:pt x="3000" y="3106"/>
                  </a:lnTo>
                  <a:lnTo>
                    <a:pt x="3001" y="3101"/>
                  </a:lnTo>
                  <a:lnTo>
                    <a:pt x="3002" y="3095"/>
                  </a:lnTo>
                  <a:lnTo>
                    <a:pt x="3003" y="3084"/>
                  </a:lnTo>
                  <a:lnTo>
                    <a:pt x="3002" y="3072"/>
                  </a:lnTo>
                  <a:lnTo>
                    <a:pt x="3001" y="3065"/>
                  </a:lnTo>
                  <a:lnTo>
                    <a:pt x="2999" y="3059"/>
                  </a:lnTo>
                  <a:lnTo>
                    <a:pt x="2998" y="3052"/>
                  </a:lnTo>
                  <a:lnTo>
                    <a:pt x="2995" y="3045"/>
                  </a:lnTo>
                  <a:lnTo>
                    <a:pt x="2988" y="3032"/>
                  </a:lnTo>
                  <a:lnTo>
                    <a:pt x="2985" y="3026"/>
                  </a:lnTo>
                  <a:lnTo>
                    <a:pt x="2980" y="3019"/>
                  </a:lnTo>
                  <a:lnTo>
                    <a:pt x="2570" y="2480"/>
                  </a:lnTo>
                  <a:lnTo>
                    <a:pt x="2162" y="1941"/>
                  </a:lnTo>
                  <a:lnTo>
                    <a:pt x="2562" y="1459"/>
                  </a:lnTo>
                  <a:lnTo>
                    <a:pt x="2962" y="976"/>
                  </a:lnTo>
                  <a:lnTo>
                    <a:pt x="2972" y="962"/>
                  </a:lnTo>
                  <a:lnTo>
                    <a:pt x="2976" y="956"/>
                  </a:lnTo>
                  <a:lnTo>
                    <a:pt x="2979" y="949"/>
                  </a:lnTo>
                  <a:lnTo>
                    <a:pt x="2985" y="936"/>
                  </a:lnTo>
                  <a:lnTo>
                    <a:pt x="2986" y="929"/>
                  </a:lnTo>
                  <a:lnTo>
                    <a:pt x="2988" y="923"/>
                  </a:lnTo>
                  <a:lnTo>
                    <a:pt x="2988" y="917"/>
                  </a:lnTo>
                  <a:lnTo>
                    <a:pt x="2989" y="910"/>
                  </a:lnTo>
                  <a:lnTo>
                    <a:pt x="2988" y="899"/>
                  </a:lnTo>
                  <a:lnTo>
                    <a:pt x="2987" y="894"/>
                  </a:lnTo>
                  <a:lnTo>
                    <a:pt x="2986" y="888"/>
                  </a:lnTo>
                  <a:lnTo>
                    <a:pt x="2981" y="878"/>
                  </a:lnTo>
                  <a:lnTo>
                    <a:pt x="2979" y="873"/>
                  </a:lnTo>
                  <a:lnTo>
                    <a:pt x="2976" y="868"/>
                  </a:lnTo>
                  <a:lnTo>
                    <a:pt x="2972" y="864"/>
                  </a:lnTo>
                  <a:lnTo>
                    <a:pt x="2969" y="861"/>
                  </a:lnTo>
                  <a:lnTo>
                    <a:pt x="2961" y="853"/>
                  </a:lnTo>
                  <a:lnTo>
                    <a:pt x="2957" y="849"/>
                  </a:lnTo>
                  <a:lnTo>
                    <a:pt x="2951" y="846"/>
                  </a:lnTo>
                  <a:lnTo>
                    <a:pt x="2947" y="844"/>
                  </a:lnTo>
                  <a:lnTo>
                    <a:pt x="2941" y="842"/>
                  </a:lnTo>
                  <a:lnTo>
                    <a:pt x="2936" y="840"/>
                  </a:lnTo>
                  <a:lnTo>
                    <a:pt x="2930" y="838"/>
                  </a:lnTo>
                  <a:lnTo>
                    <a:pt x="2925" y="836"/>
                  </a:lnTo>
                  <a:lnTo>
                    <a:pt x="2919" y="836"/>
                  </a:lnTo>
                  <a:lnTo>
                    <a:pt x="2907" y="835"/>
                  </a:lnTo>
                  <a:lnTo>
                    <a:pt x="2275" y="835"/>
                  </a:lnTo>
                  <a:lnTo>
                    <a:pt x="2260" y="835"/>
                  </a:lnTo>
                  <a:lnTo>
                    <a:pt x="2246" y="836"/>
                  </a:lnTo>
                  <a:lnTo>
                    <a:pt x="2234" y="838"/>
                  </a:lnTo>
                  <a:lnTo>
                    <a:pt x="2222" y="841"/>
                  </a:lnTo>
                  <a:lnTo>
                    <a:pt x="2209" y="845"/>
                  </a:lnTo>
                  <a:lnTo>
                    <a:pt x="2198" y="848"/>
                  </a:lnTo>
                  <a:lnTo>
                    <a:pt x="2188" y="854"/>
                  </a:lnTo>
                  <a:lnTo>
                    <a:pt x="2178" y="859"/>
                  </a:lnTo>
                  <a:lnTo>
                    <a:pt x="2168" y="865"/>
                  </a:lnTo>
                  <a:lnTo>
                    <a:pt x="2160" y="872"/>
                  </a:lnTo>
                  <a:lnTo>
                    <a:pt x="2151" y="879"/>
                  </a:lnTo>
                  <a:lnTo>
                    <a:pt x="2142" y="887"/>
                  </a:lnTo>
                  <a:lnTo>
                    <a:pt x="2134" y="896"/>
                  </a:lnTo>
                  <a:lnTo>
                    <a:pt x="2126" y="905"/>
                  </a:lnTo>
                  <a:lnTo>
                    <a:pt x="2119" y="915"/>
                  </a:lnTo>
                  <a:lnTo>
                    <a:pt x="2111" y="925"/>
                  </a:lnTo>
                  <a:lnTo>
                    <a:pt x="1738" y="1404"/>
                  </a:lnTo>
                  <a:lnTo>
                    <a:pt x="1365" y="1885"/>
                  </a:lnTo>
                  <a:lnTo>
                    <a:pt x="1365" y="1408"/>
                  </a:lnTo>
                  <a:lnTo>
                    <a:pt x="1365" y="931"/>
                  </a:lnTo>
                  <a:lnTo>
                    <a:pt x="1365" y="920"/>
                  </a:lnTo>
                  <a:lnTo>
                    <a:pt x="1364" y="910"/>
                  </a:lnTo>
                  <a:lnTo>
                    <a:pt x="1362" y="902"/>
                  </a:lnTo>
                  <a:lnTo>
                    <a:pt x="1359" y="892"/>
                  </a:lnTo>
                  <a:lnTo>
                    <a:pt x="1356" y="884"/>
                  </a:lnTo>
                  <a:lnTo>
                    <a:pt x="1350" y="876"/>
                  </a:lnTo>
                  <a:lnTo>
                    <a:pt x="1346" y="868"/>
                  </a:lnTo>
                  <a:lnTo>
                    <a:pt x="1339" y="862"/>
                  </a:lnTo>
                  <a:lnTo>
                    <a:pt x="1332" y="856"/>
                  </a:lnTo>
                  <a:lnTo>
                    <a:pt x="1325" y="851"/>
                  </a:lnTo>
                  <a:lnTo>
                    <a:pt x="1317" y="846"/>
                  </a:lnTo>
                  <a:lnTo>
                    <a:pt x="1309" y="842"/>
                  </a:lnTo>
                  <a:lnTo>
                    <a:pt x="1300" y="840"/>
                  </a:lnTo>
                  <a:lnTo>
                    <a:pt x="1290" y="837"/>
                  </a:lnTo>
                  <a:lnTo>
                    <a:pt x="1280" y="835"/>
                  </a:lnTo>
                  <a:lnTo>
                    <a:pt x="1270" y="835"/>
                  </a:lnTo>
                  <a:lnTo>
                    <a:pt x="694" y="835"/>
                  </a:lnTo>
                  <a:lnTo>
                    <a:pt x="684" y="835"/>
                  </a:lnTo>
                  <a:lnTo>
                    <a:pt x="674" y="837"/>
                  </a:lnTo>
                  <a:lnTo>
                    <a:pt x="664" y="840"/>
                  </a:lnTo>
                  <a:lnTo>
                    <a:pt x="656" y="842"/>
                  </a:lnTo>
                  <a:lnTo>
                    <a:pt x="647" y="846"/>
                  </a:lnTo>
                  <a:lnTo>
                    <a:pt x="639" y="851"/>
                  </a:lnTo>
                  <a:lnTo>
                    <a:pt x="632" y="856"/>
                  </a:lnTo>
                  <a:lnTo>
                    <a:pt x="625" y="862"/>
                  </a:lnTo>
                  <a:lnTo>
                    <a:pt x="619" y="868"/>
                  </a:lnTo>
                  <a:lnTo>
                    <a:pt x="614" y="876"/>
                  </a:lnTo>
                  <a:lnTo>
                    <a:pt x="609" y="884"/>
                  </a:lnTo>
                  <a:lnTo>
                    <a:pt x="606" y="892"/>
                  </a:lnTo>
                  <a:lnTo>
                    <a:pt x="602" y="902"/>
                  </a:lnTo>
                  <a:lnTo>
                    <a:pt x="600" y="910"/>
                  </a:lnTo>
                  <a:lnTo>
                    <a:pt x="599" y="920"/>
                  </a:lnTo>
                  <a:lnTo>
                    <a:pt x="598" y="931"/>
                  </a:lnTo>
                  <a:lnTo>
                    <a:pt x="598" y="1464"/>
                  </a:lnTo>
                  <a:lnTo>
                    <a:pt x="598" y="1998"/>
                  </a:lnTo>
                  <a:lnTo>
                    <a:pt x="598" y="2531"/>
                  </a:lnTo>
                  <a:lnTo>
                    <a:pt x="598" y="3064"/>
                  </a:lnTo>
                  <a:lnTo>
                    <a:pt x="599" y="3074"/>
                  </a:lnTo>
                  <a:lnTo>
                    <a:pt x="600" y="3084"/>
                  </a:lnTo>
                  <a:lnTo>
                    <a:pt x="602" y="3094"/>
                  </a:lnTo>
                  <a:lnTo>
                    <a:pt x="606" y="3103"/>
                  </a:lnTo>
                  <a:lnTo>
                    <a:pt x="609" y="3111"/>
                  </a:lnTo>
                  <a:lnTo>
                    <a:pt x="614" y="3120"/>
                  </a:lnTo>
                  <a:lnTo>
                    <a:pt x="619" y="3126"/>
                  </a:lnTo>
                  <a:lnTo>
                    <a:pt x="625" y="3133"/>
                  </a:lnTo>
                  <a:lnTo>
                    <a:pt x="632" y="3140"/>
                  </a:lnTo>
                  <a:lnTo>
                    <a:pt x="639" y="3144"/>
                  </a:lnTo>
                  <a:lnTo>
                    <a:pt x="647" y="3150"/>
                  </a:lnTo>
                  <a:lnTo>
                    <a:pt x="656" y="3153"/>
                  </a:lnTo>
                  <a:lnTo>
                    <a:pt x="664" y="3156"/>
                  </a:lnTo>
                  <a:lnTo>
                    <a:pt x="674" y="3158"/>
                  </a:lnTo>
                  <a:lnTo>
                    <a:pt x="684" y="3160"/>
                  </a:lnTo>
                  <a:lnTo>
                    <a:pt x="694" y="3160"/>
                  </a:lnTo>
                  <a:lnTo>
                    <a:pt x="1270" y="3160"/>
                  </a:lnTo>
                  <a:lnTo>
                    <a:pt x="1280" y="3160"/>
                  </a:lnTo>
                  <a:lnTo>
                    <a:pt x="1290" y="3158"/>
                  </a:lnTo>
                  <a:lnTo>
                    <a:pt x="1300" y="3156"/>
                  </a:lnTo>
                  <a:lnTo>
                    <a:pt x="1309" y="3153"/>
                  </a:lnTo>
                  <a:lnTo>
                    <a:pt x="1317" y="3150"/>
                  </a:lnTo>
                  <a:lnTo>
                    <a:pt x="1325" y="3144"/>
                  </a:lnTo>
                  <a:lnTo>
                    <a:pt x="1332" y="3140"/>
                  </a:lnTo>
                  <a:lnTo>
                    <a:pt x="1339" y="3133"/>
                  </a:lnTo>
                  <a:lnTo>
                    <a:pt x="1346" y="3126"/>
                  </a:lnTo>
                  <a:lnTo>
                    <a:pt x="1350" y="3120"/>
                  </a:lnTo>
                  <a:lnTo>
                    <a:pt x="1356" y="3111"/>
                  </a:lnTo>
                  <a:lnTo>
                    <a:pt x="1359" y="3103"/>
                  </a:lnTo>
                  <a:lnTo>
                    <a:pt x="1362" y="3094"/>
                  </a:lnTo>
                  <a:lnTo>
                    <a:pt x="1364" y="3084"/>
                  </a:lnTo>
                  <a:lnTo>
                    <a:pt x="1365" y="3074"/>
                  </a:lnTo>
                  <a:lnTo>
                    <a:pt x="1365" y="3064"/>
                  </a:lnTo>
                  <a:lnTo>
                    <a:pt x="1365" y="2539"/>
                  </a:lnTo>
                  <a:lnTo>
                    <a:pt x="1365" y="2014"/>
                  </a:lnTo>
                  <a:lnTo>
                    <a:pt x="1738" y="2542"/>
                  </a:lnTo>
                  <a:lnTo>
                    <a:pt x="2111" y="3070"/>
                  </a:lnTo>
                  <a:lnTo>
                    <a:pt x="2119" y="3080"/>
                  </a:lnTo>
                  <a:lnTo>
                    <a:pt x="2126" y="3090"/>
                  </a:lnTo>
                  <a:lnTo>
                    <a:pt x="2134" y="3099"/>
                  </a:lnTo>
                  <a:lnTo>
                    <a:pt x="2142" y="3108"/>
                  </a:lnTo>
                  <a:lnTo>
                    <a:pt x="2151" y="3115"/>
                  </a:lnTo>
                  <a:lnTo>
                    <a:pt x="2160" y="3123"/>
                  </a:lnTo>
                  <a:lnTo>
                    <a:pt x="2168" y="3130"/>
                  </a:lnTo>
                  <a:lnTo>
                    <a:pt x="2178" y="3136"/>
                  </a:lnTo>
                  <a:lnTo>
                    <a:pt x="2188" y="3142"/>
                  </a:lnTo>
                  <a:lnTo>
                    <a:pt x="2198" y="3146"/>
                  </a:lnTo>
                  <a:lnTo>
                    <a:pt x="2209" y="3151"/>
                  </a:lnTo>
                  <a:lnTo>
                    <a:pt x="2222" y="3154"/>
                  </a:lnTo>
                  <a:lnTo>
                    <a:pt x="2234" y="3156"/>
                  </a:lnTo>
                  <a:lnTo>
                    <a:pt x="2246" y="3158"/>
                  </a:lnTo>
                  <a:lnTo>
                    <a:pt x="2260" y="3160"/>
                  </a:lnTo>
                  <a:lnTo>
                    <a:pt x="2275" y="3160"/>
                  </a:lnTo>
                  <a:lnTo>
                    <a:pt x="2924" y="3160"/>
                  </a:lnTo>
                  <a:close/>
                  <a:moveTo>
                    <a:pt x="0" y="3899"/>
                  </a:moveTo>
                  <a:lnTo>
                    <a:pt x="1" y="3909"/>
                  </a:lnTo>
                  <a:lnTo>
                    <a:pt x="2" y="3919"/>
                  </a:lnTo>
                  <a:lnTo>
                    <a:pt x="4" y="3929"/>
                  </a:lnTo>
                  <a:lnTo>
                    <a:pt x="8" y="3938"/>
                  </a:lnTo>
                  <a:lnTo>
                    <a:pt x="11" y="3947"/>
                  </a:lnTo>
                  <a:lnTo>
                    <a:pt x="16" y="3955"/>
                  </a:lnTo>
                  <a:lnTo>
                    <a:pt x="21" y="3961"/>
                  </a:lnTo>
                  <a:lnTo>
                    <a:pt x="27" y="3968"/>
                  </a:lnTo>
                  <a:lnTo>
                    <a:pt x="33" y="3975"/>
                  </a:lnTo>
                  <a:lnTo>
                    <a:pt x="41" y="3980"/>
                  </a:lnTo>
                  <a:lnTo>
                    <a:pt x="49" y="3985"/>
                  </a:lnTo>
                  <a:lnTo>
                    <a:pt x="58" y="3988"/>
                  </a:lnTo>
                  <a:lnTo>
                    <a:pt x="66" y="3991"/>
                  </a:lnTo>
                  <a:lnTo>
                    <a:pt x="75" y="3993"/>
                  </a:lnTo>
                  <a:lnTo>
                    <a:pt x="85" y="3995"/>
                  </a:lnTo>
                  <a:lnTo>
                    <a:pt x="96" y="3996"/>
                  </a:lnTo>
                  <a:lnTo>
                    <a:pt x="942" y="3996"/>
                  </a:lnTo>
                  <a:lnTo>
                    <a:pt x="1789" y="3996"/>
                  </a:lnTo>
                  <a:lnTo>
                    <a:pt x="2635" y="3996"/>
                  </a:lnTo>
                  <a:lnTo>
                    <a:pt x="3482" y="3996"/>
                  </a:lnTo>
                  <a:lnTo>
                    <a:pt x="3493" y="3995"/>
                  </a:lnTo>
                  <a:lnTo>
                    <a:pt x="3503" y="3993"/>
                  </a:lnTo>
                  <a:lnTo>
                    <a:pt x="3512" y="3991"/>
                  </a:lnTo>
                  <a:lnTo>
                    <a:pt x="3521" y="3988"/>
                  </a:lnTo>
                  <a:lnTo>
                    <a:pt x="3529" y="3985"/>
                  </a:lnTo>
                  <a:lnTo>
                    <a:pt x="3537" y="3980"/>
                  </a:lnTo>
                  <a:lnTo>
                    <a:pt x="3545" y="3975"/>
                  </a:lnTo>
                  <a:lnTo>
                    <a:pt x="3552" y="3968"/>
                  </a:lnTo>
                  <a:lnTo>
                    <a:pt x="3557" y="3961"/>
                  </a:lnTo>
                  <a:lnTo>
                    <a:pt x="3563" y="3955"/>
                  </a:lnTo>
                  <a:lnTo>
                    <a:pt x="3567" y="3947"/>
                  </a:lnTo>
                  <a:lnTo>
                    <a:pt x="3572" y="3938"/>
                  </a:lnTo>
                  <a:lnTo>
                    <a:pt x="3574" y="3929"/>
                  </a:lnTo>
                  <a:lnTo>
                    <a:pt x="3576" y="3919"/>
                  </a:lnTo>
                  <a:lnTo>
                    <a:pt x="3577" y="3909"/>
                  </a:lnTo>
                  <a:lnTo>
                    <a:pt x="3578" y="3899"/>
                  </a:lnTo>
                  <a:lnTo>
                    <a:pt x="3578" y="3634"/>
                  </a:lnTo>
                  <a:lnTo>
                    <a:pt x="3577" y="3624"/>
                  </a:lnTo>
                  <a:lnTo>
                    <a:pt x="3576" y="3614"/>
                  </a:lnTo>
                  <a:lnTo>
                    <a:pt x="3574" y="3605"/>
                  </a:lnTo>
                  <a:lnTo>
                    <a:pt x="3572" y="3595"/>
                  </a:lnTo>
                  <a:lnTo>
                    <a:pt x="3567" y="3587"/>
                  </a:lnTo>
                  <a:lnTo>
                    <a:pt x="3563" y="3579"/>
                  </a:lnTo>
                  <a:lnTo>
                    <a:pt x="3557" y="3572"/>
                  </a:lnTo>
                  <a:lnTo>
                    <a:pt x="3552" y="3565"/>
                  </a:lnTo>
                  <a:lnTo>
                    <a:pt x="3545" y="3559"/>
                  </a:lnTo>
                  <a:lnTo>
                    <a:pt x="3537" y="3554"/>
                  </a:lnTo>
                  <a:lnTo>
                    <a:pt x="3529" y="3549"/>
                  </a:lnTo>
                  <a:lnTo>
                    <a:pt x="3521" y="3545"/>
                  </a:lnTo>
                  <a:lnTo>
                    <a:pt x="3512" y="3542"/>
                  </a:lnTo>
                  <a:lnTo>
                    <a:pt x="3503" y="3539"/>
                  </a:lnTo>
                  <a:lnTo>
                    <a:pt x="3493" y="3538"/>
                  </a:lnTo>
                  <a:lnTo>
                    <a:pt x="3482" y="3538"/>
                  </a:lnTo>
                  <a:lnTo>
                    <a:pt x="2635" y="3538"/>
                  </a:lnTo>
                  <a:lnTo>
                    <a:pt x="1789" y="3538"/>
                  </a:lnTo>
                  <a:lnTo>
                    <a:pt x="942" y="3538"/>
                  </a:lnTo>
                  <a:lnTo>
                    <a:pt x="96" y="3538"/>
                  </a:lnTo>
                  <a:lnTo>
                    <a:pt x="85" y="3538"/>
                  </a:lnTo>
                  <a:lnTo>
                    <a:pt x="75" y="3539"/>
                  </a:lnTo>
                  <a:lnTo>
                    <a:pt x="66" y="3542"/>
                  </a:lnTo>
                  <a:lnTo>
                    <a:pt x="58" y="3545"/>
                  </a:lnTo>
                  <a:lnTo>
                    <a:pt x="49" y="3549"/>
                  </a:lnTo>
                  <a:lnTo>
                    <a:pt x="41" y="3554"/>
                  </a:lnTo>
                  <a:lnTo>
                    <a:pt x="33" y="3559"/>
                  </a:lnTo>
                  <a:lnTo>
                    <a:pt x="27" y="3565"/>
                  </a:lnTo>
                  <a:lnTo>
                    <a:pt x="21" y="3572"/>
                  </a:lnTo>
                  <a:lnTo>
                    <a:pt x="16" y="3579"/>
                  </a:lnTo>
                  <a:lnTo>
                    <a:pt x="11" y="3587"/>
                  </a:lnTo>
                  <a:lnTo>
                    <a:pt x="8" y="3595"/>
                  </a:lnTo>
                  <a:lnTo>
                    <a:pt x="4" y="3605"/>
                  </a:lnTo>
                  <a:lnTo>
                    <a:pt x="2" y="3614"/>
                  </a:lnTo>
                  <a:lnTo>
                    <a:pt x="1" y="3624"/>
                  </a:lnTo>
                  <a:lnTo>
                    <a:pt x="0" y="3634"/>
                  </a:lnTo>
                  <a:lnTo>
                    <a:pt x="0" y="3899"/>
                  </a:lnTo>
                  <a:close/>
                  <a:moveTo>
                    <a:pt x="0" y="361"/>
                  </a:moveTo>
                  <a:lnTo>
                    <a:pt x="1" y="371"/>
                  </a:lnTo>
                  <a:lnTo>
                    <a:pt x="2" y="381"/>
                  </a:lnTo>
                  <a:lnTo>
                    <a:pt x="4" y="391"/>
                  </a:lnTo>
                  <a:lnTo>
                    <a:pt x="8" y="400"/>
                  </a:lnTo>
                  <a:lnTo>
                    <a:pt x="11" y="409"/>
                  </a:lnTo>
                  <a:lnTo>
                    <a:pt x="16" y="416"/>
                  </a:lnTo>
                  <a:lnTo>
                    <a:pt x="21" y="423"/>
                  </a:lnTo>
                  <a:lnTo>
                    <a:pt x="27" y="430"/>
                  </a:lnTo>
                  <a:lnTo>
                    <a:pt x="33" y="436"/>
                  </a:lnTo>
                  <a:lnTo>
                    <a:pt x="41" y="441"/>
                  </a:lnTo>
                  <a:lnTo>
                    <a:pt x="49" y="446"/>
                  </a:lnTo>
                  <a:lnTo>
                    <a:pt x="58" y="450"/>
                  </a:lnTo>
                  <a:lnTo>
                    <a:pt x="66" y="453"/>
                  </a:lnTo>
                  <a:lnTo>
                    <a:pt x="75" y="455"/>
                  </a:lnTo>
                  <a:lnTo>
                    <a:pt x="85" y="456"/>
                  </a:lnTo>
                  <a:lnTo>
                    <a:pt x="96" y="456"/>
                  </a:lnTo>
                  <a:lnTo>
                    <a:pt x="942" y="456"/>
                  </a:lnTo>
                  <a:lnTo>
                    <a:pt x="1789" y="456"/>
                  </a:lnTo>
                  <a:lnTo>
                    <a:pt x="2635" y="456"/>
                  </a:lnTo>
                  <a:lnTo>
                    <a:pt x="3482" y="456"/>
                  </a:lnTo>
                  <a:lnTo>
                    <a:pt x="3493" y="456"/>
                  </a:lnTo>
                  <a:lnTo>
                    <a:pt x="3503" y="455"/>
                  </a:lnTo>
                  <a:lnTo>
                    <a:pt x="3512" y="453"/>
                  </a:lnTo>
                  <a:lnTo>
                    <a:pt x="3521" y="450"/>
                  </a:lnTo>
                  <a:lnTo>
                    <a:pt x="3529" y="446"/>
                  </a:lnTo>
                  <a:lnTo>
                    <a:pt x="3537" y="441"/>
                  </a:lnTo>
                  <a:lnTo>
                    <a:pt x="3545" y="436"/>
                  </a:lnTo>
                  <a:lnTo>
                    <a:pt x="3552" y="430"/>
                  </a:lnTo>
                  <a:lnTo>
                    <a:pt x="3557" y="423"/>
                  </a:lnTo>
                  <a:lnTo>
                    <a:pt x="3563" y="416"/>
                  </a:lnTo>
                  <a:lnTo>
                    <a:pt x="3567" y="409"/>
                  </a:lnTo>
                  <a:lnTo>
                    <a:pt x="3572" y="400"/>
                  </a:lnTo>
                  <a:lnTo>
                    <a:pt x="3574" y="391"/>
                  </a:lnTo>
                  <a:lnTo>
                    <a:pt x="3576" y="381"/>
                  </a:lnTo>
                  <a:lnTo>
                    <a:pt x="3577" y="371"/>
                  </a:lnTo>
                  <a:lnTo>
                    <a:pt x="3578" y="361"/>
                  </a:lnTo>
                  <a:lnTo>
                    <a:pt x="3578" y="95"/>
                  </a:lnTo>
                  <a:lnTo>
                    <a:pt x="3577" y="85"/>
                  </a:lnTo>
                  <a:lnTo>
                    <a:pt x="3576" y="75"/>
                  </a:lnTo>
                  <a:lnTo>
                    <a:pt x="3574" y="65"/>
                  </a:lnTo>
                  <a:lnTo>
                    <a:pt x="3572" y="57"/>
                  </a:lnTo>
                  <a:lnTo>
                    <a:pt x="3567" y="49"/>
                  </a:lnTo>
                  <a:lnTo>
                    <a:pt x="3563" y="41"/>
                  </a:lnTo>
                  <a:lnTo>
                    <a:pt x="3557" y="33"/>
                  </a:lnTo>
                  <a:lnTo>
                    <a:pt x="3552" y="27"/>
                  </a:lnTo>
                  <a:lnTo>
                    <a:pt x="3545" y="20"/>
                  </a:lnTo>
                  <a:lnTo>
                    <a:pt x="3537" y="16"/>
                  </a:lnTo>
                  <a:lnTo>
                    <a:pt x="3529" y="11"/>
                  </a:lnTo>
                  <a:lnTo>
                    <a:pt x="3521" y="7"/>
                  </a:lnTo>
                  <a:lnTo>
                    <a:pt x="3512" y="3"/>
                  </a:lnTo>
                  <a:lnTo>
                    <a:pt x="3503" y="1"/>
                  </a:lnTo>
                  <a:lnTo>
                    <a:pt x="3493" y="0"/>
                  </a:lnTo>
                  <a:lnTo>
                    <a:pt x="3482" y="0"/>
                  </a:lnTo>
                  <a:lnTo>
                    <a:pt x="2635" y="0"/>
                  </a:lnTo>
                  <a:lnTo>
                    <a:pt x="1789" y="0"/>
                  </a:lnTo>
                  <a:lnTo>
                    <a:pt x="942" y="0"/>
                  </a:lnTo>
                  <a:lnTo>
                    <a:pt x="96" y="0"/>
                  </a:lnTo>
                  <a:lnTo>
                    <a:pt x="85" y="0"/>
                  </a:lnTo>
                  <a:lnTo>
                    <a:pt x="75" y="1"/>
                  </a:lnTo>
                  <a:lnTo>
                    <a:pt x="66" y="3"/>
                  </a:lnTo>
                  <a:lnTo>
                    <a:pt x="58" y="7"/>
                  </a:lnTo>
                  <a:lnTo>
                    <a:pt x="49" y="11"/>
                  </a:lnTo>
                  <a:lnTo>
                    <a:pt x="41" y="16"/>
                  </a:lnTo>
                  <a:lnTo>
                    <a:pt x="33" y="20"/>
                  </a:lnTo>
                  <a:lnTo>
                    <a:pt x="27" y="27"/>
                  </a:lnTo>
                  <a:lnTo>
                    <a:pt x="21" y="33"/>
                  </a:lnTo>
                  <a:lnTo>
                    <a:pt x="16" y="41"/>
                  </a:lnTo>
                  <a:lnTo>
                    <a:pt x="11" y="49"/>
                  </a:lnTo>
                  <a:lnTo>
                    <a:pt x="8" y="57"/>
                  </a:lnTo>
                  <a:lnTo>
                    <a:pt x="4" y="65"/>
                  </a:lnTo>
                  <a:lnTo>
                    <a:pt x="2" y="75"/>
                  </a:lnTo>
                  <a:lnTo>
                    <a:pt x="1" y="85"/>
                  </a:lnTo>
                  <a:lnTo>
                    <a:pt x="0" y="95"/>
                  </a:lnTo>
                  <a:lnTo>
                    <a:pt x="0" y="36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Skatta Sans Regular" pitchFamily="50" charset="0"/>
              </a:endParaRPr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C71B3B68-3274-4B8A-A77F-8867CD0332D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579338" y="2067802"/>
              <a:ext cx="1260000" cy="1073166"/>
            </a:xfrm>
            <a:custGeom>
              <a:avLst/>
              <a:gdLst>
                <a:gd name="T0" fmla="*/ 2264 w 3082"/>
                <a:gd name="T1" fmla="*/ 744 h 2625"/>
                <a:gd name="T2" fmla="*/ 2266 w 3082"/>
                <a:gd name="T3" fmla="*/ 977 h 2625"/>
                <a:gd name="T4" fmla="*/ 2059 w 3082"/>
                <a:gd name="T5" fmla="*/ 1141 h 2625"/>
                <a:gd name="T6" fmla="*/ 2128 w 3082"/>
                <a:gd name="T7" fmla="*/ 961 h 2625"/>
                <a:gd name="T8" fmla="*/ 2534 w 3082"/>
                <a:gd name="T9" fmla="*/ 737 h 2625"/>
                <a:gd name="T10" fmla="*/ 2516 w 3082"/>
                <a:gd name="T11" fmla="*/ 927 h 2625"/>
                <a:gd name="T12" fmla="*/ 2383 w 3082"/>
                <a:gd name="T13" fmla="*/ 1154 h 2625"/>
                <a:gd name="T14" fmla="*/ 2470 w 3082"/>
                <a:gd name="T15" fmla="*/ 1025 h 2625"/>
                <a:gd name="T16" fmla="*/ 733 w 3082"/>
                <a:gd name="T17" fmla="*/ 1006 h 2625"/>
                <a:gd name="T18" fmla="*/ 885 w 3082"/>
                <a:gd name="T19" fmla="*/ 1154 h 2625"/>
                <a:gd name="T20" fmla="*/ 60 w 3082"/>
                <a:gd name="T21" fmla="*/ 1150 h 2625"/>
                <a:gd name="T22" fmla="*/ 1819 w 3082"/>
                <a:gd name="T23" fmla="*/ 1010 h 2625"/>
                <a:gd name="T24" fmla="*/ 1910 w 3082"/>
                <a:gd name="T25" fmla="*/ 1155 h 2625"/>
                <a:gd name="T26" fmla="*/ 1110 w 3082"/>
                <a:gd name="T27" fmla="*/ 1070 h 2625"/>
                <a:gd name="T28" fmla="*/ 1273 w 3082"/>
                <a:gd name="T29" fmla="*/ 1060 h 2625"/>
                <a:gd name="T30" fmla="*/ 962 w 3082"/>
                <a:gd name="T31" fmla="*/ 1091 h 2625"/>
                <a:gd name="T32" fmla="*/ 1547 w 3082"/>
                <a:gd name="T33" fmla="*/ 832 h 2625"/>
                <a:gd name="T34" fmla="*/ 1673 w 3082"/>
                <a:gd name="T35" fmla="*/ 911 h 2625"/>
                <a:gd name="T36" fmla="*/ 1380 w 3082"/>
                <a:gd name="T37" fmla="*/ 739 h 2625"/>
                <a:gd name="T38" fmla="*/ 3022 w 3082"/>
                <a:gd name="T39" fmla="*/ 1141 h 2625"/>
                <a:gd name="T40" fmla="*/ 706 w 3082"/>
                <a:gd name="T41" fmla="*/ 2392 h 2625"/>
                <a:gd name="T42" fmla="*/ 702 w 3082"/>
                <a:gd name="T43" fmla="*/ 2624 h 2625"/>
                <a:gd name="T44" fmla="*/ 1320 w 3082"/>
                <a:gd name="T45" fmla="*/ 2090 h 2625"/>
                <a:gd name="T46" fmla="*/ 1026 w 3082"/>
                <a:gd name="T47" fmla="*/ 2625 h 2625"/>
                <a:gd name="T48" fmla="*/ 1151 w 3082"/>
                <a:gd name="T49" fmla="*/ 2177 h 2625"/>
                <a:gd name="T50" fmla="*/ 1200 w 3082"/>
                <a:gd name="T51" fmla="*/ 2104 h 2625"/>
                <a:gd name="T52" fmla="*/ 1429 w 3082"/>
                <a:gd name="T53" fmla="*/ 2214 h 2625"/>
                <a:gd name="T54" fmla="*/ 1980 w 3082"/>
                <a:gd name="T55" fmla="*/ 2526 h 2625"/>
                <a:gd name="T56" fmla="*/ 1928 w 3082"/>
                <a:gd name="T57" fmla="*/ 2207 h 2625"/>
                <a:gd name="T58" fmla="*/ 2141 w 3082"/>
                <a:gd name="T59" fmla="*/ 2491 h 2625"/>
                <a:gd name="T60" fmla="*/ 1928 w 3082"/>
                <a:gd name="T61" fmla="*/ 2207 h 2625"/>
                <a:gd name="T62" fmla="*/ 2436 w 3082"/>
                <a:gd name="T63" fmla="*/ 2096 h 2625"/>
                <a:gd name="T64" fmla="*/ 2188 w 3082"/>
                <a:gd name="T65" fmla="*/ 2624 h 2625"/>
                <a:gd name="T66" fmla="*/ 2236 w 3082"/>
                <a:gd name="T67" fmla="*/ 2169 h 2625"/>
                <a:gd name="T68" fmla="*/ 2314 w 3082"/>
                <a:gd name="T69" fmla="*/ 2123 h 2625"/>
                <a:gd name="T70" fmla="*/ 1320 w 3082"/>
                <a:gd name="T71" fmla="*/ 177 h 2625"/>
                <a:gd name="T72" fmla="*/ 1094 w 3082"/>
                <a:gd name="T73" fmla="*/ 230 h 2625"/>
                <a:gd name="T74" fmla="*/ 1361 w 3082"/>
                <a:gd name="T75" fmla="*/ 54 h 2625"/>
                <a:gd name="T76" fmla="*/ 1345 w 3082"/>
                <a:gd name="T77" fmla="*/ 391 h 2625"/>
                <a:gd name="T78" fmla="*/ 1007 w 3082"/>
                <a:gd name="T79" fmla="*/ 313 h 2625"/>
                <a:gd name="T80" fmla="*/ 1174 w 3082"/>
                <a:gd name="T81" fmla="*/ 2 h 2625"/>
                <a:gd name="T82" fmla="*/ 1786 w 3082"/>
                <a:gd name="T83" fmla="*/ 89 h 2625"/>
                <a:gd name="T84" fmla="*/ 1490 w 3082"/>
                <a:gd name="T85" fmla="*/ 99 h 2625"/>
                <a:gd name="T86" fmla="*/ 2149 w 3082"/>
                <a:gd name="T87" fmla="*/ 9 h 2625"/>
                <a:gd name="T88" fmla="*/ 908 w 3082"/>
                <a:gd name="T89" fmla="*/ 365 h 2625"/>
                <a:gd name="T90" fmla="*/ 816 w 3082"/>
                <a:gd name="T91" fmla="*/ 336 h 2625"/>
                <a:gd name="T92" fmla="*/ 2672 w 3082"/>
                <a:gd name="T93" fmla="*/ 1878 h 2625"/>
                <a:gd name="T94" fmla="*/ 1737 w 3082"/>
                <a:gd name="T95" fmla="*/ 1879 h 2625"/>
                <a:gd name="T96" fmla="*/ 2104 w 3082"/>
                <a:gd name="T97" fmla="*/ 1888 h 2625"/>
                <a:gd name="T98" fmla="*/ 2174 w 3082"/>
                <a:gd name="T99" fmla="*/ 1888 h 2625"/>
                <a:gd name="T100" fmla="*/ 2719 w 3082"/>
                <a:gd name="T101" fmla="*/ 1481 h 2625"/>
                <a:gd name="T102" fmla="*/ 333 w 3082"/>
                <a:gd name="T103" fmla="*/ 1634 h 2625"/>
                <a:gd name="T104" fmla="*/ 110 w 3082"/>
                <a:gd name="T105" fmla="*/ 1707 h 2625"/>
                <a:gd name="T106" fmla="*/ 383 w 3082"/>
                <a:gd name="T107" fmla="*/ 1524 h 2625"/>
                <a:gd name="T108" fmla="*/ 351 w 3082"/>
                <a:gd name="T109" fmla="*/ 1860 h 2625"/>
                <a:gd name="T110" fmla="*/ 17 w 3082"/>
                <a:gd name="T111" fmla="*/ 1766 h 2625"/>
                <a:gd name="T112" fmla="*/ 200 w 3082"/>
                <a:gd name="T113" fmla="*/ 1464 h 2625"/>
                <a:gd name="T114" fmla="*/ 974 w 3082"/>
                <a:gd name="T115" fmla="*/ 1638 h 2625"/>
                <a:gd name="T116" fmla="*/ 1221 w 3082"/>
                <a:gd name="T117" fmla="*/ 1494 h 2625"/>
                <a:gd name="T118" fmla="*/ 1083 w 3082"/>
                <a:gd name="T119" fmla="*/ 1612 h 2625"/>
                <a:gd name="T120" fmla="*/ 1173 w 3082"/>
                <a:gd name="T121" fmla="*/ 1878 h 2625"/>
                <a:gd name="T122" fmla="*/ 1067 w 3082"/>
                <a:gd name="T123" fmla="*/ 1808 h 2625"/>
                <a:gd name="T124" fmla="*/ 777 w 3082"/>
                <a:gd name="T125" fmla="*/ 1480 h 26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082" h="2625">
                  <a:moveTo>
                    <a:pt x="1319" y="1480"/>
                  </a:moveTo>
                  <a:lnTo>
                    <a:pt x="1319" y="1478"/>
                  </a:lnTo>
                  <a:lnTo>
                    <a:pt x="1320" y="1476"/>
                  </a:lnTo>
                  <a:lnTo>
                    <a:pt x="1322" y="1473"/>
                  </a:lnTo>
                  <a:lnTo>
                    <a:pt x="1323" y="1472"/>
                  </a:lnTo>
                  <a:lnTo>
                    <a:pt x="1325" y="1471"/>
                  </a:lnTo>
                  <a:lnTo>
                    <a:pt x="1329" y="1470"/>
                  </a:lnTo>
                  <a:lnTo>
                    <a:pt x="1411" y="1470"/>
                  </a:lnTo>
                  <a:lnTo>
                    <a:pt x="1415" y="1471"/>
                  </a:lnTo>
                  <a:lnTo>
                    <a:pt x="1419" y="1473"/>
                  </a:lnTo>
                  <a:lnTo>
                    <a:pt x="1420" y="1474"/>
                  </a:lnTo>
                  <a:lnTo>
                    <a:pt x="1421" y="1476"/>
                  </a:lnTo>
                  <a:lnTo>
                    <a:pt x="1421" y="1478"/>
                  </a:lnTo>
                  <a:lnTo>
                    <a:pt x="1421" y="1480"/>
                  </a:lnTo>
                  <a:lnTo>
                    <a:pt x="1421" y="1879"/>
                  </a:lnTo>
                  <a:lnTo>
                    <a:pt x="1421" y="1881"/>
                  </a:lnTo>
                  <a:lnTo>
                    <a:pt x="1421" y="1883"/>
                  </a:lnTo>
                  <a:lnTo>
                    <a:pt x="1419" y="1886"/>
                  </a:lnTo>
                  <a:lnTo>
                    <a:pt x="1417" y="1887"/>
                  </a:lnTo>
                  <a:lnTo>
                    <a:pt x="1415" y="1888"/>
                  </a:lnTo>
                  <a:lnTo>
                    <a:pt x="1411" y="1889"/>
                  </a:lnTo>
                  <a:lnTo>
                    <a:pt x="1329" y="1889"/>
                  </a:lnTo>
                  <a:lnTo>
                    <a:pt x="1325" y="1888"/>
                  </a:lnTo>
                  <a:lnTo>
                    <a:pt x="1322" y="1886"/>
                  </a:lnTo>
                  <a:lnTo>
                    <a:pt x="1321" y="1885"/>
                  </a:lnTo>
                  <a:lnTo>
                    <a:pt x="1320" y="1883"/>
                  </a:lnTo>
                  <a:lnTo>
                    <a:pt x="1319" y="1881"/>
                  </a:lnTo>
                  <a:lnTo>
                    <a:pt x="1319" y="1879"/>
                  </a:lnTo>
                  <a:lnTo>
                    <a:pt x="1319" y="1480"/>
                  </a:lnTo>
                  <a:close/>
                  <a:moveTo>
                    <a:pt x="2184" y="729"/>
                  </a:moveTo>
                  <a:lnTo>
                    <a:pt x="2195" y="729"/>
                  </a:lnTo>
                  <a:lnTo>
                    <a:pt x="2206" y="730"/>
                  </a:lnTo>
                  <a:lnTo>
                    <a:pt x="2217" y="731"/>
                  </a:lnTo>
                  <a:lnTo>
                    <a:pt x="2227" y="733"/>
                  </a:lnTo>
                  <a:lnTo>
                    <a:pt x="2237" y="735"/>
                  </a:lnTo>
                  <a:lnTo>
                    <a:pt x="2246" y="737"/>
                  </a:lnTo>
                  <a:lnTo>
                    <a:pt x="2253" y="739"/>
                  </a:lnTo>
                  <a:lnTo>
                    <a:pt x="2259" y="741"/>
                  </a:lnTo>
                  <a:lnTo>
                    <a:pt x="2262" y="742"/>
                  </a:lnTo>
                  <a:lnTo>
                    <a:pt x="2264" y="744"/>
                  </a:lnTo>
                  <a:lnTo>
                    <a:pt x="2265" y="745"/>
                  </a:lnTo>
                  <a:lnTo>
                    <a:pt x="2266" y="747"/>
                  </a:lnTo>
                  <a:lnTo>
                    <a:pt x="2267" y="749"/>
                  </a:lnTo>
                  <a:lnTo>
                    <a:pt x="2267" y="752"/>
                  </a:lnTo>
                  <a:lnTo>
                    <a:pt x="2267" y="757"/>
                  </a:lnTo>
                  <a:lnTo>
                    <a:pt x="2248" y="818"/>
                  </a:lnTo>
                  <a:lnTo>
                    <a:pt x="2247" y="821"/>
                  </a:lnTo>
                  <a:lnTo>
                    <a:pt x="2246" y="823"/>
                  </a:lnTo>
                  <a:lnTo>
                    <a:pt x="2245" y="825"/>
                  </a:lnTo>
                  <a:lnTo>
                    <a:pt x="2243" y="826"/>
                  </a:lnTo>
                  <a:lnTo>
                    <a:pt x="2241" y="827"/>
                  </a:lnTo>
                  <a:lnTo>
                    <a:pt x="2239" y="827"/>
                  </a:lnTo>
                  <a:lnTo>
                    <a:pt x="2233" y="827"/>
                  </a:lnTo>
                  <a:lnTo>
                    <a:pt x="2223" y="823"/>
                  </a:lnTo>
                  <a:lnTo>
                    <a:pt x="2213" y="821"/>
                  </a:lnTo>
                  <a:lnTo>
                    <a:pt x="2204" y="819"/>
                  </a:lnTo>
                  <a:lnTo>
                    <a:pt x="2194" y="818"/>
                  </a:lnTo>
                  <a:lnTo>
                    <a:pt x="2188" y="819"/>
                  </a:lnTo>
                  <a:lnTo>
                    <a:pt x="2185" y="819"/>
                  </a:lnTo>
                  <a:lnTo>
                    <a:pt x="2182" y="820"/>
                  </a:lnTo>
                  <a:lnTo>
                    <a:pt x="2180" y="821"/>
                  </a:lnTo>
                  <a:lnTo>
                    <a:pt x="2177" y="823"/>
                  </a:lnTo>
                  <a:lnTo>
                    <a:pt x="2173" y="826"/>
                  </a:lnTo>
                  <a:lnTo>
                    <a:pt x="2170" y="829"/>
                  </a:lnTo>
                  <a:lnTo>
                    <a:pt x="2169" y="831"/>
                  </a:lnTo>
                  <a:lnTo>
                    <a:pt x="2168" y="834"/>
                  </a:lnTo>
                  <a:lnTo>
                    <a:pt x="2166" y="839"/>
                  </a:lnTo>
                  <a:lnTo>
                    <a:pt x="2166" y="844"/>
                  </a:lnTo>
                  <a:lnTo>
                    <a:pt x="2167" y="850"/>
                  </a:lnTo>
                  <a:lnTo>
                    <a:pt x="2168" y="856"/>
                  </a:lnTo>
                  <a:lnTo>
                    <a:pt x="2171" y="862"/>
                  </a:lnTo>
                  <a:lnTo>
                    <a:pt x="2175" y="867"/>
                  </a:lnTo>
                  <a:lnTo>
                    <a:pt x="2179" y="872"/>
                  </a:lnTo>
                  <a:lnTo>
                    <a:pt x="2184" y="878"/>
                  </a:lnTo>
                  <a:lnTo>
                    <a:pt x="2195" y="890"/>
                  </a:lnTo>
                  <a:lnTo>
                    <a:pt x="2228" y="927"/>
                  </a:lnTo>
                  <a:lnTo>
                    <a:pt x="2238" y="938"/>
                  </a:lnTo>
                  <a:lnTo>
                    <a:pt x="2248" y="950"/>
                  </a:lnTo>
                  <a:lnTo>
                    <a:pt x="2257" y="963"/>
                  </a:lnTo>
                  <a:lnTo>
                    <a:pt x="2266" y="977"/>
                  </a:lnTo>
                  <a:lnTo>
                    <a:pt x="2270" y="985"/>
                  </a:lnTo>
                  <a:lnTo>
                    <a:pt x="2273" y="992"/>
                  </a:lnTo>
                  <a:lnTo>
                    <a:pt x="2276" y="1000"/>
                  </a:lnTo>
                  <a:lnTo>
                    <a:pt x="2279" y="1007"/>
                  </a:lnTo>
                  <a:lnTo>
                    <a:pt x="2281" y="1015"/>
                  </a:lnTo>
                  <a:lnTo>
                    <a:pt x="2282" y="1023"/>
                  </a:lnTo>
                  <a:lnTo>
                    <a:pt x="2283" y="1031"/>
                  </a:lnTo>
                  <a:lnTo>
                    <a:pt x="2284" y="1039"/>
                  </a:lnTo>
                  <a:lnTo>
                    <a:pt x="2284" y="1047"/>
                  </a:lnTo>
                  <a:lnTo>
                    <a:pt x="2283" y="1054"/>
                  </a:lnTo>
                  <a:lnTo>
                    <a:pt x="2282" y="1061"/>
                  </a:lnTo>
                  <a:lnTo>
                    <a:pt x="2281" y="1068"/>
                  </a:lnTo>
                  <a:lnTo>
                    <a:pt x="2280" y="1075"/>
                  </a:lnTo>
                  <a:lnTo>
                    <a:pt x="2278" y="1081"/>
                  </a:lnTo>
                  <a:lnTo>
                    <a:pt x="2274" y="1093"/>
                  </a:lnTo>
                  <a:lnTo>
                    <a:pt x="2268" y="1104"/>
                  </a:lnTo>
                  <a:lnTo>
                    <a:pt x="2265" y="1109"/>
                  </a:lnTo>
                  <a:lnTo>
                    <a:pt x="2262" y="1114"/>
                  </a:lnTo>
                  <a:lnTo>
                    <a:pt x="2258" y="1119"/>
                  </a:lnTo>
                  <a:lnTo>
                    <a:pt x="2255" y="1123"/>
                  </a:lnTo>
                  <a:lnTo>
                    <a:pt x="2246" y="1131"/>
                  </a:lnTo>
                  <a:lnTo>
                    <a:pt x="2237" y="1139"/>
                  </a:lnTo>
                  <a:lnTo>
                    <a:pt x="2227" y="1145"/>
                  </a:lnTo>
                  <a:lnTo>
                    <a:pt x="2217" y="1150"/>
                  </a:lnTo>
                  <a:lnTo>
                    <a:pt x="2205" y="1154"/>
                  </a:lnTo>
                  <a:lnTo>
                    <a:pt x="2193" y="1158"/>
                  </a:lnTo>
                  <a:lnTo>
                    <a:pt x="2187" y="1159"/>
                  </a:lnTo>
                  <a:lnTo>
                    <a:pt x="2181" y="1160"/>
                  </a:lnTo>
                  <a:lnTo>
                    <a:pt x="2168" y="1161"/>
                  </a:lnTo>
                  <a:lnTo>
                    <a:pt x="2155" y="1162"/>
                  </a:lnTo>
                  <a:lnTo>
                    <a:pt x="2143" y="1162"/>
                  </a:lnTo>
                  <a:lnTo>
                    <a:pt x="2131" y="1161"/>
                  </a:lnTo>
                  <a:lnTo>
                    <a:pt x="2118" y="1159"/>
                  </a:lnTo>
                  <a:lnTo>
                    <a:pt x="2106" y="1157"/>
                  </a:lnTo>
                  <a:lnTo>
                    <a:pt x="2094" y="1154"/>
                  </a:lnTo>
                  <a:lnTo>
                    <a:pt x="2083" y="1151"/>
                  </a:lnTo>
                  <a:lnTo>
                    <a:pt x="2073" y="1148"/>
                  </a:lnTo>
                  <a:lnTo>
                    <a:pt x="2064" y="1144"/>
                  </a:lnTo>
                  <a:lnTo>
                    <a:pt x="2062" y="1143"/>
                  </a:lnTo>
                  <a:lnTo>
                    <a:pt x="2059" y="1141"/>
                  </a:lnTo>
                  <a:lnTo>
                    <a:pt x="2058" y="1140"/>
                  </a:lnTo>
                  <a:lnTo>
                    <a:pt x="2057" y="1138"/>
                  </a:lnTo>
                  <a:lnTo>
                    <a:pt x="2057" y="1136"/>
                  </a:lnTo>
                  <a:lnTo>
                    <a:pt x="2056" y="1134"/>
                  </a:lnTo>
                  <a:lnTo>
                    <a:pt x="2057" y="1131"/>
                  </a:lnTo>
                  <a:lnTo>
                    <a:pt x="2077" y="1065"/>
                  </a:lnTo>
                  <a:lnTo>
                    <a:pt x="2078" y="1062"/>
                  </a:lnTo>
                  <a:lnTo>
                    <a:pt x="2079" y="1060"/>
                  </a:lnTo>
                  <a:lnTo>
                    <a:pt x="2080" y="1058"/>
                  </a:lnTo>
                  <a:lnTo>
                    <a:pt x="2082" y="1057"/>
                  </a:lnTo>
                  <a:lnTo>
                    <a:pt x="2084" y="1057"/>
                  </a:lnTo>
                  <a:lnTo>
                    <a:pt x="2086" y="1057"/>
                  </a:lnTo>
                  <a:lnTo>
                    <a:pt x="2088" y="1057"/>
                  </a:lnTo>
                  <a:lnTo>
                    <a:pt x="2091" y="1058"/>
                  </a:lnTo>
                  <a:lnTo>
                    <a:pt x="2098" y="1062"/>
                  </a:lnTo>
                  <a:lnTo>
                    <a:pt x="2106" y="1064"/>
                  </a:lnTo>
                  <a:lnTo>
                    <a:pt x="2113" y="1067"/>
                  </a:lnTo>
                  <a:lnTo>
                    <a:pt x="2120" y="1069"/>
                  </a:lnTo>
                  <a:lnTo>
                    <a:pt x="2128" y="1070"/>
                  </a:lnTo>
                  <a:lnTo>
                    <a:pt x="2135" y="1071"/>
                  </a:lnTo>
                  <a:lnTo>
                    <a:pt x="2142" y="1072"/>
                  </a:lnTo>
                  <a:lnTo>
                    <a:pt x="2148" y="1072"/>
                  </a:lnTo>
                  <a:lnTo>
                    <a:pt x="2157" y="1071"/>
                  </a:lnTo>
                  <a:lnTo>
                    <a:pt x="2161" y="1071"/>
                  </a:lnTo>
                  <a:lnTo>
                    <a:pt x="2165" y="1070"/>
                  </a:lnTo>
                  <a:lnTo>
                    <a:pt x="2171" y="1067"/>
                  </a:lnTo>
                  <a:lnTo>
                    <a:pt x="2176" y="1064"/>
                  </a:lnTo>
                  <a:lnTo>
                    <a:pt x="2180" y="1060"/>
                  </a:lnTo>
                  <a:lnTo>
                    <a:pt x="2182" y="1057"/>
                  </a:lnTo>
                  <a:lnTo>
                    <a:pt x="2183" y="1055"/>
                  </a:lnTo>
                  <a:lnTo>
                    <a:pt x="2185" y="1049"/>
                  </a:lnTo>
                  <a:lnTo>
                    <a:pt x="2186" y="1042"/>
                  </a:lnTo>
                  <a:lnTo>
                    <a:pt x="2185" y="1037"/>
                  </a:lnTo>
                  <a:lnTo>
                    <a:pt x="2184" y="1031"/>
                  </a:lnTo>
                  <a:lnTo>
                    <a:pt x="2181" y="1025"/>
                  </a:lnTo>
                  <a:lnTo>
                    <a:pt x="2178" y="1020"/>
                  </a:lnTo>
                  <a:lnTo>
                    <a:pt x="2175" y="1014"/>
                  </a:lnTo>
                  <a:lnTo>
                    <a:pt x="2170" y="1008"/>
                  </a:lnTo>
                  <a:lnTo>
                    <a:pt x="2161" y="997"/>
                  </a:lnTo>
                  <a:lnTo>
                    <a:pt x="2128" y="961"/>
                  </a:lnTo>
                  <a:lnTo>
                    <a:pt x="2116" y="948"/>
                  </a:lnTo>
                  <a:lnTo>
                    <a:pt x="2106" y="935"/>
                  </a:lnTo>
                  <a:lnTo>
                    <a:pt x="2095" y="922"/>
                  </a:lnTo>
                  <a:lnTo>
                    <a:pt x="2091" y="915"/>
                  </a:lnTo>
                  <a:lnTo>
                    <a:pt x="2086" y="908"/>
                  </a:lnTo>
                  <a:lnTo>
                    <a:pt x="2082" y="900"/>
                  </a:lnTo>
                  <a:lnTo>
                    <a:pt x="2079" y="893"/>
                  </a:lnTo>
                  <a:lnTo>
                    <a:pt x="2076" y="885"/>
                  </a:lnTo>
                  <a:lnTo>
                    <a:pt x="2073" y="877"/>
                  </a:lnTo>
                  <a:lnTo>
                    <a:pt x="2071" y="868"/>
                  </a:lnTo>
                  <a:lnTo>
                    <a:pt x="2070" y="864"/>
                  </a:lnTo>
                  <a:lnTo>
                    <a:pt x="2069" y="859"/>
                  </a:lnTo>
                  <a:lnTo>
                    <a:pt x="2068" y="850"/>
                  </a:lnTo>
                  <a:lnTo>
                    <a:pt x="2068" y="841"/>
                  </a:lnTo>
                  <a:lnTo>
                    <a:pt x="2068" y="829"/>
                  </a:lnTo>
                  <a:lnTo>
                    <a:pt x="2070" y="817"/>
                  </a:lnTo>
                  <a:lnTo>
                    <a:pt x="2073" y="806"/>
                  </a:lnTo>
                  <a:lnTo>
                    <a:pt x="2077" y="795"/>
                  </a:lnTo>
                  <a:lnTo>
                    <a:pt x="2081" y="785"/>
                  </a:lnTo>
                  <a:lnTo>
                    <a:pt x="2087" y="776"/>
                  </a:lnTo>
                  <a:lnTo>
                    <a:pt x="2094" y="768"/>
                  </a:lnTo>
                  <a:lnTo>
                    <a:pt x="2101" y="760"/>
                  </a:lnTo>
                  <a:lnTo>
                    <a:pt x="2105" y="756"/>
                  </a:lnTo>
                  <a:lnTo>
                    <a:pt x="2109" y="753"/>
                  </a:lnTo>
                  <a:lnTo>
                    <a:pt x="2118" y="747"/>
                  </a:lnTo>
                  <a:lnTo>
                    <a:pt x="2123" y="744"/>
                  </a:lnTo>
                  <a:lnTo>
                    <a:pt x="2128" y="741"/>
                  </a:lnTo>
                  <a:lnTo>
                    <a:pt x="2138" y="737"/>
                  </a:lnTo>
                  <a:lnTo>
                    <a:pt x="2148" y="734"/>
                  </a:lnTo>
                  <a:lnTo>
                    <a:pt x="2160" y="731"/>
                  </a:lnTo>
                  <a:lnTo>
                    <a:pt x="2166" y="730"/>
                  </a:lnTo>
                  <a:lnTo>
                    <a:pt x="2172" y="730"/>
                  </a:lnTo>
                  <a:lnTo>
                    <a:pt x="2184" y="729"/>
                  </a:lnTo>
                  <a:close/>
                  <a:moveTo>
                    <a:pt x="2472" y="729"/>
                  </a:moveTo>
                  <a:lnTo>
                    <a:pt x="2483" y="729"/>
                  </a:lnTo>
                  <a:lnTo>
                    <a:pt x="2495" y="730"/>
                  </a:lnTo>
                  <a:lnTo>
                    <a:pt x="2505" y="731"/>
                  </a:lnTo>
                  <a:lnTo>
                    <a:pt x="2516" y="733"/>
                  </a:lnTo>
                  <a:lnTo>
                    <a:pt x="2525" y="735"/>
                  </a:lnTo>
                  <a:lnTo>
                    <a:pt x="2534" y="737"/>
                  </a:lnTo>
                  <a:lnTo>
                    <a:pt x="2542" y="739"/>
                  </a:lnTo>
                  <a:lnTo>
                    <a:pt x="2548" y="741"/>
                  </a:lnTo>
                  <a:lnTo>
                    <a:pt x="2550" y="742"/>
                  </a:lnTo>
                  <a:lnTo>
                    <a:pt x="2552" y="744"/>
                  </a:lnTo>
                  <a:lnTo>
                    <a:pt x="2554" y="745"/>
                  </a:lnTo>
                  <a:lnTo>
                    <a:pt x="2555" y="747"/>
                  </a:lnTo>
                  <a:lnTo>
                    <a:pt x="2555" y="749"/>
                  </a:lnTo>
                  <a:lnTo>
                    <a:pt x="2556" y="752"/>
                  </a:lnTo>
                  <a:lnTo>
                    <a:pt x="2555" y="757"/>
                  </a:lnTo>
                  <a:lnTo>
                    <a:pt x="2537" y="818"/>
                  </a:lnTo>
                  <a:lnTo>
                    <a:pt x="2536" y="821"/>
                  </a:lnTo>
                  <a:lnTo>
                    <a:pt x="2534" y="823"/>
                  </a:lnTo>
                  <a:lnTo>
                    <a:pt x="2533" y="825"/>
                  </a:lnTo>
                  <a:lnTo>
                    <a:pt x="2531" y="826"/>
                  </a:lnTo>
                  <a:lnTo>
                    <a:pt x="2529" y="827"/>
                  </a:lnTo>
                  <a:lnTo>
                    <a:pt x="2527" y="827"/>
                  </a:lnTo>
                  <a:lnTo>
                    <a:pt x="2522" y="827"/>
                  </a:lnTo>
                  <a:lnTo>
                    <a:pt x="2511" y="823"/>
                  </a:lnTo>
                  <a:lnTo>
                    <a:pt x="2501" y="821"/>
                  </a:lnTo>
                  <a:lnTo>
                    <a:pt x="2492" y="819"/>
                  </a:lnTo>
                  <a:lnTo>
                    <a:pt x="2483" y="818"/>
                  </a:lnTo>
                  <a:lnTo>
                    <a:pt x="2476" y="819"/>
                  </a:lnTo>
                  <a:lnTo>
                    <a:pt x="2473" y="819"/>
                  </a:lnTo>
                  <a:lnTo>
                    <a:pt x="2471" y="820"/>
                  </a:lnTo>
                  <a:lnTo>
                    <a:pt x="2468" y="821"/>
                  </a:lnTo>
                  <a:lnTo>
                    <a:pt x="2466" y="823"/>
                  </a:lnTo>
                  <a:lnTo>
                    <a:pt x="2462" y="826"/>
                  </a:lnTo>
                  <a:lnTo>
                    <a:pt x="2459" y="829"/>
                  </a:lnTo>
                  <a:lnTo>
                    <a:pt x="2457" y="831"/>
                  </a:lnTo>
                  <a:lnTo>
                    <a:pt x="2456" y="834"/>
                  </a:lnTo>
                  <a:lnTo>
                    <a:pt x="2455" y="839"/>
                  </a:lnTo>
                  <a:lnTo>
                    <a:pt x="2454" y="844"/>
                  </a:lnTo>
                  <a:lnTo>
                    <a:pt x="2455" y="850"/>
                  </a:lnTo>
                  <a:lnTo>
                    <a:pt x="2457" y="856"/>
                  </a:lnTo>
                  <a:lnTo>
                    <a:pt x="2459" y="862"/>
                  </a:lnTo>
                  <a:lnTo>
                    <a:pt x="2463" y="867"/>
                  </a:lnTo>
                  <a:lnTo>
                    <a:pt x="2467" y="872"/>
                  </a:lnTo>
                  <a:lnTo>
                    <a:pt x="2472" y="878"/>
                  </a:lnTo>
                  <a:lnTo>
                    <a:pt x="2483" y="890"/>
                  </a:lnTo>
                  <a:lnTo>
                    <a:pt x="2516" y="927"/>
                  </a:lnTo>
                  <a:lnTo>
                    <a:pt x="2526" y="938"/>
                  </a:lnTo>
                  <a:lnTo>
                    <a:pt x="2536" y="950"/>
                  </a:lnTo>
                  <a:lnTo>
                    <a:pt x="2546" y="963"/>
                  </a:lnTo>
                  <a:lnTo>
                    <a:pt x="2554" y="977"/>
                  </a:lnTo>
                  <a:lnTo>
                    <a:pt x="2558" y="985"/>
                  </a:lnTo>
                  <a:lnTo>
                    <a:pt x="2561" y="992"/>
                  </a:lnTo>
                  <a:lnTo>
                    <a:pt x="2564" y="1000"/>
                  </a:lnTo>
                  <a:lnTo>
                    <a:pt x="2567" y="1007"/>
                  </a:lnTo>
                  <a:lnTo>
                    <a:pt x="2569" y="1015"/>
                  </a:lnTo>
                  <a:lnTo>
                    <a:pt x="2571" y="1023"/>
                  </a:lnTo>
                  <a:lnTo>
                    <a:pt x="2572" y="1031"/>
                  </a:lnTo>
                  <a:lnTo>
                    <a:pt x="2572" y="1039"/>
                  </a:lnTo>
                  <a:lnTo>
                    <a:pt x="2572" y="1047"/>
                  </a:lnTo>
                  <a:lnTo>
                    <a:pt x="2571" y="1054"/>
                  </a:lnTo>
                  <a:lnTo>
                    <a:pt x="2571" y="1061"/>
                  </a:lnTo>
                  <a:lnTo>
                    <a:pt x="2569" y="1068"/>
                  </a:lnTo>
                  <a:lnTo>
                    <a:pt x="2568" y="1075"/>
                  </a:lnTo>
                  <a:lnTo>
                    <a:pt x="2566" y="1081"/>
                  </a:lnTo>
                  <a:lnTo>
                    <a:pt x="2562" y="1093"/>
                  </a:lnTo>
                  <a:lnTo>
                    <a:pt x="2557" y="1104"/>
                  </a:lnTo>
                  <a:lnTo>
                    <a:pt x="2554" y="1109"/>
                  </a:lnTo>
                  <a:lnTo>
                    <a:pt x="2550" y="1114"/>
                  </a:lnTo>
                  <a:lnTo>
                    <a:pt x="2547" y="1119"/>
                  </a:lnTo>
                  <a:lnTo>
                    <a:pt x="2543" y="1123"/>
                  </a:lnTo>
                  <a:lnTo>
                    <a:pt x="2535" y="1131"/>
                  </a:lnTo>
                  <a:lnTo>
                    <a:pt x="2526" y="1139"/>
                  </a:lnTo>
                  <a:lnTo>
                    <a:pt x="2516" y="1145"/>
                  </a:lnTo>
                  <a:lnTo>
                    <a:pt x="2510" y="1148"/>
                  </a:lnTo>
                  <a:lnTo>
                    <a:pt x="2505" y="1150"/>
                  </a:lnTo>
                  <a:lnTo>
                    <a:pt x="2494" y="1154"/>
                  </a:lnTo>
                  <a:lnTo>
                    <a:pt x="2482" y="1158"/>
                  </a:lnTo>
                  <a:lnTo>
                    <a:pt x="2476" y="1159"/>
                  </a:lnTo>
                  <a:lnTo>
                    <a:pt x="2469" y="1160"/>
                  </a:lnTo>
                  <a:lnTo>
                    <a:pt x="2456" y="1161"/>
                  </a:lnTo>
                  <a:lnTo>
                    <a:pt x="2443" y="1162"/>
                  </a:lnTo>
                  <a:lnTo>
                    <a:pt x="2431" y="1162"/>
                  </a:lnTo>
                  <a:lnTo>
                    <a:pt x="2419" y="1161"/>
                  </a:lnTo>
                  <a:lnTo>
                    <a:pt x="2407" y="1159"/>
                  </a:lnTo>
                  <a:lnTo>
                    <a:pt x="2395" y="1157"/>
                  </a:lnTo>
                  <a:lnTo>
                    <a:pt x="2383" y="1154"/>
                  </a:lnTo>
                  <a:lnTo>
                    <a:pt x="2372" y="1151"/>
                  </a:lnTo>
                  <a:lnTo>
                    <a:pt x="2362" y="1148"/>
                  </a:lnTo>
                  <a:lnTo>
                    <a:pt x="2353" y="1144"/>
                  </a:lnTo>
                  <a:lnTo>
                    <a:pt x="2350" y="1143"/>
                  </a:lnTo>
                  <a:lnTo>
                    <a:pt x="2348" y="1141"/>
                  </a:lnTo>
                  <a:lnTo>
                    <a:pt x="2346" y="1140"/>
                  </a:lnTo>
                  <a:lnTo>
                    <a:pt x="2345" y="1138"/>
                  </a:lnTo>
                  <a:lnTo>
                    <a:pt x="2345" y="1136"/>
                  </a:lnTo>
                  <a:lnTo>
                    <a:pt x="2345" y="1134"/>
                  </a:lnTo>
                  <a:lnTo>
                    <a:pt x="2346" y="1131"/>
                  </a:lnTo>
                  <a:lnTo>
                    <a:pt x="2365" y="1065"/>
                  </a:lnTo>
                  <a:lnTo>
                    <a:pt x="2366" y="1062"/>
                  </a:lnTo>
                  <a:lnTo>
                    <a:pt x="2367" y="1060"/>
                  </a:lnTo>
                  <a:lnTo>
                    <a:pt x="2369" y="1058"/>
                  </a:lnTo>
                  <a:lnTo>
                    <a:pt x="2370" y="1057"/>
                  </a:lnTo>
                  <a:lnTo>
                    <a:pt x="2372" y="1057"/>
                  </a:lnTo>
                  <a:lnTo>
                    <a:pt x="2374" y="1057"/>
                  </a:lnTo>
                  <a:lnTo>
                    <a:pt x="2377" y="1057"/>
                  </a:lnTo>
                  <a:lnTo>
                    <a:pt x="2379" y="1058"/>
                  </a:lnTo>
                  <a:lnTo>
                    <a:pt x="2387" y="1062"/>
                  </a:lnTo>
                  <a:lnTo>
                    <a:pt x="2394" y="1064"/>
                  </a:lnTo>
                  <a:lnTo>
                    <a:pt x="2401" y="1067"/>
                  </a:lnTo>
                  <a:lnTo>
                    <a:pt x="2409" y="1069"/>
                  </a:lnTo>
                  <a:lnTo>
                    <a:pt x="2416" y="1070"/>
                  </a:lnTo>
                  <a:lnTo>
                    <a:pt x="2423" y="1071"/>
                  </a:lnTo>
                  <a:lnTo>
                    <a:pt x="2430" y="1072"/>
                  </a:lnTo>
                  <a:lnTo>
                    <a:pt x="2437" y="1072"/>
                  </a:lnTo>
                  <a:lnTo>
                    <a:pt x="2446" y="1071"/>
                  </a:lnTo>
                  <a:lnTo>
                    <a:pt x="2449" y="1071"/>
                  </a:lnTo>
                  <a:lnTo>
                    <a:pt x="2453" y="1070"/>
                  </a:lnTo>
                  <a:lnTo>
                    <a:pt x="2460" y="1067"/>
                  </a:lnTo>
                  <a:lnTo>
                    <a:pt x="2465" y="1064"/>
                  </a:lnTo>
                  <a:lnTo>
                    <a:pt x="2469" y="1060"/>
                  </a:lnTo>
                  <a:lnTo>
                    <a:pt x="2470" y="1057"/>
                  </a:lnTo>
                  <a:lnTo>
                    <a:pt x="2472" y="1055"/>
                  </a:lnTo>
                  <a:lnTo>
                    <a:pt x="2473" y="1049"/>
                  </a:lnTo>
                  <a:lnTo>
                    <a:pt x="2474" y="1042"/>
                  </a:lnTo>
                  <a:lnTo>
                    <a:pt x="2473" y="1037"/>
                  </a:lnTo>
                  <a:lnTo>
                    <a:pt x="2472" y="1031"/>
                  </a:lnTo>
                  <a:lnTo>
                    <a:pt x="2470" y="1025"/>
                  </a:lnTo>
                  <a:lnTo>
                    <a:pt x="2467" y="1020"/>
                  </a:lnTo>
                  <a:lnTo>
                    <a:pt x="2463" y="1014"/>
                  </a:lnTo>
                  <a:lnTo>
                    <a:pt x="2459" y="1008"/>
                  </a:lnTo>
                  <a:lnTo>
                    <a:pt x="2449" y="997"/>
                  </a:lnTo>
                  <a:lnTo>
                    <a:pt x="2416" y="961"/>
                  </a:lnTo>
                  <a:lnTo>
                    <a:pt x="2405" y="948"/>
                  </a:lnTo>
                  <a:lnTo>
                    <a:pt x="2394" y="935"/>
                  </a:lnTo>
                  <a:lnTo>
                    <a:pt x="2384" y="922"/>
                  </a:lnTo>
                  <a:lnTo>
                    <a:pt x="2379" y="915"/>
                  </a:lnTo>
                  <a:lnTo>
                    <a:pt x="2375" y="908"/>
                  </a:lnTo>
                  <a:lnTo>
                    <a:pt x="2371" y="900"/>
                  </a:lnTo>
                  <a:lnTo>
                    <a:pt x="2367" y="893"/>
                  </a:lnTo>
                  <a:lnTo>
                    <a:pt x="2364" y="885"/>
                  </a:lnTo>
                  <a:lnTo>
                    <a:pt x="2361" y="877"/>
                  </a:lnTo>
                  <a:lnTo>
                    <a:pt x="2359" y="868"/>
                  </a:lnTo>
                  <a:lnTo>
                    <a:pt x="2358" y="864"/>
                  </a:lnTo>
                  <a:lnTo>
                    <a:pt x="2358" y="859"/>
                  </a:lnTo>
                  <a:lnTo>
                    <a:pt x="2357" y="850"/>
                  </a:lnTo>
                  <a:lnTo>
                    <a:pt x="2356" y="841"/>
                  </a:lnTo>
                  <a:lnTo>
                    <a:pt x="2357" y="829"/>
                  </a:lnTo>
                  <a:lnTo>
                    <a:pt x="2358" y="817"/>
                  </a:lnTo>
                  <a:lnTo>
                    <a:pt x="2361" y="806"/>
                  </a:lnTo>
                  <a:lnTo>
                    <a:pt x="2365" y="795"/>
                  </a:lnTo>
                  <a:lnTo>
                    <a:pt x="2370" y="785"/>
                  </a:lnTo>
                  <a:lnTo>
                    <a:pt x="2375" y="776"/>
                  </a:lnTo>
                  <a:lnTo>
                    <a:pt x="2382" y="768"/>
                  </a:lnTo>
                  <a:lnTo>
                    <a:pt x="2389" y="760"/>
                  </a:lnTo>
                  <a:lnTo>
                    <a:pt x="2393" y="756"/>
                  </a:lnTo>
                  <a:lnTo>
                    <a:pt x="2397" y="753"/>
                  </a:lnTo>
                  <a:lnTo>
                    <a:pt x="2406" y="747"/>
                  </a:lnTo>
                  <a:lnTo>
                    <a:pt x="2411" y="744"/>
                  </a:lnTo>
                  <a:lnTo>
                    <a:pt x="2416" y="741"/>
                  </a:lnTo>
                  <a:lnTo>
                    <a:pt x="2426" y="737"/>
                  </a:lnTo>
                  <a:lnTo>
                    <a:pt x="2437" y="734"/>
                  </a:lnTo>
                  <a:lnTo>
                    <a:pt x="2448" y="731"/>
                  </a:lnTo>
                  <a:lnTo>
                    <a:pt x="2454" y="730"/>
                  </a:lnTo>
                  <a:lnTo>
                    <a:pt x="2460" y="730"/>
                  </a:lnTo>
                  <a:lnTo>
                    <a:pt x="2472" y="729"/>
                  </a:lnTo>
                  <a:close/>
                  <a:moveTo>
                    <a:pt x="633" y="1006"/>
                  </a:moveTo>
                  <a:lnTo>
                    <a:pt x="733" y="1006"/>
                  </a:lnTo>
                  <a:lnTo>
                    <a:pt x="683" y="875"/>
                  </a:lnTo>
                  <a:lnTo>
                    <a:pt x="633" y="1006"/>
                  </a:lnTo>
                  <a:close/>
                  <a:moveTo>
                    <a:pt x="763" y="1088"/>
                  </a:moveTo>
                  <a:lnTo>
                    <a:pt x="603" y="1088"/>
                  </a:lnTo>
                  <a:lnTo>
                    <a:pt x="581" y="1145"/>
                  </a:lnTo>
                  <a:lnTo>
                    <a:pt x="580" y="1148"/>
                  </a:lnTo>
                  <a:lnTo>
                    <a:pt x="579" y="1150"/>
                  </a:lnTo>
                  <a:lnTo>
                    <a:pt x="577" y="1151"/>
                  </a:lnTo>
                  <a:lnTo>
                    <a:pt x="576" y="1153"/>
                  </a:lnTo>
                  <a:lnTo>
                    <a:pt x="572" y="1154"/>
                  </a:lnTo>
                  <a:lnTo>
                    <a:pt x="568" y="1155"/>
                  </a:lnTo>
                  <a:lnTo>
                    <a:pt x="489" y="1155"/>
                  </a:lnTo>
                  <a:lnTo>
                    <a:pt x="486" y="1155"/>
                  </a:lnTo>
                  <a:lnTo>
                    <a:pt x="484" y="1154"/>
                  </a:lnTo>
                  <a:lnTo>
                    <a:pt x="482" y="1153"/>
                  </a:lnTo>
                  <a:lnTo>
                    <a:pt x="481" y="1151"/>
                  </a:lnTo>
                  <a:lnTo>
                    <a:pt x="479" y="1149"/>
                  </a:lnTo>
                  <a:lnTo>
                    <a:pt x="479" y="1147"/>
                  </a:lnTo>
                  <a:lnTo>
                    <a:pt x="479" y="1144"/>
                  </a:lnTo>
                  <a:lnTo>
                    <a:pt x="480" y="1141"/>
                  </a:lnTo>
                  <a:lnTo>
                    <a:pt x="636" y="746"/>
                  </a:lnTo>
                  <a:lnTo>
                    <a:pt x="637" y="743"/>
                  </a:lnTo>
                  <a:lnTo>
                    <a:pt x="638" y="741"/>
                  </a:lnTo>
                  <a:lnTo>
                    <a:pt x="641" y="738"/>
                  </a:lnTo>
                  <a:lnTo>
                    <a:pt x="645" y="737"/>
                  </a:lnTo>
                  <a:lnTo>
                    <a:pt x="647" y="736"/>
                  </a:lnTo>
                  <a:lnTo>
                    <a:pt x="649" y="736"/>
                  </a:lnTo>
                  <a:lnTo>
                    <a:pt x="719" y="736"/>
                  </a:lnTo>
                  <a:lnTo>
                    <a:pt x="724" y="737"/>
                  </a:lnTo>
                  <a:lnTo>
                    <a:pt x="728" y="738"/>
                  </a:lnTo>
                  <a:lnTo>
                    <a:pt x="730" y="741"/>
                  </a:lnTo>
                  <a:lnTo>
                    <a:pt x="732" y="743"/>
                  </a:lnTo>
                  <a:lnTo>
                    <a:pt x="733" y="746"/>
                  </a:lnTo>
                  <a:lnTo>
                    <a:pt x="889" y="1141"/>
                  </a:lnTo>
                  <a:lnTo>
                    <a:pt x="890" y="1144"/>
                  </a:lnTo>
                  <a:lnTo>
                    <a:pt x="890" y="1147"/>
                  </a:lnTo>
                  <a:lnTo>
                    <a:pt x="890" y="1149"/>
                  </a:lnTo>
                  <a:lnTo>
                    <a:pt x="889" y="1151"/>
                  </a:lnTo>
                  <a:lnTo>
                    <a:pt x="887" y="1153"/>
                  </a:lnTo>
                  <a:lnTo>
                    <a:pt x="885" y="1154"/>
                  </a:lnTo>
                  <a:lnTo>
                    <a:pt x="883" y="1155"/>
                  </a:lnTo>
                  <a:lnTo>
                    <a:pt x="880" y="1155"/>
                  </a:lnTo>
                  <a:lnTo>
                    <a:pt x="800" y="1155"/>
                  </a:lnTo>
                  <a:lnTo>
                    <a:pt x="796" y="1154"/>
                  </a:lnTo>
                  <a:lnTo>
                    <a:pt x="794" y="1154"/>
                  </a:lnTo>
                  <a:lnTo>
                    <a:pt x="792" y="1153"/>
                  </a:lnTo>
                  <a:lnTo>
                    <a:pt x="790" y="1151"/>
                  </a:lnTo>
                  <a:lnTo>
                    <a:pt x="788" y="1150"/>
                  </a:lnTo>
                  <a:lnTo>
                    <a:pt x="787" y="1148"/>
                  </a:lnTo>
                  <a:lnTo>
                    <a:pt x="786" y="1145"/>
                  </a:lnTo>
                  <a:lnTo>
                    <a:pt x="763" y="1088"/>
                  </a:lnTo>
                  <a:close/>
                  <a:moveTo>
                    <a:pt x="292" y="912"/>
                  </a:moveTo>
                  <a:lnTo>
                    <a:pt x="428" y="1142"/>
                  </a:lnTo>
                  <a:lnTo>
                    <a:pt x="429" y="1144"/>
                  </a:lnTo>
                  <a:lnTo>
                    <a:pt x="429" y="1146"/>
                  </a:lnTo>
                  <a:lnTo>
                    <a:pt x="429" y="1148"/>
                  </a:lnTo>
                  <a:lnTo>
                    <a:pt x="429" y="1150"/>
                  </a:lnTo>
                  <a:lnTo>
                    <a:pt x="428" y="1152"/>
                  </a:lnTo>
                  <a:lnTo>
                    <a:pt x="426" y="1154"/>
                  </a:lnTo>
                  <a:lnTo>
                    <a:pt x="424" y="1154"/>
                  </a:lnTo>
                  <a:lnTo>
                    <a:pt x="421" y="1155"/>
                  </a:lnTo>
                  <a:lnTo>
                    <a:pt x="325" y="1155"/>
                  </a:lnTo>
                  <a:lnTo>
                    <a:pt x="321" y="1154"/>
                  </a:lnTo>
                  <a:lnTo>
                    <a:pt x="316" y="1152"/>
                  </a:lnTo>
                  <a:lnTo>
                    <a:pt x="315" y="1151"/>
                  </a:lnTo>
                  <a:lnTo>
                    <a:pt x="313" y="1150"/>
                  </a:lnTo>
                  <a:lnTo>
                    <a:pt x="310" y="1145"/>
                  </a:lnTo>
                  <a:lnTo>
                    <a:pt x="214" y="979"/>
                  </a:lnTo>
                  <a:lnTo>
                    <a:pt x="161" y="1044"/>
                  </a:lnTo>
                  <a:lnTo>
                    <a:pt x="161" y="1145"/>
                  </a:lnTo>
                  <a:lnTo>
                    <a:pt x="161" y="1147"/>
                  </a:lnTo>
                  <a:lnTo>
                    <a:pt x="160" y="1149"/>
                  </a:lnTo>
                  <a:lnTo>
                    <a:pt x="158" y="1152"/>
                  </a:lnTo>
                  <a:lnTo>
                    <a:pt x="157" y="1153"/>
                  </a:lnTo>
                  <a:lnTo>
                    <a:pt x="155" y="1154"/>
                  </a:lnTo>
                  <a:lnTo>
                    <a:pt x="151" y="1155"/>
                  </a:lnTo>
                  <a:lnTo>
                    <a:pt x="69" y="1155"/>
                  </a:lnTo>
                  <a:lnTo>
                    <a:pt x="65" y="1154"/>
                  </a:lnTo>
                  <a:lnTo>
                    <a:pt x="62" y="1152"/>
                  </a:lnTo>
                  <a:lnTo>
                    <a:pt x="60" y="1150"/>
                  </a:lnTo>
                  <a:lnTo>
                    <a:pt x="60" y="1149"/>
                  </a:lnTo>
                  <a:lnTo>
                    <a:pt x="59" y="1147"/>
                  </a:lnTo>
                  <a:lnTo>
                    <a:pt x="59" y="1145"/>
                  </a:lnTo>
                  <a:lnTo>
                    <a:pt x="59" y="746"/>
                  </a:lnTo>
                  <a:lnTo>
                    <a:pt x="59" y="744"/>
                  </a:lnTo>
                  <a:lnTo>
                    <a:pt x="60" y="742"/>
                  </a:lnTo>
                  <a:lnTo>
                    <a:pt x="62" y="739"/>
                  </a:lnTo>
                  <a:lnTo>
                    <a:pt x="63" y="738"/>
                  </a:lnTo>
                  <a:lnTo>
                    <a:pt x="65" y="737"/>
                  </a:lnTo>
                  <a:lnTo>
                    <a:pt x="69" y="736"/>
                  </a:lnTo>
                  <a:lnTo>
                    <a:pt x="151" y="736"/>
                  </a:lnTo>
                  <a:lnTo>
                    <a:pt x="155" y="737"/>
                  </a:lnTo>
                  <a:lnTo>
                    <a:pt x="158" y="739"/>
                  </a:lnTo>
                  <a:lnTo>
                    <a:pt x="159" y="740"/>
                  </a:lnTo>
                  <a:lnTo>
                    <a:pt x="160" y="742"/>
                  </a:lnTo>
                  <a:lnTo>
                    <a:pt x="161" y="744"/>
                  </a:lnTo>
                  <a:lnTo>
                    <a:pt x="161" y="746"/>
                  </a:lnTo>
                  <a:lnTo>
                    <a:pt x="161" y="921"/>
                  </a:lnTo>
                  <a:lnTo>
                    <a:pt x="304" y="746"/>
                  </a:lnTo>
                  <a:lnTo>
                    <a:pt x="308" y="742"/>
                  </a:lnTo>
                  <a:lnTo>
                    <a:pt x="310" y="740"/>
                  </a:lnTo>
                  <a:lnTo>
                    <a:pt x="312" y="739"/>
                  </a:lnTo>
                  <a:lnTo>
                    <a:pt x="314" y="738"/>
                  </a:lnTo>
                  <a:lnTo>
                    <a:pt x="317" y="737"/>
                  </a:lnTo>
                  <a:lnTo>
                    <a:pt x="319" y="736"/>
                  </a:lnTo>
                  <a:lnTo>
                    <a:pt x="322" y="736"/>
                  </a:lnTo>
                  <a:lnTo>
                    <a:pt x="418" y="736"/>
                  </a:lnTo>
                  <a:lnTo>
                    <a:pt x="421" y="737"/>
                  </a:lnTo>
                  <a:lnTo>
                    <a:pt x="423" y="738"/>
                  </a:lnTo>
                  <a:lnTo>
                    <a:pt x="425" y="739"/>
                  </a:lnTo>
                  <a:lnTo>
                    <a:pt x="426" y="741"/>
                  </a:lnTo>
                  <a:lnTo>
                    <a:pt x="426" y="744"/>
                  </a:lnTo>
                  <a:lnTo>
                    <a:pt x="426" y="746"/>
                  </a:lnTo>
                  <a:lnTo>
                    <a:pt x="425" y="749"/>
                  </a:lnTo>
                  <a:lnTo>
                    <a:pt x="424" y="751"/>
                  </a:lnTo>
                  <a:lnTo>
                    <a:pt x="292" y="912"/>
                  </a:lnTo>
                  <a:close/>
                  <a:moveTo>
                    <a:pt x="1819" y="1010"/>
                  </a:moveTo>
                  <a:lnTo>
                    <a:pt x="1872" y="1010"/>
                  </a:lnTo>
                  <a:lnTo>
                    <a:pt x="1845" y="883"/>
                  </a:lnTo>
                  <a:lnTo>
                    <a:pt x="1819" y="1010"/>
                  </a:lnTo>
                  <a:close/>
                  <a:moveTo>
                    <a:pt x="1887" y="1088"/>
                  </a:moveTo>
                  <a:lnTo>
                    <a:pt x="1805" y="1088"/>
                  </a:lnTo>
                  <a:lnTo>
                    <a:pt x="1793" y="1145"/>
                  </a:lnTo>
                  <a:lnTo>
                    <a:pt x="1792" y="1147"/>
                  </a:lnTo>
                  <a:lnTo>
                    <a:pt x="1791" y="1149"/>
                  </a:lnTo>
                  <a:lnTo>
                    <a:pt x="1788" y="1152"/>
                  </a:lnTo>
                  <a:lnTo>
                    <a:pt x="1787" y="1153"/>
                  </a:lnTo>
                  <a:lnTo>
                    <a:pt x="1785" y="1154"/>
                  </a:lnTo>
                  <a:lnTo>
                    <a:pt x="1783" y="1155"/>
                  </a:lnTo>
                  <a:lnTo>
                    <a:pt x="1781" y="1155"/>
                  </a:lnTo>
                  <a:lnTo>
                    <a:pt x="1708" y="1155"/>
                  </a:lnTo>
                  <a:lnTo>
                    <a:pt x="1706" y="1155"/>
                  </a:lnTo>
                  <a:lnTo>
                    <a:pt x="1704" y="1154"/>
                  </a:lnTo>
                  <a:lnTo>
                    <a:pt x="1702" y="1153"/>
                  </a:lnTo>
                  <a:lnTo>
                    <a:pt x="1701" y="1152"/>
                  </a:lnTo>
                  <a:lnTo>
                    <a:pt x="1700" y="1150"/>
                  </a:lnTo>
                  <a:lnTo>
                    <a:pt x="1700" y="1147"/>
                  </a:lnTo>
                  <a:lnTo>
                    <a:pt x="1701" y="1141"/>
                  </a:lnTo>
                  <a:lnTo>
                    <a:pt x="1793" y="746"/>
                  </a:lnTo>
                  <a:lnTo>
                    <a:pt x="1793" y="744"/>
                  </a:lnTo>
                  <a:lnTo>
                    <a:pt x="1794" y="742"/>
                  </a:lnTo>
                  <a:lnTo>
                    <a:pt x="1797" y="739"/>
                  </a:lnTo>
                  <a:lnTo>
                    <a:pt x="1799" y="738"/>
                  </a:lnTo>
                  <a:lnTo>
                    <a:pt x="1801" y="737"/>
                  </a:lnTo>
                  <a:lnTo>
                    <a:pt x="1806" y="736"/>
                  </a:lnTo>
                  <a:lnTo>
                    <a:pt x="1887" y="736"/>
                  </a:lnTo>
                  <a:lnTo>
                    <a:pt x="1889" y="736"/>
                  </a:lnTo>
                  <a:lnTo>
                    <a:pt x="1892" y="737"/>
                  </a:lnTo>
                  <a:lnTo>
                    <a:pt x="1896" y="739"/>
                  </a:lnTo>
                  <a:lnTo>
                    <a:pt x="1898" y="742"/>
                  </a:lnTo>
                  <a:lnTo>
                    <a:pt x="1899" y="744"/>
                  </a:lnTo>
                  <a:lnTo>
                    <a:pt x="1900" y="746"/>
                  </a:lnTo>
                  <a:lnTo>
                    <a:pt x="1992" y="1141"/>
                  </a:lnTo>
                  <a:lnTo>
                    <a:pt x="1993" y="1147"/>
                  </a:lnTo>
                  <a:lnTo>
                    <a:pt x="1992" y="1150"/>
                  </a:lnTo>
                  <a:lnTo>
                    <a:pt x="1992" y="1152"/>
                  </a:lnTo>
                  <a:lnTo>
                    <a:pt x="1990" y="1153"/>
                  </a:lnTo>
                  <a:lnTo>
                    <a:pt x="1989" y="1154"/>
                  </a:lnTo>
                  <a:lnTo>
                    <a:pt x="1984" y="1155"/>
                  </a:lnTo>
                  <a:lnTo>
                    <a:pt x="1910" y="1155"/>
                  </a:lnTo>
                  <a:lnTo>
                    <a:pt x="1906" y="1154"/>
                  </a:lnTo>
                  <a:lnTo>
                    <a:pt x="1902" y="1152"/>
                  </a:lnTo>
                  <a:lnTo>
                    <a:pt x="1901" y="1151"/>
                  </a:lnTo>
                  <a:lnTo>
                    <a:pt x="1900" y="1149"/>
                  </a:lnTo>
                  <a:lnTo>
                    <a:pt x="1899" y="1147"/>
                  </a:lnTo>
                  <a:lnTo>
                    <a:pt x="1898" y="1145"/>
                  </a:lnTo>
                  <a:lnTo>
                    <a:pt x="1887" y="1088"/>
                  </a:lnTo>
                  <a:close/>
                  <a:moveTo>
                    <a:pt x="937" y="991"/>
                  </a:moveTo>
                  <a:lnTo>
                    <a:pt x="937" y="746"/>
                  </a:lnTo>
                  <a:lnTo>
                    <a:pt x="937" y="744"/>
                  </a:lnTo>
                  <a:lnTo>
                    <a:pt x="938" y="742"/>
                  </a:lnTo>
                  <a:lnTo>
                    <a:pt x="940" y="739"/>
                  </a:lnTo>
                  <a:lnTo>
                    <a:pt x="941" y="738"/>
                  </a:lnTo>
                  <a:lnTo>
                    <a:pt x="943" y="737"/>
                  </a:lnTo>
                  <a:lnTo>
                    <a:pt x="947" y="736"/>
                  </a:lnTo>
                  <a:lnTo>
                    <a:pt x="1029" y="736"/>
                  </a:lnTo>
                  <a:lnTo>
                    <a:pt x="1033" y="737"/>
                  </a:lnTo>
                  <a:lnTo>
                    <a:pt x="1037" y="739"/>
                  </a:lnTo>
                  <a:lnTo>
                    <a:pt x="1038" y="740"/>
                  </a:lnTo>
                  <a:lnTo>
                    <a:pt x="1039" y="742"/>
                  </a:lnTo>
                  <a:lnTo>
                    <a:pt x="1039" y="744"/>
                  </a:lnTo>
                  <a:lnTo>
                    <a:pt x="1039" y="746"/>
                  </a:lnTo>
                  <a:lnTo>
                    <a:pt x="1039" y="986"/>
                  </a:lnTo>
                  <a:lnTo>
                    <a:pt x="1040" y="996"/>
                  </a:lnTo>
                  <a:lnTo>
                    <a:pt x="1041" y="1005"/>
                  </a:lnTo>
                  <a:lnTo>
                    <a:pt x="1042" y="1014"/>
                  </a:lnTo>
                  <a:lnTo>
                    <a:pt x="1044" y="1022"/>
                  </a:lnTo>
                  <a:lnTo>
                    <a:pt x="1047" y="1030"/>
                  </a:lnTo>
                  <a:lnTo>
                    <a:pt x="1050" y="1037"/>
                  </a:lnTo>
                  <a:lnTo>
                    <a:pt x="1054" y="1043"/>
                  </a:lnTo>
                  <a:lnTo>
                    <a:pt x="1058" y="1049"/>
                  </a:lnTo>
                  <a:lnTo>
                    <a:pt x="1063" y="1054"/>
                  </a:lnTo>
                  <a:lnTo>
                    <a:pt x="1068" y="1058"/>
                  </a:lnTo>
                  <a:lnTo>
                    <a:pt x="1074" y="1062"/>
                  </a:lnTo>
                  <a:lnTo>
                    <a:pt x="1077" y="1063"/>
                  </a:lnTo>
                  <a:lnTo>
                    <a:pt x="1080" y="1065"/>
                  </a:lnTo>
                  <a:lnTo>
                    <a:pt x="1087" y="1067"/>
                  </a:lnTo>
                  <a:lnTo>
                    <a:pt x="1094" y="1069"/>
                  </a:lnTo>
                  <a:lnTo>
                    <a:pt x="1102" y="1070"/>
                  </a:lnTo>
                  <a:lnTo>
                    <a:pt x="1110" y="1070"/>
                  </a:lnTo>
                  <a:lnTo>
                    <a:pt x="1118" y="1070"/>
                  </a:lnTo>
                  <a:lnTo>
                    <a:pt x="1126" y="1069"/>
                  </a:lnTo>
                  <a:lnTo>
                    <a:pt x="1133" y="1067"/>
                  </a:lnTo>
                  <a:lnTo>
                    <a:pt x="1140" y="1065"/>
                  </a:lnTo>
                  <a:lnTo>
                    <a:pt x="1146" y="1062"/>
                  </a:lnTo>
                  <a:lnTo>
                    <a:pt x="1149" y="1060"/>
                  </a:lnTo>
                  <a:lnTo>
                    <a:pt x="1152" y="1058"/>
                  </a:lnTo>
                  <a:lnTo>
                    <a:pt x="1157" y="1054"/>
                  </a:lnTo>
                  <a:lnTo>
                    <a:pt x="1162" y="1049"/>
                  </a:lnTo>
                  <a:lnTo>
                    <a:pt x="1166" y="1043"/>
                  </a:lnTo>
                  <a:lnTo>
                    <a:pt x="1170" y="1037"/>
                  </a:lnTo>
                  <a:lnTo>
                    <a:pt x="1173" y="1030"/>
                  </a:lnTo>
                  <a:lnTo>
                    <a:pt x="1176" y="1022"/>
                  </a:lnTo>
                  <a:lnTo>
                    <a:pt x="1178" y="1014"/>
                  </a:lnTo>
                  <a:lnTo>
                    <a:pt x="1180" y="1005"/>
                  </a:lnTo>
                  <a:lnTo>
                    <a:pt x="1180" y="996"/>
                  </a:lnTo>
                  <a:lnTo>
                    <a:pt x="1181" y="986"/>
                  </a:lnTo>
                  <a:lnTo>
                    <a:pt x="1181" y="746"/>
                  </a:lnTo>
                  <a:lnTo>
                    <a:pt x="1181" y="744"/>
                  </a:lnTo>
                  <a:lnTo>
                    <a:pt x="1182" y="742"/>
                  </a:lnTo>
                  <a:lnTo>
                    <a:pt x="1184" y="739"/>
                  </a:lnTo>
                  <a:lnTo>
                    <a:pt x="1185" y="738"/>
                  </a:lnTo>
                  <a:lnTo>
                    <a:pt x="1187" y="737"/>
                  </a:lnTo>
                  <a:lnTo>
                    <a:pt x="1191" y="736"/>
                  </a:lnTo>
                  <a:lnTo>
                    <a:pt x="1273" y="736"/>
                  </a:lnTo>
                  <a:lnTo>
                    <a:pt x="1277" y="737"/>
                  </a:lnTo>
                  <a:lnTo>
                    <a:pt x="1280" y="739"/>
                  </a:lnTo>
                  <a:lnTo>
                    <a:pt x="1281" y="740"/>
                  </a:lnTo>
                  <a:lnTo>
                    <a:pt x="1282" y="742"/>
                  </a:lnTo>
                  <a:lnTo>
                    <a:pt x="1283" y="744"/>
                  </a:lnTo>
                  <a:lnTo>
                    <a:pt x="1283" y="746"/>
                  </a:lnTo>
                  <a:lnTo>
                    <a:pt x="1283" y="991"/>
                  </a:lnTo>
                  <a:lnTo>
                    <a:pt x="1283" y="1002"/>
                  </a:lnTo>
                  <a:lnTo>
                    <a:pt x="1283" y="1007"/>
                  </a:lnTo>
                  <a:lnTo>
                    <a:pt x="1282" y="1013"/>
                  </a:lnTo>
                  <a:lnTo>
                    <a:pt x="1281" y="1023"/>
                  </a:lnTo>
                  <a:lnTo>
                    <a:pt x="1280" y="1033"/>
                  </a:lnTo>
                  <a:lnTo>
                    <a:pt x="1278" y="1042"/>
                  </a:lnTo>
                  <a:lnTo>
                    <a:pt x="1275" y="1051"/>
                  </a:lnTo>
                  <a:lnTo>
                    <a:pt x="1273" y="1060"/>
                  </a:lnTo>
                  <a:lnTo>
                    <a:pt x="1270" y="1068"/>
                  </a:lnTo>
                  <a:lnTo>
                    <a:pt x="1266" y="1076"/>
                  </a:lnTo>
                  <a:lnTo>
                    <a:pt x="1262" y="1084"/>
                  </a:lnTo>
                  <a:lnTo>
                    <a:pt x="1254" y="1098"/>
                  </a:lnTo>
                  <a:lnTo>
                    <a:pt x="1249" y="1104"/>
                  </a:lnTo>
                  <a:lnTo>
                    <a:pt x="1244" y="1110"/>
                  </a:lnTo>
                  <a:lnTo>
                    <a:pt x="1239" y="1116"/>
                  </a:lnTo>
                  <a:lnTo>
                    <a:pt x="1233" y="1121"/>
                  </a:lnTo>
                  <a:lnTo>
                    <a:pt x="1227" y="1126"/>
                  </a:lnTo>
                  <a:lnTo>
                    <a:pt x="1221" y="1131"/>
                  </a:lnTo>
                  <a:lnTo>
                    <a:pt x="1214" y="1135"/>
                  </a:lnTo>
                  <a:lnTo>
                    <a:pt x="1207" y="1139"/>
                  </a:lnTo>
                  <a:lnTo>
                    <a:pt x="1200" y="1143"/>
                  </a:lnTo>
                  <a:lnTo>
                    <a:pt x="1193" y="1146"/>
                  </a:lnTo>
                  <a:lnTo>
                    <a:pt x="1178" y="1152"/>
                  </a:lnTo>
                  <a:lnTo>
                    <a:pt x="1170" y="1154"/>
                  </a:lnTo>
                  <a:lnTo>
                    <a:pt x="1162" y="1156"/>
                  </a:lnTo>
                  <a:lnTo>
                    <a:pt x="1154" y="1158"/>
                  </a:lnTo>
                  <a:lnTo>
                    <a:pt x="1145" y="1159"/>
                  </a:lnTo>
                  <a:lnTo>
                    <a:pt x="1137" y="1160"/>
                  </a:lnTo>
                  <a:lnTo>
                    <a:pt x="1128" y="1161"/>
                  </a:lnTo>
                  <a:lnTo>
                    <a:pt x="1119" y="1162"/>
                  </a:lnTo>
                  <a:lnTo>
                    <a:pt x="1110" y="1162"/>
                  </a:lnTo>
                  <a:lnTo>
                    <a:pt x="1092" y="1161"/>
                  </a:lnTo>
                  <a:lnTo>
                    <a:pt x="1075" y="1159"/>
                  </a:lnTo>
                  <a:lnTo>
                    <a:pt x="1066" y="1158"/>
                  </a:lnTo>
                  <a:lnTo>
                    <a:pt x="1058" y="1156"/>
                  </a:lnTo>
                  <a:lnTo>
                    <a:pt x="1042" y="1152"/>
                  </a:lnTo>
                  <a:lnTo>
                    <a:pt x="1035" y="1149"/>
                  </a:lnTo>
                  <a:lnTo>
                    <a:pt x="1027" y="1146"/>
                  </a:lnTo>
                  <a:lnTo>
                    <a:pt x="1020" y="1143"/>
                  </a:lnTo>
                  <a:lnTo>
                    <a:pt x="1013" y="1139"/>
                  </a:lnTo>
                  <a:lnTo>
                    <a:pt x="1006" y="1135"/>
                  </a:lnTo>
                  <a:lnTo>
                    <a:pt x="1000" y="1131"/>
                  </a:lnTo>
                  <a:lnTo>
                    <a:pt x="993" y="1126"/>
                  </a:lnTo>
                  <a:lnTo>
                    <a:pt x="987" y="1121"/>
                  </a:lnTo>
                  <a:lnTo>
                    <a:pt x="982" y="1116"/>
                  </a:lnTo>
                  <a:lnTo>
                    <a:pt x="976" y="1110"/>
                  </a:lnTo>
                  <a:lnTo>
                    <a:pt x="966" y="1098"/>
                  </a:lnTo>
                  <a:lnTo>
                    <a:pt x="962" y="1091"/>
                  </a:lnTo>
                  <a:lnTo>
                    <a:pt x="958" y="1084"/>
                  </a:lnTo>
                  <a:lnTo>
                    <a:pt x="954" y="1076"/>
                  </a:lnTo>
                  <a:lnTo>
                    <a:pt x="951" y="1068"/>
                  </a:lnTo>
                  <a:lnTo>
                    <a:pt x="948" y="1060"/>
                  </a:lnTo>
                  <a:lnTo>
                    <a:pt x="945" y="1051"/>
                  </a:lnTo>
                  <a:lnTo>
                    <a:pt x="943" y="1042"/>
                  </a:lnTo>
                  <a:lnTo>
                    <a:pt x="941" y="1033"/>
                  </a:lnTo>
                  <a:lnTo>
                    <a:pt x="939" y="1023"/>
                  </a:lnTo>
                  <a:lnTo>
                    <a:pt x="938" y="1013"/>
                  </a:lnTo>
                  <a:lnTo>
                    <a:pt x="937" y="1002"/>
                  </a:lnTo>
                  <a:lnTo>
                    <a:pt x="937" y="991"/>
                  </a:lnTo>
                  <a:close/>
                  <a:moveTo>
                    <a:pt x="1479" y="824"/>
                  </a:moveTo>
                  <a:lnTo>
                    <a:pt x="1479" y="934"/>
                  </a:lnTo>
                  <a:lnTo>
                    <a:pt x="1514" y="934"/>
                  </a:lnTo>
                  <a:lnTo>
                    <a:pt x="1520" y="933"/>
                  </a:lnTo>
                  <a:lnTo>
                    <a:pt x="1526" y="933"/>
                  </a:lnTo>
                  <a:lnTo>
                    <a:pt x="1532" y="932"/>
                  </a:lnTo>
                  <a:lnTo>
                    <a:pt x="1538" y="930"/>
                  </a:lnTo>
                  <a:lnTo>
                    <a:pt x="1543" y="928"/>
                  </a:lnTo>
                  <a:lnTo>
                    <a:pt x="1547" y="926"/>
                  </a:lnTo>
                  <a:lnTo>
                    <a:pt x="1551" y="923"/>
                  </a:lnTo>
                  <a:lnTo>
                    <a:pt x="1555" y="919"/>
                  </a:lnTo>
                  <a:lnTo>
                    <a:pt x="1559" y="916"/>
                  </a:lnTo>
                  <a:lnTo>
                    <a:pt x="1562" y="912"/>
                  </a:lnTo>
                  <a:lnTo>
                    <a:pt x="1564" y="907"/>
                  </a:lnTo>
                  <a:lnTo>
                    <a:pt x="1566" y="902"/>
                  </a:lnTo>
                  <a:lnTo>
                    <a:pt x="1568" y="897"/>
                  </a:lnTo>
                  <a:lnTo>
                    <a:pt x="1569" y="891"/>
                  </a:lnTo>
                  <a:lnTo>
                    <a:pt x="1570" y="885"/>
                  </a:lnTo>
                  <a:lnTo>
                    <a:pt x="1570" y="879"/>
                  </a:lnTo>
                  <a:lnTo>
                    <a:pt x="1570" y="872"/>
                  </a:lnTo>
                  <a:lnTo>
                    <a:pt x="1569" y="866"/>
                  </a:lnTo>
                  <a:lnTo>
                    <a:pt x="1568" y="861"/>
                  </a:lnTo>
                  <a:lnTo>
                    <a:pt x="1566" y="855"/>
                  </a:lnTo>
                  <a:lnTo>
                    <a:pt x="1564" y="850"/>
                  </a:lnTo>
                  <a:lnTo>
                    <a:pt x="1562" y="846"/>
                  </a:lnTo>
                  <a:lnTo>
                    <a:pt x="1559" y="842"/>
                  </a:lnTo>
                  <a:lnTo>
                    <a:pt x="1555" y="838"/>
                  </a:lnTo>
                  <a:lnTo>
                    <a:pt x="1551" y="835"/>
                  </a:lnTo>
                  <a:lnTo>
                    <a:pt x="1547" y="832"/>
                  </a:lnTo>
                  <a:lnTo>
                    <a:pt x="1543" y="829"/>
                  </a:lnTo>
                  <a:lnTo>
                    <a:pt x="1538" y="827"/>
                  </a:lnTo>
                  <a:lnTo>
                    <a:pt x="1535" y="826"/>
                  </a:lnTo>
                  <a:lnTo>
                    <a:pt x="1532" y="826"/>
                  </a:lnTo>
                  <a:lnTo>
                    <a:pt x="1526" y="825"/>
                  </a:lnTo>
                  <a:lnTo>
                    <a:pt x="1520" y="824"/>
                  </a:lnTo>
                  <a:lnTo>
                    <a:pt x="1514" y="824"/>
                  </a:lnTo>
                  <a:lnTo>
                    <a:pt x="1479" y="824"/>
                  </a:lnTo>
                  <a:close/>
                  <a:moveTo>
                    <a:pt x="1514" y="736"/>
                  </a:moveTo>
                  <a:lnTo>
                    <a:pt x="1532" y="737"/>
                  </a:lnTo>
                  <a:lnTo>
                    <a:pt x="1549" y="738"/>
                  </a:lnTo>
                  <a:lnTo>
                    <a:pt x="1557" y="740"/>
                  </a:lnTo>
                  <a:lnTo>
                    <a:pt x="1565" y="741"/>
                  </a:lnTo>
                  <a:lnTo>
                    <a:pt x="1580" y="745"/>
                  </a:lnTo>
                  <a:lnTo>
                    <a:pt x="1588" y="748"/>
                  </a:lnTo>
                  <a:lnTo>
                    <a:pt x="1595" y="750"/>
                  </a:lnTo>
                  <a:lnTo>
                    <a:pt x="1608" y="757"/>
                  </a:lnTo>
                  <a:lnTo>
                    <a:pt x="1620" y="764"/>
                  </a:lnTo>
                  <a:lnTo>
                    <a:pt x="1626" y="768"/>
                  </a:lnTo>
                  <a:lnTo>
                    <a:pt x="1631" y="773"/>
                  </a:lnTo>
                  <a:lnTo>
                    <a:pt x="1637" y="777"/>
                  </a:lnTo>
                  <a:lnTo>
                    <a:pt x="1641" y="782"/>
                  </a:lnTo>
                  <a:lnTo>
                    <a:pt x="1646" y="787"/>
                  </a:lnTo>
                  <a:lnTo>
                    <a:pt x="1650" y="793"/>
                  </a:lnTo>
                  <a:lnTo>
                    <a:pt x="1654" y="798"/>
                  </a:lnTo>
                  <a:lnTo>
                    <a:pt x="1658" y="804"/>
                  </a:lnTo>
                  <a:lnTo>
                    <a:pt x="1661" y="811"/>
                  </a:lnTo>
                  <a:lnTo>
                    <a:pt x="1664" y="817"/>
                  </a:lnTo>
                  <a:lnTo>
                    <a:pt x="1667" y="824"/>
                  </a:lnTo>
                  <a:lnTo>
                    <a:pt x="1669" y="831"/>
                  </a:lnTo>
                  <a:lnTo>
                    <a:pt x="1671" y="838"/>
                  </a:lnTo>
                  <a:lnTo>
                    <a:pt x="1673" y="846"/>
                  </a:lnTo>
                  <a:lnTo>
                    <a:pt x="1674" y="854"/>
                  </a:lnTo>
                  <a:lnTo>
                    <a:pt x="1675" y="862"/>
                  </a:lnTo>
                  <a:lnTo>
                    <a:pt x="1676" y="870"/>
                  </a:lnTo>
                  <a:lnTo>
                    <a:pt x="1676" y="879"/>
                  </a:lnTo>
                  <a:lnTo>
                    <a:pt x="1676" y="887"/>
                  </a:lnTo>
                  <a:lnTo>
                    <a:pt x="1675" y="896"/>
                  </a:lnTo>
                  <a:lnTo>
                    <a:pt x="1674" y="904"/>
                  </a:lnTo>
                  <a:lnTo>
                    <a:pt x="1673" y="911"/>
                  </a:lnTo>
                  <a:lnTo>
                    <a:pt x="1669" y="926"/>
                  </a:lnTo>
                  <a:lnTo>
                    <a:pt x="1667" y="933"/>
                  </a:lnTo>
                  <a:lnTo>
                    <a:pt x="1664" y="940"/>
                  </a:lnTo>
                  <a:lnTo>
                    <a:pt x="1658" y="953"/>
                  </a:lnTo>
                  <a:lnTo>
                    <a:pt x="1654" y="959"/>
                  </a:lnTo>
                  <a:lnTo>
                    <a:pt x="1650" y="965"/>
                  </a:lnTo>
                  <a:lnTo>
                    <a:pt x="1642" y="975"/>
                  </a:lnTo>
                  <a:lnTo>
                    <a:pt x="1632" y="985"/>
                  </a:lnTo>
                  <a:lnTo>
                    <a:pt x="1626" y="989"/>
                  </a:lnTo>
                  <a:lnTo>
                    <a:pt x="1620" y="993"/>
                  </a:lnTo>
                  <a:lnTo>
                    <a:pt x="1614" y="997"/>
                  </a:lnTo>
                  <a:lnTo>
                    <a:pt x="1608" y="1001"/>
                  </a:lnTo>
                  <a:lnTo>
                    <a:pt x="1595" y="1007"/>
                  </a:lnTo>
                  <a:lnTo>
                    <a:pt x="1588" y="1009"/>
                  </a:lnTo>
                  <a:lnTo>
                    <a:pt x="1580" y="1012"/>
                  </a:lnTo>
                  <a:lnTo>
                    <a:pt x="1565" y="1016"/>
                  </a:lnTo>
                  <a:lnTo>
                    <a:pt x="1557" y="1018"/>
                  </a:lnTo>
                  <a:lnTo>
                    <a:pt x="1549" y="1019"/>
                  </a:lnTo>
                  <a:lnTo>
                    <a:pt x="1532" y="1021"/>
                  </a:lnTo>
                  <a:lnTo>
                    <a:pt x="1523" y="1021"/>
                  </a:lnTo>
                  <a:lnTo>
                    <a:pt x="1514" y="1021"/>
                  </a:lnTo>
                  <a:lnTo>
                    <a:pt x="1479" y="1021"/>
                  </a:lnTo>
                  <a:lnTo>
                    <a:pt x="1479" y="1145"/>
                  </a:lnTo>
                  <a:lnTo>
                    <a:pt x="1479" y="1147"/>
                  </a:lnTo>
                  <a:lnTo>
                    <a:pt x="1479" y="1149"/>
                  </a:lnTo>
                  <a:lnTo>
                    <a:pt x="1477" y="1152"/>
                  </a:lnTo>
                  <a:lnTo>
                    <a:pt x="1475" y="1153"/>
                  </a:lnTo>
                  <a:lnTo>
                    <a:pt x="1473" y="1154"/>
                  </a:lnTo>
                  <a:lnTo>
                    <a:pt x="1469" y="1155"/>
                  </a:lnTo>
                  <a:lnTo>
                    <a:pt x="1387" y="1155"/>
                  </a:lnTo>
                  <a:lnTo>
                    <a:pt x="1383" y="1154"/>
                  </a:lnTo>
                  <a:lnTo>
                    <a:pt x="1380" y="1152"/>
                  </a:lnTo>
                  <a:lnTo>
                    <a:pt x="1379" y="1150"/>
                  </a:lnTo>
                  <a:lnTo>
                    <a:pt x="1378" y="1149"/>
                  </a:lnTo>
                  <a:lnTo>
                    <a:pt x="1377" y="1147"/>
                  </a:lnTo>
                  <a:lnTo>
                    <a:pt x="1377" y="1145"/>
                  </a:lnTo>
                  <a:lnTo>
                    <a:pt x="1377" y="746"/>
                  </a:lnTo>
                  <a:lnTo>
                    <a:pt x="1377" y="744"/>
                  </a:lnTo>
                  <a:lnTo>
                    <a:pt x="1378" y="742"/>
                  </a:lnTo>
                  <a:lnTo>
                    <a:pt x="1380" y="739"/>
                  </a:lnTo>
                  <a:lnTo>
                    <a:pt x="1381" y="738"/>
                  </a:lnTo>
                  <a:lnTo>
                    <a:pt x="1383" y="737"/>
                  </a:lnTo>
                  <a:lnTo>
                    <a:pt x="1387" y="736"/>
                  </a:lnTo>
                  <a:lnTo>
                    <a:pt x="1514" y="736"/>
                  </a:lnTo>
                  <a:close/>
                  <a:moveTo>
                    <a:pt x="2767" y="1006"/>
                  </a:moveTo>
                  <a:lnTo>
                    <a:pt x="2866" y="1006"/>
                  </a:lnTo>
                  <a:lnTo>
                    <a:pt x="2817" y="875"/>
                  </a:lnTo>
                  <a:lnTo>
                    <a:pt x="2767" y="1006"/>
                  </a:lnTo>
                  <a:close/>
                  <a:moveTo>
                    <a:pt x="2897" y="1088"/>
                  </a:moveTo>
                  <a:lnTo>
                    <a:pt x="2737" y="1088"/>
                  </a:lnTo>
                  <a:lnTo>
                    <a:pt x="2715" y="1145"/>
                  </a:lnTo>
                  <a:lnTo>
                    <a:pt x="2714" y="1148"/>
                  </a:lnTo>
                  <a:lnTo>
                    <a:pt x="2713" y="1150"/>
                  </a:lnTo>
                  <a:lnTo>
                    <a:pt x="2711" y="1151"/>
                  </a:lnTo>
                  <a:lnTo>
                    <a:pt x="2710" y="1153"/>
                  </a:lnTo>
                  <a:lnTo>
                    <a:pt x="2706" y="1154"/>
                  </a:lnTo>
                  <a:lnTo>
                    <a:pt x="2701" y="1155"/>
                  </a:lnTo>
                  <a:lnTo>
                    <a:pt x="2623" y="1155"/>
                  </a:lnTo>
                  <a:lnTo>
                    <a:pt x="2620" y="1155"/>
                  </a:lnTo>
                  <a:lnTo>
                    <a:pt x="2618" y="1154"/>
                  </a:lnTo>
                  <a:lnTo>
                    <a:pt x="2616" y="1153"/>
                  </a:lnTo>
                  <a:lnTo>
                    <a:pt x="2614" y="1151"/>
                  </a:lnTo>
                  <a:lnTo>
                    <a:pt x="2613" y="1149"/>
                  </a:lnTo>
                  <a:lnTo>
                    <a:pt x="2613" y="1147"/>
                  </a:lnTo>
                  <a:lnTo>
                    <a:pt x="2613" y="1144"/>
                  </a:lnTo>
                  <a:lnTo>
                    <a:pt x="2614" y="1141"/>
                  </a:lnTo>
                  <a:lnTo>
                    <a:pt x="2769" y="746"/>
                  </a:lnTo>
                  <a:lnTo>
                    <a:pt x="2770" y="743"/>
                  </a:lnTo>
                  <a:lnTo>
                    <a:pt x="2772" y="741"/>
                  </a:lnTo>
                  <a:lnTo>
                    <a:pt x="2775" y="738"/>
                  </a:lnTo>
                  <a:lnTo>
                    <a:pt x="2779" y="737"/>
                  </a:lnTo>
                  <a:lnTo>
                    <a:pt x="2781" y="736"/>
                  </a:lnTo>
                  <a:lnTo>
                    <a:pt x="2783" y="736"/>
                  </a:lnTo>
                  <a:lnTo>
                    <a:pt x="2853" y="736"/>
                  </a:lnTo>
                  <a:lnTo>
                    <a:pt x="2858" y="737"/>
                  </a:lnTo>
                  <a:lnTo>
                    <a:pt x="2861" y="738"/>
                  </a:lnTo>
                  <a:lnTo>
                    <a:pt x="2864" y="741"/>
                  </a:lnTo>
                  <a:lnTo>
                    <a:pt x="2865" y="743"/>
                  </a:lnTo>
                  <a:lnTo>
                    <a:pt x="2866" y="746"/>
                  </a:lnTo>
                  <a:lnTo>
                    <a:pt x="3022" y="1141"/>
                  </a:lnTo>
                  <a:lnTo>
                    <a:pt x="3023" y="1144"/>
                  </a:lnTo>
                  <a:lnTo>
                    <a:pt x="3023" y="1147"/>
                  </a:lnTo>
                  <a:lnTo>
                    <a:pt x="3023" y="1149"/>
                  </a:lnTo>
                  <a:lnTo>
                    <a:pt x="3021" y="1151"/>
                  </a:lnTo>
                  <a:lnTo>
                    <a:pt x="3020" y="1153"/>
                  </a:lnTo>
                  <a:lnTo>
                    <a:pt x="3018" y="1154"/>
                  </a:lnTo>
                  <a:lnTo>
                    <a:pt x="3016" y="1155"/>
                  </a:lnTo>
                  <a:lnTo>
                    <a:pt x="3013" y="1155"/>
                  </a:lnTo>
                  <a:lnTo>
                    <a:pt x="2933" y="1155"/>
                  </a:lnTo>
                  <a:lnTo>
                    <a:pt x="2928" y="1154"/>
                  </a:lnTo>
                  <a:lnTo>
                    <a:pt x="2926" y="1154"/>
                  </a:lnTo>
                  <a:lnTo>
                    <a:pt x="2925" y="1153"/>
                  </a:lnTo>
                  <a:lnTo>
                    <a:pt x="2923" y="1151"/>
                  </a:lnTo>
                  <a:lnTo>
                    <a:pt x="2921" y="1150"/>
                  </a:lnTo>
                  <a:lnTo>
                    <a:pt x="2920" y="1148"/>
                  </a:lnTo>
                  <a:lnTo>
                    <a:pt x="2919" y="1145"/>
                  </a:lnTo>
                  <a:lnTo>
                    <a:pt x="2897" y="1088"/>
                  </a:lnTo>
                  <a:close/>
                  <a:moveTo>
                    <a:pt x="696" y="2625"/>
                  </a:moveTo>
                  <a:lnTo>
                    <a:pt x="614" y="2625"/>
                  </a:lnTo>
                  <a:lnTo>
                    <a:pt x="610" y="2624"/>
                  </a:lnTo>
                  <a:lnTo>
                    <a:pt x="607" y="2622"/>
                  </a:lnTo>
                  <a:lnTo>
                    <a:pt x="605" y="2621"/>
                  </a:lnTo>
                  <a:lnTo>
                    <a:pt x="605" y="2619"/>
                  </a:lnTo>
                  <a:lnTo>
                    <a:pt x="604" y="2617"/>
                  </a:lnTo>
                  <a:lnTo>
                    <a:pt x="604" y="2615"/>
                  </a:lnTo>
                  <a:lnTo>
                    <a:pt x="604" y="2217"/>
                  </a:lnTo>
                  <a:lnTo>
                    <a:pt x="604" y="2214"/>
                  </a:lnTo>
                  <a:lnTo>
                    <a:pt x="605" y="2212"/>
                  </a:lnTo>
                  <a:lnTo>
                    <a:pt x="607" y="2209"/>
                  </a:lnTo>
                  <a:lnTo>
                    <a:pt x="608" y="2208"/>
                  </a:lnTo>
                  <a:lnTo>
                    <a:pt x="610" y="2207"/>
                  </a:lnTo>
                  <a:lnTo>
                    <a:pt x="614" y="2207"/>
                  </a:lnTo>
                  <a:lnTo>
                    <a:pt x="696" y="2207"/>
                  </a:lnTo>
                  <a:lnTo>
                    <a:pt x="700" y="2207"/>
                  </a:lnTo>
                  <a:lnTo>
                    <a:pt x="703" y="2209"/>
                  </a:lnTo>
                  <a:lnTo>
                    <a:pt x="704" y="2211"/>
                  </a:lnTo>
                  <a:lnTo>
                    <a:pt x="705" y="2212"/>
                  </a:lnTo>
                  <a:lnTo>
                    <a:pt x="706" y="2214"/>
                  </a:lnTo>
                  <a:lnTo>
                    <a:pt x="706" y="2217"/>
                  </a:lnTo>
                  <a:lnTo>
                    <a:pt x="706" y="2392"/>
                  </a:lnTo>
                  <a:lnTo>
                    <a:pt x="850" y="2216"/>
                  </a:lnTo>
                  <a:lnTo>
                    <a:pt x="854" y="2212"/>
                  </a:lnTo>
                  <a:lnTo>
                    <a:pt x="856" y="2210"/>
                  </a:lnTo>
                  <a:lnTo>
                    <a:pt x="858" y="2209"/>
                  </a:lnTo>
                  <a:lnTo>
                    <a:pt x="860" y="2208"/>
                  </a:lnTo>
                  <a:lnTo>
                    <a:pt x="863" y="2207"/>
                  </a:lnTo>
                  <a:lnTo>
                    <a:pt x="865" y="2207"/>
                  </a:lnTo>
                  <a:lnTo>
                    <a:pt x="868" y="2207"/>
                  </a:lnTo>
                  <a:lnTo>
                    <a:pt x="964" y="2207"/>
                  </a:lnTo>
                  <a:lnTo>
                    <a:pt x="967" y="2207"/>
                  </a:lnTo>
                  <a:lnTo>
                    <a:pt x="969" y="2208"/>
                  </a:lnTo>
                  <a:lnTo>
                    <a:pt x="971" y="2210"/>
                  </a:lnTo>
                  <a:lnTo>
                    <a:pt x="972" y="2212"/>
                  </a:lnTo>
                  <a:lnTo>
                    <a:pt x="972" y="2214"/>
                  </a:lnTo>
                  <a:lnTo>
                    <a:pt x="972" y="2216"/>
                  </a:lnTo>
                  <a:lnTo>
                    <a:pt x="971" y="2219"/>
                  </a:lnTo>
                  <a:lnTo>
                    <a:pt x="970" y="2221"/>
                  </a:lnTo>
                  <a:lnTo>
                    <a:pt x="838" y="2382"/>
                  </a:lnTo>
                  <a:lnTo>
                    <a:pt x="974" y="2612"/>
                  </a:lnTo>
                  <a:lnTo>
                    <a:pt x="975" y="2614"/>
                  </a:lnTo>
                  <a:lnTo>
                    <a:pt x="975" y="2617"/>
                  </a:lnTo>
                  <a:lnTo>
                    <a:pt x="975" y="2619"/>
                  </a:lnTo>
                  <a:lnTo>
                    <a:pt x="975" y="2621"/>
                  </a:lnTo>
                  <a:lnTo>
                    <a:pt x="974" y="2623"/>
                  </a:lnTo>
                  <a:lnTo>
                    <a:pt x="972" y="2624"/>
                  </a:lnTo>
                  <a:lnTo>
                    <a:pt x="970" y="2625"/>
                  </a:lnTo>
                  <a:lnTo>
                    <a:pt x="967" y="2625"/>
                  </a:lnTo>
                  <a:lnTo>
                    <a:pt x="871" y="2625"/>
                  </a:lnTo>
                  <a:lnTo>
                    <a:pt x="867" y="2625"/>
                  </a:lnTo>
                  <a:lnTo>
                    <a:pt x="862" y="2623"/>
                  </a:lnTo>
                  <a:lnTo>
                    <a:pt x="861" y="2622"/>
                  </a:lnTo>
                  <a:lnTo>
                    <a:pt x="859" y="2620"/>
                  </a:lnTo>
                  <a:lnTo>
                    <a:pt x="856" y="2616"/>
                  </a:lnTo>
                  <a:lnTo>
                    <a:pt x="759" y="2450"/>
                  </a:lnTo>
                  <a:lnTo>
                    <a:pt x="706" y="2514"/>
                  </a:lnTo>
                  <a:lnTo>
                    <a:pt x="706" y="2615"/>
                  </a:lnTo>
                  <a:lnTo>
                    <a:pt x="706" y="2617"/>
                  </a:lnTo>
                  <a:lnTo>
                    <a:pt x="705" y="2619"/>
                  </a:lnTo>
                  <a:lnTo>
                    <a:pt x="703" y="2622"/>
                  </a:lnTo>
                  <a:lnTo>
                    <a:pt x="702" y="2624"/>
                  </a:lnTo>
                  <a:lnTo>
                    <a:pt x="700" y="2624"/>
                  </a:lnTo>
                  <a:lnTo>
                    <a:pt x="696" y="2625"/>
                  </a:lnTo>
                  <a:close/>
                  <a:moveTo>
                    <a:pt x="1288" y="2177"/>
                  </a:moveTo>
                  <a:lnTo>
                    <a:pt x="1283" y="2177"/>
                  </a:lnTo>
                  <a:lnTo>
                    <a:pt x="1278" y="2176"/>
                  </a:lnTo>
                  <a:lnTo>
                    <a:pt x="1273" y="2175"/>
                  </a:lnTo>
                  <a:lnTo>
                    <a:pt x="1268" y="2173"/>
                  </a:lnTo>
                  <a:lnTo>
                    <a:pt x="1260" y="2169"/>
                  </a:lnTo>
                  <a:lnTo>
                    <a:pt x="1256" y="2166"/>
                  </a:lnTo>
                  <a:lnTo>
                    <a:pt x="1253" y="2163"/>
                  </a:lnTo>
                  <a:lnTo>
                    <a:pt x="1249" y="2160"/>
                  </a:lnTo>
                  <a:lnTo>
                    <a:pt x="1247" y="2156"/>
                  </a:lnTo>
                  <a:lnTo>
                    <a:pt x="1244" y="2152"/>
                  </a:lnTo>
                  <a:lnTo>
                    <a:pt x="1242" y="2148"/>
                  </a:lnTo>
                  <a:lnTo>
                    <a:pt x="1241" y="2143"/>
                  </a:lnTo>
                  <a:lnTo>
                    <a:pt x="1240" y="2138"/>
                  </a:lnTo>
                  <a:lnTo>
                    <a:pt x="1239" y="2133"/>
                  </a:lnTo>
                  <a:lnTo>
                    <a:pt x="1239" y="2128"/>
                  </a:lnTo>
                  <a:lnTo>
                    <a:pt x="1239" y="2123"/>
                  </a:lnTo>
                  <a:lnTo>
                    <a:pt x="1240" y="2118"/>
                  </a:lnTo>
                  <a:lnTo>
                    <a:pt x="1241" y="2113"/>
                  </a:lnTo>
                  <a:lnTo>
                    <a:pt x="1242" y="2108"/>
                  </a:lnTo>
                  <a:lnTo>
                    <a:pt x="1244" y="2104"/>
                  </a:lnTo>
                  <a:lnTo>
                    <a:pt x="1247" y="2100"/>
                  </a:lnTo>
                  <a:lnTo>
                    <a:pt x="1249" y="2096"/>
                  </a:lnTo>
                  <a:lnTo>
                    <a:pt x="1253" y="2093"/>
                  </a:lnTo>
                  <a:lnTo>
                    <a:pt x="1256" y="2090"/>
                  </a:lnTo>
                  <a:lnTo>
                    <a:pt x="1260" y="2087"/>
                  </a:lnTo>
                  <a:lnTo>
                    <a:pt x="1264" y="2084"/>
                  </a:lnTo>
                  <a:lnTo>
                    <a:pt x="1268" y="2082"/>
                  </a:lnTo>
                  <a:lnTo>
                    <a:pt x="1273" y="2081"/>
                  </a:lnTo>
                  <a:lnTo>
                    <a:pt x="1278" y="2080"/>
                  </a:lnTo>
                  <a:lnTo>
                    <a:pt x="1283" y="2079"/>
                  </a:lnTo>
                  <a:lnTo>
                    <a:pt x="1288" y="2079"/>
                  </a:lnTo>
                  <a:lnTo>
                    <a:pt x="1294" y="2079"/>
                  </a:lnTo>
                  <a:lnTo>
                    <a:pt x="1299" y="2080"/>
                  </a:lnTo>
                  <a:lnTo>
                    <a:pt x="1304" y="2081"/>
                  </a:lnTo>
                  <a:lnTo>
                    <a:pt x="1308" y="2082"/>
                  </a:lnTo>
                  <a:lnTo>
                    <a:pt x="1317" y="2087"/>
                  </a:lnTo>
                  <a:lnTo>
                    <a:pt x="1320" y="2090"/>
                  </a:lnTo>
                  <a:lnTo>
                    <a:pt x="1324" y="2093"/>
                  </a:lnTo>
                  <a:lnTo>
                    <a:pt x="1327" y="2096"/>
                  </a:lnTo>
                  <a:lnTo>
                    <a:pt x="1330" y="2100"/>
                  </a:lnTo>
                  <a:lnTo>
                    <a:pt x="1332" y="2104"/>
                  </a:lnTo>
                  <a:lnTo>
                    <a:pt x="1334" y="2108"/>
                  </a:lnTo>
                  <a:lnTo>
                    <a:pt x="1336" y="2113"/>
                  </a:lnTo>
                  <a:lnTo>
                    <a:pt x="1337" y="2118"/>
                  </a:lnTo>
                  <a:lnTo>
                    <a:pt x="1338" y="2123"/>
                  </a:lnTo>
                  <a:lnTo>
                    <a:pt x="1338" y="2128"/>
                  </a:lnTo>
                  <a:lnTo>
                    <a:pt x="1338" y="2133"/>
                  </a:lnTo>
                  <a:lnTo>
                    <a:pt x="1337" y="2138"/>
                  </a:lnTo>
                  <a:lnTo>
                    <a:pt x="1336" y="2143"/>
                  </a:lnTo>
                  <a:lnTo>
                    <a:pt x="1334" y="2148"/>
                  </a:lnTo>
                  <a:lnTo>
                    <a:pt x="1332" y="2152"/>
                  </a:lnTo>
                  <a:lnTo>
                    <a:pt x="1330" y="2156"/>
                  </a:lnTo>
                  <a:lnTo>
                    <a:pt x="1327" y="2160"/>
                  </a:lnTo>
                  <a:lnTo>
                    <a:pt x="1324" y="2163"/>
                  </a:lnTo>
                  <a:lnTo>
                    <a:pt x="1320" y="2166"/>
                  </a:lnTo>
                  <a:lnTo>
                    <a:pt x="1317" y="2169"/>
                  </a:lnTo>
                  <a:lnTo>
                    <a:pt x="1313" y="2171"/>
                  </a:lnTo>
                  <a:lnTo>
                    <a:pt x="1308" y="2173"/>
                  </a:lnTo>
                  <a:lnTo>
                    <a:pt x="1304" y="2175"/>
                  </a:lnTo>
                  <a:lnTo>
                    <a:pt x="1299" y="2176"/>
                  </a:lnTo>
                  <a:lnTo>
                    <a:pt x="1294" y="2177"/>
                  </a:lnTo>
                  <a:lnTo>
                    <a:pt x="1288" y="2177"/>
                  </a:lnTo>
                  <a:close/>
                  <a:moveTo>
                    <a:pt x="1173" y="2477"/>
                  </a:moveTo>
                  <a:lnTo>
                    <a:pt x="1272" y="2477"/>
                  </a:lnTo>
                  <a:lnTo>
                    <a:pt x="1223" y="2345"/>
                  </a:lnTo>
                  <a:lnTo>
                    <a:pt x="1173" y="2477"/>
                  </a:lnTo>
                  <a:close/>
                  <a:moveTo>
                    <a:pt x="1303" y="2558"/>
                  </a:moveTo>
                  <a:lnTo>
                    <a:pt x="1143" y="2558"/>
                  </a:lnTo>
                  <a:lnTo>
                    <a:pt x="1121" y="2616"/>
                  </a:lnTo>
                  <a:lnTo>
                    <a:pt x="1120" y="2618"/>
                  </a:lnTo>
                  <a:lnTo>
                    <a:pt x="1119" y="2620"/>
                  </a:lnTo>
                  <a:lnTo>
                    <a:pt x="1117" y="2622"/>
                  </a:lnTo>
                  <a:lnTo>
                    <a:pt x="1115" y="2623"/>
                  </a:lnTo>
                  <a:lnTo>
                    <a:pt x="1112" y="2625"/>
                  </a:lnTo>
                  <a:lnTo>
                    <a:pt x="1107" y="2625"/>
                  </a:lnTo>
                  <a:lnTo>
                    <a:pt x="1029" y="2625"/>
                  </a:lnTo>
                  <a:lnTo>
                    <a:pt x="1026" y="2625"/>
                  </a:lnTo>
                  <a:lnTo>
                    <a:pt x="1024" y="2624"/>
                  </a:lnTo>
                  <a:lnTo>
                    <a:pt x="1022" y="2623"/>
                  </a:lnTo>
                  <a:lnTo>
                    <a:pt x="1020" y="2622"/>
                  </a:lnTo>
                  <a:lnTo>
                    <a:pt x="1019" y="2620"/>
                  </a:lnTo>
                  <a:lnTo>
                    <a:pt x="1019" y="2617"/>
                  </a:lnTo>
                  <a:lnTo>
                    <a:pt x="1019" y="2615"/>
                  </a:lnTo>
                  <a:lnTo>
                    <a:pt x="1020" y="2612"/>
                  </a:lnTo>
                  <a:lnTo>
                    <a:pt x="1175" y="2216"/>
                  </a:lnTo>
                  <a:lnTo>
                    <a:pt x="1176" y="2214"/>
                  </a:lnTo>
                  <a:lnTo>
                    <a:pt x="1178" y="2212"/>
                  </a:lnTo>
                  <a:lnTo>
                    <a:pt x="1181" y="2209"/>
                  </a:lnTo>
                  <a:lnTo>
                    <a:pt x="1184" y="2207"/>
                  </a:lnTo>
                  <a:lnTo>
                    <a:pt x="1187" y="2207"/>
                  </a:lnTo>
                  <a:lnTo>
                    <a:pt x="1189" y="2207"/>
                  </a:lnTo>
                  <a:lnTo>
                    <a:pt x="1259" y="2207"/>
                  </a:lnTo>
                  <a:lnTo>
                    <a:pt x="1263" y="2207"/>
                  </a:lnTo>
                  <a:lnTo>
                    <a:pt x="1267" y="2209"/>
                  </a:lnTo>
                  <a:lnTo>
                    <a:pt x="1270" y="2212"/>
                  </a:lnTo>
                  <a:lnTo>
                    <a:pt x="1271" y="2214"/>
                  </a:lnTo>
                  <a:lnTo>
                    <a:pt x="1272" y="2216"/>
                  </a:lnTo>
                  <a:lnTo>
                    <a:pt x="1428" y="2612"/>
                  </a:lnTo>
                  <a:lnTo>
                    <a:pt x="1429" y="2615"/>
                  </a:lnTo>
                  <a:lnTo>
                    <a:pt x="1429" y="2617"/>
                  </a:lnTo>
                  <a:lnTo>
                    <a:pt x="1428" y="2620"/>
                  </a:lnTo>
                  <a:lnTo>
                    <a:pt x="1427" y="2622"/>
                  </a:lnTo>
                  <a:lnTo>
                    <a:pt x="1426" y="2623"/>
                  </a:lnTo>
                  <a:lnTo>
                    <a:pt x="1424" y="2624"/>
                  </a:lnTo>
                  <a:lnTo>
                    <a:pt x="1421" y="2625"/>
                  </a:lnTo>
                  <a:lnTo>
                    <a:pt x="1419" y="2625"/>
                  </a:lnTo>
                  <a:lnTo>
                    <a:pt x="1339" y="2625"/>
                  </a:lnTo>
                  <a:lnTo>
                    <a:pt x="1334" y="2625"/>
                  </a:lnTo>
                  <a:lnTo>
                    <a:pt x="1332" y="2624"/>
                  </a:lnTo>
                  <a:lnTo>
                    <a:pt x="1330" y="2623"/>
                  </a:lnTo>
                  <a:lnTo>
                    <a:pt x="1329" y="2622"/>
                  </a:lnTo>
                  <a:lnTo>
                    <a:pt x="1327" y="2620"/>
                  </a:lnTo>
                  <a:lnTo>
                    <a:pt x="1326" y="2618"/>
                  </a:lnTo>
                  <a:lnTo>
                    <a:pt x="1325" y="2616"/>
                  </a:lnTo>
                  <a:lnTo>
                    <a:pt x="1303" y="2558"/>
                  </a:lnTo>
                  <a:close/>
                  <a:moveTo>
                    <a:pt x="1156" y="2177"/>
                  </a:moveTo>
                  <a:lnTo>
                    <a:pt x="1151" y="2177"/>
                  </a:lnTo>
                  <a:lnTo>
                    <a:pt x="1146" y="2176"/>
                  </a:lnTo>
                  <a:lnTo>
                    <a:pt x="1141" y="2175"/>
                  </a:lnTo>
                  <a:lnTo>
                    <a:pt x="1136" y="2173"/>
                  </a:lnTo>
                  <a:lnTo>
                    <a:pt x="1128" y="2169"/>
                  </a:lnTo>
                  <a:lnTo>
                    <a:pt x="1124" y="2166"/>
                  </a:lnTo>
                  <a:lnTo>
                    <a:pt x="1121" y="2163"/>
                  </a:lnTo>
                  <a:lnTo>
                    <a:pt x="1118" y="2160"/>
                  </a:lnTo>
                  <a:lnTo>
                    <a:pt x="1115" y="2156"/>
                  </a:lnTo>
                  <a:lnTo>
                    <a:pt x="1112" y="2152"/>
                  </a:lnTo>
                  <a:lnTo>
                    <a:pt x="1110" y="2148"/>
                  </a:lnTo>
                  <a:lnTo>
                    <a:pt x="1109" y="2143"/>
                  </a:lnTo>
                  <a:lnTo>
                    <a:pt x="1108" y="2138"/>
                  </a:lnTo>
                  <a:lnTo>
                    <a:pt x="1107" y="2133"/>
                  </a:lnTo>
                  <a:lnTo>
                    <a:pt x="1107" y="2128"/>
                  </a:lnTo>
                  <a:lnTo>
                    <a:pt x="1107" y="2123"/>
                  </a:lnTo>
                  <a:lnTo>
                    <a:pt x="1108" y="2118"/>
                  </a:lnTo>
                  <a:lnTo>
                    <a:pt x="1109" y="2113"/>
                  </a:lnTo>
                  <a:lnTo>
                    <a:pt x="1110" y="2108"/>
                  </a:lnTo>
                  <a:lnTo>
                    <a:pt x="1112" y="2104"/>
                  </a:lnTo>
                  <a:lnTo>
                    <a:pt x="1115" y="2100"/>
                  </a:lnTo>
                  <a:lnTo>
                    <a:pt x="1118" y="2096"/>
                  </a:lnTo>
                  <a:lnTo>
                    <a:pt x="1121" y="2093"/>
                  </a:lnTo>
                  <a:lnTo>
                    <a:pt x="1124" y="2090"/>
                  </a:lnTo>
                  <a:lnTo>
                    <a:pt x="1128" y="2087"/>
                  </a:lnTo>
                  <a:lnTo>
                    <a:pt x="1132" y="2084"/>
                  </a:lnTo>
                  <a:lnTo>
                    <a:pt x="1136" y="2082"/>
                  </a:lnTo>
                  <a:lnTo>
                    <a:pt x="1141" y="2081"/>
                  </a:lnTo>
                  <a:lnTo>
                    <a:pt x="1146" y="2080"/>
                  </a:lnTo>
                  <a:lnTo>
                    <a:pt x="1151" y="2079"/>
                  </a:lnTo>
                  <a:lnTo>
                    <a:pt x="1156" y="2079"/>
                  </a:lnTo>
                  <a:lnTo>
                    <a:pt x="1162" y="2079"/>
                  </a:lnTo>
                  <a:lnTo>
                    <a:pt x="1167" y="2080"/>
                  </a:lnTo>
                  <a:lnTo>
                    <a:pt x="1172" y="2081"/>
                  </a:lnTo>
                  <a:lnTo>
                    <a:pt x="1176" y="2082"/>
                  </a:lnTo>
                  <a:lnTo>
                    <a:pt x="1185" y="2087"/>
                  </a:lnTo>
                  <a:lnTo>
                    <a:pt x="1189" y="2090"/>
                  </a:lnTo>
                  <a:lnTo>
                    <a:pt x="1192" y="2093"/>
                  </a:lnTo>
                  <a:lnTo>
                    <a:pt x="1195" y="2096"/>
                  </a:lnTo>
                  <a:lnTo>
                    <a:pt x="1198" y="2100"/>
                  </a:lnTo>
                  <a:lnTo>
                    <a:pt x="1200" y="2104"/>
                  </a:lnTo>
                  <a:lnTo>
                    <a:pt x="1202" y="2108"/>
                  </a:lnTo>
                  <a:lnTo>
                    <a:pt x="1204" y="2113"/>
                  </a:lnTo>
                  <a:lnTo>
                    <a:pt x="1205" y="2118"/>
                  </a:lnTo>
                  <a:lnTo>
                    <a:pt x="1206" y="2123"/>
                  </a:lnTo>
                  <a:lnTo>
                    <a:pt x="1206" y="2128"/>
                  </a:lnTo>
                  <a:lnTo>
                    <a:pt x="1206" y="2133"/>
                  </a:lnTo>
                  <a:lnTo>
                    <a:pt x="1205" y="2138"/>
                  </a:lnTo>
                  <a:lnTo>
                    <a:pt x="1204" y="2143"/>
                  </a:lnTo>
                  <a:lnTo>
                    <a:pt x="1202" y="2148"/>
                  </a:lnTo>
                  <a:lnTo>
                    <a:pt x="1200" y="2152"/>
                  </a:lnTo>
                  <a:lnTo>
                    <a:pt x="1198" y="2156"/>
                  </a:lnTo>
                  <a:lnTo>
                    <a:pt x="1195" y="2160"/>
                  </a:lnTo>
                  <a:lnTo>
                    <a:pt x="1192" y="2163"/>
                  </a:lnTo>
                  <a:lnTo>
                    <a:pt x="1189" y="2166"/>
                  </a:lnTo>
                  <a:lnTo>
                    <a:pt x="1185" y="2169"/>
                  </a:lnTo>
                  <a:lnTo>
                    <a:pt x="1181" y="2171"/>
                  </a:lnTo>
                  <a:lnTo>
                    <a:pt x="1176" y="2173"/>
                  </a:lnTo>
                  <a:lnTo>
                    <a:pt x="1172" y="2175"/>
                  </a:lnTo>
                  <a:lnTo>
                    <a:pt x="1167" y="2176"/>
                  </a:lnTo>
                  <a:lnTo>
                    <a:pt x="1162" y="2177"/>
                  </a:lnTo>
                  <a:lnTo>
                    <a:pt x="1156" y="2177"/>
                  </a:lnTo>
                  <a:close/>
                  <a:moveTo>
                    <a:pt x="1624" y="2446"/>
                  </a:moveTo>
                  <a:lnTo>
                    <a:pt x="1624" y="2615"/>
                  </a:lnTo>
                  <a:lnTo>
                    <a:pt x="1624" y="2617"/>
                  </a:lnTo>
                  <a:lnTo>
                    <a:pt x="1623" y="2619"/>
                  </a:lnTo>
                  <a:lnTo>
                    <a:pt x="1622" y="2622"/>
                  </a:lnTo>
                  <a:lnTo>
                    <a:pt x="1620" y="2623"/>
                  </a:lnTo>
                  <a:lnTo>
                    <a:pt x="1619" y="2624"/>
                  </a:lnTo>
                  <a:lnTo>
                    <a:pt x="1617" y="2625"/>
                  </a:lnTo>
                  <a:lnTo>
                    <a:pt x="1615" y="2625"/>
                  </a:lnTo>
                  <a:lnTo>
                    <a:pt x="1536" y="2625"/>
                  </a:lnTo>
                  <a:lnTo>
                    <a:pt x="1532" y="2624"/>
                  </a:lnTo>
                  <a:lnTo>
                    <a:pt x="1529" y="2622"/>
                  </a:lnTo>
                  <a:lnTo>
                    <a:pt x="1527" y="2619"/>
                  </a:lnTo>
                  <a:lnTo>
                    <a:pt x="1527" y="2617"/>
                  </a:lnTo>
                  <a:lnTo>
                    <a:pt x="1526" y="2615"/>
                  </a:lnTo>
                  <a:lnTo>
                    <a:pt x="1526" y="2446"/>
                  </a:lnTo>
                  <a:lnTo>
                    <a:pt x="1430" y="2220"/>
                  </a:lnTo>
                  <a:lnTo>
                    <a:pt x="1429" y="2217"/>
                  </a:lnTo>
                  <a:lnTo>
                    <a:pt x="1429" y="2214"/>
                  </a:lnTo>
                  <a:lnTo>
                    <a:pt x="1429" y="2212"/>
                  </a:lnTo>
                  <a:lnTo>
                    <a:pt x="1430" y="2210"/>
                  </a:lnTo>
                  <a:lnTo>
                    <a:pt x="1431" y="2209"/>
                  </a:lnTo>
                  <a:lnTo>
                    <a:pt x="1432" y="2208"/>
                  </a:lnTo>
                  <a:lnTo>
                    <a:pt x="1434" y="2207"/>
                  </a:lnTo>
                  <a:lnTo>
                    <a:pt x="1437" y="2207"/>
                  </a:lnTo>
                  <a:lnTo>
                    <a:pt x="1516" y="2207"/>
                  </a:lnTo>
                  <a:lnTo>
                    <a:pt x="1520" y="2207"/>
                  </a:lnTo>
                  <a:lnTo>
                    <a:pt x="1523" y="2208"/>
                  </a:lnTo>
                  <a:lnTo>
                    <a:pt x="1524" y="2209"/>
                  </a:lnTo>
                  <a:lnTo>
                    <a:pt x="1526" y="2210"/>
                  </a:lnTo>
                  <a:lnTo>
                    <a:pt x="1528" y="2211"/>
                  </a:lnTo>
                  <a:lnTo>
                    <a:pt x="1529" y="2213"/>
                  </a:lnTo>
                  <a:lnTo>
                    <a:pt x="1530" y="2215"/>
                  </a:lnTo>
                  <a:lnTo>
                    <a:pt x="1577" y="2342"/>
                  </a:lnTo>
                  <a:lnTo>
                    <a:pt x="1621" y="2215"/>
                  </a:lnTo>
                  <a:lnTo>
                    <a:pt x="1622" y="2213"/>
                  </a:lnTo>
                  <a:lnTo>
                    <a:pt x="1623" y="2211"/>
                  </a:lnTo>
                  <a:lnTo>
                    <a:pt x="1625" y="2210"/>
                  </a:lnTo>
                  <a:lnTo>
                    <a:pt x="1627" y="2209"/>
                  </a:lnTo>
                  <a:lnTo>
                    <a:pt x="1629" y="2208"/>
                  </a:lnTo>
                  <a:lnTo>
                    <a:pt x="1631" y="2207"/>
                  </a:lnTo>
                  <a:lnTo>
                    <a:pt x="1635" y="2207"/>
                  </a:lnTo>
                  <a:lnTo>
                    <a:pt x="1712" y="2207"/>
                  </a:lnTo>
                  <a:lnTo>
                    <a:pt x="1714" y="2207"/>
                  </a:lnTo>
                  <a:lnTo>
                    <a:pt x="1716" y="2208"/>
                  </a:lnTo>
                  <a:lnTo>
                    <a:pt x="1717" y="2209"/>
                  </a:lnTo>
                  <a:lnTo>
                    <a:pt x="1718" y="2210"/>
                  </a:lnTo>
                  <a:lnTo>
                    <a:pt x="1719" y="2212"/>
                  </a:lnTo>
                  <a:lnTo>
                    <a:pt x="1719" y="2214"/>
                  </a:lnTo>
                  <a:lnTo>
                    <a:pt x="1719" y="2217"/>
                  </a:lnTo>
                  <a:lnTo>
                    <a:pt x="1718" y="2220"/>
                  </a:lnTo>
                  <a:lnTo>
                    <a:pt x="1624" y="2446"/>
                  </a:lnTo>
                  <a:close/>
                  <a:moveTo>
                    <a:pt x="1929" y="2536"/>
                  </a:moveTo>
                  <a:lnTo>
                    <a:pt x="1941" y="2536"/>
                  </a:lnTo>
                  <a:lnTo>
                    <a:pt x="1947" y="2535"/>
                  </a:lnTo>
                  <a:lnTo>
                    <a:pt x="1953" y="2534"/>
                  </a:lnTo>
                  <a:lnTo>
                    <a:pt x="1964" y="2532"/>
                  </a:lnTo>
                  <a:lnTo>
                    <a:pt x="1975" y="2528"/>
                  </a:lnTo>
                  <a:lnTo>
                    <a:pt x="1980" y="2526"/>
                  </a:lnTo>
                  <a:lnTo>
                    <a:pt x="1985" y="2524"/>
                  </a:lnTo>
                  <a:lnTo>
                    <a:pt x="1995" y="2519"/>
                  </a:lnTo>
                  <a:lnTo>
                    <a:pt x="2004" y="2512"/>
                  </a:lnTo>
                  <a:lnTo>
                    <a:pt x="2012" y="2505"/>
                  </a:lnTo>
                  <a:lnTo>
                    <a:pt x="2019" y="2497"/>
                  </a:lnTo>
                  <a:lnTo>
                    <a:pt x="2026" y="2488"/>
                  </a:lnTo>
                  <a:lnTo>
                    <a:pt x="2032" y="2478"/>
                  </a:lnTo>
                  <a:lnTo>
                    <a:pt x="2034" y="2473"/>
                  </a:lnTo>
                  <a:lnTo>
                    <a:pt x="2036" y="2467"/>
                  </a:lnTo>
                  <a:lnTo>
                    <a:pt x="2038" y="2461"/>
                  </a:lnTo>
                  <a:lnTo>
                    <a:pt x="2040" y="2455"/>
                  </a:lnTo>
                  <a:lnTo>
                    <a:pt x="2043" y="2443"/>
                  </a:lnTo>
                  <a:lnTo>
                    <a:pt x="2045" y="2430"/>
                  </a:lnTo>
                  <a:lnTo>
                    <a:pt x="2045" y="2423"/>
                  </a:lnTo>
                  <a:lnTo>
                    <a:pt x="2045" y="2416"/>
                  </a:lnTo>
                  <a:lnTo>
                    <a:pt x="2045" y="2402"/>
                  </a:lnTo>
                  <a:lnTo>
                    <a:pt x="2043" y="2388"/>
                  </a:lnTo>
                  <a:lnTo>
                    <a:pt x="2040" y="2376"/>
                  </a:lnTo>
                  <a:lnTo>
                    <a:pt x="2036" y="2364"/>
                  </a:lnTo>
                  <a:lnTo>
                    <a:pt x="2032" y="2354"/>
                  </a:lnTo>
                  <a:lnTo>
                    <a:pt x="2026" y="2344"/>
                  </a:lnTo>
                  <a:lnTo>
                    <a:pt x="2023" y="2339"/>
                  </a:lnTo>
                  <a:lnTo>
                    <a:pt x="2019" y="2335"/>
                  </a:lnTo>
                  <a:lnTo>
                    <a:pt x="2012" y="2326"/>
                  </a:lnTo>
                  <a:lnTo>
                    <a:pt x="2008" y="2323"/>
                  </a:lnTo>
                  <a:lnTo>
                    <a:pt x="2004" y="2319"/>
                  </a:lnTo>
                  <a:lnTo>
                    <a:pt x="1995" y="2313"/>
                  </a:lnTo>
                  <a:lnTo>
                    <a:pt x="1990" y="2310"/>
                  </a:lnTo>
                  <a:lnTo>
                    <a:pt x="1985" y="2308"/>
                  </a:lnTo>
                  <a:lnTo>
                    <a:pt x="1980" y="2305"/>
                  </a:lnTo>
                  <a:lnTo>
                    <a:pt x="1975" y="2303"/>
                  </a:lnTo>
                  <a:lnTo>
                    <a:pt x="1964" y="2300"/>
                  </a:lnTo>
                  <a:lnTo>
                    <a:pt x="1953" y="2297"/>
                  </a:lnTo>
                  <a:lnTo>
                    <a:pt x="1947" y="2296"/>
                  </a:lnTo>
                  <a:lnTo>
                    <a:pt x="1941" y="2296"/>
                  </a:lnTo>
                  <a:lnTo>
                    <a:pt x="1929" y="2295"/>
                  </a:lnTo>
                  <a:lnTo>
                    <a:pt x="1888" y="2295"/>
                  </a:lnTo>
                  <a:lnTo>
                    <a:pt x="1888" y="2536"/>
                  </a:lnTo>
                  <a:lnTo>
                    <a:pt x="1929" y="2536"/>
                  </a:lnTo>
                  <a:close/>
                  <a:moveTo>
                    <a:pt x="1928" y="2207"/>
                  </a:moveTo>
                  <a:lnTo>
                    <a:pt x="1941" y="2207"/>
                  </a:lnTo>
                  <a:lnTo>
                    <a:pt x="1953" y="2207"/>
                  </a:lnTo>
                  <a:lnTo>
                    <a:pt x="1966" y="2209"/>
                  </a:lnTo>
                  <a:lnTo>
                    <a:pt x="1978" y="2210"/>
                  </a:lnTo>
                  <a:lnTo>
                    <a:pt x="1989" y="2212"/>
                  </a:lnTo>
                  <a:lnTo>
                    <a:pt x="2001" y="2215"/>
                  </a:lnTo>
                  <a:lnTo>
                    <a:pt x="2011" y="2218"/>
                  </a:lnTo>
                  <a:lnTo>
                    <a:pt x="2022" y="2222"/>
                  </a:lnTo>
                  <a:lnTo>
                    <a:pt x="2032" y="2225"/>
                  </a:lnTo>
                  <a:lnTo>
                    <a:pt x="2042" y="2230"/>
                  </a:lnTo>
                  <a:lnTo>
                    <a:pt x="2051" y="2235"/>
                  </a:lnTo>
                  <a:lnTo>
                    <a:pt x="2061" y="2240"/>
                  </a:lnTo>
                  <a:lnTo>
                    <a:pt x="2069" y="2245"/>
                  </a:lnTo>
                  <a:lnTo>
                    <a:pt x="2078" y="2251"/>
                  </a:lnTo>
                  <a:lnTo>
                    <a:pt x="2085" y="2257"/>
                  </a:lnTo>
                  <a:lnTo>
                    <a:pt x="2093" y="2264"/>
                  </a:lnTo>
                  <a:lnTo>
                    <a:pt x="2100" y="2271"/>
                  </a:lnTo>
                  <a:lnTo>
                    <a:pt x="2107" y="2279"/>
                  </a:lnTo>
                  <a:lnTo>
                    <a:pt x="2113" y="2286"/>
                  </a:lnTo>
                  <a:lnTo>
                    <a:pt x="2119" y="2294"/>
                  </a:lnTo>
                  <a:lnTo>
                    <a:pt x="2121" y="2299"/>
                  </a:lnTo>
                  <a:lnTo>
                    <a:pt x="2124" y="2303"/>
                  </a:lnTo>
                  <a:lnTo>
                    <a:pt x="2129" y="2312"/>
                  </a:lnTo>
                  <a:lnTo>
                    <a:pt x="2133" y="2321"/>
                  </a:lnTo>
                  <a:lnTo>
                    <a:pt x="2137" y="2330"/>
                  </a:lnTo>
                  <a:lnTo>
                    <a:pt x="2141" y="2340"/>
                  </a:lnTo>
                  <a:lnTo>
                    <a:pt x="2144" y="2350"/>
                  </a:lnTo>
                  <a:lnTo>
                    <a:pt x="2147" y="2360"/>
                  </a:lnTo>
                  <a:lnTo>
                    <a:pt x="2149" y="2371"/>
                  </a:lnTo>
                  <a:lnTo>
                    <a:pt x="2151" y="2382"/>
                  </a:lnTo>
                  <a:lnTo>
                    <a:pt x="2152" y="2393"/>
                  </a:lnTo>
                  <a:lnTo>
                    <a:pt x="2153" y="2404"/>
                  </a:lnTo>
                  <a:lnTo>
                    <a:pt x="2153" y="2416"/>
                  </a:lnTo>
                  <a:lnTo>
                    <a:pt x="2153" y="2427"/>
                  </a:lnTo>
                  <a:lnTo>
                    <a:pt x="2152" y="2439"/>
                  </a:lnTo>
                  <a:lnTo>
                    <a:pt x="2151" y="2450"/>
                  </a:lnTo>
                  <a:lnTo>
                    <a:pt x="2149" y="2461"/>
                  </a:lnTo>
                  <a:lnTo>
                    <a:pt x="2147" y="2471"/>
                  </a:lnTo>
                  <a:lnTo>
                    <a:pt x="2144" y="2481"/>
                  </a:lnTo>
                  <a:lnTo>
                    <a:pt x="2141" y="2491"/>
                  </a:lnTo>
                  <a:lnTo>
                    <a:pt x="2137" y="2501"/>
                  </a:lnTo>
                  <a:lnTo>
                    <a:pt x="2133" y="2511"/>
                  </a:lnTo>
                  <a:lnTo>
                    <a:pt x="2129" y="2520"/>
                  </a:lnTo>
                  <a:lnTo>
                    <a:pt x="2124" y="2528"/>
                  </a:lnTo>
                  <a:lnTo>
                    <a:pt x="2119" y="2537"/>
                  </a:lnTo>
                  <a:lnTo>
                    <a:pt x="2113" y="2545"/>
                  </a:lnTo>
                  <a:lnTo>
                    <a:pt x="2107" y="2553"/>
                  </a:lnTo>
                  <a:lnTo>
                    <a:pt x="2100" y="2560"/>
                  </a:lnTo>
                  <a:lnTo>
                    <a:pt x="2093" y="2567"/>
                  </a:lnTo>
                  <a:lnTo>
                    <a:pt x="2085" y="2574"/>
                  </a:lnTo>
                  <a:lnTo>
                    <a:pt x="2078" y="2580"/>
                  </a:lnTo>
                  <a:lnTo>
                    <a:pt x="2069" y="2586"/>
                  </a:lnTo>
                  <a:lnTo>
                    <a:pt x="2061" y="2592"/>
                  </a:lnTo>
                  <a:lnTo>
                    <a:pt x="2051" y="2597"/>
                  </a:lnTo>
                  <a:lnTo>
                    <a:pt x="2042" y="2602"/>
                  </a:lnTo>
                  <a:lnTo>
                    <a:pt x="2032" y="2606"/>
                  </a:lnTo>
                  <a:lnTo>
                    <a:pt x="2022" y="2610"/>
                  </a:lnTo>
                  <a:lnTo>
                    <a:pt x="2011" y="2613"/>
                  </a:lnTo>
                  <a:lnTo>
                    <a:pt x="2001" y="2616"/>
                  </a:lnTo>
                  <a:lnTo>
                    <a:pt x="1989" y="2619"/>
                  </a:lnTo>
                  <a:lnTo>
                    <a:pt x="1978" y="2621"/>
                  </a:lnTo>
                  <a:lnTo>
                    <a:pt x="1966" y="2623"/>
                  </a:lnTo>
                  <a:lnTo>
                    <a:pt x="1953" y="2624"/>
                  </a:lnTo>
                  <a:lnTo>
                    <a:pt x="1941" y="2625"/>
                  </a:lnTo>
                  <a:lnTo>
                    <a:pt x="1928" y="2625"/>
                  </a:lnTo>
                  <a:lnTo>
                    <a:pt x="1795" y="2625"/>
                  </a:lnTo>
                  <a:lnTo>
                    <a:pt x="1791" y="2624"/>
                  </a:lnTo>
                  <a:lnTo>
                    <a:pt x="1788" y="2622"/>
                  </a:lnTo>
                  <a:lnTo>
                    <a:pt x="1787" y="2621"/>
                  </a:lnTo>
                  <a:lnTo>
                    <a:pt x="1786" y="2619"/>
                  </a:lnTo>
                  <a:lnTo>
                    <a:pt x="1785" y="2617"/>
                  </a:lnTo>
                  <a:lnTo>
                    <a:pt x="1785" y="2615"/>
                  </a:lnTo>
                  <a:lnTo>
                    <a:pt x="1785" y="2217"/>
                  </a:lnTo>
                  <a:lnTo>
                    <a:pt x="1785" y="2214"/>
                  </a:lnTo>
                  <a:lnTo>
                    <a:pt x="1786" y="2212"/>
                  </a:lnTo>
                  <a:lnTo>
                    <a:pt x="1788" y="2209"/>
                  </a:lnTo>
                  <a:lnTo>
                    <a:pt x="1789" y="2208"/>
                  </a:lnTo>
                  <a:lnTo>
                    <a:pt x="1791" y="2207"/>
                  </a:lnTo>
                  <a:lnTo>
                    <a:pt x="1795" y="2207"/>
                  </a:lnTo>
                  <a:lnTo>
                    <a:pt x="1928" y="2207"/>
                  </a:lnTo>
                  <a:close/>
                  <a:moveTo>
                    <a:pt x="2397" y="2177"/>
                  </a:moveTo>
                  <a:lnTo>
                    <a:pt x="2392" y="2177"/>
                  </a:lnTo>
                  <a:lnTo>
                    <a:pt x="2386" y="2176"/>
                  </a:lnTo>
                  <a:lnTo>
                    <a:pt x="2382" y="2175"/>
                  </a:lnTo>
                  <a:lnTo>
                    <a:pt x="2377" y="2173"/>
                  </a:lnTo>
                  <a:lnTo>
                    <a:pt x="2368" y="2169"/>
                  </a:lnTo>
                  <a:lnTo>
                    <a:pt x="2365" y="2166"/>
                  </a:lnTo>
                  <a:lnTo>
                    <a:pt x="2361" y="2163"/>
                  </a:lnTo>
                  <a:lnTo>
                    <a:pt x="2358" y="2160"/>
                  </a:lnTo>
                  <a:lnTo>
                    <a:pt x="2355" y="2156"/>
                  </a:lnTo>
                  <a:lnTo>
                    <a:pt x="2353" y="2152"/>
                  </a:lnTo>
                  <a:lnTo>
                    <a:pt x="2351" y="2148"/>
                  </a:lnTo>
                  <a:lnTo>
                    <a:pt x="2349" y="2143"/>
                  </a:lnTo>
                  <a:lnTo>
                    <a:pt x="2348" y="2138"/>
                  </a:lnTo>
                  <a:lnTo>
                    <a:pt x="2347" y="2133"/>
                  </a:lnTo>
                  <a:lnTo>
                    <a:pt x="2347" y="2128"/>
                  </a:lnTo>
                  <a:lnTo>
                    <a:pt x="2347" y="2123"/>
                  </a:lnTo>
                  <a:lnTo>
                    <a:pt x="2348" y="2118"/>
                  </a:lnTo>
                  <a:lnTo>
                    <a:pt x="2349" y="2113"/>
                  </a:lnTo>
                  <a:lnTo>
                    <a:pt x="2351" y="2108"/>
                  </a:lnTo>
                  <a:lnTo>
                    <a:pt x="2353" y="2104"/>
                  </a:lnTo>
                  <a:lnTo>
                    <a:pt x="2355" y="2100"/>
                  </a:lnTo>
                  <a:lnTo>
                    <a:pt x="2358" y="2096"/>
                  </a:lnTo>
                  <a:lnTo>
                    <a:pt x="2361" y="2093"/>
                  </a:lnTo>
                  <a:lnTo>
                    <a:pt x="2365" y="2090"/>
                  </a:lnTo>
                  <a:lnTo>
                    <a:pt x="2368" y="2087"/>
                  </a:lnTo>
                  <a:lnTo>
                    <a:pt x="2373" y="2084"/>
                  </a:lnTo>
                  <a:lnTo>
                    <a:pt x="2377" y="2082"/>
                  </a:lnTo>
                  <a:lnTo>
                    <a:pt x="2382" y="2081"/>
                  </a:lnTo>
                  <a:lnTo>
                    <a:pt x="2386" y="2080"/>
                  </a:lnTo>
                  <a:lnTo>
                    <a:pt x="2392" y="2079"/>
                  </a:lnTo>
                  <a:lnTo>
                    <a:pt x="2397" y="2079"/>
                  </a:lnTo>
                  <a:lnTo>
                    <a:pt x="2402" y="2079"/>
                  </a:lnTo>
                  <a:lnTo>
                    <a:pt x="2407" y="2080"/>
                  </a:lnTo>
                  <a:lnTo>
                    <a:pt x="2412" y="2081"/>
                  </a:lnTo>
                  <a:lnTo>
                    <a:pt x="2417" y="2082"/>
                  </a:lnTo>
                  <a:lnTo>
                    <a:pt x="2425" y="2087"/>
                  </a:lnTo>
                  <a:lnTo>
                    <a:pt x="2429" y="2090"/>
                  </a:lnTo>
                  <a:lnTo>
                    <a:pt x="2433" y="2093"/>
                  </a:lnTo>
                  <a:lnTo>
                    <a:pt x="2436" y="2096"/>
                  </a:lnTo>
                  <a:lnTo>
                    <a:pt x="2438" y="2100"/>
                  </a:lnTo>
                  <a:lnTo>
                    <a:pt x="2441" y="2104"/>
                  </a:lnTo>
                  <a:lnTo>
                    <a:pt x="2443" y="2108"/>
                  </a:lnTo>
                  <a:lnTo>
                    <a:pt x="2444" y="2113"/>
                  </a:lnTo>
                  <a:lnTo>
                    <a:pt x="2446" y="2118"/>
                  </a:lnTo>
                  <a:lnTo>
                    <a:pt x="2446" y="2123"/>
                  </a:lnTo>
                  <a:lnTo>
                    <a:pt x="2447" y="2128"/>
                  </a:lnTo>
                  <a:lnTo>
                    <a:pt x="2446" y="2133"/>
                  </a:lnTo>
                  <a:lnTo>
                    <a:pt x="2446" y="2138"/>
                  </a:lnTo>
                  <a:lnTo>
                    <a:pt x="2444" y="2143"/>
                  </a:lnTo>
                  <a:lnTo>
                    <a:pt x="2443" y="2148"/>
                  </a:lnTo>
                  <a:lnTo>
                    <a:pt x="2441" y="2152"/>
                  </a:lnTo>
                  <a:lnTo>
                    <a:pt x="2438" y="2156"/>
                  </a:lnTo>
                  <a:lnTo>
                    <a:pt x="2436" y="2160"/>
                  </a:lnTo>
                  <a:lnTo>
                    <a:pt x="2433" y="2163"/>
                  </a:lnTo>
                  <a:lnTo>
                    <a:pt x="2429" y="2166"/>
                  </a:lnTo>
                  <a:lnTo>
                    <a:pt x="2425" y="2169"/>
                  </a:lnTo>
                  <a:lnTo>
                    <a:pt x="2421" y="2171"/>
                  </a:lnTo>
                  <a:lnTo>
                    <a:pt x="2417" y="2173"/>
                  </a:lnTo>
                  <a:lnTo>
                    <a:pt x="2412" y="2175"/>
                  </a:lnTo>
                  <a:lnTo>
                    <a:pt x="2407" y="2176"/>
                  </a:lnTo>
                  <a:lnTo>
                    <a:pt x="2402" y="2177"/>
                  </a:lnTo>
                  <a:lnTo>
                    <a:pt x="2397" y="2177"/>
                  </a:lnTo>
                  <a:close/>
                  <a:moveTo>
                    <a:pt x="2303" y="2480"/>
                  </a:moveTo>
                  <a:lnTo>
                    <a:pt x="2357" y="2480"/>
                  </a:lnTo>
                  <a:lnTo>
                    <a:pt x="2331" y="2354"/>
                  </a:lnTo>
                  <a:lnTo>
                    <a:pt x="2303" y="2480"/>
                  </a:lnTo>
                  <a:close/>
                  <a:moveTo>
                    <a:pt x="2372" y="2558"/>
                  </a:moveTo>
                  <a:lnTo>
                    <a:pt x="2289" y="2558"/>
                  </a:lnTo>
                  <a:lnTo>
                    <a:pt x="2277" y="2615"/>
                  </a:lnTo>
                  <a:lnTo>
                    <a:pt x="2276" y="2618"/>
                  </a:lnTo>
                  <a:lnTo>
                    <a:pt x="2275" y="2620"/>
                  </a:lnTo>
                  <a:lnTo>
                    <a:pt x="2273" y="2623"/>
                  </a:lnTo>
                  <a:lnTo>
                    <a:pt x="2271" y="2624"/>
                  </a:lnTo>
                  <a:lnTo>
                    <a:pt x="2269" y="2625"/>
                  </a:lnTo>
                  <a:lnTo>
                    <a:pt x="2267" y="2625"/>
                  </a:lnTo>
                  <a:lnTo>
                    <a:pt x="2265" y="2625"/>
                  </a:lnTo>
                  <a:lnTo>
                    <a:pt x="2192" y="2625"/>
                  </a:lnTo>
                  <a:lnTo>
                    <a:pt x="2190" y="2625"/>
                  </a:lnTo>
                  <a:lnTo>
                    <a:pt x="2188" y="2624"/>
                  </a:lnTo>
                  <a:lnTo>
                    <a:pt x="2187" y="2623"/>
                  </a:lnTo>
                  <a:lnTo>
                    <a:pt x="2185" y="2622"/>
                  </a:lnTo>
                  <a:lnTo>
                    <a:pt x="2184" y="2620"/>
                  </a:lnTo>
                  <a:lnTo>
                    <a:pt x="2184" y="2618"/>
                  </a:lnTo>
                  <a:lnTo>
                    <a:pt x="2185" y="2612"/>
                  </a:lnTo>
                  <a:lnTo>
                    <a:pt x="2277" y="2217"/>
                  </a:lnTo>
                  <a:lnTo>
                    <a:pt x="2278" y="2214"/>
                  </a:lnTo>
                  <a:lnTo>
                    <a:pt x="2279" y="2212"/>
                  </a:lnTo>
                  <a:lnTo>
                    <a:pt x="2281" y="2209"/>
                  </a:lnTo>
                  <a:lnTo>
                    <a:pt x="2283" y="2208"/>
                  </a:lnTo>
                  <a:lnTo>
                    <a:pt x="2285" y="2207"/>
                  </a:lnTo>
                  <a:lnTo>
                    <a:pt x="2290" y="2207"/>
                  </a:lnTo>
                  <a:lnTo>
                    <a:pt x="2372" y="2207"/>
                  </a:lnTo>
                  <a:lnTo>
                    <a:pt x="2375" y="2207"/>
                  </a:lnTo>
                  <a:lnTo>
                    <a:pt x="2377" y="2207"/>
                  </a:lnTo>
                  <a:lnTo>
                    <a:pt x="2381" y="2209"/>
                  </a:lnTo>
                  <a:lnTo>
                    <a:pt x="2384" y="2212"/>
                  </a:lnTo>
                  <a:lnTo>
                    <a:pt x="2384" y="2214"/>
                  </a:lnTo>
                  <a:lnTo>
                    <a:pt x="2385" y="2217"/>
                  </a:lnTo>
                  <a:lnTo>
                    <a:pt x="2477" y="2612"/>
                  </a:lnTo>
                  <a:lnTo>
                    <a:pt x="2478" y="2618"/>
                  </a:lnTo>
                  <a:lnTo>
                    <a:pt x="2478" y="2620"/>
                  </a:lnTo>
                  <a:lnTo>
                    <a:pt x="2477" y="2622"/>
                  </a:lnTo>
                  <a:lnTo>
                    <a:pt x="2476" y="2623"/>
                  </a:lnTo>
                  <a:lnTo>
                    <a:pt x="2474" y="2624"/>
                  </a:lnTo>
                  <a:lnTo>
                    <a:pt x="2470" y="2625"/>
                  </a:lnTo>
                  <a:lnTo>
                    <a:pt x="2395" y="2625"/>
                  </a:lnTo>
                  <a:lnTo>
                    <a:pt x="2391" y="2625"/>
                  </a:lnTo>
                  <a:lnTo>
                    <a:pt x="2388" y="2623"/>
                  </a:lnTo>
                  <a:lnTo>
                    <a:pt x="2386" y="2621"/>
                  </a:lnTo>
                  <a:lnTo>
                    <a:pt x="2385" y="2620"/>
                  </a:lnTo>
                  <a:lnTo>
                    <a:pt x="2384" y="2618"/>
                  </a:lnTo>
                  <a:lnTo>
                    <a:pt x="2383" y="2615"/>
                  </a:lnTo>
                  <a:lnTo>
                    <a:pt x="2372" y="2558"/>
                  </a:lnTo>
                  <a:close/>
                  <a:moveTo>
                    <a:pt x="2264" y="2177"/>
                  </a:moveTo>
                  <a:lnTo>
                    <a:pt x="2259" y="2177"/>
                  </a:lnTo>
                  <a:lnTo>
                    <a:pt x="2254" y="2176"/>
                  </a:lnTo>
                  <a:lnTo>
                    <a:pt x="2249" y="2175"/>
                  </a:lnTo>
                  <a:lnTo>
                    <a:pt x="2244" y="2173"/>
                  </a:lnTo>
                  <a:lnTo>
                    <a:pt x="2236" y="2169"/>
                  </a:lnTo>
                  <a:lnTo>
                    <a:pt x="2232" y="2166"/>
                  </a:lnTo>
                  <a:lnTo>
                    <a:pt x="2228" y="2163"/>
                  </a:lnTo>
                  <a:lnTo>
                    <a:pt x="2225" y="2160"/>
                  </a:lnTo>
                  <a:lnTo>
                    <a:pt x="2222" y="2156"/>
                  </a:lnTo>
                  <a:lnTo>
                    <a:pt x="2220" y="2152"/>
                  </a:lnTo>
                  <a:lnTo>
                    <a:pt x="2218" y="2148"/>
                  </a:lnTo>
                  <a:lnTo>
                    <a:pt x="2216" y="2143"/>
                  </a:lnTo>
                  <a:lnTo>
                    <a:pt x="2215" y="2138"/>
                  </a:lnTo>
                  <a:lnTo>
                    <a:pt x="2215" y="2133"/>
                  </a:lnTo>
                  <a:lnTo>
                    <a:pt x="2214" y="2128"/>
                  </a:lnTo>
                  <a:lnTo>
                    <a:pt x="2215" y="2123"/>
                  </a:lnTo>
                  <a:lnTo>
                    <a:pt x="2215" y="2118"/>
                  </a:lnTo>
                  <a:lnTo>
                    <a:pt x="2216" y="2113"/>
                  </a:lnTo>
                  <a:lnTo>
                    <a:pt x="2218" y="2108"/>
                  </a:lnTo>
                  <a:lnTo>
                    <a:pt x="2220" y="2104"/>
                  </a:lnTo>
                  <a:lnTo>
                    <a:pt x="2222" y="2100"/>
                  </a:lnTo>
                  <a:lnTo>
                    <a:pt x="2225" y="2096"/>
                  </a:lnTo>
                  <a:lnTo>
                    <a:pt x="2228" y="2093"/>
                  </a:lnTo>
                  <a:lnTo>
                    <a:pt x="2232" y="2090"/>
                  </a:lnTo>
                  <a:lnTo>
                    <a:pt x="2236" y="2087"/>
                  </a:lnTo>
                  <a:lnTo>
                    <a:pt x="2240" y="2084"/>
                  </a:lnTo>
                  <a:lnTo>
                    <a:pt x="2244" y="2082"/>
                  </a:lnTo>
                  <a:lnTo>
                    <a:pt x="2249" y="2081"/>
                  </a:lnTo>
                  <a:lnTo>
                    <a:pt x="2254" y="2080"/>
                  </a:lnTo>
                  <a:lnTo>
                    <a:pt x="2259" y="2079"/>
                  </a:lnTo>
                  <a:lnTo>
                    <a:pt x="2264" y="2079"/>
                  </a:lnTo>
                  <a:lnTo>
                    <a:pt x="2269" y="2079"/>
                  </a:lnTo>
                  <a:lnTo>
                    <a:pt x="2274" y="2080"/>
                  </a:lnTo>
                  <a:lnTo>
                    <a:pt x="2279" y="2081"/>
                  </a:lnTo>
                  <a:lnTo>
                    <a:pt x="2284" y="2082"/>
                  </a:lnTo>
                  <a:lnTo>
                    <a:pt x="2292" y="2087"/>
                  </a:lnTo>
                  <a:lnTo>
                    <a:pt x="2296" y="2090"/>
                  </a:lnTo>
                  <a:lnTo>
                    <a:pt x="2300" y="2093"/>
                  </a:lnTo>
                  <a:lnTo>
                    <a:pt x="2303" y="2096"/>
                  </a:lnTo>
                  <a:lnTo>
                    <a:pt x="2306" y="2100"/>
                  </a:lnTo>
                  <a:lnTo>
                    <a:pt x="2308" y="2104"/>
                  </a:lnTo>
                  <a:lnTo>
                    <a:pt x="2310" y="2108"/>
                  </a:lnTo>
                  <a:lnTo>
                    <a:pt x="2313" y="2113"/>
                  </a:lnTo>
                  <a:lnTo>
                    <a:pt x="2314" y="2118"/>
                  </a:lnTo>
                  <a:lnTo>
                    <a:pt x="2314" y="2123"/>
                  </a:lnTo>
                  <a:lnTo>
                    <a:pt x="2315" y="2128"/>
                  </a:lnTo>
                  <a:lnTo>
                    <a:pt x="2314" y="2133"/>
                  </a:lnTo>
                  <a:lnTo>
                    <a:pt x="2314" y="2138"/>
                  </a:lnTo>
                  <a:lnTo>
                    <a:pt x="2313" y="2143"/>
                  </a:lnTo>
                  <a:lnTo>
                    <a:pt x="2310" y="2148"/>
                  </a:lnTo>
                  <a:lnTo>
                    <a:pt x="2308" y="2152"/>
                  </a:lnTo>
                  <a:lnTo>
                    <a:pt x="2306" y="2156"/>
                  </a:lnTo>
                  <a:lnTo>
                    <a:pt x="2303" y="2160"/>
                  </a:lnTo>
                  <a:lnTo>
                    <a:pt x="2300" y="2163"/>
                  </a:lnTo>
                  <a:lnTo>
                    <a:pt x="2296" y="2166"/>
                  </a:lnTo>
                  <a:lnTo>
                    <a:pt x="2292" y="2169"/>
                  </a:lnTo>
                  <a:lnTo>
                    <a:pt x="2288" y="2171"/>
                  </a:lnTo>
                  <a:lnTo>
                    <a:pt x="2284" y="2173"/>
                  </a:lnTo>
                  <a:lnTo>
                    <a:pt x="2279" y="2175"/>
                  </a:lnTo>
                  <a:lnTo>
                    <a:pt x="2274" y="2176"/>
                  </a:lnTo>
                  <a:lnTo>
                    <a:pt x="2269" y="2177"/>
                  </a:lnTo>
                  <a:lnTo>
                    <a:pt x="2264" y="2177"/>
                  </a:lnTo>
                  <a:close/>
                  <a:moveTo>
                    <a:pt x="1209" y="341"/>
                  </a:moveTo>
                  <a:lnTo>
                    <a:pt x="1221" y="341"/>
                  </a:lnTo>
                  <a:lnTo>
                    <a:pt x="1233" y="339"/>
                  </a:lnTo>
                  <a:lnTo>
                    <a:pt x="1244" y="336"/>
                  </a:lnTo>
                  <a:lnTo>
                    <a:pt x="1250" y="334"/>
                  </a:lnTo>
                  <a:lnTo>
                    <a:pt x="1255" y="332"/>
                  </a:lnTo>
                  <a:lnTo>
                    <a:pt x="1265" y="327"/>
                  </a:lnTo>
                  <a:lnTo>
                    <a:pt x="1275" y="322"/>
                  </a:lnTo>
                  <a:lnTo>
                    <a:pt x="1284" y="315"/>
                  </a:lnTo>
                  <a:lnTo>
                    <a:pt x="1292" y="307"/>
                  </a:lnTo>
                  <a:lnTo>
                    <a:pt x="1299" y="299"/>
                  </a:lnTo>
                  <a:lnTo>
                    <a:pt x="1306" y="289"/>
                  </a:lnTo>
                  <a:lnTo>
                    <a:pt x="1311" y="279"/>
                  </a:lnTo>
                  <a:lnTo>
                    <a:pt x="1316" y="268"/>
                  </a:lnTo>
                  <a:lnTo>
                    <a:pt x="1318" y="262"/>
                  </a:lnTo>
                  <a:lnTo>
                    <a:pt x="1320" y="256"/>
                  </a:lnTo>
                  <a:lnTo>
                    <a:pt x="1323" y="243"/>
                  </a:lnTo>
                  <a:lnTo>
                    <a:pt x="1324" y="230"/>
                  </a:lnTo>
                  <a:lnTo>
                    <a:pt x="1325" y="223"/>
                  </a:lnTo>
                  <a:lnTo>
                    <a:pt x="1325" y="216"/>
                  </a:lnTo>
                  <a:lnTo>
                    <a:pt x="1324" y="202"/>
                  </a:lnTo>
                  <a:lnTo>
                    <a:pt x="1323" y="189"/>
                  </a:lnTo>
                  <a:lnTo>
                    <a:pt x="1320" y="177"/>
                  </a:lnTo>
                  <a:lnTo>
                    <a:pt x="1318" y="171"/>
                  </a:lnTo>
                  <a:lnTo>
                    <a:pt x="1316" y="165"/>
                  </a:lnTo>
                  <a:lnTo>
                    <a:pt x="1311" y="154"/>
                  </a:lnTo>
                  <a:lnTo>
                    <a:pt x="1306" y="144"/>
                  </a:lnTo>
                  <a:lnTo>
                    <a:pt x="1299" y="134"/>
                  </a:lnTo>
                  <a:lnTo>
                    <a:pt x="1296" y="130"/>
                  </a:lnTo>
                  <a:lnTo>
                    <a:pt x="1292" y="126"/>
                  </a:lnTo>
                  <a:lnTo>
                    <a:pt x="1288" y="122"/>
                  </a:lnTo>
                  <a:lnTo>
                    <a:pt x="1284" y="118"/>
                  </a:lnTo>
                  <a:lnTo>
                    <a:pt x="1279" y="114"/>
                  </a:lnTo>
                  <a:lnTo>
                    <a:pt x="1275" y="111"/>
                  </a:lnTo>
                  <a:lnTo>
                    <a:pt x="1265" y="105"/>
                  </a:lnTo>
                  <a:lnTo>
                    <a:pt x="1260" y="103"/>
                  </a:lnTo>
                  <a:lnTo>
                    <a:pt x="1255" y="100"/>
                  </a:lnTo>
                  <a:lnTo>
                    <a:pt x="1250" y="98"/>
                  </a:lnTo>
                  <a:lnTo>
                    <a:pt x="1244" y="97"/>
                  </a:lnTo>
                  <a:lnTo>
                    <a:pt x="1233" y="94"/>
                  </a:lnTo>
                  <a:lnTo>
                    <a:pt x="1221" y="92"/>
                  </a:lnTo>
                  <a:lnTo>
                    <a:pt x="1215" y="92"/>
                  </a:lnTo>
                  <a:lnTo>
                    <a:pt x="1209" y="92"/>
                  </a:lnTo>
                  <a:lnTo>
                    <a:pt x="1197" y="92"/>
                  </a:lnTo>
                  <a:lnTo>
                    <a:pt x="1185" y="94"/>
                  </a:lnTo>
                  <a:lnTo>
                    <a:pt x="1174" y="97"/>
                  </a:lnTo>
                  <a:lnTo>
                    <a:pt x="1169" y="98"/>
                  </a:lnTo>
                  <a:lnTo>
                    <a:pt x="1163" y="100"/>
                  </a:lnTo>
                  <a:lnTo>
                    <a:pt x="1153" y="105"/>
                  </a:lnTo>
                  <a:lnTo>
                    <a:pt x="1144" y="111"/>
                  </a:lnTo>
                  <a:lnTo>
                    <a:pt x="1135" y="118"/>
                  </a:lnTo>
                  <a:lnTo>
                    <a:pt x="1127" y="126"/>
                  </a:lnTo>
                  <a:lnTo>
                    <a:pt x="1119" y="134"/>
                  </a:lnTo>
                  <a:lnTo>
                    <a:pt x="1113" y="144"/>
                  </a:lnTo>
                  <a:lnTo>
                    <a:pt x="1107" y="154"/>
                  </a:lnTo>
                  <a:lnTo>
                    <a:pt x="1102" y="165"/>
                  </a:lnTo>
                  <a:lnTo>
                    <a:pt x="1100" y="171"/>
                  </a:lnTo>
                  <a:lnTo>
                    <a:pt x="1098" y="177"/>
                  </a:lnTo>
                  <a:lnTo>
                    <a:pt x="1096" y="189"/>
                  </a:lnTo>
                  <a:lnTo>
                    <a:pt x="1094" y="202"/>
                  </a:lnTo>
                  <a:lnTo>
                    <a:pt x="1093" y="209"/>
                  </a:lnTo>
                  <a:lnTo>
                    <a:pt x="1093" y="216"/>
                  </a:lnTo>
                  <a:lnTo>
                    <a:pt x="1094" y="230"/>
                  </a:lnTo>
                  <a:lnTo>
                    <a:pt x="1096" y="243"/>
                  </a:lnTo>
                  <a:lnTo>
                    <a:pt x="1098" y="256"/>
                  </a:lnTo>
                  <a:lnTo>
                    <a:pt x="1100" y="262"/>
                  </a:lnTo>
                  <a:lnTo>
                    <a:pt x="1102" y="268"/>
                  </a:lnTo>
                  <a:lnTo>
                    <a:pt x="1107" y="279"/>
                  </a:lnTo>
                  <a:lnTo>
                    <a:pt x="1113" y="289"/>
                  </a:lnTo>
                  <a:lnTo>
                    <a:pt x="1119" y="299"/>
                  </a:lnTo>
                  <a:lnTo>
                    <a:pt x="1123" y="303"/>
                  </a:lnTo>
                  <a:lnTo>
                    <a:pt x="1127" y="307"/>
                  </a:lnTo>
                  <a:lnTo>
                    <a:pt x="1131" y="311"/>
                  </a:lnTo>
                  <a:lnTo>
                    <a:pt x="1135" y="315"/>
                  </a:lnTo>
                  <a:lnTo>
                    <a:pt x="1139" y="318"/>
                  </a:lnTo>
                  <a:lnTo>
                    <a:pt x="1144" y="322"/>
                  </a:lnTo>
                  <a:lnTo>
                    <a:pt x="1153" y="327"/>
                  </a:lnTo>
                  <a:lnTo>
                    <a:pt x="1158" y="330"/>
                  </a:lnTo>
                  <a:lnTo>
                    <a:pt x="1163" y="332"/>
                  </a:lnTo>
                  <a:lnTo>
                    <a:pt x="1169" y="334"/>
                  </a:lnTo>
                  <a:lnTo>
                    <a:pt x="1174" y="336"/>
                  </a:lnTo>
                  <a:lnTo>
                    <a:pt x="1185" y="339"/>
                  </a:lnTo>
                  <a:lnTo>
                    <a:pt x="1197" y="341"/>
                  </a:lnTo>
                  <a:lnTo>
                    <a:pt x="1203" y="341"/>
                  </a:lnTo>
                  <a:lnTo>
                    <a:pt x="1209" y="341"/>
                  </a:lnTo>
                  <a:close/>
                  <a:moveTo>
                    <a:pt x="1209" y="0"/>
                  </a:moveTo>
                  <a:lnTo>
                    <a:pt x="1221" y="0"/>
                  </a:lnTo>
                  <a:lnTo>
                    <a:pt x="1233" y="1"/>
                  </a:lnTo>
                  <a:lnTo>
                    <a:pt x="1244" y="2"/>
                  </a:lnTo>
                  <a:lnTo>
                    <a:pt x="1256" y="4"/>
                  </a:lnTo>
                  <a:lnTo>
                    <a:pt x="1267" y="6"/>
                  </a:lnTo>
                  <a:lnTo>
                    <a:pt x="1277" y="9"/>
                  </a:lnTo>
                  <a:lnTo>
                    <a:pt x="1288" y="12"/>
                  </a:lnTo>
                  <a:lnTo>
                    <a:pt x="1298" y="16"/>
                  </a:lnTo>
                  <a:lnTo>
                    <a:pt x="1308" y="20"/>
                  </a:lnTo>
                  <a:lnTo>
                    <a:pt x="1318" y="25"/>
                  </a:lnTo>
                  <a:lnTo>
                    <a:pt x="1327" y="30"/>
                  </a:lnTo>
                  <a:lnTo>
                    <a:pt x="1336" y="35"/>
                  </a:lnTo>
                  <a:lnTo>
                    <a:pt x="1345" y="41"/>
                  </a:lnTo>
                  <a:lnTo>
                    <a:pt x="1349" y="44"/>
                  </a:lnTo>
                  <a:lnTo>
                    <a:pt x="1353" y="47"/>
                  </a:lnTo>
                  <a:lnTo>
                    <a:pt x="1357" y="51"/>
                  </a:lnTo>
                  <a:lnTo>
                    <a:pt x="1361" y="54"/>
                  </a:lnTo>
                  <a:lnTo>
                    <a:pt x="1369" y="61"/>
                  </a:lnTo>
                  <a:lnTo>
                    <a:pt x="1373" y="65"/>
                  </a:lnTo>
                  <a:lnTo>
                    <a:pt x="1376" y="69"/>
                  </a:lnTo>
                  <a:lnTo>
                    <a:pt x="1383" y="76"/>
                  </a:lnTo>
                  <a:lnTo>
                    <a:pt x="1390" y="84"/>
                  </a:lnTo>
                  <a:lnTo>
                    <a:pt x="1393" y="89"/>
                  </a:lnTo>
                  <a:lnTo>
                    <a:pt x="1396" y="93"/>
                  </a:lnTo>
                  <a:lnTo>
                    <a:pt x="1401" y="102"/>
                  </a:lnTo>
                  <a:lnTo>
                    <a:pt x="1407" y="111"/>
                  </a:lnTo>
                  <a:lnTo>
                    <a:pt x="1411" y="120"/>
                  </a:lnTo>
                  <a:lnTo>
                    <a:pt x="1416" y="130"/>
                  </a:lnTo>
                  <a:lnTo>
                    <a:pt x="1418" y="135"/>
                  </a:lnTo>
                  <a:lnTo>
                    <a:pt x="1420" y="140"/>
                  </a:lnTo>
                  <a:lnTo>
                    <a:pt x="1423" y="150"/>
                  </a:lnTo>
                  <a:lnTo>
                    <a:pt x="1426" y="160"/>
                  </a:lnTo>
                  <a:lnTo>
                    <a:pt x="1428" y="171"/>
                  </a:lnTo>
                  <a:lnTo>
                    <a:pt x="1430" y="182"/>
                  </a:lnTo>
                  <a:lnTo>
                    <a:pt x="1432" y="193"/>
                  </a:lnTo>
                  <a:lnTo>
                    <a:pt x="1432" y="199"/>
                  </a:lnTo>
                  <a:lnTo>
                    <a:pt x="1432" y="205"/>
                  </a:lnTo>
                  <a:lnTo>
                    <a:pt x="1433" y="216"/>
                  </a:lnTo>
                  <a:lnTo>
                    <a:pt x="1432" y="228"/>
                  </a:lnTo>
                  <a:lnTo>
                    <a:pt x="1432" y="239"/>
                  </a:lnTo>
                  <a:lnTo>
                    <a:pt x="1430" y="251"/>
                  </a:lnTo>
                  <a:lnTo>
                    <a:pt x="1428" y="262"/>
                  </a:lnTo>
                  <a:lnTo>
                    <a:pt x="1426" y="272"/>
                  </a:lnTo>
                  <a:lnTo>
                    <a:pt x="1423" y="283"/>
                  </a:lnTo>
                  <a:lnTo>
                    <a:pt x="1420" y="293"/>
                  </a:lnTo>
                  <a:lnTo>
                    <a:pt x="1416" y="303"/>
                  </a:lnTo>
                  <a:lnTo>
                    <a:pt x="1411" y="313"/>
                  </a:lnTo>
                  <a:lnTo>
                    <a:pt x="1407" y="322"/>
                  </a:lnTo>
                  <a:lnTo>
                    <a:pt x="1401" y="331"/>
                  </a:lnTo>
                  <a:lnTo>
                    <a:pt x="1396" y="340"/>
                  </a:lnTo>
                  <a:lnTo>
                    <a:pt x="1390" y="348"/>
                  </a:lnTo>
                  <a:lnTo>
                    <a:pt x="1383" y="356"/>
                  </a:lnTo>
                  <a:lnTo>
                    <a:pt x="1376" y="364"/>
                  </a:lnTo>
                  <a:lnTo>
                    <a:pt x="1369" y="372"/>
                  </a:lnTo>
                  <a:lnTo>
                    <a:pt x="1361" y="379"/>
                  </a:lnTo>
                  <a:lnTo>
                    <a:pt x="1353" y="385"/>
                  </a:lnTo>
                  <a:lnTo>
                    <a:pt x="1345" y="391"/>
                  </a:lnTo>
                  <a:lnTo>
                    <a:pt x="1336" y="397"/>
                  </a:lnTo>
                  <a:lnTo>
                    <a:pt x="1327" y="403"/>
                  </a:lnTo>
                  <a:lnTo>
                    <a:pt x="1318" y="408"/>
                  </a:lnTo>
                  <a:lnTo>
                    <a:pt x="1308" y="412"/>
                  </a:lnTo>
                  <a:lnTo>
                    <a:pt x="1298" y="417"/>
                  </a:lnTo>
                  <a:lnTo>
                    <a:pt x="1288" y="420"/>
                  </a:lnTo>
                  <a:lnTo>
                    <a:pt x="1277" y="424"/>
                  </a:lnTo>
                  <a:lnTo>
                    <a:pt x="1267" y="426"/>
                  </a:lnTo>
                  <a:lnTo>
                    <a:pt x="1256" y="429"/>
                  </a:lnTo>
                  <a:lnTo>
                    <a:pt x="1244" y="430"/>
                  </a:lnTo>
                  <a:lnTo>
                    <a:pt x="1233" y="432"/>
                  </a:lnTo>
                  <a:lnTo>
                    <a:pt x="1221" y="433"/>
                  </a:lnTo>
                  <a:lnTo>
                    <a:pt x="1209" y="433"/>
                  </a:lnTo>
                  <a:lnTo>
                    <a:pt x="1197" y="433"/>
                  </a:lnTo>
                  <a:lnTo>
                    <a:pt x="1186" y="432"/>
                  </a:lnTo>
                  <a:lnTo>
                    <a:pt x="1174" y="430"/>
                  </a:lnTo>
                  <a:lnTo>
                    <a:pt x="1163" y="429"/>
                  </a:lnTo>
                  <a:lnTo>
                    <a:pt x="1152" y="426"/>
                  </a:lnTo>
                  <a:lnTo>
                    <a:pt x="1141" y="424"/>
                  </a:lnTo>
                  <a:lnTo>
                    <a:pt x="1130" y="420"/>
                  </a:lnTo>
                  <a:lnTo>
                    <a:pt x="1120" y="417"/>
                  </a:lnTo>
                  <a:lnTo>
                    <a:pt x="1110" y="412"/>
                  </a:lnTo>
                  <a:lnTo>
                    <a:pt x="1100" y="408"/>
                  </a:lnTo>
                  <a:lnTo>
                    <a:pt x="1091" y="403"/>
                  </a:lnTo>
                  <a:lnTo>
                    <a:pt x="1082" y="397"/>
                  </a:lnTo>
                  <a:lnTo>
                    <a:pt x="1073" y="391"/>
                  </a:lnTo>
                  <a:lnTo>
                    <a:pt x="1069" y="388"/>
                  </a:lnTo>
                  <a:lnTo>
                    <a:pt x="1065" y="385"/>
                  </a:lnTo>
                  <a:lnTo>
                    <a:pt x="1061" y="382"/>
                  </a:lnTo>
                  <a:lnTo>
                    <a:pt x="1057" y="379"/>
                  </a:lnTo>
                  <a:lnTo>
                    <a:pt x="1049" y="372"/>
                  </a:lnTo>
                  <a:lnTo>
                    <a:pt x="1046" y="368"/>
                  </a:lnTo>
                  <a:lnTo>
                    <a:pt x="1042" y="364"/>
                  </a:lnTo>
                  <a:lnTo>
                    <a:pt x="1035" y="356"/>
                  </a:lnTo>
                  <a:lnTo>
                    <a:pt x="1029" y="348"/>
                  </a:lnTo>
                  <a:lnTo>
                    <a:pt x="1026" y="344"/>
                  </a:lnTo>
                  <a:lnTo>
                    <a:pt x="1023" y="340"/>
                  </a:lnTo>
                  <a:lnTo>
                    <a:pt x="1017" y="331"/>
                  </a:lnTo>
                  <a:lnTo>
                    <a:pt x="1012" y="322"/>
                  </a:lnTo>
                  <a:lnTo>
                    <a:pt x="1007" y="313"/>
                  </a:lnTo>
                  <a:lnTo>
                    <a:pt x="1003" y="303"/>
                  </a:lnTo>
                  <a:lnTo>
                    <a:pt x="1001" y="298"/>
                  </a:lnTo>
                  <a:lnTo>
                    <a:pt x="999" y="293"/>
                  </a:lnTo>
                  <a:lnTo>
                    <a:pt x="995" y="283"/>
                  </a:lnTo>
                  <a:lnTo>
                    <a:pt x="992" y="272"/>
                  </a:lnTo>
                  <a:lnTo>
                    <a:pt x="990" y="262"/>
                  </a:lnTo>
                  <a:lnTo>
                    <a:pt x="988" y="251"/>
                  </a:lnTo>
                  <a:lnTo>
                    <a:pt x="987" y="239"/>
                  </a:lnTo>
                  <a:lnTo>
                    <a:pt x="986" y="234"/>
                  </a:lnTo>
                  <a:lnTo>
                    <a:pt x="986" y="228"/>
                  </a:lnTo>
                  <a:lnTo>
                    <a:pt x="986" y="216"/>
                  </a:lnTo>
                  <a:lnTo>
                    <a:pt x="986" y="205"/>
                  </a:lnTo>
                  <a:lnTo>
                    <a:pt x="987" y="193"/>
                  </a:lnTo>
                  <a:lnTo>
                    <a:pt x="988" y="182"/>
                  </a:lnTo>
                  <a:lnTo>
                    <a:pt x="990" y="171"/>
                  </a:lnTo>
                  <a:lnTo>
                    <a:pt x="992" y="160"/>
                  </a:lnTo>
                  <a:lnTo>
                    <a:pt x="995" y="150"/>
                  </a:lnTo>
                  <a:lnTo>
                    <a:pt x="999" y="140"/>
                  </a:lnTo>
                  <a:lnTo>
                    <a:pt x="1003" y="130"/>
                  </a:lnTo>
                  <a:lnTo>
                    <a:pt x="1007" y="120"/>
                  </a:lnTo>
                  <a:lnTo>
                    <a:pt x="1012" y="111"/>
                  </a:lnTo>
                  <a:lnTo>
                    <a:pt x="1017" y="102"/>
                  </a:lnTo>
                  <a:lnTo>
                    <a:pt x="1023" y="93"/>
                  </a:lnTo>
                  <a:lnTo>
                    <a:pt x="1029" y="84"/>
                  </a:lnTo>
                  <a:lnTo>
                    <a:pt x="1035" y="76"/>
                  </a:lnTo>
                  <a:lnTo>
                    <a:pt x="1042" y="69"/>
                  </a:lnTo>
                  <a:lnTo>
                    <a:pt x="1049" y="61"/>
                  </a:lnTo>
                  <a:lnTo>
                    <a:pt x="1057" y="54"/>
                  </a:lnTo>
                  <a:lnTo>
                    <a:pt x="1065" y="47"/>
                  </a:lnTo>
                  <a:lnTo>
                    <a:pt x="1073" y="41"/>
                  </a:lnTo>
                  <a:lnTo>
                    <a:pt x="1082" y="35"/>
                  </a:lnTo>
                  <a:lnTo>
                    <a:pt x="1091" y="30"/>
                  </a:lnTo>
                  <a:lnTo>
                    <a:pt x="1100" y="25"/>
                  </a:lnTo>
                  <a:lnTo>
                    <a:pt x="1110" y="20"/>
                  </a:lnTo>
                  <a:lnTo>
                    <a:pt x="1120" y="16"/>
                  </a:lnTo>
                  <a:lnTo>
                    <a:pt x="1130" y="12"/>
                  </a:lnTo>
                  <a:lnTo>
                    <a:pt x="1141" y="9"/>
                  </a:lnTo>
                  <a:lnTo>
                    <a:pt x="1152" y="6"/>
                  </a:lnTo>
                  <a:lnTo>
                    <a:pt x="1163" y="4"/>
                  </a:lnTo>
                  <a:lnTo>
                    <a:pt x="1174" y="2"/>
                  </a:lnTo>
                  <a:lnTo>
                    <a:pt x="1186" y="1"/>
                  </a:lnTo>
                  <a:lnTo>
                    <a:pt x="1197" y="0"/>
                  </a:lnTo>
                  <a:lnTo>
                    <a:pt x="1209" y="0"/>
                  </a:lnTo>
                  <a:close/>
                  <a:moveTo>
                    <a:pt x="2022" y="7"/>
                  </a:moveTo>
                  <a:lnTo>
                    <a:pt x="2026" y="8"/>
                  </a:lnTo>
                  <a:lnTo>
                    <a:pt x="2028" y="8"/>
                  </a:lnTo>
                  <a:lnTo>
                    <a:pt x="2029" y="10"/>
                  </a:lnTo>
                  <a:lnTo>
                    <a:pt x="2030" y="11"/>
                  </a:lnTo>
                  <a:lnTo>
                    <a:pt x="2031" y="13"/>
                  </a:lnTo>
                  <a:lnTo>
                    <a:pt x="2031" y="16"/>
                  </a:lnTo>
                  <a:lnTo>
                    <a:pt x="2031" y="19"/>
                  </a:lnTo>
                  <a:lnTo>
                    <a:pt x="2017" y="88"/>
                  </a:lnTo>
                  <a:lnTo>
                    <a:pt x="2015" y="93"/>
                  </a:lnTo>
                  <a:lnTo>
                    <a:pt x="2013" y="96"/>
                  </a:lnTo>
                  <a:lnTo>
                    <a:pt x="2012" y="97"/>
                  </a:lnTo>
                  <a:lnTo>
                    <a:pt x="2010" y="98"/>
                  </a:lnTo>
                  <a:lnTo>
                    <a:pt x="2008" y="99"/>
                  </a:lnTo>
                  <a:lnTo>
                    <a:pt x="2005" y="99"/>
                  </a:lnTo>
                  <a:lnTo>
                    <a:pt x="1950" y="99"/>
                  </a:lnTo>
                  <a:lnTo>
                    <a:pt x="1950" y="416"/>
                  </a:lnTo>
                  <a:lnTo>
                    <a:pt x="1949" y="418"/>
                  </a:lnTo>
                  <a:lnTo>
                    <a:pt x="1949" y="420"/>
                  </a:lnTo>
                  <a:lnTo>
                    <a:pt x="1947" y="423"/>
                  </a:lnTo>
                  <a:lnTo>
                    <a:pt x="1945" y="424"/>
                  </a:lnTo>
                  <a:lnTo>
                    <a:pt x="1944" y="425"/>
                  </a:lnTo>
                  <a:lnTo>
                    <a:pt x="1940" y="426"/>
                  </a:lnTo>
                  <a:lnTo>
                    <a:pt x="1861" y="426"/>
                  </a:lnTo>
                  <a:lnTo>
                    <a:pt x="1858" y="425"/>
                  </a:lnTo>
                  <a:lnTo>
                    <a:pt x="1855" y="423"/>
                  </a:lnTo>
                  <a:lnTo>
                    <a:pt x="1854" y="421"/>
                  </a:lnTo>
                  <a:lnTo>
                    <a:pt x="1853" y="420"/>
                  </a:lnTo>
                  <a:lnTo>
                    <a:pt x="1853" y="418"/>
                  </a:lnTo>
                  <a:lnTo>
                    <a:pt x="1853" y="416"/>
                  </a:lnTo>
                  <a:lnTo>
                    <a:pt x="1853" y="99"/>
                  </a:lnTo>
                  <a:lnTo>
                    <a:pt x="1796" y="99"/>
                  </a:lnTo>
                  <a:lnTo>
                    <a:pt x="1792" y="98"/>
                  </a:lnTo>
                  <a:lnTo>
                    <a:pt x="1789" y="96"/>
                  </a:lnTo>
                  <a:lnTo>
                    <a:pt x="1787" y="93"/>
                  </a:lnTo>
                  <a:lnTo>
                    <a:pt x="1786" y="91"/>
                  </a:lnTo>
                  <a:lnTo>
                    <a:pt x="1786" y="89"/>
                  </a:lnTo>
                  <a:lnTo>
                    <a:pt x="1786" y="17"/>
                  </a:lnTo>
                  <a:lnTo>
                    <a:pt x="1786" y="15"/>
                  </a:lnTo>
                  <a:lnTo>
                    <a:pt x="1787" y="13"/>
                  </a:lnTo>
                  <a:lnTo>
                    <a:pt x="1789" y="10"/>
                  </a:lnTo>
                  <a:lnTo>
                    <a:pt x="1790" y="9"/>
                  </a:lnTo>
                  <a:lnTo>
                    <a:pt x="1792" y="8"/>
                  </a:lnTo>
                  <a:lnTo>
                    <a:pt x="1796" y="7"/>
                  </a:lnTo>
                  <a:lnTo>
                    <a:pt x="2022" y="7"/>
                  </a:lnTo>
                  <a:close/>
                  <a:moveTo>
                    <a:pt x="1716" y="7"/>
                  </a:moveTo>
                  <a:lnTo>
                    <a:pt x="1720" y="8"/>
                  </a:lnTo>
                  <a:lnTo>
                    <a:pt x="1722" y="8"/>
                  </a:lnTo>
                  <a:lnTo>
                    <a:pt x="1723" y="10"/>
                  </a:lnTo>
                  <a:lnTo>
                    <a:pt x="1724" y="11"/>
                  </a:lnTo>
                  <a:lnTo>
                    <a:pt x="1725" y="13"/>
                  </a:lnTo>
                  <a:lnTo>
                    <a:pt x="1725" y="16"/>
                  </a:lnTo>
                  <a:lnTo>
                    <a:pt x="1725" y="19"/>
                  </a:lnTo>
                  <a:lnTo>
                    <a:pt x="1711" y="88"/>
                  </a:lnTo>
                  <a:lnTo>
                    <a:pt x="1710" y="93"/>
                  </a:lnTo>
                  <a:lnTo>
                    <a:pt x="1707" y="96"/>
                  </a:lnTo>
                  <a:lnTo>
                    <a:pt x="1706" y="97"/>
                  </a:lnTo>
                  <a:lnTo>
                    <a:pt x="1704" y="98"/>
                  </a:lnTo>
                  <a:lnTo>
                    <a:pt x="1702" y="99"/>
                  </a:lnTo>
                  <a:lnTo>
                    <a:pt x="1699" y="99"/>
                  </a:lnTo>
                  <a:lnTo>
                    <a:pt x="1653" y="99"/>
                  </a:lnTo>
                  <a:lnTo>
                    <a:pt x="1653" y="416"/>
                  </a:lnTo>
                  <a:lnTo>
                    <a:pt x="1653" y="418"/>
                  </a:lnTo>
                  <a:lnTo>
                    <a:pt x="1652" y="420"/>
                  </a:lnTo>
                  <a:lnTo>
                    <a:pt x="1650" y="423"/>
                  </a:lnTo>
                  <a:lnTo>
                    <a:pt x="1649" y="424"/>
                  </a:lnTo>
                  <a:lnTo>
                    <a:pt x="1647" y="425"/>
                  </a:lnTo>
                  <a:lnTo>
                    <a:pt x="1644" y="426"/>
                  </a:lnTo>
                  <a:lnTo>
                    <a:pt x="1565" y="426"/>
                  </a:lnTo>
                  <a:lnTo>
                    <a:pt x="1561" y="425"/>
                  </a:lnTo>
                  <a:lnTo>
                    <a:pt x="1558" y="423"/>
                  </a:lnTo>
                  <a:lnTo>
                    <a:pt x="1557" y="421"/>
                  </a:lnTo>
                  <a:lnTo>
                    <a:pt x="1557" y="420"/>
                  </a:lnTo>
                  <a:lnTo>
                    <a:pt x="1556" y="418"/>
                  </a:lnTo>
                  <a:lnTo>
                    <a:pt x="1556" y="416"/>
                  </a:lnTo>
                  <a:lnTo>
                    <a:pt x="1556" y="99"/>
                  </a:lnTo>
                  <a:lnTo>
                    <a:pt x="1490" y="99"/>
                  </a:lnTo>
                  <a:lnTo>
                    <a:pt x="1486" y="98"/>
                  </a:lnTo>
                  <a:lnTo>
                    <a:pt x="1483" y="96"/>
                  </a:lnTo>
                  <a:lnTo>
                    <a:pt x="1481" y="93"/>
                  </a:lnTo>
                  <a:lnTo>
                    <a:pt x="1481" y="91"/>
                  </a:lnTo>
                  <a:lnTo>
                    <a:pt x="1480" y="89"/>
                  </a:lnTo>
                  <a:lnTo>
                    <a:pt x="1480" y="17"/>
                  </a:lnTo>
                  <a:lnTo>
                    <a:pt x="1481" y="15"/>
                  </a:lnTo>
                  <a:lnTo>
                    <a:pt x="1481" y="13"/>
                  </a:lnTo>
                  <a:lnTo>
                    <a:pt x="1483" y="10"/>
                  </a:lnTo>
                  <a:lnTo>
                    <a:pt x="1484" y="9"/>
                  </a:lnTo>
                  <a:lnTo>
                    <a:pt x="1486" y="8"/>
                  </a:lnTo>
                  <a:lnTo>
                    <a:pt x="1490" y="7"/>
                  </a:lnTo>
                  <a:lnTo>
                    <a:pt x="1716" y="7"/>
                  </a:lnTo>
                  <a:close/>
                  <a:moveTo>
                    <a:pt x="2168" y="281"/>
                  </a:moveTo>
                  <a:lnTo>
                    <a:pt x="2222" y="281"/>
                  </a:lnTo>
                  <a:lnTo>
                    <a:pt x="2195" y="154"/>
                  </a:lnTo>
                  <a:lnTo>
                    <a:pt x="2168" y="281"/>
                  </a:lnTo>
                  <a:close/>
                  <a:moveTo>
                    <a:pt x="2236" y="359"/>
                  </a:moveTo>
                  <a:lnTo>
                    <a:pt x="2154" y="359"/>
                  </a:lnTo>
                  <a:lnTo>
                    <a:pt x="2142" y="416"/>
                  </a:lnTo>
                  <a:lnTo>
                    <a:pt x="2142" y="418"/>
                  </a:lnTo>
                  <a:lnTo>
                    <a:pt x="2141" y="420"/>
                  </a:lnTo>
                  <a:lnTo>
                    <a:pt x="2138" y="423"/>
                  </a:lnTo>
                  <a:lnTo>
                    <a:pt x="2136" y="424"/>
                  </a:lnTo>
                  <a:lnTo>
                    <a:pt x="2135" y="425"/>
                  </a:lnTo>
                  <a:lnTo>
                    <a:pt x="2133" y="426"/>
                  </a:lnTo>
                  <a:lnTo>
                    <a:pt x="2131" y="426"/>
                  </a:lnTo>
                  <a:lnTo>
                    <a:pt x="2058" y="426"/>
                  </a:lnTo>
                  <a:lnTo>
                    <a:pt x="2056" y="425"/>
                  </a:lnTo>
                  <a:lnTo>
                    <a:pt x="2054" y="425"/>
                  </a:lnTo>
                  <a:lnTo>
                    <a:pt x="2052" y="424"/>
                  </a:lnTo>
                  <a:lnTo>
                    <a:pt x="2051" y="422"/>
                  </a:lnTo>
                  <a:lnTo>
                    <a:pt x="2050" y="421"/>
                  </a:lnTo>
                  <a:lnTo>
                    <a:pt x="2049" y="418"/>
                  </a:lnTo>
                  <a:lnTo>
                    <a:pt x="2050" y="412"/>
                  </a:lnTo>
                  <a:lnTo>
                    <a:pt x="2142" y="17"/>
                  </a:lnTo>
                  <a:lnTo>
                    <a:pt x="2143" y="15"/>
                  </a:lnTo>
                  <a:lnTo>
                    <a:pt x="2144" y="13"/>
                  </a:lnTo>
                  <a:lnTo>
                    <a:pt x="2147" y="10"/>
                  </a:lnTo>
                  <a:lnTo>
                    <a:pt x="2149" y="9"/>
                  </a:lnTo>
                  <a:lnTo>
                    <a:pt x="2151" y="8"/>
                  </a:lnTo>
                  <a:lnTo>
                    <a:pt x="2155" y="7"/>
                  </a:lnTo>
                  <a:lnTo>
                    <a:pt x="2236" y="7"/>
                  </a:lnTo>
                  <a:lnTo>
                    <a:pt x="2239" y="7"/>
                  </a:lnTo>
                  <a:lnTo>
                    <a:pt x="2241" y="8"/>
                  </a:lnTo>
                  <a:lnTo>
                    <a:pt x="2245" y="10"/>
                  </a:lnTo>
                  <a:lnTo>
                    <a:pt x="2248" y="13"/>
                  </a:lnTo>
                  <a:lnTo>
                    <a:pt x="2249" y="15"/>
                  </a:lnTo>
                  <a:lnTo>
                    <a:pt x="2249" y="17"/>
                  </a:lnTo>
                  <a:lnTo>
                    <a:pt x="2343" y="412"/>
                  </a:lnTo>
                  <a:lnTo>
                    <a:pt x="2343" y="418"/>
                  </a:lnTo>
                  <a:lnTo>
                    <a:pt x="2343" y="421"/>
                  </a:lnTo>
                  <a:lnTo>
                    <a:pt x="2342" y="422"/>
                  </a:lnTo>
                  <a:lnTo>
                    <a:pt x="2341" y="424"/>
                  </a:lnTo>
                  <a:lnTo>
                    <a:pt x="2339" y="425"/>
                  </a:lnTo>
                  <a:lnTo>
                    <a:pt x="2335" y="426"/>
                  </a:lnTo>
                  <a:lnTo>
                    <a:pt x="2260" y="426"/>
                  </a:lnTo>
                  <a:lnTo>
                    <a:pt x="2256" y="425"/>
                  </a:lnTo>
                  <a:lnTo>
                    <a:pt x="2252" y="423"/>
                  </a:lnTo>
                  <a:lnTo>
                    <a:pt x="2251" y="422"/>
                  </a:lnTo>
                  <a:lnTo>
                    <a:pt x="2249" y="420"/>
                  </a:lnTo>
                  <a:lnTo>
                    <a:pt x="2248" y="418"/>
                  </a:lnTo>
                  <a:lnTo>
                    <a:pt x="2248" y="416"/>
                  </a:lnTo>
                  <a:lnTo>
                    <a:pt x="2236" y="359"/>
                  </a:lnTo>
                  <a:close/>
                  <a:moveTo>
                    <a:pt x="912" y="4"/>
                  </a:moveTo>
                  <a:lnTo>
                    <a:pt x="915" y="5"/>
                  </a:lnTo>
                  <a:lnTo>
                    <a:pt x="918" y="7"/>
                  </a:lnTo>
                  <a:lnTo>
                    <a:pt x="919" y="9"/>
                  </a:lnTo>
                  <a:lnTo>
                    <a:pt x="920" y="10"/>
                  </a:lnTo>
                  <a:lnTo>
                    <a:pt x="921" y="12"/>
                  </a:lnTo>
                  <a:lnTo>
                    <a:pt x="921" y="14"/>
                  </a:lnTo>
                  <a:lnTo>
                    <a:pt x="921" y="291"/>
                  </a:lnTo>
                  <a:lnTo>
                    <a:pt x="921" y="301"/>
                  </a:lnTo>
                  <a:lnTo>
                    <a:pt x="920" y="310"/>
                  </a:lnTo>
                  <a:lnTo>
                    <a:pt x="919" y="320"/>
                  </a:lnTo>
                  <a:lnTo>
                    <a:pt x="918" y="328"/>
                  </a:lnTo>
                  <a:lnTo>
                    <a:pt x="917" y="336"/>
                  </a:lnTo>
                  <a:lnTo>
                    <a:pt x="915" y="344"/>
                  </a:lnTo>
                  <a:lnTo>
                    <a:pt x="911" y="359"/>
                  </a:lnTo>
                  <a:lnTo>
                    <a:pt x="908" y="365"/>
                  </a:lnTo>
                  <a:lnTo>
                    <a:pt x="906" y="372"/>
                  </a:lnTo>
                  <a:lnTo>
                    <a:pt x="899" y="383"/>
                  </a:lnTo>
                  <a:lnTo>
                    <a:pt x="896" y="388"/>
                  </a:lnTo>
                  <a:lnTo>
                    <a:pt x="893" y="393"/>
                  </a:lnTo>
                  <a:lnTo>
                    <a:pt x="885" y="401"/>
                  </a:lnTo>
                  <a:lnTo>
                    <a:pt x="877" y="408"/>
                  </a:lnTo>
                  <a:lnTo>
                    <a:pt x="872" y="411"/>
                  </a:lnTo>
                  <a:lnTo>
                    <a:pt x="868" y="414"/>
                  </a:lnTo>
                  <a:lnTo>
                    <a:pt x="858" y="419"/>
                  </a:lnTo>
                  <a:lnTo>
                    <a:pt x="849" y="422"/>
                  </a:lnTo>
                  <a:lnTo>
                    <a:pt x="839" y="425"/>
                  </a:lnTo>
                  <a:lnTo>
                    <a:pt x="829" y="427"/>
                  </a:lnTo>
                  <a:lnTo>
                    <a:pt x="819" y="428"/>
                  </a:lnTo>
                  <a:lnTo>
                    <a:pt x="808" y="428"/>
                  </a:lnTo>
                  <a:lnTo>
                    <a:pt x="796" y="428"/>
                  </a:lnTo>
                  <a:lnTo>
                    <a:pt x="784" y="427"/>
                  </a:lnTo>
                  <a:lnTo>
                    <a:pt x="774" y="425"/>
                  </a:lnTo>
                  <a:lnTo>
                    <a:pt x="764" y="423"/>
                  </a:lnTo>
                  <a:lnTo>
                    <a:pt x="759" y="421"/>
                  </a:lnTo>
                  <a:lnTo>
                    <a:pt x="756" y="419"/>
                  </a:lnTo>
                  <a:lnTo>
                    <a:pt x="753" y="415"/>
                  </a:lnTo>
                  <a:lnTo>
                    <a:pt x="752" y="411"/>
                  </a:lnTo>
                  <a:lnTo>
                    <a:pt x="739" y="353"/>
                  </a:lnTo>
                  <a:lnTo>
                    <a:pt x="738" y="350"/>
                  </a:lnTo>
                  <a:lnTo>
                    <a:pt x="739" y="347"/>
                  </a:lnTo>
                  <a:lnTo>
                    <a:pt x="739" y="345"/>
                  </a:lnTo>
                  <a:lnTo>
                    <a:pt x="741" y="344"/>
                  </a:lnTo>
                  <a:lnTo>
                    <a:pt x="742" y="342"/>
                  </a:lnTo>
                  <a:lnTo>
                    <a:pt x="744" y="341"/>
                  </a:lnTo>
                  <a:lnTo>
                    <a:pt x="746" y="341"/>
                  </a:lnTo>
                  <a:lnTo>
                    <a:pt x="749" y="341"/>
                  </a:lnTo>
                  <a:lnTo>
                    <a:pt x="763" y="344"/>
                  </a:lnTo>
                  <a:lnTo>
                    <a:pt x="773" y="346"/>
                  </a:lnTo>
                  <a:lnTo>
                    <a:pt x="785" y="346"/>
                  </a:lnTo>
                  <a:lnTo>
                    <a:pt x="791" y="346"/>
                  </a:lnTo>
                  <a:lnTo>
                    <a:pt x="797" y="345"/>
                  </a:lnTo>
                  <a:lnTo>
                    <a:pt x="803" y="344"/>
                  </a:lnTo>
                  <a:lnTo>
                    <a:pt x="808" y="342"/>
                  </a:lnTo>
                  <a:lnTo>
                    <a:pt x="812" y="339"/>
                  </a:lnTo>
                  <a:lnTo>
                    <a:pt x="816" y="336"/>
                  </a:lnTo>
                  <a:lnTo>
                    <a:pt x="817" y="335"/>
                  </a:lnTo>
                  <a:lnTo>
                    <a:pt x="819" y="333"/>
                  </a:lnTo>
                  <a:lnTo>
                    <a:pt x="821" y="328"/>
                  </a:lnTo>
                  <a:lnTo>
                    <a:pt x="824" y="323"/>
                  </a:lnTo>
                  <a:lnTo>
                    <a:pt x="825" y="318"/>
                  </a:lnTo>
                  <a:lnTo>
                    <a:pt x="827" y="311"/>
                  </a:lnTo>
                  <a:lnTo>
                    <a:pt x="828" y="304"/>
                  </a:lnTo>
                  <a:lnTo>
                    <a:pt x="829" y="297"/>
                  </a:lnTo>
                  <a:lnTo>
                    <a:pt x="829" y="288"/>
                  </a:lnTo>
                  <a:lnTo>
                    <a:pt x="830" y="269"/>
                  </a:lnTo>
                  <a:lnTo>
                    <a:pt x="830" y="14"/>
                  </a:lnTo>
                  <a:lnTo>
                    <a:pt x="830" y="12"/>
                  </a:lnTo>
                  <a:lnTo>
                    <a:pt x="830" y="10"/>
                  </a:lnTo>
                  <a:lnTo>
                    <a:pt x="832" y="7"/>
                  </a:lnTo>
                  <a:lnTo>
                    <a:pt x="833" y="6"/>
                  </a:lnTo>
                  <a:lnTo>
                    <a:pt x="835" y="5"/>
                  </a:lnTo>
                  <a:lnTo>
                    <a:pt x="837" y="5"/>
                  </a:lnTo>
                  <a:lnTo>
                    <a:pt x="838" y="4"/>
                  </a:lnTo>
                  <a:lnTo>
                    <a:pt x="912" y="4"/>
                  </a:lnTo>
                  <a:close/>
                  <a:moveTo>
                    <a:pt x="2826" y="1740"/>
                  </a:moveTo>
                  <a:lnTo>
                    <a:pt x="2925" y="1740"/>
                  </a:lnTo>
                  <a:lnTo>
                    <a:pt x="2875" y="1609"/>
                  </a:lnTo>
                  <a:lnTo>
                    <a:pt x="2826" y="1740"/>
                  </a:lnTo>
                  <a:close/>
                  <a:moveTo>
                    <a:pt x="2956" y="1822"/>
                  </a:moveTo>
                  <a:lnTo>
                    <a:pt x="2796" y="1822"/>
                  </a:lnTo>
                  <a:lnTo>
                    <a:pt x="2774" y="1879"/>
                  </a:lnTo>
                  <a:lnTo>
                    <a:pt x="2773" y="1882"/>
                  </a:lnTo>
                  <a:lnTo>
                    <a:pt x="2771" y="1884"/>
                  </a:lnTo>
                  <a:lnTo>
                    <a:pt x="2770" y="1885"/>
                  </a:lnTo>
                  <a:lnTo>
                    <a:pt x="2768" y="1887"/>
                  </a:lnTo>
                  <a:lnTo>
                    <a:pt x="2764" y="1888"/>
                  </a:lnTo>
                  <a:lnTo>
                    <a:pt x="2760" y="1889"/>
                  </a:lnTo>
                  <a:lnTo>
                    <a:pt x="2681" y="1889"/>
                  </a:lnTo>
                  <a:lnTo>
                    <a:pt x="2679" y="1889"/>
                  </a:lnTo>
                  <a:lnTo>
                    <a:pt x="2677" y="1888"/>
                  </a:lnTo>
                  <a:lnTo>
                    <a:pt x="2675" y="1887"/>
                  </a:lnTo>
                  <a:lnTo>
                    <a:pt x="2673" y="1885"/>
                  </a:lnTo>
                  <a:lnTo>
                    <a:pt x="2672" y="1883"/>
                  </a:lnTo>
                  <a:lnTo>
                    <a:pt x="2671" y="1881"/>
                  </a:lnTo>
                  <a:lnTo>
                    <a:pt x="2672" y="1878"/>
                  </a:lnTo>
                  <a:lnTo>
                    <a:pt x="2673" y="1875"/>
                  </a:lnTo>
                  <a:lnTo>
                    <a:pt x="2828" y="1480"/>
                  </a:lnTo>
                  <a:lnTo>
                    <a:pt x="2829" y="1477"/>
                  </a:lnTo>
                  <a:lnTo>
                    <a:pt x="2830" y="1475"/>
                  </a:lnTo>
                  <a:lnTo>
                    <a:pt x="2833" y="1472"/>
                  </a:lnTo>
                  <a:lnTo>
                    <a:pt x="2837" y="1471"/>
                  </a:lnTo>
                  <a:lnTo>
                    <a:pt x="2839" y="1470"/>
                  </a:lnTo>
                  <a:lnTo>
                    <a:pt x="2842" y="1470"/>
                  </a:lnTo>
                  <a:lnTo>
                    <a:pt x="2911" y="1470"/>
                  </a:lnTo>
                  <a:lnTo>
                    <a:pt x="2916" y="1471"/>
                  </a:lnTo>
                  <a:lnTo>
                    <a:pt x="2920" y="1472"/>
                  </a:lnTo>
                  <a:lnTo>
                    <a:pt x="2923" y="1475"/>
                  </a:lnTo>
                  <a:lnTo>
                    <a:pt x="2924" y="1477"/>
                  </a:lnTo>
                  <a:lnTo>
                    <a:pt x="2925" y="1480"/>
                  </a:lnTo>
                  <a:lnTo>
                    <a:pt x="3081" y="1875"/>
                  </a:lnTo>
                  <a:lnTo>
                    <a:pt x="3082" y="1878"/>
                  </a:lnTo>
                  <a:lnTo>
                    <a:pt x="3082" y="1881"/>
                  </a:lnTo>
                  <a:lnTo>
                    <a:pt x="3081" y="1883"/>
                  </a:lnTo>
                  <a:lnTo>
                    <a:pt x="3080" y="1885"/>
                  </a:lnTo>
                  <a:lnTo>
                    <a:pt x="3079" y="1887"/>
                  </a:lnTo>
                  <a:lnTo>
                    <a:pt x="3077" y="1888"/>
                  </a:lnTo>
                  <a:lnTo>
                    <a:pt x="3074" y="1889"/>
                  </a:lnTo>
                  <a:lnTo>
                    <a:pt x="3072" y="1889"/>
                  </a:lnTo>
                  <a:lnTo>
                    <a:pt x="2991" y="1889"/>
                  </a:lnTo>
                  <a:lnTo>
                    <a:pt x="2987" y="1888"/>
                  </a:lnTo>
                  <a:lnTo>
                    <a:pt x="2985" y="1888"/>
                  </a:lnTo>
                  <a:lnTo>
                    <a:pt x="2983" y="1887"/>
                  </a:lnTo>
                  <a:lnTo>
                    <a:pt x="2981" y="1885"/>
                  </a:lnTo>
                  <a:lnTo>
                    <a:pt x="2980" y="1884"/>
                  </a:lnTo>
                  <a:lnTo>
                    <a:pt x="2979" y="1882"/>
                  </a:lnTo>
                  <a:lnTo>
                    <a:pt x="2978" y="1879"/>
                  </a:lnTo>
                  <a:lnTo>
                    <a:pt x="2956" y="1822"/>
                  </a:lnTo>
                  <a:close/>
                  <a:moveTo>
                    <a:pt x="1829" y="1889"/>
                  </a:moveTo>
                  <a:lnTo>
                    <a:pt x="1747" y="1889"/>
                  </a:lnTo>
                  <a:lnTo>
                    <a:pt x="1743" y="1888"/>
                  </a:lnTo>
                  <a:lnTo>
                    <a:pt x="1739" y="1886"/>
                  </a:lnTo>
                  <a:lnTo>
                    <a:pt x="1738" y="1885"/>
                  </a:lnTo>
                  <a:lnTo>
                    <a:pt x="1737" y="1883"/>
                  </a:lnTo>
                  <a:lnTo>
                    <a:pt x="1737" y="1881"/>
                  </a:lnTo>
                  <a:lnTo>
                    <a:pt x="1737" y="1879"/>
                  </a:lnTo>
                  <a:lnTo>
                    <a:pt x="1737" y="1480"/>
                  </a:lnTo>
                  <a:lnTo>
                    <a:pt x="1737" y="1478"/>
                  </a:lnTo>
                  <a:lnTo>
                    <a:pt x="1737" y="1476"/>
                  </a:lnTo>
                  <a:lnTo>
                    <a:pt x="1739" y="1473"/>
                  </a:lnTo>
                  <a:lnTo>
                    <a:pt x="1741" y="1472"/>
                  </a:lnTo>
                  <a:lnTo>
                    <a:pt x="1743" y="1471"/>
                  </a:lnTo>
                  <a:lnTo>
                    <a:pt x="1747" y="1470"/>
                  </a:lnTo>
                  <a:lnTo>
                    <a:pt x="1829" y="1470"/>
                  </a:lnTo>
                  <a:lnTo>
                    <a:pt x="1833" y="1471"/>
                  </a:lnTo>
                  <a:lnTo>
                    <a:pt x="1836" y="1473"/>
                  </a:lnTo>
                  <a:lnTo>
                    <a:pt x="1837" y="1474"/>
                  </a:lnTo>
                  <a:lnTo>
                    <a:pt x="1838" y="1476"/>
                  </a:lnTo>
                  <a:lnTo>
                    <a:pt x="1839" y="1478"/>
                  </a:lnTo>
                  <a:lnTo>
                    <a:pt x="1839" y="1480"/>
                  </a:lnTo>
                  <a:lnTo>
                    <a:pt x="1839" y="1655"/>
                  </a:lnTo>
                  <a:lnTo>
                    <a:pt x="1982" y="1480"/>
                  </a:lnTo>
                  <a:lnTo>
                    <a:pt x="1986" y="1476"/>
                  </a:lnTo>
                  <a:lnTo>
                    <a:pt x="1987" y="1474"/>
                  </a:lnTo>
                  <a:lnTo>
                    <a:pt x="1990" y="1473"/>
                  </a:lnTo>
                  <a:lnTo>
                    <a:pt x="1992" y="1472"/>
                  </a:lnTo>
                  <a:lnTo>
                    <a:pt x="1994" y="1471"/>
                  </a:lnTo>
                  <a:lnTo>
                    <a:pt x="1997" y="1470"/>
                  </a:lnTo>
                  <a:lnTo>
                    <a:pt x="2000" y="1470"/>
                  </a:lnTo>
                  <a:lnTo>
                    <a:pt x="2095" y="1470"/>
                  </a:lnTo>
                  <a:lnTo>
                    <a:pt x="2098" y="1471"/>
                  </a:lnTo>
                  <a:lnTo>
                    <a:pt x="2101" y="1472"/>
                  </a:lnTo>
                  <a:lnTo>
                    <a:pt x="2102" y="1473"/>
                  </a:lnTo>
                  <a:lnTo>
                    <a:pt x="2103" y="1475"/>
                  </a:lnTo>
                  <a:lnTo>
                    <a:pt x="2104" y="1478"/>
                  </a:lnTo>
                  <a:lnTo>
                    <a:pt x="2104" y="1480"/>
                  </a:lnTo>
                  <a:lnTo>
                    <a:pt x="2103" y="1483"/>
                  </a:lnTo>
                  <a:lnTo>
                    <a:pt x="2101" y="1485"/>
                  </a:lnTo>
                  <a:lnTo>
                    <a:pt x="1970" y="1646"/>
                  </a:lnTo>
                  <a:lnTo>
                    <a:pt x="2105" y="1876"/>
                  </a:lnTo>
                  <a:lnTo>
                    <a:pt x="2107" y="1878"/>
                  </a:lnTo>
                  <a:lnTo>
                    <a:pt x="2107" y="1880"/>
                  </a:lnTo>
                  <a:lnTo>
                    <a:pt x="2107" y="1883"/>
                  </a:lnTo>
                  <a:lnTo>
                    <a:pt x="2106" y="1885"/>
                  </a:lnTo>
                  <a:lnTo>
                    <a:pt x="2105" y="1886"/>
                  </a:lnTo>
                  <a:lnTo>
                    <a:pt x="2104" y="1888"/>
                  </a:lnTo>
                  <a:lnTo>
                    <a:pt x="2102" y="1888"/>
                  </a:lnTo>
                  <a:lnTo>
                    <a:pt x="2099" y="1889"/>
                  </a:lnTo>
                  <a:lnTo>
                    <a:pt x="2003" y="1889"/>
                  </a:lnTo>
                  <a:lnTo>
                    <a:pt x="1998" y="1888"/>
                  </a:lnTo>
                  <a:lnTo>
                    <a:pt x="1994" y="1887"/>
                  </a:lnTo>
                  <a:lnTo>
                    <a:pt x="1992" y="1885"/>
                  </a:lnTo>
                  <a:lnTo>
                    <a:pt x="1991" y="1884"/>
                  </a:lnTo>
                  <a:lnTo>
                    <a:pt x="1988" y="1879"/>
                  </a:lnTo>
                  <a:lnTo>
                    <a:pt x="1892" y="1713"/>
                  </a:lnTo>
                  <a:lnTo>
                    <a:pt x="1839" y="1778"/>
                  </a:lnTo>
                  <a:lnTo>
                    <a:pt x="1839" y="1879"/>
                  </a:lnTo>
                  <a:lnTo>
                    <a:pt x="1839" y="1881"/>
                  </a:lnTo>
                  <a:lnTo>
                    <a:pt x="1838" y="1883"/>
                  </a:lnTo>
                  <a:lnTo>
                    <a:pt x="1836" y="1886"/>
                  </a:lnTo>
                  <a:lnTo>
                    <a:pt x="1835" y="1887"/>
                  </a:lnTo>
                  <a:lnTo>
                    <a:pt x="1833" y="1888"/>
                  </a:lnTo>
                  <a:lnTo>
                    <a:pt x="1829" y="1889"/>
                  </a:lnTo>
                  <a:close/>
                  <a:moveTo>
                    <a:pt x="2168" y="1480"/>
                  </a:moveTo>
                  <a:lnTo>
                    <a:pt x="2168" y="1478"/>
                  </a:lnTo>
                  <a:lnTo>
                    <a:pt x="2168" y="1476"/>
                  </a:lnTo>
                  <a:lnTo>
                    <a:pt x="2171" y="1473"/>
                  </a:lnTo>
                  <a:lnTo>
                    <a:pt x="2172" y="1472"/>
                  </a:lnTo>
                  <a:lnTo>
                    <a:pt x="2174" y="1471"/>
                  </a:lnTo>
                  <a:lnTo>
                    <a:pt x="2178" y="1470"/>
                  </a:lnTo>
                  <a:lnTo>
                    <a:pt x="2260" y="1470"/>
                  </a:lnTo>
                  <a:lnTo>
                    <a:pt x="2264" y="1471"/>
                  </a:lnTo>
                  <a:lnTo>
                    <a:pt x="2267" y="1473"/>
                  </a:lnTo>
                  <a:lnTo>
                    <a:pt x="2268" y="1474"/>
                  </a:lnTo>
                  <a:lnTo>
                    <a:pt x="2269" y="1476"/>
                  </a:lnTo>
                  <a:lnTo>
                    <a:pt x="2270" y="1478"/>
                  </a:lnTo>
                  <a:lnTo>
                    <a:pt x="2270" y="1480"/>
                  </a:lnTo>
                  <a:lnTo>
                    <a:pt x="2270" y="1879"/>
                  </a:lnTo>
                  <a:lnTo>
                    <a:pt x="2270" y="1881"/>
                  </a:lnTo>
                  <a:lnTo>
                    <a:pt x="2269" y="1883"/>
                  </a:lnTo>
                  <a:lnTo>
                    <a:pt x="2267" y="1886"/>
                  </a:lnTo>
                  <a:lnTo>
                    <a:pt x="2266" y="1887"/>
                  </a:lnTo>
                  <a:lnTo>
                    <a:pt x="2264" y="1888"/>
                  </a:lnTo>
                  <a:lnTo>
                    <a:pt x="2260" y="1889"/>
                  </a:lnTo>
                  <a:lnTo>
                    <a:pt x="2178" y="1889"/>
                  </a:lnTo>
                  <a:lnTo>
                    <a:pt x="2174" y="1888"/>
                  </a:lnTo>
                  <a:lnTo>
                    <a:pt x="2171" y="1886"/>
                  </a:lnTo>
                  <a:lnTo>
                    <a:pt x="2169" y="1885"/>
                  </a:lnTo>
                  <a:lnTo>
                    <a:pt x="2168" y="1883"/>
                  </a:lnTo>
                  <a:lnTo>
                    <a:pt x="2168" y="1881"/>
                  </a:lnTo>
                  <a:lnTo>
                    <a:pt x="2168" y="1879"/>
                  </a:lnTo>
                  <a:lnTo>
                    <a:pt x="2168" y="1480"/>
                  </a:lnTo>
                  <a:close/>
                  <a:moveTo>
                    <a:pt x="2470" y="1879"/>
                  </a:moveTo>
                  <a:lnTo>
                    <a:pt x="2323" y="1484"/>
                  </a:lnTo>
                  <a:lnTo>
                    <a:pt x="2322" y="1481"/>
                  </a:lnTo>
                  <a:lnTo>
                    <a:pt x="2322" y="1478"/>
                  </a:lnTo>
                  <a:lnTo>
                    <a:pt x="2322" y="1476"/>
                  </a:lnTo>
                  <a:lnTo>
                    <a:pt x="2323" y="1474"/>
                  </a:lnTo>
                  <a:lnTo>
                    <a:pt x="2325" y="1472"/>
                  </a:lnTo>
                  <a:lnTo>
                    <a:pt x="2327" y="1471"/>
                  </a:lnTo>
                  <a:lnTo>
                    <a:pt x="2329" y="1470"/>
                  </a:lnTo>
                  <a:lnTo>
                    <a:pt x="2332" y="1470"/>
                  </a:lnTo>
                  <a:lnTo>
                    <a:pt x="2415" y="1470"/>
                  </a:lnTo>
                  <a:lnTo>
                    <a:pt x="2419" y="1471"/>
                  </a:lnTo>
                  <a:lnTo>
                    <a:pt x="2421" y="1471"/>
                  </a:lnTo>
                  <a:lnTo>
                    <a:pt x="2423" y="1472"/>
                  </a:lnTo>
                  <a:lnTo>
                    <a:pt x="2425" y="1474"/>
                  </a:lnTo>
                  <a:lnTo>
                    <a:pt x="2426" y="1475"/>
                  </a:lnTo>
                  <a:lnTo>
                    <a:pt x="2428" y="1477"/>
                  </a:lnTo>
                  <a:lnTo>
                    <a:pt x="2429" y="1480"/>
                  </a:lnTo>
                  <a:lnTo>
                    <a:pt x="2521" y="1734"/>
                  </a:lnTo>
                  <a:lnTo>
                    <a:pt x="2614" y="1480"/>
                  </a:lnTo>
                  <a:lnTo>
                    <a:pt x="2615" y="1477"/>
                  </a:lnTo>
                  <a:lnTo>
                    <a:pt x="2616" y="1475"/>
                  </a:lnTo>
                  <a:lnTo>
                    <a:pt x="2618" y="1474"/>
                  </a:lnTo>
                  <a:lnTo>
                    <a:pt x="2619" y="1472"/>
                  </a:lnTo>
                  <a:lnTo>
                    <a:pt x="2623" y="1471"/>
                  </a:lnTo>
                  <a:lnTo>
                    <a:pt x="2627" y="1470"/>
                  </a:lnTo>
                  <a:lnTo>
                    <a:pt x="2709" y="1470"/>
                  </a:lnTo>
                  <a:lnTo>
                    <a:pt x="2711" y="1470"/>
                  </a:lnTo>
                  <a:lnTo>
                    <a:pt x="2714" y="1471"/>
                  </a:lnTo>
                  <a:lnTo>
                    <a:pt x="2716" y="1472"/>
                  </a:lnTo>
                  <a:lnTo>
                    <a:pt x="2717" y="1474"/>
                  </a:lnTo>
                  <a:lnTo>
                    <a:pt x="2718" y="1476"/>
                  </a:lnTo>
                  <a:lnTo>
                    <a:pt x="2719" y="1478"/>
                  </a:lnTo>
                  <a:lnTo>
                    <a:pt x="2719" y="1481"/>
                  </a:lnTo>
                  <a:lnTo>
                    <a:pt x="2718" y="1484"/>
                  </a:lnTo>
                  <a:lnTo>
                    <a:pt x="2571" y="1879"/>
                  </a:lnTo>
                  <a:lnTo>
                    <a:pt x="2569" y="1883"/>
                  </a:lnTo>
                  <a:lnTo>
                    <a:pt x="2567" y="1885"/>
                  </a:lnTo>
                  <a:lnTo>
                    <a:pt x="2566" y="1886"/>
                  </a:lnTo>
                  <a:lnTo>
                    <a:pt x="2564" y="1887"/>
                  </a:lnTo>
                  <a:lnTo>
                    <a:pt x="2562" y="1888"/>
                  </a:lnTo>
                  <a:lnTo>
                    <a:pt x="2560" y="1889"/>
                  </a:lnTo>
                  <a:lnTo>
                    <a:pt x="2557" y="1889"/>
                  </a:lnTo>
                  <a:lnTo>
                    <a:pt x="2484" y="1889"/>
                  </a:lnTo>
                  <a:lnTo>
                    <a:pt x="2481" y="1889"/>
                  </a:lnTo>
                  <a:lnTo>
                    <a:pt x="2479" y="1888"/>
                  </a:lnTo>
                  <a:lnTo>
                    <a:pt x="2475" y="1886"/>
                  </a:lnTo>
                  <a:lnTo>
                    <a:pt x="2473" y="1885"/>
                  </a:lnTo>
                  <a:lnTo>
                    <a:pt x="2472" y="1883"/>
                  </a:lnTo>
                  <a:lnTo>
                    <a:pt x="2470" y="1879"/>
                  </a:lnTo>
                  <a:close/>
                  <a:moveTo>
                    <a:pt x="224" y="1804"/>
                  </a:moveTo>
                  <a:lnTo>
                    <a:pt x="236" y="1804"/>
                  </a:lnTo>
                  <a:lnTo>
                    <a:pt x="247" y="1802"/>
                  </a:lnTo>
                  <a:lnTo>
                    <a:pt x="259" y="1799"/>
                  </a:lnTo>
                  <a:lnTo>
                    <a:pt x="264" y="1797"/>
                  </a:lnTo>
                  <a:lnTo>
                    <a:pt x="269" y="1795"/>
                  </a:lnTo>
                  <a:lnTo>
                    <a:pt x="280" y="1791"/>
                  </a:lnTo>
                  <a:lnTo>
                    <a:pt x="289" y="1785"/>
                  </a:lnTo>
                  <a:lnTo>
                    <a:pt x="298" y="1778"/>
                  </a:lnTo>
                  <a:lnTo>
                    <a:pt x="306" y="1770"/>
                  </a:lnTo>
                  <a:lnTo>
                    <a:pt x="314" y="1762"/>
                  </a:lnTo>
                  <a:lnTo>
                    <a:pt x="320" y="1752"/>
                  </a:lnTo>
                  <a:lnTo>
                    <a:pt x="326" y="1742"/>
                  </a:lnTo>
                  <a:lnTo>
                    <a:pt x="331" y="1731"/>
                  </a:lnTo>
                  <a:lnTo>
                    <a:pt x="333" y="1725"/>
                  </a:lnTo>
                  <a:lnTo>
                    <a:pt x="334" y="1719"/>
                  </a:lnTo>
                  <a:lnTo>
                    <a:pt x="337" y="1707"/>
                  </a:lnTo>
                  <a:lnTo>
                    <a:pt x="339" y="1693"/>
                  </a:lnTo>
                  <a:lnTo>
                    <a:pt x="339" y="1687"/>
                  </a:lnTo>
                  <a:lnTo>
                    <a:pt x="340" y="1680"/>
                  </a:lnTo>
                  <a:lnTo>
                    <a:pt x="339" y="1666"/>
                  </a:lnTo>
                  <a:lnTo>
                    <a:pt x="337" y="1652"/>
                  </a:lnTo>
                  <a:lnTo>
                    <a:pt x="334" y="1640"/>
                  </a:lnTo>
                  <a:lnTo>
                    <a:pt x="333" y="1634"/>
                  </a:lnTo>
                  <a:lnTo>
                    <a:pt x="331" y="1628"/>
                  </a:lnTo>
                  <a:lnTo>
                    <a:pt x="326" y="1617"/>
                  </a:lnTo>
                  <a:lnTo>
                    <a:pt x="320" y="1607"/>
                  </a:lnTo>
                  <a:lnTo>
                    <a:pt x="314" y="1597"/>
                  </a:lnTo>
                  <a:lnTo>
                    <a:pt x="310" y="1593"/>
                  </a:lnTo>
                  <a:lnTo>
                    <a:pt x="306" y="1589"/>
                  </a:lnTo>
                  <a:lnTo>
                    <a:pt x="302" y="1585"/>
                  </a:lnTo>
                  <a:lnTo>
                    <a:pt x="298" y="1581"/>
                  </a:lnTo>
                  <a:lnTo>
                    <a:pt x="294" y="1578"/>
                  </a:lnTo>
                  <a:lnTo>
                    <a:pt x="289" y="1574"/>
                  </a:lnTo>
                  <a:lnTo>
                    <a:pt x="280" y="1568"/>
                  </a:lnTo>
                  <a:lnTo>
                    <a:pt x="275" y="1566"/>
                  </a:lnTo>
                  <a:lnTo>
                    <a:pt x="269" y="1564"/>
                  </a:lnTo>
                  <a:lnTo>
                    <a:pt x="264" y="1562"/>
                  </a:lnTo>
                  <a:lnTo>
                    <a:pt x="259" y="1560"/>
                  </a:lnTo>
                  <a:lnTo>
                    <a:pt x="247" y="1557"/>
                  </a:lnTo>
                  <a:lnTo>
                    <a:pt x="236" y="1555"/>
                  </a:lnTo>
                  <a:lnTo>
                    <a:pt x="230" y="1555"/>
                  </a:lnTo>
                  <a:lnTo>
                    <a:pt x="224" y="1555"/>
                  </a:lnTo>
                  <a:lnTo>
                    <a:pt x="212" y="1555"/>
                  </a:lnTo>
                  <a:lnTo>
                    <a:pt x="200" y="1557"/>
                  </a:lnTo>
                  <a:lnTo>
                    <a:pt x="189" y="1560"/>
                  </a:lnTo>
                  <a:lnTo>
                    <a:pt x="183" y="1562"/>
                  </a:lnTo>
                  <a:lnTo>
                    <a:pt x="178" y="1564"/>
                  </a:lnTo>
                  <a:lnTo>
                    <a:pt x="168" y="1568"/>
                  </a:lnTo>
                  <a:lnTo>
                    <a:pt x="158" y="1574"/>
                  </a:lnTo>
                  <a:lnTo>
                    <a:pt x="149" y="1581"/>
                  </a:lnTo>
                  <a:lnTo>
                    <a:pt x="141" y="1589"/>
                  </a:lnTo>
                  <a:lnTo>
                    <a:pt x="134" y="1597"/>
                  </a:lnTo>
                  <a:lnTo>
                    <a:pt x="127" y="1607"/>
                  </a:lnTo>
                  <a:lnTo>
                    <a:pt x="121" y="1617"/>
                  </a:lnTo>
                  <a:lnTo>
                    <a:pt x="117" y="1628"/>
                  </a:lnTo>
                  <a:lnTo>
                    <a:pt x="115" y="1634"/>
                  </a:lnTo>
                  <a:lnTo>
                    <a:pt x="113" y="1640"/>
                  </a:lnTo>
                  <a:lnTo>
                    <a:pt x="110" y="1652"/>
                  </a:lnTo>
                  <a:lnTo>
                    <a:pt x="108" y="1666"/>
                  </a:lnTo>
                  <a:lnTo>
                    <a:pt x="108" y="1672"/>
                  </a:lnTo>
                  <a:lnTo>
                    <a:pt x="108" y="1680"/>
                  </a:lnTo>
                  <a:lnTo>
                    <a:pt x="108" y="1693"/>
                  </a:lnTo>
                  <a:lnTo>
                    <a:pt x="110" y="1707"/>
                  </a:lnTo>
                  <a:lnTo>
                    <a:pt x="113" y="1719"/>
                  </a:lnTo>
                  <a:lnTo>
                    <a:pt x="115" y="1725"/>
                  </a:lnTo>
                  <a:lnTo>
                    <a:pt x="117" y="1731"/>
                  </a:lnTo>
                  <a:lnTo>
                    <a:pt x="121" y="1742"/>
                  </a:lnTo>
                  <a:lnTo>
                    <a:pt x="127" y="1752"/>
                  </a:lnTo>
                  <a:lnTo>
                    <a:pt x="134" y="1762"/>
                  </a:lnTo>
                  <a:lnTo>
                    <a:pt x="137" y="1766"/>
                  </a:lnTo>
                  <a:lnTo>
                    <a:pt x="141" y="1770"/>
                  </a:lnTo>
                  <a:lnTo>
                    <a:pt x="145" y="1774"/>
                  </a:lnTo>
                  <a:lnTo>
                    <a:pt x="149" y="1778"/>
                  </a:lnTo>
                  <a:lnTo>
                    <a:pt x="154" y="1781"/>
                  </a:lnTo>
                  <a:lnTo>
                    <a:pt x="158" y="1785"/>
                  </a:lnTo>
                  <a:lnTo>
                    <a:pt x="168" y="1791"/>
                  </a:lnTo>
                  <a:lnTo>
                    <a:pt x="173" y="1793"/>
                  </a:lnTo>
                  <a:lnTo>
                    <a:pt x="178" y="1795"/>
                  </a:lnTo>
                  <a:lnTo>
                    <a:pt x="183" y="1797"/>
                  </a:lnTo>
                  <a:lnTo>
                    <a:pt x="189" y="1799"/>
                  </a:lnTo>
                  <a:lnTo>
                    <a:pt x="200" y="1802"/>
                  </a:lnTo>
                  <a:lnTo>
                    <a:pt x="212" y="1804"/>
                  </a:lnTo>
                  <a:lnTo>
                    <a:pt x="218" y="1804"/>
                  </a:lnTo>
                  <a:lnTo>
                    <a:pt x="224" y="1804"/>
                  </a:lnTo>
                  <a:close/>
                  <a:moveTo>
                    <a:pt x="224" y="1463"/>
                  </a:moveTo>
                  <a:lnTo>
                    <a:pt x="236" y="1463"/>
                  </a:lnTo>
                  <a:lnTo>
                    <a:pt x="247" y="1464"/>
                  </a:lnTo>
                  <a:lnTo>
                    <a:pt x="259" y="1465"/>
                  </a:lnTo>
                  <a:lnTo>
                    <a:pt x="270" y="1467"/>
                  </a:lnTo>
                  <a:lnTo>
                    <a:pt x="281" y="1470"/>
                  </a:lnTo>
                  <a:lnTo>
                    <a:pt x="292" y="1472"/>
                  </a:lnTo>
                  <a:lnTo>
                    <a:pt x="302" y="1476"/>
                  </a:lnTo>
                  <a:lnTo>
                    <a:pt x="313" y="1479"/>
                  </a:lnTo>
                  <a:lnTo>
                    <a:pt x="323" y="1483"/>
                  </a:lnTo>
                  <a:lnTo>
                    <a:pt x="332" y="1488"/>
                  </a:lnTo>
                  <a:lnTo>
                    <a:pt x="342" y="1493"/>
                  </a:lnTo>
                  <a:lnTo>
                    <a:pt x="351" y="1499"/>
                  </a:lnTo>
                  <a:lnTo>
                    <a:pt x="359" y="1504"/>
                  </a:lnTo>
                  <a:lnTo>
                    <a:pt x="364" y="1507"/>
                  </a:lnTo>
                  <a:lnTo>
                    <a:pt x="368" y="1511"/>
                  </a:lnTo>
                  <a:lnTo>
                    <a:pt x="372" y="1514"/>
                  </a:lnTo>
                  <a:lnTo>
                    <a:pt x="376" y="1517"/>
                  </a:lnTo>
                  <a:lnTo>
                    <a:pt x="383" y="1524"/>
                  </a:lnTo>
                  <a:lnTo>
                    <a:pt x="387" y="1528"/>
                  </a:lnTo>
                  <a:lnTo>
                    <a:pt x="391" y="1532"/>
                  </a:lnTo>
                  <a:lnTo>
                    <a:pt x="398" y="1539"/>
                  </a:lnTo>
                  <a:lnTo>
                    <a:pt x="404" y="1548"/>
                  </a:lnTo>
                  <a:lnTo>
                    <a:pt x="407" y="1552"/>
                  </a:lnTo>
                  <a:lnTo>
                    <a:pt x="410" y="1556"/>
                  </a:lnTo>
                  <a:lnTo>
                    <a:pt x="416" y="1565"/>
                  </a:lnTo>
                  <a:lnTo>
                    <a:pt x="421" y="1574"/>
                  </a:lnTo>
                  <a:lnTo>
                    <a:pt x="426" y="1583"/>
                  </a:lnTo>
                  <a:lnTo>
                    <a:pt x="430" y="1593"/>
                  </a:lnTo>
                  <a:lnTo>
                    <a:pt x="432" y="1598"/>
                  </a:lnTo>
                  <a:lnTo>
                    <a:pt x="434" y="1603"/>
                  </a:lnTo>
                  <a:lnTo>
                    <a:pt x="437" y="1613"/>
                  </a:lnTo>
                  <a:lnTo>
                    <a:pt x="440" y="1623"/>
                  </a:lnTo>
                  <a:lnTo>
                    <a:pt x="443" y="1634"/>
                  </a:lnTo>
                  <a:lnTo>
                    <a:pt x="445" y="1645"/>
                  </a:lnTo>
                  <a:lnTo>
                    <a:pt x="446" y="1656"/>
                  </a:lnTo>
                  <a:lnTo>
                    <a:pt x="446" y="1662"/>
                  </a:lnTo>
                  <a:lnTo>
                    <a:pt x="447" y="1668"/>
                  </a:lnTo>
                  <a:lnTo>
                    <a:pt x="447" y="1680"/>
                  </a:lnTo>
                  <a:lnTo>
                    <a:pt x="447" y="1691"/>
                  </a:lnTo>
                  <a:lnTo>
                    <a:pt x="446" y="1703"/>
                  </a:lnTo>
                  <a:lnTo>
                    <a:pt x="445" y="1714"/>
                  </a:lnTo>
                  <a:lnTo>
                    <a:pt x="443" y="1725"/>
                  </a:lnTo>
                  <a:lnTo>
                    <a:pt x="440" y="1736"/>
                  </a:lnTo>
                  <a:lnTo>
                    <a:pt x="437" y="1746"/>
                  </a:lnTo>
                  <a:lnTo>
                    <a:pt x="434" y="1756"/>
                  </a:lnTo>
                  <a:lnTo>
                    <a:pt x="430" y="1766"/>
                  </a:lnTo>
                  <a:lnTo>
                    <a:pt x="426" y="1776"/>
                  </a:lnTo>
                  <a:lnTo>
                    <a:pt x="421" y="1785"/>
                  </a:lnTo>
                  <a:lnTo>
                    <a:pt x="416" y="1794"/>
                  </a:lnTo>
                  <a:lnTo>
                    <a:pt x="410" y="1803"/>
                  </a:lnTo>
                  <a:lnTo>
                    <a:pt x="404" y="1811"/>
                  </a:lnTo>
                  <a:lnTo>
                    <a:pt x="398" y="1820"/>
                  </a:lnTo>
                  <a:lnTo>
                    <a:pt x="391" y="1827"/>
                  </a:lnTo>
                  <a:lnTo>
                    <a:pt x="383" y="1835"/>
                  </a:lnTo>
                  <a:lnTo>
                    <a:pt x="376" y="1842"/>
                  </a:lnTo>
                  <a:lnTo>
                    <a:pt x="368" y="1848"/>
                  </a:lnTo>
                  <a:lnTo>
                    <a:pt x="359" y="1855"/>
                  </a:lnTo>
                  <a:lnTo>
                    <a:pt x="351" y="1860"/>
                  </a:lnTo>
                  <a:lnTo>
                    <a:pt x="342" y="1866"/>
                  </a:lnTo>
                  <a:lnTo>
                    <a:pt x="332" y="1871"/>
                  </a:lnTo>
                  <a:lnTo>
                    <a:pt x="323" y="1876"/>
                  </a:lnTo>
                  <a:lnTo>
                    <a:pt x="313" y="1880"/>
                  </a:lnTo>
                  <a:lnTo>
                    <a:pt x="302" y="1883"/>
                  </a:lnTo>
                  <a:lnTo>
                    <a:pt x="292" y="1887"/>
                  </a:lnTo>
                  <a:lnTo>
                    <a:pt x="281" y="1889"/>
                  </a:lnTo>
                  <a:lnTo>
                    <a:pt x="270" y="1892"/>
                  </a:lnTo>
                  <a:lnTo>
                    <a:pt x="259" y="1894"/>
                  </a:lnTo>
                  <a:lnTo>
                    <a:pt x="247" y="1895"/>
                  </a:lnTo>
                  <a:lnTo>
                    <a:pt x="236" y="1896"/>
                  </a:lnTo>
                  <a:lnTo>
                    <a:pt x="224" y="1896"/>
                  </a:lnTo>
                  <a:lnTo>
                    <a:pt x="212" y="1896"/>
                  </a:lnTo>
                  <a:lnTo>
                    <a:pt x="200" y="1895"/>
                  </a:lnTo>
                  <a:lnTo>
                    <a:pt x="188" y="1894"/>
                  </a:lnTo>
                  <a:lnTo>
                    <a:pt x="177" y="1892"/>
                  </a:lnTo>
                  <a:lnTo>
                    <a:pt x="166" y="1889"/>
                  </a:lnTo>
                  <a:lnTo>
                    <a:pt x="155" y="1887"/>
                  </a:lnTo>
                  <a:lnTo>
                    <a:pt x="145" y="1883"/>
                  </a:lnTo>
                  <a:lnTo>
                    <a:pt x="135" y="1880"/>
                  </a:lnTo>
                  <a:lnTo>
                    <a:pt x="125" y="1876"/>
                  </a:lnTo>
                  <a:lnTo>
                    <a:pt x="115" y="1871"/>
                  </a:lnTo>
                  <a:lnTo>
                    <a:pt x="106" y="1866"/>
                  </a:lnTo>
                  <a:lnTo>
                    <a:pt x="97" y="1860"/>
                  </a:lnTo>
                  <a:lnTo>
                    <a:pt x="88" y="1855"/>
                  </a:lnTo>
                  <a:lnTo>
                    <a:pt x="84" y="1852"/>
                  </a:lnTo>
                  <a:lnTo>
                    <a:pt x="79" y="1848"/>
                  </a:lnTo>
                  <a:lnTo>
                    <a:pt x="75" y="1845"/>
                  </a:lnTo>
                  <a:lnTo>
                    <a:pt x="71" y="1842"/>
                  </a:lnTo>
                  <a:lnTo>
                    <a:pt x="64" y="1835"/>
                  </a:lnTo>
                  <a:lnTo>
                    <a:pt x="60" y="1831"/>
                  </a:lnTo>
                  <a:lnTo>
                    <a:pt x="56" y="1827"/>
                  </a:lnTo>
                  <a:lnTo>
                    <a:pt x="50" y="1820"/>
                  </a:lnTo>
                  <a:lnTo>
                    <a:pt x="43" y="1811"/>
                  </a:lnTo>
                  <a:lnTo>
                    <a:pt x="40" y="1807"/>
                  </a:lnTo>
                  <a:lnTo>
                    <a:pt x="37" y="1803"/>
                  </a:lnTo>
                  <a:lnTo>
                    <a:pt x="31" y="1794"/>
                  </a:lnTo>
                  <a:lnTo>
                    <a:pt x="26" y="1785"/>
                  </a:lnTo>
                  <a:lnTo>
                    <a:pt x="21" y="1776"/>
                  </a:lnTo>
                  <a:lnTo>
                    <a:pt x="17" y="1766"/>
                  </a:lnTo>
                  <a:lnTo>
                    <a:pt x="15" y="1761"/>
                  </a:lnTo>
                  <a:lnTo>
                    <a:pt x="13" y="1756"/>
                  </a:lnTo>
                  <a:lnTo>
                    <a:pt x="10" y="1746"/>
                  </a:lnTo>
                  <a:lnTo>
                    <a:pt x="7" y="1736"/>
                  </a:lnTo>
                  <a:lnTo>
                    <a:pt x="4" y="1725"/>
                  </a:lnTo>
                  <a:lnTo>
                    <a:pt x="3" y="1714"/>
                  </a:lnTo>
                  <a:lnTo>
                    <a:pt x="1" y="1703"/>
                  </a:lnTo>
                  <a:lnTo>
                    <a:pt x="1" y="1697"/>
                  </a:lnTo>
                  <a:lnTo>
                    <a:pt x="0" y="1691"/>
                  </a:lnTo>
                  <a:lnTo>
                    <a:pt x="0" y="1680"/>
                  </a:lnTo>
                  <a:lnTo>
                    <a:pt x="0" y="1668"/>
                  </a:lnTo>
                  <a:lnTo>
                    <a:pt x="1" y="1656"/>
                  </a:lnTo>
                  <a:lnTo>
                    <a:pt x="3" y="1645"/>
                  </a:lnTo>
                  <a:lnTo>
                    <a:pt x="4" y="1634"/>
                  </a:lnTo>
                  <a:lnTo>
                    <a:pt x="7" y="1623"/>
                  </a:lnTo>
                  <a:lnTo>
                    <a:pt x="10" y="1613"/>
                  </a:lnTo>
                  <a:lnTo>
                    <a:pt x="13" y="1603"/>
                  </a:lnTo>
                  <a:lnTo>
                    <a:pt x="17" y="1593"/>
                  </a:lnTo>
                  <a:lnTo>
                    <a:pt x="21" y="1583"/>
                  </a:lnTo>
                  <a:lnTo>
                    <a:pt x="26" y="1574"/>
                  </a:lnTo>
                  <a:lnTo>
                    <a:pt x="31" y="1565"/>
                  </a:lnTo>
                  <a:lnTo>
                    <a:pt x="37" y="1556"/>
                  </a:lnTo>
                  <a:lnTo>
                    <a:pt x="43" y="1548"/>
                  </a:lnTo>
                  <a:lnTo>
                    <a:pt x="50" y="1539"/>
                  </a:lnTo>
                  <a:lnTo>
                    <a:pt x="56" y="1532"/>
                  </a:lnTo>
                  <a:lnTo>
                    <a:pt x="64" y="1524"/>
                  </a:lnTo>
                  <a:lnTo>
                    <a:pt x="71" y="1517"/>
                  </a:lnTo>
                  <a:lnTo>
                    <a:pt x="79" y="1511"/>
                  </a:lnTo>
                  <a:lnTo>
                    <a:pt x="88" y="1504"/>
                  </a:lnTo>
                  <a:lnTo>
                    <a:pt x="97" y="1499"/>
                  </a:lnTo>
                  <a:lnTo>
                    <a:pt x="106" y="1493"/>
                  </a:lnTo>
                  <a:lnTo>
                    <a:pt x="115" y="1488"/>
                  </a:lnTo>
                  <a:lnTo>
                    <a:pt x="125" y="1483"/>
                  </a:lnTo>
                  <a:lnTo>
                    <a:pt x="135" y="1479"/>
                  </a:lnTo>
                  <a:lnTo>
                    <a:pt x="145" y="1476"/>
                  </a:lnTo>
                  <a:lnTo>
                    <a:pt x="155" y="1472"/>
                  </a:lnTo>
                  <a:lnTo>
                    <a:pt x="166" y="1470"/>
                  </a:lnTo>
                  <a:lnTo>
                    <a:pt x="177" y="1467"/>
                  </a:lnTo>
                  <a:lnTo>
                    <a:pt x="188" y="1465"/>
                  </a:lnTo>
                  <a:lnTo>
                    <a:pt x="200" y="1464"/>
                  </a:lnTo>
                  <a:lnTo>
                    <a:pt x="212" y="1463"/>
                  </a:lnTo>
                  <a:lnTo>
                    <a:pt x="224" y="1463"/>
                  </a:lnTo>
                  <a:close/>
                  <a:moveTo>
                    <a:pt x="1090" y="1810"/>
                  </a:moveTo>
                  <a:lnTo>
                    <a:pt x="1096" y="1809"/>
                  </a:lnTo>
                  <a:lnTo>
                    <a:pt x="1102" y="1809"/>
                  </a:lnTo>
                  <a:lnTo>
                    <a:pt x="1112" y="1807"/>
                  </a:lnTo>
                  <a:lnTo>
                    <a:pt x="1116" y="1806"/>
                  </a:lnTo>
                  <a:lnTo>
                    <a:pt x="1120" y="1804"/>
                  </a:lnTo>
                  <a:lnTo>
                    <a:pt x="1128" y="1800"/>
                  </a:lnTo>
                  <a:lnTo>
                    <a:pt x="1131" y="1798"/>
                  </a:lnTo>
                  <a:lnTo>
                    <a:pt x="1133" y="1795"/>
                  </a:lnTo>
                  <a:lnTo>
                    <a:pt x="1136" y="1792"/>
                  </a:lnTo>
                  <a:lnTo>
                    <a:pt x="1138" y="1789"/>
                  </a:lnTo>
                  <a:lnTo>
                    <a:pt x="1139" y="1786"/>
                  </a:lnTo>
                  <a:lnTo>
                    <a:pt x="1140" y="1782"/>
                  </a:lnTo>
                  <a:lnTo>
                    <a:pt x="1141" y="1779"/>
                  </a:lnTo>
                  <a:lnTo>
                    <a:pt x="1141" y="1775"/>
                  </a:lnTo>
                  <a:lnTo>
                    <a:pt x="1141" y="1771"/>
                  </a:lnTo>
                  <a:lnTo>
                    <a:pt x="1140" y="1767"/>
                  </a:lnTo>
                  <a:lnTo>
                    <a:pt x="1139" y="1763"/>
                  </a:lnTo>
                  <a:lnTo>
                    <a:pt x="1138" y="1760"/>
                  </a:lnTo>
                  <a:lnTo>
                    <a:pt x="1134" y="1754"/>
                  </a:lnTo>
                  <a:lnTo>
                    <a:pt x="1130" y="1749"/>
                  </a:lnTo>
                  <a:lnTo>
                    <a:pt x="1127" y="1747"/>
                  </a:lnTo>
                  <a:lnTo>
                    <a:pt x="1124" y="1744"/>
                  </a:lnTo>
                  <a:lnTo>
                    <a:pt x="1120" y="1742"/>
                  </a:lnTo>
                  <a:lnTo>
                    <a:pt x="1116" y="1740"/>
                  </a:lnTo>
                  <a:lnTo>
                    <a:pt x="1099" y="1732"/>
                  </a:lnTo>
                  <a:lnTo>
                    <a:pt x="1038" y="1703"/>
                  </a:lnTo>
                  <a:lnTo>
                    <a:pt x="1031" y="1699"/>
                  </a:lnTo>
                  <a:lnTo>
                    <a:pt x="1023" y="1695"/>
                  </a:lnTo>
                  <a:lnTo>
                    <a:pt x="1016" y="1691"/>
                  </a:lnTo>
                  <a:lnTo>
                    <a:pt x="1010" y="1686"/>
                  </a:lnTo>
                  <a:lnTo>
                    <a:pt x="1003" y="1680"/>
                  </a:lnTo>
                  <a:lnTo>
                    <a:pt x="997" y="1674"/>
                  </a:lnTo>
                  <a:lnTo>
                    <a:pt x="992" y="1668"/>
                  </a:lnTo>
                  <a:lnTo>
                    <a:pt x="986" y="1661"/>
                  </a:lnTo>
                  <a:lnTo>
                    <a:pt x="982" y="1654"/>
                  </a:lnTo>
                  <a:lnTo>
                    <a:pt x="978" y="1646"/>
                  </a:lnTo>
                  <a:lnTo>
                    <a:pt x="974" y="1638"/>
                  </a:lnTo>
                  <a:lnTo>
                    <a:pt x="971" y="1629"/>
                  </a:lnTo>
                  <a:lnTo>
                    <a:pt x="969" y="1620"/>
                  </a:lnTo>
                  <a:lnTo>
                    <a:pt x="967" y="1610"/>
                  </a:lnTo>
                  <a:lnTo>
                    <a:pt x="966" y="1600"/>
                  </a:lnTo>
                  <a:lnTo>
                    <a:pt x="965" y="1590"/>
                  </a:lnTo>
                  <a:lnTo>
                    <a:pt x="966" y="1583"/>
                  </a:lnTo>
                  <a:lnTo>
                    <a:pt x="966" y="1576"/>
                  </a:lnTo>
                  <a:lnTo>
                    <a:pt x="967" y="1570"/>
                  </a:lnTo>
                  <a:lnTo>
                    <a:pt x="968" y="1563"/>
                  </a:lnTo>
                  <a:lnTo>
                    <a:pt x="971" y="1551"/>
                  </a:lnTo>
                  <a:lnTo>
                    <a:pt x="973" y="1545"/>
                  </a:lnTo>
                  <a:lnTo>
                    <a:pt x="976" y="1539"/>
                  </a:lnTo>
                  <a:lnTo>
                    <a:pt x="979" y="1534"/>
                  </a:lnTo>
                  <a:lnTo>
                    <a:pt x="982" y="1528"/>
                  </a:lnTo>
                  <a:lnTo>
                    <a:pt x="988" y="1518"/>
                  </a:lnTo>
                  <a:lnTo>
                    <a:pt x="996" y="1508"/>
                  </a:lnTo>
                  <a:lnTo>
                    <a:pt x="1005" y="1499"/>
                  </a:lnTo>
                  <a:lnTo>
                    <a:pt x="1015" y="1491"/>
                  </a:lnTo>
                  <a:lnTo>
                    <a:pt x="1026" y="1484"/>
                  </a:lnTo>
                  <a:lnTo>
                    <a:pt x="1037" y="1478"/>
                  </a:lnTo>
                  <a:lnTo>
                    <a:pt x="1044" y="1475"/>
                  </a:lnTo>
                  <a:lnTo>
                    <a:pt x="1050" y="1473"/>
                  </a:lnTo>
                  <a:lnTo>
                    <a:pt x="1063" y="1469"/>
                  </a:lnTo>
                  <a:lnTo>
                    <a:pt x="1070" y="1467"/>
                  </a:lnTo>
                  <a:lnTo>
                    <a:pt x="1077" y="1466"/>
                  </a:lnTo>
                  <a:lnTo>
                    <a:pt x="1085" y="1464"/>
                  </a:lnTo>
                  <a:lnTo>
                    <a:pt x="1092" y="1464"/>
                  </a:lnTo>
                  <a:lnTo>
                    <a:pt x="1107" y="1463"/>
                  </a:lnTo>
                  <a:lnTo>
                    <a:pt x="1122" y="1464"/>
                  </a:lnTo>
                  <a:lnTo>
                    <a:pt x="1137" y="1465"/>
                  </a:lnTo>
                  <a:lnTo>
                    <a:pt x="1145" y="1466"/>
                  </a:lnTo>
                  <a:lnTo>
                    <a:pt x="1152" y="1467"/>
                  </a:lnTo>
                  <a:lnTo>
                    <a:pt x="1159" y="1468"/>
                  </a:lnTo>
                  <a:lnTo>
                    <a:pt x="1166" y="1470"/>
                  </a:lnTo>
                  <a:lnTo>
                    <a:pt x="1180" y="1474"/>
                  </a:lnTo>
                  <a:lnTo>
                    <a:pt x="1193" y="1479"/>
                  </a:lnTo>
                  <a:lnTo>
                    <a:pt x="1206" y="1484"/>
                  </a:lnTo>
                  <a:lnTo>
                    <a:pt x="1217" y="1490"/>
                  </a:lnTo>
                  <a:lnTo>
                    <a:pt x="1219" y="1492"/>
                  </a:lnTo>
                  <a:lnTo>
                    <a:pt x="1221" y="1494"/>
                  </a:lnTo>
                  <a:lnTo>
                    <a:pt x="1222" y="1496"/>
                  </a:lnTo>
                  <a:lnTo>
                    <a:pt x="1223" y="1498"/>
                  </a:lnTo>
                  <a:lnTo>
                    <a:pt x="1223" y="1502"/>
                  </a:lnTo>
                  <a:lnTo>
                    <a:pt x="1221" y="1507"/>
                  </a:lnTo>
                  <a:lnTo>
                    <a:pt x="1197" y="1562"/>
                  </a:lnTo>
                  <a:lnTo>
                    <a:pt x="1194" y="1567"/>
                  </a:lnTo>
                  <a:lnTo>
                    <a:pt x="1192" y="1569"/>
                  </a:lnTo>
                  <a:lnTo>
                    <a:pt x="1191" y="1570"/>
                  </a:lnTo>
                  <a:lnTo>
                    <a:pt x="1186" y="1570"/>
                  </a:lnTo>
                  <a:lnTo>
                    <a:pt x="1184" y="1570"/>
                  </a:lnTo>
                  <a:lnTo>
                    <a:pt x="1181" y="1569"/>
                  </a:lnTo>
                  <a:lnTo>
                    <a:pt x="1172" y="1565"/>
                  </a:lnTo>
                  <a:lnTo>
                    <a:pt x="1164" y="1561"/>
                  </a:lnTo>
                  <a:lnTo>
                    <a:pt x="1156" y="1558"/>
                  </a:lnTo>
                  <a:lnTo>
                    <a:pt x="1147" y="1555"/>
                  </a:lnTo>
                  <a:lnTo>
                    <a:pt x="1139" y="1552"/>
                  </a:lnTo>
                  <a:lnTo>
                    <a:pt x="1130" y="1551"/>
                  </a:lnTo>
                  <a:lnTo>
                    <a:pt x="1121" y="1550"/>
                  </a:lnTo>
                  <a:lnTo>
                    <a:pt x="1111" y="1549"/>
                  </a:lnTo>
                  <a:lnTo>
                    <a:pt x="1101" y="1550"/>
                  </a:lnTo>
                  <a:lnTo>
                    <a:pt x="1092" y="1552"/>
                  </a:lnTo>
                  <a:lnTo>
                    <a:pt x="1088" y="1553"/>
                  </a:lnTo>
                  <a:lnTo>
                    <a:pt x="1085" y="1555"/>
                  </a:lnTo>
                  <a:lnTo>
                    <a:pt x="1078" y="1559"/>
                  </a:lnTo>
                  <a:lnTo>
                    <a:pt x="1075" y="1561"/>
                  </a:lnTo>
                  <a:lnTo>
                    <a:pt x="1073" y="1564"/>
                  </a:lnTo>
                  <a:lnTo>
                    <a:pt x="1071" y="1567"/>
                  </a:lnTo>
                  <a:lnTo>
                    <a:pt x="1069" y="1570"/>
                  </a:lnTo>
                  <a:lnTo>
                    <a:pt x="1068" y="1573"/>
                  </a:lnTo>
                  <a:lnTo>
                    <a:pt x="1067" y="1576"/>
                  </a:lnTo>
                  <a:lnTo>
                    <a:pt x="1067" y="1580"/>
                  </a:lnTo>
                  <a:lnTo>
                    <a:pt x="1067" y="1583"/>
                  </a:lnTo>
                  <a:lnTo>
                    <a:pt x="1067" y="1587"/>
                  </a:lnTo>
                  <a:lnTo>
                    <a:pt x="1067" y="1590"/>
                  </a:lnTo>
                  <a:lnTo>
                    <a:pt x="1069" y="1597"/>
                  </a:lnTo>
                  <a:lnTo>
                    <a:pt x="1073" y="1602"/>
                  </a:lnTo>
                  <a:lnTo>
                    <a:pt x="1075" y="1605"/>
                  </a:lnTo>
                  <a:lnTo>
                    <a:pt x="1077" y="1608"/>
                  </a:lnTo>
                  <a:lnTo>
                    <a:pt x="1080" y="1610"/>
                  </a:lnTo>
                  <a:lnTo>
                    <a:pt x="1083" y="1612"/>
                  </a:lnTo>
                  <a:lnTo>
                    <a:pt x="1090" y="1617"/>
                  </a:lnTo>
                  <a:lnTo>
                    <a:pt x="1098" y="1621"/>
                  </a:lnTo>
                  <a:lnTo>
                    <a:pt x="1108" y="1626"/>
                  </a:lnTo>
                  <a:lnTo>
                    <a:pt x="1170" y="1655"/>
                  </a:lnTo>
                  <a:lnTo>
                    <a:pt x="1178" y="1659"/>
                  </a:lnTo>
                  <a:lnTo>
                    <a:pt x="1185" y="1663"/>
                  </a:lnTo>
                  <a:lnTo>
                    <a:pt x="1193" y="1667"/>
                  </a:lnTo>
                  <a:lnTo>
                    <a:pt x="1199" y="1672"/>
                  </a:lnTo>
                  <a:lnTo>
                    <a:pt x="1206" y="1678"/>
                  </a:lnTo>
                  <a:lnTo>
                    <a:pt x="1212" y="1684"/>
                  </a:lnTo>
                  <a:lnTo>
                    <a:pt x="1217" y="1690"/>
                  </a:lnTo>
                  <a:lnTo>
                    <a:pt x="1222" y="1696"/>
                  </a:lnTo>
                  <a:lnTo>
                    <a:pt x="1225" y="1700"/>
                  </a:lnTo>
                  <a:lnTo>
                    <a:pt x="1227" y="1703"/>
                  </a:lnTo>
                  <a:lnTo>
                    <a:pt x="1231" y="1711"/>
                  </a:lnTo>
                  <a:lnTo>
                    <a:pt x="1234" y="1719"/>
                  </a:lnTo>
                  <a:lnTo>
                    <a:pt x="1237" y="1727"/>
                  </a:lnTo>
                  <a:lnTo>
                    <a:pt x="1239" y="1731"/>
                  </a:lnTo>
                  <a:lnTo>
                    <a:pt x="1240" y="1736"/>
                  </a:lnTo>
                  <a:lnTo>
                    <a:pt x="1241" y="1745"/>
                  </a:lnTo>
                  <a:lnTo>
                    <a:pt x="1242" y="1755"/>
                  </a:lnTo>
                  <a:lnTo>
                    <a:pt x="1243" y="1766"/>
                  </a:lnTo>
                  <a:lnTo>
                    <a:pt x="1243" y="1773"/>
                  </a:lnTo>
                  <a:lnTo>
                    <a:pt x="1242" y="1780"/>
                  </a:lnTo>
                  <a:lnTo>
                    <a:pt x="1240" y="1793"/>
                  </a:lnTo>
                  <a:lnTo>
                    <a:pt x="1238" y="1799"/>
                  </a:lnTo>
                  <a:lnTo>
                    <a:pt x="1236" y="1806"/>
                  </a:lnTo>
                  <a:lnTo>
                    <a:pt x="1232" y="1818"/>
                  </a:lnTo>
                  <a:lnTo>
                    <a:pt x="1229" y="1824"/>
                  </a:lnTo>
                  <a:lnTo>
                    <a:pt x="1226" y="1829"/>
                  </a:lnTo>
                  <a:lnTo>
                    <a:pt x="1222" y="1835"/>
                  </a:lnTo>
                  <a:lnTo>
                    <a:pt x="1218" y="1840"/>
                  </a:lnTo>
                  <a:lnTo>
                    <a:pt x="1214" y="1845"/>
                  </a:lnTo>
                  <a:lnTo>
                    <a:pt x="1210" y="1850"/>
                  </a:lnTo>
                  <a:lnTo>
                    <a:pt x="1206" y="1855"/>
                  </a:lnTo>
                  <a:lnTo>
                    <a:pt x="1201" y="1859"/>
                  </a:lnTo>
                  <a:lnTo>
                    <a:pt x="1196" y="1863"/>
                  </a:lnTo>
                  <a:lnTo>
                    <a:pt x="1190" y="1867"/>
                  </a:lnTo>
                  <a:lnTo>
                    <a:pt x="1179" y="1875"/>
                  </a:lnTo>
                  <a:lnTo>
                    <a:pt x="1173" y="1878"/>
                  </a:lnTo>
                  <a:lnTo>
                    <a:pt x="1166" y="1881"/>
                  </a:lnTo>
                  <a:lnTo>
                    <a:pt x="1160" y="1884"/>
                  </a:lnTo>
                  <a:lnTo>
                    <a:pt x="1153" y="1886"/>
                  </a:lnTo>
                  <a:lnTo>
                    <a:pt x="1139" y="1890"/>
                  </a:lnTo>
                  <a:lnTo>
                    <a:pt x="1132" y="1892"/>
                  </a:lnTo>
                  <a:lnTo>
                    <a:pt x="1124" y="1893"/>
                  </a:lnTo>
                  <a:lnTo>
                    <a:pt x="1117" y="1895"/>
                  </a:lnTo>
                  <a:lnTo>
                    <a:pt x="1109" y="1895"/>
                  </a:lnTo>
                  <a:lnTo>
                    <a:pt x="1093" y="1896"/>
                  </a:lnTo>
                  <a:lnTo>
                    <a:pt x="1075" y="1895"/>
                  </a:lnTo>
                  <a:lnTo>
                    <a:pt x="1066" y="1894"/>
                  </a:lnTo>
                  <a:lnTo>
                    <a:pt x="1057" y="1893"/>
                  </a:lnTo>
                  <a:lnTo>
                    <a:pt x="1048" y="1891"/>
                  </a:lnTo>
                  <a:lnTo>
                    <a:pt x="1040" y="1890"/>
                  </a:lnTo>
                  <a:lnTo>
                    <a:pt x="1031" y="1887"/>
                  </a:lnTo>
                  <a:lnTo>
                    <a:pt x="1023" y="1885"/>
                  </a:lnTo>
                  <a:lnTo>
                    <a:pt x="1007" y="1880"/>
                  </a:lnTo>
                  <a:lnTo>
                    <a:pt x="992" y="1873"/>
                  </a:lnTo>
                  <a:lnTo>
                    <a:pt x="977" y="1866"/>
                  </a:lnTo>
                  <a:lnTo>
                    <a:pt x="964" y="1859"/>
                  </a:lnTo>
                  <a:lnTo>
                    <a:pt x="961" y="1857"/>
                  </a:lnTo>
                  <a:lnTo>
                    <a:pt x="959" y="1854"/>
                  </a:lnTo>
                  <a:lnTo>
                    <a:pt x="958" y="1852"/>
                  </a:lnTo>
                  <a:lnTo>
                    <a:pt x="957" y="1850"/>
                  </a:lnTo>
                  <a:lnTo>
                    <a:pt x="958" y="1846"/>
                  </a:lnTo>
                  <a:lnTo>
                    <a:pt x="960" y="1842"/>
                  </a:lnTo>
                  <a:lnTo>
                    <a:pt x="984" y="1787"/>
                  </a:lnTo>
                  <a:lnTo>
                    <a:pt x="987" y="1782"/>
                  </a:lnTo>
                  <a:lnTo>
                    <a:pt x="989" y="1780"/>
                  </a:lnTo>
                  <a:lnTo>
                    <a:pt x="990" y="1779"/>
                  </a:lnTo>
                  <a:lnTo>
                    <a:pt x="993" y="1778"/>
                  </a:lnTo>
                  <a:lnTo>
                    <a:pt x="995" y="1778"/>
                  </a:lnTo>
                  <a:lnTo>
                    <a:pt x="997" y="1779"/>
                  </a:lnTo>
                  <a:lnTo>
                    <a:pt x="1000" y="1780"/>
                  </a:lnTo>
                  <a:lnTo>
                    <a:pt x="1012" y="1787"/>
                  </a:lnTo>
                  <a:lnTo>
                    <a:pt x="1023" y="1792"/>
                  </a:lnTo>
                  <a:lnTo>
                    <a:pt x="1034" y="1797"/>
                  </a:lnTo>
                  <a:lnTo>
                    <a:pt x="1045" y="1802"/>
                  </a:lnTo>
                  <a:lnTo>
                    <a:pt x="1056" y="1805"/>
                  </a:lnTo>
                  <a:lnTo>
                    <a:pt x="1067" y="1808"/>
                  </a:lnTo>
                  <a:lnTo>
                    <a:pt x="1079" y="1809"/>
                  </a:lnTo>
                  <a:lnTo>
                    <a:pt x="1090" y="1810"/>
                  </a:lnTo>
                  <a:close/>
                  <a:moveTo>
                    <a:pt x="512" y="1480"/>
                  </a:moveTo>
                  <a:lnTo>
                    <a:pt x="512" y="1478"/>
                  </a:lnTo>
                  <a:lnTo>
                    <a:pt x="513" y="1476"/>
                  </a:lnTo>
                  <a:lnTo>
                    <a:pt x="515" y="1473"/>
                  </a:lnTo>
                  <a:lnTo>
                    <a:pt x="516" y="1472"/>
                  </a:lnTo>
                  <a:lnTo>
                    <a:pt x="518" y="1471"/>
                  </a:lnTo>
                  <a:lnTo>
                    <a:pt x="522" y="1470"/>
                  </a:lnTo>
                  <a:lnTo>
                    <a:pt x="606" y="1470"/>
                  </a:lnTo>
                  <a:lnTo>
                    <a:pt x="609" y="1471"/>
                  </a:lnTo>
                  <a:lnTo>
                    <a:pt x="612" y="1473"/>
                  </a:lnTo>
                  <a:lnTo>
                    <a:pt x="613" y="1474"/>
                  </a:lnTo>
                  <a:lnTo>
                    <a:pt x="614" y="1476"/>
                  </a:lnTo>
                  <a:lnTo>
                    <a:pt x="614" y="1478"/>
                  </a:lnTo>
                  <a:lnTo>
                    <a:pt x="615" y="1480"/>
                  </a:lnTo>
                  <a:lnTo>
                    <a:pt x="615" y="1797"/>
                  </a:lnTo>
                  <a:lnTo>
                    <a:pt x="689" y="1797"/>
                  </a:lnTo>
                  <a:lnTo>
                    <a:pt x="693" y="1797"/>
                  </a:lnTo>
                  <a:lnTo>
                    <a:pt x="696" y="1799"/>
                  </a:lnTo>
                  <a:lnTo>
                    <a:pt x="697" y="1801"/>
                  </a:lnTo>
                  <a:lnTo>
                    <a:pt x="697" y="1803"/>
                  </a:lnTo>
                  <a:lnTo>
                    <a:pt x="698" y="1804"/>
                  </a:lnTo>
                  <a:lnTo>
                    <a:pt x="698" y="1807"/>
                  </a:lnTo>
                  <a:lnTo>
                    <a:pt x="698" y="1879"/>
                  </a:lnTo>
                  <a:lnTo>
                    <a:pt x="698" y="1881"/>
                  </a:lnTo>
                  <a:lnTo>
                    <a:pt x="697" y="1883"/>
                  </a:lnTo>
                  <a:lnTo>
                    <a:pt x="696" y="1886"/>
                  </a:lnTo>
                  <a:lnTo>
                    <a:pt x="694" y="1887"/>
                  </a:lnTo>
                  <a:lnTo>
                    <a:pt x="693" y="1888"/>
                  </a:lnTo>
                  <a:lnTo>
                    <a:pt x="691" y="1889"/>
                  </a:lnTo>
                  <a:lnTo>
                    <a:pt x="689" y="1889"/>
                  </a:lnTo>
                  <a:lnTo>
                    <a:pt x="522" y="1889"/>
                  </a:lnTo>
                  <a:lnTo>
                    <a:pt x="518" y="1888"/>
                  </a:lnTo>
                  <a:lnTo>
                    <a:pt x="515" y="1886"/>
                  </a:lnTo>
                  <a:lnTo>
                    <a:pt x="513" y="1883"/>
                  </a:lnTo>
                  <a:lnTo>
                    <a:pt x="512" y="1881"/>
                  </a:lnTo>
                  <a:lnTo>
                    <a:pt x="512" y="1879"/>
                  </a:lnTo>
                  <a:lnTo>
                    <a:pt x="512" y="1480"/>
                  </a:lnTo>
                  <a:close/>
                  <a:moveTo>
                    <a:pt x="777" y="1480"/>
                  </a:moveTo>
                  <a:lnTo>
                    <a:pt x="777" y="1478"/>
                  </a:lnTo>
                  <a:lnTo>
                    <a:pt x="778" y="1476"/>
                  </a:lnTo>
                  <a:lnTo>
                    <a:pt x="780" y="1473"/>
                  </a:lnTo>
                  <a:lnTo>
                    <a:pt x="781" y="1472"/>
                  </a:lnTo>
                  <a:lnTo>
                    <a:pt x="783" y="1471"/>
                  </a:lnTo>
                  <a:lnTo>
                    <a:pt x="787" y="1470"/>
                  </a:lnTo>
                  <a:lnTo>
                    <a:pt x="869" y="1470"/>
                  </a:lnTo>
                  <a:lnTo>
                    <a:pt x="873" y="1471"/>
                  </a:lnTo>
                  <a:lnTo>
                    <a:pt x="876" y="1473"/>
                  </a:lnTo>
                  <a:lnTo>
                    <a:pt x="878" y="1474"/>
                  </a:lnTo>
                  <a:lnTo>
                    <a:pt x="879" y="1476"/>
                  </a:lnTo>
                  <a:lnTo>
                    <a:pt x="879" y="1478"/>
                  </a:lnTo>
                  <a:lnTo>
                    <a:pt x="879" y="1480"/>
                  </a:lnTo>
                  <a:lnTo>
                    <a:pt x="879" y="1879"/>
                  </a:lnTo>
                  <a:lnTo>
                    <a:pt x="879" y="1881"/>
                  </a:lnTo>
                  <a:lnTo>
                    <a:pt x="879" y="1883"/>
                  </a:lnTo>
                  <a:lnTo>
                    <a:pt x="876" y="1886"/>
                  </a:lnTo>
                  <a:lnTo>
                    <a:pt x="875" y="1887"/>
                  </a:lnTo>
                  <a:lnTo>
                    <a:pt x="873" y="1888"/>
                  </a:lnTo>
                  <a:lnTo>
                    <a:pt x="869" y="1889"/>
                  </a:lnTo>
                  <a:lnTo>
                    <a:pt x="787" y="1889"/>
                  </a:lnTo>
                  <a:lnTo>
                    <a:pt x="783" y="1888"/>
                  </a:lnTo>
                  <a:lnTo>
                    <a:pt x="780" y="1886"/>
                  </a:lnTo>
                  <a:lnTo>
                    <a:pt x="779" y="1885"/>
                  </a:lnTo>
                  <a:lnTo>
                    <a:pt x="778" y="1883"/>
                  </a:lnTo>
                  <a:lnTo>
                    <a:pt x="777" y="1881"/>
                  </a:lnTo>
                  <a:lnTo>
                    <a:pt x="777" y="1879"/>
                  </a:lnTo>
                  <a:lnTo>
                    <a:pt x="777" y="148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301908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lhuet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887BDEE-7577-4E02-99B6-69EEF05B86F2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RIA - RKL yrittäjäpäivä 1.11.202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3957D1D-CDAB-407B-B091-22FA3FB0C42F}"/>
              </a:ext>
            </a:extLst>
          </p:cNvPr>
          <p:cNvGrpSpPr/>
          <p:nvPr userDrawn="1"/>
        </p:nvGrpSpPr>
        <p:grpSpPr>
          <a:xfrm>
            <a:off x="0" y="4077072"/>
            <a:ext cx="9874285" cy="1872000"/>
            <a:chOff x="0" y="4077072"/>
            <a:chExt cx="9874285" cy="1872000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0A998A7F-A659-430D-A591-F7C9634F9E5F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0" y="4077072"/>
              <a:ext cx="9874285" cy="1872000"/>
            </a:xfrm>
            <a:custGeom>
              <a:avLst/>
              <a:gdLst>
                <a:gd name="T0" fmla="*/ 10894 w 23040"/>
                <a:gd name="T1" fmla="*/ 3037 h 4369"/>
                <a:gd name="T2" fmla="*/ 10931 w 23040"/>
                <a:gd name="T3" fmla="*/ 2661 h 4369"/>
                <a:gd name="T4" fmla="*/ 13479 w 23040"/>
                <a:gd name="T5" fmla="*/ 2241 h 4369"/>
                <a:gd name="T6" fmla="*/ 12981 w 23040"/>
                <a:gd name="T7" fmla="*/ 1865 h 4369"/>
                <a:gd name="T8" fmla="*/ 13222 w 23040"/>
                <a:gd name="T9" fmla="*/ 1543 h 4369"/>
                <a:gd name="T10" fmla="*/ 13525 w 23040"/>
                <a:gd name="T11" fmla="*/ 3907 h 4369"/>
                <a:gd name="T12" fmla="*/ 12729 w 23040"/>
                <a:gd name="T13" fmla="*/ 3813 h 4369"/>
                <a:gd name="T14" fmla="*/ 10912 w 23040"/>
                <a:gd name="T15" fmla="*/ 2402 h 4369"/>
                <a:gd name="T16" fmla="*/ 16652 w 23040"/>
                <a:gd name="T17" fmla="*/ 970 h 4369"/>
                <a:gd name="T18" fmla="*/ 16232 w 23040"/>
                <a:gd name="T19" fmla="*/ 332 h 4369"/>
                <a:gd name="T20" fmla="*/ 15103 w 23040"/>
                <a:gd name="T21" fmla="*/ 2262 h 4369"/>
                <a:gd name="T22" fmla="*/ 12814 w 23040"/>
                <a:gd name="T23" fmla="*/ 2991 h 4369"/>
                <a:gd name="T24" fmla="*/ 11678 w 23040"/>
                <a:gd name="T25" fmla="*/ 3172 h 4369"/>
                <a:gd name="T26" fmla="*/ 12355 w 23040"/>
                <a:gd name="T27" fmla="*/ 2838 h 4369"/>
                <a:gd name="T28" fmla="*/ 12184 w 23040"/>
                <a:gd name="T29" fmla="*/ 4304 h 4369"/>
                <a:gd name="T30" fmla="*/ 11739 w 23040"/>
                <a:gd name="T31" fmla="*/ 2627 h 4369"/>
                <a:gd name="T32" fmla="*/ 11666 w 23040"/>
                <a:gd name="T33" fmla="*/ 2291 h 4369"/>
                <a:gd name="T34" fmla="*/ 11184 w 23040"/>
                <a:gd name="T35" fmla="*/ 3107 h 4369"/>
                <a:gd name="T36" fmla="*/ 11469 w 23040"/>
                <a:gd name="T37" fmla="*/ 1044 h 4369"/>
                <a:gd name="T38" fmla="*/ 13150 w 23040"/>
                <a:gd name="T39" fmla="*/ 754 h 4369"/>
                <a:gd name="T40" fmla="*/ 16863 w 23040"/>
                <a:gd name="T41" fmla="*/ 4331 h 4369"/>
                <a:gd name="T42" fmla="*/ 14362 w 23040"/>
                <a:gd name="T43" fmla="*/ 3771 h 4369"/>
                <a:gd name="T44" fmla="*/ 14362 w 23040"/>
                <a:gd name="T45" fmla="*/ 3373 h 4369"/>
                <a:gd name="T46" fmla="*/ 14105 w 23040"/>
                <a:gd name="T47" fmla="*/ 3277 h 4369"/>
                <a:gd name="T48" fmla="*/ 14091 w 23040"/>
                <a:gd name="T49" fmla="*/ 2881 h 4369"/>
                <a:gd name="T50" fmla="*/ 20731 w 23040"/>
                <a:gd name="T51" fmla="*/ 4008 h 4369"/>
                <a:gd name="T52" fmla="*/ 19002 w 23040"/>
                <a:gd name="T53" fmla="*/ 3795 h 4369"/>
                <a:gd name="T54" fmla="*/ 19052 w 23040"/>
                <a:gd name="T55" fmla="*/ 3549 h 4369"/>
                <a:gd name="T56" fmla="*/ 19727 w 23040"/>
                <a:gd name="T57" fmla="*/ 3547 h 4369"/>
                <a:gd name="T58" fmla="*/ 21772 w 23040"/>
                <a:gd name="T59" fmla="*/ 1759 h 4369"/>
                <a:gd name="T60" fmla="*/ 20169 w 23040"/>
                <a:gd name="T61" fmla="*/ 1874 h 4369"/>
                <a:gd name="T62" fmla="*/ 18388 w 23040"/>
                <a:gd name="T63" fmla="*/ 2546 h 4369"/>
                <a:gd name="T64" fmla="*/ 19509 w 23040"/>
                <a:gd name="T65" fmla="*/ 3625 h 4369"/>
                <a:gd name="T66" fmla="*/ 18969 w 23040"/>
                <a:gd name="T67" fmla="*/ 3381 h 4369"/>
                <a:gd name="T68" fmla="*/ 2798 w 23040"/>
                <a:gd name="T69" fmla="*/ 3193 h 4369"/>
                <a:gd name="T70" fmla="*/ 440 w 23040"/>
                <a:gd name="T71" fmla="*/ 2751 h 4369"/>
                <a:gd name="T72" fmla="*/ 2868 w 23040"/>
                <a:gd name="T73" fmla="*/ 4141 h 4369"/>
                <a:gd name="T74" fmla="*/ 837 w 23040"/>
                <a:gd name="T75" fmla="*/ 3250 h 4369"/>
                <a:gd name="T76" fmla="*/ 823 w 23040"/>
                <a:gd name="T77" fmla="*/ 3336 h 4369"/>
                <a:gd name="T78" fmla="*/ 1107 w 23040"/>
                <a:gd name="T79" fmla="*/ 3717 h 4369"/>
                <a:gd name="T80" fmla="*/ 1080 w 23040"/>
                <a:gd name="T81" fmla="*/ 3810 h 4369"/>
                <a:gd name="T82" fmla="*/ 188 w 23040"/>
                <a:gd name="T83" fmla="*/ 1799 h 4369"/>
                <a:gd name="T84" fmla="*/ 2556 w 23040"/>
                <a:gd name="T85" fmla="*/ 2016 h 4369"/>
                <a:gd name="T86" fmla="*/ 2583 w 23040"/>
                <a:gd name="T87" fmla="*/ 2578 h 4369"/>
                <a:gd name="T88" fmla="*/ 8182 w 23040"/>
                <a:gd name="T89" fmla="*/ 2792 h 4369"/>
                <a:gd name="T90" fmla="*/ 9070 w 23040"/>
                <a:gd name="T91" fmla="*/ 2753 h 4369"/>
                <a:gd name="T92" fmla="*/ 6863 w 23040"/>
                <a:gd name="T93" fmla="*/ 2176 h 4369"/>
                <a:gd name="T94" fmla="*/ 6215 w 23040"/>
                <a:gd name="T95" fmla="*/ 2702 h 4369"/>
                <a:gd name="T96" fmla="*/ 7097 w 23040"/>
                <a:gd name="T97" fmla="*/ 2957 h 4369"/>
                <a:gd name="T98" fmla="*/ 6454 w 23040"/>
                <a:gd name="T99" fmla="*/ 3498 h 4369"/>
                <a:gd name="T100" fmla="*/ 6384 w 23040"/>
                <a:gd name="T101" fmla="*/ 4003 h 4369"/>
                <a:gd name="T102" fmla="*/ 8037 w 23040"/>
                <a:gd name="T103" fmla="*/ 2925 h 4369"/>
                <a:gd name="T104" fmla="*/ 8332 w 23040"/>
                <a:gd name="T105" fmla="*/ 3308 h 4369"/>
                <a:gd name="T106" fmla="*/ 8296 w 23040"/>
                <a:gd name="T107" fmla="*/ 3424 h 4369"/>
                <a:gd name="T108" fmla="*/ 8598 w 23040"/>
                <a:gd name="T109" fmla="*/ 3792 h 4369"/>
                <a:gd name="T110" fmla="*/ 5650 w 23040"/>
                <a:gd name="T111" fmla="*/ 1956 h 4369"/>
                <a:gd name="T112" fmla="*/ 8119 w 23040"/>
                <a:gd name="T113" fmla="*/ 245 h 4369"/>
                <a:gd name="T114" fmla="*/ 4680 w 23040"/>
                <a:gd name="T115" fmla="*/ 942 h 4369"/>
                <a:gd name="T116" fmla="*/ 5027 w 23040"/>
                <a:gd name="T117" fmla="*/ 2616 h 4369"/>
                <a:gd name="T118" fmla="*/ 4991 w 23040"/>
                <a:gd name="T119" fmla="*/ 2732 h 4369"/>
                <a:gd name="T120" fmla="*/ 5292 w 23040"/>
                <a:gd name="T121" fmla="*/ 3101 h 4369"/>
                <a:gd name="T122" fmla="*/ 5252 w 23040"/>
                <a:gd name="T123" fmla="*/ 3235 h 4369"/>
                <a:gd name="T124" fmla="*/ 3326 w 23040"/>
                <a:gd name="T125" fmla="*/ 3951 h 4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040" h="4369">
                  <a:moveTo>
                    <a:pt x="10933" y="3163"/>
                  </a:moveTo>
                  <a:lnTo>
                    <a:pt x="10933" y="3274"/>
                  </a:lnTo>
                  <a:lnTo>
                    <a:pt x="10931" y="3283"/>
                  </a:lnTo>
                  <a:lnTo>
                    <a:pt x="10926" y="3290"/>
                  </a:lnTo>
                  <a:lnTo>
                    <a:pt x="10920" y="3294"/>
                  </a:lnTo>
                  <a:lnTo>
                    <a:pt x="10912" y="3295"/>
                  </a:lnTo>
                  <a:lnTo>
                    <a:pt x="10906" y="3294"/>
                  </a:lnTo>
                  <a:lnTo>
                    <a:pt x="10899" y="3290"/>
                  </a:lnTo>
                  <a:lnTo>
                    <a:pt x="10894" y="3283"/>
                  </a:lnTo>
                  <a:lnTo>
                    <a:pt x="10893" y="3274"/>
                  </a:lnTo>
                  <a:lnTo>
                    <a:pt x="10893" y="3163"/>
                  </a:lnTo>
                  <a:lnTo>
                    <a:pt x="10894" y="3154"/>
                  </a:lnTo>
                  <a:lnTo>
                    <a:pt x="10899" y="3148"/>
                  </a:lnTo>
                  <a:lnTo>
                    <a:pt x="10906" y="3144"/>
                  </a:lnTo>
                  <a:lnTo>
                    <a:pt x="10912" y="3143"/>
                  </a:lnTo>
                  <a:lnTo>
                    <a:pt x="10920" y="3144"/>
                  </a:lnTo>
                  <a:lnTo>
                    <a:pt x="10926" y="3148"/>
                  </a:lnTo>
                  <a:lnTo>
                    <a:pt x="10931" y="3154"/>
                  </a:lnTo>
                  <a:lnTo>
                    <a:pt x="10933" y="3163"/>
                  </a:lnTo>
                  <a:close/>
                  <a:moveTo>
                    <a:pt x="10670" y="3163"/>
                  </a:moveTo>
                  <a:lnTo>
                    <a:pt x="10670" y="3274"/>
                  </a:lnTo>
                  <a:lnTo>
                    <a:pt x="10669" y="3283"/>
                  </a:lnTo>
                  <a:lnTo>
                    <a:pt x="10663" y="3290"/>
                  </a:lnTo>
                  <a:lnTo>
                    <a:pt x="10657" y="3294"/>
                  </a:lnTo>
                  <a:lnTo>
                    <a:pt x="10649" y="3295"/>
                  </a:lnTo>
                  <a:lnTo>
                    <a:pt x="10643" y="3294"/>
                  </a:lnTo>
                  <a:lnTo>
                    <a:pt x="10637" y="3290"/>
                  </a:lnTo>
                  <a:lnTo>
                    <a:pt x="10631" y="3283"/>
                  </a:lnTo>
                  <a:lnTo>
                    <a:pt x="10630" y="3274"/>
                  </a:lnTo>
                  <a:lnTo>
                    <a:pt x="10630" y="3163"/>
                  </a:lnTo>
                  <a:lnTo>
                    <a:pt x="10631" y="3154"/>
                  </a:lnTo>
                  <a:lnTo>
                    <a:pt x="10637" y="3148"/>
                  </a:lnTo>
                  <a:lnTo>
                    <a:pt x="10643" y="3144"/>
                  </a:lnTo>
                  <a:lnTo>
                    <a:pt x="10649" y="3143"/>
                  </a:lnTo>
                  <a:lnTo>
                    <a:pt x="10657" y="3144"/>
                  </a:lnTo>
                  <a:lnTo>
                    <a:pt x="10663" y="3148"/>
                  </a:lnTo>
                  <a:lnTo>
                    <a:pt x="10669" y="3154"/>
                  </a:lnTo>
                  <a:lnTo>
                    <a:pt x="10670" y="3163"/>
                  </a:lnTo>
                  <a:close/>
                  <a:moveTo>
                    <a:pt x="10407" y="3163"/>
                  </a:moveTo>
                  <a:lnTo>
                    <a:pt x="10407" y="3274"/>
                  </a:lnTo>
                  <a:lnTo>
                    <a:pt x="10404" y="3283"/>
                  </a:lnTo>
                  <a:lnTo>
                    <a:pt x="10401" y="3290"/>
                  </a:lnTo>
                  <a:lnTo>
                    <a:pt x="10394" y="3294"/>
                  </a:lnTo>
                  <a:lnTo>
                    <a:pt x="10386" y="3295"/>
                  </a:lnTo>
                  <a:lnTo>
                    <a:pt x="10379" y="3294"/>
                  </a:lnTo>
                  <a:lnTo>
                    <a:pt x="10372" y="3290"/>
                  </a:lnTo>
                  <a:lnTo>
                    <a:pt x="10369" y="3283"/>
                  </a:lnTo>
                  <a:lnTo>
                    <a:pt x="10366" y="3274"/>
                  </a:lnTo>
                  <a:lnTo>
                    <a:pt x="10366" y="3163"/>
                  </a:lnTo>
                  <a:lnTo>
                    <a:pt x="10369" y="3154"/>
                  </a:lnTo>
                  <a:lnTo>
                    <a:pt x="10372" y="3148"/>
                  </a:lnTo>
                  <a:lnTo>
                    <a:pt x="10379" y="3144"/>
                  </a:lnTo>
                  <a:lnTo>
                    <a:pt x="10386" y="3143"/>
                  </a:lnTo>
                  <a:lnTo>
                    <a:pt x="10394" y="3144"/>
                  </a:lnTo>
                  <a:lnTo>
                    <a:pt x="10401" y="3148"/>
                  </a:lnTo>
                  <a:lnTo>
                    <a:pt x="10404" y="3154"/>
                  </a:lnTo>
                  <a:lnTo>
                    <a:pt x="10407" y="3163"/>
                  </a:lnTo>
                  <a:close/>
                  <a:moveTo>
                    <a:pt x="10143" y="3163"/>
                  </a:moveTo>
                  <a:lnTo>
                    <a:pt x="10143" y="3274"/>
                  </a:lnTo>
                  <a:lnTo>
                    <a:pt x="10142" y="3283"/>
                  </a:lnTo>
                  <a:lnTo>
                    <a:pt x="10138" y="3290"/>
                  </a:lnTo>
                  <a:lnTo>
                    <a:pt x="10131" y="3294"/>
                  </a:lnTo>
                  <a:lnTo>
                    <a:pt x="10124" y="3295"/>
                  </a:lnTo>
                  <a:lnTo>
                    <a:pt x="10116" y="3294"/>
                  </a:lnTo>
                  <a:lnTo>
                    <a:pt x="10109" y="3290"/>
                  </a:lnTo>
                  <a:lnTo>
                    <a:pt x="10106" y="3283"/>
                  </a:lnTo>
                  <a:lnTo>
                    <a:pt x="10103" y="3274"/>
                  </a:lnTo>
                  <a:lnTo>
                    <a:pt x="10103" y="3163"/>
                  </a:lnTo>
                  <a:lnTo>
                    <a:pt x="10106" y="3154"/>
                  </a:lnTo>
                  <a:lnTo>
                    <a:pt x="10109" y="3148"/>
                  </a:lnTo>
                  <a:lnTo>
                    <a:pt x="10116" y="3144"/>
                  </a:lnTo>
                  <a:lnTo>
                    <a:pt x="10124" y="3143"/>
                  </a:lnTo>
                  <a:lnTo>
                    <a:pt x="10131" y="3144"/>
                  </a:lnTo>
                  <a:lnTo>
                    <a:pt x="10138" y="3148"/>
                  </a:lnTo>
                  <a:lnTo>
                    <a:pt x="10142" y="3154"/>
                  </a:lnTo>
                  <a:lnTo>
                    <a:pt x="10143" y="3163"/>
                  </a:lnTo>
                  <a:close/>
                  <a:moveTo>
                    <a:pt x="9880" y="3163"/>
                  </a:moveTo>
                  <a:lnTo>
                    <a:pt x="9880" y="3274"/>
                  </a:lnTo>
                  <a:lnTo>
                    <a:pt x="9879" y="3283"/>
                  </a:lnTo>
                  <a:lnTo>
                    <a:pt x="9874" y="3290"/>
                  </a:lnTo>
                  <a:lnTo>
                    <a:pt x="9867" y="3294"/>
                  </a:lnTo>
                  <a:lnTo>
                    <a:pt x="9861" y="3295"/>
                  </a:lnTo>
                  <a:lnTo>
                    <a:pt x="9853" y="3294"/>
                  </a:lnTo>
                  <a:lnTo>
                    <a:pt x="9847" y="3290"/>
                  </a:lnTo>
                  <a:lnTo>
                    <a:pt x="9841" y="3283"/>
                  </a:lnTo>
                  <a:lnTo>
                    <a:pt x="9840" y="3274"/>
                  </a:lnTo>
                  <a:lnTo>
                    <a:pt x="9840" y="3163"/>
                  </a:lnTo>
                  <a:lnTo>
                    <a:pt x="9841" y="3154"/>
                  </a:lnTo>
                  <a:lnTo>
                    <a:pt x="9847" y="3148"/>
                  </a:lnTo>
                  <a:lnTo>
                    <a:pt x="9853" y="3144"/>
                  </a:lnTo>
                  <a:lnTo>
                    <a:pt x="9861" y="3143"/>
                  </a:lnTo>
                  <a:lnTo>
                    <a:pt x="9867" y="3144"/>
                  </a:lnTo>
                  <a:lnTo>
                    <a:pt x="9874" y="3148"/>
                  </a:lnTo>
                  <a:lnTo>
                    <a:pt x="9879" y="3154"/>
                  </a:lnTo>
                  <a:lnTo>
                    <a:pt x="9880" y="3163"/>
                  </a:lnTo>
                  <a:close/>
                  <a:moveTo>
                    <a:pt x="9617" y="3163"/>
                  </a:moveTo>
                  <a:lnTo>
                    <a:pt x="9617" y="3274"/>
                  </a:lnTo>
                  <a:lnTo>
                    <a:pt x="9616" y="3283"/>
                  </a:lnTo>
                  <a:lnTo>
                    <a:pt x="9611" y="3290"/>
                  </a:lnTo>
                  <a:lnTo>
                    <a:pt x="9604" y="3294"/>
                  </a:lnTo>
                  <a:lnTo>
                    <a:pt x="9598" y="3295"/>
                  </a:lnTo>
                  <a:lnTo>
                    <a:pt x="9590" y="3294"/>
                  </a:lnTo>
                  <a:lnTo>
                    <a:pt x="9584" y="3290"/>
                  </a:lnTo>
                  <a:lnTo>
                    <a:pt x="9579" y="3283"/>
                  </a:lnTo>
                  <a:lnTo>
                    <a:pt x="9577" y="3274"/>
                  </a:lnTo>
                  <a:lnTo>
                    <a:pt x="9577" y="3163"/>
                  </a:lnTo>
                  <a:lnTo>
                    <a:pt x="9579" y="3154"/>
                  </a:lnTo>
                  <a:lnTo>
                    <a:pt x="9584" y="3148"/>
                  </a:lnTo>
                  <a:lnTo>
                    <a:pt x="9590" y="3144"/>
                  </a:lnTo>
                  <a:lnTo>
                    <a:pt x="9598" y="3143"/>
                  </a:lnTo>
                  <a:lnTo>
                    <a:pt x="9604" y="3144"/>
                  </a:lnTo>
                  <a:lnTo>
                    <a:pt x="9611" y="3148"/>
                  </a:lnTo>
                  <a:lnTo>
                    <a:pt x="9616" y="3154"/>
                  </a:lnTo>
                  <a:lnTo>
                    <a:pt x="9617" y="3163"/>
                  </a:lnTo>
                  <a:close/>
                  <a:moveTo>
                    <a:pt x="10933" y="2916"/>
                  </a:moveTo>
                  <a:lnTo>
                    <a:pt x="10933" y="3028"/>
                  </a:lnTo>
                  <a:lnTo>
                    <a:pt x="10931" y="3037"/>
                  </a:lnTo>
                  <a:lnTo>
                    <a:pt x="10926" y="3043"/>
                  </a:lnTo>
                  <a:lnTo>
                    <a:pt x="10920" y="3047"/>
                  </a:lnTo>
                  <a:lnTo>
                    <a:pt x="10912" y="3048"/>
                  </a:lnTo>
                  <a:lnTo>
                    <a:pt x="10906" y="3047"/>
                  </a:lnTo>
                  <a:lnTo>
                    <a:pt x="10899" y="3043"/>
                  </a:lnTo>
                  <a:lnTo>
                    <a:pt x="10894" y="3037"/>
                  </a:lnTo>
                  <a:lnTo>
                    <a:pt x="10893" y="3028"/>
                  </a:lnTo>
                  <a:lnTo>
                    <a:pt x="10893" y="2916"/>
                  </a:lnTo>
                  <a:lnTo>
                    <a:pt x="10894" y="2907"/>
                  </a:lnTo>
                  <a:lnTo>
                    <a:pt x="10899" y="2901"/>
                  </a:lnTo>
                  <a:lnTo>
                    <a:pt x="10906" y="2897"/>
                  </a:lnTo>
                  <a:lnTo>
                    <a:pt x="10912" y="2896"/>
                  </a:lnTo>
                  <a:lnTo>
                    <a:pt x="10920" y="2897"/>
                  </a:lnTo>
                  <a:lnTo>
                    <a:pt x="10926" y="2901"/>
                  </a:lnTo>
                  <a:lnTo>
                    <a:pt x="10931" y="2907"/>
                  </a:lnTo>
                  <a:lnTo>
                    <a:pt x="10933" y="2916"/>
                  </a:lnTo>
                  <a:close/>
                  <a:moveTo>
                    <a:pt x="10670" y="2916"/>
                  </a:moveTo>
                  <a:lnTo>
                    <a:pt x="10670" y="3028"/>
                  </a:lnTo>
                  <a:lnTo>
                    <a:pt x="10669" y="3037"/>
                  </a:lnTo>
                  <a:lnTo>
                    <a:pt x="10663" y="3043"/>
                  </a:lnTo>
                  <a:lnTo>
                    <a:pt x="10657" y="3047"/>
                  </a:lnTo>
                  <a:lnTo>
                    <a:pt x="10649" y="3048"/>
                  </a:lnTo>
                  <a:lnTo>
                    <a:pt x="10643" y="3047"/>
                  </a:lnTo>
                  <a:lnTo>
                    <a:pt x="10637" y="3043"/>
                  </a:lnTo>
                  <a:lnTo>
                    <a:pt x="10631" y="3037"/>
                  </a:lnTo>
                  <a:lnTo>
                    <a:pt x="10630" y="3028"/>
                  </a:lnTo>
                  <a:lnTo>
                    <a:pt x="10630" y="2916"/>
                  </a:lnTo>
                  <a:lnTo>
                    <a:pt x="10631" y="2907"/>
                  </a:lnTo>
                  <a:lnTo>
                    <a:pt x="10637" y="2901"/>
                  </a:lnTo>
                  <a:lnTo>
                    <a:pt x="10643" y="2897"/>
                  </a:lnTo>
                  <a:lnTo>
                    <a:pt x="10649" y="2896"/>
                  </a:lnTo>
                  <a:lnTo>
                    <a:pt x="10657" y="2897"/>
                  </a:lnTo>
                  <a:lnTo>
                    <a:pt x="10663" y="2901"/>
                  </a:lnTo>
                  <a:lnTo>
                    <a:pt x="10669" y="2907"/>
                  </a:lnTo>
                  <a:lnTo>
                    <a:pt x="10670" y="2916"/>
                  </a:lnTo>
                  <a:close/>
                  <a:moveTo>
                    <a:pt x="10407" y="2916"/>
                  </a:moveTo>
                  <a:lnTo>
                    <a:pt x="10407" y="3028"/>
                  </a:lnTo>
                  <a:lnTo>
                    <a:pt x="10404" y="3037"/>
                  </a:lnTo>
                  <a:lnTo>
                    <a:pt x="10401" y="3043"/>
                  </a:lnTo>
                  <a:lnTo>
                    <a:pt x="10394" y="3047"/>
                  </a:lnTo>
                  <a:lnTo>
                    <a:pt x="10386" y="3048"/>
                  </a:lnTo>
                  <a:lnTo>
                    <a:pt x="10379" y="3047"/>
                  </a:lnTo>
                  <a:lnTo>
                    <a:pt x="10372" y="3043"/>
                  </a:lnTo>
                  <a:lnTo>
                    <a:pt x="10369" y="3037"/>
                  </a:lnTo>
                  <a:lnTo>
                    <a:pt x="10366" y="3028"/>
                  </a:lnTo>
                  <a:lnTo>
                    <a:pt x="10366" y="2916"/>
                  </a:lnTo>
                  <a:lnTo>
                    <a:pt x="10369" y="2907"/>
                  </a:lnTo>
                  <a:lnTo>
                    <a:pt x="10372" y="2901"/>
                  </a:lnTo>
                  <a:lnTo>
                    <a:pt x="10379" y="2897"/>
                  </a:lnTo>
                  <a:lnTo>
                    <a:pt x="10386" y="2896"/>
                  </a:lnTo>
                  <a:lnTo>
                    <a:pt x="10394" y="2897"/>
                  </a:lnTo>
                  <a:lnTo>
                    <a:pt x="10401" y="2901"/>
                  </a:lnTo>
                  <a:lnTo>
                    <a:pt x="10404" y="2907"/>
                  </a:lnTo>
                  <a:lnTo>
                    <a:pt x="10407" y="2916"/>
                  </a:lnTo>
                  <a:close/>
                  <a:moveTo>
                    <a:pt x="10143" y="2916"/>
                  </a:moveTo>
                  <a:lnTo>
                    <a:pt x="10143" y="3028"/>
                  </a:lnTo>
                  <a:lnTo>
                    <a:pt x="10142" y="3037"/>
                  </a:lnTo>
                  <a:lnTo>
                    <a:pt x="10138" y="3043"/>
                  </a:lnTo>
                  <a:lnTo>
                    <a:pt x="10131" y="3047"/>
                  </a:lnTo>
                  <a:lnTo>
                    <a:pt x="10124" y="3048"/>
                  </a:lnTo>
                  <a:lnTo>
                    <a:pt x="10116" y="3047"/>
                  </a:lnTo>
                  <a:lnTo>
                    <a:pt x="10109" y="3043"/>
                  </a:lnTo>
                  <a:lnTo>
                    <a:pt x="10106" y="3037"/>
                  </a:lnTo>
                  <a:lnTo>
                    <a:pt x="10103" y="3028"/>
                  </a:lnTo>
                  <a:lnTo>
                    <a:pt x="10103" y="2916"/>
                  </a:lnTo>
                  <a:lnTo>
                    <a:pt x="10106" y="2907"/>
                  </a:lnTo>
                  <a:lnTo>
                    <a:pt x="10109" y="2901"/>
                  </a:lnTo>
                  <a:lnTo>
                    <a:pt x="10116" y="2897"/>
                  </a:lnTo>
                  <a:lnTo>
                    <a:pt x="10124" y="2896"/>
                  </a:lnTo>
                  <a:lnTo>
                    <a:pt x="10131" y="2897"/>
                  </a:lnTo>
                  <a:lnTo>
                    <a:pt x="10138" y="2901"/>
                  </a:lnTo>
                  <a:lnTo>
                    <a:pt x="10142" y="2907"/>
                  </a:lnTo>
                  <a:lnTo>
                    <a:pt x="10143" y="2916"/>
                  </a:lnTo>
                  <a:close/>
                  <a:moveTo>
                    <a:pt x="9880" y="2916"/>
                  </a:moveTo>
                  <a:lnTo>
                    <a:pt x="9880" y="3028"/>
                  </a:lnTo>
                  <a:lnTo>
                    <a:pt x="9879" y="3037"/>
                  </a:lnTo>
                  <a:lnTo>
                    <a:pt x="9874" y="3043"/>
                  </a:lnTo>
                  <a:lnTo>
                    <a:pt x="9867" y="3047"/>
                  </a:lnTo>
                  <a:lnTo>
                    <a:pt x="9861" y="3048"/>
                  </a:lnTo>
                  <a:lnTo>
                    <a:pt x="9853" y="3047"/>
                  </a:lnTo>
                  <a:lnTo>
                    <a:pt x="9847" y="3043"/>
                  </a:lnTo>
                  <a:lnTo>
                    <a:pt x="9841" y="3037"/>
                  </a:lnTo>
                  <a:lnTo>
                    <a:pt x="9840" y="3028"/>
                  </a:lnTo>
                  <a:lnTo>
                    <a:pt x="9840" y="2916"/>
                  </a:lnTo>
                  <a:lnTo>
                    <a:pt x="9841" y="2907"/>
                  </a:lnTo>
                  <a:lnTo>
                    <a:pt x="9847" y="2901"/>
                  </a:lnTo>
                  <a:lnTo>
                    <a:pt x="9853" y="2897"/>
                  </a:lnTo>
                  <a:lnTo>
                    <a:pt x="9861" y="2896"/>
                  </a:lnTo>
                  <a:lnTo>
                    <a:pt x="9867" y="2897"/>
                  </a:lnTo>
                  <a:lnTo>
                    <a:pt x="9874" y="2901"/>
                  </a:lnTo>
                  <a:lnTo>
                    <a:pt x="9879" y="2907"/>
                  </a:lnTo>
                  <a:lnTo>
                    <a:pt x="9880" y="2916"/>
                  </a:lnTo>
                  <a:close/>
                  <a:moveTo>
                    <a:pt x="9617" y="2916"/>
                  </a:moveTo>
                  <a:lnTo>
                    <a:pt x="9617" y="3028"/>
                  </a:lnTo>
                  <a:lnTo>
                    <a:pt x="9616" y="3037"/>
                  </a:lnTo>
                  <a:lnTo>
                    <a:pt x="9611" y="3043"/>
                  </a:lnTo>
                  <a:lnTo>
                    <a:pt x="9604" y="3047"/>
                  </a:lnTo>
                  <a:lnTo>
                    <a:pt x="9598" y="3048"/>
                  </a:lnTo>
                  <a:lnTo>
                    <a:pt x="9590" y="3047"/>
                  </a:lnTo>
                  <a:lnTo>
                    <a:pt x="9584" y="3043"/>
                  </a:lnTo>
                  <a:lnTo>
                    <a:pt x="9579" y="3037"/>
                  </a:lnTo>
                  <a:lnTo>
                    <a:pt x="9577" y="3028"/>
                  </a:lnTo>
                  <a:lnTo>
                    <a:pt x="9577" y="2916"/>
                  </a:lnTo>
                  <a:lnTo>
                    <a:pt x="9579" y="2907"/>
                  </a:lnTo>
                  <a:lnTo>
                    <a:pt x="9584" y="2901"/>
                  </a:lnTo>
                  <a:lnTo>
                    <a:pt x="9590" y="2897"/>
                  </a:lnTo>
                  <a:lnTo>
                    <a:pt x="9598" y="2896"/>
                  </a:lnTo>
                  <a:lnTo>
                    <a:pt x="9604" y="2897"/>
                  </a:lnTo>
                  <a:lnTo>
                    <a:pt x="9611" y="2901"/>
                  </a:lnTo>
                  <a:lnTo>
                    <a:pt x="9616" y="2907"/>
                  </a:lnTo>
                  <a:lnTo>
                    <a:pt x="9617" y="2916"/>
                  </a:lnTo>
                  <a:close/>
                  <a:moveTo>
                    <a:pt x="10933" y="2670"/>
                  </a:moveTo>
                  <a:lnTo>
                    <a:pt x="10933" y="2782"/>
                  </a:lnTo>
                  <a:lnTo>
                    <a:pt x="10931" y="2790"/>
                  </a:lnTo>
                  <a:lnTo>
                    <a:pt x="10926" y="2796"/>
                  </a:lnTo>
                  <a:lnTo>
                    <a:pt x="10920" y="2800"/>
                  </a:lnTo>
                  <a:lnTo>
                    <a:pt x="10912" y="2801"/>
                  </a:lnTo>
                  <a:lnTo>
                    <a:pt x="10906" y="2800"/>
                  </a:lnTo>
                  <a:lnTo>
                    <a:pt x="10899" y="2796"/>
                  </a:lnTo>
                  <a:lnTo>
                    <a:pt x="10894" y="2790"/>
                  </a:lnTo>
                  <a:lnTo>
                    <a:pt x="10893" y="2782"/>
                  </a:lnTo>
                  <a:lnTo>
                    <a:pt x="10893" y="2670"/>
                  </a:lnTo>
                  <a:lnTo>
                    <a:pt x="10894" y="2661"/>
                  </a:lnTo>
                  <a:lnTo>
                    <a:pt x="10899" y="2654"/>
                  </a:lnTo>
                  <a:lnTo>
                    <a:pt x="10906" y="2650"/>
                  </a:lnTo>
                  <a:lnTo>
                    <a:pt x="10912" y="2649"/>
                  </a:lnTo>
                  <a:lnTo>
                    <a:pt x="10920" y="2650"/>
                  </a:lnTo>
                  <a:lnTo>
                    <a:pt x="10926" y="2654"/>
                  </a:lnTo>
                  <a:lnTo>
                    <a:pt x="10931" y="2661"/>
                  </a:lnTo>
                  <a:lnTo>
                    <a:pt x="10933" y="2670"/>
                  </a:lnTo>
                  <a:close/>
                  <a:moveTo>
                    <a:pt x="10670" y="2670"/>
                  </a:moveTo>
                  <a:lnTo>
                    <a:pt x="10670" y="2782"/>
                  </a:lnTo>
                  <a:lnTo>
                    <a:pt x="10669" y="2790"/>
                  </a:lnTo>
                  <a:lnTo>
                    <a:pt x="10663" y="2796"/>
                  </a:lnTo>
                  <a:lnTo>
                    <a:pt x="10657" y="2800"/>
                  </a:lnTo>
                  <a:lnTo>
                    <a:pt x="10649" y="2801"/>
                  </a:lnTo>
                  <a:lnTo>
                    <a:pt x="10643" y="2800"/>
                  </a:lnTo>
                  <a:lnTo>
                    <a:pt x="10637" y="2796"/>
                  </a:lnTo>
                  <a:lnTo>
                    <a:pt x="10631" y="2790"/>
                  </a:lnTo>
                  <a:lnTo>
                    <a:pt x="10630" y="2782"/>
                  </a:lnTo>
                  <a:lnTo>
                    <a:pt x="10630" y="2670"/>
                  </a:lnTo>
                  <a:lnTo>
                    <a:pt x="10631" y="2661"/>
                  </a:lnTo>
                  <a:lnTo>
                    <a:pt x="10637" y="2654"/>
                  </a:lnTo>
                  <a:lnTo>
                    <a:pt x="10643" y="2650"/>
                  </a:lnTo>
                  <a:lnTo>
                    <a:pt x="10649" y="2649"/>
                  </a:lnTo>
                  <a:lnTo>
                    <a:pt x="10657" y="2650"/>
                  </a:lnTo>
                  <a:lnTo>
                    <a:pt x="10663" y="2654"/>
                  </a:lnTo>
                  <a:lnTo>
                    <a:pt x="10669" y="2661"/>
                  </a:lnTo>
                  <a:lnTo>
                    <a:pt x="10670" y="2670"/>
                  </a:lnTo>
                  <a:close/>
                  <a:moveTo>
                    <a:pt x="10407" y="2670"/>
                  </a:moveTo>
                  <a:lnTo>
                    <a:pt x="10407" y="2782"/>
                  </a:lnTo>
                  <a:lnTo>
                    <a:pt x="10404" y="2790"/>
                  </a:lnTo>
                  <a:lnTo>
                    <a:pt x="10401" y="2796"/>
                  </a:lnTo>
                  <a:lnTo>
                    <a:pt x="10394" y="2800"/>
                  </a:lnTo>
                  <a:lnTo>
                    <a:pt x="10386" y="2801"/>
                  </a:lnTo>
                  <a:lnTo>
                    <a:pt x="10379" y="2800"/>
                  </a:lnTo>
                  <a:lnTo>
                    <a:pt x="10372" y="2796"/>
                  </a:lnTo>
                  <a:lnTo>
                    <a:pt x="10369" y="2790"/>
                  </a:lnTo>
                  <a:lnTo>
                    <a:pt x="10366" y="2782"/>
                  </a:lnTo>
                  <a:lnTo>
                    <a:pt x="10366" y="2670"/>
                  </a:lnTo>
                  <a:lnTo>
                    <a:pt x="10369" y="2661"/>
                  </a:lnTo>
                  <a:lnTo>
                    <a:pt x="10372" y="2654"/>
                  </a:lnTo>
                  <a:lnTo>
                    <a:pt x="10379" y="2650"/>
                  </a:lnTo>
                  <a:lnTo>
                    <a:pt x="10386" y="2649"/>
                  </a:lnTo>
                  <a:lnTo>
                    <a:pt x="10394" y="2650"/>
                  </a:lnTo>
                  <a:lnTo>
                    <a:pt x="10401" y="2654"/>
                  </a:lnTo>
                  <a:lnTo>
                    <a:pt x="10404" y="2661"/>
                  </a:lnTo>
                  <a:lnTo>
                    <a:pt x="10407" y="2670"/>
                  </a:lnTo>
                  <a:close/>
                  <a:moveTo>
                    <a:pt x="10143" y="2670"/>
                  </a:moveTo>
                  <a:lnTo>
                    <a:pt x="10143" y="2782"/>
                  </a:lnTo>
                  <a:lnTo>
                    <a:pt x="10142" y="2790"/>
                  </a:lnTo>
                  <a:lnTo>
                    <a:pt x="10138" y="2796"/>
                  </a:lnTo>
                  <a:lnTo>
                    <a:pt x="10131" y="2800"/>
                  </a:lnTo>
                  <a:lnTo>
                    <a:pt x="10124" y="2801"/>
                  </a:lnTo>
                  <a:lnTo>
                    <a:pt x="10116" y="2800"/>
                  </a:lnTo>
                  <a:lnTo>
                    <a:pt x="10109" y="2796"/>
                  </a:lnTo>
                  <a:lnTo>
                    <a:pt x="10106" y="2790"/>
                  </a:lnTo>
                  <a:lnTo>
                    <a:pt x="10103" y="2782"/>
                  </a:lnTo>
                  <a:lnTo>
                    <a:pt x="10103" y="2670"/>
                  </a:lnTo>
                  <a:lnTo>
                    <a:pt x="10106" y="2661"/>
                  </a:lnTo>
                  <a:lnTo>
                    <a:pt x="10109" y="2654"/>
                  </a:lnTo>
                  <a:lnTo>
                    <a:pt x="10116" y="2650"/>
                  </a:lnTo>
                  <a:lnTo>
                    <a:pt x="10124" y="2649"/>
                  </a:lnTo>
                  <a:lnTo>
                    <a:pt x="10131" y="2650"/>
                  </a:lnTo>
                  <a:lnTo>
                    <a:pt x="10138" y="2654"/>
                  </a:lnTo>
                  <a:lnTo>
                    <a:pt x="10142" y="2661"/>
                  </a:lnTo>
                  <a:lnTo>
                    <a:pt x="10143" y="2670"/>
                  </a:lnTo>
                  <a:close/>
                  <a:moveTo>
                    <a:pt x="9880" y="2670"/>
                  </a:moveTo>
                  <a:lnTo>
                    <a:pt x="9880" y="2782"/>
                  </a:lnTo>
                  <a:lnTo>
                    <a:pt x="9879" y="2790"/>
                  </a:lnTo>
                  <a:lnTo>
                    <a:pt x="9874" y="2796"/>
                  </a:lnTo>
                  <a:lnTo>
                    <a:pt x="9867" y="2800"/>
                  </a:lnTo>
                  <a:lnTo>
                    <a:pt x="9861" y="2801"/>
                  </a:lnTo>
                  <a:lnTo>
                    <a:pt x="9853" y="2800"/>
                  </a:lnTo>
                  <a:lnTo>
                    <a:pt x="9847" y="2796"/>
                  </a:lnTo>
                  <a:lnTo>
                    <a:pt x="9841" y="2790"/>
                  </a:lnTo>
                  <a:lnTo>
                    <a:pt x="9840" y="2782"/>
                  </a:lnTo>
                  <a:lnTo>
                    <a:pt x="9840" y="2670"/>
                  </a:lnTo>
                  <a:lnTo>
                    <a:pt x="9841" y="2661"/>
                  </a:lnTo>
                  <a:lnTo>
                    <a:pt x="9847" y="2654"/>
                  </a:lnTo>
                  <a:lnTo>
                    <a:pt x="9853" y="2650"/>
                  </a:lnTo>
                  <a:lnTo>
                    <a:pt x="9861" y="2649"/>
                  </a:lnTo>
                  <a:lnTo>
                    <a:pt x="9867" y="2650"/>
                  </a:lnTo>
                  <a:lnTo>
                    <a:pt x="9874" y="2654"/>
                  </a:lnTo>
                  <a:lnTo>
                    <a:pt x="9879" y="2661"/>
                  </a:lnTo>
                  <a:lnTo>
                    <a:pt x="9880" y="2670"/>
                  </a:lnTo>
                  <a:close/>
                  <a:moveTo>
                    <a:pt x="9617" y="2670"/>
                  </a:moveTo>
                  <a:lnTo>
                    <a:pt x="9617" y="2782"/>
                  </a:lnTo>
                  <a:lnTo>
                    <a:pt x="9616" y="2790"/>
                  </a:lnTo>
                  <a:lnTo>
                    <a:pt x="9611" y="2796"/>
                  </a:lnTo>
                  <a:lnTo>
                    <a:pt x="9604" y="2800"/>
                  </a:lnTo>
                  <a:lnTo>
                    <a:pt x="9598" y="2801"/>
                  </a:lnTo>
                  <a:lnTo>
                    <a:pt x="9590" y="2800"/>
                  </a:lnTo>
                  <a:lnTo>
                    <a:pt x="9584" y="2796"/>
                  </a:lnTo>
                  <a:lnTo>
                    <a:pt x="9579" y="2790"/>
                  </a:lnTo>
                  <a:lnTo>
                    <a:pt x="9577" y="2782"/>
                  </a:lnTo>
                  <a:lnTo>
                    <a:pt x="9577" y="2670"/>
                  </a:lnTo>
                  <a:lnTo>
                    <a:pt x="9579" y="2661"/>
                  </a:lnTo>
                  <a:lnTo>
                    <a:pt x="9584" y="2654"/>
                  </a:lnTo>
                  <a:lnTo>
                    <a:pt x="9590" y="2650"/>
                  </a:lnTo>
                  <a:lnTo>
                    <a:pt x="9598" y="2649"/>
                  </a:lnTo>
                  <a:lnTo>
                    <a:pt x="9604" y="2650"/>
                  </a:lnTo>
                  <a:lnTo>
                    <a:pt x="9611" y="2654"/>
                  </a:lnTo>
                  <a:lnTo>
                    <a:pt x="9616" y="2661"/>
                  </a:lnTo>
                  <a:lnTo>
                    <a:pt x="9617" y="2670"/>
                  </a:lnTo>
                  <a:close/>
                  <a:moveTo>
                    <a:pt x="13776" y="2113"/>
                  </a:moveTo>
                  <a:lnTo>
                    <a:pt x="13776" y="2226"/>
                  </a:lnTo>
                  <a:lnTo>
                    <a:pt x="13774" y="2235"/>
                  </a:lnTo>
                  <a:lnTo>
                    <a:pt x="13769" y="2241"/>
                  </a:lnTo>
                  <a:lnTo>
                    <a:pt x="13763" y="2245"/>
                  </a:lnTo>
                  <a:lnTo>
                    <a:pt x="13756" y="2246"/>
                  </a:lnTo>
                  <a:lnTo>
                    <a:pt x="13749" y="2245"/>
                  </a:lnTo>
                  <a:lnTo>
                    <a:pt x="13742" y="2241"/>
                  </a:lnTo>
                  <a:lnTo>
                    <a:pt x="13737" y="2235"/>
                  </a:lnTo>
                  <a:lnTo>
                    <a:pt x="13736" y="2226"/>
                  </a:lnTo>
                  <a:lnTo>
                    <a:pt x="13736" y="2113"/>
                  </a:lnTo>
                  <a:lnTo>
                    <a:pt x="13737" y="2106"/>
                  </a:lnTo>
                  <a:lnTo>
                    <a:pt x="13742" y="2099"/>
                  </a:lnTo>
                  <a:lnTo>
                    <a:pt x="13749" y="2095"/>
                  </a:lnTo>
                  <a:lnTo>
                    <a:pt x="13756" y="2094"/>
                  </a:lnTo>
                  <a:lnTo>
                    <a:pt x="13763" y="2095"/>
                  </a:lnTo>
                  <a:lnTo>
                    <a:pt x="13769" y="2099"/>
                  </a:lnTo>
                  <a:lnTo>
                    <a:pt x="13774" y="2106"/>
                  </a:lnTo>
                  <a:lnTo>
                    <a:pt x="13776" y="2113"/>
                  </a:lnTo>
                  <a:close/>
                  <a:moveTo>
                    <a:pt x="13513" y="2113"/>
                  </a:moveTo>
                  <a:lnTo>
                    <a:pt x="13513" y="2226"/>
                  </a:lnTo>
                  <a:lnTo>
                    <a:pt x="13511" y="2235"/>
                  </a:lnTo>
                  <a:lnTo>
                    <a:pt x="13506" y="2241"/>
                  </a:lnTo>
                  <a:lnTo>
                    <a:pt x="13500" y="2245"/>
                  </a:lnTo>
                  <a:lnTo>
                    <a:pt x="13492" y="2246"/>
                  </a:lnTo>
                  <a:lnTo>
                    <a:pt x="13486" y="2245"/>
                  </a:lnTo>
                  <a:lnTo>
                    <a:pt x="13479" y="2241"/>
                  </a:lnTo>
                  <a:lnTo>
                    <a:pt x="13474" y="2235"/>
                  </a:lnTo>
                  <a:lnTo>
                    <a:pt x="13473" y="2226"/>
                  </a:lnTo>
                  <a:lnTo>
                    <a:pt x="13473" y="2113"/>
                  </a:lnTo>
                  <a:lnTo>
                    <a:pt x="13474" y="2106"/>
                  </a:lnTo>
                  <a:lnTo>
                    <a:pt x="13479" y="2099"/>
                  </a:lnTo>
                  <a:lnTo>
                    <a:pt x="13486" y="2095"/>
                  </a:lnTo>
                  <a:lnTo>
                    <a:pt x="13492" y="2094"/>
                  </a:lnTo>
                  <a:lnTo>
                    <a:pt x="13500" y="2095"/>
                  </a:lnTo>
                  <a:lnTo>
                    <a:pt x="13506" y="2099"/>
                  </a:lnTo>
                  <a:lnTo>
                    <a:pt x="13511" y="2106"/>
                  </a:lnTo>
                  <a:lnTo>
                    <a:pt x="13513" y="2113"/>
                  </a:lnTo>
                  <a:close/>
                  <a:moveTo>
                    <a:pt x="13250" y="2113"/>
                  </a:moveTo>
                  <a:lnTo>
                    <a:pt x="13250" y="2226"/>
                  </a:lnTo>
                  <a:lnTo>
                    <a:pt x="13247" y="2235"/>
                  </a:lnTo>
                  <a:lnTo>
                    <a:pt x="13243" y="2241"/>
                  </a:lnTo>
                  <a:lnTo>
                    <a:pt x="13237" y="2245"/>
                  </a:lnTo>
                  <a:lnTo>
                    <a:pt x="13229" y="2246"/>
                  </a:lnTo>
                  <a:lnTo>
                    <a:pt x="13222" y="2245"/>
                  </a:lnTo>
                  <a:lnTo>
                    <a:pt x="13215" y="2241"/>
                  </a:lnTo>
                  <a:lnTo>
                    <a:pt x="13211" y="2235"/>
                  </a:lnTo>
                  <a:lnTo>
                    <a:pt x="13210" y="2226"/>
                  </a:lnTo>
                  <a:lnTo>
                    <a:pt x="13210" y="2113"/>
                  </a:lnTo>
                  <a:lnTo>
                    <a:pt x="13211" y="2106"/>
                  </a:lnTo>
                  <a:lnTo>
                    <a:pt x="13215" y="2099"/>
                  </a:lnTo>
                  <a:lnTo>
                    <a:pt x="13222" y="2095"/>
                  </a:lnTo>
                  <a:lnTo>
                    <a:pt x="13229" y="2094"/>
                  </a:lnTo>
                  <a:lnTo>
                    <a:pt x="13237" y="2095"/>
                  </a:lnTo>
                  <a:lnTo>
                    <a:pt x="13243" y="2099"/>
                  </a:lnTo>
                  <a:lnTo>
                    <a:pt x="13247" y="2106"/>
                  </a:lnTo>
                  <a:lnTo>
                    <a:pt x="13250" y="2113"/>
                  </a:lnTo>
                  <a:close/>
                  <a:moveTo>
                    <a:pt x="12987" y="2113"/>
                  </a:moveTo>
                  <a:lnTo>
                    <a:pt x="12987" y="2226"/>
                  </a:lnTo>
                  <a:lnTo>
                    <a:pt x="12984" y="2235"/>
                  </a:lnTo>
                  <a:lnTo>
                    <a:pt x="12981" y="2241"/>
                  </a:lnTo>
                  <a:lnTo>
                    <a:pt x="12974" y="2245"/>
                  </a:lnTo>
                  <a:lnTo>
                    <a:pt x="12966" y="2246"/>
                  </a:lnTo>
                  <a:lnTo>
                    <a:pt x="12959" y="2245"/>
                  </a:lnTo>
                  <a:lnTo>
                    <a:pt x="12952" y="2241"/>
                  </a:lnTo>
                  <a:lnTo>
                    <a:pt x="12948" y="2235"/>
                  </a:lnTo>
                  <a:lnTo>
                    <a:pt x="12946" y="2226"/>
                  </a:lnTo>
                  <a:lnTo>
                    <a:pt x="12946" y="2113"/>
                  </a:lnTo>
                  <a:lnTo>
                    <a:pt x="12948" y="2106"/>
                  </a:lnTo>
                  <a:lnTo>
                    <a:pt x="12952" y="2099"/>
                  </a:lnTo>
                  <a:lnTo>
                    <a:pt x="12959" y="2095"/>
                  </a:lnTo>
                  <a:lnTo>
                    <a:pt x="12966" y="2094"/>
                  </a:lnTo>
                  <a:lnTo>
                    <a:pt x="12974" y="2095"/>
                  </a:lnTo>
                  <a:lnTo>
                    <a:pt x="12981" y="2099"/>
                  </a:lnTo>
                  <a:lnTo>
                    <a:pt x="12984" y="2106"/>
                  </a:lnTo>
                  <a:lnTo>
                    <a:pt x="12987" y="2113"/>
                  </a:lnTo>
                  <a:close/>
                  <a:moveTo>
                    <a:pt x="13776" y="1879"/>
                  </a:moveTo>
                  <a:lnTo>
                    <a:pt x="13776" y="1992"/>
                  </a:lnTo>
                  <a:lnTo>
                    <a:pt x="13774" y="2001"/>
                  </a:lnTo>
                  <a:lnTo>
                    <a:pt x="13769" y="2007"/>
                  </a:lnTo>
                  <a:lnTo>
                    <a:pt x="13763" y="2011"/>
                  </a:lnTo>
                  <a:lnTo>
                    <a:pt x="13756" y="2012"/>
                  </a:lnTo>
                  <a:lnTo>
                    <a:pt x="13749" y="2011"/>
                  </a:lnTo>
                  <a:lnTo>
                    <a:pt x="13742" y="2007"/>
                  </a:lnTo>
                  <a:lnTo>
                    <a:pt x="13737" y="2001"/>
                  </a:lnTo>
                  <a:lnTo>
                    <a:pt x="13736" y="1992"/>
                  </a:lnTo>
                  <a:lnTo>
                    <a:pt x="13736" y="1879"/>
                  </a:lnTo>
                  <a:lnTo>
                    <a:pt x="13737" y="1872"/>
                  </a:lnTo>
                  <a:lnTo>
                    <a:pt x="13742" y="1865"/>
                  </a:lnTo>
                  <a:lnTo>
                    <a:pt x="13749" y="1861"/>
                  </a:lnTo>
                  <a:lnTo>
                    <a:pt x="13756" y="1860"/>
                  </a:lnTo>
                  <a:lnTo>
                    <a:pt x="13763" y="1861"/>
                  </a:lnTo>
                  <a:lnTo>
                    <a:pt x="13769" y="1865"/>
                  </a:lnTo>
                  <a:lnTo>
                    <a:pt x="13774" y="1872"/>
                  </a:lnTo>
                  <a:lnTo>
                    <a:pt x="13776" y="1879"/>
                  </a:lnTo>
                  <a:close/>
                  <a:moveTo>
                    <a:pt x="13513" y="1879"/>
                  </a:moveTo>
                  <a:lnTo>
                    <a:pt x="13513" y="1992"/>
                  </a:lnTo>
                  <a:lnTo>
                    <a:pt x="13511" y="2001"/>
                  </a:lnTo>
                  <a:lnTo>
                    <a:pt x="13506" y="2007"/>
                  </a:lnTo>
                  <a:lnTo>
                    <a:pt x="13500" y="2011"/>
                  </a:lnTo>
                  <a:lnTo>
                    <a:pt x="13492" y="2012"/>
                  </a:lnTo>
                  <a:lnTo>
                    <a:pt x="13486" y="2011"/>
                  </a:lnTo>
                  <a:lnTo>
                    <a:pt x="13479" y="2007"/>
                  </a:lnTo>
                  <a:lnTo>
                    <a:pt x="13474" y="2001"/>
                  </a:lnTo>
                  <a:lnTo>
                    <a:pt x="13473" y="1992"/>
                  </a:lnTo>
                  <a:lnTo>
                    <a:pt x="13473" y="1879"/>
                  </a:lnTo>
                  <a:lnTo>
                    <a:pt x="13474" y="1872"/>
                  </a:lnTo>
                  <a:lnTo>
                    <a:pt x="13479" y="1865"/>
                  </a:lnTo>
                  <a:lnTo>
                    <a:pt x="13486" y="1861"/>
                  </a:lnTo>
                  <a:lnTo>
                    <a:pt x="13492" y="1860"/>
                  </a:lnTo>
                  <a:lnTo>
                    <a:pt x="13500" y="1861"/>
                  </a:lnTo>
                  <a:lnTo>
                    <a:pt x="13506" y="1865"/>
                  </a:lnTo>
                  <a:lnTo>
                    <a:pt x="13511" y="1872"/>
                  </a:lnTo>
                  <a:lnTo>
                    <a:pt x="13513" y="1879"/>
                  </a:lnTo>
                  <a:close/>
                  <a:moveTo>
                    <a:pt x="13250" y="1879"/>
                  </a:moveTo>
                  <a:lnTo>
                    <a:pt x="13250" y="1992"/>
                  </a:lnTo>
                  <a:lnTo>
                    <a:pt x="13247" y="2001"/>
                  </a:lnTo>
                  <a:lnTo>
                    <a:pt x="13243" y="2007"/>
                  </a:lnTo>
                  <a:lnTo>
                    <a:pt x="13237" y="2011"/>
                  </a:lnTo>
                  <a:lnTo>
                    <a:pt x="13229" y="2012"/>
                  </a:lnTo>
                  <a:lnTo>
                    <a:pt x="13222" y="2011"/>
                  </a:lnTo>
                  <a:lnTo>
                    <a:pt x="13215" y="2007"/>
                  </a:lnTo>
                  <a:lnTo>
                    <a:pt x="13211" y="2001"/>
                  </a:lnTo>
                  <a:lnTo>
                    <a:pt x="13210" y="1992"/>
                  </a:lnTo>
                  <a:lnTo>
                    <a:pt x="13210" y="1879"/>
                  </a:lnTo>
                  <a:lnTo>
                    <a:pt x="13211" y="1872"/>
                  </a:lnTo>
                  <a:lnTo>
                    <a:pt x="13215" y="1865"/>
                  </a:lnTo>
                  <a:lnTo>
                    <a:pt x="13222" y="1861"/>
                  </a:lnTo>
                  <a:lnTo>
                    <a:pt x="13229" y="1860"/>
                  </a:lnTo>
                  <a:lnTo>
                    <a:pt x="13237" y="1861"/>
                  </a:lnTo>
                  <a:lnTo>
                    <a:pt x="13243" y="1865"/>
                  </a:lnTo>
                  <a:lnTo>
                    <a:pt x="13247" y="1872"/>
                  </a:lnTo>
                  <a:lnTo>
                    <a:pt x="13250" y="1879"/>
                  </a:lnTo>
                  <a:close/>
                  <a:moveTo>
                    <a:pt x="12987" y="1879"/>
                  </a:moveTo>
                  <a:lnTo>
                    <a:pt x="12987" y="1992"/>
                  </a:lnTo>
                  <a:lnTo>
                    <a:pt x="12984" y="2001"/>
                  </a:lnTo>
                  <a:lnTo>
                    <a:pt x="12981" y="2007"/>
                  </a:lnTo>
                  <a:lnTo>
                    <a:pt x="12974" y="2011"/>
                  </a:lnTo>
                  <a:lnTo>
                    <a:pt x="12966" y="2012"/>
                  </a:lnTo>
                  <a:lnTo>
                    <a:pt x="12959" y="2011"/>
                  </a:lnTo>
                  <a:lnTo>
                    <a:pt x="12952" y="2007"/>
                  </a:lnTo>
                  <a:lnTo>
                    <a:pt x="12948" y="2001"/>
                  </a:lnTo>
                  <a:lnTo>
                    <a:pt x="12946" y="1992"/>
                  </a:lnTo>
                  <a:lnTo>
                    <a:pt x="12946" y="1879"/>
                  </a:lnTo>
                  <a:lnTo>
                    <a:pt x="12948" y="1872"/>
                  </a:lnTo>
                  <a:lnTo>
                    <a:pt x="12952" y="1865"/>
                  </a:lnTo>
                  <a:lnTo>
                    <a:pt x="12959" y="1861"/>
                  </a:lnTo>
                  <a:lnTo>
                    <a:pt x="12966" y="1860"/>
                  </a:lnTo>
                  <a:lnTo>
                    <a:pt x="12974" y="1861"/>
                  </a:lnTo>
                  <a:lnTo>
                    <a:pt x="12981" y="1865"/>
                  </a:lnTo>
                  <a:lnTo>
                    <a:pt x="12984" y="1872"/>
                  </a:lnTo>
                  <a:lnTo>
                    <a:pt x="12987" y="1879"/>
                  </a:lnTo>
                  <a:close/>
                  <a:moveTo>
                    <a:pt x="13776" y="1645"/>
                  </a:moveTo>
                  <a:lnTo>
                    <a:pt x="13776" y="1758"/>
                  </a:lnTo>
                  <a:lnTo>
                    <a:pt x="13774" y="1767"/>
                  </a:lnTo>
                  <a:lnTo>
                    <a:pt x="13769" y="1773"/>
                  </a:lnTo>
                  <a:lnTo>
                    <a:pt x="13763" y="1777"/>
                  </a:lnTo>
                  <a:lnTo>
                    <a:pt x="13756" y="1778"/>
                  </a:lnTo>
                  <a:lnTo>
                    <a:pt x="13749" y="1777"/>
                  </a:lnTo>
                  <a:lnTo>
                    <a:pt x="13742" y="1773"/>
                  </a:lnTo>
                  <a:lnTo>
                    <a:pt x="13737" y="1767"/>
                  </a:lnTo>
                  <a:lnTo>
                    <a:pt x="13736" y="1758"/>
                  </a:lnTo>
                  <a:lnTo>
                    <a:pt x="13736" y="1645"/>
                  </a:lnTo>
                  <a:lnTo>
                    <a:pt x="13737" y="1636"/>
                  </a:lnTo>
                  <a:lnTo>
                    <a:pt x="13742" y="1631"/>
                  </a:lnTo>
                  <a:lnTo>
                    <a:pt x="13749" y="1627"/>
                  </a:lnTo>
                  <a:lnTo>
                    <a:pt x="13756" y="1626"/>
                  </a:lnTo>
                  <a:lnTo>
                    <a:pt x="13763" y="1627"/>
                  </a:lnTo>
                  <a:lnTo>
                    <a:pt x="13769" y="1631"/>
                  </a:lnTo>
                  <a:lnTo>
                    <a:pt x="13774" y="1636"/>
                  </a:lnTo>
                  <a:lnTo>
                    <a:pt x="13776" y="1645"/>
                  </a:lnTo>
                  <a:close/>
                  <a:moveTo>
                    <a:pt x="13513" y="1645"/>
                  </a:moveTo>
                  <a:lnTo>
                    <a:pt x="13513" y="1758"/>
                  </a:lnTo>
                  <a:lnTo>
                    <a:pt x="13511" y="1767"/>
                  </a:lnTo>
                  <a:lnTo>
                    <a:pt x="13506" y="1773"/>
                  </a:lnTo>
                  <a:lnTo>
                    <a:pt x="13500" y="1777"/>
                  </a:lnTo>
                  <a:lnTo>
                    <a:pt x="13492" y="1778"/>
                  </a:lnTo>
                  <a:lnTo>
                    <a:pt x="13486" y="1777"/>
                  </a:lnTo>
                  <a:lnTo>
                    <a:pt x="13479" y="1773"/>
                  </a:lnTo>
                  <a:lnTo>
                    <a:pt x="13474" y="1767"/>
                  </a:lnTo>
                  <a:lnTo>
                    <a:pt x="13473" y="1758"/>
                  </a:lnTo>
                  <a:lnTo>
                    <a:pt x="13473" y="1645"/>
                  </a:lnTo>
                  <a:lnTo>
                    <a:pt x="13474" y="1636"/>
                  </a:lnTo>
                  <a:lnTo>
                    <a:pt x="13479" y="1631"/>
                  </a:lnTo>
                  <a:lnTo>
                    <a:pt x="13486" y="1627"/>
                  </a:lnTo>
                  <a:lnTo>
                    <a:pt x="13492" y="1626"/>
                  </a:lnTo>
                  <a:lnTo>
                    <a:pt x="13500" y="1627"/>
                  </a:lnTo>
                  <a:lnTo>
                    <a:pt x="13506" y="1631"/>
                  </a:lnTo>
                  <a:lnTo>
                    <a:pt x="13511" y="1636"/>
                  </a:lnTo>
                  <a:lnTo>
                    <a:pt x="13513" y="1645"/>
                  </a:lnTo>
                  <a:close/>
                  <a:moveTo>
                    <a:pt x="13250" y="1645"/>
                  </a:moveTo>
                  <a:lnTo>
                    <a:pt x="13250" y="1758"/>
                  </a:lnTo>
                  <a:lnTo>
                    <a:pt x="13247" y="1767"/>
                  </a:lnTo>
                  <a:lnTo>
                    <a:pt x="13243" y="1773"/>
                  </a:lnTo>
                  <a:lnTo>
                    <a:pt x="13237" y="1777"/>
                  </a:lnTo>
                  <a:lnTo>
                    <a:pt x="13229" y="1778"/>
                  </a:lnTo>
                  <a:lnTo>
                    <a:pt x="13222" y="1777"/>
                  </a:lnTo>
                  <a:lnTo>
                    <a:pt x="13215" y="1773"/>
                  </a:lnTo>
                  <a:lnTo>
                    <a:pt x="13211" y="1767"/>
                  </a:lnTo>
                  <a:lnTo>
                    <a:pt x="13210" y="1758"/>
                  </a:lnTo>
                  <a:lnTo>
                    <a:pt x="13210" y="1645"/>
                  </a:lnTo>
                  <a:lnTo>
                    <a:pt x="13211" y="1636"/>
                  </a:lnTo>
                  <a:lnTo>
                    <a:pt x="13215" y="1631"/>
                  </a:lnTo>
                  <a:lnTo>
                    <a:pt x="13222" y="1627"/>
                  </a:lnTo>
                  <a:lnTo>
                    <a:pt x="13229" y="1626"/>
                  </a:lnTo>
                  <a:lnTo>
                    <a:pt x="13237" y="1627"/>
                  </a:lnTo>
                  <a:lnTo>
                    <a:pt x="13243" y="1631"/>
                  </a:lnTo>
                  <a:lnTo>
                    <a:pt x="13247" y="1636"/>
                  </a:lnTo>
                  <a:lnTo>
                    <a:pt x="13250" y="1645"/>
                  </a:lnTo>
                  <a:close/>
                  <a:moveTo>
                    <a:pt x="12987" y="1645"/>
                  </a:moveTo>
                  <a:lnTo>
                    <a:pt x="12987" y="1758"/>
                  </a:lnTo>
                  <a:lnTo>
                    <a:pt x="12984" y="1767"/>
                  </a:lnTo>
                  <a:lnTo>
                    <a:pt x="12981" y="1773"/>
                  </a:lnTo>
                  <a:lnTo>
                    <a:pt x="12974" y="1777"/>
                  </a:lnTo>
                  <a:lnTo>
                    <a:pt x="12966" y="1778"/>
                  </a:lnTo>
                  <a:lnTo>
                    <a:pt x="12959" y="1777"/>
                  </a:lnTo>
                  <a:lnTo>
                    <a:pt x="12952" y="1773"/>
                  </a:lnTo>
                  <a:lnTo>
                    <a:pt x="12948" y="1767"/>
                  </a:lnTo>
                  <a:lnTo>
                    <a:pt x="12946" y="1758"/>
                  </a:lnTo>
                  <a:lnTo>
                    <a:pt x="12946" y="1645"/>
                  </a:lnTo>
                  <a:lnTo>
                    <a:pt x="12948" y="1636"/>
                  </a:lnTo>
                  <a:lnTo>
                    <a:pt x="12952" y="1631"/>
                  </a:lnTo>
                  <a:lnTo>
                    <a:pt x="12959" y="1627"/>
                  </a:lnTo>
                  <a:lnTo>
                    <a:pt x="12966" y="1626"/>
                  </a:lnTo>
                  <a:lnTo>
                    <a:pt x="12974" y="1627"/>
                  </a:lnTo>
                  <a:lnTo>
                    <a:pt x="12981" y="1631"/>
                  </a:lnTo>
                  <a:lnTo>
                    <a:pt x="12984" y="1636"/>
                  </a:lnTo>
                  <a:lnTo>
                    <a:pt x="12987" y="1645"/>
                  </a:lnTo>
                  <a:close/>
                  <a:moveTo>
                    <a:pt x="13776" y="1411"/>
                  </a:moveTo>
                  <a:lnTo>
                    <a:pt x="13776" y="1524"/>
                  </a:lnTo>
                  <a:lnTo>
                    <a:pt x="13774" y="1533"/>
                  </a:lnTo>
                  <a:lnTo>
                    <a:pt x="13769" y="1539"/>
                  </a:lnTo>
                  <a:lnTo>
                    <a:pt x="13763" y="1543"/>
                  </a:lnTo>
                  <a:lnTo>
                    <a:pt x="13756" y="1544"/>
                  </a:lnTo>
                  <a:lnTo>
                    <a:pt x="13749" y="1543"/>
                  </a:lnTo>
                  <a:lnTo>
                    <a:pt x="13742" y="1539"/>
                  </a:lnTo>
                  <a:lnTo>
                    <a:pt x="13737" y="1533"/>
                  </a:lnTo>
                  <a:lnTo>
                    <a:pt x="13736" y="1524"/>
                  </a:lnTo>
                  <a:lnTo>
                    <a:pt x="13736" y="1411"/>
                  </a:lnTo>
                  <a:lnTo>
                    <a:pt x="13737" y="1402"/>
                  </a:lnTo>
                  <a:lnTo>
                    <a:pt x="13742" y="1397"/>
                  </a:lnTo>
                  <a:lnTo>
                    <a:pt x="13749" y="1393"/>
                  </a:lnTo>
                  <a:lnTo>
                    <a:pt x="13756" y="1392"/>
                  </a:lnTo>
                  <a:lnTo>
                    <a:pt x="13763" y="1393"/>
                  </a:lnTo>
                  <a:lnTo>
                    <a:pt x="13769" y="1397"/>
                  </a:lnTo>
                  <a:lnTo>
                    <a:pt x="13774" y="1402"/>
                  </a:lnTo>
                  <a:lnTo>
                    <a:pt x="13776" y="1411"/>
                  </a:lnTo>
                  <a:close/>
                  <a:moveTo>
                    <a:pt x="13513" y="1411"/>
                  </a:moveTo>
                  <a:lnTo>
                    <a:pt x="13513" y="1524"/>
                  </a:lnTo>
                  <a:lnTo>
                    <a:pt x="13511" y="1533"/>
                  </a:lnTo>
                  <a:lnTo>
                    <a:pt x="13506" y="1539"/>
                  </a:lnTo>
                  <a:lnTo>
                    <a:pt x="13500" y="1543"/>
                  </a:lnTo>
                  <a:lnTo>
                    <a:pt x="13492" y="1544"/>
                  </a:lnTo>
                  <a:lnTo>
                    <a:pt x="13486" y="1543"/>
                  </a:lnTo>
                  <a:lnTo>
                    <a:pt x="13479" y="1539"/>
                  </a:lnTo>
                  <a:lnTo>
                    <a:pt x="13474" y="1533"/>
                  </a:lnTo>
                  <a:lnTo>
                    <a:pt x="13473" y="1524"/>
                  </a:lnTo>
                  <a:lnTo>
                    <a:pt x="13473" y="1411"/>
                  </a:lnTo>
                  <a:lnTo>
                    <a:pt x="13474" y="1402"/>
                  </a:lnTo>
                  <a:lnTo>
                    <a:pt x="13479" y="1397"/>
                  </a:lnTo>
                  <a:lnTo>
                    <a:pt x="13486" y="1393"/>
                  </a:lnTo>
                  <a:lnTo>
                    <a:pt x="13492" y="1392"/>
                  </a:lnTo>
                  <a:lnTo>
                    <a:pt x="13500" y="1393"/>
                  </a:lnTo>
                  <a:lnTo>
                    <a:pt x="13506" y="1397"/>
                  </a:lnTo>
                  <a:lnTo>
                    <a:pt x="13511" y="1402"/>
                  </a:lnTo>
                  <a:lnTo>
                    <a:pt x="13513" y="1411"/>
                  </a:lnTo>
                  <a:close/>
                  <a:moveTo>
                    <a:pt x="13250" y="1411"/>
                  </a:moveTo>
                  <a:lnTo>
                    <a:pt x="13250" y="1524"/>
                  </a:lnTo>
                  <a:lnTo>
                    <a:pt x="13247" y="1533"/>
                  </a:lnTo>
                  <a:lnTo>
                    <a:pt x="13243" y="1539"/>
                  </a:lnTo>
                  <a:lnTo>
                    <a:pt x="13237" y="1543"/>
                  </a:lnTo>
                  <a:lnTo>
                    <a:pt x="13229" y="1544"/>
                  </a:lnTo>
                  <a:lnTo>
                    <a:pt x="13222" y="1543"/>
                  </a:lnTo>
                  <a:lnTo>
                    <a:pt x="13215" y="1539"/>
                  </a:lnTo>
                  <a:lnTo>
                    <a:pt x="13211" y="1533"/>
                  </a:lnTo>
                  <a:lnTo>
                    <a:pt x="13210" y="1524"/>
                  </a:lnTo>
                  <a:lnTo>
                    <a:pt x="13210" y="1411"/>
                  </a:lnTo>
                  <a:lnTo>
                    <a:pt x="13211" y="1402"/>
                  </a:lnTo>
                  <a:lnTo>
                    <a:pt x="13215" y="1397"/>
                  </a:lnTo>
                  <a:lnTo>
                    <a:pt x="13222" y="1393"/>
                  </a:lnTo>
                  <a:lnTo>
                    <a:pt x="13229" y="1392"/>
                  </a:lnTo>
                  <a:lnTo>
                    <a:pt x="13237" y="1393"/>
                  </a:lnTo>
                  <a:lnTo>
                    <a:pt x="13243" y="1397"/>
                  </a:lnTo>
                  <a:lnTo>
                    <a:pt x="13247" y="1402"/>
                  </a:lnTo>
                  <a:lnTo>
                    <a:pt x="13250" y="1411"/>
                  </a:lnTo>
                  <a:close/>
                  <a:moveTo>
                    <a:pt x="12987" y="1411"/>
                  </a:moveTo>
                  <a:lnTo>
                    <a:pt x="12987" y="1524"/>
                  </a:lnTo>
                  <a:lnTo>
                    <a:pt x="12984" y="1533"/>
                  </a:lnTo>
                  <a:lnTo>
                    <a:pt x="12981" y="1539"/>
                  </a:lnTo>
                  <a:lnTo>
                    <a:pt x="12974" y="1543"/>
                  </a:lnTo>
                  <a:lnTo>
                    <a:pt x="12966" y="1544"/>
                  </a:lnTo>
                  <a:lnTo>
                    <a:pt x="12959" y="1543"/>
                  </a:lnTo>
                  <a:lnTo>
                    <a:pt x="12952" y="1539"/>
                  </a:lnTo>
                  <a:lnTo>
                    <a:pt x="12948" y="1533"/>
                  </a:lnTo>
                  <a:lnTo>
                    <a:pt x="12946" y="1524"/>
                  </a:lnTo>
                  <a:lnTo>
                    <a:pt x="12946" y="1411"/>
                  </a:lnTo>
                  <a:lnTo>
                    <a:pt x="12948" y="1402"/>
                  </a:lnTo>
                  <a:lnTo>
                    <a:pt x="12952" y="1397"/>
                  </a:lnTo>
                  <a:lnTo>
                    <a:pt x="12959" y="1393"/>
                  </a:lnTo>
                  <a:lnTo>
                    <a:pt x="12966" y="1392"/>
                  </a:lnTo>
                  <a:lnTo>
                    <a:pt x="12974" y="1393"/>
                  </a:lnTo>
                  <a:lnTo>
                    <a:pt x="12981" y="1397"/>
                  </a:lnTo>
                  <a:lnTo>
                    <a:pt x="12984" y="1402"/>
                  </a:lnTo>
                  <a:lnTo>
                    <a:pt x="12987" y="1411"/>
                  </a:lnTo>
                  <a:close/>
                  <a:moveTo>
                    <a:pt x="13776" y="1177"/>
                  </a:moveTo>
                  <a:lnTo>
                    <a:pt x="13776" y="1290"/>
                  </a:lnTo>
                  <a:lnTo>
                    <a:pt x="13774" y="1299"/>
                  </a:lnTo>
                  <a:lnTo>
                    <a:pt x="13769" y="1305"/>
                  </a:lnTo>
                  <a:lnTo>
                    <a:pt x="13763" y="1309"/>
                  </a:lnTo>
                  <a:lnTo>
                    <a:pt x="13756" y="1309"/>
                  </a:lnTo>
                  <a:lnTo>
                    <a:pt x="13749" y="1309"/>
                  </a:lnTo>
                  <a:lnTo>
                    <a:pt x="13742" y="1305"/>
                  </a:lnTo>
                  <a:lnTo>
                    <a:pt x="13737" y="1299"/>
                  </a:lnTo>
                  <a:lnTo>
                    <a:pt x="13736" y="1290"/>
                  </a:lnTo>
                  <a:lnTo>
                    <a:pt x="13736" y="1177"/>
                  </a:lnTo>
                  <a:lnTo>
                    <a:pt x="13737" y="1168"/>
                  </a:lnTo>
                  <a:lnTo>
                    <a:pt x="13742" y="1163"/>
                  </a:lnTo>
                  <a:lnTo>
                    <a:pt x="13749" y="1159"/>
                  </a:lnTo>
                  <a:lnTo>
                    <a:pt x="13756" y="1158"/>
                  </a:lnTo>
                  <a:lnTo>
                    <a:pt x="13763" y="1159"/>
                  </a:lnTo>
                  <a:lnTo>
                    <a:pt x="13769" y="1163"/>
                  </a:lnTo>
                  <a:lnTo>
                    <a:pt x="13774" y="1168"/>
                  </a:lnTo>
                  <a:lnTo>
                    <a:pt x="13776" y="1177"/>
                  </a:lnTo>
                  <a:close/>
                  <a:moveTo>
                    <a:pt x="13513" y="1177"/>
                  </a:moveTo>
                  <a:lnTo>
                    <a:pt x="13513" y="1290"/>
                  </a:lnTo>
                  <a:lnTo>
                    <a:pt x="13511" y="1299"/>
                  </a:lnTo>
                  <a:lnTo>
                    <a:pt x="13506" y="1305"/>
                  </a:lnTo>
                  <a:lnTo>
                    <a:pt x="13500" y="1309"/>
                  </a:lnTo>
                  <a:lnTo>
                    <a:pt x="13492" y="1309"/>
                  </a:lnTo>
                  <a:lnTo>
                    <a:pt x="13486" y="1309"/>
                  </a:lnTo>
                  <a:lnTo>
                    <a:pt x="13479" y="1305"/>
                  </a:lnTo>
                  <a:lnTo>
                    <a:pt x="13474" y="1299"/>
                  </a:lnTo>
                  <a:lnTo>
                    <a:pt x="13473" y="1290"/>
                  </a:lnTo>
                  <a:lnTo>
                    <a:pt x="13473" y="1177"/>
                  </a:lnTo>
                  <a:lnTo>
                    <a:pt x="13474" y="1168"/>
                  </a:lnTo>
                  <a:lnTo>
                    <a:pt x="13479" y="1163"/>
                  </a:lnTo>
                  <a:lnTo>
                    <a:pt x="13486" y="1159"/>
                  </a:lnTo>
                  <a:lnTo>
                    <a:pt x="13492" y="1158"/>
                  </a:lnTo>
                  <a:lnTo>
                    <a:pt x="13500" y="1159"/>
                  </a:lnTo>
                  <a:lnTo>
                    <a:pt x="13506" y="1163"/>
                  </a:lnTo>
                  <a:lnTo>
                    <a:pt x="13511" y="1168"/>
                  </a:lnTo>
                  <a:lnTo>
                    <a:pt x="13513" y="1177"/>
                  </a:lnTo>
                  <a:close/>
                  <a:moveTo>
                    <a:pt x="13250" y="1177"/>
                  </a:moveTo>
                  <a:lnTo>
                    <a:pt x="13250" y="1290"/>
                  </a:lnTo>
                  <a:lnTo>
                    <a:pt x="13247" y="1299"/>
                  </a:lnTo>
                  <a:lnTo>
                    <a:pt x="13243" y="1305"/>
                  </a:lnTo>
                  <a:lnTo>
                    <a:pt x="13237" y="1309"/>
                  </a:lnTo>
                  <a:lnTo>
                    <a:pt x="13229" y="1309"/>
                  </a:lnTo>
                  <a:lnTo>
                    <a:pt x="13222" y="1309"/>
                  </a:lnTo>
                  <a:lnTo>
                    <a:pt x="13215" y="1305"/>
                  </a:lnTo>
                  <a:lnTo>
                    <a:pt x="13211" y="1299"/>
                  </a:lnTo>
                  <a:lnTo>
                    <a:pt x="13210" y="1290"/>
                  </a:lnTo>
                  <a:lnTo>
                    <a:pt x="13210" y="1177"/>
                  </a:lnTo>
                  <a:lnTo>
                    <a:pt x="13211" y="1168"/>
                  </a:lnTo>
                  <a:lnTo>
                    <a:pt x="13215" y="1163"/>
                  </a:lnTo>
                  <a:lnTo>
                    <a:pt x="13222" y="1159"/>
                  </a:lnTo>
                  <a:lnTo>
                    <a:pt x="13229" y="1158"/>
                  </a:lnTo>
                  <a:lnTo>
                    <a:pt x="13237" y="1159"/>
                  </a:lnTo>
                  <a:lnTo>
                    <a:pt x="13243" y="1163"/>
                  </a:lnTo>
                  <a:lnTo>
                    <a:pt x="13247" y="1168"/>
                  </a:lnTo>
                  <a:lnTo>
                    <a:pt x="13250" y="1177"/>
                  </a:lnTo>
                  <a:close/>
                  <a:moveTo>
                    <a:pt x="12987" y="1177"/>
                  </a:moveTo>
                  <a:lnTo>
                    <a:pt x="12987" y="1290"/>
                  </a:lnTo>
                  <a:lnTo>
                    <a:pt x="12984" y="1299"/>
                  </a:lnTo>
                  <a:lnTo>
                    <a:pt x="12981" y="1305"/>
                  </a:lnTo>
                  <a:lnTo>
                    <a:pt x="12974" y="1309"/>
                  </a:lnTo>
                  <a:lnTo>
                    <a:pt x="12966" y="1309"/>
                  </a:lnTo>
                  <a:lnTo>
                    <a:pt x="12959" y="1309"/>
                  </a:lnTo>
                  <a:lnTo>
                    <a:pt x="12952" y="1305"/>
                  </a:lnTo>
                  <a:lnTo>
                    <a:pt x="12948" y="1299"/>
                  </a:lnTo>
                  <a:lnTo>
                    <a:pt x="12946" y="1290"/>
                  </a:lnTo>
                  <a:lnTo>
                    <a:pt x="12946" y="1177"/>
                  </a:lnTo>
                  <a:lnTo>
                    <a:pt x="12948" y="1168"/>
                  </a:lnTo>
                  <a:lnTo>
                    <a:pt x="12952" y="1163"/>
                  </a:lnTo>
                  <a:lnTo>
                    <a:pt x="12959" y="1159"/>
                  </a:lnTo>
                  <a:lnTo>
                    <a:pt x="12966" y="1158"/>
                  </a:lnTo>
                  <a:lnTo>
                    <a:pt x="12974" y="1159"/>
                  </a:lnTo>
                  <a:lnTo>
                    <a:pt x="12981" y="1163"/>
                  </a:lnTo>
                  <a:lnTo>
                    <a:pt x="12984" y="1168"/>
                  </a:lnTo>
                  <a:lnTo>
                    <a:pt x="12987" y="1177"/>
                  </a:lnTo>
                  <a:close/>
                  <a:moveTo>
                    <a:pt x="13538" y="3927"/>
                  </a:moveTo>
                  <a:lnTo>
                    <a:pt x="13538" y="4038"/>
                  </a:lnTo>
                  <a:lnTo>
                    <a:pt x="13536" y="4047"/>
                  </a:lnTo>
                  <a:lnTo>
                    <a:pt x="13532" y="4053"/>
                  </a:lnTo>
                  <a:lnTo>
                    <a:pt x="13525" y="4057"/>
                  </a:lnTo>
                  <a:lnTo>
                    <a:pt x="13518" y="4058"/>
                  </a:lnTo>
                  <a:lnTo>
                    <a:pt x="13510" y="4057"/>
                  </a:lnTo>
                  <a:lnTo>
                    <a:pt x="13504" y="4053"/>
                  </a:lnTo>
                  <a:lnTo>
                    <a:pt x="13500" y="4047"/>
                  </a:lnTo>
                  <a:lnTo>
                    <a:pt x="13497" y="4038"/>
                  </a:lnTo>
                  <a:lnTo>
                    <a:pt x="13497" y="3927"/>
                  </a:lnTo>
                  <a:lnTo>
                    <a:pt x="13500" y="3918"/>
                  </a:lnTo>
                  <a:lnTo>
                    <a:pt x="13504" y="3911"/>
                  </a:lnTo>
                  <a:lnTo>
                    <a:pt x="13510" y="3907"/>
                  </a:lnTo>
                  <a:lnTo>
                    <a:pt x="13518" y="3906"/>
                  </a:lnTo>
                  <a:lnTo>
                    <a:pt x="13525" y="3907"/>
                  </a:lnTo>
                  <a:lnTo>
                    <a:pt x="13532" y="3911"/>
                  </a:lnTo>
                  <a:lnTo>
                    <a:pt x="13536" y="3918"/>
                  </a:lnTo>
                  <a:lnTo>
                    <a:pt x="13538" y="3927"/>
                  </a:lnTo>
                  <a:close/>
                  <a:moveTo>
                    <a:pt x="13274" y="3927"/>
                  </a:moveTo>
                  <a:lnTo>
                    <a:pt x="13274" y="4038"/>
                  </a:lnTo>
                  <a:lnTo>
                    <a:pt x="13273" y="4047"/>
                  </a:lnTo>
                  <a:lnTo>
                    <a:pt x="13269" y="4053"/>
                  </a:lnTo>
                  <a:lnTo>
                    <a:pt x="13263" y="4057"/>
                  </a:lnTo>
                  <a:lnTo>
                    <a:pt x="13255" y="4058"/>
                  </a:lnTo>
                  <a:lnTo>
                    <a:pt x="13247" y="4057"/>
                  </a:lnTo>
                  <a:lnTo>
                    <a:pt x="13241" y="4053"/>
                  </a:lnTo>
                  <a:lnTo>
                    <a:pt x="13237" y="4047"/>
                  </a:lnTo>
                  <a:lnTo>
                    <a:pt x="13234" y="4038"/>
                  </a:lnTo>
                  <a:lnTo>
                    <a:pt x="13234" y="3927"/>
                  </a:lnTo>
                  <a:lnTo>
                    <a:pt x="13237" y="3918"/>
                  </a:lnTo>
                  <a:lnTo>
                    <a:pt x="13241" y="3911"/>
                  </a:lnTo>
                  <a:lnTo>
                    <a:pt x="13247" y="3907"/>
                  </a:lnTo>
                  <a:lnTo>
                    <a:pt x="13255" y="3906"/>
                  </a:lnTo>
                  <a:lnTo>
                    <a:pt x="13263" y="3907"/>
                  </a:lnTo>
                  <a:lnTo>
                    <a:pt x="13269" y="3911"/>
                  </a:lnTo>
                  <a:lnTo>
                    <a:pt x="13273" y="3918"/>
                  </a:lnTo>
                  <a:lnTo>
                    <a:pt x="13274" y="3927"/>
                  </a:lnTo>
                  <a:close/>
                  <a:moveTo>
                    <a:pt x="13011" y="3927"/>
                  </a:moveTo>
                  <a:lnTo>
                    <a:pt x="13011" y="4038"/>
                  </a:lnTo>
                  <a:lnTo>
                    <a:pt x="13010" y="4047"/>
                  </a:lnTo>
                  <a:lnTo>
                    <a:pt x="13005" y="4053"/>
                  </a:lnTo>
                  <a:lnTo>
                    <a:pt x="12998" y="4057"/>
                  </a:lnTo>
                  <a:lnTo>
                    <a:pt x="12992" y="4058"/>
                  </a:lnTo>
                  <a:lnTo>
                    <a:pt x="12984" y="4057"/>
                  </a:lnTo>
                  <a:lnTo>
                    <a:pt x="12978" y="4053"/>
                  </a:lnTo>
                  <a:lnTo>
                    <a:pt x="12973" y="4047"/>
                  </a:lnTo>
                  <a:lnTo>
                    <a:pt x="12972" y="4038"/>
                  </a:lnTo>
                  <a:lnTo>
                    <a:pt x="12972" y="3927"/>
                  </a:lnTo>
                  <a:lnTo>
                    <a:pt x="12973" y="3918"/>
                  </a:lnTo>
                  <a:lnTo>
                    <a:pt x="12978" y="3911"/>
                  </a:lnTo>
                  <a:lnTo>
                    <a:pt x="12984" y="3907"/>
                  </a:lnTo>
                  <a:lnTo>
                    <a:pt x="12992" y="3906"/>
                  </a:lnTo>
                  <a:lnTo>
                    <a:pt x="12998" y="3907"/>
                  </a:lnTo>
                  <a:lnTo>
                    <a:pt x="13005" y="3911"/>
                  </a:lnTo>
                  <a:lnTo>
                    <a:pt x="13010" y="3918"/>
                  </a:lnTo>
                  <a:lnTo>
                    <a:pt x="13011" y="3927"/>
                  </a:lnTo>
                  <a:close/>
                  <a:moveTo>
                    <a:pt x="12748" y="3927"/>
                  </a:moveTo>
                  <a:lnTo>
                    <a:pt x="12748" y="4038"/>
                  </a:lnTo>
                  <a:lnTo>
                    <a:pt x="12747" y="4047"/>
                  </a:lnTo>
                  <a:lnTo>
                    <a:pt x="12742" y="4053"/>
                  </a:lnTo>
                  <a:lnTo>
                    <a:pt x="12736" y="4057"/>
                  </a:lnTo>
                  <a:lnTo>
                    <a:pt x="12729" y="4058"/>
                  </a:lnTo>
                  <a:lnTo>
                    <a:pt x="12721" y="4057"/>
                  </a:lnTo>
                  <a:lnTo>
                    <a:pt x="12715" y="4053"/>
                  </a:lnTo>
                  <a:lnTo>
                    <a:pt x="12710" y="4047"/>
                  </a:lnTo>
                  <a:lnTo>
                    <a:pt x="12709" y="4038"/>
                  </a:lnTo>
                  <a:lnTo>
                    <a:pt x="12709" y="3927"/>
                  </a:lnTo>
                  <a:lnTo>
                    <a:pt x="12710" y="3918"/>
                  </a:lnTo>
                  <a:lnTo>
                    <a:pt x="12715" y="3911"/>
                  </a:lnTo>
                  <a:lnTo>
                    <a:pt x="12721" y="3907"/>
                  </a:lnTo>
                  <a:lnTo>
                    <a:pt x="12729" y="3906"/>
                  </a:lnTo>
                  <a:lnTo>
                    <a:pt x="12736" y="3907"/>
                  </a:lnTo>
                  <a:lnTo>
                    <a:pt x="12742" y="3911"/>
                  </a:lnTo>
                  <a:lnTo>
                    <a:pt x="12747" y="3918"/>
                  </a:lnTo>
                  <a:lnTo>
                    <a:pt x="12748" y="3927"/>
                  </a:lnTo>
                  <a:close/>
                  <a:moveTo>
                    <a:pt x="13538" y="3681"/>
                  </a:moveTo>
                  <a:lnTo>
                    <a:pt x="13538" y="3792"/>
                  </a:lnTo>
                  <a:lnTo>
                    <a:pt x="13536" y="3801"/>
                  </a:lnTo>
                  <a:lnTo>
                    <a:pt x="13532" y="3808"/>
                  </a:lnTo>
                  <a:lnTo>
                    <a:pt x="13525" y="3811"/>
                  </a:lnTo>
                  <a:lnTo>
                    <a:pt x="13518" y="3813"/>
                  </a:lnTo>
                  <a:lnTo>
                    <a:pt x="13510" y="3811"/>
                  </a:lnTo>
                  <a:lnTo>
                    <a:pt x="13504" y="3808"/>
                  </a:lnTo>
                  <a:lnTo>
                    <a:pt x="13500" y="3801"/>
                  </a:lnTo>
                  <a:lnTo>
                    <a:pt x="13497" y="3792"/>
                  </a:lnTo>
                  <a:lnTo>
                    <a:pt x="13497" y="3681"/>
                  </a:lnTo>
                  <a:lnTo>
                    <a:pt x="13500" y="3672"/>
                  </a:lnTo>
                  <a:lnTo>
                    <a:pt x="13504" y="3666"/>
                  </a:lnTo>
                  <a:lnTo>
                    <a:pt x="13510" y="3662"/>
                  </a:lnTo>
                  <a:lnTo>
                    <a:pt x="13518" y="3661"/>
                  </a:lnTo>
                  <a:lnTo>
                    <a:pt x="13525" y="3662"/>
                  </a:lnTo>
                  <a:lnTo>
                    <a:pt x="13532" y="3666"/>
                  </a:lnTo>
                  <a:lnTo>
                    <a:pt x="13536" y="3672"/>
                  </a:lnTo>
                  <a:lnTo>
                    <a:pt x="13538" y="3681"/>
                  </a:lnTo>
                  <a:close/>
                  <a:moveTo>
                    <a:pt x="13274" y="3681"/>
                  </a:moveTo>
                  <a:lnTo>
                    <a:pt x="13274" y="3792"/>
                  </a:lnTo>
                  <a:lnTo>
                    <a:pt x="13273" y="3801"/>
                  </a:lnTo>
                  <a:lnTo>
                    <a:pt x="13269" y="3808"/>
                  </a:lnTo>
                  <a:lnTo>
                    <a:pt x="13263" y="3811"/>
                  </a:lnTo>
                  <a:lnTo>
                    <a:pt x="13255" y="3813"/>
                  </a:lnTo>
                  <a:lnTo>
                    <a:pt x="13247" y="3811"/>
                  </a:lnTo>
                  <a:lnTo>
                    <a:pt x="13241" y="3808"/>
                  </a:lnTo>
                  <a:lnTo>
                    <a:pt x="13237" y="3801"/>
                  </a:lnTo>
                  <a:lnTo>
                    <a:pt x="13234" y="3792"/>
                  </a:lnTo>
                  <a:lnTo>
                    <a:pt x="13234" y="3681"/>
                  </a:lnTo>
                  <a:lnTo>
                    <a:pt x="13237" y="3672"/>
                  </a:lnTo>
                  <a:lnTo>
                    <a:pt x="13241" y="3666"/>
                  </a:lnTo>
                  <a:lnTo>
                    <a:pt x="13247" y="3662"/>
                  </a:lnTo>
                  <a:lnTo>
                    <a:pt x="13255" y="3661"/>
                  </a:lnTo>
                  <a:lnTo>
                    <a:pt x="13263" y="3662"/>
                  </a:lnTo>
                  <a:lnTo>
                    <a:pt x="13269" y="3666"/>
                  </a:lnTo>
                  <a:lnTo>
                    <a:pt x="13273" y="3672"/>
                  </a:lnTo>
                  <a:lnTo>
                    <a:pt x="13274" y="3681"/>
                  </a:lnTo>
                  <a:close/>
                  <a:moveTo>
                    <a:pt x="13011" y="3681"/>
                  </a:moveTo>
                  <a:lnTo>
                    <a:pt x="13011" y="3792"/>
                  </a:lnTo>
                  <a:lnTo>
                    <a:pt x="13010" y="3801"/>
                  </a:lnTo>
                  <a:lnTo>
                    <a:pt x="13005" y="3808"/>
                  </a:lnTo>
                  <a:lnTo>
                    <a:pt x="12998" y="3811"/>
                  </a:lnTo>
                  <a:lnTo>
                    <a:pt x="12992" y="3813"/>
                  </a:lnTo>
                  <a:lnTo>
                    <a:pt x="12984" y="3811"/>
                  </a:lnTo>
                  <a:lnTo>
                    <a:pt x="12978" y="3808"/>
                  </a:lnTo>
                  <a:lnTo>
                    <a:pt x="12973" y="3801"/>
                  </a:lnTo>
                  <a:lnTo>
                    <a:pt x="12972" y="3792"/>
                  </a:lnTo>
                  <a:lnTo>
                    <a:pt x="12972" y="3681"/>
                  </a:lnTo>
                  <a:lnTo>
                    <a:pt x="12973" y="3672"/>
                  </a:lnTo>
                  <a:lnTo>
                    <a:pt x="12978" y="3666"/>
                  </a:lnTo>
                  <a:lnTo>
                    <a:pt x="12984" y="3662"/>
                  </a:lnTo>
                  <a:lnTo>
                    <a:pt x="12992" y="3661"/>
                  </a:lnTo>
                  <a:lnTo>
                    <a:pt x="12998" y="3662"/>
                  </a:lnTo>
                  <a:lnTo>
                    <a:pt x="13005" y="3666"/>
                  </a:lnTo>
                  <a:lnTo>
                    <a:pt x="13010" y="3672"/>
                  </a:lnTo>
                  <a:lnTo>
                    <a:pt x="13011" y="3681"/>
                  </a:lnTo>
                  <a:close/>
                  <a:moveTo>
                    <a:pt x="12748" y="3681"/>
                  </a:moveTo>
                  <a:lnTo>
                    <a:pt x="12748" y="3792"/>
                  </a:lnTo>
                  <a:lnTo>
                    <a:pt x="12747" y="3801"/>
                  </a:lnTo>
                  <a:lnTo>
                    <a:pt x="12742" y="3808"/>
                  </a:lnTo>
                  <a:lnTo>
                    <a:pt x="12736" y="3811"/>
                  </a:lnTo>
                  <a:lnTo>
                    <a:pt x="12729" y="3813"/>
                  </a:lnTo>
                  <a:lnTo>
                    <a:pt x="12721" y="3811"/>
                  </a:lnTo>
                  <a:lnTo>
                    <a:pt x="12715" y="3808"/>
                  </a:lnTo>
                  <a:lnTo>
                    <a:pt x="12710" y="3801"/>
                  </a:lnTo>
                  <a:lnTo>
                    <a:pt x="12709" y="3792"/>
                  </a:lnTo>
                  <a:lnTo>
                    <a:pt x="12709" y="3681"/>
                  </a:lnTo>
                  <a:lnTo>
                    <a:pt x="12710" y="3672"/>
                  </a:lnTo>
                  <a:lnTo>
                    <a:pt x="12715" y="3666"/>
                  </a:lnTo>
                  <a:lnTo>
                    <a:pt x="12721" y="3662"/>
                  </a:lnTo>
                  <a:lnTo>
                    <a:pt x="12729" y="3661"/>
                  </a:lnTo>
                  <a:lnTo>
                    <a:pt x="12736" y="3662"/>
                  </a:lnTo>
                  <a:lnTo>
                    <a:pt x="12742" y="3666"/>
                  </a:lnTo>
                  <a:lnTo>
                    <a:pt x="12747" y="3672"/>
                  </a:lnTo>
                  <a:lnTo>
                    <a:pt x="12748" y="3681"/>
                  </a:lnTo>
                  <a:close/>
                  <a:moveTo>
                    <a:pt x="13538" y="3436"/>
                  </a:moveTo>
                  <a:lnTo>
                    <a:pt x="13538" y="3547"/>
                  </a:lnTo>
                  <a:lnTo>
                    <a:pt x="13536" y="3556"/>
                  </a:lnTo>
                  <a:lnTo>
                    <a:pt x="13532" y="3562"/>
                  </a:lnTo>
                  <a:lnTo>
                    <a:pt x="13525" y="3566"/>
                  </a:lnTo>
                  <a:lnTo>
                    <a:pt x="13518" y="3567"/>
                  </a:lnTo>
                  <a:lnTo>
                    <a:pt x="13510" y="3566"/>
                  </a:lnTo>
                  <a:lnTo>
                    <a:pt x="13504" y="3562"/>
                  </a:lnTo>
                  <a:lnTo>
                    <a:pt x="13500" y="3556"/>
                  </a:lnTo>
                  <a:lnTo>
                    <a:pt x="13497" y="3547"/>
                  </a:lnTo>
                  <a:lnTo>
                    <a:pt x="13497" y="3436"/>
                  </a:lnTo>
                  <a:lnTo>
                    <a:pt x="13500" y="3427"/>
                  </a:lnTo>
                  <a:lnTo>
                    <a:pt x="13504" y="3420"/>
                  </a:lnTo>
                  <a:lnTo>
                    <a:pt x="13510" y="3416"/>
                  </a:lnTo>
                  <a:lnTo>
                    <a:pt x="13518" y="3415"/>
                  </a:lnTo>
                  <a:lnTo>
                    <a:pt x="13525" y="3416"/>
                  </a:lnTo>
                  <a:lnTo>
                    <a:pt x="13532" y="3420"/>
                  </a:lnTo>
                  <a:lnTo>
                    <a:pt x="13536" y="3427"/>
                  </a:lnTo>
                  <a:lnTo>
                    <a:pt x="13538" y="3436"/>
                  </a:lnTo>
                  <a:close/>
                  <a:moveTo>
                    <a:pt x="13274" y="3436"/>
                  </a:moveTo>
                  <a:lnTo>
                    <a:pt x="13274" y="3547"/>
                  </a:lnTo>
                  <a:lnTo>
                    <a:pt x="13273" y="3556"/>
                  </a:lnTo>
                  <a:lnTo>
                    <a:pt x="13269" y="3562"/>
                  </a:lnTo>
                  <a:lnTo>
                    <a:pt x="13263" y="3566"/>
                  </a:lnTo>
                  <a:lnTo>
                    <a:pt x="13255" y="3567"/>
                  </a:lnTo>
                  <a:lnTo>
                    <a:pt x="13247" y="3566"/>
                  </a:lnTo>
                  <a:lnTo>
                    <a:pt x="13241" y="3562"/>
                  </a:lnTo>
                  <a:lnTo>
                    <a:pt x="13237" y="3556"/>
                  </a:lnTo>
                  <a:lnTo>
                    <a:pt x="13234" y="3547"/>
                  </a:lnTo>
                  <a:lnTo>
                    <a:pt x="13234" y="3436"/>
                  </a:lnTo>
                  <a:lnTo>
                    <a:pt x="13237" y="3427"/>
                  </a:lnTo>
                  <a:lnTo>
                    <a:pt x="13241" y="3420"/>
                  </a:lnTo>
                  <a:lnTo>
                    <a:pt x="13247" y="3416"/>
                  </a:lnTo>
                  <a:lnTo>
                    <a:pt x="13255" y="3415"/>
                  </a:lnTo>
                  <a:lnTo>
                    <a:pt x="13263" y="3416"/>
                  </a:lnTo>
                  <a:lnTo>
                    <a:pt x="13269" y="3420"/>
                  </a:lnTo>
                  <a:lnTo>
                    <a:pt x="13273" y="3427"/>
                  </a:lnTo>
                  <a:lnTo>
                    <a:pt x="13274" y="3436"/>
                  </a:lnTo>
                  <a:close/>
                  <a:moveTo>
                    <a:pt x="13011" y="3436"/>
                  </a:moveTo>
                  <a:lnTo>
                    <a:pt x="13011" y="3547"/>
                  </a:lnTo>
                  <a:lnTo>
                    <a:pt x="13010" y="3556"/>
                  </a:lnTo>
                  <a:lnTo>
                    <a:pt x="13005" y="3562"/>
                  </a:lnTo>
                  <a:lnTo>
                    <a:pt x="12998" y="3566"/>
                  </a:lnTo>
                  <a:lnTo>
                    <a:pt x="12992" y="3567"/>
                  </a:lnTo>
                  <a:lnTo>
                    <a:pt x="12984" y="3566"/>
                  </a:lnTo>
                  <a:lnTo>
                    <a:pt x="12978" y="3562"/>
                  </a:lnTo>
                  <a:lnTo>
                    <a:pt x="12973" y="3556"/>
                  </a:lnTo>
                  <a:lnTo>
                    <a:pt x="12972" y="3547"/>
                  </a:lnTo>
                  <a:lnTo>
                    <a:pt x="12972" y="3436"/>
                  </a:lnTo>
                  <a:lnTo>
                    <a:pt x="12973" y="3427"/>
                  </a:lnTo>
                  <a:lnTo>
                    <a:pt x="12978" y="3420"/>
                  </a:lnTo>
                  <a:lnTo>
                    <a:pt x="12984" y="3416"/>
                  </a:lnTo>
                  <a:lnTo>
                    <a:pt x="12992" y="3415"/>
                  </a:lnTo>
                  <a:lnTo>
                    <a:pt x="12998" y="3416"/>
                  </a:lnTo>
                  <a:lnTo>
                    <a:pt x="13005" y="3420"/>
                  </a:lnTo>
                  <a:lnTo>
                    <a:pt x="13010" y="3427"/>
                  </a:lnTo>
                  <a:lnTo>
                    <a:pt x="13011" y="3436"/>
                  </a:lnTo>
                  <a:close/>
                  <a:moveTo>
                    <a:pt x="12748" y="3436"/>
                  </a:moveTo>
                  <a:lnTo>
                    <a:pt x="12748" y="3547"/>
                  </a:lnTo>
                  <a:lnTo>
                    <a:pt x="12747" y="3556"/>
                  </a:lnTo>
                  <a:lnTo>
                    <a:pt x="12742" y="3562"/>
                  </a:lnTo>
                  <a:lnTo>
                    <a:pt x="12736" y="3566"/>
                  </a:lnTo>
                  <a:lnTo>
                    <a:pt x="12729" y="3567"/>
                  </a:lnTo>
                  <a:lnTo>
                    <a:pt x="12721" y="3566"/>
                  </a:lnTo>
                  <a:lnTo>
                    <a:pt x="12715" y="3562"/>
                  </a:lnTo>
                  <a:lnTo>
                    <a:pt x="12710" y="3556"/>
                  </a:lnTo>
                  <a:lnTo>
                    <a:pt x="12709" y="3547"/>
                  </a:lnTo>
                  <a:lnTo>
                    <a:pt x="12709" y="3436"/>
                  </a:lnTo>
                  <a:lnTo>
                    <a:pt x="12710" y="3427"/>
                  </a:lnTo>
                  <a:lnTo>
                    <a:pt x="12715" y="3420"/>
                  </a:lnTo>
                  <a:lnTo>
                    <a:pt x="12721" y="3416"/>
                  </a:lnTo>
                  <a:lnTo>
                    <a:pt x="12729" y="3415"/>
                  </a:lnTo>
                  <a:lnTo>
                    <a:pt x="12736" y="3416"/>
                  </a:lnTo>
                  <a:lnTo>
                    <a:pt x="12742" y="3420"/>
                  </a:lnTo>
                  <a:lnTo>
                    <a:pt x="12747" y="3427"/>
                  </a:lnTo>
                  <a:lnTo>
                    <a:pt x="12748" y="3436"/>
                  </a:lnTo>
                  <a:close/>
                  <a:moveTo>
                    <a:pt x="12486" y="3436"/>
                  </a:moveTo>
                  <a:lnTo>
                    <a:pt x="12486" y="3547"/>
                  </a:lnTo>
                  <a:lnTo>
                    <a:pt x="12484" y="3556"/>
                  </a:lnTo>
                  <a:lnTo>
                    <a:pt x="12479" y="3562"/>
                  </a:lnTo>
                  <a:lnTo>
                    <a:pt x="12473" y="3566"/>
                  </a:lnTo>
                  <a:lnTo>
                    <a:pt x="12465" y="3567"/>
                  </a:lnTo>
                  <a:lnTo>
                    <a:pt x="12459" y="3566"/>
                  </a:lnTo>
                  <a:lnTo>
                    <a:pt x="12452" y="3562"/>
                  </a:lnTo>
                  <a:lnTo>
                    <a:pt x="12447" y="3556"/>
                  </a:lnTo>
                  <a:lnTo>
                    <a:pt x="12446" y="3547"/>
                  </a:lnTo>
                  <a:lnTo>
                    <a:pt x="12446" y="3436"/>
                  </a:lnTo>
                  <a:lnTo>
                    <a:pt x="12447" y="3427"/>
                  </a:lnTo>
                  <a:lnTo>
                    <a:pt x="12452" y="3420"/>
                  </a:lnTo>
                  <a:lnTo>
                    <a:pt x="12459" y="3416"/>
                  </a:lnTo>
                  <a:lnTo>
                    <a:pt x="12465" y="3415"/>
                  </a:lnTo>
                  <a:lnTo>
                    <a:pt x="12473" y="3416"/>
                  </a:lnTo>
                  <a:lnTo>
                    <a:pt x="12479" y="3420"/>
                  </a:lnTo>
                  <a:lnTo>
                    <a:pt x="12484" y="3427"/>
                  </a:lnTo>
                  <a:lnTo>
                    <a:pt x="12486" y="3436"/>
                  </a:lnTo>
                  <a:close/>
                  <a:moveTo>
                    <a:pt x="10933" y="2423"/>
                  </a:moveTo>
                  <a:lnTo>
                    <a:pt x="10933" y="2535"/>
                  </a:lnTo>
                  <a:lnTo>
                    <a:pt x="10931" y="2543"/>
                  </a:lnTo>
                  <a:lnTo>
                    <a:pt x="10926" y="2549"/>
                  </a:lnTo>
                  <a:lnTo>
                    <a:pt x="10920" y="2553"/>
                  </a:lnTo>
                  <a:lnTo>
                    <a:pt x="10912" y="2555"/>
                  </a:lnTo>
                  <a:lnTo>
                    <a:pt x="10906" y="2553"/>
                  </a:lnTo>
                  <a:lnTo>
                    <a:pt x="10899" y="2549"/>
                  </a:lnTo>
                  <a:lnTo>
                    <a:pt x="10894" y="2543"/>
                  </a:lnTo>
                  <a:lnTo>
                    <a:pt x="10893" y="2535"/>
                  </a:lnTo>
                  <a:lnTo>
                    <a:pt x="10893" y="2423"/>
                  </a:lnTo>
                  <a:lnTo>
                    <a:pt x="10894" y="2414"/>
                  </a:lnTo>
                  <a:lnTo>
                    <a:pt x="10899" y="2407"/>
                  </a:lnTo>
                  <a:lnTo>
                    <a:pt x="10906" y="2404"/>
                  </a:lnTo>
                  <a:lnTo>
                    <a:pt x="10912" y="2402"/>
                  </a:lnTo>
                  <a:lnTo>
                    <a:pt x="10920" y="2404"/>
                  </a:lnTo>
                  <a:lnTo>
                    <a:pt x="10926" y="2407"/>
                  </a:lnTo>
                  <a:lnTo>
                    <a:pt x="10931" y="2414"/>
                  </a:lnTo>
                  <a:lnTo>
                    <a:pt x="10933" y="2423"/>
                  </a:lnTo>
                  <a:close/>
                  <a:moveTo>
                    <a:pt x="10670" y="2423"/>
                  </a:moveTo>
                  <a:lnTo>
                    <a:pt x="10670" y="2535"/>
                  </a:lnTo>
                  <a:lnTo>
                    <a:pt x="10669" y="2543"/>
                  </a:lnTo>
                  <a:lnTo>
                    <a:pt x="10663" y="2549"/>
                  </a:lnTo>
                  <a:lnTo>
                    <a:pt x="10657" y="2553"/>
                  </a:lnTo>
                  <a:lnTo>
                    <a:pt x="10649" y="2555"/>
                  </a:lnTo>
                  <a:lnTo>
                    <a:pt x="10643" y="2553"/>
                  </a:lnTo>
                  <a:lnTo>
                    <a:pt x="10637" y="2549"/>
                  </a:lnTo>
                  <a:lnTo>
                    <a:pt x="10631" y="2543"/>
                  </a:lnTo>
                  <a:lnTo>
                    <a:pt x="10630" y="2535"/>
                  </a:lnTo>
                  <a:lnTo>
                    <a:pt x="10630" y="2423"/>
                  </a:lnTo>
                  <a:lnTo>
                    <a:pt x="10631" y="2414"/>
                  </a:lnTo>
                  <a:lnTo>
                    <a:pt x="10637" y="2407"/>
                  </a:lnTo>
                  <a:lnTo>
                    <a:pt x="10643" y="2404"/>
                  </a:lnTo>
                  <a:lnTo>
                    <a:pt x="10649" y="2402"/>
                  </a:lnTo>
                  <a:lnTo>
                    <a:pt x="10657" y="2404"/>
                  </a:lnTo>
                  <a:lnTo>
                    <a:pt x="10663" y="2407"/>
                  </a:lnTo>
                  <a:lnTo>
                    <a:pt x="10669" y="2414"/>
                  </a:lnTo>
                  <a:lnTo>
                    <a:pt x="10670" y="2423"/>
                  </a:lnTo>
                  <a:close/>
                  <a:moveTo>
                    <a:pt x="10407" y="2423"/>
                  </a:moveTo>
                  <a:lnTo>
                    <a:pt x="10407" y="2535"/>
                  </a:lnTo>
                  <a:lnTo>
                    <a:pt x="10404" y="2543"/>
                  </a:lnTo>
                  <a:lnTo>
                    <a:pt x="10401" y="2549"/>
                  </a:lnTo>
                  <a:lnTo>
                    <a:pt x="10394" y="2553"/>
                  </a:lnTo>
                  <a:lnTo>
                    <a:pt x="10386" y="2555"/>
                  </a:lnTo>
                  <a:lnTo>
                    <a:pt x="10379" y="2553"/>
                  </a:lnTo>
                  <a:lnTo>
                    <a:pt x="10372" y="2549"/>
                  </a:lnTo>
                  <a:lnTo>
                    <a:pt x="10369" y="2543"/>
                  </a:lnTo>
                  <a:lnTo>
                    <a:pt x="10366" y="2535"/>
                  </a:lnTo>
                  <a:lnTo>
                    <a:pt x="10366" y="2423"/>
                  </a:lnTo>
                  <a:lnTo>
                    <a:pt x="10369" y="2414"/>
                  </a:lnTo>
                  <a:lnTo>
                    <a:pt x="10372" y="2407"/>
                  </a:lnTo>
                  <a:lnTo>
                    <a:pt x="10379" y="2404"/>
                  </a:lnTo>
                  <a:lnTo>
                    <a:pt x="10386" y="2402"/>
                  </a:lnTo>
                  <a:lnTo>
                    <a:pt x="10394" y="2404"/>
                  </a:lnTo>
                  <a:lnTo>
                    <a:pt x="10401" y="2407"/>
                  </a:lnTo>
                  <a:lnTo>
                    <a:pt x="10404" y="2414"/>
                  </a:lnTo>
                  <a:lnTo>
                    <a:pt x="10407" y="2423"/>
                  </a:lnTo>
                  <a:close/>
                  <a:moveTo>
                    <a:pt x="10143" y="2423"/>
                  </a:moveTo>
                  <a:lnTo>
                    <a:pt x="10143" y="2535"/>
                  </a:lnTo>
                  <a:lnTo>
                    <a:pt x="10142" y="2543"/>
                  </a:lnTo>
                  <a:lnTo>
                    <a:pt x="10138" y="2549"/>
                  </a:lnTo>
                  <a:lnTo>
                    <a:pt x="10131" y="2553"/>
                  </a:lnTo>
                  <a:lnTo>
                    <a:pt x="10124" y="2555"/>
                  </a:lnTo>
                  <a:lnTo>
                    <a:pt x="10116" y="2553"/>
                  </a:lnTo>
                  <a:lnTo>
                    <a:pt x="10109" y="2549"/>
                  </a:lnTo>
                  <a:lnTo>
                    <a:pt x="10106" y="2543"/>
                  </a:lnTo>
                  <a:lnTo>
                    <a:pt x="10103" y="2535"/>
                  </a:lnTo>
                  <a:lnTo>
                    <a:pt x="10103" y="2423"/>
                  </a:lnTo>
                  <a:lnTo>
                    <a:pt x="10106" y="2414"/>
                  </a:lnTo>
                  <a:lnTo>
                    <a:pt x="10109" y="2407"/>
                  </a:lnTo>
                  <a:lnTo>
                    <a:pt x="10116" y="2404"/>
                  </a:lnTo>
                  <a:lnTo>
                    <a:pt x="10124" y="2402"/>
                  </a:lnTo>
                  <a:lnTo>
                    <a:pt x="10131" y="2404"/>
                  </a:lnTo>
                  <a:lnTo>
                    <a:pt x="10138" y="2407"/>
                  </a:lnTo>
                  <a:lnTo>
                    <a:pt x="10142" y="2414"/>
                  </a:lnTo>
                  <a:lnTo>
                    <a:pt x="10143" y="2423"/>
                  </a:lnTo>
                  <a:close/>
                  <a:moveTo>
                    <a:pt x="9880" y="2423"/>
                  </a:moveTo>
                  <a:lnTo>
                    <a:pt x="9880" y="2535"/>
                  </a:lnTo>
                  <a:lnTo>
                    <a:pt x="9879" y="2543"/>
                  </a:lnTo>
                  <a:lnTo>
                    <a:pt x="9874" y="2549"/>
                  </a:lnTo>
                  <a:lnTo>
                    <a:pt x="9867" y="2553"/>
                  </a:lnTo>
                  <a:lnTo>
                    <a:pt x="9861" y="2555"/>
                  </a:lnTo>
                  <a:lnTo>
                    <a:pt x="9853" y="2553"/>
                  </a:lnTo>
                  <a:lnTo>
                    <a:pt x="9847" y="2549"/>
                  </a:lnTo>
                  <a:lnTo>
                    <a:pt x="9841" y="2543"/>
                  </a:lnTo>
                  <a:lnTo>
                    <a:pt x="9840" y="2535"/>
                  </a:lnTo>
                  <a:lnTo>
                    <a:pt x="9840" y="2423"/>
                  </a:lnTo>
                  <a:lnTo>
                    <a:pt x="9841" y="2414"/>
                  </a:lnTo>
                  <a:lnTo>
                    <a:pt x="9847" y="2407"/>
                  </a:lnTo>
                  <a:lnTo>
                    <a:pt x="9853" y="2404"/>
                  </a:lnTo>
                  <a:lnTo>
                    <a:pt x="9861" y="2402"/>
                  </a:lnTo>
                  <a:lnTo>
                    <a:pt x="9867" y="2404"/>
                  </a:lnTo>
                  <a:lnTo>
                    <a:pt x="9874" y="2407"/>
                  </a:lnTo>
                  <a:lnTo>
                    <a:pt x="9879" y="2414"/>
                  </a:lnTo>
                  <a:lnTo>
                    <a:pt x="9880" y="2423"/>
                  </a:lnTo>
                  <a:close/>
                  <a:moveTo>
                    <a:pt x="9617" y="2423"/>
                  </a:moveTo>
                  <a:lnTo>
                    <a:pt x="9617" y="2535"/>
                  </a:lnTo>
                  <a:lnTo>
                    <a:pt x="9616" y="2543"/>
                  </a:lnTo>
                  <a:lnTo>
                    <a:pt x="9611" y="2549"/>
                  </a:lnTo>
                  <a:lnTo>
                    <a:pt x="9604" y="2553"/>
                  </a:lnTo>
                  <a:lnTo>
                    <a:pt x="9598" y="2555"/>
                  </a:lnTo>
                  <a:lnTo>
                    <a:pt x="9590" y="2553"/>
                  </a:lnTo>
                  <a:lnTo>
                    <a:pt x="9584" y="2549"/>
                  </a:lnTo>
                  <a:lnTo>
                    <a:pt x="9579" y="2543"/>
                  </a:lnTo>
                  <a:lnTo>
                    <a:pt x="9577" y="2535"/>
                  </a:lnTo>
                  <a:lnTo>
                    <a:pt x="9577" y="2423"/>
                  </a:lnTo>
                  <a:lnTo>
                    <a:pt x="9579" y="2414"/>
                  </a:lnTo>
                  <a:lnTo>
                    <a:pt x="9584" y="2407"/>
                  </a:lnTo>
                  <a:lnTo>
                    <a:pt x="9590" y="2404"/>
                  </a:lnTo>
                  <a:lnTo>
                    <a:pt x="9598" y="2402"/>
                  </a:lnTo>
                  <a:lnTo>
                    <a:pt x="9604" y="2404"/>
                  </a:lnTo>
                  <a:lnTo>
                    <a:pt x="9611" y="2407"/>
                  </a:lnTo>
                  <a:lnTo>
                    <a:pt x="9616" y="2414"/>
                  </a:lnTo>
                  <a:lnTo>
                    <a:pt x="9617" y="2423"/>
                  </a:lnTo>
                  <a:close/>
                  <a:moveTo>
                    <a:pt x="16589" y="796"/>
                  </a:moveTo>
                  <a:lnTo>
                    <a:pt x="16589" y="847"/>
                  </a:lnTo>
                  <a:lnTo>
                    <a:pt x="16588" y="859"/>
                  </a:lnTo>
                  <a:lnTo>
                    <a:pt x="16584" y="869"/>
                  </a:lnTo>
                  <a:lnTo>
                    <a:pt x="16576" y="878"/>
                  </a:lnTo>
                  <a:lnTo>
                    <a:pt x="16566" y="883"/>
                  </a:lnTo>
                  <a:lnTo>
                    <a:pt x="16556" y="890"/>
                  </a:lnTo>
                  <a:lnTo>
                    <a:pt x="16547" y="896"/>
                  </a:lnTo>
                  <a:lnTo>
                    <a:pt x="16534" y="913"/>
                  </a:lnTo>
                  <a:lnTo>
                    <a:pt x="16529" y="923"/>
                  </a:lnTo>
                  <a:lnTo>
                    <a:pt x="16526" y="934"/>
                  </a:lnTo>
                  <a:lnTo>
                    <a:pt x="16526" y="956"/>
                  </a:lnTo>
                  <a:lnTo>
                    <a:pt x="16530" y="968"/>
                  </a:lnTo>
                  <a:lnTo>
                    <a:pt x="16535" y="978"/>
                  </a:lnTo>
                  <a:lnTo>
                    <a:pt x="16541" y="987"/>
                  </a:lnTo>
                  <a:lnTo>
                    <a:pt x="16549" y="996"/>
                  </a:lnTo>
                  <a:lnTo>
                    <a:pt x="16568" y="1006"/>
                  </a:lnTo>
                  <a:lnTo>
                    <a:pt x="16591" y="1011"/>
                  </a:lnTo>
                  <a:lnTo>
                    <a:pt x="16604" y="1009"/>
                  </a:lnTo>
                  <a:lnTo>
                    <a:pt x="16617" y="1005"/>
                  </a:lnTo>
                  <a:lnTo>
                    <a:pt x="16629" y="1000"/>
                  </a:lnTo>
                  <a:lnTo>
                    <a:pt x="16638" y="991"/>
                  </a:lnTo>
                  <a:lnTo>
                    <a:pt x="16647" y="982"/>
                  </a:lnTo>
                  <a:lnTo>
                    <a:pt x="16652" y="970"/>
                  </a:lnTo>
                  <a:lnTo>
                    <a:pt x="16656" y="957"/>
                  </a:lnTo>
                  <a:lnTo>
                    <a:pt x="16657" y="945"/>
                  </a:lnTo>
                  <a:lnTo>
                    <a:pt x="16659" y="936"/>
                  </a:lnTo>
                  <a:lnTo>
                    <a:pt x="16663" y="929"/>
                  </a:lnTo>
                  <a:lnTo>
                    <a:pt x="16670" y="925"/>
                  </a:lnTo>
                  <a:lnTo>
                    <a:pt x="16677" y="924"/>
                  </a:lnTo>
                  <a:lnTo>
                    <a:pt x="16685" y="925"/>
                  </a:lnTo>
                  <a:lnTo>
                    <a:pt x="16691" y="929"/>
                  </a:lnTo>
                  <a:lnTo>
                    <a:pt x="16695" y="936"/>
                  </a:lnTo>
                  <a:lnTo>
                    <a:pt x="16698" y="945"/>
                  </a:lnTo>
                  <a:lnTo>
                    <a:pt x="16695" y="966"/>
                  </a:lnTo>
                  <a:lnTo>
                    <a:pt x="16689" y="986"/>
                  </a:lnTo>
                  <a:lnTo>
                    <a:pt x="16679" y="1003"/>
                  </a:lnTo>
                  <a:lnTo>
                    <a:pt x="16666" y="1020"/>
                  </a:lnTo>
                  <a:lnTo>
                    <a:pt x="16650" y="1033"/>
                  </a:lnTo>
                  <a:lnTo>
                    <a:pt x="16632" y="1042"/>
                  </a:lnTo>
                  <a:lnTo>
                    <a:pt x="16612" y="1048"/>
                  </a:lnTo>
                  <a:lnTo>
                    <a:pt x="16591" y="1051"/>
                  </a:lnTo>
                  <a:lnTo>
                    <a:pt x="16572" y="1048"/>
                  </a:lnTo>
                  <a:lnTo>
                    <a:pt x="16556" y="1044"/>
                  </a:lnTo>
                  <a:lnTo>
                    <a:pt x="16539" y="1037"/>
                  </a:lnTo>
                  <a:lnTo>
                    <a:pt x="16523" y="1025"/>
                  </a:lnTo>
                  <a:lnTo>
                    <a:pt x="16511" y="1014"/>
                  </a:lnTo>
                  <a:lnTo>
                    <a:pt x="16500" y="998"/>
                  </a:lnTo>
                  <a:lnTo>
                    <a:pt x="16495" y="991"/>
                  </a:lnTo>
                  <a:lnTo>
                    <a:pt x="16491" y="982"/>
                  </a:lnTo>
                  <a:lnTo>
                    <a:pt x="16488" y="964"/>
                  </a:lnTo>
                  <a:lnTo>
                    <a:pt x="16485" y="945"/>
                  </a:lnTo>
                  <a:lnTo>
                    <a:pt x="16486" y="928"/>
                  </a:lnTo>
                  <a:lnTo>
                    <a:pt x="16490" y="910"/>
                  </a:lnTo>
                  <a:lnTo>
                    <a:pt x="16498" y="895"/>
                  </a:lnTo>
                  <a:lnTo>
                    <a:pt x="16507" y="879"/>
                  </a:lnTo>
                  <a:lnTo>
                    <a:pt x="16518" y="867"/>
                  </a:lnTo>
                  <a:lnTo>
                    <a:pt x="16532" y="856"/>
                  </a:lnTo>
                  <a:lnTo>
                    <a:pt x="16549" y="847"/>
                  </a:lnTo>
                  <a:lnTo>
                    <a:pt x="16549" y="796"/>
                  </a:lnTo>
                  <a:lnTo>
                    <a:pt x="16550" y="787"/>
                  </a:lnTo>
                  <a:lnTo>
                    <a:pt x="16556" y="782"/>
                  </a:lnTo>
                  <a:lnTo>
                    <a:pt x="16562" y="778"/>
                  </a:lnTo>
                  <a:lnTo>
                    <a:pt x="16568" y="777"/>
                  </a:lnTo>
                  <a:lnTo>
                    <a:pt x="16576" y="778"/>
                  </a:lnTo>
                  <a:lnTo>
                    <a:pt x="16582" y="782"/>
                  </a:lnTo>
                  <a:lnTo>
                    <a:pt x="16588" y="787"/>
                  </a:lnTo>
                  <a:lnTo>
                    <a:pt x="16589" y="796"/>
                  </a:lnTo>
                  <a:close/>
                  <a:moveTo>
                    <a:pt x="17183" y="112"/>
                  </a:moveTo>
                  <a:lnTo>
                    <a:pt x="17100" y="225"/>
                  </a:lnTo>
                  <a:lnTo>
                    <a:pt x="17100" y="309"/>
                  </a:lnTo>
                  <a:lnTo>
                    <a:pt x="17183" y="309"/>
                  </a:lnTo>
                  <a:lnTo>
                    <a:pt x="17183" y="112"/>
                  </a:lnTo>
                  <a:close/>
                  <a:moveTo>
                    <a:pt x="17059" y="309"/>
                  </a:moveTo>
                  <a:lnTo>
                    <a:pt x="17059" y="218"/>
                  </a:lnTo>
                  <a:lnTo>
                    <a:pt x="17063" y="207"/>
                  </a:lnTo>
                  <a:lnTo>
                    <a:pt x="17175" y="55"/>
                  </a:lnTo>
                  <a:lnTo>
                    <a:pt x="16382" y="309"/>
                  </a:lnTo>
                  <a:lnTo>
                    <a:pt x="16906" y="309"/>
                  </a:lnTo>
                  <a:lnTo>
                    <a:pt x="17015" y="309"/>
                  </a:lnTo>
                  <a:lnTo>
                    <a:pt x="17059" y="309"/>
                  </a:lnTo>
                  <a:close/>
                  <a:moveTo>
                    <a:pt x="17222" y="309"/>
                  </a:moveTo>
                  <a:lnTo>
                    <a:pt x="17388" y="309"/>
                  </a:lnTo>
                  <a:lnTo>
                    <a:pt x="17222" y="80"/>
                  </a:lnTo>
                  <a:lnTo>
                    <a:pt x="17222" y="309"/>
                  </a:lnTo>
                  <a:close/>
                  <a:moveTo>
                    <a:pt x="17183" y="481"/>
                  </a:moveTo>
                  <a:lnTo>
                    <a:pt x="17015" y="481"/>
                  </a:lnTo>
                  <a:lnTo>
                    <a:pt x="17007" y="478"/>
                  </a:lnTo>
                  <a:lnTo>
                    <a:pt x="17000" y="474"/>
                  </a:lnTo>
                  <a:lnTo>
                    <a:pt x="16995" y="468"/>
                  </a:lnTo>
                  <a:lnTo>
                    <a:pt x="16994" y="460"/>
                  </a:lnTo>
                  <a:lnTo>
                    <a:pt x="16994" y="349"/>
                  </a:lnTo>
                  <a:lnTo>
                    <a:pt x="16926" y="349"/>
                  </a:lnTo>
                  <a:lnTo>
                    <a:pt x="16926" y="552"/>
                  </a:lnTo>
                  <a:lnTo>
                    <a:pt x="17067" y="552"/>
                  </a:lnTo>
                  <a:lnTo>
                    <a:pt x="17183" y="552"/>
                  </a:lnTo>
                  <a:lnTo>
                    <a:pt x="17183" y="481"/>
                  </a:lnTo>
                  <a:close/>
                  <a:moveTo>
                    <a:pt x="17222" y="349"/>
                  </a:moveTo>
                  <a:lnTo>
                    <a:pt x="17222" y="460"/>
                  </a:lnTo>
                  <a:lnTo>
                    <a:pt x="17222" y="573"/>
                  </a:lnTo>
                  <a:lnTo>
                    <a:pt x="17222" y="1413"/>
                  </a:lnTo>
                  <a:lnTo>
                    <a:pt x="17222" y="2253"/>
                  </a:lnTo>
                  <a:lnTo>
                    <a:pt x="17220" y="2262"/>
                  </a:lnTo>
                  <a:lnTo>
                    <a:pt x="17216" y="2268"/>
                  </a:lnTo>
                  <a:lnTo>
                    <a:pt x="17209" y="2272"/>
                  </a:lnTo>
                  <a:lnTo>
                    <a:pt x="17202" y="2273"/>
                  </a:lnTo>
                  <a:lnTo>
                    <a:pt x="17194" y="2272"/>
                  </a:lnTo>
                  <a:lnTo>
                    <a:pt x="17188" y="2268"/>
                  </a:lnTo>
                  <a:lnTo>
                    <a:pt x="17184" y="2262"/>
                  </a:lnTo>
                  <a:lnTo>
                    <a:pt x="17183" y="2253"/>
                  </a:lnTo>
                  <a:lnTo>
                    <a:pt x="17183" y="1422"/>
                  </a:lnTo>
                  <a:lnTo>
                    <a:pt x="17183" y="592"/>
                  </a:lnTo>
                  <a:lnTo>
                    <a:pt x="17088" y="592"/>
                  </a:lnTo>
                  <a:lnTo>
                    <a:pt x="17088" y="1422"/>
                  </a:lnTo>
                  <a:lnTo>
                    <a:pt x="17088" y="2253"/>
                  </a:lnTo>
                  <a:lnTo>
                    <a:pt x="17085" y="2262"/>
                  </a:lnTo>
                  <a:lnTo>
                    <a:pt x="17081" y="2268"/>
                  </a:lnTo>
                  <a:lnTo>
                    <a:pt x="17075" y="2272"/>
                  </a:lnTo>
                  <a:lnTo>
                    <a:pt x="17067" y="2273"/>
                  </a:lnTo>
                  <a:lnTo>
                    <a:pt x="17059" y="2272"/>
                  </a:lnTo>
                  <a:lnTo>
                    <a:pt x="17053" y="2268"/>
                  </a:lnTo>
                  <a:lnTo>
                    <a:pt x="17049" y="2262"/>
                  </a:lnTo>
                  <a:lnTo>
                    <a:pt x="17047" y="2253"/>
                  </a:lnTo>
                  <a:lnTo>
                    <a:pt x="17047" y="1422"/>
                  </a:lnTo>
                  <a:lnTo>
                    <a:pt x="17047" y="592"/>
                  </a:lnTo>
                  <a:lnTo>
                    <a:pt x="16906" y="592"/>
                  </a:lnTo>
                  <a:lnTo>
                    <a:pt x="16898" y="590"/>
                  </a:lnTo>
                  <a:lnTo>
                    <a:pt x="16891" y="587"/>
                  </a:lnTo>
                  <a:lnTo>
                    <a:pt x="16888" y="580"/>
                  </a:lnTo>
                  <a:lnTo>
                    <a:pt x="16886" y="573"/>
                  </a:lnTo>
                  <a:lnTo>
                    <a:pt x="16886" y="349"/>
                  </a:lnTo>
                  <a:lnTo>
                    <a:pt x="16584" y="349"/>
                  </a:lnTo>
                  <a:lnTo>
                    <a:pt x="16584" y="740"/>
                  </a:lnTo>
                  <a:lnTo>
                    <a:pt x="16581" y="749"/>
                  </a:lnTo>
                  <a:lnTo>
                    <a:pt x="16577" y="755"/>
                  </a:lnTo>
                  <a:lnTo>
                    <a:pt x="16571" y="759"/>
                  </a:lnTo>
                  <a:lnTo>
                    <a:pt x="16563" y="761"/>
                  </a:lnTo>
                  <a:lnTo>
                    <a:pt x="16556" y="759"/>
                  </a:lnTo>
                  <a:lnTo>
                    <a:pt x="16549" y="755"/>
                  </a:lnTo>
                  <a:lnTo>
                    <a:pt x="16545" y="749"/>
                  </a:lnTo>
                  <a:lnTo>
                    <a:pt x="16544" y="740"/>
                  </a:lnTo>
                  <a:lnTo>
                    <a:pt x="16544" y="349"/>
                  </a:lnTo>
                  <a:lnTo>
                    <a:pt x="16255" y="349"/>
                  </a:lnTo>
                  <a:lnTo>
                    <a:pt x="16246" y="348"/>
                  </a:lnTo>
                  <a:lnTo>
                    <a:pt x="16239" y="344"/>
                  </a:lnTo>
                  <a:lnTo>
                    <a:pt x="16235" y="339"/>
                  </a:lnTo>
                  <a:lnTo>
                    <a:pt x="16232" y="332"/>
                  </a:lnTo>
                  <a:lnTo>
                    <a:pt x="16232" y="326"/>
                  </a:lnTo>
                  <a:lnTo>
                    <a:pt x="16235" y="319"/>
                  </a:lnTo>
                  <a:lnTo>
                    <a:pt x="16241" y="314"/>
                  </a:lnTo>
                  <a:lnTo>
                    <a:pt x="16249" y="310"/>
                  </a:lnTo>
                  <a:lnTo>
                    <a:pt x="17184" y="9"/>
                  </a:lnTo>
                  <a:lnTo>
                    <a:pt x="17188" y="5"/>
                  </a:lnTo>
                  <a:lnTo>
                    <a:pt x="17192" y="2"/>
                  </a:lnTo>
                  <a:lnTo>
                    <a:pt x="17203" y="0"/>
                  </a:lnTo>
                  <a:lnTo>
                    <a:pt x="17213" y="2"/>
                  </a:lnTo>
                  <a:lnTo>
                    <a:pt x="17220" y="10"/>
                  </a:lnTo>
                  <a:lnTo>
                    <a:pt x="17443" y="317"/>
                  </a:lnTo>
                  <a:lnTo>
                    <a:pt x="17447" y="323"/>
                  </a:lnTo>
                  <a:lnTo>
                    <a:pt x="17449" y="328"/>
                  </a:lnTo>
                  <a:lnTo>
                    <a:pt x="17447" y="339"/>
                  </a:lnTo>
                  <a:lnTo>
                    <a:pt x="17440" y="346"/>
                  </a:lnTo>
                  <a:lnTo>
                    <a:pt x="17427" y="349"/>
                  </a:lnTo>
                  <a:lnTo>
                    <a:pt x="17222" y="349"/>
                  </a:lnTo>
                  <a:close/>
                  <a:moveTo>
                    <a:pt x="17183" y="349"/>
                  </a:moveTo>
                  <a:lnTo>
                    <a:pt x="17034" y="349"/>
                  </a:lnTo>
                  <a:lnTo>
                    <a:pt x="17034" y="440"/>
                  </a:lnTo>
                  <a:lnTo>
                    <a:pt x="17183" y="440"/>
                  </a:lnTo>
                  <a:lnTo>
                    <a:pt x="17183" y="349"/>
                  </a:lnTo>
                  <a:close/>
                  <a:moveTo>
                    <a:pt x="15662" y="1363"/>
                  </a:moveTo>
                  <a:lnTo>
                    <a:pt x="15676" y="1370"/>
                  </a:lnTo>
                  <a:lnTo>
                    <a:pt x="15687" y="1379"/>
                  </a:lnTo>
                  <a:lnTo>
                    <a:pt x="15696" y="1391"/>
                  </a:lnTo>
                  <a:lnTo>
                    <a:pt x="15704" y="1404"/>
                  </a:lnTo>
                  <a:lnTo>
                    <a:pt x="15709" y="1417"/>
                  </a:lnTo>
                  <a:lnTo>
                    <a:pt x="15713" y="1431"/>
                  </a:lnTo>
                  <a:lnTo>
                    <a:pt x="15713" y="1461"/>
                  </a:lnTo>
                  <a:lnTo>
                    <a:pt x="15709" y="1477"/>
                  </a:lnTo>
                  <a:lnTo>
                    <a:pt x="15702" y="1491"/>
                  </a:lnTo>
                  <a:lnTo>
                    <a:pt x="15693" y="1503"/>
                  </a:lnTo>
                  <a:lnTo>
                    <a:pt x="15681" y="1515"/>
                  </a:lnTo>
                  <a:lnTo>
                    <a:pt x="15668" y="1524"/>
                  </a:lnTo>
                  <a:lnTo>
                    <a:pt x="15654" y="1530"/>
                  </a:lnTo>
                  <a:lnTo>
                    <a:pt x="15640" y="1534"/>
                  </a:lnTo>
                  <a:lnTo>
                    <a:pt x="15623" y="1535"/>
                  </a:lnTo>
                  <a:lnTo>
                    <a:pt x="15605" y="1534"/>
                  </a:lnTo>
                  <a:lnTo>
                    <a:pt x="15589" y="1529"/>
                  </a:lnTo>
                  <a:lnTo>
                    <a:pt x="15573" y="1520"/>
                  </a:lnTo>
                  <a:lnTo>
                    <a:pt x="15559" y="1509"/>
                  </a:lnTo>
                  <a:lnTo>
                    <a:pt x="15549" y="1496"/>
                  </a:lnTo>
                  <a:lnTo>
                    <a:pt x="15540" y="1480"/>
                  </a:lnTo>
                  <a:lnTo>
                    <a:pt x="15535" y="1464"/>
                  </a:lnTo>
                  <a:lnTo>
                    <a:pt x="15532" y="1445"/>
                  </a:lnTo>
                  <a:lnTo>
                    <a:pt x="15535" y="1437"/>
                  </a:lnTo>
                  <a:lnTo>
                    <a:pt x="15539" y="1431"/>
                  </a:lnTo>
                  <a:lnTo>
                    <a:pt x="15545" y="1427"/>
                  </a:lnTo>
                  <a:lnTo>
                    <a:pt x="15553" y="1425"/>
                  </a:lnTo>
                  <a:lnTo>
                    <a:pt x="15560" y="1427"/>
                  </a:lnTo>
                  <a:lnTo>
                    <a:pt x="15567" y="1431"/>
                  </a:lnTo>
                  <a:lnTo>
                    <a:pt x="15571" y="1437"/>
                  </a:lnTo>
                  <a:lnTo>
                    <a:pt x="15573" y="1445"/>
                  </a:lnTo>
                  <a:lnTo>
                    <a:pt x="15573" y="1455"/>
                  </a:lnTo>
                  <a:lnTo>
                    <a:pt x="15577" y="1465"/>
                  </a:lnTo>
                  <a:lnTo>
                    <a:pt x="15581" y="1474"/>
                  </a:lnTo>
                  <a:lnTo>
                    <a:pt x="15587" y="1480"/>
                  </a:lnTo>
                  <a:lnTo>
                    <a:pt x="15595" y="1487"/>
                  </a:lnTo>
                  <a:lnTo>
                    <a:pt x="15604" y="1492"/>
                  </a:lnTo>
                  <a:lnTo>
                    <a:pt x="15623" y="1496"/>
                  </a:lnTo>
                  <a:lnTo>
                    <a:pt x="15641" y="1492"/>
                  </a:lnTo>
                  <a:lnTo>
                    <a:pt x="15655" y="1484"/>
                  </a:lnTo>
                  <a:lnTo>
                    <a:pt x="15662" y="1478"/>
                  </a:lnTo>
                  <a:lnTo>
                    <a:pt x="15667" y="1470"/>
                  </a:lnTo>
                  <a:lnTo>
                    <a:pt x="15673" y="1455"/>
                  </a:lnTo>
                  <a:lnTo>
                    <a:pt x="15675" y="1436"/>
                  </a:lnTo>
                  <a:lnTo>
                    <a:pt x="15669" y="1423"/>
                  </a:lnTo>
                  <a:lnTo>
                    <a:pt x="15662" y="1413"/>
                  </a:lnTo>
                  <a:lnTo>
                    <a:pt x="15652" y="1405"/>
                  </a:lnTo>
                  <a:lnTo>
                    <a:pt x="15631" y="1390"/>
                  </a:lnTo>
                  <a:lnTo>
                    <a:pt x="15625" y="1379"/>
                  </a:lnTo>
                  <a:lnTo>
                    <a:pt x="15622" y="1365"/>
                  </a:lnTo>
                  <a:lnTo>
                    <a:pt x="15622" y="1323"/>
                  </a:lnTo>
                  <a:lnTo>
                    <a:pt x="15623" y="1314"/>
                  </a:lnTo>
                  <a:lnTo>
                    <a:pt x="15628" y="1308"/>
                  </a:lnTo>
                  <a:lnTo>
                    <a:pt x="15635" y="1305"/>
                  </a:lnTo>
                  <a:lnTo>
                    <a:pt x="15643" y="1304"/>
                  </a:lnTo>
                  <a:lnTo>
                    <a:pt x="15649" y="1305"/>
                  </a:lnTo>
                  <a:lnTo>
                    <a:pt x="15655" y="1308"/>
                  </a:lnTo>
                  <a:lnTo>
                    <a:pt x="15660" y="1314"/>
                  </a:lnTo>
                  <a:lnTo>
                    <a:pt x="15662" y="1323"/>
                  </a:lnTo>
                  <a:lnTo>
                    <a:pt x="15662" y="1363"/>
                  </a:lnTo>
                  <a:close/>
                  <a:moveTo>
                    <a:pt x="15667" y="963"/>
                  </a:moveTo>
                  <a:lnTo>
                    <a:pt x="15667" y="1277"/>
                  </a:lnTo>
                  <a:lnTo>
                    <a:pt x="15664" y="1286"/>
                  </a:lnTo>
                  <a:lnTo>
                    <a:pt x="15660" y="1292"/>
                  </a:lnTo>
                  <a:lnTo>
                    <a:pt x="15654" y="1296"/>
                  </a:lnTo>
                  <a:lnTo>
                    <a:pt x="15646" y="1298"/>
                  </a:lnTo>
                  <a:lnTo>
                    <a:pt x="15639" y="1296"/>
                  </a:lnTo>
                  <a:lnTo>
                    <a:pt x="15632" y="1292"/>
                  </a:lnTo>
                  <a:lnTo>
                    <a:pt x="15628" y="1286"/>
                  </a:lnTo>
                  <a:lnTo>
                    <a:pt x="15627" y="1277"/>
                  </a:lnTo>
                  <a:lnTo>
                    <a:pt x="15627" y="963"/>
                  </a:lnTo>
                  <a:lnTo>
                    <a:pt x="15385" y="963"/>
                  </a:lnTo>
                  <a:lnTo>
                    <a:pt x="15385" y="1139"/>
                  </a:lnTo>
                  <a:lnTo>
                    <a:pt x="15384" y="1147"/>
                  </a:lnTo>
                  <a:lnTo>
                    <a:pt x="15378" y="1153"/>
                  </a:lnTo>
                  <a:lnTo>
                    <a:pt x="15372" y="1157"/>
                  </a:lnTo>
                  <a:lnTo>
                    <a:pt x="15366" y="1158"/>
                  </a:lnTo>
                  <a:lnTo>
                    <a:pt x="15253" y="1158"/>
                  </a:lnTo>
                  <a:lnTo>
                    <a:pt x="15253" y="1705"/>
                  </a:lnTo>
                  <a:lnTo>
                    <a:pt x="15253" y="2253"/>
                  </a:lnTo>
                  <a:lnTo>
                    <a:pt x="15250" y="2262"/>
                  </a:lnTo>
                  <a:lnTo>
                    <a:pt x="15246" y="2268"/>
                  </a:lnTo>
                  <a:lnTo>
                    <a:pt x="15240" y="2272"/>
                  </a:lnTo>
                  <a:lnTo>
                    <a:pt x="15232" y="2273"/>
                  </a:lnTo>
                  <a:lnTo>
                    <a:pt x="15225" y="2272"/>
                  </a:lnTo>
                  <a:lnTo>
                    <a:pt x="15218" y="2268"/>
                  </a:lnTo>
                  <a:lnTo>
                    <a:pt x="15214" y="2262"/>
                  </a:lnTo>
                  <a:lnTo>
                    <a:pt x="15213" y="2253"/>
                  </a:lnTo>
                  <a:lnTo>
                    <a:pt x="15213" y="1705"/>
                  </a:lnTo>
                  <a:lnTo>
                    <a:pt x="15213" y="1158"/>
                  </a:lnTo>
                  <a:lnTo>
                    <a:pt x="15141" y="1158"/>
                  </a:lnTo>
                  <a:lnTo>
                    <a:pt x="15141" y="1705"/>
                  </a:lnTo>
                  <a:lnTo>
                    <a:pt x="15141" y="2253"/>
                  </a:lnTo>
                  <a:lnTo>
                    <a:pt x="15140" y="2262"/>
                  </a:lnTo>
                  <a:lnTo>
                    <a:pt x="15135" y="2268"/>
                  </a:lnTo>
                  <a:lnTo>
                    <a:pt x="15128" y="2272"/>
                  </a:lnTo>
                  <a:lnTo>
                    <a:pt x="15122" y="2273"/>
                  </a:lnTo>
                  <a:lnTo>
                    <a:pt x="15114" y="2272"/>
                  </a:lnTo>
                  <a:lnTo>
                    <a:pt x="15108" y="2268"/>
                  </a:lnTo>
                  <a:lnTo>
                    <a:pt x="15103" y="2262"/>
                  </a:lnTo>
                  <a:lnTo>
                    <a:pt x="15101" y="2253"/>
                  </a:lnTo>
                  <a:lnTo>
                    <a:pt x="15101" y="1695"/>
                  </a:lnTo>
                  <a:lnTo>
                    <a:pt x="15101" y="1139"/>
                  </a:lnTo>
                  <a:lnTo>
                    <a:pt x="15101" y="1047"/>
                  </a:lnTo>
                  <a:lnTo>
                    <a:pt x="15101" y="963"/>
                  </a:lnTo>
                  <a:lnTo>
                    <a:pt x="14931" y="963"/>
                  </a:lnTo>
                  <a:lnTo>
                    <a:pt x="14918" y="960"/>
                  </a:lnTo>
                  <a:lnTo>
                    <a:pt x="14913" y="956"/>
                  </a:lnTo>
                  <a:lnTo>
                    <a:pt x="14910" y="952"/>
                  </a:lnTo>
                  <a:lnTo>
                    <a:pt x="14909" y="947"/>
                  </a:lnTo>
                  <a:lnTo>
                    <a:pt x="14909" y="942"/>
                  </a:lnTo>
                  <a:lnTo>
                    <a:pt x="14914" y="931"/>
                  </a:lnTo>
                  <a:lnTo>
                    <a:pt x="15105" y="680"/>
                  </a:lnTo>
                  <a:lnTo>
                    <a:pt x="15116" y="675"/>
                  </a:lnTo>
                  <a:lnTo>
                    <a:pt x="15127" y="674"/>
                  </a:lnTo>
                  <a:lnTo>
                    <a:pt x="15907" y="924"/>
                  </a:lnTo>
                  <a:lnTo>
                    <a:pt x="15920" y="933"/>
                  </a:lnTo>
                  <a:lnTo>
                    <a:pt x="15922" y="940"/>
                  </a:lnTo>
                  <a:lnTo>
                    <a:pt x="15923" y="946"/>
                  </a:lnTo>
                  <a:lnTo>
                    <a:pt x="15921" y="952"/>
                  </a:lnTo>
                  <a:lnTo>
                    <a:pt x="15916" y="957"/>
                  </a:lnTo>
                  <a:lnTo>
                    <a:pt x="15909" y="961"/>
                  </a:lnTo>
                  <a:lnTo>
                    <a:pt x="15900" y="963"/>
                  </a:lnTo>
                  <a:lnTo>
                    <a:pt x="15667" y="963"/>
                  </a:lnTo>
                  <a:close/>
                  <a:moveTo>
                    <a:pt x="15167" y="727"/>
                  </a:moveTo>
                  <a:lnTo>
                    <a:pt x="15240" y="828"/>
                  </a:lnTo>
                  <a:lnTo>
                    <a:pt x="15244" y="840"/>
                  </a:lnTo>
                  <a:lnTo>
                    <a:pt x="15244" y="923"/>
                  </a:lnTo>
                  <a:lnTo>
                    <a:pt x="15276" y="923"/>
                  </a:lnTo>
                  <a:lnTo>
                    <a:pt x="15366" y="923"/>
                  </a:lnTo>
                  <a:lnTo>
                    <a:pt x="15773" y="923"/>
                  </a:lnTo>
                  <a:lnTo>
                    <a:pt x="15167" y="727"/>
                  </a:lnTo>
                  <a:close/>
                  <a:moveTo>
                    <a:pt x="15203" y="923"/>
                  </a:moveTo>
                  <a:lnTo>
                    <a:pt x="15203" y="846"/>
                  </a:lnTo>
                  <a:lnTo>
                    <a:pt x="15141" y="762"/>
                  </a:lnTo>
                  <a:lnTo>
                    <a:pt x="15141" y="923"/>
                  </a:lnTo>
                  <a:lnTo>
                    <a:pt x="15203" y="923"/>
                  </a:lnTo>
                  <a:close/>
                  <a:moveTo>
                    <a:pt x="15101" y="752"/>
                  </a:moveTo>
                  <a:lnTo>
                    <a:pt x="14971" y="923"/>
                  </a:lnTo>
                  <a:lnTo>
                    <a:pt x="15101" y="923"/>
                  </a:lnTo>
                  <a:lnTo>
                    <a:pt x="15101" y="752"/>
                  </a:lnTo>
                  <a:close/>
                  <a:moveTo>
                    <a:pt x="15296" y="963"/>
                  </a:moveTo>
                  <a:lnTo>
                    <a:pt x="15296" y="1047"/>
                  </a:lnTo>
                  <a:lnTo>
                    <a:pt x="15295" y="1055"/>
                  </a:lnTo>
                  <a:lnTo>
                    <a:pt x="15290" y="1061"/>
                  </a:lnTo>
                  <a:lnTo>
                    <a:pt x="15283" y="1065"/>
                  </a:lnTo>
                  <a:lnTo>
                    <a:pt x="15276" y="1066"/>
                  </a:lnTo>
                  <a:lnTo>
                    <a:pt x="15141" y="1066"/>
                  </a:lnTo>
                  <a:lnTo>
                    <a:pt x="15141" y="1119"/>
                  </a:lnTo>
                  <a:lnTo>
                    <a:pt x="15232" y="1119"/>
                  </a:lnTo>
                  <a:lnTo>
                    <a:pt x="15345" y="1119"/>
                  </a:lnTo>
                  <a:lnTo>
                    <a:pt x="15345" y="963"/>
                  </a:lnTo>
                  <a:lnTo>
                    <a:pt x="15296" y="963"/>
                  </a:lnTo>
                  <a:close/>
                  <a:moveTo>
                    <a:pt x="15257" y="963"/>
                  </a:moveTo>
                  <a:lnTo>
                    <a:pt x="15141" y="963"/>
                  </a:lnTo>
                  <a:lnTo>
                    <a:pt x="15141" y="1027"/>
                  </a:lnTo>
                  <a:lnTo>
                    <a:pt x="15257" y="1027"/>
                  </a:lnTo>
                  <a:lnTo>
                    <a:pt x="15257" y="963"/>
                  </a:lnTo>
                  <a:close/>
                  <a:moveTo>
                    <a:pt x="12486" y="3681"/>
                  </a:moveTo>
                  <a:lnTo>
                    <a:pt x="12486" y="3792"/>
                  </a:lnTo>
                  <a:lnTo>
                    <a:pt x="12484" y="3800"/>
                  </a:lnTo>
                  <a:lnTo>
                    <a:pt x="12482" y="3805"/>
                  </a:lnTo>
                  <a:lnTo>
                    <a:pt x="12523" y="3838"/>
                  </a:lnTo>
                  <a:lnTo>
                    <a:pt x="12559" y="3875"/>
                  </a:lnTo>
                  <a:lnTo>
                    <a:pt x="12592" y="3918"/>
                  </a:lnTo>
                  <a:lnTo>
                    <a:pt x="12606" y="3939"/>
                  </a:lnTo>
                  <a:lnTo>
                    <a:pt x="12619" y="3962"/>
                  </a:lnTo>
                  <a:lnTo>
                    <a:pt x="12641" y="4011"/>
                  </a:lnTo>
                  <a:lnTo>
                    <a:pt x="12657" y="4062"/>
                  </a:lnTo>
                  <a:lnTo>
                    <a:pt x="12666" y="4116"/>
                  </a:lnTo>
                  <a:lnTo>
                    <a:pt x="12670" y="4171"/>
                  </a:lnTo>
                  <a:lnTo>
                    <a:pt x="12666" y="4226"/>
                  </a:lnTo>
                  <a:lnTo>
                    <a:pt x="12661" y="4265"/>
                  </a:lnTo>
                  <a:lnTo>
                    <a:pt x="12654" y="4304"/>
                  </a:lnTo>
                  <a:lnTo>
                    <a:pt x="13197" y="4304"/>
                  </a:lnTo>
                  <a:lnTo>
                    <a:pt x="13741" y="4304"/>
                  </a:lnTo>
                  <a:lnTo>
                    <a:pt x="13741" y="3764"/>
                  </a:lnTo>
                  <a:lnTo>
                    <a:pt x="13741" y="3225"/>
                  </a:lnTo>
                  <a:lnTo>
                    <a:pt x="13183" y="3225"/>
                  </a:lnTo>
                  <a:lnTo>
                    <a:pt x="12625" y="3225"/>
                  </a:lnTo>
                  <a:lnTo>
                    <a:pt x="12616" y="3222"/>
                  </a:lnTo>
                  <a:lnTo>
                    <a:pt x="12610" y="3218"/>
                  </a:lnTo>
                  <a:lnTo>
                    <a:pt x="12606" y="3212"/>
                  </a:lnTo>
                  <a:lnTo>
                    <a:pt x="12606" y="3204"/>
                  </a:lnTo>
                  <a:lnTo>
                    <a:pt x="12606" y="3196"/>
                  </a:lnTo>
                  <a:lnTo>
                    <a:pt x="12610" y="3190"/>
                  </a:lnTo>
                  <a:lnTo>
                    <a:pt x="12616" y="3186"/>
                  </a:lnTo>
                  <a:lnTo>
                    <a:pt x="12625" y="3184"/>
                  </a:lnTo>
                  <a:lnTo>
                    <a:pt x="12793" y="3184"/>
                  </a:lnTo>
                  <a:lnTo>
                    <a:pt x="12793" y="3031"/>
                  </a:lnTo>
                  <a:lnTo>
                    <a:pt x="12353" y="3031"/>
                  </a:lnTo>
                  <a:lnTo>
                    <a:pt x="12353" y="3184"/>
                  </a:lnTo>
                  <a:lnTo>
                    <a:pt x="12493" y="3184"/>
                  </a:lnTo>
                  <a:lnTo>
                    <a:pt x="12502" y="3186"/>
                  </a:lnTo>
                  <a:lnTo>
                    <a:pt x="12509" y="3190"/>
                  </a:lnTo>
                  <a:lnTo>
                    <a:pt x="12512" y="3196"/>
                  </a:lnTo>
                  <a:lnTo>
                    <a:pt x="12514" y="3204"/>
                  </a:lnTo>
                  <a:lnTo>
                    <a:pt x="12512" y="3212"/>
                  </a:lnTo>
                  <a:lnTo>
                    <a:pt x="12509" y="3218"/>
                  </a:lnTo>
                  <a:lnTo>
                    <a:pt x="12502" y="3222"/>
                  </a:lnTo>
                  <a:lnTo>
                    <a:pt x="12493" y="3225"/>
                  </a:lnTo>
                  <a:lnTo>
                    <a:pt x="12236" y="3225"/>
                  </a:lnTo>
                  <a:lnTo>
                    <a:pt x="12236" y="3670"/>
                  </a:lnTo>
                  <a:lnTo>
                    <a:pt x="12233" y="3679"/>
                  </a:lnTo>
                  <a:lnTo>
                    <a:pt x="12229" y="3685"/>
                  </a:lnTo>
                  <a:lnTo>
                    <a:pt x="12223" y="3689"/>
                  </a:lnTo>
                  <a:lnTo>
                    <a:pt x="12215" y="3690"/>
                  </a:lnTo>
                  <a:lnTo>
                    <a:pt x="12207" y="3689"/>
                  </a:lnTo>
                  <a:lnTo>
                    <a:pt x="12201" y="3685"/>
                  </a:lnTo>
                  <a:lnTo>
                    <a:pt x="12197" y="3679"/>
                  </a:lnTo>
                  <a:lnTo>
                    <a:pt x="12194" y="3670"/>
                  </a:lnTo>
                  <a:lnTo>
                    <a:pt x="12194" y="3204"/>
                  </a:lnTo>
                  <a:lnTo>
                    <a:pt x="12197" y="3196"/>
                  </a:lnTo>
                  <a:lnTo>
                    <a:pt x="12201" y="3190"/>
                  </a:lnTo>
                  <a:lnTo>
                    <a:pt x="12207" y="3186"/>
                  </a:lnTo>
                  <a:lnTo>
                    <a:pt x="12215" y="3184"/>
                  </a:lnTo>
                  <a:lnTo>
                    <a:pt x="12314" y="3184"/>
                  </a:lnTo>
                  <a:lnTo>
                    <a:pt x="12314" y="3011"/>
                  </a:lnTo>
                  <a:lnTo>
                    <a:pt x="12315" y="3003"/>
                  </a:lnTo>
                  <a:lnTo>
                    <a:pt x="12319" y="2997"/>
                  </a:lnTo>
                  <a:lnTo>
                    <a:pt x="12325" y="2993"/>
                  </a:lnTo>
                  <a:lnTo>
                    <a:pt x="12333" y="2991"/>
                  </a:lnTo>
                  <a:lnTo>
                    <a:pt x="12814" y="2991"/>
                  </a:lnTo>
                  <a:lnTo>
                    <a:pt x="12822" y="2993"/>
                  </a:lnTo>
                  <a:lnTo>
                    <a:pt x="12828" y="2997"/>
                  </a:lnTo>
                  <a:lnTo>
                    <a:pt x="12832" y="3003"/>
                  </a:lnTo>
                  <a:lnTo>
                    <a:pt x="12833" y="3011"/>
                  </a:lnTo>
                  <a:lnTo>
                    <a:pt x="12833" y="3184"/>
                  </a:lnTo>
                  <a:lnTo>
                    <a:pt x="13761" y="3184"/>
                  </a:lnTo>
                  <a:lnTo>
                    <a:pt x="13769" y="3186"/>
                  </a:lnTo>
                  <a:lnTo>
                    <a:pt x="13776" y="3190"/>
                  </a:lnTo>
                  <a:lnTo>
                    <a:pt x="13779" y="3196"/>
                  </a:lnTo>
                  <a:lnTo>
                    <a:pt x="13782" y="3204"/>
                  </a:lnTo>
                  <a:lnTo>
                    <a:pt x="13782" y="3764"/>
                  </a:lnTo>
                  <a:lnTo>
                    <a:pt x="13782" y="4324"/>
                  </a:lnTo>
                  <a:lnTo>
                    <a:pt x="13779" y="4332"/>
                  </a:lnTo>
                  <a:lnTo>
                    <a:pt x="13776" y="4338"/>
                  </a:lnTo>
                  <a:lnTo>
                    <a:pt x="13769" y="4342"/>
                  </a:lnTo>
                  <a:lnTo>
                    <a:pt x="13761" y="4343"/>
                  </a:lnTo>
                  <a:lnTo>
                    <a:pt x="13197" y="4343"/>
                  </a:lnTo>
                  <a:lnTo>
                    <a:pt x="12633" y="4343"/>
                  </a:lnTo>
                  <a:lnTo>
                    <a:pt x="12628" y="4347"/>
                  </a:lnTo>
                  <a:lnTo>
                    <a:pt x="12621" y="4349"/>
                  </a:lnTo>
                  <a:lnTo>
                    <a:pt x="12016" y="4349"/>
                  </a:lnTo>
                  <a:lnTo>
                    <a:pt x="11412" y="4349"/>
                  </a:lnTo>
                  <a:lnTo>
                    <a:pt x="11403" y="4346"/>
                  </a:lnTo>
                  <a:lnTo>
                    <a:pt x="11397" y="4341"/>
                  </a:lnTo>
                  <a:lnTo>
                    <a:pt x="11388" y="4334"/>
                  </a:lnTo>
                  <a:lnTo>
                    <a:pt x="11385" y="4329"/>
                  </a:lnTo>
                  <a:lnTo>
                    <a:pt x="11385" y="4323"/>
                  </a:lnTo>
                  <a:lnTo>
                    <a:pt x="11385" y="3936"/>
                  </a:lnTo>
                  <a:lnTo>
                    <a:pt x="11346" y="3930"/>
                  </a:lnTo>
                  <a:lnTo>
                    <a:pt x="11307" y="3924"/>
                  </a:lnTo>
                  <a:lnTo>
                    <a:pt x="11271" y="3913"/>
                  </a:lnTo>
                  <a:lnTo>
                    <a:pt x="11235" y="3898"/>
                  </a:lnTo>
                  <a:lnTo>
                    <a:pt x="11202" y="3881"/>
                  </a:lnTo>
                  <a:lnTo>
                    <a:pt x="11171" y="3860"/>
                  </a:lnTo>
                  <a:lnTo>
                    <a:pt x="11142" y="3837"/>
                  </a:lnTo>
                  <a:lnTo>
                    <a:pt x="11115" y="3811"/>
                  </a:lnTo>
                  <a:lnTo>
                    <a:pt x="11090" y="3783"/>
                  </a:lnTo>
                  <a:lnTo>
                    <a:pt x="11069" y="3753"/>
                  </a:lnTo>
                  <a:lnTo>
                    <a:pt x="11049" y="3721"/>
                  </a:lnTo>
                  <a:lnTo>
                    <a:pt x="11034" y="3686"/>
                  </a:lnTo>
                  <a:lnTo>
                    <a:pt x="11021" y="3650"/>
                  </a:lnTo>
                  <a:lnTo>
                    <a:pt x="11011" y="3613"/>
                  </a:lnTo>
                  <a:lnTo>
                    <a:pt x="11006" y="3575"/>
                  </a:lnTo>
                  <a:lnTo>
                    <a:pt x="11005" y="3535"/>
                  </a:lnTo>
                  <a:lnTo>
                    <a:pt x="11006" y="3494"/>
                  </a:lnTo>
                  <a:lnTo>
                    <a:pt x="11012" y="3453"/>
                  </a:lnTo>
                  <a:lnTo>
                    <a:pt x="11022" y="3415"/>
                  </a:lnTo>
                  <a:lnTo>
                    <a:pt x="11035" y="3379"/>
                  </a:lnTo>
                  <a:lnTo>
                    <a:pt x="11052" y="3343"/>
                  </a:lnTo>
                  <a:lnTo>
                    <a:pt x="11072" y="3310"/>
                  </a:lnTo>
                  <a:lnTo>
                    <a:pt x="11096" y="3280"/>
                  </a:lnTo>
                  <a:lnTo>
                    <a:pt x="11121" y="3251"/>
                  </a:lnTo>
                  <a:lnTo>
                    <a:pt x="11151" y="3226"/>
                  </a:lnTo>
                  <a:lnTo>
                    <a:pt x="11181" y="3203"/>
                  </a:lnTo>
                  <a:lnTo>
                    <a:pt x="11214" y="3182"/>
                  </a:lnTo>
                  <a:lnTo>
                    <a:pt x="11249" y="3166"/>
                  </a:lnTo>
                  <a:lnTo>
                    <a:pt x="11287" y="3152"/>
                  </a:lnTo>
                  <a:lnTo>
                    <a:pt x="11325" y="3143"/>
                  </a:lnTo>
                  <a:lnTo>
                    <a:pt x="11365" y="3136"/>
                  </a:lnTo>
                  <a:lnTo>
                    <a:pt x="11406" y="3134"/>
                  </a:lnTo>
                  <a:lnTo>
                    <a:pt x="11447" y="3136"/>
                  </a:lnTo>
                  <a:lnTo>
                    <a:pt x="11487" y="3143"/>
                  </a:lnTo>
                  <a:lnTo>
                    <a:pt x="11525" y="3152"/>
                  </a:lnTo>
                  <a:lnTo>
                    <a:pt x="11562" y="3166"/>
                  </a:lnTo>
                  <a:lnTo>
                    <a:pt x="11597" y="3182"/>
                  </a:lnTo>
                  <a:lnTo>
                    <a:pt x="11630" y="3203"/>
                  </a:lnTo>
                  <a:lnTo>
                    <a:pt x="11661" y="3226"/>
                  </a:lnTo>
                  <a:lnTo>
                    <a:pt x="11689" y="3251"/>
                  </a:lnTo>
                  <a:lnTo>
                    <a:pt x="11716" y="3280"/>
                  </a:lnTo>
                  <a:lnTo>
                    <a:pt x="11739" y="3310"/>
                  </a:lnTo>
                  <a:lnTo>
                    <a:pt x="11759" y="3343"/>
                  </a:lnTo>
                  <a:lnTo>
                    <a:pt x="11775" y="3379"/>
                  </a:lnTo>
                  <a:lnTo>
                    <a:pt x="11789" y="3415"/>
                  </a:lnTo>
                  <a:lnTo>
                    <a:pt x="11800" y="3453"/>
                  </a:lnTo>
                  <a:lnTo>
                    <a:pt x="11805" y="3494"/>
                  </a:lnTo>
                  <a:lnTo>
                    <a:pt x="11807" y="3535"/>
                  </a:lnTo>
                  <a:lnTo>
                    <a:pt x="11806" y="3575"/>
                  </a:lnTo>
                  <a:lnTo>
                    <a:pt x="11800" y="3613"/>
                  </a:lnTo>
                  <a:lnTo>
                    <a:pt x="11791" y="3650"/>
                  </a:lnTo>
                  <a:lnTo>
                    <a:pt x="11778" y="3686"/>
                  </a:lnTo>
                  <a:lnTo>
                    <a:pt x="11761" y="3721"/>
                  </a:lnTo>
                  <a:lnTo>
                    <a:pt x="11743" y="3753"/>
                  </a:lnTo>
                  <a:lnTo>
                    <a:pt x="11720" y="3783"/>
                  </a:lnTo>
                  <a:lnTo>
                    <a:pt x="11696" y="3811"/>
                  </a:lnTo>
                  <a:lnTo>
                    <a:pt x="11669" y="3837"/>
                  </a:lnTo>
                  <a:lnTo>
                    <a:pt x="11639" y="3860"/>
                  </a:lnTo>
                  <a:lnTo>
                    <a:pt x="11608" y="3881"/>
                  </a:lnTo>
                  <a:lnTo>
                    <a:pt x="11575" y="3898"/>
                  </a:lnTo>
                  <a:lnTo>
                    <a:pt x="11539" y="3913"/>
                  </a:lnTo>
                  <a:lnTo>
                    <a:pt x="11502" y="3924"/>
                  </a:lnTo>
                  <a:lnTo>
                    <a:pt x="11465" y="3932"/>
                  </a:lnTo>
                  <a:lnTo>
                    <a:pt x="11425" y="3936"/>
                  </a:lnTo>
                  <a:lnTo>
                    <a:pt x="11425" y="4205"/>
                  </a:lnTo>
                  <a:lnTo>
                    <a:pt x="11443" y="4178"/>
                  </a:lnTo>
                  <a:lnTo>
                    <a:pt x="11464" y="4153"/>
                  </a:lnTo>
                  <a:lnTo>
                    <a:pt x="11488" y="4130"/>
                  </a:lnTo>
                  <a:lnTo>
                    <a:pt x="11516" y="4108"/>
                  </a:lnTo>
                  <a:lnTo>
                    <a:pt x="11549" y="4090"/>
                  </a:lnTo>
                  <a:lnTo>
                    <a:pt x="11585" y="4076"/>
                  </a:lnTo>
                  <a:lnTo>
                    <a:pt x="11625" y="4067"/>
                  </a:lnTo>
                  <a:lnTo>
                    <a:pt x="11646" y="4065"/>
                  </a:lnTo>
                  <a:lnTo>
                    <a:pt x="11669" y="4065"/>
                  </a:lnTo>
                  <a:lnTo>
                    <a:pt x="11685" y="4066"/>
                  </a:lnTo>
                  <a:lnTo>
                    <a:pt x="11702" y="4069"/>
                  </a:lnTo>
                  <a:lnTo>
                    <a:pt x="11719" y="4074"/>
                  </a:lnTo>
                  <a:lnTo>
                    <a:pt x="11734" y="4080"/>
                  </a:lnTo>
                  <a:lnTo>
                    <a:pt x="11766" y="4092"/>
                  </a:lnTo>
                  <a:lnTo>
                    <a:pt x="11783" y="4095"/>
                  </a:lnTo>
                  <a:lnTo>
                    <a:pt x="11800" y="4097"/>
                  </a:lnTo>
                  <a:lnTo>
                    <a:pt x="11814" y="4095"/>
                  </a:lnTo>
                  <a:lnTo>
                    <a:pt x="11825" y="4090"/>
                  </a:lnTo>
                  <a:lnTo>
                    <a:pt x="11837" y="4084"/>
                  </a:lnTo>
                  <a:lnTo>
                    <a:pt x="11847" y="4076"/>
                  </a:lnTo>
                  <a:lnTo>
                    <a:pt x="11847" y="3213"/>
                  </a:lnTo>
                  <a:lnTo>
                    <a:pt x="11833" y="3208"/>
                  </a:lnTo>
                  <a:lnTo>
                    <a:pt x="11820" y="3199"/>
                  </a:lnTo>
                  <a:lnTo>
                    <a:pt x="11796" y="3182"/>
                  </a:lnTo>
                  <a:lnTo>
                    <a:pt x="11784" y="3173"/>
                  </a:lnTo>
                  <a:lnTo>
                    <a:pt x="11771" y="3167"/>
                  </a:lnTo>
                  <a:lnTo>
                    <a:pt x="11757" y="3163"/>
                  </a:lnTo>
                  <a:lnTo>
                    <a:pt x="11742" y="3163"/>
                  </a:lnTo>
                  <a:lnTo>
                    <a:pt x="11696" y="3170"/>
                  </a:lnTo>
                  <a:lnTo>
                    <a:pt x="11678" y="3172"/>
                  </a:lnTo>
                  <a:lnTo>
                    <a:pt x="11661" y="3171"/>
                  </a:lnTo>
                  <a:lnTo>
                    <a:pt x="11646" y="3166"/>
                  </a:lnTo>
                  <a:lnTo>
                    <a:pt x="11632" y="3156"/>
                  </a:lnTo>
                  <a:lnTo>
                    <a:pt x="11624" y="3148"/>
                  </a:lnTo>
                  <a:lnTo>
                    <a:pt x="11617" y="3139"/>
                  </a:lnTo>
                  <a:lnTo>
                    <a:pt x="11602" y="3115"/>
                  </a:lnTo>
                  <a:lnTo>
                    <a:pt x="11591" y="3093"/>
                  </a:lnTo>
                  <a:lnTo>
                    <a:pt x="11580" y="3079"/>
                  </a:lnTo>
                  <a:lnTo>
                    <a:pt x="11570" y="3070"/>
                  </a:lnTo>
                  <a:lnTo>
                    <a:pt x="11561" y="3065"/>
                  </a:lnTo>
                  <a:lnTo>
                    <a:pt x="11537" y="3060"/>
                  </a:lnTo>
                  <a:lnTo>
                    <a:pt x="11520" y="3055"/>
                  </a:lnTo>
                  <a:lnTo>
                    <a:pt x="11498" y="3047"/>
                  </a:lnTo>
                  <a:lnTo>
                    <a:pt x="11475" y="3033"/>
                  </a:lnTo>
                  <a:lnTo>
                    <a:pt x="11467" y="3024"/>
                  </a:lnTo>
                  <a:lnTo>
                    <a:pt x="11462" y="3015"/>
                  </a:lnTo>
                  <a:lnTo>
                    <a:pt x="11456" y="2996"/>
                  </a:lnTo>
                  <a:lnTo>
                    <a:pt x="11453" y="2974"/>
                  </a:lnTo>
                  <a:lnTo>
                    <a:pt x="11453" y="2953"/>
                  </a:lnTo>
                  <a:lnTo>
                    <a:pt x="11451" y="2933"/>
                  </a:lnTo>
                  <a:lnTo>
                    <a:pt x="11446" y="2913"/>
                  </a:lnTo>
                  <a:lnTo>
                    <a:pt x="11440" y="2904"/>
                  </a:lnTo>
                  <a:lnTo>
                    <a:pt x="11434" y="2896"/>
                  </a:lnTo>
                  <a:lnTo>
                    <a:pt x="11399" y="2864"/>
                  </a:lnTo>
                  <a:lnTo>
                    <a:pt x="11387" y="2851"/>
                  </a:lnTo>
                  <a:lnTo>
                    <a:pt x="11376" y="2837"/>
                  </a:lnTo>
                  <a:lnTo>
                    <a:pt x="11371" y="2823"/>
                  </a:lnTo>
                  <a:lnTo>
                    <a:pt x="11370" y="2805"/>
                  </a:lnTo>
                  <a:lnTo>
                    <a:pt x="11375" y="2783"/>
                  </a:lnTo>
                  <a:lnTo>
                    <a:pt x="11384" y="2757"/>
                  </a:lnTo>
                  <a:lnTo>
                    <a:pt x="11394" y="2734"/>
                  </a:lnTo>
                  <a:lnTo>
                    <a:pt x="11398" y="2722"/>
                  </a:lnTo>
                  <a:lnTo>
                    <a:pt x="11401" y="2711"/>
                  </a:lnTo>
                  <a:lnTo>
                    <a:pt x="11397" y="2689"/>
                  </a:lnTo>
                  <a:lnTo>
                    <a:pt x="11389" y="2670"/>
                  </a:lnTo>
                  <a:lnTo>
                    <a:pt x="11380" y="2650"/>
                  </a:lnTo>
                  <a:lnTo>
                    <a:pt x="11373" y="2633"/>
                  </a:lnTo>
                  <a:lnTo>
                    <a:pt x="11369" y="2613"/>
                  </a:lnTo>
                  <a:lnTo>
                    <a:pt x="11373" y="2593"/>
                  </a:lnTo>
                  <a:lnTo>
                    <a:pt x="11378" y="2581"/>
                  </a:lnTo>
                  <a:lnTo>
                    <a:pt x="11387" y="2570"/>
                  </a:lnTo>
                  <a:lnTo>
                    <a:pt x="11412" y="2543"/>
                  </a:lnTo>
                  <a:lnTo>
                    <a:pt x="11430" y="2526"/>
                  </a:lnTo>
                  <a:lnTo>
                    <a:pt x="11442" y="2512"/>
                  </a:lnTo>
                  <a:lnTo>
                    <a:pt x="11448" y="2502"/>
                  </a:lnTo>
                  <a:lnTo>
                    <a:pt x="11451" y="2492"/>
                  </a:lnTo>
                  <a:lnTo>
                    <a:pt x="11452" y="2466"/>
                  </a:lnTo>
                  <a:lnTo>
                    <a:pt x="11456" y="2427"/>
                  </a:lnTo>
                  <a:lnTo>
                    <a:pt x="11460" y="2413"/>
                  </a:lnTo>
                  <a:lnTo>
                    <a:pt x="11465" y="2401"/>
                  </a:lnTo>
                  <a:lnTo>
                    <a:pt x="11471" y="2392"/>
                  </a:lnTo>
                  <a:lnTo>
                    <a:pt x="11479" y="2384"/>
                  </a:lnTo>
                  <a:lnTo>
                    <a:pt x="11497" y="2374"/>
                  </a:lnTo>
                  <a:lnTo>
                    <a:pt x="11516" y="2368"/>
                  </a:lnTo>
                  <a:lnTo>
                    <a:pt x="11537" y="2363"/>
                  </a:lnTo>
                  <a:lnTo>
                    <a:pt x="11557" y="2356"/>
                  </a:lnTo>
                  <a:lnTo>
                    <a:pt x="11566" y="2351"/>
                  </a:lnTo>
                  <a:lnTo>
                    <a:pt x="11575" y="2346"/>
                  </a:lnTo>
                  <a:lnTo>
                    <a:pt x="11582" y="2340"/>
                  </a:lnTo>
                  <a:lnTo>
                    <a:pt x="11589" y="2331"/>
                  </a:lnTo>
                  <a:lnTo>
                    <a:pt x="11612" y="2291"/>
                  </a:lnTo>
                  <a:lnTo>
                    <a:pt x="11623" y="2275"/>
                  </a:lnTo>
                  <a:lnTo>
                    <a:pt x="11633" y="2263"/>
                  </a:lnTo>
                  <a:lnTo>
                    <a:pt x="11647" y="2254"/>
                  </a:lnTo>
                  <a:lnTo>
                    <a:pt x="11664" y="2249"/>
                  </a:lnTo>
                  <a:lnTo>
                    <a:pt x="11685" y="2248"/>
                  </a:lnTo>
                  <a:lnTo>
                    <a:pt x="11714" y="2251"/>
                  </a:lnTo>
                  <a:lnTo>
                    <a:pt x="11743" y="2257"/>
                  </a:lnTo>
                  <a:lnTo>
                    <a:pt x="11762" y="2257"/>
                  </a:lnTo>
                  <a:lnTo>
                    <a:pt x="11780" y="2249"/>
                  </a:lnTo>
                  <a:lnTo>
                    <a:pt x="11805" y="2231"/>
                  </a:lnTo>
                  <a:lnTo>
                    <a:pt x="11832" y="2213"/>
                  </a:lnTo>
                  <a:lnTo>
                    <a:pt x="11848" y="2207"/>
                  </a:lnTo>
                  <a:lnTo>
                    <a:pt x="11866" y="2204"/>
                  </a:lnTo>
                  <a:lnTo>
                    <a:pt x="11885" y="2207"/>
                  </a:lnTo>
                  <a:lnTo>
                    <a:pt x="11901" y="2213"/>
                  </a:lnTo>
                  <a:lnTo>
                    <a:pt x="11916" y="2222"/>
                  </a:lnTo>
                  <a:lnTo>
                    <a:pt x="11930" y="2232"/>
                  </a:lnTo>
                  <a:lnTo>
                    <a:pt x="11943" y="2243"/>
                  </a:lnTo>
                  <a:lnTo>
                    <a:pt x="11959" y="2251"/>
                  </a:lnTo>
                  <a:lnTo>
                    <a:pt x="11974" y="2257"/>
                  </a:lnTo>
                  <a:lnTo>
                    <a:pt x="11992" y="2257"/>
                  </a:lnTo>
                  <a:lnTo>
                    <a:pt x="12037" y="2250"/>
                  </a:lnTo>
                  <a:lnTo>
                    <a:pt x="12056" y="2248"/>
                  </a:lnTo>
                  <a:lnTo>
                    <a:pt x="12073" y="2249"/>
                  </a:lnTo>
                  <a:lnTo>
                    <a:pt x="12088" y="2254"/>
                  </a:lnTo>
                  <a:lnTo>
                    <a:pt x="12102" y="2264"/>
                  </a:lnTo>
                  <a:lnTo>
                    <a:pt x="12109" y="2272"/>
                  </a:lnTo>
                  <a:lnTo>
                    <a:pt x="12116" y="2281"/>
                  </a:lnTo>
                  <a:lnTo>
                    <a:pt x="12130" y="2305"/>
                  </a:lnTo>
                  <a:lnTo>
                    <a:pt x="12143" y="2327"/>
                  </a:lnTo>
                  <a:lnTo>
                    <a:pt x="12153" y="2341"/>
                  </a:lnTo>
                  <a:lnTo>
                    <a:pt x="12162" y="2350"/>
                  </a:lnTo>
                  <a:lnTo>
                    <a:pt x="12173" y="2355"/>
                  </a:lnTo>
                  <a:lnTo>
                    <a:pt x="12197" y="2360"/>
                  </a:lnTo>
                  <a:lnTo>
                    <a:pt x="12214" y="2365"/>
                  </a:lnTo>
                  <a:lnTo>
                    <a:pt x="12234" y="2373"/>
                  </a:lnTo>
                  <a:lnTo>
                    <a:pt x="12257" y="2388"/>
                  </a:lnTo>
                  <a:lnTo>
                    <a:pt x="12265" y="2396"/>
                  </a:lnTo>
                  <a:lnTo>
                    <a:pt x="12271" y="2405"/>
                  </a:lnTo>
                  <a:lnTo>
                    <a:pt x="12278" y="2425"/>
                  </a:lnTo>
                  <a:lnTo>
                    <a:pt x="12279" y="2446"/>
                  </a:lnTo>
                  <a:lnTo>
                    <a:pt x="12280" y="2466"/>
                  </a:lnTo>
                  <a:lnTo>
                    <a:pt x="12282" y="2488"/>
                  </a:lnTo>
                  <a:lnTo>
                    <a:pt x="12287" y="2507"/>
                  </a:lnTo>
                  <a:lnTo>
                    <a:pt x="12292" y="2516"/>
                  </a:lnTo>
                  <a:lnTo>
                    <a:pt x="12300" y="2524"/>
                  </a:lnTo>
                  <a:lnTo>
                    <a:pt x="12333" y="2556"/>
                  </a:lnTo>
                  <a:lnTo>
                    <a:pt x="12347" y="2569"/>
                  </a:lnTo>
                  <a:lnTo>
                    <a:pt x="12356" y="2583"/>
                  </a:lnTo>
                  <a:lnTo>
                    <a:pt x="12361" y="2598"/>
                  </a:lnTo>
                  <a:lnTo>
                    <a:pt x="12362" y="2615"/>
                  </a:lnTo>
                  <a:lnTo>
                    <a:pt x="12359" y="2636"/>
                  </a:lnTo>
                  <a:lnTo>
                    <a:pt x="12348" y="2663"/>
                  </a:lnTo>
                  <a:lnTo>
                    <a:pt x="12337" y="2690"/>
                  </a:lnTo>
                  <a:lnTo>
                    <a:pt x="12333" y="2711"/>
                  </a:lnTo>
                  <a:lnTo>
                    <a:pt x="12336" y="2731"/>
                  </a:lnTo>
                  <a:lnTo>
                    <a:pt x="12343" y="2750"/>
                  </a:lnTo>
                  <a:lnTo>
                    <a:pt x="12352" y="2769"/>
                  </a:lnTo>
                  <a:lnTo>
                    <a:pt x="12360" y="2787"/>
                  </a:lnTo>
                  <a:lnTo>
                    <a:pt x="12364" y="2806"/>
                  </a:lnTo>
                  <a:lnTo>
                    <a:pt x="12360" y="2828"/>
                  </a:lnTo>
                  <a:lnTo>
                    <a:pt x="12355" y="2838"/>
                  </a:lnTo>
                  <a:lnTo>
                    <a:pt x="12347" y="2851"/>
                  </a:lnTo>
                  <a:lnTo>
                    <a:pt x="12321" y="2877"/>
                  </a:lnTo>
                  <a:lnTo>
                    <a:pt x="12302" y="2893"/>
                  </a:lnTo>
                  <a:lnTo>
                    <a:pt x="12291" y="2907"/>
                  </a:lnTo>
                  <a:lnTo>
                    <a:pt x="12284" y="2918"/>
                  </a:lnTo>
                  <a:lnTo>
                    <a:pt x="12282" y="2929"/>
                  </a:lnTo>
                  <a:lnTo>
                    <a:pt x="12282" y="2953"/>
                  </a:lnTo>
                  <a:lnTo>
                    <a:pt x="12278" y="2993"/>
                  </a:lnTo>
                  <a:lnTo>
                    <a:pt x="12274" y="3007"/>
                  </a:lnTo>
                  <a:lnTo>
                    <a:pt x="12269" y="3019"/>
                  </a:lnTo>
                  <a:lnTo>
                    <a:pt x="12262" y="3028"/>
                  </a:lnTo>
                  <a:lnTo>
                    <a:pt x="12255" y="3035"/>
                  </a:lnTo>
                  <a:lnTo>
                    <a:pt x="12237" y="3046"/>
                  </a:lnTo>
                  <a:lnTo>
                    <a:pt x="12216" y="3053"/>
                  </a:lnTo>
                  <a:lnTo>
                    <a:pt x="12196" y="3058"/>
                  </a:lnTo>
                  <a:lnTo>
                    <a:pt x="12177" y="3065"/>
                  </a:lnTo>
                  <a:lnTo>
                    <a:pt x="12168" y="3069"/>
                  </a:lnTo>
                  <a:lnTo>
                    <a:pt x="12159" y="3074"/>
                  </a:lnTo>
                  <a:lnTo>
                    <a:pt x="12151" y="3081"/>
                  </a:lnTo>
                  <a:lnTo>
                    <a:pt x="12144" y="3089"/>
                  </a:lnTo>
                  <a:lnTo>
                    <a:pt x="12121" y="3130"/>
                  </a:lnTo>
                  <a:lnTo>
                    <a:pt x="12111" y="3145"/>
                  </a:lnTo>
                  <a:lnTo>
                    <a:pt x="12100" y="3158"/>
                  </a:lnTo>
                  <a:lnTo>
                    <a:pt x="12087" y="3167"/>
                  </a:lnTo>
                  <a:lnTo>
                    <a:pt x="12070" y="3171"/>
                  </a:lnTo>
                  <a:lnTo>
                    <a:pt x="12048" y="3172"/>
                  </a:lnTo>
                  <a:lnTo>
                    <a:pt x="12020" y="3168"/>
                  </a:lnTo>
                  <a:lnTo>
                    <a:pt x="11989" y="3163"/>
                  </a:lnTo>
                  <a:lnTo>
                    <a:pt x="11971" y="3163"/>
                  </a:lnTo>
                  <a:lnTo>
                    <a:pt x="11953" y="3172"/>
                  </a:lnTo>
                  <a:lnTo>
                    <a:pt x="11929" y="3189"/>
                  </a:lnTo>
                  <a:lnTo>
                    <a:pt x="11910" y="3202"/>
                  </a:lnTo>
                  <a:lnTo>
                    <a:pt x="11887" y="3213"/>
                  </a:lnTo>
                  <a:lnTo>
                    <a:pt x="11887" y="4017"/>
                  </a:lnTo>
                  <a:lnTo>
                    <a:pt x="11933" y="3925"/>
                  </a:lnTo>
                  <a:lnTo>
                    <a:pt x="11961" y="3877"/>
                  </a:lnTo>
                  <a:lnTo>
                    <a:pt x="11994" y="3829"/>
                  </a:lnTo>
                  <a:lnTo>
                    <a:pt x="12014" y="3808"/>
                  </a:lnTo>
                  <a:lnTo>
                    <a:pt x="12035" y="3787"/>
                  </a:lnTo>
                  <a:lnTo>
                    <a:pt x="12060" y="3769"/>
                  </a:lnTo>
                  <a:lnTo>
                    <a:pt x="12073" y="3762"/>
                  </a:lnTo>
                  <a:lnTo>
                    <a:pt x="12085" y="3754"/>
                  </a:lnTo>
                  <a:lnTo>
                    <a:pt x="12115" y="3741"/>
                  </a:lnTo>
                  <a:lnTo>
                    <a:pt x="12148" y="3731"/>
                  </a:lnTo>
                  <a:lnTo>
                    <a:pt x="12184" y="3725"/>
                  </a:lnTo>
                  <a:lnTo>
                    <a:pt x="12224" y="3723"/>
                  </a:lnTo>
                  <a:lnTo>
                    <a:pt x="12283" y="3727"/>
                  </a:lnTo>
                  <a:lnTo>
                    <a:pt x="12341" y="3739"/>
                  </a:lnTo>
                  <a:lnTo>
                    <a:pt x="12368" y="3748"/>
                  </a:lnTo>
                  <a:lnTo>
                    <a:pt x="12395" y="3758"/>
                  </a:lnTo>
                  <a:lnTo>
                    <a:pt x="12420" y="3769"/>
                  </a:lnTo>
                  <a:lnTo>
                    <a:pt x="12446" y="3782"/>
                  </a:lnTo>
                  <a:lnTo>
                    <a:pt x="12446" y="3681"/>
                  </a:lnTo>
                  <a:lnTo>
                    <a:pt x="12447" y="3672"/>
                  </a:lnTo>
                  <a:lnTo>
                    <a:pt x="12452" y="3666"/>
                  </a:lnTo>
                  <a:lnTo>
                    <a:pt x="12459" y="3662"/>
                  </a:lnTo>
                  <a:lnTo>
                    <a:pt x="12465" y="3661"/>
                  </a:lnTo>
                  <a:lnTo>
                    <a:pt x="12473" y="3662"/>
                  </a:lnTo>
                  <a:lnTo>
                    <a:pt x="12479" y="3666"/>
                  </a:lnTo>
                  <a:lnTo>
                    <a:pt x="12484" y="3672"/>
                  </a:lnTo>
                  <a:lnTo>
                    <a:pt x="12486" y="3681"/>
                  </a:lnTo>
                  <a:close/>
                  <a:moveTo>
                    <a:pt x="12630" y="4171"/>
                  </a:moveTo>
                  <a:lnTo>
                    <a:pt x="12628" y="4130"/>
                  </a:lnTo>
                  <a:lnTo>
                    <a:pt x="12621" y="4089"/>
                  </a:lnTo>
                  <a:lnTo>
                    <a:pt x="12613" y="4051"/>
                  </a:lnTo>
                  <a:lnTo>
                    <a:pt x="12598" y="4012"/>
                  </a:lnTo>
                  <a:lnTo>
                    <a:pt x="12582" y="3976"/>
                  </a:lnTo>
                  <a:lnTo>
                    <a:pt x="12561" y="3943"/>
                  </a:lnTo>
                  <a:lnTo>
                    <a:pt x="12537" y="3911"/>
                  </a:lnTo>
                  <a:lnTo>
                    <a:pt x="12511" y="3883"/>
                  </a:lnTo>
                  <a:lnTo>
                    <a:pt x="12482" y="3856"/>
                  </a:lnTo>
                  <a:lnTo>
                    <a:pt x="12451" y="3833"/>
                  </a:lnTo>
                  <a:lnTo>
                    <a:pt x="12418" y="3813"/>
                  </a:lnTo>
                  <a:lnTo>
                    <a:pt x="12382" y="3795"/>
                  </a:lnTo>
                  <a:lnTo>
                    <a:pt x="12345" y="3781"/>
                  </a:lnTo>
                  <a:lnTo>
                    <a:pt x="12306" y="3772"/>
                  </a:lnTo>
                  <a:lnTo>
                    <a:pt x="12265" y="3765"/>
                  </a:lnTo>
                  <a:lnTo>
                    <a:pt x="12224" y="3763"/>
                  </a:lnTo>
                  <a:lnTo>
                    <a:pt x="12197" y="3764"/>
                  </a:lnTo>
                  <a:lnTo>
                    <a:pt x="12173" y="3767"/>
                  </a:lnTo>
                  <a:lnTo>
                    <a:pt x="12150" y="3772"/>
                  </a:lnTo>
                  <a:lnTo>
                    <a:pt x="12128" y="3780"/>
                  </a:lnTo>
                  <a:lnTo>
                    <a:pt x="12089" y="3797"/>
                  </a:lnTo>
                  <a:lnTo>
                    <a:pt x="12073" y="3809"/>
                  </a:lnTo>
                  <a:lnTo>
                    <a:pt x="12057" y="3822"/>
                  </a:lnTo>
                  <a:lnTo>
                    <a:pt x="12029" y="3850"/>
                  </a:lnTo>
                  <a:lnTo>
                    <a:pt x="12005" y="3881"/>
                  </a:lnTo>
                  <a:lnTo>
                    <a:pt x="11984" y="3915"/>
                  </a:lnTo>
                  <a:lnTo>
                    <a:pt x="11965" y="3950"/>
                  </a:lnTo>
                  <a:lnTo>
                    <a:pt x="11932" y="4017"/>
                  </a:lnTo>
                  <a:lnTo>
                    <a:pt x="11915" y="4049"/>
                  </a:lnTo>
                  <a:lnTo>
                    <a:pt x="11897" y="4077"/>
                  </a:lnTo>
                  <a:lnTo>
                    <a:pt x="11878" y="4102"/>
                  </a:lnTo>
                  <a:lnTo>
                    <a:pt x="11866" y="4112"/>
                  </a:lnTo>
                  <a:lnTo>
                    <a:pt x="11855" y="4120"/>
                  </a:lnTo>
                  <a:lnTo>
                    <a:pt x="11843" y="4127"/>
                  </a:lnTo>
                  <a:lnTo>
                    <a:pt x="11830" y="4132"/>
                  </a:lnTo>
                  <a:lnTo>
                    <a:pt x="11800" y="4136"/>
                  </a:lnTo>
                  <a:lnTo>
                    <a:pt x="11783" y="4135"/>
                  </a:lnTo>
                  <a:lnTo>
                    <a:pt x="11766" y="4131"/>
                  </a:lnTo>
                  <a:lnTo>
                    <a:pt x="11750" y="4126"/>
                  </a:lnTo>
                  <a:lnTo>
                    <a:pt x="11734" y="4120"/>
                  </a:lnTo>
                  <a:lnTo>
                    <a:pt x="11702" y="4109"/>
                  </a:lnTo>
                  <a:lnTo>
                    <a:pt x="11685" y="4106"/>
                  </a:lnTo>
                  <a:lnTo>
                    <a:pt x="11669" y="4104"/>
                  </a:lnTo>
                  <a:lnTo>
                    <a:pt x="11625" y="4108"/>
                  </a:lnTo>
                  <a:lnTo>
                    <a:pt x="11603" y="4112"/>
                  </a:lnTo>
                  <a:lnTo>
                    <a:pt x="11584" y="4118"/>
                  </a:lnTo>
                  <a:lnTo>
                    <a:pt x="11565" y="4127"/>
                  </a:lnTo>
                  <a:lnTo>
                    <a:pt x="11546" y="4136"/>
                  </a:lnTo>
                  <a:lnTo>
                    <a:pt x="11529" y="4148"/>
                  </a:lnTo>
                  <a:lnTo>
                    <a:pt x="11512" y="4161"/>
                  </a:lnTo>
                  <a:lnTo>
                    <a:pt x="11498" y="4175"/>
                  </a:lnTo>
                  <a:lnTo>
                    <a:pt x="11484" y="4190"/>
                  </a:lnTo>
                  <a:lnTo>
                    <a:pt x="11471" y="4208"/>
                  </a:lnTo>
                  <a:lnTo>
                    <a:pt x="11461" y="4226"/>
                  </a:lnTo>
                  <a:lnTo>
                    <a:pt x="11452" y="4245"/>
                  </a:lnTo>
                  <a:lnTo>
                    <a:pt x="11444" y="4265"/>
                  </a:lnTo>
                  <a:lnTo>
                    <a:pt x="11438" y="4286"/>
                  </a:lnTo>
                  <a:lnTo>
                    <a:pt x="11434" y="4309"/>
                  </a:lnTo>
                  <a:lnTo>
                    <a:pt x="12171" y="4309"/>
                  </a:lnTo>
                  <a:lnTo>
                    <a:pt x="12177" y="4305"/>
                  </a:lnTo>
                  <a:lnTo>
                    <a:pt x="12184" y="4304"/>
                  </a:lnTo>
                  <a:lnTo>
                    <a:pt x="12609" y="4304"/>
                  </a:lnTo>
                  <a:lnTo>
                    <a:pt x="12618" y="4271"/>
                  </a:lnTo>
                  <a:lnTo>
                    <a:pt x="12625" y="4239"/>
                  </a:lnTo>
                  <a:lnTo>
                    <a:pt x="12629" y="4204"/>
                  </a:lnTo>
                  <a:lnTo>
                    <a:pt x="12630" y="4171"/>
                  </a:lnTo>
                  <a:close/>
                  <a:moveTo>
                    <a:pt x="11425" y="3810"/>
                  </a:moveTo>
                  <a:lnTo>
                    <a:pt x="11524" y="3712"/>
                  </a:lnTo>
                  <a:lnTo>
                    <a:pt x="11532" y="3707"/>
                  </a:lnTo>
                  <a:lnTo>
                    <a:pt x="11539" y="3705"/>
                  </a:lnTo>
                  <a:lnTo>
                    <a:pt x="11547" y="3707"/>
                  </a:lnTo>
                  <a:lnTo>
                    <a:pt x="11553" y="3712"/>
                  </a:lnTo>
                  <a:lnTo>
                    <a:pt x="11557" y="3717"/>
                  </a:lnTo>
                  <a:lnTo>
                    <a:pt x="11558" y="3725"/>
                  </a:lnTo>
                  <a:lnTo>
                    <a:pt x="11557" y="3732"/>
                  </a:lnTo>
                  <a:lnTo>
                    <a:pt x="11553" y="3740"/>
                  </a:lnTo>
                  <a:lnTo>
                    <a:pt x="11426" y="3866"/>
                  </a:lnTo>
                  <a:lnTo>
                    <a:pt x="11425" y="3895"/>
                  </a:lnTo>
                  <a:lnTo>
                    <a:pt x="11460" y="3892"/>
                  </a:lnTo>
                  <a:lnTo>
                    <a:pt x="11494" y="3884"/>
                  </a:lnTo>
                  <a:lnTo>
                    <a:pt x="11528" y="3874"/>
                  </a:lnTo>
                  <a:lnTo>
                    <a:pt x="11558" y="3861"/>
                  </a:lnTo>
                  <a:lnTo>
                    <a:pt x="11589" y="3846"/>
                  </a:lnTo>
                  <a:lnTo>
                    <a:pt x="11617" y="3828"/>
                  </a:lnTo>
                  <a:lnTo>
                    <a:pt x="11643" y="3806"/>
                  </a:lnTo>
                  <a:lnTo>
                    <a:pt x="11667" y="3783"/>
                  </a:lnTo>
                  <a:lnTo>
                    <a:pt x="11689" y="3758"/>
                  </a:lnTo>
                  <a:lnTo>
                    <a:pt x="11710" y="3731"/>
                  </a:lnTo>
                  <a:lnTo>
                    <a:pt x="11726" y="3702"/>
                  </a:lnTo>
                  <a:lnTo>
                    <a:pt x="11741" y="3671"/>
                  </a:lnTo>
                  <a:lnTo>
                    <a:pt x="11752" y="3639"/>
                  </a:lnTo>
                  <a:lnTo>
                    <a:pt x="11761" y="3606"/>
                  </a:lnTo>
                  <a:lnTo>
                    <a:pt x="11766" y="3571"/>
                  </a:lnTo>
                  <a:lnTo>
                    <a:pt x="11767" y="3535"/>
                  </a:lnTo>
                  <a:lnTo>
                    <a:pt x="11765" y="3498"/>
                  </a:lnTo>
                  <a:lnTo>
                    <a:pt x="11760" y="3462"/>
                  </a:lnTo>
                  <a:lnTo>
                    <a:pt x="11751" y="3428"/>
                  </a:lnTo>
                  <a:lnTo>
                    <a:pt x="11739" y="3395"/>
                  </a:lnTo>
                  <a:lnTo>
                    <a:pt x="11724" y="3363"/>
                  </a:lnTo>
                  <a:lnTo>
                    <a:pt x="11706" y="3333"/>
                  </a:lnTo>
                  <a:lnTo>
                    <a:pt x="11684" y="3305"/>
                  </a:lnTo>
                  <a:lnTo>
                    <a:pt x="11661" y="3280"/>
                  </a:lnTo>
                  <a:lnTo>
                    <a:pt x="11635" y="3257"/>
                  </a:lnTo>
                  <a:lnTo>
                    <a:pt x="11608" y="3236"/>
                  </a:lnTo>
                  <a:lnTo>
                    <a:pt x="11578" y="3218"/>
                  </a:lnTo>
                  <a:lnTo>
                    <a:pt x="11547" y="3203"/>
                  </a:lnTo>
                  <a:lnTo>
                    <a:pt x="11530" y="3196"/>
                  </a:lnTo>
                  <a:lnTo>
                    <a:pt x="11514" y="3190"/>
                  </a:lnTo>
                  <a:lnTo>
                    <a:pt x="11479" y="3181"/>
                  </a:lnTo>
                  <a:lnTo>
                    <a:pt x="11443" y="3176"/>
                  </a:lnTo>
                  <a:lnTo>
                    <a:pt x="11406" y="3175"/>
                  </a:lnTo>
                  <a:lnTo>
                    <a:pt x="11369" y="3176"/>
                  </a:lnTo>
                  <a:lnTo>
                    <a:pt x="11333" y="3181"/>
                  </a:lnTo>
                  <a:lnTo>
                    <a:pt x="11298" y="3190"/>
                  </a:lnTo>
                  <a:lnTo>
                    <a:pt x="11265" y="3203"/>
                  </a:lnTo>
                  <a:lnTo>
                    <a:pt x="11233" y="3218"/>
                  </a:lnTo>
                  <a:lnTo>
                    <a:pt x="11203" y="3236"/>
                  </a:lnTo>
                  <a:lnTo>
                    <a:pt x="11175" y="3257"/>
                  </a:lnTo>
                  <a:lnTo>
                    <a:pt x="11149" y="3280"/>
                  </a:lnTo>
                  <a:lnTo>
                    <a:pt x="11126" y="3305"/>
                  </a:lnTo>
                  <a:lnTo>
                    <a:pt x="11106" y="3333"/>
                  </a:lnTo>
                  <a:lnTo>
                    <a:pt x="11088" y="3363"/>
                  </a:lnTo>
                  <a:lnTo>
                    <a:pt x="11072" y="3395"/>
                  </a:lnTo>
                  <a:lnTo>
                    <a:pt x="11066" y="3411"/>
                  </a:lnTo>
                  <a:lnTo>
                    <a:pt x="11060" y="3428"/>
                  </a:lnTo>
                  <a:lnTo>
                    <a:pt x="11051" y="3462"/>
                  </a:lnTo>
                  <a:lnTo>
                    <a:pt x="11046" y="3498"/>
                  </a:lnTo>
                  <a:lnTo>
                    <a:pt x="11044" y="3535"/>
                  </a:lnTo>
                  <a:lnTo>
                    <a:pt x="11046" y="3570"/>
                  </a:lnTo>
                  <a:lnTo>
                    <a:pt x="11051" y="3606"/>
                  </a:lnTo>
                  <a:lnTo>
                    <a:pt x="11060" y="3639"/>
                  </a:lnTo>
                  <a:lnTo>
                    <a:pt x="11070" y="3671"/>
                  </a:lnTo>
                  <a:lnTo>
                    <a:pt x="11085" y="3702"/>
                  </a:lnTo>
                  <a:lnTo>
                    <a:pt x="11102" y="3731"/>
                  </a:lnTo>
                  <a:lnTo>
                    <a:pt x="11121" y="3758"/>
                  </a:lnTo>
                  <a:lnTo>
                    <a:pt x="11143" y="3783"/>
                  </a:lnTo>
                  <a:lnTo>
                    <a:pt x="11167" y="3806"/>
                  </a:lnTo>
                  <a:lnTo>
                    <a:pt x="11193" y="3827"/>
                  </a:lnTo>
                  <a:lnTo>
                    <a:pt x="11221" y="3846"/>
                  </a:lnTo>
                  <a:lnTo>
                    <a:pt x="11252" y="3861"/>
                  </a:lnTo>
                  <a:lnTo>
                    <a:pt x="11283" y="3874"/>
                  </a:lnTo>
                  <a:lnTo>
                    <a:pt x="11316" y="3884"/>
                  </a:lnTo>
                  <a:lnTo>
                    <a:pt x="11349" y="3891"/>
                  </a:lnTo>
                  <a:lnTo>
                    <a:pt x="11385" y="3895"/>
                  </a:lnTo>
                  <a:lnTo>
                    <a:pt x="11385" y="3757"/>
                  </a:lnTo>
                  <a:lnTo>
                    <a:pt x="11258" y="3631"/>
                  </a:lnTo>
                  <a:lnTo>
                    <a:pt x="11253" y="3624"/>
                  </a:lnTo>
                  <a:lnTo>
                    <a:pt x="11252" y="3616"/>
                  </a:lnTo>
                  <a:lnTo>
                    <a:pt x="11255" y="3608"/>
                  </a:lnTo>
                  <a:lnTo>
                    <a:pt x="11258" y="3602"/>
                  </a:lnTo>
                  <a:lnTo>
                    <a:pt x="11265" y="3598"/>
                  </a:lnTo>
                  <a:lnTo>
                    <a:pt x="11271" y="3597"/>
                  </a:lnTo>
                  <a:lnTo>
                    <a:pt x="11279" y="3598"/>
                  </a:lnTo>
                  <a:lnTo>
                    <a:pt x="11287" y="3602"/>
                  </a:lnTo>
                  <a:lnTo>
                    <a:pt x="11385" y="3700"/>
                  </a:lnTo>
                  <a:lnTo>
                    <a:pt x="11385" y="3589"/>
                  </a:lnTo>
                  <a:lnTo>
                    <a:pt x="11385" y="3581"/>
                  </a:lnTo>
                  <a:lnTo>
                    <a:pt x="11385" y="3447"/>
                  </a:lnTo>
                  <a:lnTo>
                    <a:pt x="11387" y="3439"/>
                  </a:lnTo>
                  <a:lnTo>
                    <a:pt x="11392" y="3433"/>
                  </a:lnTo>
                  <a:lnTo>
                    <a:pt x="11398" y="3429"/>
                  </a:lnTo>
                  <a:lnTo>
                    <a:pt x="11405" y="3428"/>
                  </a:lnTo>
                  <a:lnTo>
                    <a:pt x="11412" y="3429"/>
                  </a:lnTo>
                  <a:lnTo>
                    <a:pt x="11419" y="3433"/>
                  </a:lnTo>
                  <a:lnTo>
                    <a:pt x="11424" y="3439"/>
                  </a:lnTo>
                  <a:lnTo>
                    <a:pt x="11425" y="3447"/>
                  </a:lnTo>
                  <a:lnTo>
                    <a:pt x="11425" y="3537"/>
                  </a:lnTo>
                  <a:lnTo>
                    <a:pt x="11517" y="3445"/>
                  </a:lnTo>
                  <a:lnTo>
                    <a:pt x="11525" y="3439"/>
                  </a:lnTo>
                  <a:lnTo>
                    <a:pt x="11533" y="3438"/>
                  </a:lnTo>
                  <a:lnTo>
                    <a:pt x="11541" y="3441"/>
                  </a:lnTo>
                  <a:lnTo>
                    <a:pt x="11546" y="3445"/>
                  </a:lnTo>
                  <a:lnTo>
                    <a:pt x="11551" y="3451"/>
                  </a:lnTo>
                  <a:lnTo>
                    <a:pt x="11552" y="3457"/>
                  </a:lnTo>
                  <a:lnTo>
                    <a:pt x="11551" y="3465"/>
                  </a:lnTo>
                  <a:lnTo>
                    <a:pt x="11546" y="3473"/>
                  </a:lnTo>
                  <a:lnTo>
                    <a:pt x="11425" y="3593"/>
                  </a:lnTo>
                  <a:lnTo>
                    <a:pt x="11425" y="3810"/>
                  </a:lnTo>
                  <a:close/>
                  <a:moveTo>
                    <a:pt x="11847" y="2875"/>
                  </a:moveTo>
                  <a:lnTo>
                    <a:pt x="11847" y="2753"/>
                  </a:lnTo>
                  <a:lnTo>
                    <a:pt x="11743" y="2650"/>
                  </a:lnTo>
                  <a:lnTo>
                    <a:pt x="11738" y="2643"/>
                  </a:lnTo>
                  <a:lnTo>
                    <a:pt x="11737" y="2635"/>
                  </a:lnTo>
                  <a:lnTo>
                    <a:pt x="11739" y="2627"/>
                  </a:lnTo>
                  <a:lnTo>
                    <a:pt x="11743" y="2622"/>
                  </a:lnTo>
                  <a:lnTo>
                    <a:pt x="11750" y="2617"/>
                  </a:lnTo>
                  <a:lnTo>
                    <a:pt x="11757" y="2616"/>
                  </a:lnTo>
                  <a:lnTo>
                    <a:pt x="11764" y="2617"/>
                  </a:lnTo>
                  <a:lnTo>
                    <a:pt x="11771" y="2622"/>
                  </a:lnTo>
                  <a:lnTo>
                    <a:pt x="11847" y="2696"/>
                  </a:lnTo>
                  <a:lnTo>
                    <a:pt x="11847" y="2643"/>
                  </a:lnTo>
                  <a:lnTo>
                    <a:pt x="11848" y="2634"/>
                  </a:lnTo>
                  <a:lnTo>
                    <a:pt x="11853" y="2627"/>
                  </a:lnTo>
                  <a:lnTo>
                    <a:pt x="11860" y="2624"/>
                  </a:lnTo>
                  <a:lnTo>
                    <a:pt x="11866" y="2622"/>
                  </a:lnTo>
                  <a:lnTo>
                    <a:pt x="11874" y="2624"/>
                  </a:lnTo>
                  <a:lnTo>
                    <a:pt x="11880" y="2627"/>
                  </a:lnTo>
                  <a:lnTo>
                    <a:pt x="11885" y="2634"/>
                  </a:lnTo>
                  <a:lnTo>
                    <a:pt x="11887" y="2643"/>
                  </a:lnTo>
                  <a:lnTo>
                    <a:pt x="11887" y="2741"/>
                  </a:lnTo>
                  <a:lnTo>
                    <a:pt x="11887" y="2748"/>
                  </a:lnTo>
                  <a:lnTo>
                    <a:pt x="11887" y="2831"/>
                  </a:lnTo>
                  <a:lnTo>
                    <a:pt x="12024" y="2693"/>
                  </a:lnTo>
                  <a:lnTo>
                    <a:pt x="12032" y="2688"/>
                  </a:lnTo>
                  <a:lnTo>
                    <a:pt x="12039" y="2686"/>
                  </a:lnTo>
                  <a:lnTo>
                    <a:pt x="12047" y="2689"/>
                  </a:lnTo>
                  <a:lnTo>
                    <a:pt x="12052" y="2693"/>
                  </a:lnTo>
                  <a:lnTo>
                    <a:pt x="12057" y="2699"/>
                  </a:lnTo>
                  <a:lnTo>
                    <a:pt x="12059" y="2707"/>
                  </a:lnTo>
                  <a:lnTo>
                    <a:pt x="12057" y="2714"/>
                  </a:lnTo>
                  <a:lnTo>
                    <a:pt x="12052" y="2721"/>
                  </a:lnTo>
                  <a:lnTo>
                    <a:pt x="11887" y="2887"/>
                  </a:lnTo>
                  <a:lnTo>
                    <a:pt x="11887" y="2960"/>
                  </a:lnTo>
                  <a:lnTo>
                    <a:pt x="11887" y="2968"/>
                  </a:lnTo>
                  <a:lnTo>
                    <a:pt x="11887" y="3172"/>
                  </a:lnTo>
                  <a:lnTo>
                    <a:pt x="11897" y="3164"/>
                  </a:lnTo>
                  <a:lnTo>
                    <a:pt x="11907" y="3156"/>
                  </a:lnTo>
                  <a:lnTo>
                    <a:pt x="11919" y="3147"/>
                  </a:lnTo>
                  <a:lnTo>
                    <a:pt x="11932" y="3138"/>
                  </a:lnTo>
                  <a:lnTo>
                    <a:pt x="11947" y="3130"/>
                  </a:lnTo>
                  <a:lnTo>
                    <a:pt x="11968" y="3126"/>
                  </a:lnTo>
                  <a:lnTo>
                    <a:pt x="11993" y="3125"/>
                  </a:lnTo>
                  <a:lnTo>
                    <a:pt x="12027" y="3129"/>
                  </a:lnTo>
                  <a:lnTo>
                    <a:pt x="12043" y="3131"/>
                  </a:lnTo>
                  <a:lnTo>
                    <a:pt x="12056" y="3131"/>
                  </a:lnTo>
                  <a:lnTo>
                    <a:pt x="12066" y="3129"/>
                  </a:lnTo>
                  <a:lnTo>
                    <a:pt x="12075" y="3125"/>
                  </a:lnTo>
                  <a:lnTo>
                    <a:pt x="12088" y="3112"/>
                  </a:lnTo>
                  <a:lnTo>
                    <a:pt x="12097" y="3097"/>
                  </a:lnTo>
                  <a:lnTo>
                    <a:pt x="12106" y="3078"/>
                  </a:lnTo>
                  <a:lnTo>
                    <a:pt x="12118" y="3058"/>
                  </a:lnTo>
                  <a:lnTo>
                    <a:pt x="12135" y="3040"/>
                  </a:lnTo>
                  <a:lnTo>
                    <a:pt x="12148" y="3033"/>
                  </a:lnTo>
                  <a:lnTo>
                    <a:pt x="12162" y="3026"/>
                  </a:lnTo>
                  <a:lnTo>
                    <a:pt x="12211" y="3012"/>
                  </a:lnTo>
                  <a:lnTo>
                    <a:pt x="12224" y="3007"/>
                  </a:lnTo>
                  <a:lnTo>
                    <a:pt x="12232" y="3001"/>
                  </a:lnTo>
                  <a:lnTo>
                    <a:pt x="12237" y="2992"/>
                  </a:lnTo>
                  <a:lnTo>
                    <a:pt x="12238" y="2978"/>
                  </a:lnTo>
                  <a:lnTo>
                    <a:pt x="12242" y="2928"/>
                  </a:lnTo>
                  <a:lnTo>
                    <a:pt x="12244" y="2911"/>
                  </a:lnTo>
                  <a:lnTo>
                    <a:pt x="12250" y="2897"/>
                  </a:lnTo>
                  <a:lnTo>
                    <a:pt x="12262" y="2875"/>
                  </a:lnTo>
                  <a:lnTo>
                    <a:pt x="12270" y="2868"/>
                  </a:lnTo>
                  <a:lnTo>
                    <a:pt x="12279" y="2860"/>
                  </a:lnTo>
                  <a:lnTo>
                    <a:pt x="12296" y="2847"/>
                  </a:lnTo>
                  <a:lnTo>
                    <a:pt x="12310" y="2836"/>
                  </a:lnTo>
                  <a:lnTo>
                    <a:pt x="12315" y="2828"/>
                  </a:lnTo>
                  <a:lnTo>
                    <a:pt x="12319" y="2821"/>
                  </a:lnTo>
                  <a:lnTo>
                    <a:pt x="12320" y="2812"/>
                  </a:lnTo>
                  <a:lnTo>
                    <a:pt x="12320" y="2801"/>
                  </a:lnTo>
                  <a:lnTo>
                    <a:pt x="12312" y="2773"/>
                  </a:lnTo>
                  <a:lnTo>
                    <a:pt x="12300" y="2743"/>
                  </a:lnTo>
                  <a:lnTo>
                    <a:pt x="12294" y="2727"/>
                  </a:lnTo>
                  <a:lnTo>
                    <a:pt x="12293" y="2711"/>
                  </a:lnTo>
                  <a:lnTo>
                    <a:pt x="12294" y="2693"/>
                  </a:lnTo>
                  <a:lnTo>
                    <a:pt x="12300" y="2676"/>
                  </a:lnTo>
                  <a:lnTo>
                    <a:pt x="12318" y="2629"/>
                  </a:lnTo>
                  <a:lnTo>
                    <a:pt x="12323" y="2616"/>
                  </a:lnTo>
                  <a:lnTo>
                    <a:pt x="12323" y="2606"/>
                  </a:lnTo>
                  <a:lnTo>
                    <a:pt x="12319" y="2598"/>
                  </a:lnTo>
                  <a:lnTo>
                    <a:pt x="12309" y="2588"/>
                  </a:lnTo>
                  <a:lnTo>
                    <a:pt x="12271" y="2553"/>
                  </a:lnTo>
                  <a:lnTo>
                    <a:pt x="12261" y="2540"/>
                  </a:lnTo>
                  <a:lnTo>
                    <a:pt x="12252" y="2529"/>
                  </a:lnTo>
                  <a:lnTo>
                    <a:pt x="12247" y="2516"/>
                  </a:lnTo>
                  <a:lnTo>
                    <a:pt x="12243" y="2505"/>
                  </a:lnTo>
                  <a:lnTo>
                    <a:pt x="12242" y="2483"/>
                  </a:lnTo>
                  <a:lnTo>
                    <a:pt x="12242" y="2461"/>
                  </a:lnTo>
                  <a:lnTo>
                    <a:pt x="12241" y="2443"/>
                  </a:lnTo>
                  <a:lnTo>
                    <a:pt x="12238" y="2434"/>
                  </a:lnTo>
                  <a:lnTo>
                    <a:pt x="12236" y="2427"/>
                  </a:lnTo>
                  <a:lnTo>
                    <a:pt x="12229" y="2419"/>
                  </a:lnTo>
                  <a:lnTo>
                    <a:pt x="12220" y="2413"/>
                  </a:lnTo>
                  <a:lnTo>
                    <a:pt x="12209" y="2406"/>
                  </a:lnTo>
                  <a:lnTo>
                    <a:pt x="12193" y="2401"/>
                  </a:lnTo>
                  <a:lnTo>
                    <a:pt x="12164" y="2393"/>
                  </a:lnTo>
                  <a:lnTo>
                    <a:pt x="12143" y="2384"/>
                  </a:lnTo>
                  <a:lnTo>
                    <a:pt x="12129" y="2376"/>
                  </a:lnTo>
                  <a:lnTo>
                    <a:pt x="12120" y="2365"/>
                  </a:lnTo>
                  <a:lnTo>
                    <a:pt x="12106" y="2340"/>
                  </a:lnTo>
                  <a:lnTo>
                    <a:pt x="12096" y="2322"/>
                  </a:lnTo>
                  <a:lnTo>
                    <a:pt x="12082" y="2301"/>
                  </a:lnTo>
                  <a:lnTo>
                    <a:pt x="12077" y="2295"/>
                  </a:lnTo>
                  <a:lnTo>
                    <a:pt x="12070" y="2291"/>
                  </a:lnTo>
                  <a:lnTo>
                    <a:pt x="12055" y="2287"/>
                  </a:lnTo>
                  <a:lnTo>
                    <a:pt x="12038" y="2289"/>
                  </a:lnTo>
                  <a:lnTo>
                    <a:pt x="12020" y="2292"/>
                  </a:lnTo>
                  <a:lnTo>
                    <a:pt x="12000" y="2296"/>
                  </a:lnTo>
                  <a:lnTo>
                    <a:pt x="11978" y="2296"/>
                  </a:lnTo>
                  <a:lnTo>
                    <a:pt x="11955" y="2292"/>
                  </a:lnTo>
                  <a:lnTo>
                    <a:pt x="11930" y="2281"/>
                  </a:lnTo>
                  <a:lnTo>
                    <a:pt x="11900" y="2259"/>
                  </a:lnTo>
                  <a:lnTo>
                    <a:pt x="11882" y="2248"/>
                  </a:lnTo>
                  <a:lnTo>
                    <a:pt x="11866" y="2244"/>
                  </a:lnTo>
                  <a:lnTo>
                    <a:pt x="11851" y="2246"/>
                  </a:lnTo>
                  <a:lnTo>
                    <a:pt x="11843" y="2250"/>
                  </a:lnTo>
                  <a:lnTo>
                    <a:pt x="11837" y="2254"/>
                  </a:lnTo>
                  <a:lnTo>
                    <a:pt x="11812" y="2276"/>
                  </a:lnTo>
                  <a:lnTo>
                    <a:pt x="11796" y="2286"/>
                  </a:lnTo>
                  <a:lnTo>
                    <a:pt x="11774" y="2294"/>
                  </a:lnTo>
                  <a:lnTo>
                    <a:pt x="11744" y="2295"/>
                  </a:lnTo>
                  <a:lnTo>
                    <a:pt x="11726" y="2294"/>
                  </a:lnTo>
                  <a:lnTo>
                    <a:pt x="11706" y="2291"/>
                  </a:lnTo>
                  <a:lnTo>
                    <a:pt x="11691" y="2289"/>
                  </a:lnTo>
                  <a:lnTo>
                    <a:pt x="11676" y="2289"/>
                  </a:lnTo>
                  <a:lnTo>
                    <a:pt x="11666" y="2291"/>
                  </a:lnTo>
                  <a:lnTo>
                    <a:pt x="11658" y="2295"/>
                  </a:lnTo>
                  <a:lnTo>
                    <a:pt x="11646" y="2308"/>
                  </a:lnTo>
                  <a:lnTo>
                    <a:pt x="11637" y="2324"/>
                  </a:lnTo>
                  <a:lnTo>
                    <a:pt x="11628" y="2342"/>
                  </a:lnTo>
                  <a:lnTo>
                    <a:pt x="11616" y="2361"/>
                  </a:lnTo>
                  <a:lnTo>
                    <a:pt x="11598" y="2379"/>
                  </a:lnTo>
                  <a:lnTo>
                    <a:pt x="11585" y="2387"/>
                  </a:lnTo>
                  <a:lnTo>
                    <a:pt x="11570" y="2393"/>
                  </a:lnTo>
                  <a:lnTo>
                    <a:pt x="11521" y="2409"/>
                  </a:lnTo>
                  <a:lnTo>
                    <a:pt x="11508" y="2414"/>
                  </a:lnTo>
                  <a:lnTo>
                    <a:pt x="11501" y="2419"/>
                  </a:lnTo>
                  <a:lnTo>
                    <a:pt x="11497" y="2428"/>
                  </a:lnTo>
                  <a:lnTo>
                    <a:pt x="11494" y="2442"/>
                  </a:lnTo>
                  <a:lnTo>
                    <a:pt x="11491" y="2492"/>
                  </a:lnTo>
                  <a:lnTo>
                    <a:pt x="11488" y="2509"/>
                  </a:lnTo>
                  <a:lnTo>
                    <a:pt x="11484" y="2523"/>
                  </a:lnTo>
                  <a:lnTo>
                    <a:pt x="11470" y="2544"/>
                  </a:lnTo>
                  <a:lnTo>
                    <a:pt x="11462" y="2552"/>
                  </a:lnTo>
                  <a:lnTo>
                    <a:pt x="11455" y="2560"/>
                  </a:lnTo>
                  <a:lnTo>
                    <a:pt x="11438" y="2572"/>
                  </a:lnTo>
                  <a:lnTo>
                    <a:pt x="11424" y="2585"/>
                  </a:lnTo>
                  <a:lnTo>
                    <a:pt x="11419" y="2592"/>
                  </a:lnTo>
                  <a:lnTo>
                    <a:pt x="11415" y="2599"/>
                  </a:lnTo>
                  <a:lnTo>
                    <a:pt x="11412" y="2608"/>
                  </a:lnTo>
                  <a:lnTo>
                    <a:pt x="11412" y="2620"/>
                  </a:lnTo>
                  <a:lnTo>
                    <a:pt x="11421" y="2647"/>
                  </a:lnTo>
                  <a:lnTo>
                    <a:pt x="11434" y="2677"/>
                  </a:lnTo>
                  <a:lnTo>
                    <a:pt x="11438" y="2694"/>
                  </a:lnTo>
                  <a:lnTo>
                    <a:pt x="11440" y="2711"/>
                  </a:lnTo>
                  <a:lnTo>
                    <a:pt x="11438" y="2732"/>
                  </a:lnTo>
                  <a:lnTo>
                    <a:pt x="11432" y="2751"/>
                  </a:lnTo>
                  <a:lnTo>
                    <a:pt x="11416" y="2782"/>
                  </a:lnTo>
                  <a:lnTo>
                    <a:pt x="11411" y="2797"/>
                  </a:lnTo>
                  <a:lnTo>
                    <a:pt x="11411" y="2805"/>
                  </a:lnTo>
                  <a:lnTo>
                    <a:pt x="11412" y="2812"/>
                  </a:lnTo>
                  <a:lnTo>
                    <a:pt x="11420" y="2828"/>
                  </a:lnTo>
                  <a:lnTo>
                    <a:pt x="11438" y="2847"/>
                  </a:lnTo>
                  <a:lnTo>
                    <a:pt x="11461" y="2868"/>
                  </a:lnTo>
                  <a:lnTo>
                    <a:pt x="11476" y="2884"/>
                  </a:lnTo>
                  <a:lnTo>
                    <a:pt x="11484" y="2899"/>
                  </a:lnTo>
                  <a:lnTo>
                    <a:pt x="11488" y="2911"/>
                  </a:lnTo>
                  <a:lnTo>
                    <a:pt x="11491" y="2941"/>
                  </a:lnTo>
                  <a:lnTo>
                    <a:pt x="11491" y="2960"/>
                  </a:lnTo>
                  <a:lnTo>
                    <a:pt x="11494" y="2985"/>
                  </a:lnTo>
                  <a:lnTo>
                    <a:pt x="11502" y="3000"/>
                  </a:lnTo>
                  <a:lnTo>
                    <a:pt x="11514" y="3010"/>
                  </a:lnTo>
                  <a:lnTo>
                    <a:pt x="11529" y="3015"/>
                  </a:lnTo>
                  <a:lnTo>
                    <a:pt x="11547" y="3020"/>
                  </a:lnTo>
                  <a:lnTo>
                    <a:pt x="11567" y="3026"/>
                  </a:lnTo>
                  <a:lnTo>
                    <a:pt x="11587" y="3034"/>
                  </a:lnTo>
                  <a:lnTo>
                    <a:pt x="11606" y="3048"/>
                  </a:lnTo>
                  <a:lnTo>
                    <a:pt x="11615" y="3057"/>
                  </a:lnTo>
                  <a:lnTo>
                    <a:pt x="11623" y="3069"/>
                  </a:lnTo>
                  <a:lnTo>
                    <a:pt x="11648" y="3112"/>
                  </a:lnTo>
                  <a:lnTo>
                    <a:pt x="11656" y="3124"/>
                  </a:lnTo>
                  <a:lnTo>
                    <a:pt x="11664" y="3130"/>
                  </a:lnTo>
                  <a:lnTo>
                    <a:pt x="11673" y="3133"/>
                  </a:lnTo>
                  <a:lnTo>
                    <a:pt x="11687" y="3131"/>
                  </a:lnTo>
                  <a:lnTo>
                    <a:pt x="11737" y="3124"/>
                  </a:lnTo>
                  <a:lnTo>
                    <a:pt x="11757" y="3124"/>
                  </a:lnTo>
                  <a:lnTo>
                    <a:pt x="11774" y="3126"/>
                  </a:lnTo>
                  <a:lnTo>
                    <a:pt x="11789" y="3131"/>
                  </a:lnTo>
                  <a:lnTo>
                    <a:pt x="11803" y="3139"/>
                  </a:lnTo>
                  <a:lnTo>
                    <a:pt x="11826" y="3156"/>
                  </a:lnTo>
                  <a:lnTo>
                    <a:pt x="11847" y="3171"/>
                  </a:lnTo>
                  <a:lnTo>
                    <a:pt x="11847" y="2973"/>
                  </a:lnTo>
                  <a:lnTo>
                    <a:pt x="11769" y="2895"/>
                  </a:lnTo>
                  <a:lnTo>
                    <a:pt x="11764" y="2887"/>
                  </a:lnTo>
                  <a:lnTo>
                    <a:pt x="11762" y="2879"/>
                  </a:lnTo>
                  <a:lnTo>
                    <a:pt x="11765" y="2873"/>
                  </a:lnTo>
                  <a:lnTo>
                    <a:pt x="11769" y="2867"/>
                  </a:lnTo>
                  <a:lnTo>
                    <a:pt x="11775" y="2863"/>
                  </a:lnTo>
                  <a:lnTo>
                    <a:pt x="11782" y="2860"/>
                  </a:lnTo>
                  <a:lnTo>
                    <a:pt x="11789" y="2861"/>
                  </a:lnTo>
                  <a:lnTo>
                    <a:pt x="11797" y="2867"/>
                  </a:lnTo>
                  <a:lnTo>
                    <a:pt x="11847" y="2916"/>
                  </a:lnTo>
                  <a:lnTo>
                    <a:pt x="11847" y="2882"/>
                  </a:lnTo>
                  <a:lnTo>
                    <a:pt x="11847" y="2875"/>
                  </a:lnTo>
                  <a:close/>
                  <a:moveTo>
                    <a:pt x="11887" y="2960"/>
                  </a:moveTo>
                  <a:lnTo>
                    <a:pt x="11887" y="2968"/>
                  </a:lnTo>
                  <a:lnTo>
                    <a:pt x="11887" y="2960"/>
                  </a:lnTo>
                  <a:close/>
                  <a:moveTo>
                    <a:pt x="11887" y="2741"/>
                  </a:moveTo>
                  <a:lnTo>
                    <a:pt x="11887" y="2748"/>
                  </a:lnTo>
                  <a:lnTo>
                    <a:pt x="11887" y="2741"/>
                  </a:lnTo>
                  <a:close/>
                  <a:moveTo>
                    <a:pt x="11847" y="2882"/>
                  </a:moveTo>
                  <a:lnTo>
                    <a:pt x="11847" y="2875"/>
                  </a:lnTo>
                  <a:lnTo>
                    <a:pt x="11847" y="2882"/>
                  </a:lnTo>
                  <a:close/>
                  <a:moveTo>
                    <a:pt x="9740" y="1741"/>
                  </a:moveTo>
                  <a:lnTo>
                    <a:pt x="9740" y="1619"/>
                  </a:lnTo>
                  <a:lnTo>
                    <a:pt x="9741" y="1611"/>
                  </a:lnTo>
                  <a:lnTo>
                    <a:pt x="9747" y="1604"/>
                  </a:lnTo>
                  <a:lnTo>
                    <a:pt x="9753" y="1601"/>
                  </a:lnTo>
                  <a:lnTo>
                    <a:pt x="9761" y="1599"/>
                  </a:lnTo>
                  <a:lnTo>
                    <a:pt x="10006" y="1599"/>
                  </a:lnTo>
                  <a:lnTo>
                    <a:pt x="10013" y="1601"/>
                  </a:lnTo>
                  <a:lnTo>
                    <a:pt x="10020" y="1604"/>
                  </a:lnTo>
                  <a:lnTo>
                    <a:pt x="10024" y="1611"/>
                  </a:lnTo>
                  <a:lnTo>
                    <a:pt x="10026" y="1619"/>
                  </a:lnTo>
                  <a:lnTo>
                    <a:pt x="10026" y="1741"/>
                  </a:lnTo>
                  <a:lnTo>
                    <a:pt x="10978" y="1741"/>
                  </a:lnTo>
                  <a:lnTo>
                    <a:pt x="10987" y="1744"/>
                  </a:lnTo>
                  <a:lnTo>
                    <a:pt x="10994" y="1749"/>
                  </a:lnTo>
                  <a:lnTo>
                    <a:pt x="11211" y="2048"/>
                  </a:lnTo>
                  <a:lnTo>
                    <a:pt x="11235" y="2048"/>
                  </a:lnTo>
                  <a:lnTo>
                    <a:pt x="11242" y="2051"/>
                  </a:lnTo>
                  <a:lnTo>
                    <a:pt x="11248" y="2055"/>
                  </a:lnTo>
                  <a:lnTo>
                    <a:pt x="11253" y="2061"/>
                  </a:lnTo>
                  <a:lnTo>
                    <a:pt x="11255" y="2069"/>
                  </a:lnTo>
                  <a:lnTo>
                    <a:pt x="11255" y="2241"/>
                  </a:lnTo>
                  <a:lnTo>
                    <a:pt x="11253" y="2249"/>
                  </a:lnTo>
                  <a:lnTo>
                    <a:pt x="11248" y="2255"/>
                  </a:lnTo>
                  <a:lnTo>
                    <a:pt x="11242" y="2260"/>
                  </a:lnTo>
                  <a:lnTo>
                    <a:pt x="11235" y="2262"/>
                  </a:lnTo>
                  <a:lnTo>
                    <a:pt x="11224" y="2262"/>
                  </a:lnTo>
                  <a:lnTo>
                    <a:pt x="11224" y="3107"/>
                  </a:lnTo>
                  <a:lnTo>
                    <a:pt x="11223" y="3116"/>
                  </a:lnTo>
                  <a:lnTo>
                    <a:pt x="11217" y="3122"/>
                  </a:lnTo>
                  <a:lnTo>
                    <a:pt x="11211" y="3126"/>
                  </a:lnTo>
                  <a:lnTo>
                    <a:pt x="11205" y="3127"/>
                  </a:lnTo>
                  <a:lnTo>
                    <a:pt x="11197" y="3126"/>
                  </a:lnTo>
                  <a:lnTo>
                    <a:pt x="11190" y="3122"/>
                  </a:lnTo>
                  <a:lnTo>
                    <a:pt x="11185" y="3116"/>
                  </a:lnTo>
                  <a:lnTo>
                    <a:pt x="11184" y="3107"/>
                  </a:lnTo>
                  <a:lnTo>
                    <a:pt x="11184" y="2262"/>
                  </a:lnTo>
                  <a:lnTo>
                    <a:pt x="10285" y="2262"/>
                  </a:lnTo>
                  <a:lnTo>
                    <a:pt x="9388" y="2262"/>
                  </a:lnTo>
                  <a:lnTo>
                    <a:pt x="9388" y="3282"/>
                  </a:lnTo>
                  <a:lnTo>
                    <a:pt x="9388" y="4304"/>
                  </a:lnTo>
                  <a:lnTo>
                    <a:pt x="10285" y="4304"/>
                  </a:lnTo>
                  <a:lnTo>
                    <a:pt x="11184" y="4304"/>
                  </a:lnTo>
                  <a:lnTo>
                    <a:pt x="11184" y="3976"/>
                  </a:lnTo>
                  <a:lnTo>
                    <a:pt x="11185" y="3969"/>
                  </a:lnTo>
                  <a:lnTo>
                    <a:pt x="11190" y="3962"/>
                  </a:lnTo>
                  <a:lnTo>
                    <a:pt x="11197" y="3959"/>
                  </a:lnTo>
                  <a:lnTo>
                    <a:pt x="11205" y="3957"/>
                  </a:lnTo>
                  <a:lnTo>
                    <a:pt x="11211" y="3959"/>
                  </a:lnTo>
                  <a:lnTo>
                    <a:pt x="11217" y="3962"/>
                  </a:lnTo>
                  <a:lnTo>
                    <a:pt x="11223" y="3969"/>
                  </a:lnTo>
                  <a:lnTo>
                    <a:pt x="11224" y="3976"/>
                  </a:lnTo>
                  <a:lnTo>
                    <a:pt x="11224" y="4324"/>
                  </a:lnTo>
                  <a:lnTo>
                    <a:pt x="11223" y="4332"/>
                  </a:lnTo>
                  <a:lnTo>
                    <a:pt x="11217" y="4338"/>
                  </a:lnTo>
                  <a:lnTo>
                    <a:pt x="11211" y="4342"/>
                  </a:lnTo>
                  <a:lnTo>
                    <a:pt x="11205" y="4343"/>
                  </a:lnTo>
                  <a:lnTo>
                    <a:pt x="10285" y="4343"/>
                  </a:lnTo>
                  <a:lnTo>
                    <a:pt x="9367" y="4343"/>
                  </a:lnTo>
                  <a:lnTo>
                    <a:pt x="9361" y="4342"/>
                  </a:lnTo>
                  <a:lnTo>
                    <a:pt x="9354" y="4338"/>
                  </a:lnTo>
                  <a:lnTo>
                    <a:pt x="9349" y="4332"/>
                  </a:lnTo>
                  <a:lnTo>
                    <a:pt x="9348" y="4324"/>
                  </a:lnTo>
                  <a:lnTo>
                    <a:pt x="9348" y="3808"/>
                  </a:lnTo>
                  <a:lnTo>
                    <a:pt x="9348" y="3292"/>
                  </a:lnTo>
                  <a:lnTo>
                    <a:pt x="9348" y="2777"/>
                  </a:lnTo>
                  <a:lnTo>
                    <a:pt x="9348" y="2262"/>
                  </a:lnTo>
                  <a:lnTo>
                    <a:pt x="9336" y="2262"/>
                  </a:lnTo>
                  <a:lnTo>
                    <a:pt x="9329" y="2260"/>
                  </a:lnTo>
                  <a:lnTo>
                    <a:pt x="9322" y="2255"/>
                  </a:lnTo>
                  <a:lnTo>
                    <a:pt x="9318" y="2249"/>
                  </a:lnTo>
                  <a:lnTo>
                    <a:pt x="9317" y="2241"/>
                  </a:lnTo>
                  <a:lnTo>
                    <a:pt x="9317" y="2069"/>
                  </a:lnTo>
                  <a:lnTo>
                    <a:pt x="9318" y="2061"/>
                  </a:lnTo>
                  <a:lnTo>
                    <a:pt x="9322" y="2055"/>
                  </a:lnTo>
                  <a:lnTo>
                    <a:pt x="9329" y="2051"/>
                  </a:lnTo>
                  <a:lnTo>
                    <a:pt x="9336" y="2048"/>
                  </a:lnTo>
                  <a:lnTo>
                    <a:pt x="9364" y="2048"/>
                  </a:lnTo>
                  <a:lnTo>
                    <a:pt x="9581" y="1749"/>
                  </a:lnTo>
                  <a:lnTo>
                    <a:pt x="9589" y="1744"/>
                  </a:lnTo>
                  <a:lnTo>
                    <a:pt x="9598" y="1741"/>
                  </a:lnTo>
                  <a:lnTo>
                    <a:pt x="9740" y="1741"/>
                  </a:lnTo>
                  <a:close/>
                  <a:moveTo>
                    <a:pt x="9985" y="1741"/>
                  </a:moveTo>
                  <a:lnTo>
                    <a:pt x="9985" y="1639"/>
                  </a:lnTo>
                  <a:lnTo>
                    <a:pt x="9780" y="1639"/>
                  </a:lnTo>
                  <a:lnTo>
                    <a:pt x="9780" y="1741"/>
                  </a:lnTo>
                  <a:lnTo>
                    <a:pt x="9799" y="1741"/>
                  </a:lnTo>
                  <a:lnTo>
                    <a:pt x="9808" y="1743"/>
                  </a:lnTo>
                  <a:lnTo>
                    <a:pt x="9815" y="1748"/>
                  </a:lnTo>
                  <a:lnTo>
                    <a:pt x="9818" y="1754"/>
                  </a:lnTo>
                  <a:lnTo>
                    <a:pt x="9820" y="1762"/>
                  </a:lnTo>
                  <a:lnTo>
                    <a:pt x="9818" y="1768"/>
                  </a:lnTo>
                  <a:lnTo>
                    <a:pt x="9815" y="1775"/>
                  </a:lnTo>
                  <a:lnTo>
                    <a:pt x="9808" y="1780"/>
                  </a:lnTo>
                  <a:lnTo>
                    <a:pt x="9799" y="1781"/>
                  </a:lnTo>
                  <a:lnTo>
                    <a:pt x="9607" y="1781"/>
                  </a:lnTo>
                  <a:lnTo>
                    <a:pt x="9413" y="2048"/>
                  </a:lnTo>
                  <a:lnTo>
                    <a:pt x="10288" y="2048"/>
                  </a:lnTo>
                  <a:lnTo>
                    <a:pt x="11162" y="2048"/>
                  </a:lnTo>
                  <a:lnTo>
                    <a:pt x="10967" y="1781"/>
                  </a:lnTo>
                  <a:lnTo>
                    <a:pt x="9953" y="1781"/>
                  </a:lnTo>
                  <a:lnTo>
                    <a:pt x="9944" y="1780"/>
                  </a:lnTo>
                  <a:lnTo>
                    <a:pt x="9938" y="1775"/>
                  </a:lnTo>
                  <a:lnTo>
                    <a:pt x="9934" y="1768"/>
                  </a:lnTo>
                  <a:lnTo>
                    <a:pt x="9933" y="1762"/>
                  </a:lnTo>
                  <a:lnTo>
                    <a:pt x="9934" y="1754"/>
                  </a:lnTo>
                  <a:lnTo>
                    <a:pt x="9938" y="1748"/>
                  </a:lnTo>
                  <a:lnTo>
                    <a:pt x="9944" y="1743"/>
                  </a:lnTo>
                  <a:lnTo>
                    <a:pt x="9953" y="1741"/>
                  </a:lnTo>
                  <a:lnTo>
                    <a:pt x="9985" y="1741"/>
                  </a:lnTo>
                  <a:close/>
                  <a:moveTo>
                    <a:pt x="9372" y="2089"/>
                  </a:moveTo>
                  <a:lnTo>
                    <a:pt x="9357" y="2089"/>
                  </a:lnTo>
                  <a:lnTo>
                    <a:pt x="9357" y="2222"/>
                  </a:lnTo>
                  <a:lnTo>
                    <a:pt x="10285" y="2222"/>
                  </a:lnTo>
                  <a:lnTo>
                    <a:pt x="11215" y="2222"/>
                  </a:lnTo>
                  <a:lnTo>
                    <a:pt x="11215" y="2089"/>
                  </a:lnTo>
                  <a:lnTo>
                    <a:pt x="11205" y="2089"/>
                  </a:lnTo>
                  <a:lnTo>
                    <a:pt x="11198" y="2089"/>
                  </a:lnTo>
                  <a:lnTo>
                    <a:pt x="10288" y="2089"/>
                  </a:lnTo>
                  <a:lnTo>
                    <a:pt x="9379" y="2089"/>
                  </a:lnTo>
                  <a:lnTo>
                    <a:pt x="9372" y="2089"/>
                  </a:lnTo>
                  <a:close/>
                  <a:moveTo>
                    <a:pt x="11205" y="2089"/>
                  </a:moveTo>
                  <a:lnTo>
                    <a:pt x="11198" y="2089"/>
                  </a:lnTo>
                  <a:lnTo>
                    <a:pt x="11205" y="2089"/>
                  </a:lnTo>
                  <a:close/>
                  <a:moveTo>
                    <a:pt x="9379" y="2089"/>
                  </a:moveTo>
                  <a:lnTo>
                    <a:pt x="9372" y="2089"/>
                  </a:lnTo>
                  <a:lnTo>
                    <a:pt x="9379" y="2089"/>
                  </a:lnTo>
                  <a:close/>
                  <a:moveTo>
                    <a:pt x="11106" y="1136"/>
                  </a:moveTo>
                  <a:lnTo>
                    <a:pt x="11083" y="1126"/>
                  </a:lnTo>
                  <a:lnTo>
                    <a:pt x="11056" y="1122"/>
                  </a:lnTo>
                  <a:lnTo>
                    <a:pt x="11035" y="1125"/>
                  </a:lnTo>
                  <a:lnTo>
                    <a:pt x="11017" y="1130"/>
                  </a:lnTo>
                  <a:lnTo>
                    <a:pt x="10999" y="1140"/>
                  </a:lnTo>
                  <a:lnTo>
                    <a:pt x="10985" y="1152"/>
                  </a:lnTo>
                  <a:lnTo>
                    <a:pt x="10972" y="1167"/>
                  </a:lnTo>
                  <a:lnTo>
                    <a:pt x="10963" y="1185"/>
                  </a:lnTo>
                  <a:lnTo>
                    <a:pt x="10957" y="1204"/>
                  </a:lnTo>
                  <a:lnTo>
                    <a:pt x="10956" y="1225"/>
                  </a:lnTo>
                  <a:lnTo>
                    <a:pt x="10958" y="1246"/>
                  </a:lnTo>
                  <a:lnTo>
                    <a:pt x="11683" y="1245"/>
                  </a:lnTo>
                  <a:lnTo>
                    <a:pt x="11683" y="1227"/>
                  </a:lnTo>
                  <a:lnTo>
                    <a:pt x="11682" y="1208"/>
                  </a:lnTo>
                  <a:lnTo>
                    <a:pt x="11675" y="1190"/>
                  </a:lnTo>
                  <a:lnTo>
                    <a:pt x="11666" y="1174"/>
                  </a:lnTo>
                  <a:lnTo>
                    <a:pt x="11653" y="1159"/>
                  </a:lnTo>
                  <a:lnTo>
                    <a:pt x="11647" y="1153"/>
                  </a:lnTo>
                  <a:lnTo>
                    <a:pt x="11639" y="1148"/>
                  </a:lnTo>
                  <a:lnTo>
                    <a:pt x="11621" y="1139"/>
                  </a:lnTo>
                  <a:lnTo>
                    <a:pt x="11603" y="1133"/>
                  </a:lnTo>
                  <a:lnTo>
                    <a:pt x="11583" y="1131"/>
                  </a:lnTo>
                  <a:lnTo>
                    <a:pt x="11558" y="1134"/>
                  </a:lnTo>
                  <a:lnTo>
                    <a:pt x="11542" y="1138"/>
                  </a:lnTo>
                  <a:lnTo>
                    <a:pt x="11523" y="1139"/>
                  </a:lnTo>
                  <a:lnTo>
                    <a:pt x="11489" y="1133"/>
                  </a:lnTo>
                  <a:lnTo>
                    <a:pt x="11489" y="1113"/>
                  </a:lnTo>
                  <a:lnTo>
                    <a:pt x="11487" y="1096"/>
                  </a:lnTo>
                  <a:lnTo>
                    <a:pt x="11482" y="1078"/>
                  </a:lnTo>
                  <a:lnTo>
                    <a:pt x="11476" y="1061"/>
                  </a:lnTo>
                  <a:lnTo>
                    <a:pt x="11469" y="1044"/>
                  </a:lnTo>
                  <a:lnTo>
                    <a:pt x="11460" y="1030"/>
                  </a:lnTo>
                  <a:lnTo>
                    <a:pt x="11451" y="1016"/>
                  </a:lnTo>
                  <a:lnTo>
                    <a:pt x="11439" y="1002"/>
                  </a:lnTo>
                  <a:lnTo>
                    <a:pt x="11412" y="980"/>
                  </a:lnTo>
                  <a:lnTo>
                    <a:pt x="11383" y="964"/>
                  </a:lnTo>
                  <a:lnTo>
                    <a:pt x="11366" y="957"/>
                  </a:lnTo>
                  <a:lnTo>
                    <a:pt x="11349" y="954"/>
                  </a:lnTo>
                  <a:lnTo>
                    <a:pt x="11312" y="950"/>
                  </a:lnTo>
                  <a:lnTo>
                    <a:pt x="11278" y="954"/>
                  </a:lnTo>
                  <a:lnTo>
                    <a:pt x="11261" y="957"/>
                  </a:lnTo>
                  <a:lnTo>
                    <a:pt x="11246" y="963"/>
                  </a:lnTo>
                  <a:lnTo>
                    <a:pt x="11230" y="970"/>
                  </a:lnTo>
                  <a:lnTo>
                    <a:pt x="11216" y="978"/>
                  </a:lnTo>
                  <a:lnTo>
                    <a:pt x="11190" y="998"/>
                  </a:lnTo>
                  <a:lnTo>
                    <a:pt x="11170" y="1024"/>
                  </a:lnTo>
                  <a:lnTo>
                    <a:pt x="11153" y="1053"/>
                  </a:lnTo>
                  <a:lnTo>
                    <a:pt x="11147" y="1069"/>
                  </a:lnTo>
                  <a:lnTo>
                    <a:pt x="11142" y="1085"/>
                  </a:lnTo>
                  <a:lnTo>
                    <a:pt x="11138" y="1102"/>
                  </a:lnTo>
                  <a:lnTo>
                    <a:pt x="11137" y="1120"/>
                  </a:lnTo>
                  <a:lnTo>
                    <a:pt x="11134" y="1131"/>
                  </a:lnTo>
                  <a:lnTo>
                    <a:pt x="11126" y="1138"/>
                  </a:lnTo>
                  <a:lnTo>
                    <a:pt x="11122" y="1139"/>
                  </a:lnTo>
                  <a:lnTo>
                    <a:pt x="11117" y="1140"/>
                  </a:lnTo>
                  <a:lnTo>
                    <a:pt x="11106" y="1136"/>
                  </a:lnTo>
                  <a:close/>
                  <a:moveTo>
                    <a:pt x="11528" y="1106"/>
                  </a:moveTo>
                  <a:lnTo>
                    <a:pt x="11539" y="1098"/>
                  </a:lnTo>
                  <a:lnTo>
                    <a:pt x="11555" y="1094"/>
                  </a:lnTo>
                  <a:lnTo>
                    <a:pt x="11583" y="1090"/>
                  </a:lnTo>
                  <a:lnTo>
                    <a:pt x="11611" y="1094"/>
                  </a:lnTo>
                  <a:lnTo>
                    <a:pt x="11624" y="1097"/>
                  </a:lnTo>
                  <a:lnTo>
                    <a:pt x="11637" y="1102"/>
                  </a:lnTo>
                  <a:lnTo>
                    <a:pt x="11660" y="1115"/>
                  </a:lnTo>
                  <a:lnTo>
                    <a:pt x="11682" y="1131"/>
                  </a:lnTo>
                  <a:lnTo>
                    <a:pt x="11698" y="1151"/>
                  </a:lnTo>
                  <a:lnTo>
                    <a:pt x="11712" y="1174"/>
                  </a:lnTo>
                  <a:lnTo>
                    <a:pt x="11720" y="1199"/>
                  </a:lnTo>
                  <a:lnTo>
                    <a:pt x="11723" y="1213"/>
                  </a:lnTo>
                  <a:lnTo>
                    <a:pt x="11723" y="1227"/>
                  </a:lnTo>
                  <a:lnTo>
                    <a:pt x="11723" y="1243"/>
                  </a:lnTo>
                  <a:lnTo>
                    <a:pt x="11721" y="1262"/>
                  </a:lnTo>
                  <a:lnTo>
                    <a:pt x="11714" y="1278"/>
                  </a:lnTo>
                  <a:lnTo>
                    <a:pt x="11707" y="1284"/>
                  </a:lnTo>
                  <a:lnTo>
                    <a:pt x="11700" y="1285"/>
                  </a:lnTo>
                  <a:lnTo>
                    <a:pt x="10943" y="1286"/>
                  </a:lnTo>
                  <a:lnTo>
                    <a:pt x="10934" y="1285"/>
                  </a:lnTo>
                  <a:lnTo>
                    <a:pt x="10928" y="1280"/>
                  </a:lnTo>
                  <a:lnTo>
                    <a:pt x="10924" y="1271"/>
                  </a:lnTo>
                  <a:lnTo>
                    <a:pt x="10920" y="1262"/>
                  </a:lnTo>
                  <a:lnTo>
                    <a:pt x="10916" y="1240"/>
                  </a:lnTo>
                  <a:lnTo>
                    <a:pt x="10915" y="1225"/>
                  </a:lnTo>
                  <a:lnTo>
                    <a:pt x="10919" y="1197"/>
                  </a:lnTo>
                  <a:lnTo>
                    <a:pt x="10926" y="1170"/>
                  </a:lnTo>
                  <a:lnTo>
                    <a:pt x="10939" y="1145"/>
                  </a:lnTo>
                  <a:lnTo>
                    <a:pt x="10956" y="1125"/>
                  </a:lnTo>
                  <a:lnTo>
                    <a:pt x="10978" y="1107"/>
                  </a:lnTo>
                  <a:lnTo>
                    <a:pt x="10989" y="1099"/>
                  </a:lnTo>
                  <a:lnTo>
                    <a:pt x="11001" y="1094"/>
                  </a:lnTo>
                  <a:lnTo>
                    <a:pt x="11028" y="1085"/>
                  </a:lnTo>
                  <a:lnTo>
                    <a:pt x="11042" y="1083"/>
                  </a:lnTo>
                  <a:lnTo>
                    <a:pt x="11056" y="1083"/>
                  </a:lnTo>
                  <a:lnTo>
                    <a:pt x="11079" y="1084"/>
                  </a:lnTo>
                  <a:lnTo>
                    <a:pt x="11101" y="1089"/>
                  </a:lnTo>
                  <a:lnTo>
                    <a:pt x="11110" y="1052"/>
                  </a:lnTo>
                  <a:lnTo>
                    <a:pt x="11126" y="1019"/>
                  </a:lnTo>
                  <a:lnTo>
                    <a:pt x="11147" y="988"/>
                  </a:lnTo>
                  <a:lnTo>
                    <a:pt x="11173" y="961"/>
                  </a:lnTo>
                  <a:lnTo>
                    <a:pt x="11202" y="940"/>
                  </a:lnTo>
                  <a:lnTo>
                    <a:pt x="11237" y="923"/>
                  </a:lnTo>
                  <a:lnTo>
                    <a:pt x="11274" y="913"/>
                  </a:lnTo>
                  <a:lnTo>
                    <a:pt x="11312" y="910"/>
                  </a:lnTo>
                  <a:lnTo>
                    <a:pt x="11355" y="914"/>
                  </a:lnTo>
                  <a:lnTo>
                    <a:pt x="11374" y="918"/>
                  </a:lnTo>
                  <a:lnTo>
                    <a:pt x="11393" y="925"/>
                  </a:lnTo>
                  <a:lnTo>
                    <a:pt x="11428" y="942"/>
                  </a:lnTo>
                  <a:lnTo>
                    <a:pt x="11444" y="954"/>
                  </a:lnTo>
                  <a:lnTo>
                    <a:pt x="11458" y="966"/>
                  </a:lnTo>
                  <a:lnTo>
                    <a:pt x="11473" y="980"/>
                  </a:lnTo>
                  <a:lnTo>
                    <a:pt x="11485" y="996"/>
                  </a:lnTo>
                  <a:lnTo>
                    <a:pt x="11506" y="1029"/>
                  </a:lnTo>
                  <a:lnTo>
                    <a:pt x="11514" y="1047"/>
                  </a:lnTo>
                  <a:lnTo>
                    <a:pt x="11520" y="1066"/>
                  </a:lnTo>
                  <a:lnTo>
                    <a:pt x="11525" y="1085"/>
                  </a:lnTo>
                  <a:lnTo>
                    <a:pt x="11528" y="1106"/>
                  </a:lnTo>
                  <a:close/>
                  <a:moveTo>
                    <a:pt x="13515" y="644"/>
                  </a:moveTo>
                  <a:lnTo>
                    <a:pt x="13404" y="644"/>
                  </a:lnTo>
                  <a:lnTo>
                    <a:pt x="13404" y="754"/>
                  </a:lnTo>
                  <a:lnTo>
                    <a:pt x="13515" y="754"/>
                  </a:lnTo>
                  <a:lnTo>
                    <a:pt x="13515" y="644"/>
                  </a:lnTo>
                  <a:close/>
                  <a:moveTo>
                    <a:pt x="13534" y="605"/>
                  </a:moveTo>
                  <a:lnTo>
                    <a:pt x="13542" y="606"/>
                  </a:lnTo>
                  <a:lnTo>
                    <a:pt x="13549" y="611"/>
                  </a:lnTo>
                  <a:lnTo>
                    <a:pt x="13552" y="617"/>
                  </a:lnTo>
                  <a:lnTo>
                    <a:pt x="13555" y="624"/>
                  </a:lnTo>
                  <a:lnTo>
                    <a:pt x="13555" y="754"/>
                  </a:lnTo>
                  <a:lnTo>
                    <a:pt x="14078" y="754"/>
                  </a:lnTo>
                  <a:lnTo>
                    <a:pt x="14086" y="757"/>
                  </a:lnTo>
                  <a:lnTo>
                    <a:pt x="14092" y="761"/>
                  </a:lnTo>
                  <a:lnTo>
                    <a:pt x="14097" y="767"/>
                  </a:lnTo>
                  <a:lnTo>
                    <a:pt x="14099" y="775"/>
                  </a:lnTo>
                  <a:lnTo>
                    <a:pt x="14099" y="1471"/>
                  </a:lnTo>
                  <a:lnTo>
                    <a:pt x="14099" y="2170"/>
                  </a:lnTo>
                  <a:lnTo>
                    <a:pt x="14097" y="2177"/>
                  </a:lnTo>
                  <a:lnTo>
                    <a:pt x="14092" y="2184"/>
                  </a:lnTo>
                  <a:lnTo>
                    <a:pt x="14086" y="2188"/>
                  </a:lnTo>
                  <a:lnTo>
                    <a:pt x="14078" y="2189"/>
                  </a:lnTo>
                  <a:lnTo>
                    <a:pt x="14072" y="2188"/>
                  </a:lnTo>
                  <a:lnTo>
                    <a:pt x="14065" y="2184"/>
                  </a:lnTo>
                  <a:lnTo>
                    <a:pt x="14060" y="2177"/>
                  </a:lnTo>
                  <a:lnTo>
                    <a:pt x="14059" y="2170"/>
                  </a:lnTo>
                  <a:lnTo>
                    <a:pt x="14059" y="1482"/>
                  </a:lnTo>
                  <a:lnTo>
                    <a:pt x="14059" y="795"/>
                  </a:lnTo>
                  <a:lnTo>
                    <a:pt x="13534" y="795"/>
                  </a:lnTo>
                  <a:lnTo>
                    <a:pt x="13384" y="795"/>
                  </a:lnTo>
                  <a:lnTo>
                    <a:pt x="13150" y="795"/>
                  </a:lnTo>
                  <a:lnTo>
                    <a:pt x="13141" y="793"/>
                  </a:lnTo>
                  <a:lnTo>
                    <a:pt x="13134" y="789"/>
                  </a:lnTo>
                  <a:lnTo>
                    <a:pt x="13131" y="782"/>
                  </a:lnTo>
                  <a:lnTo>
                    <a:pt x="13129" y="775"/>
                  </a:lnTo>
                  <a:lnTo>
                    <a:pt x="13131" y="767"/>
                  </a:lnTo>
                  <a:lnTo>
                    <a:pt x="13134" y="761"/>
                  </a:lnTo>
                  <a:lnTo>
                    <a:pt x="13141" y="757"/>
                  </a:lnTo>
                  <a:lnTo>
                    <a:pt x="13150" y="754"/>
                  </a:lnTo>
                  <a:lnTo>
                    <a:pt x="13201" y="754"/>
                  </a:lnTo>
                  <a:lnTo>
                    <a:pt x="13201" y="612"/>
                  </a:lnTo>
                  <a:lnTo>
                    <a:pt x="12798" y="612"/>
                  </a:lnTo>
                  <a:lnTo>
                    <a:pt x="12798" y="754"/>
                  </a:lnTo>
                  <a:lnTo>
                    <a:pt x="12852" y="754"/>
                  </a:lnTo>
                  <a:lnTo>
                    <a:pt x="12861" y="757"/>
                  </a:lnTo>
                  <a:lnTo>
                    <a:pt x="12868" y="761"/>
                  </a:lnTo>
                  <a:lnTo>
                    <a:pt x="12872" y="767"/>
                  </a:lnTo>
                  <a:lnTo>
                    <a:pt x="12873" y="775"/>
                  </a:lnTo>
                  <a:lnTo>
                    <a:pt x="12872" y="782"/>
                  </a:lnTo>
                  <a:lnTo>
                    <a:pt x="12868" y="789"/>
                  </a:lnTo>
                  <a:lnTo>
                    <a:pt x="12861" y="793"/>
                  </a:lnTo>
                  <a:lnTo>
                    <a:pt x="12852" y="795"/>
                  </a:lnTo>
                  <a:lnTo>
                    <a:pt x="12664" y="795"/>
                  </a:lnTo>
                  <a:lnTo>
                    <a:pt x="12664" y="1810"/>
                  </a:lnTo>
                  <a:lnTo>
                    <a:pt x="12664" y="2826"/>
                  </a:lnTo>
                  <a:lnTo>
                    <a:pt x="12661" y="2835"/>
                  </a:lnTo>
                  <a:lnTo>
                    <a:pt x="12657" y="2840"/>
                  </a:lnTo>
                  <a:lnTo>
                    <a:pt x="12651" y="2844"/>
                  </a:lnTo>
                  <a:lnTo>
                    <a:pt x="12643" y="2845"/>
                  </a:lnTo>
                  <a:lnTo>
                    <a:pt x="12636" y="2844"/>
                  </a:lnTo>
                  <a:lnTo>
                    <a:pt x="12629" y="2840"/>
                  </a:lnTo>
                  <a:lnTo>
                    <a:pt x="12625" y="2835"/>
                  </a:lnTo>
                  <a:lnTo>
                    <a:pt x="12624" y="2826"/>
                  </a:lnTo>
                  <a:lnTo>
                    <a:pt x="12624" y="2313"/>
                  </a:lnTo>
                  <a:lnTo>
                    <a:pt x="12624" y="1800"/>
                  </a:lnTo>
                  <a:lnTo>
                    <a:pt x="12624" y="1287"/>
                  </a:lnTo>
                  <a:lnTo>
                    <a:pt x="12624" y="775"/>
                  </a:lnTo>
                  <a:lnTo>
                    <a:pt x="12625" y="767"/>
                  </a:lnTo>
                  <a:lnTo>
                    <a:pt x="12629" y="761"/>
                  </a:lnTo>
                  <a:lnTo>
                    <a:pt x="12636" y="757"/>
                  </a:lnTo>
                  <a:lnTo>
                    <a:pt x="12643" y="754"/>
                  </a:lnTo>
                  <a:lnTo>
                    <a:pt x="12759" y="754"/>
                  </a:lnTo>
                  <a:lnTo>
                    <a:pt x="12759" y="592"/>
                  </a:lnTo>
                  <a:lnTo>
                    <a:pt x="12760" y="584"/>
                  </a:lnTo>
                  <a:lnTo>
                    <a:pt x="12764" y="578"/>
                  </a:lnTo>
                  <a:lnTo>
                    <a:pt x="12770" y="574"/>
                  </a:lnTo>
                  <a:lnTo>
                    <a:pt x="12778" y="573"/>
                  </a:lnTo>
                  <a:lnTo>
                    <a:pt x="13220" y="573"/>
                  </a:lnTo>
                  <a:lnTo>
                    <a:pt x="13228" y="574"/>
                  </a:lnTo>
                  <a:lnTo>
                    <a:pt x="13234" y="578"/>
                  </a:lnTo>
                  <a:lnTo>
                    <a:pt x="13240" y="584"/>
                  </a:lnTo>
                  <a:lnTo>
                    <a:pt x="13241" y="592"/>
                  </a:lnTo>
                  <a:lnTo>
                    <a:pt x="13241" y="754"/>
                  </a:lnTo>
                  <a:lnTo>
                    <a:pt x="13364" y="754"/>
                  </a:lnTo>
                  <a:lnTo>
                    <a:pt x="13364" y="624"/>
                  </a:lnTo>
                  <a:lnTo>
                    <a:pt x="13365" y="617"/>
                  </a:lnTo>
                  <a:lnTo>
                    <a:pt x="13370" y="611"/>
                  </a:lnTo>
                  <a:lnTo>
                    <a:pt x="13377" y="606"/>
                  </a:lnTo>
                  <a:lnTo>
                    <a:pt x="13384" y="605"/>
                  </a:lnTo>
                  <a:lnTo>
                    <a:pt x="13534" y="605"/>
                  </a:lnTo>
                  <a:close/>
                  <a:moveTo>
                    <a:pt x="15835" y="2587"/>
                  </a:moveTo>
                  <a:lnTo>
                    <a:pt x="15677" y="2587"/>
                  </a:lnTo>
                  <a:lnTo>
                    <a:pt x="15677" y="3445"/>
                  </a:lnTo>
                  <a:lnTo>
                    <a:pt x="15677" y="4304"/>
                  </a:lnTo>
                  <a:lnTo>
                    <a:pt x="16008" y="4304"/>
                  </a:lnTo>
                  <a:lnTo>
                    <a:pt x="16008" y="3419"/>
                  </a:lnTo>
                  <a:lnTo>
                    <a:pt x="16008" y="2534"/>
                  </a:lnTo>
                  <a:lnTo>
                    <a:pt x="16009" y="2525"/>
                  </a:lnTo>
                  <a:lnTo>
                    <a:pt x="16012" y="2519"/>
                  </a:lnTo>
                  <a:lnTo>
                    <a:pt x="16016" y="2515"/>
                  </a:lnTo>
                  <a:lnTo>
                    <a:pt x="16021" y="2511"/>
                  </a:lnTo>
                  <a:lnTo>
                    <a:pt x="16027" y="2511"/>
                  </a:lnTo>
                  <a:lnTo>
                    <a:pt x="16032" y="2512"/>
                  </a:lnTo>
                  <a:lnTo>
                    <a:pt x="16039" y="2516"/>
                  </a:lnTo>
                  <a:lnTo>
                    <a:pt x="16045" y="2523"/>
                  </a:lnTo>
                  <a:lnTo>
                    <a:pt x="16536" y="3199"/>
                  </a:lnTo>
                  <a:lnTo>
                    <a:pt x="16536" y="2534"/>
                  </a:lnTo>
                  <a:lnTo>
                    <a:pt x="16538" y="2525"/>
                  </a:lnTo>
                  <a:lnTo>
                    <a:pt x="16540" y="2519"/>
                  </a:lnTo>
                  <a:lnTo>
                    <a:pt x="16544" y="2515"/>
                  </a:lnTo>
                  <a:lnTo>
                    <a:pt x="16549" y="2511"/>
                  </a:lnTo>
                  <a:lnTo>
                    <a:pt x="16556" y="2511"/>
                  </a:lnTo>
                  <a:lnTo>
                    <a:pt x="16562" y="2512"/>
                  </a:lnTo>
                  <a:lnTo>
                    <a:pt x="16567" y="2516"/>
                  </a:lnTo>
                  <a:lnTo>
                    <a:pt x="16573" y="2523"/>
                  </a:lnTo>
                  <a:lnTo>
                    <a:pt x="17076" y="3214"/>
                  </a:lnTo>
                  <a:lnTo>
                    <a:pt x="17076" y="2534"/>
                  </a:lnTo>
                  <a:lnTo>
                    <a:pt x="17077" y="2525"/>
                  </a:lnTo>
                  <a:lnTo>
                    <a:pt x="17080" y="2519"/>
                  </a:lnTo>
                  <a:lnTo>
                    <a:pt x="17084" y="2515"/>
                  </a:lnTo>
                  <a:lnTo>
                    <a:pt x="17089" y="2511"/>
                  </a:lnTo>
                  <a:lnTo>
                    <a:pt x="17094" y="2511"/>
                  </a:lnTo>
                  <a:lnTo>
                    <a:pt x="17100" y="2512"/>
                  </a:lnTo>
                  <a:lnTo>
                    <a:pt x="17107" y="2516"/>
                  </a:lnTo>
                  <a:lnTo>
                    <a:pt x="17112" y="2523"/>
                  </a:lnTo>
                  <a:lnTo>
                    <a:pt x="17640" y="3249"/>
                  </a:lnTo>
                  <a:lnTo>
                    <a:pt x="17644" y="3258"/>
                  </a:lnTo>
                  <a:lnTo>
                    <a:pt x="17644" y="3265"/>
                  </a:lnTo>
                  <a:lnTo>
                    <a:pt x="17642" y="3272"/>
                  </a:lnTo>
                  <a:lnTo>
                    <a:pt x="17636" y="3277"/>
                  </a:lnTo>
                  <a:lnTo>
                    <a:pt x="17630" y="3281"/>
                  </a:lnTo>
                  <a:lnTo>
                    <a:pt x="17622" y="3281"/>
                  </a:lnTo>
                  <a:lnTo>
                    <a:pt x="17615" y="3280"/>
                  </a:lnTo>
                  <a:lnTo>
                    <a:pt x="17608" y="3273"/>
                  </a:lnTo>
                  <a:lnTo>
                    <a:pt x="17116" y="2595"/>
                  </a:lnTo>
                  <a:lnTo>
                    <a:pt x="17116" y="3262"/>
                  </a:lnTo>
                  <a:lnTo>
                    <a:pt x="17113" y="3271"/>
                  </a:lnTo>
                  <a:lnTo>
                    <a:pt x="17108" y="3278"/>
                  </a:lnTo>
                  <a:lnTo>
                    <a:pt x="17099" y="3281"/>
                  </a:lnTo>
                  <a:lnTo>
                    <a:pt x="17090" y="3281"/>
                  </a:lnTo>
                  <a:lnTo>
                    <a:pt x="17080" y="3281"/>
                  </a:lnTo>
                  <a:lnTo>
                    <a:pt x="17074" y="3278"/>
                  </a:lnTo>
                  <a:lnTo>
                    <a:pt x="17070" y="3273"/>
                  </a:lnTo>
                  <a:lnTo>
                    <a:pt x="16577" y="2595"/>
                  </a:lnTo>
                  <a:lnTo>
                    <a:pt x="16577" y="3258"/>
                  </a:lnTo>
                  <a:lnTo>
                    <a:pt x="16577" y="3264"/>
                  </a:lnTo>
                  <a:lnTo>
                    <a:pt x="16575" y="3269"/>
                  </a:lnTo>
                  <a:lnTo>
                    <a:pt x="16571" y="3276"/>
                  </a:lnTo>
                  <a:lnTo>
                    <a:pt x="16563" y="3281"/>
                  </a:lnTo>
                  <a:lnTo>
                    <a:pt x="16554" y="3281"/>
                  </a:lnTo>
                  <a:lnTo>
                    <a:pt x="16547" y="3278"/>
                  </a:lnTo>
                  <a:lnTo>
                    <a:pt x="16541" y="3276"/>
                  </a:lnTo>
                  <a:lnTo>
                    <a:pt x="16539" y="3271"/>
                  </a:lnTo>
                  <a:lnTo>
                    <a:pt x="16049" y="2595"/>
                  </a:lnTo>
                  <a:lnTo>
                    <a:pt x="16049" y="3450"/>
                  </a:lnTo>
                  <a:lnTo>
                    <a:pt x="16049" y="4304"/>
                  </a:lnTo>
                  <a:lnTo>
                    <a:pt x="16844" y="4304"/>
                  </a:lnTo>
                  <a:lnTo>
                    <a:pt x="16853" y="4305"/>
                  </a:lnTo>
                  <a:lnTo>
                    <a:pt x="16859" y="4310"/>
                  </a:lnTo>
                  <a:lnTo>
                    <a:pt x="16863" y="4317"/>
                  </a:lnTo>
                  <a:lnTo>
                    <a:pt x="16865" y="4324"/>
                  </a:lnTo>
                  <a:lnTo>
                    <a:pt x="16863" y="4331"/>
                  </a:lnTo>
                  <a:lnTo>
                    <a:pt x="16859" y="4337"/>
                  </a:lnTo>
                  <a:lnTo>
                    <a:pt x="16853" y="4342"/>
                  </a:lnTo>
                  <a:lnTo>
                    <a:pt x="16844" y="4343"/>
                  </a:lnTo>
                  <a:lnTo>
                    <a:pt x="16250" y="4343"/>
                  </a:lnTo>
                  <a:lnTo>
                    <a:pt x="15657" y="4343"/>
                  </a:lnTo>
                  <a:lnTo>
                    <a:pt x="14760" y="4343"/>
                  </a:lnTo>
                  <a:lnTo>
                    <a:pt x="13864" y="4343"/>
                  </a:lnTo>
                  <a:lnTo>
                    <a:pt x="13856" y="4342"/>
                  </a:lnTo>
                  <a:lnTo>
                    <a:pt x="13850" y="4338"/>
                  </a:lnTo>
                  <a:lnTo>
                    <a:pt x="13846" y="4332"/>
                  </a:lnTo>
                  <a:lnTo>
                    <a:pt x="13843" y="4324"/>
                  </a:lnTo>
                  <a:lnTo>
                    <a:pt x="13843" y="3455"/>
                  </a:lnTo>
                  <a:lnTo>
                    <a:pt x="13843" y="2587"/>
                  </a:lnTo>
                  <a:lnTo>
                    <a:pt x="13686" y="2587"/>
                  </a:lnTo>
                  <a:lnTo>
                    <a:pt x="13677" y="2585"/>
                  </a:lnTo>
                  <a:lnTo>
                    <a:pt x="13670" y="2581"/>
                  </a:lnTo>
                  <a:lnTo>
                    <a:pt x="13667" y="2575"/>
                  </a:lnTo>
                  <a:lnTo>
                    <a:pt x="13665" y="2567"/>
                  </a:lnTo>
                  <a:lnTo>
                    <a:pt x="13667" y="2560"/>
                  </a:lnTo>
                  <a:lnTo>
                    <a:pt x="13670" y="2553"/>
                  </a:lnTo>
                  <a:lnTo>
                    <a:pt x="13677" y="2549"/>
                  </a:lnTo>
                  <a:lnTo>
                    <a:pt x="13686" y="2547"/>
                  </a:lnTo>
                  <a:lnTo>
                    <a:pt x="13963" y="2547"/>
                  </a:lnTo>
                  <a:lnTo>
                    <a:pt x="13963" y="2374"/>
                  </a:lnTo>
                  <a:lnTo>
                    <a:pt x="13964" y="2367"/>
                  </a:lnTo>
                  <a:lnTo>
                    <a:pt x="13968" y="2360"/>
                  </a:lnTo>
                  <a:lnTo>
                    <a:pt x="13974" y="2355"/>
                  </a:lnTo>
                  <a:lnTo>
                    <a:pt x="13982" y="2354"/>
                  </a:lnTo>
                  <a:lnTo>
                    <a:pt x="14750" y="2354"/>
                  </a:lnTo>
                  <a:lnTo>
                    <a:pt x="15519" y="2354"/>
                  </a:lnTo>
                  <a:lnTo>
                    <a:pt x="15527" y="2355"/>
                  </a:lnTo>
                  <a:lnTo>
                    <a:pt x="15534" y="2360"/>
                  </a:lnTo>
                  <a:lnTo>
                    <a:pt x="15537" y="2367"/>
                  </a:lnTo>
                  <a:lnTo>
                    <a:pt x="15539" y="2374"/>
                  </a:lnTo>
                  <a:lnTo>
                    <a:pt x="15539" y="2547"/>
                  </a:lnTo>
                  <a:lnTo>
                    <a:pt x="15835" y="2547"/>
                  </a:lnTo>
                  <a:lnTo>
                    <a:pt x="15844" y="2549"/>
                  </a:lnTo>
                  <a:lnTo>
                    <a:pt x="15850" y="2553"/>
                  </a:lnTo>
                  <a:lnTo>
                    <a:pt x="15854" y="2560"/>
                  </a:lnTo>
                  <a:lnTo>
                    <a:pt x="15855" y="2567"/>
                  </a:lnTo>
                  <a:lnTo>
                    <a:pt x="15854" y="2575"/>
                  </a:lnTo>
                  <a:lnTo>
                    <a:pt x="15850" y="2581"/>
                  </a:lnTo>
                  <a:lnTo>
                    <a:pt x="15844" y="2585"/>
                  </a:lnTo>
                  <a:lnTo>
                    <a:pt x="15835" y="2587"/>
                  </a:lnTo>
                  <a:close/>
                  <a:moveTo>
                    <a:pt x="15636" y="2587"/>
                  </a:moveTo>
                  <a:lnTo>
                    <a:pt x="14760" y="2587"/>
                  </a:lnTo>
                  <a:lnTo>
                    <a:pt x="13885" y="2587"/>
                  </a:lnTo>
                  <a:lnTo>
                    <a:pt x="13885" y="3445"/>
                  </a:lnTo>
                  <a:lnTo>
                    <a:pt x="13885" y="4304"/>
                  </a:lnTo>
                  <a:lnTo>
                    <a:pt x="14760" y="4304"/>
                  </a:lnTo>
                  <a:lnTo>
                    <a:pt x="15636" y="4304"/>
                  </a:lnTo>
                  <a:lnTo>
                    <a:pt x="15636" y="3445"/>
                  </a:lnTo>
                  <a:lnTo>
                    <a:pt x="15636" y="2587"/>
                  </a:lnTo>
                  <a:close/>
                  <a:moveTo>
                    <a:pt x="14002" y="2547"/>
                  </a:moveTo>
                  <a:lnTo>
                    <a:pt x="14750" y="2547"/>
                  </a:lnTo>
                  <a:lnTo>
                    <a:pt x="15499" y="2547"/>
                  </a:lnTo>
                  <a:lnTo>
                    <a:pt x="15499" y="2393"/>
                  </a:lnTo>
                  <a:lnTo>
                    <a:pt x="14750" y="2393"/>
                  </a:lnTo>
                  <a:lnTo>
                    <a:pt x="14002" y="2393"/>
                  </a:lnTo>
                  <a:lnTo>
                    <a:pt x="14002" y="2547"/>
                  </a:lnTo>
                  <a:close/>
                  <a:moveTo>
                    <a:pt x="15171" y="3639"/>
                  </a:moveTo>
                  <a:lnTo>
                    <a:pt x="15171" y="3751"/>
                  </a:lnTo>
                  <a:lnTo>
                    <a:pt x="15168" y="3760"/>
                  </a:lnTo>
                  <a:lnTo>
                    <a:pt x="15164" y="3765"/>
                  </a:lnTo>
                  <a:lnTo>
                    <a:pt x="15158" y="3769"/>
                  </a:lnTo>
                  <a:lnTo>
                    <a:pt x="15150" y="3771"/>
                  </a:lnTo>
                  <a:lnTo>
                    <a:pt x="15142" y="3769"/>
                  </a:lnTo>
                  <a:lnTo>
                    <a:pt x="15136" y="3765"/>
                  </a:lnTo>
                  <a:lnTo>
                    <a:pt x="15132" y="3760"/>
                  </a:lnTo>
                  <a:lnTo>
                    <a:pt x="15131" y="3751"/>
                  </a:lnTo>
                  <a:lnTo>
                    <a:pt x="15131" y="3639"/>
                  </a:lnTo>
                  <a:lnTo>
                    <a:pt x="15132" y="3630"/>
                  </a:lnTo>
                  <a:lnTo>
                    <a:pt x="15136" y="3624"/>
                  </a:lnTo>
                  <a:lnTo>
                    <a:pt x="15142" y="3620"/>
                  </a:lnTo>
                  <a:lnTo>
                    <a:pt x="15150" y="3618"/>
                  </a:lnTo>
                  <a:lnTo>
                    <a:pt x="15158" y="3620"/>
                  </a:lnTo>
                  <a:lnTo>
                    <a:pt x="15164" y="3624"/>
                  </a:lnTo>
                  <a:lnTo>
                    <a:pt x="15168" y="3630"/>
                  </a:lnTo>
                  <a:lnTo>
                    <a:pt x="15171" y="3639"/>
                  </a:lnTo>
                  <a:close/>
                  <a:moveTo>
                    <a:pt x="14908" y="3639"/>
                  </a:moveTo>
                  <a:lnTo>
                    <a:pt x="14908" y="3751"/>
                  </a:lnTo>
                  <a:lnTo>
                    <a:pt x="14905" y="3760"/>
                  </a:lnTo>
                  <a:lnTo>
                    <a:pt x="14901" y="3765"/>
                  </a:lnTo>
                  <a:lnTo>
                    <a:pt x="14895" y="3769"/>
                  </a:lnTo>
                  <a:lnTo>
                    <a:pt x="14887" y="3771"/>
                  </a:lnTo>
                  <a:lnTo>
                    <a:pt x="14880" y="3769"/>
                  </a:lnTo>
                  <a:lnTo>
                    <a:pt x="14873" y="3765"/>
                  </a:lnTo>
                  <a:lnTo>
                    <a:pt x="14869" y="3760"/>
                  </a:lnTo>
                  <a:lnTo>
                    <a:pt x="14867" y="3751"/>
                  </a:lnTo>
                  <a:lnTo>
                    <a:pt x="14867" y="3639"/>
                  </a:lnTo>
                  <a:lnTo>
                    <a:pt x="14869" y="3630"/>
                  </a:lnTo>
                  <a:lnTo>
                    <a:pt x="14873" y="3624"/>
                  </a:lnTo>
                  <a:lnTo>
                    <a:pt x="14880" y="3620"/>
                  </a:lnTo>
                  <a:lnTo>
                    <a:pt x="14887" y="3618"/>
                  </a:lnTo>
                  <a:lnTo>
                    <a:pt x="14895" y="3620"/>
                  </a:lnTo>
                  <a:lnTo>
                    <a:pt x="14901" y="3624"/>
                  </a:lnTo>
                  <a:lnTo>
                    <a:pt x="14905" y="3630"/>
                  </a:lnTo>
                  <a:lnTo>
                    <a:pt x="14908" y="3639"/>
                  </a:lnTo>
                  <a:close/>
                  <a:moveTo>
                    <a:pt x="14644" y="3639"/>
                  </a:moveTo>
                  <a:lnTo>
                    <a:pt x="14644" y="3751"/>
                  </a:lnTo>
                  <a:lnTo>
                    <a:pt x="14642" y="3760"/>
                  </a:lnTo>
                  <a:lnTo>
                    <a:pt x="14637" y="3765"/>
                  </a:lnTo>
                  <a:lnTo>
                    <a:pt x="14631" y="3769"/>
                  </a:lnTo>
                  <a:lnTo>
                    <a:pt x="14624" y="3771"/>
                  </a:lnTo>
                  <a:lnTo>
                    <a:pt x="14617" y="3769"/>
                  </a:lnTo>
                  <a:lnTo>
                    <a:pt x="14610" y="3765"/>
                  </a:lnTo>
                  <a:lnTo>
                    <a:pt x="14606" y="3760"/>
                  </a:lnTo>
                  <a:lnTo>
                    <a:pt x="14604" y="3751"/>
                  </a:lnTo>
                  <a:lnTo>
                    <a:pt x="14604" y="3639"/>
                  </a:lnTo>
                  <a:lnTo>
                    <a:pt x="14606" y="3630"/>
                  </a:lnTo>
                  <a:lnTo>
                    <a:pt x="14610" y="3624"/>
                  </a:lnTo>
                  <a:lnTo>
                    <a:pt x="14617" y="3620"/>
                  </a:lnTo>
                  <a:lnTo>
                    <a:pt x="14624" y="3618"/>
                  </a:lnTo>
                  <a:lnTo>
                    <a:pt x="14631" y="3620"/>
                  </a:lnTo>
                  <a:lnTo>
                    <a:pt x="14637" y="3624"/>
                  </a:lnTo>
                  <a:lnTo>
                    <a:pt x="14642" y="3630"/>
                  </a:lnTo>
                  <a:lnTo>
                    <a:pt x="14644" y="3639"/>
                  </a:lnTo>
                  <a:close/>
                  <a:moveTo>
                    <a:pt x="14381" y="3639"/>
                  </a:moveTo>
                  <a:lnTo>
                    <a:pt x="14381" y="3751"/>
                  </a:lnTo>
                  <a:lnTo>
                    <a:pt x="14379" y="3760"/>
                  </a:lnTo>
                  <a:lnTo>
                    <a:pt x="14374" y="3765"/>
                  </a:lnTo>
                  <a:lnTo>
                    <a:pt x="14368" y="3769"/>
                  </a:lnTo>
                  <a:lnTo>
                    <a:pt x="14362" y="3771"/>
                  </a:lnTo>
                  <a:lnTo>
                    <a:pt x="14354" y="3769"/>
                  </a:lnTo>
                  <a:lnTo>
                    <a:pt x="14347" y="3765"/>
                  </a:lnTo>
                  <a:lnTo>
                    <a:pt x="14342" y="3760"/>
                  </a:lnTo>
                  <a:lnTo>
                    <a:pt x="14341" y="3751"/>
                  </a:lnTo>
                  <a:lnTo>
                    <a:pt x="14341" y="3639"/>
                  </a:lnTo>
                  <a:lnTo>
                    <a:pt x="14342" y="3630"/>
                  </a:lnTo>
                  <a:lnTo>
                    <a:pt x="14347" y="3624"/>
                  </a:lnTo>
                  <a:lnTo>
                    <a:pt x="14354" y="3620"/>
                  </a:lnTo>
                  <a:lnTo>
                    <a:pt x="14362" y="3618"/>
                  </a:lnTo>
                  <a:lnTo>
                    <a:pt x="14368" y="3620"/>
                  </a:lnTo>
                  <a:lnTo>
                    <a:pt x="14374" y="3624"/>
                  </a:lnTo>
                  <a:lnTo>
                    <a:pt x="14379" y="3630"/>
                  </a:lnTo>
                  <a:lnTo>
                    <a:pt x="14381" y="3639"/>
                  </a:lnTo>
                  <a:close/>
                  <a:moveTo>
                    <a:pt x="14118" y="3639"/>
                  </a:moveTo>
                  <a:lnTo>
                    <a:pt x="14118" y="3751"/>
                  </a:lnTo>
                  <a:lnTo>
                    <a:pt x="14117" y="3760"/>
                  </a:lnTo>
                  <a:lnTo>
                    <a:pt x="14111" y="3765"/>
                  </a:lnTo>
                  <a:lnTo>
                    <a:pt x="14105" y="3769"/>
                  </a:lnTo>
                  <a:lnTo>
                    <a:pt x="14097" y="3771"/>
                  </a:lnTo>
                  <a:lnTo>
                    <a:pt x="14091" y="3769"/>
                  </a:lnTo>
                  <a:lnTo>
                    <a:pt x="14085" y="3765"/>
                  </a:lnTo>
                  <a:lnTo>
                    <a:pt x="14079" y="3760"/>
                  </a:lnTo>
                  <a:lnTo>
                    <a:pt x="14078" y="3751"/>
                  </a:lnTo>
                  <a:lnTo>
                    <a:pt x="14078" y="3639"/>
                  </a:lnTo>
                  <a:lnTo>
                    <a:pt x="14079" y="3630"/>
                  </a:lnTo>
                  <a:lnTo>
                    <a:pt x="14085" y="3624"/>
                  </a:lnTo>
                  <a:lnTo>
                    <a:pt x="14091" y="3620"/>
                  </a:lnTo>
                  <a:lnTo>
                    <a:pt x="14097" y="3618"/>
                  </a:lnTo>
                  <a:lnTo>
                    <a:pt x="14105" y="3620"/>
                  </a:lnTo>
                  <a:lnTo>
                    <a:pt x="14111" y="3624"/>
                  </a:lnTo>
                  <a:lnTo>
                    <a:pt x="14117" y="3630"/>
                  </a:lnTo>
                  <a:lnTo>
                    <a:pt x="14118" y="3639"/>
                  </a:lnTo>
                  <a:close/>
                  <a:moveTo>
                    <a:pt x="15434" y="3392"/>
                  </a:moveTo>
                  <a:lnTo>
                    <a:pt x="15434" y="3505"/>
                  </a:lnTo>
                  <a:lnTo>
                    <a:pt x="15432" y="3514"/>
                  </a:lnTo>
                  <a:lnTo>
                    <a:pt x="15427" y="3520"/>
                  </a:lnTo>
                  <a:lnTo>
                    <a:pt x="15421" y="3524"/>
                  </a:lnTo>
                  <a:lnTo>
                    <a:pt x="15413" y="3524"/>
                  </a:lnTo>
                  <a:lnTo>
                    <a:pt x="15407" y="3524"/>
                  </a:lnTo>
                  <a:lnTo>
                    <a:pt x="15400" y="3520"/>
                  </a:lnTo>
                  <a:lnTo>
                    <a:pt x="15395" y="3514"/>
                  </a:lnTo>
                  <a:lnTo>
                    <a:pt x="15394" y="3505"/>
                  </a:lnTo>
                  <a:lnTo>
                    <a:pt x="15394" y="3392"/>
                  </a:lnTo>
                  <a:lnTo>
                    <a:pt x="15395" y="3383"/>
                  </a:lnTo>
                  <a:lnTo>
                    <a:pt x="15400" y="3378"/>
                  </a:lnTo>
                  <a:lnTo>
                    <a:pt x="15407" y="3374"/>
                  </a:lnTo>
                  <a:lnTo>
                    <a:pt x="15413" y="3373"/>
                  </a:lnTo>
                  <a:lnTo>
                    <a:pt x="15421" y="3374"/>
                  </a:lnTo>
                  <a:lnTo>
                    <a:pt x="15427" y="3378"/>
                  </a:lnTo>
                  <a:lnTo>
                    <a:pt x="15432" y="3383"/>
                  </a:lnTo>
                  <a:lnTo>
                    <a:pt x="15434" y="3392"/>
                  </a:lnTo>
                  <a:close/>
                  <a:moveTo>
                    <a:pt x="15171" y="3392"/>
                  </a:moveTo>
                  <a:lnTo>
                    <a:pt x="15171" y="3505"/>
                  </a:lnTo>
                  <a:lnTo>
                    <a:pt x="15168" y="3514"/>
                  </a:lnTo>
                  <a:lnTo>
                    <a:pt x="15164" y="3520"/>
                  </a:lnTo>
                  <a:lnTo>
                    <a:pt x="15158" y="3524"/>
                  </a:lnTo>
                  <a:lnTo>
                    <a:pt x="15150" y="3524"/>
                  </a:lnTo>
                  <a:lnTo>
                    <a:pt x="15142" y="3524"/>
                  </a:lnTo>
                  <a:lnTo>
                    <a:pt x="15136" y="3520"/>
                  </a:lnTo>
                  <a:lnTo>
                    <a:pt x="15132" y="3514"/>
                  </a:lnTo>
                  <a:lnTo>
                    <a:pt x="15131" y="3505"/>
                  </a:lnTo>
                  <a:lnTo>
                    <a:pt x="15131" y="3392"/>
                  </a:lnTo>
                  <a:lnTo>
                    <a:pt x="15132" y="3383"/>
                  </a:lnTo>
                  <a:lnTo>
                    <a:pt x="15136" y="3378"/>
                  </a:lnTo>
                  <a:lnTo>
                    <a:pt x="15142" y="3374"/>
                  </a:lnTo>
                  <a:lnTo>
                    <a:pt x="15150" y="3373"/>
                  </a:lnTo>
                  <a:lnTo>
                    <a:pt x="15158" y="3374"/>
                  </a:lnTo>
                  <a:lnTo>
                    <a:pt x="15164" y="3378"/>
                  </a:lnTo>
                  <a:lnTo>
                    <a:pt x="15168" y="3383"/>
                  </a:lnTo>
                  <a:lnTo>
                    <a:pt x="15171" y="3392"/>
                  </a:lnTo>
                  <a:close/>
                  <a:moveTo>
                    <a:pt x="14908" y="3392"/>
                  </a:moveTo>
                  <a:lnTo>
                    <a:pt x="14908" y="3505"/>
                  </a:lnTo>
                  <a:lnTo>
                    <a:pt x="14905" y="3514"/>
                  </a:lnTo>
                  <a:lnTo>
                    <a:pt x="14901" y="3520"/>
                  </a:lnTo>
                  <a:lnTo>
                    <a:pt x="14895" y="3524"/>
                  </a:lnTo>
                  <a:lnTo>
                    <a:pt x="14887" y="3524"/>
                  </a:lnTo>
                  <a:lnTo>
                    <a:pt x="14880" y="3524"/>
                  </a:lnTo>
                  <a:lnTo>
                    <a:pt x="14873" y="3520"/>
                  </a:lnTo>
                  <a:lnTo>
                    <a:pt x="14869" y="3514"/>
                  </a:lnTo>
                  <a:lnTo>
                    <a:pt x="14867" y="3505"/>
                  </a:lnTo>
                  <a:lnTo>
                    <a:pt x="14867" y="3392"/>
                  </a:lnTo>
                  <a:lnTo>
                    <a:pt x="14869" y="3383"/>
                  </a:lnTo>
                  <a:lnTo>
                    <a:pt x="14873" y="3378"/>
                  </a:lnTo>
                  <a:lnTo>
                    <a:pt x="14880" y="3374"/>
                  </a:lnTo>
                  <a:lnTo>
                    <a:pt x="14887" y="3373"/>
                  </a:lnTo>
                  <a:lnTo>
                    <a:pt x="14895" y="3374"/>
                  </a:lnTo>
                  <a:lnTo>
                    <a:pt x="14901" y="3378"/>
                  </a:lnTo>
                  <a:lnTo>
                    <a:pt x="14905" y="3383"/>
                  </a:lnTo>
                  <a:lnTo>
                    <a:pt x="14908" y="3392"/>
                  </a:lnTo>
                  <a:close/>
                  <a:moveTo>
                    <a:pt x="14644" y="3392"/>
                  </a:moveTo>
                  <a:lnTo>
                    <a:pt x="14644" y="3505"/>
                  </a:lnTo>
                  <a:lnTo>
                    <a:pt x="14642" y="3514"/>
                  </a:lnTo>
                  <a:lnTo>
                    <a:pt x="14637" y="3520"/>
                  </a:lnTo>
                  <a:lnTo>
                    <a:pt x="14631" y="3524"/>
                  </a:lnTo>
                  <a:lnTo>
                    <a:pt x="14624" y="3524"/>
                  </a:lnTo>
                  <a:lnTo>
                    <a:pt x="14617" y="3524"/>
                  </a:lnTo>
                  <a:lnTo>
                    <a:pt x="14610" y="3520"/>
                  </a:lnTo>
                  <a:lnTo>
                    <a:pt x="14606" y="3514"/>
                  </a:lnTo>
                  <a:lnTo>
                    <a:pt x="14604" y="3505"/>
                  </a:lnTo>
                  <a:lnTo>
                    <a:pt x="14604" y="3392"/>
                  </a:lnTo>
                  <a:lnTo>
                    <a:pt x="14606" y="3383"/>
                  </a:lnTo>
                  <a:lnTo>
                    <a:pt x="14610" y="3378"/>
                  </a:lnTo>
                  <a:lnTo>
                    <a:pt x="14617" y="3374"/>
                  </a:lnTo>
                  <a:lnTo>
                    <a:pt x="14624" y="3373"/>
                  </a:lnTo>
                  <a:lnTo>
                    <a:pt x="14631" y="3374"/>
                  </a:lnTo>
                  <a:lnTo>
                    <a:pt x="14637" y="3378"/>
                  </a:lnTo>
                  <a:lnTo>
                    <a:pt x="14642" y="3383"/>
                  </a:lnTo>
                  <a:lnTo>
                    <a:pt x="14644" y="3392"/>
                  </a:lnTo>
                  <a:close/>
                  <a:moveTo>
                    <a:pt x="14381" y="3392"/>
                  </a:moveTo>
                  <a:lnTo>
                    <a:pt x="14381" y="3505"/>
                  </a:lnTo>
                  <a:lnTo>
                    <a:pt x="14379" y="3514"/>
                  </a:lnTo>
                  <a:lnTo>
                    <a:pt x="14374" y="3520"/>
                  </a:lnTo>
                  <a:lnTo>
                    <a:pt x="14368" y="3524"/>
                  </a:lnTo>
                  <a:lnTo>
                    <a:pt x="14362" y="3524"/>
                  </a:lnTo>
                  <a:lnTo>
                    <a:pt x="14354" y="3524"/>
                  </a:lnTo>
                  <a:lnTo>
                    <a:pt x="14347" y="3520"/>
                  </a:lnTo>
                  <a:lnTo>
                    <a:pt x="14342" y="3514"/>
                  </a:lnTo>
                  <a:lnTo>
                    <a:pt x="14341" y="3505"/>
                  </a:lnTo>
                  <a:lnTo>
                    <a:pt x="14341" y="3392"/>
                  </a:lnTo>
                  <a:lnTo>
                    <a:pt x="14342" y="3383"/>
                  </a:lnTo>
                  <a:lnTo>
                    <a:pt x="14347" y="3378"/>
                  </a:lnTo>
                  <a:lnTo>
                    <a:pt x="14354" y="3374"/>
                  </a:lnTo>
                  <a:lnTo>
                    <a:pt x="14362" y="3373"/>
                  </a:lnTo>
                  <a:lnTo>
                    <a:pt x="14368" y="3374"/>
                  </a:lnTo>
                  <a:lnTo>
                    <a:pt x="14374" y="3378"/>
                  </a:lnTo>
                  <a:lnTo>
                    <a:pt x="14379" y="3383"/>
                  </a:lnTo>
                  <a:lnTo>
                    <a:pt x="14381" y="3392"/>
                  </a:lnTo>
                  <a:close/>
                  <a:moveTo>
                    <a:pt x="14118" y="3392"/>
                  </a:moveTo>
                  <a:lnTo>
                    <a:pt x="14118" y="3505"/>
                  </a:lnTo>
                  <a:lnTo>
                    <a:pt x="14117" y="3514"/>
                  </a:lnTo>
                  <a:lnTo>
                    <a:pt x="14111" y="3520"/>
                  </a:lnTo>
                  <a:lnTo>
                    <a:pt x="14105" y="3524"/>
                  </a:lnTo>
                  <a:lnTo>
                    <a:pt x="14097" y="3524"/>
                  </a:lnTo>
                  <a:lnTo>
                    <a:pt x="14091" y="3524"/>
                  </a:lnTo>
                  <a:lnTo>
                    <a:pt x="14085" y="3520"/>
                  </a:lnTo>
                  <a:lnTo>
                    <a:pt x="14079" y="3514"/>
                  </a:lnTo>
                  <a:lnTo>
                    <a:pt x="14078" y="3505"/>
                  </a:lnTo>
                  <a:lnTo>
                    <a:pt x="14078" y="3392"/>
                  </a:lnTo>
                  <a:lnTo>
                    <a:pt x="14079" y="3383"/>
                  </a:lnTo>
                  <a:lnTo>
                    <a:pt x="14085" y="3378"/>
                  </a:lnTo>
                  <a:lnTo>
                    <a:pt x="14091" y="3374"/>
                  </a:lnTo>
                  <a:lnTo>
                    <a:pt x="14097" y="3373"/>
                  </a:lnTo>
                  <a:lnTo>
                    <a:pt x="14105" y="3374"/>
                  </a:lnTo>
                  <a:lnTo>
                    <a:pt x="14111" y="3378"/>
                  </a:lnTo>
                  <a:lnTo>
                    <a:pt x="14117" y="3383"/>
                  </a:lnTo>
                  <a:lnTo>
                    <a:pt x="14118" y="3392"/>
                  </a:lnTo>
                  <a:close/>
                  <a:moveTo>
                    <a:pt x="15434" y="3145"/>
                  </a:moveTo>
                  <a:lnTo>
                    <a:pt x="15434" y="3258"/>
                  </a:lnTo>
                  <a:lnTo>
                    <a:pt x="15432" y="3267"/>
                  </a:lnTo>
                  <a:lnTo>
                    <a:pt x="15427" y="3273"/>
                  </a:lnTo>
                  <a:lnTo>
                    <a:pt x="15421" y="3277"/>
                  </a:lnTo>
                  <a:lnTo>
                    <a:pt x="15413" y="3278"/>
                  </a:lnTo>
                  <a:lnTo>
                    <a:pt x="15407" y="3277"/>
                  </a:lnTo>
                  <a:lnTo>
                    <a:pt x="15400" y="3273"/>
                  </a:lnTo>
                  <a:lnTo>
                    <a:pt x="15395" y="3267"/>
                  </a:lnTo>
                  <a:lnTo>
                    <a:pt x="15394" y="3258"/>
                  </a:lnTo>
                  <a:lnTo>
                    <a:pt x="15394" y="3145"/>
                  </a:lnTo>
                  <a:lnTo>
                    <a:pt x="15395" y="3138"/>
                  </a:lnTo>
                  <a:lnTo>
                    <a:pt x="15400" y="3131"/>
                  </a:lnTo>
                  <a:lnTo>
                    <a:pt x="15407" y="3127"/>
                  </a:lnTo>
                  <a:lnTo>
                    <a:pt x="15413" y="3126"/>
                  </a:lnTo>
                  <a:lnTo>
                    <a:pt x="15421" y="3127"/>
                  </a:lnTo>
                  <a:lnTo>
                    <a:pt x="15427" y="3131"/>
                  </a:lnTo>
                  <a:lnTo>
                    <a:pt x="15432" y="3138"/>
                  </a:lnTo>
                  <a:lnTo>
                    <a:pt x="15434" y="3145"/>
                  </a:lnTo>
                  <a:close/>
                  <a:moveTo>
                    <a:pt x="15171" y="3145"/>
                  </a:moveTo>
                  <a:lnTo>
                    <a:pt x="15171" y="3258"/>
                  </a:lnTo>
                  <a:lnTo>
                    <a:pt x="15168" y="3267"/>
                  </a:lnTo>
                  <a:lnTo>
                    <a:pt x="15164" y="3273"/>
                  </a:lnTo>
                  <a:lnTo>
                    <a:pt x="15158" y="3277"/>
                  </a:lnTo>
                  <a:lnTo>
                    <a:pt x="15150" y="3278"/>
                  </a:lnTo>
                  <a:lnTo>
                    <a:pt x="15142" y="3277"/>
                  </a:lnTo>
                  <a:lnTo>
                    <a:pt x="15136" y="3273"/>
                  </a:lnTo>
                  <a:lnTo>
                    <a:pt x="15132" y="3267"/>
                  </a:lnTo>
                  <a:lnTo>
                    <a:pt x="15131" y="3258"/>
                  </a:lnTo>
                  <a:lnTo>
                    <a:pt x="15131" y="3145"/>
                  </a:lnTo>
                  <a:lnTo>
                    <a:pt x="15132" y="3138"/>
                  </a:lnTo>
                  <a:lnTo>
                    <a:pt x="15136" y="3131"/>
                  </a:lnTo>
                  <a:lnTo>
                    <a:pt x="15142" y="3127"/>
                  </a:lnTo>
                  <a:lnTo>
                    <a:pt x="15150" y="3126"/>
                  </a:lnTo>
                  <a:lnTo>
                    <a:pt x="15158" y="3127"/>
                  </a:lnTo>
                  <a:lnTo>
                    <a:pt x="15164" y="3131"/>
                  </a:lnTo>
                  <a:lnTo>
                    <a:pt x="15168" y="3138"/>
                  </a:lnTo>
                  <a:lnTo>
                    <a:pt x="15171" y="3145"/>
                  </a:lnTo>
                  <a:close/>
                  <a:moveTo>
                    <a:pt x="14908" y="3145"/>
                  </a:moveTo>
                  <a:lnTo>
                    <a:pt x="14908" y="3258"/>
                  </a:lnTo>
                  <a:lnTo>
                    <a:pt x="14905" y="3267"/>
                  </a:lnTo>
                  <a:lnTo>
                    <a:pt x="14901" y="3273"/>
                  </a:lnTo>
                  <a:lnTo>
                    <a:pt x="14895" y="3277"/>
                  </a:lnTo>
                  <a:lnTo>
                    <a:pt x="14887" y="3278"/>
                  </a:lnTo>
                  <a:lnTo>
                    <a:pt x="14880" y="3277"/>
                  </a:lnTo>
                  <a:lnTo>
                    <a:pt x="14873" y="3273"/>
                  </a:lnTo>
                  <a:lnTo>
                    <a:pt x="14869" y="3267"/>
                  </a:lnTo>
                  <a:lnTo>
                    <a:pt x="14867" y="3258"/>
                  </a:lnTo>
                  <a:lnTo>
                    <a:pt x="14867" y="3145"/>
                  </a:lnTo>
                  <a:lnTo>
                    <a:pt x="14869" y="3138"/>
                  </a:lnTo>
                  <a:lnTo>
                    <a:pt x="14873" y="3131"/>
                  </a:lnTo>
                  <a:lnTo>
                    <a:pt x="14880" y="3127"/>
                  </a:lnTo>
                  <a:lnTo>
                    <a:pt x="14887" y="3126"/>
                  </a:lnTo>
                  <a:lnTo>
                    <a:pt x="14895" y="3127"/>
                  </a:lnTo>
                  <a:lnTo>
                    <a:pt x="14901" y="3131"/>
                  </a:lnTo>
                  <a:lnTo>
                    <a:pt x="14905" y="3138"/>
                  </a:lnTo>
                  <a:lnTo>
                    <a:pt x="14908" y="3145"/>
                  </a:lnTo>
                  <a:close/>
                  <a:moveTo>
                    <a:pt x="14644" y="3145"/>
                  </a:moveTo>
                  <a:lnTo>
                    <a:pt x="14644" y="3258"/>
                  </a:lnTo>
                  <a:lnTo>
                    <a:pt x="14642" y="3267"/>
                  </a:lnTo>
                  <a:lnTo>
                    <a:pt x="14637" y="3273"/>
                  </a:lnTo>
                  <a:lnTo>
                    <a:pt x="14631" y="3277"/>
                  </a:lnTo>
                  <a:lnTo>
                    <a:pt x="14624" y="3278"/>
                  </a:lnTo>
                  <a:lnTo>
                    <a:pt x="14617" y="3277"/>
                  </a:lnTo>
                  <a:lnTo>
                    <a:pt x="14610" y="3273"/>
                  </a:lnTo>
                  <a:lnTo>
                    <a:pt x="14606" y="3267"/>
                  </a:lnTo>
                  <a:lnTo>
                    <a:pt x="14604" y="3258"/>
                  </a:lnTo>
                  <a:lnTo>
                    <a:pt x="14604" y="3145"/>
                  </a:lnTo>
                  <a:lnTo>
                    <a:pt x="14606" y="3138"/>
                  </a:lnTo>
                  <a:lnTo>
                    <a:pt x="14610" y="3131"/>
                  </a:lnTo>
                  <a:lnTo>
                    <a:pt x="14617" y="3127"/>
                  </a:lnTo>
                  <a:lnTo>
                    <a:pt x="14624" y="3126"/>
                  </a:lnTo>
                  <a:lnTo>
                    <a:pt x="14631" y="3127"/>
                  </a:lnTo>
                  <a:lnTo>
                    <a:pt x="14637" y="3131"/>
                  </a:lnTo>
                  <a:lnTo>
                    <a:pt x="14642" y="3138"/>
                  </a:lnTo>
                  <a:lnTo>
                    <a:pt x="14644" y="3145"/>
                  </a:lnTo>
                  <a:close/>
                  <a:moveTo>
                    <a:pt x="14381" y="3145"/>
                  </a:moveTo>
                  <a:lnTo>
                    <a:pt x="14381" y="3258"/>
                  </a:lnTo>
                  <a:lnTo>
                    <a:pt x="14379" y="3267"/>
                  </a:lnTo>
                  <a:lnTo>
                    <a:pt x="14374" y="3273"/>
                  </a:lnTo>
                  <a:lnTo>
                    <a:pt x="14368" y="3277"/>
                  </a:lnTo>
                  <a:lnTo>
                    <a:pt x="14362" y="3278"/>
                  </a:lnTo>
                  <a:lnTo>
                    <a:pt x="14354" y="3277"/>
                  </a:lnTo>
                  <a:lnTo>
                    <a:pt x="14347" y="3273"/>
                  </a:lnTo>
                  <a:lnTo>
                    <a:pt x="14342" y="3267"/>
                  </a:lnTo>
                  <a:lnTo>
                    <a:pt x="14341" y="3258"/>
                  </a:lnTo>
                  <a:lnTo>
                    <a:pt x="14341" y="3145"/>
                  </a:lnTo>
                  <a:lnTo>
                    <a:pt x="14342" y="3138"/>
                  </a:lnTo>
                  <a:lnTo>
                    <a:pt x="14347" y="3131"/>
                  </a:lnTo>
                  <a:lnTo>
                    <a:pt x="14354" y="3127"/>
                  </a:lnTo>
                  <a:lnTo>
                    <a:pt x="14362" y="3126"/>
                  </a:lnTo>
                  <a:lnTo>
                    <a:pt x="14368" y="3127"/>
                  </a:lnTo>
                  <a:lnTo>
                    <a:pt x="14374" y="3131"/>
                  </a:lnTo>
                  <a:lnTo>
                    <a:pt x="14379" y="3138"/>
                  </a:lnTo>
                  <a:lnTo>
                    <a:pt x="14381" y="3145"/>
                  </a:lnTo>
                  <a:close/>
                  <a:moveTo>
                    <a:pt x="14118" y="3145"/>
                  </a:moveTo>
                  <a:lnTo>
                    <a:pt x="14118" y="3258"/>
                  </a:lnTo>
                  <a:lnTo>
                    <a:pt x="14117" y="3267"/>
                  </a:lnTo>
                  <a:lnTo>
                    <a:pt x="14111" y="3273"/>
                  </a:lnTo>
                  <a:lnTo>
                    <a:pt x="14105" y="3277"/>
                  </a:lnTo>
                  <a:lnTo>
                    <a:pt x="14097" y="3278"/>
                  </a:lnTo>
                  <a:lnTo>
                    <a:pt x="14091" y="3277"/>
                  </a:lnTo>
                  <a:lnTo>
                    <a:pt x="14085" y="3273"/>
                  </a:lnTo>
                  <a:lnTo>
                    <a:pt x="14079" y="3267"/>
                  </a:lnTo>
                  <a:lnTo>
                    <a:pt x="14078" y="3258"/>
                  </a:lnTo>
                  <a:lnTo>
                    <a:pt x="14078" y="3145"/>
                  </a:lnTo>
                  <a:lnTo>
                    <a:pt x="14079" y="3138"/>
                  </a:lnTo>
                  <a:lnTo>
                    <a:pt x="14085" y="3131"/>
                  </a:lnTo>
                  <a:lnTo>
                    <a:pt x="14091" y="3127"/>
                  </a:lnTo>
                  <a:lnTo>
                    <a:pt x="14097" y="3126"/>
                  </a:lnTo>
                  <a:lnTo>
                    <a:pt x="14105" y="3127"/>
                  </a:lnTo>
                  <a:lnTo>
                    <a:pt x="14111" y="3131"/>
                  </a:lnTo>
                  <a:lnTo>
                    <a:pt x="14117" y="3138"/>
                  </a:lnTo>
                  <a:lnTo>
                    <a:pt x="14118" y="3145"/>
                  </a:lnTo>
                  <a:close/>
                  <a:moveTo>
                    <a:pt x="15434" y="2900"/>
                  </a:moveTo>
                  <a:lnTo>
                    <a:pt x="15434" y="3011"/>
                  </a:lnTo>
                  <a:lnTo>
                    <a:pt x="15432" y="3020"/>
                  </a:lnTo>
                  <a:lnTo>
                    <a:pt x="15427" y="3026"/>
                  </a:lnTo>
                  <a:lnTo>
                    <a:pt x="15421" y="3030"/>
                  </a:lnTo>
                  <a:lnTo>
                    <a:pt x="15413" y="3031"/>
                  </a:lnTo>
                  <a:lnTo>
                    <a:pt x="15407" y="3030"/>
                  </a:lnTo>
                  <a:lnTo>
                    <a:pt x="15400" y="3026"/>
                  </a:lnTo>
                  <a:lnTo>
                    <a:pt x="15395" y="3020"/>
                  </a:lnTo>
                  <a:lnTo>
                    <a:pt x="15394" y="3011"/>
                  </a:lnTo>
                  <a:lnTo>
                    <a:pt x="15394" y="2900"/>
                  </a:lnTo>
                  <a:lnTo>
                    <a:pt x="15395" y="2891"/>
                  </a:lnTo>
                  <a:lnTo>
                    <a:pt x="15400" y="2884"/>
                  </a:lnTo>
                  <a:lnTo>
                    <a:pt x="15407" y="2881"/>
                  </a:lnTo>
                  <a:lnTo>
                    <a:pt x="15413" y="2879"/>
                  </a:lnTo>
                  <a:lnTo>
                    <a:pt x="15421" y="2881"/>
                  </a:lnTo>
                  <a:lnTo>
                    <a:pt x="15427" y="2884"/>
                  </a:lnTo>
                  <a:lnTo>
                    <a:pt x="15432" y="2891"/>
                  </a:lnTo>
                  <a:lnTo>
                    <a:pt x="15434" y="2900"/>
                  </a:lnTo>
                  <a:close/>
                  <a:moveTo>
                    <a:pt x="15171" y="2900"/>
                  </a:moveTo>
                  <a:lnTo>
                    <a:pt x="15171" y="3011"/>
                  </a:lnTo>
                  <a:lnTo>
                    <a:pt x="15168" y="3020"/>
                  </a:lnTo>
                  <a:lnTo>
                    <a:pt x="15164" y="3026"/>
                  </a:lnTo>
                  <a:lnTo>
                    <a:pt x="15158" y="3030"/>
                  </a:lnTo>
                  <a:lnTo>
                    <a:pt x="15150" y="3031"/>
                  </a:lnTo>
                  <a:lnTo>
                    <a:pt x="15142" y="3030"/>
                  </a:lnTo>
                  <a:lnTo>
                    <a:pt x="15136" y="3026"/>
                  </a:lnTo>
                  <a:lnTo>
                    <a:pt x="15132" y="3020"/>
                  </a:lnTo>
                  <a:lnTo>
                    <a:pt x="15131" y="3011"/>
                  </a:lnTo>
                  <a:lnTo>
                    <a:pt x="15131" y="2900"/>
                  </a:lnTo>
                  <a:lnTo>
                    <a:pt x="15132" y="2891"/>
                  </a:lnTo>
                  <a:lnTo>
                    <a:pt x="15136" y="2884"/>
                  </a:lnTo>
                  <a:lnTo>
                    <a:pt x="15142" y="2881"/>
                  </a:lnTo>
                  <a:lnTo>
                    <a:pt x="15150" y="2879"/>
                  </a:lnTo>
                  <a:lnTo>
                    <a:pt x="15158" y="2881"/>
                  </a:lnTo>
                  <a:lnTo>
                    <a:pt x="15164" y="2884"/>
                  </a:lnTo>
                  <a:lnTo>
                    <a:pt x="15168" y="2891"/>
                  </a:lnTo>
                  <a:lnTo>
                    <a:pt x="15171" y="2900"/>
                  </a:lnTo>
                  <a:close/>
                  <a:moveTo>
                    <a:pt x="14908" y="2900"/>
                  </a:moveTo>
                  <a:lnTo>
                    <a:pt x="14908" y="3011"/>
                  </a:lnTo>
                  <a:lnTo>
                    <a:pt x="14905" y="3020"/>
                  </a:lnTo>
                  <a:lnTo>
                    <a:pt x="14901" y="3026"/>
                  </a:lnTo>
                  <a:lnTo>
                    <a:pt x="14895" y="3030"/>
                  </a:lnTo>
                  <a:lnTo>
                    <a:pt x="14887" y="3031"/>
                  </a:lnTo>
                  <a:lnTo>
                    <a:pt x="14880" y="3030"/>
                  </a:lnTo>
                  <a:lnTo>
                    <a:pt x="14873" y="3026"/>
                  </a:lnTo>
                  <a:lnTo>
                    <a:pt x="14869" y="3020"/>
                  </a:lnTo>
                  <a:lnTo>
                    <a:pt x="14867" y="3011"/>
                  </a:lnTo>
                  <a:lnTo>
                    <a:pt x="14867" y="2900"/>
                  </a:lnTo>
                  <a:lnTo>
                    <a:pt x="14869" y="2891"/>
                  </a:lnTo>
                  <a:lnTo>
                    <a:pt x="14873" y="2884"/>
                  </a:lnTo>
                  <a:lnTo>
                    <a:pt x="14880" y="2881"/>
                  </a:lnTo>
                  <a:lnTo>
                    <a:pt x="14887" y="2879"/>
                  </a:lnTo>
                  <a:lnTo>
                    <a:pt x="14895" y="2881"/>
                  </a:lnTo>
                  <a:lnTo>
                    <a:pt x="14901" y="2884"/>
                  </a:lnTo>
                  <a:lnTo>
                    <a:pt x="14905" y="2891"/>
                  </a:lnTo>
                  <a:lnTo>
                    <a:pt x="14908" y="2900"/>
                  </a:lnTo>
                  <a:close/>
                  <a:moveTo>
                    <a:pt x="14644" y="2900"/>
                  </a:moveTo>
                  <a:lnTo>
                    <a:pt x="14644" y="3011"/>
                  </a:lnTo>
                  <a:lnTo>
                    <a:pt x="14642" y="3020"/>
                  </a:lnTo>
                  <a:lnTo>
                    <a:pt x="14637" y="3026"/>
                  </a:lnTo>
                  <a:lnTo>
                    <a:pt x="14631" y="3030"/>
                  </a:lnTo>
                  <a:lnTo>
                    <a:pt x="14624" y="3031"/>
                  </a:lnTo>
                  <a:lnTo>
                    <a:pt x="14617" y="3030"/>
                  </a:lnTo>
                  <a:lnTo>
                    <a:pt x="14610" y="3026"/>
                  </a:lnTo>
                  <a:lnTo>
                    <a:pt x="14606" y="3020"/>
                  </a:lnTo>
                  <a:lnTo>
                    <a:pt x="14604" y="3011"/>
                  </a:lnTo>
                  <a:lnTo>
                    <a:pt x="14604" y="2900"/>
                  </a:lnTo>
                  <a:lnTo>
                    <a:pt x="14606" y="2891"/>
                  </a:lnTo>
                  <a:lnTo>
                    <a:pt x="14610" y="2884"/>
                  </a:lnTo>
                  <a:lnTo>
                    <a:pt x="14617" y="2881"/>
                  </a:lnTo>
                  <a:lnTo>
                    <a:pt x="14624" y="2879"/>
                  </a:lnTo>
                  <a:lnTo>
                    <a:pt x="14631" y="2881"/>
                  </a:lnTo>
                  <a:lnTo>
                    <a:pt x="14637" y="2884"/>
                  </a:lnTo>
                  <a:lnTo>
                    <a:pt x="14642" y="2891"/>
                  </a:lnTo>
                  <a:lnTo>
                    <a:pt x="14644" y="2900"/>
                  </a:lnTo>
                  <a:close/>
                  <a:moveTo>
                    <a:pt x="14381" y="2900"/>
                  </a:moveTo>
                  <a:lnTo>
                    <a:pt x="14381" y="3011"/>
                  </a:lnTo>
                  <a:lnTo>
                    <a:pt x="14379" y="3020"/>
                  </a:lnTo>
                  <a:lnTo>
                    <a:pt x="14374" y="3026"/>
                  </a:lnTo>
                  <a:lnTo>
                    <a:pt x="14368" y="3030"/>
                  </a:lnTo>
                  <a:lnTo>
                    <a:pt x="14362" y="3031"/>
                  </a:lnTo>
                  <a:lnTo>
                    <a:pt x="14354" y="3030"/>
                  </a:lnTo>
                  <a:lnTo>
                    <a:pt x="14347" y="3026"/>
                  </a:lnTo>
                  <a:lnTo>
                    <a:pt x="14342" y="3020"/>
                  </a:lnTo>
                  <a:lnTo>
                    <a:pt x="14341" y="3011"/>
                  </a:lnTo>
                  <a:lnTo>
                    <a:pt x="14341" y="2900"/>
                  </a:lnTo>
                  <a:lnTo>
                    <a:pt x="14342" y="2891"/>
                  </a:lnTo>
                  <a:lnTo>
                    <a:pt x="14347" y="2884"/>
                  </a:lnTo>
                  <a:lnTo>
                    <a:pt x="14354" y="2881"/>
                  </a:lnTo>
                  <a:lnTo>
                    <a:pt x="14362" y="2879"/>
                  </a:lnTo>
                  <a:lnTo>
                    <a:pt x="14368" y="2881"/>
                  </a:lnTo>
                  <a:lnTo>
                    <a:pt x="14374" y="2884"/>
                  </a:lnTo>
                  <a:lnTo>
                    <a:pt x="14379" y="2891"/>
                  </a:lnTo>
                  <a:lnTo>
                    <a:pt x="14381" y="2900"/>
                  </a:lnTo>
                  <a:close/>
                  <a:moveTo>
                    <a:pt x="14118" y="2900"/>
                  </a:moveTo>
                  <a:lnTo>
                    <a:pt x="14118" y="3011"/>
                  </a:lnTo>
                  <a:lnTo>
                    <a:pt x="14117" y="3020"/>
                  </a:lnTo>
                  <a:lnTo>
                    <a:pt x="14111" y="3026"/>
                  </a:lnTo>
                  <a:lnTo>
                    <a:pt x="14105" y="3030"/>
                  </a:lnTo>
                  <a:lnTo>
                    <a:pt x="14097" y="3031"/>
                  </a:lnTo>
                  <a:lnTo>
                    <a:pt x="14091" y="3030"/>
                  </a:lnTo>
                  <a:lnTo>
                    <a:pt x="14085" y="3026"/>
                  </a:lnTo>
                  <a:lnTo>
                    <a:pt x="14079" y="3020"/>
                  </a:lnTo>
                  <a:lnTo>
                    <a:pt x="14078" y="3011"/>
                  </a:lnTo>
                  <a:lnTo>
                    <a:pt x="14078" y="2900"/>
                  </a:lnTo>
                  <a:lnTo>
                    <a:pt x="14079" y="2891"/>
                  </a:lnTo>
                  <a:lnTo>
                    <a:pt x="14085" y="2884"/>
                  </a:lnTo>
                  <a:lnTo>
                    <a:pt x="14091" y="2881"/>
                  </a:lnTo>
                  <a:lnTo>
                    <a:pt x="14097" y="2879"/>
                  </a:lnTo>
                  <a:lnTo>
                    <a:pt x="14105" y="2881"/>
                  </a:lnTo>
                  <a:lnTo>
                    <a:pt x="14111" y="2884"/>
                  </a:lnTo>
                  <a:lnTo>
                    <a:pt x="14117" y="2891"/>
                  </a:lnTo>
                  <a:lnTo>
                    <a:pt x="14118" y="2900"/>
                  </a:lnTo>
                  <a:close/>
                  <a:moveTo>
                    <a:pt x="15434" y="3639"/>
                  </a:moveTo>
                  <a:lnTo>
                    <a:pt x="15434" y="3751"/>
                  </a:lnTo>
                  <a:lnTo>
                    <a:pt x="15432" y="3760"/>
                  </a:lnTo>
                  <a:lnTo>
                    <a:pt x="15427" y="3765"/>
                  </a:lnTo>
                  <a:lnTo>
                    <a:pt x="15421" y="3769"/>
                  </a:lnTo>
                  <a:lnTo>
                    <a:pt x="15413" y="3771"/>
                  </a:lnTo>
                  <a:lnTo>
                    <a:pt x="15407" y="3769"/>
                  </a:lnTo>
                  <a:lnTo>
                    <a:pt x="15400" y="3765"/>
                  </a:lnTo>
                  <a:lnTo>
                    <a:pt x="15395" y="3760"/>
                  </a:lnTo>
                  <a:lnTo>
                    <a:pt x="15394" y="3751"/>
                  </a:lnTo>
                  <a:lnTo>
                    <a:pt x="15394" y="3639"/>
                  </a:lnTo>
                  <a:lnTo>
                    <a:pt x="15395" y="3630"/>
                  </a:lnTo>
                  <a:lnTo>
                    <a:pt x="15400" y="3624"/>
                  </a:lnTo>
                  <a:lnTo>
                    <a:pt x="15407" y="3620"/>
                  </a:lnTo>
                  <a:lnTo>
                    <a:pt x="15413" y="3618"/>
                  </a:lnTo>
                  <a:lnTo>
                    <a:pt x="15421" y="3620"/>
                  </a:lnTo>
                  <a:lnTo>
                    <a:pt x="15427" y="3624"/>
                  </a:lnTo>
                  <a:lnTo>
                    <a:pt x="15432" y="3630"/>
                  </a:lnTo>
                  <a:lnTo>
                    <a:pt x="15434" y="3639"/>
                  </a:lnTo>
                  <a:close/>
                  <a:moveTo>
                    <a:pt x="18172" y="964"/>
                  </a:moveTo>
                  <a:lnTo>
                    <a:pt x="17643" y="964"/>
                  </a:lnTo>
                  <a:lnTo>
                    <a:pt x="17643" y="1019"/>
                  </a:lnTo>
                  <a:lnTo>
                    <a:pt x="18172" y="1019"/>
                  </a:lnTo>
                  <a:lnTo>
                    <a:pt x="18172" y="964"/>
                  </a:lnTo>
                  <a:close/>
                  <a:moveTo>
                    <a:pt x="17665" y="1323"/>
                  </a:moveTo>
                  <a:lnTo>
                    <a:pt x="18163" y="2010"/>
                  </a:lnTo>
                  <a:lnTo>
                    <a:pt x="18134" y="1058"/>
                  </a:lnTo>
                  <a:lnTo>
                    <a:pt x="17680" y="1058"/>
                  </a:lnTo>
                  <a:lnTo>
                    <a:pt x="17665" y="1322"/>
                  </a:lnTo>
                  <a:lnTo>
                    <a:pt x="17665" y="1323"/>
                  </a:lnTo>
                  <a:close/>
                  <a:moveTo>
                    <a:pt x="17638" y="1754"/>
                  </a:moveTo>
                  <a:lnTo>
                    <a:pt x="18179" y="2500"/>
                  </a:lnTo>
                  <a:lnTo>
                    <a:pt x="18166" y="2079"/>
                  </a:lnTo>
                  <a:lnTo>
                    <a:pt x="18161" y="2074"/>
                  </a:lnTo>
                  <a:lnTo>
                    <a:pt x="17661" y="1385"/>
                  </a:lnTo>
                  <a:lnTo>
                    <a:pt x="17638" y="1754"/>
                  </a:lnTo>
                  <a:close/>
                  <a:moveTo>
                    <a:pt x="17611" y="2186"/>
                  </a:moveTo>
                  <a:lnTo>
                    <a:pt x="18194" y="2989"/>
                  </a:lnTo>
                  <a:lnTo>
                    <a:pt x="18181" y="2571"/>
                  </a:lnTo>
                  <a:lnTo>
                    <a:pt x="17634" y="1817"/>
                  </a:lnTo>
                  <a:lnTo>
                    <a:pt x="17611" y="2186"/>
                  </a:lnTo>
                  <a:close/>
                  <a:moveTo>
                    <a:pt x="22919" y="2556"/>
                  </a:moveTo>
                  <a:lnTo>
                    <a:pt x="22895" y="2525"/>
                  </a:lnTo>
                  <a:lnTo>
                    <a:pt x="22869" y="2494"/>
                  </a:lnTo>
                  <a:lnTo>
                    <a:pt x="22841" y="2464"/>
                  </a:lnTo>
                  <a:lnTo>
                    <a:pt x="22812" y="2434"/>
                  </a:lnTo>
                  <a:lnTo>
                    <a:pt x="22748" y="2377"/>
                  </a:lnTo>
                  <a:lnTo>
                    <a:pt x="22714" y="2350"/>
                  </a:lnTo>
                  <a:lnTo>
                    <a:pt x="22678" y="2323"/>
                  </a:lnTo>
                  <a:lnTo>
                    <a:pt x="22603" y="2272"/>
                  </a:lnTo>
                  <a:lnTo>
                    <a:pt x="22522" y="2225"/>
                  </a:lnTo>
                  <a:lnTo>
                    <a:pt x="22436" y="2181"/>
                  </a:lnTo>
                  <a:lnTo>
                    <a:pt x="22346" y="2142"/>
                  </a:lnTo>
                  <a:lnTo>
                    <a:pt x="22250" y="2104"/>
                  </a:lnTo>
                  <a:lnTo>
                    <a:pt x="22151" y="2072"/>
                  </a:lnTo>
                  <a:lnTo>
                    <a:pt x="22048" y="2046"/>
                  </a:lnTo>
                  <a:lnTo>
                    <a:pt x="21995" y="2033"/>
                  </a:lnTo>
                  <a:lnTo>
                    <a:pt x="21941" y="2023"/>
                  </a:lnTo>
                  <a:lnTo>
                    <a:pt x="21831" y="2003"/>
                  </a:lnTo>
                  <a:lnTo>
                    <a:pt x="21774" y="1997"/>
                  </a:lnTo>
                  <a:lnTo>
                    <a:pt x="21718" y="1991"/>
                  </a:lnTo>
                  <a:lnTo>
                    <a:pt x="21601" y="1983"/>
                  </a:lnTo>
                  <a:lnTo>
                    <a:pt x="21483" y="1980"/>
                  </a:lnTo>
                  <a:lnTo>
                    <a:pt x="21365" y="1983"/>
                  </a:lnTo>
                  <a:lnTo>
                    <a:pt x="21249" y="1991"/>
                  </a:lnTo>
                  <a:lnTo>
                    <a:pt x="21136" y="2003"/>
                  </a:lnTo>
                  <a:lnTo>
                    <a:pt x="21026" y="2023"/>
                  </a:lnTo>
                  <a:lnTo>
                    <a:pt x="20972" y="2033"/>
                  </a:lnTo>
                  <a:lnTo>
                    <a:pt x="20919" y="2046"/>
                  </a:lnTo>
                  <a:lnTo>
                    <a:pt x="20815" y="2072"/>
                  </a:lnTo>
                  <a:lnTo>
                    <a:pt x="20717" y="2104"/>
                  </a:lnTo>
                  <a:lnTo>
                    <a:pt x="20622" y="2142"/>
                  </a:lnTo>
                  <a:lnTo>
                    <a:pt x="20531" y="2181"/>
                  </a:lnTo>
                  <a:lnTo>
                    <a:pt x="20445" y="2225"/>
                  </a:lnTo>
                  <a:lnTo>
                    <a:pt x="20364" y="2272"/>
                  </a:lnTo>
                  <a:lnTo>
                    <a:pt x="20288" y="2323"/>
                  </a:lnTo>
                  <a:lnTo>
                    <a:pt x="20219" y="2377"/>
                  </a:lnTo>
                  <a:lnTo>
                    <a:pt x="20187" y="2405"/>
                  </a:lnTo>
                  <a:lnTo>
                    <a:pt x="20155" y="2434"/>
                  </a:lnTo>
                  <a:lnTo>
                    <a:pt x="20125" y="2464"/>
                  </a:lnTo>
                  <a:lnTo>
                    <a:pt x="20098" y="2494"/>
                  </a:lnTo>
                  <a:lnTo>
                    <a:pt x="20047" y="2556"/>
                  </a:lnTo>
                  <a:lnTo>
                    <a:pt x="20765" y="2556"/>
                  </a:lnTo>
                  <a:lnTo>
                    <a:pt x="21483" y="2556"/>
                  </a:lnTo>
                  <a:lnTo>
                    <a:pt x="22201" y="2556"/>
                  </a:lnTo>
                  <a:lnTo>
                    <a:pt x="22919" y="2556"/>
                  </a:lnTo>
                  <a:close/>
                  <a:moveTo>
                    <a:pt x="21733" y="1952"/>
                  </a:moveTo>
                  <a:lnTo>
                    <a:pt x="21733" y="1794"/>
                  </a:lnTo>
                  <a:lnTo>
                    <a:pt x="21235" y="1794"/>
                  </a:lnTo>
                  <a:lnTo>
                    <a:pt x="21235" y="1952"/>
                  </a:lnTo>
                  <a:lnTo>
                    <a:pt x="21295" y="1947"/>
                  </a:lnTo>
                  <a:lnTo>
                    <a:pt x="21358" y="1943"/>
                  </a:lnTo>
                  <a:lnTo>
                    <a:pt x="21420" y="1941"/>
                  </a:lnTo>
                  <a:lnTo>
                    <a:pt x="21483" y="1939"/>
                  </a:lnTo>
                  <a:lnTo>
                    <a:pt x="21609" y="1943"/>
                  </a:lnTo>
                  <a:lnTo>
                    <a:pt x="21733" y="1952"/>
                  </a:lnTo>
                  <a:close/>
                  <a:moveTo>
                    <a:pt x="20024" y="2977"/>
                  </a:moveTo>
                  <a:lnTo>
                    <a:pt x="20754" y="2977"/>
                  </a:lnTo>
                  <a:lnTo>
                    <a:pt x="21483" y="2977"/>
                  </a:lnTo>
                  <a:lnTo>
                    <a:pt x="22213" y="2977"/>
                  </a:lnTo>
                  <a:lnTo>
                    <a:pt x="22943" y="2977"/>
                  </a:lnTo>
                  <a:lnTo>
                    <a:pt x="22943" y="2750"/>
                  </a:lnTo>
                  <a:lnTo>
                    <a:pt x="22213" y="2750"/>
                  </a:lnTo>
                  <a:lnTo>
                    <a:pt x="21483" y="2750"/>
                  </a:lnTo>
                  <a:lnTo>
                    <a:pt x="20754" y="2750"/>
                  </a:lnTo>
                  <a:lnTo>
                    <a:pt x="20024" y="2750"/>
                  </a:lnTo>
                  <a:lnTo>
                    <a:pt x="20024" y="2977"/>
                  </a:lnTo>
                  <a:close/>
                  <a:moveTo>
                    <a:pt x="20768" y="4017"/>
                  </a:moveTo>
                  <a:lnTo>
                    <a:pt x="20768" y="4324"/>
                  </a:lnTo>
                  <a:lnTo>
                    <a:pt x="20974" y="4324"/>
                  </a:lnTo>
                  <a:lnTo>
                    <a:pt x="20974" y="3670"/>
                  </a:lnTo>
                  <a:lnTo>
                    <a:pt x="20974" y="3016"/>
                  </a:lnTo>
                  <a:lnTo>
                    <a:pt x="20523" y="3016"/>
                  </a:lnTo>
                  <a:lnTo>
                    <a:pt x="20523" y="3670"/>
                  </a:lnTo>
                  <a:lnTo>
                    <a:pt x="20523" y="4324"/>
                  </a:lnTo>
                  <a:lnTo>
                    <a:pt x="20728" y="4324"/>
                  </a:lnTo>
                  <a:lnTo>
                    <a:pt x="20728" y="4017"/>
                  </a:lnTo>
                  <a:lnTo>
                    <a:pt x="20731" y="4008"/>
                  </a:lnTo>
                  <a:lnTo>
                    <a:pt x="20734" y="4002"/>
                  </a:lnTo>
                  <a:lnTo>
                    <a:pt x="20741" y="3998"/>
                  </a:lnTo>
                  <a:lnTo>
                    <a:pt x="20749" y="3997"/>
                  </a:lnTo>
                  <a:lnTo>
                    <a:pt x="20756" y="3998"/>
                  </a:lnTo>
                  <a:lnTo>
                    <a:pt x="20763" y="4002"/>
                  </a:lnTo>
                  <a:lnTo>
                    <a:pt x="20767" y="4008"/>
                  </a:lnTo>
                  <a:lnTo>
                    <a:pt x="20768" y="4017"/>
                  </a:lnTo>
                  <a:close/>
                  <a:moveTo>
                    <a:pt x="21260" y="4017"/>
                  </a:moveTo>
                  <a:lnTo>
                    <a:pt x="21260" y="4324"/>
                  </a:lnTo>
                  <a:lnTo>
                    <a:pt x="21467" y="4324"/>
                  </a:lnTo>
                  <a:lnTo>
                    <a:pt x="21467" y="3670"/>
                  </a:lnTo>
                  <a:lnTo>
                    <a:pt x="21467" y="3016"/>
                  </a:lnTo>
                  <a:lnTo>
                    <a:pt x="21014" y="3016"/>
                  </a:lnTo>
                  <a:lnTo>
                    <a:pt x="21014" y="3670"/>
                  </a:lnTo>
                  <a:lnTo>
                    <a:pt x="21014" y="4324"/>
                  </a:lnTo>
                  <a:lnTo>
                    <a:pt x="21220" y="4324"/>
                  </a:lnTo>
                  <a:lnTo>
                    <a:pt x="21220" y="4017"/>
                  </a:lnTo>
                  <a:lnTo>
                    <a:pt x="21222" y="4008"/>
                  </a:lnTo>
                  <a:lnTo>
                    <a:pt x="21227" y="4002"/>
                  </a:lnTo>
                  <a:lnTo>
                    <a:pt x="21233" y="3998"/>
                  </a:lnTo>
                  <a:lnTo>
                    <a:pt x="21241" y="3997"/>
                  </a:lnTo>
                  <a:lnTo>
                    <a:pt x="21247" y="3998"/>
                  </a:lnTo>
                  <a:lnTo>
                    <a:pt x="21254" y="4002"/>
                  </a:lnTo>
                  <a:lnTo>
                    <a:pt x="21259" y="4008"/>
                  </a:lnTo>
                  <a:lnTo>
                    <a:pt x="21260" y="4017"/>
                  </a:lnTo>
                  <a:close/>
                  <a:moveTo>
                    <a:pt x="21753" y="4017"/>
                  </a:moveTo>
                  <a:lnTo>
                    <a:pt x="21753" y="4324"/>
                  </a:lnTo>
                  <a:lnTo>
                    <a:pt x="21959" y="4324"/>
                  </a:lnTo>
                  <a:lnTo>
                    <a:pt x="21959" y="3670"/>
                  </a:lnTo>
                  <a:lnTo>
                    <a:pt x="21959" y="3016"/>
                  </a:lnTo>
                  <a:lnTo>
                    <a:pt x="21506" y="3016"/>
                  </a:lnTo>
                  <a:lnTo>
                    <a:pt x="21506" y="3670"/>
                  </a:lnTo>
                  <a:lnTo>
                    <a:pt x="21506" y="4324"/>
                  </a:lnTo>
                  <a:lnTo>
                    <a:pt x="21713" y="4324"/>
                  </a:lnTo>
                  <a:lnTo>
                    <a:pt x="21713" y="4017"/>
                  </a:lnTo>
                  <a:lnTo>
                    <a:pt x="21714" y="4008"/>
                  </a:lnTo>
                  <a:lnTo>
                    <a:pt x="21719" y="4002"/>
                  </a:lnTo>
                  <a:lnTo>
                    <a:pt x="21726" y="3998"/>
                  </a:lnTo>
                  <a:lnTo>
                    <a:pt x="21732" y="3997"/>
                  </a:lnTo>
                  <a:lnTo>
                    <a:pt x="21740" y="3998"/>
                  </a:lnTo>
                  <a:lnTo>
                    <a:pt x="21746" y="4002"/>
                  </a:lnTo>
                  <a:lnTo>
                    <a:pt x="21751" y="4008"/>
                  </a:lnTo>
                  <a:lnTo>
                    <a:pt x="21753" y="4017"/>
                  </a:lnTo>
                  <a:close/>
                  <a:moveTo>
                    <a:pt x="22245" y="4017"/>
                  </a:moveTo>
                  <a:lnTo>
                    <a:pt x="22245" y="4324"/>
                  </a:lnTo>
                  <a:lnTo>
                    <a:pt x="22450" y="4324"/>
                  </a:lnTo>
                  <a:lnTo>
                    <a:pt x="22450" y="3670"/>
                  </a:lnTo>
                  <a:lnTo>
                    <a:pt x="22450" y="3016"/>
                  </a:lnTo>
                  <a:lnTo>
                    <a:pt x="21999" y="3016"/>
                  </a:lnTo>
                  <a:lnTo>
                    <a:pt x="21999" y="3670"/>
                  </a:lnTo>
                  <a:lnTo>
                    <a:pt x="21999" y="4324"/>
                  </a:lnTo>
                  <a:lnTo>
                    <a:pt x="22205" y="4324"/>
                  </a:lnTo>
                  <a:lnTo>
                    <a:pt x="22205" y="4017"/>
                  </a:lnTo>
                  <a:lnTo>
                    <a:pt x="22207" y="4008"/>
                  </a:lnTo>
                  <a:lnTo>
                    <a:pt x="22210" y="4002"/>
                  </a:lnTo>
                  <a:lnTo>
                    <a:pt x="22217" y="3998"/>
                  </a:lnTo>
                  <a:lnTo>
                    <a:pt x="22224" y="3997"/>
                  </a:lnTo>
                  <a:lnTo>
                    <a:pt x="22232" y="3998"/>
                  </a:lnTo>
                  <a:lnTo>
                    <a:pt x="22239" y="4002"/>
                  </a:lnTo>
                  <a:lnTo>
                    <a:pt x="22242" y="4008"/>
                  </a:lnTo>
                  <a:lnTo>
                    <a:pt x="22245" y="4017"/>
                  </a:lnTo>
                  <a:close/>
                  <a:moveTo>
                    <a:pt x="22737" y="4017"/>
                  </a:moveTo>
                  <a:lnTo>
                    <a:pt x="22737" y="4324"/>
                  </a:lnTo>
                  <a:lnTo>
                    <a:pt x="22943" y="4324"/>
                  </a:lnTo>
                  <a:lnTo>
                    <a:pt x="22943" y="3670"/>
                  </a:lnTo>
                  <a:lnTo>
                    <a:pt x="22943" y="3016"/>
                  </a:lnTo>
                  <a:lnTo>
                    <a:pt x="22491" y="3016"/>
                  </a:lnTo>
                  <a:lnTo>
                    <a:pt x="22491" y="3670"/>
                  </a:lnTo>
                  <a:lnTo>
                    <a:pt x="22491" y="4324"/>
                  </a:lnTo>
                  <a:lnTo>
                    <a:pt x="22696" y="4324"/>
                  </a:lnTo>
                  <a:lnTo>
                    <a:pt x="22696" y="4017"/>
                  </a:lnTo>
                  <a:lnTo>
                    <a:pt x="22699" y="4008"/>
                  </a:lnTo>
                  <a:lnTo>
                    <a:pt x="22703" y="4002"/>
                  </a:lnTo>
                  <a:lnTo>
                    <a:pt x="22709" y="3998"/>
                  </a:lnTo>
                  <a:lnTo>
                    <a:pt x="22717" y="3997"/>
                  </a:lnTo>
                  <a:lnTo>
                    <a:pt x="22725" y="3998"/>
                  </a:lnTo>
                  <a:lnTo>
                    <a:pt x="22731" y="4002"/>
                  </a:lnTo>
                  <a:lnTo>
                    <a:pt x="22735" y="4008"/>
                  </a:lnTo>
                  <a:lnTo>
                    <a:pt x="22737" y="4017"/>
                  </a:lnTo>
                  <a:close/>
                  <a:moveTo>
                    <a:pt x="21727" y="1754"/>
                  </a:moveTo>
                  <a:lnTo>
                    <a:pt x="21714" y="1740"/>
                  </a:lnTo>
                  <a:lnTo>
                    <a:pt x="21696" y="1727"/>
                  </a:lnTo>
                  <a:lnTo>
                    <a:pt x="21673" y="1714"/>
                  </a:lnTo>
                  <a:lnTo>
                    <a:pt x="21645" y="1703"/>
                  </a:lnTo>
                  <a:lnTo>
                    <a:pt x="21612" y="1693"/>
                  </a:lnTo>
                  <a:lnTo>
                    <a:pt x="21573" y="1686"/>
                  </a:lnTo>
                  <a:lnTo>
                    <a:pt x="21531" y="1681"/>
                  </a:lnTo>
                  <a:lnTo>
                    <a:pt x="21483" y="1679"/>
                  </a:lnTo>
                  <a:lnTo>
                    <a:pt x="21437" y="1681"/>
                  </a:lnTo>
                  <a:lnTo>
                    <a:pt x="21394" y="1686"/>
                  </a:lnTo>
                  <a:lnTo>
                    <a:pt x="21356" y="1693"/>
                  </a:lnTo>
                  <a:lnTo>
                    <a:pt x="21322" y="1703"/>
                  </a:lnTo>
                  <a:lnTo>
                    <a:pt x="21294" y="1714"/>
                  </a:lnTo>
                  <a:lnTo>
                    <a:pt x="21270" y="1727"/>
                  </a:lnTo>
                  <a:lnTo>
                    <a:pt x="21253" y="1740"/>
                  </a:lnTo>
                  <a:lnTo>
                    <a:pt x="21241" y="1754"/>
                  </a:lnTo>
                  <a:lnTo>
                    <a:pt x="21727" y="1754"/>
                  </a:lnTo>
                  <a:close/>
                  <a:moveTo>
                    <a:pt x="19597" y="4131"/>
                  </a:moveTo>
                  <a:lnTo>
                    <a:pt x="19564" y="4135"/>
                  </a:lnTo>
                  <a:lnTo>
                    <a:pt x="19532" y="4145"/>
                  </a:lnTo>
                  <a:lnTo>
                    <a:pt x="19500" y="4154"/>
                  </a:lnTo>
                  <a:lnTo>
                    <a:pt x="19465" y="4159"/>
                  </a:lnTo>
                  <a:lnTo>
                    <a:pt x="19436" y="4154"/>
                  </a:lnTo>
                  <a:lnTo>
                    <a:pt x="19423" y="4149"/>
                  </a:lnTo>
                  <a:lnTo>
                    <a:pt x="19410" y="4143"/>
                  </a:lnTo>
                  <a:lnTo>
                    <a:pt x="19388" y="4125"/>
                  </a:lnTo>
                  <a:lnTo>
                    <a:pt x="19369" y="4100"/>
                  </a:lnTo>
                  <a:lnTo>
                    <a:pt x="19351" y="4072"/>
                  </a:lnTo>
                  <a:lnTo>
                    <a:pt x="19334" y="4040"/>
                  </a:lnTo>
                  <a:lnTo>
                    <a:pt x="19300" y="3973"/>
                  </a:lnTo>
                  <a:lnTo>
                    <a:pt x="19282" y="3937"/>
                  </a:lnTo>
                  <a:lnTo>
                    <a:pt x="19260" y="3904"/>
                  </a:lnTo>
                  <a:lnTo>
                    <a:pt x="19235" y="3872"/>
                  </a:lnTo>
                  <a:lnTo>
                    <a:pt x="19209" y="3843"/>
                  </a:lnTo>
                  <a:lnTo>
                    <a:pt x="19175" y="3820"/>
                  </a:lnTo>
                  <a:lnTo>
                    <a:pt x="19157" y="3810"/>
                  </a:lnTo>
                  <a:lnTo>
                    <a:pt x="19138" y="3801"/>
                  </a:lnTo>
                  <a:lnTo>
                    <a:pt x="19116" y="3795"/>
                  </a:lnTo>
                  <a:lnTo>
                    <a:pt x="19093" y="3790"/>
                  </a:lnTo>
                  <a:lnTo>
                    <a:pt x="19069" y="3787"/>
                  </a:lnTo>
                  <a:lnTo>
                    <a:pt x="19042" y="3786"/>
                  </a:lnTo>
                  <a:lnTo>
                    <a:pt x="19014" y="3790"/>
                  </a:lnTo>
                  <a:lnTo>
                    <a:pt x="19002" y="3795"/>
                  </a:lnTo>
                  <a:lnTo>
                    <a:pt x="18993" y="3801"/>
                  </a:lnTo>
                  <a:lnTo>
                    <a:pt x="18974" y="3817"/>
                  </a:lnTo>
                  <a:lnTo>
                    <a:pt x="18952" y="3836"/>
                  </a:lnTo>
                  <a:lnTo>
                    <a:pt x="18925" y="3854"/>
                  </a:lnTo>
                  <a:lnTo>
                    <a:pt x="18908" y="3863"/>
                  </a:lnTo>
                  <a:lnTo>
                    <a:pt x="18889" y="3869"/>
                  </a:lnTo>
                  <a:lnTo>
                    <a:pt x="18865" y="3875"/>
                  </a:lnTo>
                  <a:lnTo>
                    <a:pt x="18838" y="3881"/>
                  </a:lnTo>
                  <a:lnTo>
                    <a:pt x="18806" y="3884"/>
                  </a:lnTo>
                  <a:lnTo>
                    <a:pt x="18769" y="3886"/>
                  </a:lnTo>
                  <a:lnTo>
                    <a:pt x="18742" y="3883"/>
                  </a:lnTo>
                  <a:lnTo>
                    <a:pt x="18720" y="3879"/>
                  </a:lnTo>
                  <a:lnTo>
                    <a:pt x="18688" y="3868"/>
                  </a:lnTo>
                  <a:lnTo>
                    <a:pt x="18662" y="3855"/>
                  </a:lnTo>
                  <a:lnTo>
                    <a:pt x="18649" y="3851"/>
                  </a:lnTo>
                  <a:lnTo>
                    <a:pt x="18637" y="3850"/>
                  </a:lnTo>
                  <a:lnTo>
                    <a:pt x="18615" y="3851"/>
                  </a:lnTo>
                  <a:lnTo>
                    <a:pt x="18594" y="3856"/>
                  </a:lnTo>
                  <a:lnTo>
                    <a:pt x="18575" y="3864"/>
                  </a:lnTo>
                  <a:lnTo>
                    <a:pt x="18557" y="3875"/>
                  </a:lnTo>
                  <a:lnTo>
                    <a:pt x="18540" y="3888"/>
                  </a:lnTo>
                  <a:lnTo>
                    <a:pt x="18524" y="3902"/>
                  </a:lnTo>
                  <a:lnTo>
                    <a:pt x="18494" y="3936"/>
                  </a:lnTo>
                  <a:lnTo>
                    <a:pt x="18467" y="3973"/>
                  </a:lnTo>
                  <a:lnTo>
                    <a:pt x="18442" y="4011"/>
                  </a:lnTo>
                  <a:lnTo>
                    <a:pt x="18416" y="4047"/>
                  </a:lnTo>
                  <a:lnTo>
                    <a:pt x="18389" y="4077"/>
                  </a:lnTo>
                  <a:lnTo>
                    <a:pt x="18366" y="4097"/>
                  </a:lnTo>
                  <a:lnTo>
                    <a:pt x="18337" y="4116"/>
                  </a:lnTo>
                  <a:lnTo>
                    <a:pt x="18266" y="4155"/>
                  </a:lnTo>
                  <a:lnTo>
                    <a:pt x="18261" y="4161"/>
                  </a:lnTo>
                  <a:lnTo>
                    <a:pt x="18253" y="4163"/>
                  </a:lnTo>
                  <a:lnTo>
                    <a:pt x="18207" y="4191"/>
                  </a:lnTo>
                  <a:lnTo>
                    <a:pt x="18169" y="4221"/>
                  </a:lnTo>
                  <a:lnTo>
                    <a:pt x="18153" y="4236"/>
                  </a:lnTo>
                  <a:lnTo>
                    <a:pt x="18147" y="4245"/>
                  </a:lnTo>
                  <a:lnTo>
                    <a:pt x="18142" y="4253"/>
                  </a:lnTo>
                  <a:lnTo>
                    <a:pt x="18134" y="4269"/>
                  </a:lnTo>
                  <a:lnTo>
                    <a:pt x="18131" y="4287"/>
                  </a:lnTo>
                  <a:lnTo>
                    <a:pt x="18133" y="4308"/>
                  </a:lnTo>
                  <a:lnTo>
                    <a:pt x="18137" y="4329"/>
                  </a:lnTo>
                  <a:lnTo>
                    <a:pt x="18256" y="4329"/>
                  </a:lnTo>
                  <a:lnTo>
                    <a:pt x="18261" y="4329"/>
                  </a:lnTo>
                  <a:lnTo>
                    <a:pt x="19046" y="4329"/>
                  </a:lnTo>
                  <a:lnTo>
                    <a:pt x="19830" y="4329"/>
                  </a:lnTo>
                  <a:lnTo>
                    <a:pt x="19825" y="4308"/>
                  </a:lnTo>
                  <a:lnTo>
                    <a:pt x="19819" y="4286"/>
                  </a:lnTo>
                  <a:lnTo>
                    <a:pt x="19810" y="4265"/>
                  </a:lnTo>
                  <a:lnTo>
                    <a:pt x="19801" y="4248"/>
                  </a:lnTo>
                  <a:lnTo>
                    <a:pt x="19778" y="4213"/>
                  </a:lnTo>
                  <a:lnTo>
                    <a:pt x="19764" y="4198"/>
                  </a:lnTo>
                  <a:lnTo>
                    <a:pt x="19748" y="4185"/>
                  </a:lnTo>
                  <a:lnTo>
                    <a:pt x="19733" y="4172"/>
                  </a:lnTo>
                  <a:lnTo>
                    <a:pt x="19716" y="4162"/>
                  </a:lnTo>
                  <a:lnTo>
                    <a:pt x="19698" y="4153"/>
                  </a:lnTo>
                  <a:lnTo>
                    <a:pt x="19679" y="4145"/>
                  </a:lnTo>
                  <a:lnTo>
                    <a:pt x="19660" y="4139"/>
                  </a:lnTo>
                  <a:lnTo>
                    <a:pt x="19639" y="4134"/>
                  </a:lnTo>
                  <a:lnTo>
                    <a:pt x="19597" y="4131"/>
                  </a:lnTo>
                  <a:close/>
                  <a:moveTo>
                    <a:pt x="18860" y="2743"/>
                  </a:moveTo>
                  <a:lnTo>
                    <a:pt x="18742" y="2904"/>
                  </a:lnTo>
                  <a:lnTo>
                    <a:pt x="18742" y="3047"/>
                  </a:lnTo>
                  <a:lnTo>
                    <a:pt x="18794" y="3040"/>
                  </a:lnTo>
                  <a:lnTo>
                    <a:pt x="18803" y="3039"/>
                  </a:lnTo>
                  <a:lnTo>
                    <a:pt x="18811" y="3043"/>
                  </a:lnTo>
                  <a:lnTo>
                    <a:pt x="18815" y="3048"/>
                  </a:lnTo>
                  <a:lnTo>
                    <a:pt x="18819" y="3056"/>
                  </a:lnTo>
                  <a:lnTo>
                    <a:pt x="18819" y="3062"/>
                  </a:lnTo>
                  <a:lnTo>
                    <a:pt x="18816" y="3070"/>
                  </a:lnTo>
                  <a:lnTo>
                    <a:pt x="18811" y="3075"/>
                  </a:lnTo>
                  <a:lnTo>
                    <a:pt x="18802" y="3079"/>
                  </a:lnTo>
                  <a:lnTo>
                    <a:pt x="18773" y="3084"/>
                  </a:lnTo>
                  <a:lnTo>
                    <a:pt x="18742" y="3086"/>
                  </a:lnTo>
                  <a:lnTo>
                    <a:pt x="18742" y="3827"/>
                  </a:lnTo>
                  <a:lnTo>
                    <a:pt x="18741" y="3836"/>
                  </a:lnTo>
                  <a:lnTo>
                    <a:pt x="18735" y="3842"/>
                  </a:lnTo>
                  <a:lnTo>
                    <a:pt x="18751" y="3845"/>
                  </a:lnTo>
                  <a:lnTo>
                    <a:pt x="18769" y="3845"/>
                  </a:lnTo>
                  <a:lnTo>
                    <a:pt x="18798" y="3845"/>
                  </a:lnTo>
                  <a:lnTo>
                    <a:pt x="18825" y="3843"/>
                  </a:lnTo>
                  <a:lnTo>
                    <a:pt x="18850" y="3840"/>
                  </a:lnTo>
                  <a:lnTo>
                    <a:pt x="18871" y="3835"/>
                  </a:lnTo>
                  <a:lnTo>
                    <a:pt x="18892" y="3826"/>
                  </a:lnTo>
                  <a:lnTo>
                    <a:pt x="18911" y="3815"/>
                  </a:lnTo>
                  <a:lnTo>
                    <a:pt x="18952" y="3782"/>
                  </a:lnTo>
                  <a:lnTo>
                    <a:pt x="18973" y="3767"/>
                  </a:lnTo>
                  <a:lnTo>
                    <a:pt x="18982" y="3760"/>
                  </a:lnTo>
                  <a:lnTo>
                    <a:pt x="18992" y="3755"/>
                  </a:lnTo>
                  <a:lnTo>
                    <a:pt x="19015" y="3748"/>
                  </a:lnTo>
                  <a:lnTo>
                    <a:pt x="19042" y="3745"/>
                  </a:lnTo>
                  <a:lnTo>
                    <a:pt x="19075" y="3748"/>
                  </a:lnTo>
                  <a:lnTo>
                    <a:pt x="19107" y="3751"/>
                  </a:lnTo>
                  <a:lnTo>
                    <a:pt x="19135" y="3758"/>
                  </a:lnTo>
                  <a:lnTo>
                    <a:pt x="19162" y="3768"/>
                  </a:lnTo>
                  <a:lnTo>
                    <a:pt x="19187" y="3780"/>
                  </a:lnTo>
                  <a:lnTo>
                    <a:pt x="19209" y="3794"/>
                  </a:lnTo>
                  <a:lnTo>
                    <a:pt x="19229" y="3809"/>
                  </a:lnTo>
                  <a:lnTo>
                    <a:pt x="19248" y="3827"/>
                  </a:lnTo>
                  <a:lnTo>
                    <a:pt x="19282" y="3866"/>
                  </a:lnTo>
                  <a:lnTo>
                    <a:pt x="19311" y="3911"/>
                  </a:lnTo>
                  <a:lnTo>
                    <a:pt x="19338" y="3960"/>
                  </a:lnTo>
                  <a:lnTo>
                    <a:pt x="19364" y="4012"/>
                  </a:lnTo>
                  <a:lnTo>
                    <a:pt x="19369" y="4021"/>
                  </a:lnTo>
                  <a:lnTo>
                    <a:pt x="19369" y="3649"/>
                  </a:lnTo>
                  <a:lnTo>
                    <a:pt x="19334" y="3663"/>
                  </a:lnTo>
                  <a:lnTo>
                    <a:pt x="19319" y="3670"/>
                  </a:lnTo>
                  <a:lnTo>
                    <a:pt x="19302" y="3676"/>
                  </a:lnTo>
                  <a:lnTo>
                    <a:pt x="19284" y="3676"/>
                  </a:lnTo>
                  <a:lnTo>
                    <a:pt x="19275" y="3675"/>
                  </a:lnTo>
                  <a:lnTo>
                    <a:pt x="19265" y="3671"/>
                  </a:lnTo>
                  <a:lnTo>
                    <a:pt x="19255" y="3666"/>
                  </a:lnTo>
                  <a:lnTo>
                    <a:pt x="19244" y="3658"/>
                  </a:lnTo>
                  <a:lnTo>
                    <a:pt x="19221" y="3634"/>
                  </a:lnTo>
                  <a:lnTo>
                    <a:pt x="19205" y="3616"/>
                  </a:lnTo>
                  <a:lnTo>
                    <a:pt x="19191" y="3604"/>
                  </a:lnTo>
                  <a:lnTo>
                    <a:pt x="19180" y="3598"/>
                  </a:lnTo>
                  <a:lnTo>
                    <a:pt x="19169" y="3595"/>
                  </a:lnTo>
                  <a:lnTo>
                    <a:pt x="19144" y="3594"/>
                  </a:lnTo>
                  <a:lnTo>
                    <a:pt x="19105" y="3590"/>
                  </a:lnTo>
                  <a:lnTo>
                    <a:pt x="19091" y="3586"/>
                  </a:lnTo>
                  <a:lnTo>
                    <a:pt x="19079" y="3581"/>
                  </a:lnTo>
                  <a:lnTo>
                    <a:pt x="19062" y="3567"/>
                  </a:lnTo>
                  <a:lnTo>
                    <a:pt x="19052" y="3549"/>
                  </a:lnTo>
                  <a:lnTo>
                    <a:pt x="19044" y="3530"/>
                  </a:lnTo>
                  <a:lnTo>
                    <a:pt x="19039" y="3510"/>
                  </a:lnTo>
                  <a:lnTo>
                    <a:pt x="19033" y="3489"/>
                  </a:lnTo>
                  <a:lnTo>
                    <a:pt x="19029" y="3480"/>
                  </a:lnTo>
                  <a:lnTo>
                    <a:pt x="19024" y="3471"/>
                  </a:lnTo>
                  <a:lnTo>
                    <a:pt x="19016" y="3464"/>
                  </a:lnTo>
                  <a:lnTo>
                    <a:pt x="19009" y="3457"/>
                  </a:lnTo>
                  <a:lnTo>
                    <a:pt x="18967" y="3434"/>
                  </a:lnTo>
                  <a:lnTo>
                    <a:pt x="18952" y="3424"/>
                  </a:lnTo>
                  <a:lnTo>
                    <a:pt x="18939" y="3414"/>
                  </a:lnTo>
                  <a:lnTo>
                    <a:pt x="18930" y="3400"/>
                  </a:lnTo>
                  <a:lnTo>
                    <a:pt x="18926" y="3383"/>
                  </a:lnTo>
                  <a:lnTo>
                    <a:pt x="18925" y="3361"/>
                  </a:lnTo>
                  <a:lnTo>
                    <a:pt x="18929" y="3333"/>
                  </a:lnTo>
                  <a:lnTo>
                    <a:pt x="18934" y="3304"/>
                  </a:lnTo>
                  <a:lnTo>
                    <a:pt x="18934" y="3285"/>
                  </a:lnTo>
                  <a:lnTo>
                    <a:pt x="18925" y="3267"/>
                  </a:lnTo>
                  <a:lnTo>
                    <a:pt x="18908" y="3242"/>
                  </a:lnTo>
                  <a:lnTo>
                    <a:pt x="18891" y="3216"/>
                  </a:lnTo>
                  <a:lnTo>
                    <a:pt x="18884" y="3199"/>
                  </a:lnTo>
                  <a:lnTo>
                    <a:pt x="18882" y="3181"/>
                  </a:lnTo>
                  <a:lnTo>
                    <a:pt x="18884" y="3162"/>
                  </a:lnTo>
                  <a:lnTo>
                    <a:pt x="18891" y="3145"/>
                  </a:lnTo>
                  <a:lnTo>
                    <a:pt x="18908" y="3118"/>
                  </a:lnTo>
                  <a:lnTo>
                    <a:pt x="18923" y="3098"/>
                  </a:lnTo>
                  <a:lnTo>
                    <a:pt x="18930" y="3083"/>
                  </a:lnTo>
                  <a:lnTo>
                    <a:pt x="18934" y="3070"/>
                  </a:lnTo>
                  <a:lnTo>
                    <a:pt x="18935" y="3060"/>
                  </a:lnTo>
                  <a:lnTo>
                    <a:pt x="18929" y="3035"/>
                  </a:lnTo>
                  <a:lnTo>
                    <a:pt x="18925" y="2996"/>
                  </a:lnTo>
                  <a:lnTo>
                    <a:pt x="18928" y="2969"/>
                  </a:lnTo>
                  <a:lnTo>
                    <a:pt x="18932" y="2959"/>
                  </a:lnTo>
                  <a:lnTo>
                    <a:pt x="18938" y="2950"/>
                  </a:lnTo>
                  <a:lnTo>
                    <a:pt x="18944" y="2942"/>
                  </a:lnTo>
                  <a:lnTo>
                    <a:pt x="18952" y="2936"/>
                  </a:lnTo>
                  <a:lnTo>
                    <a:pt x="18970" y="2924"/>
                  </a:lnTo>
                  <a:lnTo>
                    <a:pt x="19007" y="2904"/>
                  </a:lnTo>
                  <a:lnTo>
                    <a:pt x="19023" y="2891"/>
                  </a:lnTo>
                  <a:lnTo>
                    <a:pt x="19033" y="2872"/>
                  </a:lnTo>
                  <a:lnTo>
                    <a:pt x="19047" y="2828"/>
                  </a:lnTo>
                  <a:lnTo>
                    <a:pt x="19053" y="2810"/>
                  </a:lnTo>
                  <a:lnTo>
                    <a:pt x="19061" y="2796"/>
                  </a:lnTo>
                  <a:lnTo>
                    <a:pt x="19073" y="2785"/>
                  </a:lnTo>
                  <a:lnTo>
                    <a:pt x="19088" y="2776"/>
                  </a:lnTo>
                  <a:lnTo>
                    <a:pt x="19109" y="2771"/>
                  </a:lnTo>
                  <a:lnTo>
                    <a:pt x="19138" y="2768"/>
                  </a:lnTo>
                  <a:lnTo>
                    <a:pt x="19162" y="2766"/>
                  </a:lnTo>
                  <a:lnTo>
                    <a:pt x="19180" y="2763"/>
                  </a:lnTo>
                  <a:lnTo>
                    <a:pt x="19192" y="2758"/>
                  </a:lnTo>
                  <a:lnTo>
                    <a:pt x="19201" y="2751"/>
                  </a:lnTo>
                  <a:lnTo>
                    <a:pt x="19216" y="2732"/>
                  </a:lnTo>
                  <a:lnTo>
                    <a:pt x="19228" y="2719"/>
                  </a:lnTo>
                  <a:lnTo>
                    <a:pt x="19243" y="2704"/>
                  </a:lnTo>
                  <a:lnTo>
                    <a:pt x="19265" y="2690"/>
                  </a:lnTo>
                  <a:lnTo>
                    <a:pt x="19274" y="2686"/>
                  </a:lnTo>
                  <a:lnTo>
                    <a:pt x="19284" y="2685"/>
                  </a:lnTo>
                  <a:lnTo>
                    <a:pt x="19302" y="2686"/>
                  </a:lnTo>
                  <a:lnTo>
                    <a:pt x="19319" y="2691"/>
                  </a:lnTo>
                  <a:lnTo>
                    <a:pt x="19352" y="2707"/>
                  </a:lnTo>
                  <a:lnTo>
                    <a:pt x="19370" y="2713"/>
                  </a:lnTo>
                  <a:lnTo>
                    <a:pt x="19388" y="2716"/>
                  </a:lnTo>
                  <a:lnTo>
                    <a:pt x="19410" y="2712"/>
                  </a:lnTo>
                  <a:lnTo>
                    <a:pt x="19429" y="2705"/>
                  </a:lnTo>
                  <a:lnTo>
                    <a:pt x="19448" y="2696"/>
                  </a:lnTo>
                  <a:lnTo>
                    <a:pt x="19466" y="2689"/>
                  </a:lnTo>
                  <a:lnTo>
                    <a:pt x="19486" y="2685"/>
                  </a:lnTo>
                  <a:lnTo>
                    <a:pt x="19506" y="2688"/>
                  </a:lnTo>
                  <a:lnTo>
                    <a:pt x="19518" y="2694"/>
                  </a:lnTo>
                  <a:lnTo>
                    <a:pt x="19529" y="2702"/>
                  </a:lnTo>
                  <a:lnTo>
                    <a:pt x="19556" y="2727"/>
                  </a:lnTo>
                  <a:lnTo>
                    <a:pt x="19573" y="2746"/>
                  </a:lnTo>
                  <a:lnTo>
                    <a:pt x="19586" y="2758"/>
                  </a:lnTo>
                  <a:lnTo>
                    <a:pt x="19597" y="2764"/>
                  </a:lnTo>
                  <a:lnTo>
                    <a:pt x="19607" y="2767"/>
                  </a:lnTo>
                  <a:lnTo>
                    <a:pt x="19633" y="2767"/>
                  </a:lnTo>
                  <a:lnTo>
                    <a:pt x="19673" y="2771"/>
                  </a:lnTo>
                  <a:lnTo>
                    <a:pt x="19687" y="2774"/>
                  </a:lnTo>
                  <a:lnTo>
                    <a:pt x="19698" y="2780"/>
                  </a:lnTo>
                  <a:lnTo>
                    <a:pt x="19715" y="2794"/>
                  </a:lnTo>
                  <a:lnTo>
                    <a:pt x="19725" y="2812"/>
                  </a:lnTo>
                  <a:lnTo>
                    <a:pt x="19732" y="2832"/>
                  </a:lnTo>
                  <a:lnTo>
                    <a:pt x="19737" y="2852"/>
                  </a:lnTo>
                  <a:lnTo>
                    <a:pt x="19743" y="2872"/>
                  </a:lnTo>
                  <a:lnTo>
                    <a:pt x="19748" y="2881"/>
                  </a:lnTo>
                  <a:lnTo>
                    <a:pt x="19754" y="2890"/>
                  </a:lnTo>
                  <a:lnTo>
                    <a:pt x="19760" y="2897"/>
                  </a:lnTo>
                  <a:lnTo>
                    <a:pt x="19769" y="2904"/>
                  </a:lnTo>
                  <a:lnTo>
                    <a:pt x="19809" y="2927"/>
                  </a:lnTo>
                  <a:lnTo>
                    <a:pt x="19825" y="2937"/>
                  </a:lnTo>
                  <a:lnTo>
                    <a:pt x="19837" y="2948"/>
                  </a:lnTo>
                  <a:lnTo>
                    <a:pt x="19846" y="2961"/>
                  </a:lnTo>
                  <a:lnTo>
                    <a:pt x="19851" y="2978"/>
                  </a:lnTo>
                  <a:lnTo>
                    <a:pt x="19852" y="3000"/>
                  </a:lnTo>
                  <a:lnTo>
                    <a:pt x="19848" y="3028"/>
                  </a:lnTo>
                  <a:lnTo>
                    <a:pt x="19843" y="3057"/>
                  </a:lnTo>
                  <a:lnTo>
                    <a:pt x="19843" y="3076"/>
                  </a:lnTo>
                  <a:lnTo>
                    <a:pt x="19851" y="3094"/>
                  </a:lnTo>
                  <a:lnTo>
                    <a:pt x="19869" y="3118"/>
                  </a:lnTo>
                  <a:lnTo>
                    <a:pt x="19887" y="3145"/>
                  </a:lnTo>
                  <a:lnTo>
                    <a:pt x="19893" y="3162"/>
                  </a:lnTo>
                  <a:lnTo>
                    <a:pt x="19896" y="3181"/>
                  </a:lnTo>
                  <a:lnTo>
                    <a:pt x="19893" y="3199"/>
                  </a:lnTo>
                  <a:lnTo>
                    <a:pt x="19887" y="3216"/>
                  </a:lnTo>
                  <a:lnTo>
                    <a:pt x="19878" y="3230"/>
                  </a:lnTo>
                  <a:lnTo>
                    <a:pt x="19868" y="3244"/>
                  </a:lnTo>
                  <a:lnTo>
                    <a:pt x="19857" y="3258"/>
                  </a:lnTo>
                  <a:lnTo>
                    <a:pt x="19848" y="3272"/>
                  </a:lnTo>
                  <a:lnTo>
                    <a:pt x="19843" y="3287"/>
                  </a:lnTo>
                  <a:lnTo>
                    <a:pt x="19843" y="3305"/>
                  </a:lnTo>
                  <a:lnTo>
                    <a:pt x="19850" y="3351"/>
                  </a:lnTo>
                  <a:lnTo>
                    <a:pt x="19852" y="3369"/>
                  </a:lnTo>
                  <a:lnTo>
                    <a:pt x="19851" y="3386"/>
                  </a:lnTo>
                  <a:lnTo>
                    <a:pt x="19846" y="3401"/>
                  </a:lnTo>
                  <a:lnTo>
                    <a:pt x="19836" y="3415"/>
                  </a:lnTo>
                  <a:lnTo>
                    <a:pt x="19819" y="3429"/>
                  </a:lnTo>
                  <a:lnTo>
                    <a:pt x="19795" y="3445"/>
                  </a:lnTo>
                  <a:lnTo>
                    <a:pt x="19773" y="3456"/>
                  </a:lnTo>
                  <a:lnTo>
                    <a:pt x="19759" y="3466"/>
                  </a:lnTo>
                  <a:lnTo>
                    <a:pt x="19750" y="3476"/>
                  </a:lnTo>
                  <a:lnTo>
                    <a:pt x="19745" y="3485"/>
                  </a:lnTo>
                  <a:lnTo>
                    <a:pt x="19739" y="3510"/>
                  </a:lnTo>
                  <a:lnTo>
                    <a:pt x="19734" y="3526"/>
                  </a:lnTo>
                  <a:lnTo>
                    <a:pt x="19727" y="3547"/>
                  </a:lnTo>
                  <a:lnTo>
                    <a:pt x="19711" y="3570"/>
                  </a:lnTo>
                  <a:lnTo>
                    <a:pt x="19704" y="3579"/>
                  </a:lnTo>
                  <a:lnTo>
                    <a:pt x="19695" y="3584"/>
                  </a:lnTo>
                  <a:lnTo>
                    <a:pt x="19674" y="3590"/>
                  </a:lnTo>
                  <a:lnTo>
                    <a:pt x="19653" y="3593"/>
                  </a:lnTo>
                  <a:lnTo>
                    <a:pt x="19632" y="3593"/>
                  </a:lnTo>
                  <a:lnTo>
                    <a:pt x="19611" y="3594"/>
                  </a:lnTo>
                  <a:lnTo>
                    <a:pt x="19592" y="3601"/>
                  </a:lnTo>
                  <a:lnTo>
                    <a:pt x="19583" y="3606"/>
                  </a:lnTo>
                  <a:lnTo>
                    <a:pt x="19575" y="3612"/>
                  </a:lnTo>
                  <a:lnTo>
                    <a:pt x="19543" y="3647"/>
                  </a:lnTo>
                  <a:lnTo>
                    <a:pt x="19530" y="3659"/>
                  </a:lnTo>
                  <a:lnTo>
                    <a:pt x="19516" y="3668"/>
                  </a:lnTo>
                  <a:lnTo>
                    <a:pt x="19501" y="3675"/>
                  </a:lnTo>
                  <a:lnTo>
                    <a:pt x="19484" y="3676"/>
                  </a:lnTo>
                  <a:lnTo>
                    <a:pt x="19462" y="3671"/>
                  </a:lnTo>
                  <a:lnTo>
                    <a:pt x="19436" y="3661"/>
                  </a:lnTo>
                  <a:lnTo>
                    <a:pt x="19409" y="3649"/>
                  </a:lnTo>
                  <a:lnTo>
                    <a:pt x="19409" y="4083"/>
                  </a:lnTo>
                  <a:lnTo>
                    <a:pt x="19409" y="4086"/>
                  </a:lnTo>
                  <a:lnTo>
                    <a:pt x="19420" y="4099"/>
                  </a:lnTo>
                  <a:lnTo>
                    <a:pt x="19434" y="4109"/>
                  </a:lnTo>
                  <a:lnTo>
                    <a:pt x="19448" y="4117"/>
                  </a:lnTo>
                  <a:lnTo>
                    <a:pt x="19465" y="4118"/>
                  </a:lnTo>
                  <a:lnTo>
                    <a:pt x="19498" y="4115"/>
                  </a:lnTo>
                  <a:lnTo>
                    <a:pt x="19530" y="4104"/>
                  </a:lnTo>
                  <a:lnTo>
                    <a:pt x="19564" y="4095"/>
                  </a:lnTo>
                  <a:lnTo>
                    <a:pt x="19597" y="4090"/>
                  </a:lnTo>
                  <a:lnTo>
                    <a:pt x="19629" y="4093"/>
                  </a:lnTo>
                  <a:lnTo>
                    <a:pt x="19660" y="4098"/>
                  </a:lnTo>
                  <a:lnTo>
                    <a:pt x="19688" y="4106"/>
                  </a:lnTo>
                  <a:lnTo>
                    <a:pt x="19715" y="4116"/>
                  </a:lnTo>
                  <a:lnTo>
                    <a:pt x="19739" y="4130"/>
                  </a:lnTo>
                  <a:lnTo>
                    <a:pt x="19761" y="4144"/>
                  </a:lnTo>
                  <a:lnTo>
                    <a:pt x="19782" y="4161"/>
                  </a:lnTo>
                  <a:lnTo>
                    <a:pt x="19800" y="4178"/>
                  </a:lnTo>
                  <a:lnTo>
                    <a:pt x="19830" y="4217"/>
                  </a:lnTo>
                  <a:lnTo>
                    <a:pt x="19842" y="4236"/>
                  </a:lnTo>
                  <a:lnTo>
                    <a:pt x="19852" y="4255"/>
                  </a:lnTo>
                  <a:lnTo>
                    <a:pt x="19861" y="4274"/>
                  </a:lnTo>
                  <a:lnTo>
                    <a:pt x="19866" y="4292"/>
                  </a:lnTo>
                  <a:lnTo>
                    <a:pt x="19871" y="4309"/>
                  </a:lnTo>
                  <a:lnTo>
                    <a:pt x="19874" y="4324"/>
                  </a:lnTo>
                  <a:lnTo>
                    <a:pt x="20236" y="4324"/>
                  </a:lnTo>
                  <a:lnTo>
                    <a:pt x="20236" y="4017"/>
                  </a:lnTo>
                  <a:lnTo>
                    <a:pt x="20238" y="4008"/>
                  </a:lnTo>
                  <a:lnTo>
                    <a:pt x="20242" y="4002"/>
                  </a:lnTo>
                  <a:lnTo>
                    <a:pt x="20248" y="3998"/>
                  </a:lnTo>
                  <a:lnTo>
                    <a:pt x="20256" y="3997"/>
                  </a:lnTo>
                  <a:lnTo>
                    <a:pt x="20264" y="3998"/>
                  </a:lnTo>
                  <a:lnTo>
                    <a:pt x="20270" y="4002"/>
                  </a:lnTo>
                  <a:lnTo>
                    <a:pt x="20274" y="4008"/>
                  </a:lnTo>
                  <a:lnTo>
                    <a:pt x="20277" y="4017"/>
                  </a:lnTo>
                  <a:lnTo>
                    <a:pt x="20277" y="4324"/>
                  </a:lnTo>
                  <a:lnTo>
                    <a:pt x="20482" y="4324"/>
                  </a:lnTo>
                  <a:lnTo>
                    <a:pt x="20482" y="3670"/>
                  </a:lnTo>
                  <a:lnTo>
                    <a:pt x="20482" y="3016"/>
                  </a:lnTo>
                  <a:lnTo>
                    <a:pt x="20024" y="3016"/>
                  </a:lnTo>
                  <a:lnTo>
                    <a:pt x="20024" y="3584"/>
                  </a:lnTo>
                  <a:lnTo>
                    <a:pt x="20024" y="4152"/>
                  </a:lnTo>
                  <a:lnTo>
                    <a:pt x="20023" y="4161"/>
                  </a:lnTo>
                  <a:lnTo>
                    <a:pt x="20018" y="4167"/>
                  </a:lnTo>
                  <a:lnTo>
                    <a:pt x="20011" y="4171"/>
                  </a:lnTo>
                  <a:lnTo>
                    <a:pt x="20005" y="4172"/>
                  </a:lnTo>
                  <a:lnTo>
                    <a:pt x="19997" y="4171"/>
                  </a:lnTo>
                  <a:lnTo>
                    <a:pt x="19991" y="4167"/>
                  </a:lnTo>
                  <a:lnTo>
                    <a:pt x="19986" y="4161"/>
                  </a:lnTo>
                  <a:lnTo>
                    <a:pt x="19984" y="4152"/>
                  </a:lnTo>
                  <a:lnTo>
                    <a:pt x="19984" y="3451"/>
                  </a:lnTo>
                  <a:lnTo>
                    <a:pt x="19984" y="2750"/>
                  </a:lnTo>
                  <a:lnTo>
                    <a:pt x="19946" y="2750"/>
                  </a:lnTo>
                  <a:lnTo>
                    <a:pt x="19939" y="2748"/>
                  </a:lnTo>
                  <a:lnTo>
                    <a:pt x="19933" y="2744"/>
                  </a:lnTo>
                  <a:lnTo>
                    <a:pt x="19928" y="2737"/>
                  </a:lnTo>
                  <a:lnTo>
                    <a:pt x="19927" y="2730"/>
                  </a:lnTo>
                  <a:lnTo>
                    <a:pt x="19927" y="2576"/>
                  </a:lnTo>
                  <a:lnTo>
                    <a:pt x="19928" y="2569"/>
                  </a:lnTo>
                  <a:lnTo>
                    <a:pt x="19933" y="2562"/>
                  </a:lnTo>
                  <a:lnTo>
                    <a:pt x="19939" y="2558"/>
                  </a:lnTo>
                  <a:lnTo>
                    <a:pt x="19946" y="2556"/>
                  </a:lnTo>
                  <a:lnTo>
                    <a:pt x="19998" y="2556"/>
                  </a:lnTo>
                  <a:lnTo>
                    <a:pt x="20041" y="2500"/>
                  </a:lnTo>
                  <a:lnTo>
                    <a:pt x="20089" y="2443"/>
                  </a:lnTo>
                  <a:lnTo>
                    <a:pt x="20116" y="2418"/>
                  </a:lnTo>
                  <a:lnTo>
                    <a:pt x="20143" y="2391"/>
                  </a:lnTo>
                  <a:lnTo>
                    <a:pt x="20201" y="2340"/>
                  </a:lnTo>
                  <a:lnTo>
                    <a:pt x="20264" y="2292"/>
                  </a:lnTo>
                  <a:lnTo>
                    <a:pt x="20331" y="2246"/>
                  </a:lnTo>
                  <a:lnTo>
                    <a:pt x="20402" y="2203"/>
                  </a:lnTo>
                  <a:lnTo>
                    <a:pt x="20477" y="2163"/>
                  </a:lnTo>
                  <a:lnTo>
                    <a:pt x="20556" y="2126"/>
                  </a:lnTo>
                  <a:lnTo>
                    <a:pt x="20638" y="2092"/>
                  </a:lnTo>
                  <a:lnTo>
                    <a:pt x="20681" y="2075"/>
                  </a:lnTo>
                  <a:lnTo>
                    <a:pt x="20724" y="2060"/>
                  </a:lnTo>
                  <a:lnTo>
                    <a:pt x="20813" y="2033"/>
                  </a:lnTo>
                  <a:lnTo>
                    <a:pt x="20904" y="2009"/>
                  </a:lnTo>
                  <a:lnTo>
                    <a:pt x="20999" y="1987"/>
                  </a:lnTo>
                  <a:lnTo>
                    <a:pt x="21095" y="1970"/>
                  </a:lnTo>
                  <a:lnTo>
                    <a:pt x="21194" y="1956"/>
                  </a:lnTo>
                  <a:lnTo>
                    <a:pt x="21194" y="1775"/>
                  </a:lnTo>
                  <a:lnTo>
                    <a:pt x="21196" y="1759"/>
                  </a:lnTo>
                  <a:lnTo>
                    <a:pt x="21200" y="1744"/>
                  </a:lnTo>
                  <a:lnTo>
                    <a:pt x="21209" y="1730"/>
                  </a:lnTo>
                  <a:lnTo>
                    <a:pt x="21219" y="1717"/>
                  </a:lnTo>
                  <a:lnTo>
                    <a:pt x="21232" y="1705"/>
                  </a:lnTo>
                  <a:lnTo>
                    <a:pt x="21247" y="1694"/>
                  </a:lnTo>
                  <a:lnTo>
                    <a:pt x="21265" y="1684"/>
                  </a:lnTo>
                  <a:lnTo>
                    <a:pt x="21285" y="1675"/>
                  </a:lnTo>
                  <a:lnTo>
                    <a:pt x="21329" y="1659"/>
                  </a:lnTo>
                  <a:lnTo>
                    <a:pt x="21378" y="1648"/>
                  </a:lnTo>
                  <a:lnTo>
                    <a:pt x="21429" y="1642"/>
                  </a:lnTo>
                  <a:lnTo>
                    <a:pt x="21483" y="1639"/>
                  </a:lnTo>
                  <a:lnTo>
                    <a:pt x="21537" y="1642"/>
                  </a:lnTo>
                  <a:lnTo>
                    <a:pt x="21590" y="1648"/>
                  </a:lnTo>
                  <a:lnTo>
                    <a:pt x="21614" y="1653"/>
                  </a:lnTo>
                  <a:lnTo>
                    <a:pt x="21638" y="1659"/>
                  </a:lnTo>
                  <a:lnTo>
                    <a:pt x="21660" y="1666"/>
                  </a:lnTo>
                  <a:lnTo>
                    <a:pt x="21682" y="1675"/>
                  </a:lnTo>
                  <a:lnTo>
                    <a:pt x="21719" y="1694"/>
                  </a:lnTo>
                  <a:lnTo>
                    <a:pt x="21747" y="1717"/>
                  </a:lnTo>
                  <a:lnTo>
                    <a:pt x="21759" y="1730"/>
                  </a:lnTo>
                  <a:lnTo>
                    <a:pt x="21767" y="1744"/>
                  </a:lnTo>
                  <a:lnTo>
                    <a:pt x="21772" y="1759"/>
                  </a:lnTo>
                  <a:lnTo>
                    <a:pt x="21773" y="1775"/>
                  </a:lnTo>
                  <a:lnTo>
                    <a:pt x="21773" y="1956"/>
                  </a:lnTo>
                  <a:lnTo>
                    <a:pt x="21872" y="1970"/>
                  </a:lnTo>
                  <a:lnTo>
                    <a:pt x="21969" y="1987"/>
                  </a:lnTo>
                  <a:lnTo>
                    <a:pt x="22063" y="2009"/>
                  </a:lnTo>
                  <a:lnTo>
                    <a:pt x="22155" y="2033"/>
                  </a:lnTo>
                  <a:lnTo>
                    <a:pt x="22244" y="2060"/>
                  </a:lnTo>
                  <a:lnTo>
                    <a:pt x="22328" y="2092"/>
                  </a:lnTo>
                  <a:lnTo>
                    <a:pt x="22412" y="2126"/>
                  </a:lnTo>
                  <a:lnTo>
                    <a:pt x="22490" y="2163"/>
                  </a:lnTo>
                  <a:lnTo>
                    <a:pt x="22566" y="2203"/>
                  </a:lnTo>
                  <a:lnTo>
                    <a:pt x="22601" y="2225"/>
                  </a:lnTo>
                  <a:lnTo>
                    <a:pt x="22636" y="2246"/>
                  </a:lnTo>
                  <a:lnTo>
                    <a:pt x="22703" y="2292"/>
                  </a:lnTo>
                  <a:lnTo>
                    <a:pt x="22766" y="2340"/>
                  </a:lnTo>
                  <a:lnTo>
                    <a:pt x="22795" y="2365"/>
                  </a:lnTo>
                  <a:lnTo>
                    <a:pt x="22825" y="2391"/>
                  </a:lnTo>
                  <a:lnTo>
                    <a:pt x="22877" y="2445"/>
                  </a:lnTo>
                  <a:lnTo>
                    <a:pt x="22926" y="2500"/>
                  </a:lnTo>
                  <a:lnTo>
                    <a:pt x="22969" y="2556"/>
                  </a:lnTo>
                  <a:lnTo>
                    <a:pt x="23021" y="2556"/>
                  </a:lnTo>
                  <a:lnTo>
                    <a:pt x="23028" y="2558"/>
                  </a:lnTo>
                  <a:lnTo>
                    <a:pt x="23035" y="2562"/>
                  </a:lnTo>
                  <a:lnTo>
                    <a:pt x="23039" y="2569"/>
                  </a:lnTo>
                  <a:lnTo>
                    <a:pt x="23040" y="2576"/>
                  </a:lnTo>
                  <a:lnTo>
                    <a:pt x="23040" y="2730"/>
                  </a:lnTo>
                  <a:lnTo>
                    <a:pt x="23039" y="2737"/>
                  </a:lnTo>
                  <a:lnTo>
                    <a:pt x="23035" y="2744"/>
                  </a:lnTo>
                  <a:lnTo>
                    <a:pt x="23028" y="2748"/>
                  </a:lnTo>
                  <a:lnTo>
                    <a:pt x="23021" y="2750"/>
                  </a:lnTo>
                  <a:lnTo>
                    <a:pt x="22982" y="2750"/>
                  </a:lnTo>
                  <a:lnTo>
                    <a:pt x="22982" y="3547"/>
                  </a:lnTo>
                  <a:lnTo>
                    <a:pt x="22982" y="4345"/>
                  </a:lnTo>
                  <a:lnTo>
                    <a:pt x="22981" y="4352"/>
                  </a:lnTo>
                  <a:lnTo>
                    <a:pt x="22977" y="4359"/>
                  </a:lnTo>
                  <a:lnTo>
                    <a:pt x="22971" y="4363"/>
                  </a:lnTo>
                  <a:lnTo>
                    <a:pt x="22963" y="4365"/>
                  </a:lnTo>
                  <a:lnTo>
                    <a:pt x="22717" y="4365"/>
                  </a:lnTo>
                  <a:lnTo>
                    <a:pt x="21733" y="4365"/>
                  </a:lnTo>
                  <a:lnTo>
                    <a:pt x="21241" y="4365"/>
                  </a:lnTo>
                  <a:lnTo>
                    <a:pt x="20749" y="4365"/>
                  </a:lnTo>
                  <a:lnTo>
                    <a:pt x="20257" y="4365"/>
                  </a:lnTo>
                  <a:lnTo>
                    <a:pt x="19865" y="4365"/>
                  </a:lnTo>
                  <a:lnTo>
                    <a:pt x="19859" y="4368"/>
                  </a:lnTo>
                  <a:lnTo>
                    <a:pt x="19852" y="4369"/>
                  </a:lnTo>
                  <a:lnTo>
                    <a:pt x="18987" y="4369"/>
                  </a:lnTo>
                  <a:lnTo>
                    <a:pt x="18122" y="4369"/>
                  </a:lnTo>
                  <a:lnTo>
                    <a:pt x="18119" y="4369"/>
                  </a:lnTo>
                  <a:lnTo>
                    <a:pt x="17558" y="4369"/>
                  </a:lnTo>
                  <a:lnTo>
                    <a:pt x="17549" y="4366"/>
                  </a:lnTo>
                  <a:lnTo>
                    <a:pt x="17543" y="4363"/>
                  </a:lnTo>
                  <a:lnTo>
                    <a:pt x="17540" y="4356"/>
                  </a:lnTo>
                  <a:lnTo>
                    <a:pt x="17539" y="4349"/>
                  </a:lnTo>
                  <a:lnTo>
                    <a:pt x="17540" y="4341"/>
                  </a:lnTo>
                  <a:lnTo>
                    <a:pt x="17543" y="4334"/>
                  </a:lnTo>
                  <a:lnTo>
                    <a:pt x="17549" y="4331"/>
                  </a:lnTo>
                  <a:lnTo>
                    <a:pt x="17558" y="4329"/>
                  </a:lnTo>
                  <a:lnTo>
                    <a:pt x="18096" y="4329"/>
                  </a:lnTo>
                  <a:lnTo>
                    <a:pt x="18092" y="4305"/>
                  </a:lnTo>
                  <a:lnTo>
                    <a:pt x="18090" y="4287"/>
                  </a:lnTo>
                  <a:lnTo>
                    <a:pt x="18094" y="4262"/>
                  </a:lnTo>
                  <a:lnTo>
                    <a:pt x="18103" y="4237"/>
                  </a:lnTo>
                  <a:lnTo>
                    <a:pt x="18116" y="4216"/>
                  </a:lnTo>
                  <a:lnTo>
                    <a:pt x="18134" y="4196"/>
                  </a:lnTo>
                  <a:lnTo>
                    <a:pt x="18155" y="4178"/>
                  </a:lnTo>
                  <a:lnTo>
                    <a:pt x="18178" y="4162"/>
                  </a:lnTo>
                  <a:lnTo>
                    <a:pt x="18230" y="4131"/>
                  </a:lnTo>
                  <a:lnTo>
                    <a:pt x="18213" y="3595"/>
                  </a:lnTo>
                  <a:lnTo>
                    <a:pt x="18197" y="3061"/>
                  </a:lnTo>
                  <a:lnTo>
                    <a:pt x="17607" y="2249"/>
                  </a:lnTo>
                  <a:lnTo>
                    <a:pt x="17579" y="2705"/>
                  </a:lnTo>
                  <a:lnTo>
                    <a:pt x="17576" y="2714"/>
                  </a:lnTo>
                  <a:lnTo>
                    <a:pt x="17571" y="2719"/>
                  </a:lnTo>
                  <a:lnTo>
                    <a:pt x="17557" y="2725"/>
                  </a:lnTo>
                  <a:lnTo>
                    <a:pt x="17551" y="2722"/>
                  </a:lnTo>
                  <a:lnTo>
                    <a:pt x="17544" y="2718"/>
                  </a:lnTo>
                  <a:lnTo>
                    <a:pt x="17540" y="2712"/>
                  </a:lnTo>
                  <a:lnTo>
                    <a:pt x="17539" y="2703"/>
                  </a:lnTo>
                  <a:lnTo>
                    <a:pt x="17570" y="2195"/>
                  </a:lnTo>
                  <a:lnTo>
                    <a:pt x="17571" y="2188"/>
                  </a:lnTo>
                  <a:lnTo>
                    <a:pt x="17597" y="1763"/>
                  </a:lnTo>
                  <a:lnTo>
                    <a:pt x="17597" y="1755"/>
                  </a:lnTo>
                  <a:lnTo>
                    <a:pt x="17640" y="1058"/>
                  </a:lnTo>
                  <a:lnTo>
                    <a:pt x="17622" y="1058"/>
                  </a:lnTo>
                  <a:lnTo>
                    <a:pt x="17615" y="1057"/>
                  </a:lnTo>
                  <a:lnTo>
                    <a:pt x="17608" y="1053"/>
                  </a:lnTo>
                  <a:lnTo>
                    <a:pt x="17604" y="1047"/>
                  </a:lnTo>
                  <a:lnTo>
                    <a:pt x="17603" y="1039"/>
                  </a:lnTo>
                  <a:lnTo>
                    <a:pt x="17603" y="943"/>
                  </a:lnTo>
                  <a:lnTo>
                    <a:pt x="17604" y="936"/>
                  </a:lnTo>
                  <a:lnTo>
                    <a:pt x="17608" y="929"/>
                  </a:lnTo>
                  <a:lnTo>
                    <a:pt x="17615" y="925"/>
                  </a:lnTo>
                  <a:lnTo>
                    <a:pt x="17622" y="924"/>
                  </a:lnTo>
                  <a:lnTo>
                    <a:pt x="18192" y="924"/>
                  </a:lnTo>
                  <a:lnTo>
                    <a:pt x="18199" y="925"/>
                  </a:lnTo>
                  <a:lnTo>
                    <a:pt x="18206" y="929"/>
                  </a:lnTo>
                  <a:lnTo>
                    <a:pt x="18211" y="936"/>
                  </a:lnTo>
                  <a:lnTo>
                    <a:pt x="18212" y="943"/>
                  </a:lnTo>
                  <a:lnTo>
                    <a:pt x="18212" y="1039"/>
                  </a:lnTo>
                  <a:lnTo>
                    <a:pt x="18211" y="1047"/>
                  </a:lnTo>
                  <a:lnTo>
                    <a:pt x="18206" y="1053"/>
                  </a:lnTo>
                  <a:lnTo>
                    <a:pt x="18199" y="1057"/>
                  </a:lnTo>
                  <a:lnTo>
                    <a:pt x="18192" y="1058"/>
                  </a:lnTo>
                  <a:lnTo>
                    <a:pt x="18174" y="1058"/>
                  </a:lnTo>
                  <a:lnTo>
                    <a:pt x="18201" y="1919"/>
                  </a:lnTo>
                  <a:lnTo>
                    <a:pt x="18930" y="1919"/>
                  </a:lnTo>
                  <a:lnTo>
                    <a:pt x="19661" y="1919"/>
                  </a:lnTo>
                  <a:lnTo>
                    <a:pt x="19698" y="1158"/>
                  </a:lnTo>
                  <a:lnTo>
                    <a:pt x="19736" y="399"/>
                  </a:lnTo>
                  <a:lnTo>
                    <a:pt x="19738" y="392"/>
                  </a:lnTo>
                  <a:lnTo>
                    <a:pt x="19742" y="386"/>
                  </a:lnTo>
                  <a:lnTo>
                    <a:pt x="19748" y="382"/>
                  </a:lnTo>
                  <a:lnTo>
                    <a:pt x="19756" y="381"/>
                  </a:lnTo>
                  <a:lnTo>
                    <a:pt x="20084" y="381"/>
                  </a:lnTo>
                  <a:lnTo>
                    <a:pt x="20092" y="382"/>
                  </a:lnTo>
                  <a:lnTo>
                    <a:pt x="20098" y="386"/>
                  </a:lnTo>
                  <a:lnTo>
                    <a:pt x="20102" y="392"/>
                  </a:lnTo>
                  <a:lnTo>
                    <a:pt x="20105" y="399"/>
                  </a:lnTo>
                  <a:lnTo>
                    <a:pt x="20142" y="1126"/>
                  </a:lnTo>
                  <a:lnTo>
                    <a:pt x="20181" y="1855"/>
                  </a:lnTo>
                  <a:lnTo>
                    <a:pt x="20179" y="1864"/>
                  </a:lnTo>
                  <a:lnTo>
                    <a:pt x="20175" y="1870"/>
                  </a:lnTo>
                  <a:lnTo>
                    <a:pt x="20169" y="1874"/>
                  </a:lnTo>
                  <a:lnTo>
                    <a:pt x="20161" y="1877"/>
                  </a:lnTo>
                  <a:lnTo>
                    <a:pt x="20147" y="1872"/>
                  </a:lnTo>
                  <a:lnTo>
                    <a:pt x="20143" y="1867"/>
                  </a:lnTo>
                  <a:lnTo>
                    <a:pt x="20141" y="1858"/>
                  </a:lnTo>
                  <a:lnTo>
                    <a:pt x="20102" y="1139"/>
                  </a:lnTo>
                  <a:lnTo>
                    <a:pt x="20065" y="420"/>
                  </a:lnTo>
                  <a:lnTo>
                    <a:pt x="19775" y="420"/>
                  </a:lnTo>
                  <a:lnTo>
                    <a:pt x="19737" y="1180"/>
                  </a:lnTo>
                  <a:lnTo>
                    <a:pt x="19700" y="1939"/>
                  </a:lnTo>
                  <a:lnTo>
                    <a:pt x="19700" y="1942"/>
                  </a:lnTo>
                  <a:lnTo>
                    <a:pt x="19698" y="1947"/>
                  </a:lnTo>
                  <a:lnTo>
                    <a:pt x="19695" y="1952"/>
                  </a:lnTo>
                  <a:lnTo>
                    <a:pt x="19688" y="1956"/>
                  </a:lnTo>
                  <a:lnTo>
                    <a:pt x="19682" y="1959"/>
                  </a:lnTo>
                  <a:lnTo>
                    <a:pt x="18942" y="1959"/>
                  </a:lnTo>
                  <a:lnTo>
                    <a:pt x="18202" y="1959"/>
                  </a:lnTo>
                  <a:lnTo>
                    <a:pt x="18221" y="2560"/>
                  </a:lnTo>
                  <a:lnTo>
                    <a:pt x="18221" y="2567"/>
                  </a:lnTo>
                  <a:lnTo>
                    <a:pt x="18244" y="3338"/>
                  </a:lnTo>
                  <a:lnTo>
                    <a:pt x="18269" y="4111"/>
                  </a:lnTo>
                  <a:lnTo>
                    <a:pt x="18320" y="4081"/>
                  </a:lnTo>
                  <a:lnTo>
                    <a:pt x="18342" y="4066"/>
                  </a:lnTo>
                  <a:lnTo>
                    <a:pt x="18361" y="4049"/>
                  </a:lnTo>
                  <a:lnTo>
                    <a:pt x="18392" y="4015"/>
                  </a:lnTo>
                  <a:lnTo>
                    <a:pt x="18419" y="3976"/>
                  </a:lnTo>
                  <a:lnTo>
                    <a:pt x="18447" y="3936"/>
                  </a:lnTo>
                  <a:lnTo>
                    <a:pt x="18475" y="3897"/>
                  </a:lnTo>
                  <a:lnTo>
                    <a:pt x="18506" y="3863"/>
                  </a:lnTo>
                  <a:lnTo>
                    <a:pt x="18524" y="3849"/>
                  </a:lnTo>
                  <a:lnTo>
                    <a:pt x="18542" y="3835"/>
                  </a:lnTo>
                  <a:lnTo>
                    <a:pt x="18562" y="3824"/>
                  </a:lnTo>
                  <a:lnTo>
                    <a:pt x="18585" y="3817"/>
                  </a:lnTo>
                  <a:lnTo>
                    <a:pt x="18610" y="3811"/>
                  </a:lnTo>
                  <a:lnTo>
                    <a:pt x="18637" y="3810"/>
                  </a:lnTo>
                  <a:lnTo>
                    <a:pt x="18656" y="3811"/>
                  </a:lnTo>
                  <a:lnTo>
                    <a:pt x="18673" y="3817"/>
                  </a:lnTo>
                  <a:lnTo>
                    <a:pt x="18702" y="3831"/>
                  </a:lnTo>
                  <a:lnTo>
                    <a:pt x="18702" y="3827"/>
                  </a:lnTo>
                  <a:lnTo>
                    <a:pt x="18702" y="3086"/>
                  </a:lnTo>
                  <a:lnTo>
                    <a:pt x="18664" y="3083"/>
                  </a:lnTo>
                  <a:lnTo>
                    <a:pt x="18625" y="3075"/>
                  </a:lnTo>
                  <a:lnTo>
                    <a:pt x="18588" y="3065"/>
                  </a:lnTo>
                  <a:lnTo>
                    <a:pt x="18553" y="3051"/>
                  </a:lnTo>
                  <a:lnTo>
                    <a:pt x="18519" y="3033"/>
                  </a:lnTo>
                  <a:lnTo>
                    <a:pt x="18488" y="3012"/>
                  </a:lnTo>
                  <a:lnTo>
                    <a:pt x="18458" y="2989"/>
                  </a:lnTo>
                  <a:lnTo>
                    <a:pt x="18431" y="2964"/>
                  </a:lnTo>
                  <a:lnTo>
                    <a:pt x="18407" y="2936"/>
                  </a:lnTo>
                  <a:lnTo>
                    <a:pt x="18385" y="2905"/>
                  </a:lnTo>
                  <a:lnTo>
                    <a:pt x="18366" y="2873"/>
                  </a:lnTo>
                  <a:lnTo>
                    <a:pt x="18349" y="2838"/>
                  </a:lnTo>
                  <a:lnTo>
                    <a:pt x="18337" y="2803"/>
                  </a:lnTo>
                  <a:lnTo>
                    <a:pt x="18328" y="2766"/>
                  </a:lnTo>
                  <a:lnTo>
                    <a:pt x="18322" y="2726"/>
                  </a:lnTo>
                  <a:lnTo>
                    <a:pt x="18320" y="2686"/>
                  </a:lnTo>
                  <a:lnTo>
                    <a:pt x="18322" y="2645"/>
                  </a:lnTo>
                  <a:lnTo>
                    <a:pt x="18328" y="2606"/>
                  </a:lnTo>
                  <a:lnTo>
                    <a:pt x="18338" y="2567"/>
                  </a:lnTo>
                  <a:lnTo>
                    <a:pt x="18352" y="2530"/>
                  </a:lnTo>
                  <a:lnTo>
                    <a:pt x="18369" y="2496"/>
                  </a:lnTo>
                  <a:lnTo>
                    <a:pt x="18388" y="2462"/>
                  </a:lnTo>
                  <a:lnTo>
                    <a:pt x="18412" y="2432"/>
                  </a:lnTo>
                  <a:lnTo>
                    <a:pt x="18438" y="2404"/>
                  </a:lnTo>
                  <a:lnTo>
                    <a:pt x="18466" y="2377"/>
                  </a:lnTo>
                  <a:lnTo>
                    <a:pt x="18497" y="2354"/>
                  </a:lnTo>
                  <a:lnTo>
                    <a:pt x="18530" y="2335"/>
                  </a:lnTo>
                  <a:lnTo>
                    <a:pt x="18565" y="2317"/>
                  </a:lnTo>
                  <a:lnTo>
                    <a:pt x="18602" y="2304"/>
                  </a:lnTo>
                  <a:lnTo>
                    <a:pt x="18640" y="2294"/>
                  </a:lnTo>
                  <a:lnTo>
                    <a:pt x="18680" y="2287"/>
                  </a:lnTo>
                  <a:lnTo>
                    <a:pt x="18721" y="2286"/>
                  </a:lnTo>
                  <a:lnTo>
                    <a:pt x="18764" y="2287"/>
                  </a:lnTo>
                  <a:lnTo>
                    <a:pt x="18803" y="2294"/>
                  </a:lnTo>
                  <a:lnTo>
                    <a:pt x="18842" y="2304"/>
                  </a:lnTo>
                  <a:lnTo>
                    <a:pt x="18879" y="2318"/>
                  </a:lnTo>
                  <a:lnTo>
                    <a:pt x="18914" y="2335"/>
                  </a:lnTo>
                  <a:lnTo>
                    <a:pt x="18947" y="2355"/>
                  </a:lnTo>
                  <a:lnTo>
                    <a:pt x="18978" y="2378"/>
                  </a:lnTo>
                  <a:lnTo>
                    <a:pt x="19007" y="2404"/>
                  </a:lnTo>
                  <a:lnTo>
                    <a:pt x="19033" y="2433"/>
                  </a:lnTo>
                  <a:lnTo>
                    <a:pt x="19056" y="2464"/>
                  </a:lnTo>
                  <a:lnTo>
                    <a:pt x="19075" y="2497"/>
                  </a:lnTo>
                  <a:lnTo>
                    <a:pt x="19092" y="2532"/>
                  </a:lnTo>
                  <a:lnTo>
                    <a:pt x="19106" y="2569"/>
                  </a:lnTo>
                  <a:lnTo>
                    <a:pt x="19115" y="2607"/>
                  </a:lnTo>
                  <a:lnTo>
                    <a:pt x="19121" y="2645"/>
                  </a:lnTo>
                  <a:lnTo>
                    <a:pt x="19124" y="2686"/>
                  </a:lnTo>
                  <a:lnTo>
                    <a:pt x="19121" y="2695"/>
                  </a:lnTo>
                  <a:lnTo>
                    <a:pt x="19118" y="2702"/>
                  </a:lnTo>
                  <a:lnTo>
                    <a:pt x="19111" y="2705"/>
                  </a:lnTo>
                  <a:lnTo>
                    <a:pt x="19103" y="2707"/>
                  </a:lnTo>
                  <a:lnTo>
                    <a:pt x="19096" y="2705"/>
                  </a:lnTo>
                  <a:lnTo>
                    <a:pt x="19089" y="2702"/>
                  </a:lnTo>
                  <a:lnTo>
                    <a:pt x="19085" y="2695"/>
                  </a:lnTo>
                  <a:lnTo>
                    <a:pt x="19083" y="2686"/>
                  </a:lnTo>
                  <a:lnTo>
                    <a:pt x="19082" y="2650"/>
                  </a:lnTo>
                  <a:lnTo>
                    <a:pt x="19076" y="2615"/>
                  </a:lnTo>
                  <a:lnTo>
                    <a:pt x="19067" y="2580"/>
                  </a:lnTo>
                  <a:lnTo>
                    <a:pt x="19055" y="2547"/>
                  </a:lnTo>
                  <a:lnTo>
                    <a:pt x="19041" y="2515"/>
                  </a:lnTo>
                  <a:lnTo>
                    <a:pt x="19023" y="2485"/>
                  </a:lnTo>
                  <a:lnTo>
                    <a:pt x="19002" y="2457"/>
                  </a:lnTo>
                  <a:lnTo>
                    <a:pt x="18978" y="2432"/>
                  </a:lnTo>
                  <a:lnTo>
                    <a:pt x="18952" y="2409"/>
                  </a:lnTo>
                  <a:lnTo>
                    <a:pt x="18925" y="2388"/>
                  </a:lnTo>
                  <a:lnTo>
                    <a:pt x="18894" y="2369"/>
                  </a:lnTo>
                  <a:lnTo>
                    <a:pt x="18864" y="2354"/>
                  </a:lnTo>
                  <a:lnTo>
                    <a:pt x="18830" y="2342"/>
                  </a:lnTo>
                  <a:lnTo>
                    <a:pt x="18796" y="2333"/>
                  </a:lnTo>
                  <a:lnTo>
                    <a:pt x="18758" y="2328"/>
                  </a:lnTo>
                  <a:lnTo>
                    <a:pt x="18721" y="2326"/>
                  </a:lnTo>
                  <a:lnTo>
                    <a:pt x="18684" y="2328"/>
                  </a:lnTo>
                  <a:lnTo>
                    <a:pt x="18648" y="2333"/>
                  </a:lnTo>
                  <a:lnTo>
                    <a:pt x="18614" y="2342"/>
                  </a:lnTo>
                  <a:lnTo>
                    <a:pt x="18580" y="2354"/>
                  </a:lnTo>
                  <a:lnTo>
                    <a:pt x="18549" y="2369"/>
                  </a:lnTo>
                  <a:lnTo>
                    <a:pt x="18520" y="2387"/>
                  </a:lnTo>
                  <a:lnTo>
                    <a:pt x="18492" y="2407"/>
                  </a:lnTo>
                  <a:lnTo>
                    <a:pt x="18466" y="2432"/>
                  </a:lnTo>
                  <a:lnTo>
                    <a:pt x="18443" y="2457"/>
                  </a:lnTo>
                  <a:lnTo>
                    <a:pt x="18421" y="2484"/>
                  </a:lnTo>
                  <a:lnTo>
                    <a:pt x="18403" y="2515"/>
                  </a:lnTo>
                  <a:lnTo>
                    <a:pt x="18388" y="2546"/>
                  </a:lnTo>
                  <a:lnTo>
                    <a:pt x="18381" y="2562"/>
                  </a:lnTo>
                  <a:lnTo>
                    <a:pt x="18376" y="2579"/>
                  </a:lnTo>
                  <a:lnTo>
                    <a:pt x="18367" y="2613"/>
                  </a:lnTo>
                  <a:lnTo>
                    <a:pt x="18362" y="2649"/>
                  </a:lnTo>
                  <a:lnTo>
                    <a:pt x="18360" y="2686"/>
                  </a:lnTo>
                  <a:lnTo>
                    <a:pt x="18362" y="2722"/>
                  </a:lnTo>
                  <a:lnTo>
                    <a:pt x="18367" y="2757"/>
                  </a:lnTo>
                  <a:lnTo>
                    <a:pt x="18375" y="2790"/>
                  </a:lnTo>
                  <a:lnTo>
                    <a:pt x="18387" y="2823"/>
                  </a:lnTo>
                  <a:lnTo>
                    <a:pt x="18401" y="2854"/>
                  </a:lnTo>
                  <a:lnTo>
                    <a:pt x="18417" y="2882"/>
                  </a:lnTo>
                  <a:lnTo>
                    <a:pt x="18438" y="2910"/>
                  </a:lnTo>
                  <a:lnTo>
                    <a:pt x="18460" y="2936"/>
                  </a:lnTo>
                  <a:lnTo>
                    <a:pt x="18484" y="2959"/>
                  </a:lnTo>
                  <a:lnTo>
                    <a:pt x="18510" y="2979"/>
                  </a:lnTo>
                  <a:lnTo>
                    <a:pt x="18538" y="2997"/>
                  </a:lnTo>
                  <a:lnTo>
                    <a:pt x="18569" y="3014"/>
                  </a:lnTo>
                  <a:lnTo>
                    <a:pt x="18599" y="3026"/>
                  </a:lnTo>
                  <a:lnTo>
                    <a:pt x="18633" y="3037"/>
                  </a:lnTo>
                  <a:lnTo>
                    <a:pt x="18667" y="3043"/>
                  </a:lnTo>
                  <a:lnTo>
                    <a:pt x="18702" y="3047"/>
                  </a:lnTo>
                  <a:lnTo>
                    <a:pt x="18702" y="3011"/>
                  </a:lnTo>
                  <a:lnTo>
                    <a:pt x="18701" y="3008"/>
                  </a:lnTo>
                  <a:lnTo>
                    <a:pt x="18597" y="2865"/>
                  </a:lnTo>
                  <a:lnTo>
                    <a:pt x="18593" y="2858"/>
                  </a:lnTo>
                  <a:lnTo>
                    <a:pt x="18593" y="2850"/>
                  </a:lnTo>
                  <a:lnTo>
                    <a:pt x="18596" y="2842"/>
                  </a:lnTo>
                  <a:lnTo>
                    <a:pt x="18601" y="2837"/>
                  </a:lnTo>
                  <a:lnTo>
                    <a:pt x="18607" y="2835"/>
                  </a:lnTo>
                  <a:lnTo>
                    <a:pt x="18615" y="2833"/>
                  </a:lnTo>
                  <a:lnTo>
                    <a:pt x="18623" y="2836"/>
                  </a:lnTo>
                  <a:lnTo>
                    <a:pt x="18629" y="2842"/>
                  </a:lnTo>
                  <a:lnTo>
                    <a:pt x="18702" y="2943"/>
                  </a:lnTo>
                  <a:lnTo>
                    <a:pt x="18702" y="2901"/>
                  </a:lnTo>
                  <a:lnTo>
                    <a:pt x="18702" y="2895"/>
                  </a:lnTo>
                  <a:lnTo>
                    <a:pt x="18702" y="2744"/>
                  </a:lnTo>
                  <a:lnTo>
                    <a:pt x="18606" y="2611"/>
                  </a:lnTo>
                  <a:lnTo>
                    <a:pt x="18602" y="2603"/>
                  </a:lnTo>
                  <a:lnTo>
                    <a:pt x="18602" y="2595"/>
                  </a:lnTo>
                  <a:lnTo>
                    <a:pt x="18606" y="2588"/>
                  </a:lnTo>
                  <a:lnTo>
                    <a:pt x="18611" y="2583"/>
                  </a:lnTo>
                  <a:lnTo>
                    <a:pt x="18617" y="2580"/>
                  </a:lnTo>
                  <a:lnTo>
                    <a:pt x="18625" y="2579"/>
                  </a:lnTo>
                  <a:lnTo>
                    <a:pt x="18633" y="2581"/>
                  </a:lnTo>
                  <a:lnTo>
                    <a:pt x="18639" y="2588"/>
                  </a:lnTo>
                  <a:lnTo>
                    <a:pt x="18702" y="2675"/>
                  </a:lnTo>
                  <a:lnTo>
                    <a:pt x="18702" y="2599"/>
                  </a:lnTo>
                  <a:lnTo>
                    <a:pt x="18705" y="2590"/>
                  </a:lnTo>
                  <a:lnTo>
                    <a:pt x="18708" y="2584"/>
                  </a:lnTo>
                  <a:lnTo>
                    <a:pt x="18715" y="2580"/>
                  </a:lnTo>
                  <a:lnTo>
                    <a:pt x="18723" y="2579"/>
                  </a:lnTo>
                  <a:lnTo>
                    <a:pt x="18730" y="2580"/>
                  </a:lnTo>
                  <a:lnTo>
                    <a:pt x="18737" y="2584"/>
                  </a:lnTo>
                  <a:lnTo>
                    <a:pt x="18741" y="2590"/>
                  </a:lnTo>
                  <a:lnTo>
                    <a:pt x="18742" y="2599"/>
                  </a:lnTo>
                  <a:lnTo>
                    <a:pt x="18742" y="2734"/>
                  </a:lnTo>
                  <a:lnTo>
                    <a:pt x="18742" y="2740"/>
                  </a:lnTo>
                  <a:lnTo>
                    <a:pt x="18742" y="2836"/>
                  </a:lnTo>
                  <a:lnTo>
                    <a:pt x="18828" y="2718"/>
                  </a:lnTo>
                  <a:lnTo>
                    <a:pt x="18834" y="2712"/>
                  </a:lnTo>
                  <a:lnTo>
                    <a:pt x="18842" y="2711"/>
                  </a:lnTo>
                  <a:lnTo>
                    <a:pt x="18856" y="2714"/>
                  </a:lnTo>
                  <a:lnTo>
                    <a:pt x="18861" y="2719"/>
                  </a:lnTo>
                  <a:lnTo>
                    <a:pt x="18864" y="2726"/>
                  </a:lnTo>
                  <a:lnTo>
                    <a:pt x="18864" y="2734"/>
                  </a:lnTo>
                  <a:lnTo>
                    <a:pt x="18860" y="2743"/>
                  </a:lnTo>
                  <a:close/>
                  <a:moveTo>
                    <a:pt x="20006" y="2597"/>
                  </a:moveTo>
                  <a:lnTo>
                    <a:pt x="19966" y="2597"/>
                  </a:lnTo>
                  <a:lnTo>
                    <a:pt x="19966" y="2709"/>
                  </a:lnTo>
                  <a:lnTo>
                    <a:pt x="20724" y="2709"/>
                  </a:lnTo>
                  <a:lnTo>
                    <a:pt x="21483" y="2709"/>
                  </a:lnTo>
                  <a:lnTo>
                    <a:pt x="22241" y="2709"/>
                  </a:lnTo>
                  <a:lnTo>
                    <a:pt x="23000" y="2709"/>
                  </a:lnTo>
                  <a:lnTo>
                    <a:pt x="23000" y="2597"/>
                  </a:lnTo>
                  <a:lnTo>
                    <a:pt x="22962" y="2597"/>
                  </a:lnTo>
                  <a:lnTo>
                    <a:pt x="22954" y="2597"/>
                  </a:lnTo>
                  <a:lnTo>
                    <a:pt x="22218" y="2597"/>
                  </a:lnTo>
                  <a:lnTo>
                    <a:pt x="21483" y="2597"/>
                  </a:lnTo>
                  <a:lnTo>
                    <a:pt x="20747" y="2597"/>
                  </a:lnTo>
                  <a:lnTo>
                    <a:pt x="20013" y="2597"/>
                  </a:lnTo>
                  <a:lnTo>
                    <a:pt x="20006" y="2597"/>
                  </a:lnTo>
                  <a:close/>
                  <a:moveTo>
                    <a:pt x="19369" y="3221"/>
                  </a:moveTo>
                  <a:lnTo>
                    <a:pt x="19369" y="3011"/>
                  </a:lnTo>
                  <a:lnTo>
                    <a:pt x="19370" y="3002"/>
                  </a:lnTo>
                  <a:lnTo>
                    <a:pt x="19375" y="2996"/>
                  </a:lnTo>
                  <a:lnTo>
                    <a:pt x="19382" y="2992"/>
                  </a:lnTo>
                  <a:lnTo>
                    <a:pt x="19388" y="2991"/>
                  </a:lnTo>
                  <a:lnTo>
                    <a:pt x="19396" y="2992"/>
                  </a:lnTo>
                  <a:lnTo>
                    <a:pt x="19402" y="2996"/>
                  </a:lnTo>
                  <a:lnTo>
                    <a:pt x="19407" y="3002"/>
                  </a:lnTo>
                  <a:lnTo>
                    <a:pt x="19409" y="3011"/>
                  </a:lnTo>
                  <a:lnTo>
                    <a:pt x="19409" y="3162"/>
                  </a:lnTo>
                  <a:lnTo>
                    <a:pt x="19442" y="3116"/>
                  </a:lnTo>
                  <a:lnTo>
                    <a:pt x="19448" y="3111"/>
                  </a:lnTo>
                  <a:lnTo>
                    <a:pt x="19456" y="3108"/>
                  </a:lnTo>
                  <a:lnTo>
                    <a:pt x="19470" y="3112"/>
                  </a:lnTo>
                  <a:lnTo>
                    <a:pt x="19475" y="3117"/>
                  </a:lnTo>
                  <a:lnTo>
                    <a:pt x="19478" y="3124"/>
                  </a:lnTo>
                  <a:lnTo>
                    <a:pt x="19478" y="3131"/>
                  </a:lnTo>
                  <a:lnTo>
                    <a:pt x="19474" y="3140"/>
                  </a:lnTo>
                  <a:lnTo>
                    <a:pt x="19409" y="3231"/>
                  </a:lnTo>
                  <a:lnTo>
                    <a:pt x="19409" y="3413"/>
                  </a:lnTo>
                  <a:lnTo>
                    <a:pt x="19432" y="3381"/>
                  </a:lnTo>
                  <a:lnTo>
                    <a:pt x="19438" y="3374"/>
                  </a:lnTo>
                  <a:lnTo>
                    <a:pt x="19446" y="3372"/>
                  </a:lnTo>
                  <a:lnTo>
                    <a:pt x="19460" y="3375"/>
                  </a:lnTo>
                  <a:lnTo>
                    <a:pt x="19465" y="3382"/>
                  </a:lnTo>
                  <a:lnTo>
                    <a:pt x="19468" y="3388"/>
                  </a:lnTo>
                  <a:lnTo>
                    <a:pt x="19468" y="3396"/>
                  </a:lnTo>
                  <a:lnTo>
                    <a:pt x="19464" y="3404"/>
                  </a:lnTo>
                  <a:lnTo>
                    <a:pt x="19409" y="3480"/>
                  </a:lnTo>
                  <a:lnTo>
                    <a:pt x="19409" y="3491"/>
                  </a:lnTo>
                  <a:lnTo>
                    <a:pt x="19409" y="3498"/>
                  </a:lnTo>
                  <a:lnTo>
                    <a:pt x="19409" y="3608"/>
                  </a:lnTo>
                  <a:lnTo>
                    <a:pt x="19425" y="3613"/>
                  </a:lnTo>
                  <a:lnTo>
                    <a:pt x="19441" y="3620"/>
                  </a:lnTo>
                  <a:lnTo>
                    <a:pt x="19455" y="3627"/>
                  </a:lnTo>
                  <a:lnTo>
                    <a:pt x="19468" y="3632"/>
                  </a:lnTo>
                  <a:lnTo>
                    <a:pt x="19480" y="3635"/>
                  </a:lnTo>
                  <a:lnTo>
                    <a:pt x="19488" y="3635"/>
                  </a:lnTo>
                  <a:lnTo>
                    <a:pt x="19494" y="3632"/>
                  </a:lnTo>
                  <a:lnTo>
                    <a:pt x="19501" y="3630"/>
                  </a:lnTo>
                  <a:lnTo>
                    <a:pt x="19509" y="3625"/>
                  </a:lnTo>
                  <a:lnTo>
                    <a:pt x="19525" y="3608"/>
                  </a:lnTo>
                  <a:lnTo>
                    <a:pt x="19547" y="3585"/>
                  </a:lnTo>
                  <a:lnTo>
                    <a:pt x="19562" y="3570"/>
                  </a:lnTo>
                  <a:lnTo>
                    <a:pt x="19577" y="3562"/>
                  </a:lnTo>
                  <a:lnTo>
                    <a:pt x="19591" y="3558"/>
                  </a:lnTo>
                  <a:lnTo>
                    <a:pt x="19620" y="3556"/>
                  </a:lnTo>
                  <a:lnTo>
                    <a:pt x="19639" y="3554"/>
                  </a:lnTo>
                  <a:lnTo>
                    <a:pt x="19664" y="3552"/>
                  </a:lnTo>
                  <a:lnTo>
                    <a:pt x="19679" y="3544"/>
                  </a:lnTo>
                  <a:lnTo>
                    <a:pt x="19684" y="3539"/>
                  </a:lnTo>
                  <a:lnTo>
                    <a:pt x="19688" y="3533"/>
                  </a:lnTo>
                  <a:lnTo>
                    <a:pt x="19695" y="3517"/>
                  </a:lnTo>
                  <a:lnTo>
                    <a:pt x="19700" y="3499"/>
                  </a:lnTo>
                  <a:lnTo>
                    <a:pt x="19705" y="3479"/>
                  </a:lnTo>
                  <a:lnTo>
                    <a:pt x="19714" y="3460"/>
                  </a:lnTo>
                  <a:lnTo>
                    <a:pt x="19728" y="3441"/>
                  </a:lnTo>
                  <a:lnTo>
                    <a:pt x="19737" y="3432"/>
                  </a:lnTo>
                  <a:lnTo>
                    <a:pt x="19748" y="3424"/>
                  </a:lnTo>
                  <a:lnTo>
                    <a:pt x="19792" y="3398"/>
                  </a:lnTo>
                  <a:lnTo>
                    <a:pt x="19804" y="3391"/>
                  </a:lnTo>
                  <a:lnTo>
                    <a:pt x="19810" y="3383"/>
                  </a:lnTo>
                  <a:lnTo>
                    <a:pt x="19813" y="3373"/>
                  </a:lnTo>
                  <a:lnTo>
                    <a:pt x="19811" y="3360"/>
                  </a:lnTo>
                  <a:lnTo>
                    <a:pt x="19804" y="3310"/>
                  </a:lnTo>
                  <a:lnTo>
                    <a:pt x="19804" y="3286"/>
                  </a:lnTo>
                  <a:lnTo>
                    <a:pt x="19807" y="3265"/>
                  </a:lnTo>
                  <a:lnTo>
                    <a:pt x="19816" y="3248"/>
                  </a:lnTo>
                  <a:lnTo>
                    <a:pt x="19827" y="3232"/>
                  </a:lnTo>
                  <a:lnTo>
                    <a:pt x="19847" y="3207"/>
                  </a:lnTo>
                  <a:lnTo>
                    <a:pt x="19854" y="3194"/>
                  </a:lnTo>
                  <a:lnTo>
                    <a:pt x="19856" y="3181"/>
                  </a:lnTo>
                  <a:lnTo>
                    <a:pt x="19854" y="3164"/>
                  </a:lnTo>
                  <a:lnTo>
                    <a:pt x="19850" y="3158"/>
                  </a:lnTo>
                  <a:lnTo>
                    <a:pt x="19846" y="3152"/>
                  </a:lnTo>
                  <a:lnTo>
                    <a:pt x="19824" y="3126"/>
                  </a:lnTo>
                  <a:lnTo>
                    <a:pt x="19814" y="3109"/>
                  </a:lnTo>
                  <a:lnTo>
                    <a:pt x="19806" y="3088"/>
                  </a:lnTo>
                  <a:lnTo>
                    <a:pt x="19805" y="3060"/>
                  </a:lnTo>
                  <a:lnTo>
                    <a:pt x="19806" y="3042"/>
                  </a:lnTo>
                  <a:lnTo>
                    <a:pt x="19809" y="3020"/>
                  </a:lnTo>
                  <a:lnTo>
                    <a:pt x="19811" y="3005"/>
                  </a:lnTo>
                  <a:lnTo>
                    <a:pt x="19811" y="2992"/>
                  </a:lnTo>
                  <a:lnTo>
                    <a:pt x="19809" y="2982"/>
                  </a:lnTo>
                  <a:lnTo>
                    <a:pt x="19805" y="2973"/>
                  </a:lnTo>
                  <a:lnTo>
                    <a:pt x="19792" y="2960"/>
                  </a:lnTo>
                  <a:lnTo>
                    <a:pt x="19775" y="2951"/>
                  </a:lnTo>
                  <a:lnTo>
                    <a:pt x="19757" y="2942"/>
                  </a:lnTo>
                  <a:lnTo>
                    <a:pt x="19738" y="2930"/>
                  </a:lnTo>
                  <a:lnTo>
                    <a:pt x="19720" y="2913"/>
                  </a:lnTo>
                  <a:lnTo>
                    <a:pt x="19712" y="2900"/>
                  </a:lnTo>
                  <a:lnTo>
                    <a:pt x="19706" y="2884"/>
                  </a:lnTo>
                  <a:lnTo>
                    <a:pt x="19691" y="2837"/>
                  </a:lnTo>
                  <a:lnTo>
                    <a:pt x="19686" y="2824"/>
                  </a:lnTo>
                  <a:lnTo>
                    <a:pt x="19683" y="2819"/>
                  </a:lnTo>
                  <a:lnTo>
                    <a:pt x="19680" y="2815"/>
                  </a:lnTo>
                  <a:lnTo>
                    <a:pt x="19671" y="2812"/>
                  </a:lnTo>
                  <a:lnTo>
                    <a:pt x="19657" y="2810"/>
                  </a:lnTo>
                  <a:lnTo>
                    <a:pt x="19607" y="2806"/>
                  </a:lnTo>
                  <a:lnTo>
                    <a:pt x="19591" y="2803"/>
                  </a:lnTo>
                  <a:lnTo>
                    <a:pt x="19577" y="2799"/>
                  </a:lnTo>
                  <a:lnTo>
                    <a:pt x="19555" y="2786"/>
                  </a:lnTo>
                  <a:lnTo>
                    <a:pt x="19547" y="2778"/>
                  </a:lnTo>
                  <a:lnTo>
                    <a:pt x="19539" y="2769"/>
                  </a:lnTo>
                  <a:lnTo>
                    <a:pt x="19527" y="2753"/>
                  </a:lnTo>
                  <a:lnTo>
                    <a:pt x="19514" y="2739"/>
                  </a:lnTo>
                  <a:lnTo>
                    <a:pt x="19507" y="2734"/>
                  </a:lnTo>
                  <a:lnTo>
                    <a:pt x="19500" y="2730"/>
                  </a:lnTo>
                  <a:lnTo>
                    <a:pt x="19491" y="2727"/>
                  </a:lnTo>
                  <a:lnTo>
                    <a:pt x="19479" y="2728"/>
                  </a:lnTo>
                  <a:lnTo>
                    <a:pt x="19452" y="2736"/>
                  </a:lnTo>
                  <a:lnTo>
                    <a:pt x="19421" y="2749"/>
                  </a:lnTo>
                  <a:lnTo>
                    <a:pt x="19405" y="2754"/>
                  </a:lnTo>
                  <a:lnTo>
                    <a:pt x="19388" y="2755"/>
                  </a:lnTo>
                  <a:lnTo>
                    <a:pt x="19366" y="2753"/>
                  </a:lnTo>
                  <a:lnTo>
                    <a:pt x="19347" y="2746"/>
                  </a:lnTo>
                  <a:lnTo>
                    <a:pt x="19316" y="2731"/>
                  </a:lnTo>
                  <a:lnTo>
                    <a:pt x="19301" y="2727"/>
                  </a:lnTo>
                  <a:lnTo>
                    <a:pt x="19293" y="2726"/>
                  </a:lnTo>
                  <a:lnTo>
                    <a:pt x="19287" y="2727"/>
                  </a:lnTo>
                  <a:lnTo>
                    <a:pt x="19270" y="2736"/>
                  </a:lnTo>
                  <a:lnTo>
                    <a:pt x="19251" y="2753"/>
                  </a:lnTo>
                  <a:lnTo>
                    <a:pt x="19230" y="2776"/>
                  </a:lnTo>
                  <a:lnTo>
                    <a:pt x="19214" y="2791"/>
                  </a:lnTo>
                  <a:lnTo>
                    <a:pt x="19200" y="2799"/>
                  </a:lnTo>
                  <a:lnTo>
                    <a:pt x="19187" y="2804"/>
                  </a:lnTo>
                  <a:lnTo>
                    <a:pt x="19157" y="2805"/>
                  </a:lnTo>
                  <a:lnTo>
                    <a:pt x="19138" y="2806"/>
                  </a:lnTo>
                  <a:lnTo>
                    <a:pt x="19112" y="2810"/>
                  </a:lnTo>
                  <a:lnTo>
                    <a:pt x="19098" y="2817"/>
                  </a:lnTo>
                  <a:lnTo>
                    <a:pt x="19093" y="2822"/>
                  </a:lnTo>
                  <a:lnTo>
                    <a:pt x="19088" y="2828"/>
                  </a:lnTo>
                  <a:lnTo>
                    <a:pt x="19082" y="2844"/>
                  </a:lnTo>
                  <a:lnTo>
                    <a:pt x="19078" y="2863"/>
                  </a:lnTo>
                  <a:lnTo>
                    <a:pt x="19071" y="2882"/>
                  </a:lnTo>
                  <a:lnTo>
                    <a:pt x="19064" y="2902"/>
                  </a:lnTo>
                  <a:lnTo>
                    <a:pt x="19050" y="2920"/>
                  </a:lnTo>
                  <a:lnTo>
                    <a:pt x="19041" y="2929"/>
                  </a:lnTo>
                  <a:lnTo>
                    <a:pt x="19029" y="2937"/>
                  </a:lnTo>
                  <a:lnTo>
                    <a:pt x="18985" y="2962"/>
                  </a:lnTo>
                  <a:lnTo>
                    <a:pt x="18974" y="2970"/>
                  </a:lnTo>
                  <a:lnTo>
                    <a:pt x="18967" y="2978"/>
                  </a:lnTo>
                  <a:lnTo>
                    <a:pt x="18965" y="2988"/>
                  </a:lnTo>
                  <a:lnTo>
                    <a:pt x="18966" y="3002"/>
                  </a:lnTo>
                  <a:lnTo>
                    <a:pt x="18974" y="3052"/>
                  </a:lnTo>
                  <a:lnTo>
                    <a:pt x="18974" y="3079"/>
                  </a:lnTo>
                  <a:lnTo>
                    <a:pt x="18967" y="3101"/>
                  </a:lnTo>
                  <a:lnTo>
                    <a:pt x="18956" y="3121"/>
                  </a:lnTo>
                  <a:lnTo>
                    <a:pt x="18941" y="3143"/>
                  </a:lnTo>
                  <a:lnTo>
                    <a:pt x="18926" y="3164"/>
                  </a:lnTo>
                  <a:lnTo>
                    <a:pt x="18923" y="3172"/>
                  </a:lnTo>
                  <a:lnTo>
                    <a:pt x="18921" y="3181"/>
                  </a:lnTo>
                  <a:lnTo>
                    <a:pt x="18924" y="3196"/>
                  </a:lnTo>
                  <a:lnTo>
                    <a:pt x="18928" y="3204"/>
                  </a:lnTo>
                  <a:lnTo>
                    <a:pt x="18932" y="3211"/>
                  </a:lnTo>
                  <a:lnTo>
                    <a:pt x="18953" y="3235"/>
                  </a:lnTo>
                  <a:lnTo>
                    <a:pt x="18964" y="3251"/>
                  </a:lnTo>
                  <a:lnTo>
                    <a:pt x="18970" y="3273"/>
                  </a:lnTo>
                  <a:lnTo>
                    <a:pt x="18973" y="3303"/>
                  </a:lnTo>
                  <a:lnTo>
                    <a:pt x="18971" y="3320"/>
                  </a:lnTo>
                  <a:lnTo>
                    <a:pt x="18969" y="3341"/>
                  </a:lnTo>
                  <a:lnTo>
                    <a:pt x="18966" y="3356"/>
                  </a:lnTo>
                  <a:lnTo>
                    <a:pt x="18966" y="3369"/>
                  </a:lnTo>
                  <a:lnTo>
                    <a:pt x="18969" y="3381"/>
                  </a:lnTo>
                  <a:lnTo>
                    <a:pt x="18973" y="3388"/>
                  </a:lnTo>
                  <a:lnTo>
                    <a:pt x="18984" y="3401"/>
                  </a:lnTo>
                  <a:lnTo>
                    <a:pt x="19001" y="3410"/>
                  </a:lnTo>
                  <a:lnTo>
                    <a:pt x="19020" y="3419"/>
                  </a:lnTo>
                  <a:lnTo>
                    <a:pt x="19039" y="3430"/>
                  </a:lnTo>
                  <a:lnTo>
                    <a:pt x="19057" y="3448"/>
                  </a:lnTo>
                  <a:lnTo>
                    <a:pt x="19065" y="3461"/>
                  </a:lnTo>
                  <a:lnTo>
                    <a:pt x="19071" y="3476"/>
                  </a:lnTo>
                  <a:lnTo>
                    <a:pt x="19085" y="3524"/>
                  </a:lnTo>
                  <a:lnTo>
                    <a:pt x="19091" y="3538"/>
                  </a:lnTo>
                  <a:lnTo>
                    <a:pt x="19093" y="3542"/>
                  </a:lnTo>
                  <a:lnTo>
                    <a:pt x="19097" y="3546"/>
                  </a:lnTo>
                  <a:lnTo>
                    <a:pt x="19106" y="3549"/>
                  </a:lnTo>
                  <a:lnTo>
                    <a:pt x="19120" y="3551"/>
                  </a:lnTo>
                  <a:lnTo>
                    <a:pt x="19170" y="3556"/>
                  </a:lnTo>
                  <a:lnTo>
                    <a:pt x="19187" y="3558"/>
                  </a:lnTo>
                  <a:lnTo>
                    <a:pt x="19201" y="3562"/>
                  </a:lnTo>
                  <a:lnTo>
                    <a:pt x="19221" y="3576"/>
                  </a:lnTo>
                  <a:lnTo>
                    <a:pt x="19230" y="3584"/>
                  </a:lnTo>
                  <a:lnTo>
                    <a:pt x="19238" y="3592"/>
                  </a:lnTo>
                  <a:lnTo>
                    <a:pt x="19251" y="3608"/>
                  </a:lnTo>
                  <a:lnTo>
                    <a:pt x="19262" y="3622"/>
                  </a:lnTo>
                  <a:lnTo>
                    <a:pt x="19270" y="3627"/>
                  </a:lnTo>
                  <a:lnTo>
                    <a:pt x="19278" y="3631"/>
                  </a:lnTo>
                  <a:lnTo>
                    <a:pt x="19287" y="3634"/>
                  </a:lnTo>
                  <a:lnTo>
                    <a:pt x="19297" y="3634"/>
                  </a:lnTo>
                  <a:lnTo>
                    <a:pt x="19325" y="3625"/>
                  </a:lnTo>
                  <a:lnTo>
                    <a:pt x="19347" y="3616"/>
                  </a:lnTo>
                  <a:lnTo>
                    <a:pt x="19369" y="3608"/>
                  </a:lnTo>
                  <a:lnTo>
                    <a:pt x="19369" y="3506"/>
                  </a:lnTo>
                  <a:lnTo>
                    <a:pt x="19364" y="3502"/>
                  </a:lnTo>
                  <a:lnTo>
                    <a:pt x="19360" y="3498"/>
                  </a:lnTo>
                  <a:lnTo>
                    <a:pt x="19359" y="3487"/>
                  </a:lnTo>
                  <a:lnTo>
                    <a:pt x="19264" y="3358"/>
                  </a:lnTo>
                  <a:lnTo>
                    <a:pt x="19260" y="3349"/>
                  </a:lnTo>
                  <a:lnTo>
                    <a:pt x="19260" y="3341"/>
                  </a:lnTo>
                  <a:lnTo>
                    <a:pt x="19264" y="3335"/>
                  </a:lnTo>
                  <a:lnTo>
                    <a:pt x="19269" y="3329"/>
                  </a:lnTo>
                  <a:lnTo>
                    <a:pt x="19275" y="3326"/>
                  </a:lnTo>
                  <a:lnTo>
                    <a:pt x="19283" y="3326"/>
                  </a:lnTo>
                  <a:lnTo>
                    <a:pt x="19289" y="3328"/>
                  </a:lnTo>
                  <a:lnTo>
                    <a:pt x="19297" y="3333"/>
                  </a:lnTo>
                  <a:lnTo>
                    <a:pt x="19369" y="3433"/>
                  </a:lnTo>
                  <a:lnTo>
                    <a:pt x="19369" y="3320"/>
                  </a:lnTo>
                  <a:lnTo>
                    <a:pt x="19262" y="3176"/>
                  </a:lnTo>
                  <a:lnTo>
                    <a:pt x="19259" y="3167"/>
                  </a:lnTo>
                  <a:lnTo>
                    <a:pt x="19259" y="3159"/>
                  </a:lnTo>
                  <a:lnTo>
                    <a:pt x="19262" y="3153"/>
                  </a:lnTo>
                  <a:lnTo>
                    <a:pt x="19268" y="3148"/>
                  </a:lnTo>
                  <a:lnTo>
                    <a:pt x="19274" y="3144"/>
                  </a:lnTo>
                  <a:lnTo>
                    <a:pt x="19282" y="3144"/>
                  </a:lnTo>
                  <a:lnTo>
                    <a:pt x="19289" y="3147"/>
                  </a:lnTo>
                  <a:lnTo>
                    <a:pt x="19296" y="3152"/>
                  </a:lnTo>
                  <a:lnTo>
                    <a:pt x="19369" y="3253"/>
                  </a:lnTo>
                  <a:lnTo>
                    <a:pt x="19369" y="3227"/>
                  </a:lnTo>
                  <a:lnTo>
                    <a:pt x="19369" y="3221"/>
                  </a:lnTo>
                  <a:close/>
                  <a:moveTo>
                    <a:pt x="22962" y="2597"/>
                  </a:moveTo>
                  <a:lnTo>
                    <a:pt x="22954" y="2597"/>
                  </a:lnTo>
                  <a:lnTo>
                    <a:pt x="22962" y="2597"/>
                  </a:lnTo>
                  <a:close/>
                  <a:moveTo>
                    <a:pt x="20013" y="2597"/>
                  </a:moveTo>
                  <a:lnTo>
                    <a:pt x="20006" y="2597"/>
                  </a:lnTo>
                  <a:lnTo>
                    <a:pt x="20013" y="2597"/>
                  </a:lnTo>
                  <a:close/>
                  <a:moveTo>
                    <a:pt x="19409" y="3491"/>
                  </a:moveTo>
                  <a:lnTo>
                    <a:pt x="19409" y="3498"/>
                  </a:lnTo>
                  <a:lnTo>
                    <a:pt x="19409" y="3491"/>
                  </a:lnTo>
                  <a:close/>
                  <a:moveTo>
                    <a:pt x="19369" y="3227"/>
                  </a:moveTo>
                  <a:lnTo>
                    <a:pt x="19369" y="3221"/>
                  </a:lnTo>
                  <a:lnTo>
                    <a:pt x="19369" y="3227"/>
                  </a:lnTo>
                  <a:close/>
                  <a:moveTo>
                    <a:pt x="20708" y="1885"/>
                  </a:moveTo>
                  <a:lnTo>
                    <a:pt x="20672" y="1152"/>
                  </a:lnTo>
                  <a:lnTo>
                    <a:pt x="20636" y="420"/>
                  </a:lnTo>
                  <a:lnTo>
                    <a:pt x="20345" y="420"/>
                  </a:lnTo>
                  <a:lnTo>
                    <a:pt x="20306" y="1139"/>
                  </a:lnTo>
                  <a:lnTo>
                    <a:pt x="20269" y="1858"/>
                  </a:lnTo>
                  <a:lnTo>
                    <a:pt x="20268" y="1867"/>
                  </a:lnTo>
                  <a:lnTo>
                    <a:pt x="20263" y="1872"/>
                  </a:lnTo>
                  <a:lnTo>
                    <a:pt x="20256" y="1876"/>
                  </a:lnTo>
                  <a:lnTo>
                    <a:pt x="20248" y="1877"/>
                  </a:lnTo>
                  <a:lnTo>
                    <a:pt x="20241" y="1874"/>
                  </a:lnTo>
                  <a:lnTo>
                    <a:pt x="20234" y="1870"/>
                  </a:lnTo>
                  <a:lnTo>
                    <a:pt x="20231" y="1864"/>
                  </a:lnTo>
                  <a:lnTo>
                    <a:pt x="20229" y="1855"/>
                  </a:lnTo>
                  <a:lnTo>
                    <a:pt x="20268" y="1126"/>
                  </a:lnTo>
                  <a:lnTo>
                    <a:pt x="20306" y="399"/>
                  </a:lnTo>
                  <a:lnTo>
                    <a:pt x="20307" y="392"/>
                  </a:lnTo>
                  <a:lnTo>
                    <a:pt x="20313" y="386"/>
                  </a:lnTo>
                  <a:lnTo>
                    <a:pt x="20318" y="382"/>
                  </a:lnTo>
                  <a:lnTo>
                    <a:pt x="20325" y="381"/>
                  </a:lnTo>
                  <a:lnTo>
                    <a:pt x="20655" y="381"/>
                  </a:lnTo>
                  <a:lnTo>
                    <a:pt x="20661" y="382"/>
                  </a:lnTo>
                  <a:lnTo>
                    <a:pt x="20668" y="386"/>
                  </a:lnTo>
                  <a:lnTo>
                    <a:pt x="20673" y="392"/>
                  </a:lnTo>
                  <a:lnTo>
                    <a:pt x="20674" y="399"/>
                  </a:lnTo>
                  <a:lnTo>
                    <a:pt x="20710" y="1140"/>
                  </a:lnTo>
                  <a:lnTo>
                    <a:pt x="20747" y="1882"/>
                  </a:lnTo>
                  <a:lnTo>
                    <a:pt x="20746" y="1891"/>
                  </a:lnTo>
                  <a:lnTo>
                    <a:pt x="20742" y="1897"/>
                  </a:lnTo>
                  <a:lnTo>
                    <a:pt x="20736" y="1901"/>
                  </a:lnTo>
                  <a:lnTo>
                    <a:pt x="20728" y="1902"/>
                  </a:lnTo>
                  <a:lnTo>
                    <a:pt x="20715" y="1899"/>
                  </a:lnTo>
                  <a:lnTo>
                    <a:pt x="20710" y="1892"/>
                  </a:lnTo>
                  <a:lnTo>
                    <a:pt x="20708" y="1885"/>
                  </a:lnTo>
                  <a:close/>
                  <a:moveTo>
                    <a:pt x="2868" y="3476"/>
                  </a:moveTo>
                  <a:lnTo>
                    <a:pt x="2980" y="3323"/>
                  </a:lnTo>
                  <a:lnTo>
                    <a:pt x="2953" y="3268"/>
                  </a:lnTo>
                  <a:lnTo>
                    <a:pt x="2939" y="3245"/>
                  </a:lnTo>
                  <a:lnTo>
                    <a:pt x="2925" y="3225"/>
                  </a:lnTo>
                  <a:lnTo>
                    <a:pt x="2911" y="3207"/>
                  </a:lnTo>
                  <a:lnTo>
                    <a:pt x="2897" y="3193"/>
                  </a:lnTo>
                  <a:lnTo>
                    <a:pt x="2883" y="3181"/>
                  </a:lnTo>
                  <a:lnTo>
                    <a:pt x="2868" y="3175"/>
                  </a:lnTo>
                  <a:lnTo>
                    <a:pt x="2868" y="3476"/>
                  </a:lnTo>
                  <a:close/>
                  <a:moveTo>
                    <a:pt x="2998" y="3365"/>
                  </a:moveTo>
                  <a:lnTo>
                    <a:pt x="2868" y="3544"/>
                  </a:lnTo>
                  <a:lnTo>
                    <a:pt x="2868" y="3753"/>
                  </a:lnTo>
                  <a:lnTo>
                    <a:pt x="3045" y="3507"/>
                  </a:lnTo>
                  <a:lnTo>
                    <a:pt x="3027" y="3445"/>
                  </a:lnTo>
                  <a:lnTo>
                    <a:pt x="2998" y="3365"/>
                  </a:lnTo>
                  <a:close/>
                  <a:moveTo>
                    <a:pt x="2716" y="3324"/>
                  </a:moveTo>
                  <a:lnTo>
                    <a:pt x="2829" y="3479"/>
                  </a:lnTo>
                  <a:lnTo>
                    <a:pt x="2829" y="3173"/>
                  </a:lnTo>
                  <a:lnTo>
                    <a:pt x="2813" y="3181"/>
                  </a:lnTo>
                  <a:lnTo>
                    <a:pt x="2798" y="3193"/>
                  </a:lnTo>
                  <a:lnTo>
                    <a:pt x="2790" y="3199"/>
                  </a:lnTo>
                  <a:lnTo>
                    <a:pt x="2783" y="3207"/>
                  </a:lnTo>
                  <a:lnTo>
                    <a:pt x="2768" y="3225"/>
                  </a:lnTo>
                  <a:lnTo>
                    <a:pt x="2742" y="3269"/>
                  </a:lnTo>
                  <a:lnTo>
                    <a:pt x="2715" y="3323"/>
                  </a:lnTo>
                  <a:lnTo>
                    <a:pt x="2716" y="3324"/>
                  </a:lnTo>
                  <a:close/>
                  <a:moveTo>
                    <a:pt x="3060" y="3557"/>
                  </a:moveTo>
                  <a:lnTo>
                    <a:pt x="2868" y="3820"/>
                  </a:lnTo>
                  <a:lnTo>
                    <a:pt x="2868" y="4028"/>
                  </a:lnTo>
                  <a:lnTo>
                    <a:pt x="3089" y="3725"/>
                  </a:lnTo>
                  <a:lnTo>
                    <a:pt x="3094" y="3718"/>
                  </a:lnTo>
                  <a:lnTo>
                    <a:pt x="3080" y="3640"/>
                  </a:lnTo>
                  <a:lnTo>
                    <a:pt x="3060" y="3557"/>
                  </a:lnTo>
                  <a:close/>
                  <a:moveTo>
                    <a:pt x="2654" y="3515"/>
                  </a:moveTo>
                  <a:lnTo>
                    <a:pt x="2829" y="3754"/>
                  </a:lnTo>
                  <a:lnTo>
                    <a:pt x="2829" y="3547"/>
                  </a:lnTo>
                  <a:lnTo>
                    <a:pt x="2698" y="3367"/>
                  </a:lnTo>
                  <a:lnTo>
                    <a:pt x="2672" y="3437"/>
                  </a:lnTo>
                  <a:lnTo>
                    <a:pt x="2650" y="3511"/>
                  </a:lnTo>
                  <a:lnTo>
                    <a:pt x="2654" y="3515"/>
                  </a:lnTo>
                  <a:close/>
                  <a:moveTo>
                    <a:pt x="3103" y="3773"/>
                  </a:moveTo>
                  <a:lnTo>
                    <a:pt x="2868" y="4095"/>
                  </a:lnTo>
                  <a:lnTo>
                    <a:pt x="2868" y="4102"/>
                  </a:lnTo>
                  <a:lnTo>
                    <a:pt x="2893" y="4098"/>
                  </a:lnTo>
                  <a:lnTo>
                    <a:pt x="2917" y="4093"/>
                  </a:lnTo>
                  <a:lnTo>
                    <a:pt x="2940" y="4085"/>
                  </a:lnTo>
                  <a:lnTo>
                    <a:pt x="2962" y="4076"/>
                  </a:lnTo>
                  <a:lnTo>
                    <a:pt x="2983" y="4065"/>
                  </a:lnTo>
                  <a:lnTo>
                    <a:pt x="3003" y="4051"/>
                  </a:lnTo>
                  <a:lnTo>
                    <a:pt x="3021" y="4037"/>
                  </a:lnTo>
                  <a:lnTo>
                    <a:pt x="3038" y="4020"/>
                  </a:lnTo>
                  <a:lnTo>
                    <a:pt x="3067" y="3982"/>
                  </a:lnTo>
                  <a:lnTo>
                    <a:pt x="3079" y="3961"/>
                  </a:lnTo>
                  <a:lnTo>
                    <a:pt x="3089" y="3939"/>
                  </a:lnTo>
                  <a:lnTo>
                    <a:pt x="3097" y="3916"/>
                  </a:lnTo>
                  <a:lnTo>
                    <a:pt x="3103" y="3893"/>
                  </a:lnTo>
                  <a:lnTo>
                    <a:pt x="3107" y="3868"/>
                  </a:lnTo>
                  <a:lnTo>
                    <a:pt x="3108" y="3843"/>
                  </a:lnTo>
                  <a:lnTo>
                    <a:pt x="3107" y="3811"/>
                  </a:lnTo>
                  <a:lnTo>
                    <a:pt x="3103" y="3773"/>
                  </a:lnTo>
                  <a:close/>
                  <a:moveTo>
                    <a:pt x="2603" y="3719"/>
                  </a:moveTo>
                  <a:lnTo>
                    <a:pt x="2829" y="4012"/>
                  </a:lnTo>
                  <a:lnTo>
                    <a:pt x="2829" y="3822"/>
                  </a:lnTo>
                  <a:lnTo>
                    <a:pt x="2638" y="3560"/>
                  </a:lnTo>
                  <a:lnTo>
                    <a:pt x="2618" y="3644"/>
                  </a:lnTo>
                  <a:lnTo>
                    <a:pt x="2603" y="3719"/>
                  </a:lnTo>
                  <a:close/>
                  <a:moveTo>
                    <a:pt x="2784" y="1296"/>
                  </a:moveTo>
                  <a:lnTo>
                    <a:pt x="2784" y="1465"/>
                  </a:lnTo>
                  <a:lnTo>
                    <a:pt x="2781" y="1474"/>
                  </a:lnTo>
                  <a:lnTo>
                    <a:pt x="2777" y="1480"/>
                  </a:lnTo>
                  <a:lnTo>
                    <a:pt x="2771" y="1484"/>
                  </a:lnTo>
                  <a:lnTo>
                    <a:pt x="2763" y="1486"/>
                  </a:lnTo>
                  <a:lnTo>
                    <a:pt x="2756" y="1484"/>
                  </a:lnTo>
                  <a:lnTo>
                    <a:pt x="2749" y="1480"/>
                  </a:lnTo>
                  <a:lnTo>
                    <a:pt x="2745" y="1474"/>
                  </a:lnTo>
                  <a:lnTo>
                    <a:pt x="2743" y="1465"/>
                  </a:lnTo>
                  <a:lnTo>
                    <a:pt x="2743" y="1296"/>
                  </a:lnTo>
                  <a:lnTo>
                    <a:pt x="2650" y="1296"/>
                  </a:lnTo>
                  <a:lnTo>
                    <a:pt x="2650" y="1465"/>
                  </a:lnTo>
                  <a:lnTo>
                    <a:pt x="2649" y="1474"/>
                  </a:lnTo>
                  <a:lnTo>
                    <a:pt x="2644" y="1480"/>
                  </a:lnTo>
                  <a:lnTo>
                    <a:pt x="2638" y="1484"/>
                  </a:lnTo>
                  <a:lnTo>
                    <a:pt x="2631" y="1486"/>
                  </a:lnTo>
                  <a:lnTo>
                    <a:pt x="2624" y="1484"/>
                  </a:lnTo>
                  <a:lnTo>
                    <a:pt x="2617" y="1480"/>
                  </a:lnTo>
                  <a:lnTo>
                    <a:pt x="2612" y="1474"/>
                  </a:lnTo>
                  <a:lnTo>
                    <a:pt x="2611" y="1465"/>
                  </a:lnTo>
                  <a:lnTo>
                    <a:pt x="2611" y="1296"/>
                  </a:lnTo>
                  <a:lnTo>
                    <a:pt x="2518" y="1296"/>
                  </a:lnTo>
                  <a:lnTo>
                    <a:pt x="2518" y="1465"/>
                  </a:lnTo>
                  <a:lnTo>
                    <a:pt x="2516" y="1474"/>
                  </a:lnTo>
                  <a:lnTo>
                    <a:pt x="2512" y="1480"/>
                  </a:lnTo>
                  <a:lnTo>
                    <a:pt x="2506" y="1484"/>
                  </a:lnTo>
                  <a:lnTo>
                    <a:pt x="2498" y="1486"/>
                  </a:lnTo>
                  <a:lnTo>
                    <a:pt x="2490" y="1484"/>
                  </a:lnTo>
                  <a:lnTo>
                    <a:pt x="2484" y="1480"/>
                  </a:lnTo>
                  <a:lnTo>
                    <a:pt x="2480" y="1474"/>
                  </a:lnTo>
                  <a:lnTo>
                    <a:pt x="2477" y="1465"/>
                  </a:lnTo>
                  <a:lnTo>
                    <a:pt x="2477" y="1296"/>
                  </a:lnTo>
                  <a:lnTo>
                    <a:pt x="2385" y="1296"/>
                  </a:lnTo>
                  <a:lnTo>
                    <a:pt x="2385" y="1465"/>
                  </a:lnTo>
                  <a:lnTo>
                    <a:pt x="2384" y="1474"/>
                  </a:lnTo>
                  <a:lnTo>
                    <a:pt x="2379" y="1480"/>
                  </a:lnTo>
                  <a:lnTo>
                    <a:pt x="2372" y="1484"/>
                  </a:lnTo>
                  <a:lnTo>
                    <a:pt x="2366" y="1486"/>
                  </a:lnTo>
                  <a:lnTo>
                    <a:pt x="2358" y="1484"/>
                  </a:lnTo>
                  <a:lnTo>
                    <a:pt x="2352" y="1480"/>
                  </a:lnTo>
                  <a:lnTo>
                    <a:pt x="2347" y="1474"/>
                  </a:lnTo>
                  <a:lnTo>
                    <a:pt x="2345" y="1465"/>
                  </a:lnTo>
                  <a:lnTo>
                    <a:pt x="2345" y="1296"/>
                  </a:lnTo>
                  <a:lnTo>
                    <a:pt x="2282" y="1296"/>
                  </a:lnTo>
                  <a:lnTo>
                    <a:pt x="2282" y="1634"/>
                  </a:lnTo>
                  <a:lnTo>
                    <a:pt x="2852" y="1634"/>
                  </a:lnTo>
                  <a:lnTo>
                    <a:pt x="2852" y="1296"/>
                  </a:lnTo>
                  <a:lnTo>
                    <a:pt x="2784" y="1296"/>
                  </a:lnTo>
                  <a:close/>
                  <a:moveTo>
                    <a:pt x="332" y="4356"/>
                  </a:moveTo>
                  <a:lnTo>
                    <a:pt x="322" y="4359"/>
                  </a:lnTo>
                  <a:lnTo>
                    <a:pt x="313" y="4356"/>
                  </a:lnTo>
                  <a:lnTo>
                    <a:pt x="0" y="4356"/>
                  </a:lnTo>
                  <a:lnTo>
                    <a:pt x="0" y="4317"/>
                  </a:lnTo>
                  <a:lnTo>
                    <a:pt x="64" y="4317"/>
                  </a:lnTo>
                  <a:lnTo>
                    <a:pt x="64" y="3833"/>
                  </a:lnTo>
                  <a:lnTo>
                    <a:pt x="0" y="3833"/>
                  </a:lnTo>
                  <a:lnTo>
                    <a:pt x="0" y="3792"/>
                  </a:lnTo>
                  <a:lnTo>
                    <a:pt x="197" y="3792"/>
                  </a:lnTo>
                  <a:lnTo>
                    <a:pt x="206" y="3795"/>
                  </a:lnTo>
                  <a:lnTo>
                    <a:pt x="213" y="3799"/>
                  </a:lnTo>
                  <a:lnTo>
                    <a:pt x="217" y="3805"/>
                  </a:lnTo>
                  <a:lnTo>
                    <a:pt x="218" y="3813"/>
                  </a:lnTo>
                  <a:lnTo>
                    <a:pt x="217" y="3820"/>
                  </a:lnTo>
                  <a:lnTo>
                    <a:pt x="213" y="3827"/>
                  </a:lnTo>
                  <a:lnTo>
                    <a:pt x="206" y="3831"/>
                  </a:lnTo>
                  <a:lnTo>
                    <a:pt x="197" y="3833"/>
                  </a:lnTo>
                  <a:lnTo>
                    <a:pt x="104" y="3833"/>
                  </a:lnTo>
                  <a:lnTo>
                    <a:pt x="104" y="4317"/>
                  </a:lnTo>
                  <a:lnTo>
                    <a:pt x="303" y="4317"/>
                  </a:lnTo>
                  <a:lnTo>
                    <a:pt x="303" y="3544"/>
                  </a:lnTo>
                  <a:lnTo>
                    <a:pt x="303" y="2772"/>
                  </a:lnTo>
                  <a:lnTo>
                    <a:pt x="304" y="2764"/>
                  </a:lnTo>
                  <a:lnTo>
                    <a:pt x="308" y="2758"/>
                  </a:lnTo>
                  <a:lnTo>
                    <a:pt x="314" y="2753"/>
                  </a:lnTo>
                  <a:lnTo>
                    <a:pt x="322" y="2751"/>
                  </a:lnTo>
                  <a:lnTo>
                    <a:pt x="440" y="2751"/>
                  </a:lnTo>
                  <a:lnTo>
                    <a:pt x="440" y="2579"/>
                  </a:lnTo>
                  <a:lnTo>
                    <a:pt x="441" y="2571"/>
                  </a:lnTo>
                  <a:lnTo>
                    <a:pt x="446" y="2565"/>
                  </a:lnTo>
                  <a:lnTo>
                    <a:pt x="453" y="2560"/>
                  </a:lnTo>
                  <a:lnTo>
                    <a:pt x="460" y="2558"/>
                  </a:lnTo>
                  <a:lnTo>
                    <a:pt x="541" y="2558"/>
                  </a:lnTo>
                  <a:lnTo>
                    <a:pt x="1007" y="2558"/>
                  </a:lnTo>
                  <a:lnTo>
                    <a:pt x="1997" y="2558"/>
                  </a:lnTo>
                  <a:lnTo>
                    <a:pt x="2004" y="2560"/>
                  </a:lnTo>
                  <a:lnTo>
                    <a:pt x="2011" y="2565"/>
                  </a:lnTo>
                  <a:lnTo>
                    <a:pt x="2014" y="2571"/>
                  </a:lnTo>
                  <a:lnTo>
                    <a:pt x="2017" y="2579"/>
                  </a:lnTo>
                  <a:lnTo>
                    <a:pt x="2017" y="2751"/>
                  </a:lnTo>
                  <a:lnTo>
                    <a:pt x="2098" y="2751"/>
                  </a:lnTo>
                  <a:lnTo>
                    <a:pt x="2098" y="2203"/>
                  </a:lnTo>
                  <a:lnTo>
                    <a:pt x="2098" y="1654"/>
                  </a:lnTo>
                  <a:lnTo>
                    <a:pt x="2099" y="1647"/>
                  </a:lnTo>
                  <a:lnTo>
                    <a:pt x="2103" y="1640"/>
                  </a:lnTo>
                  <a:lnTo>
                    <a:pt x="2109" y="1635"/>
                  </a:lnTo>
                  <a:lnTo>
                    <a:pt x="2117" y="1634"/>
                  </a:lnTo>
                  <a:lnTo>
                    <a:pt x="2243" y="1634"/>
                  </a:lnTo>
                  <a:lnTo>
                    <a:pt x="2243" y="1276"/>
                  </a:lnTo>
                  <a:lnTo>
                    <a:pt x="2244" y="1268"/>
                  </a:lnTo>
                  <a:lnTo>
                    <a:pt x="2249" y="1262"/>
                  </a:lnTo>
                  <a:lnTo>
                    <a:pt x="2254" y="1258"/>
                  </a:lnTo>
                  <a:lnTo>
                    <a:pt x="2262" y="1257"/>
                  </a:lnTo>
                  <a:lnTo>
                    <a:pt x="2872" y="1257"/>
                  </a:lnTo>
                  <a:lnTo>
                    <a:pt x="2880" y="1258"/>
                  </a:lnTo>
                  <a:lnTo>
                    <a:pt x="2886" y="1262"/>
                  </a:lnTo>
                  <a:lnTo>
                    <a:pt x="2890" y="1268"/>
                  </a:lnTo>
                  <a:lnTo>
                    <a:pt x="2893" y="1276"/>
                  </a:lnTo>
                  <a:lnTo>
                    <a:pt x="2893" y="1634"/>
                  </a:lnTo>
                  <a:lnTo>
                    <a:pt x="3017" y="1634"/>
                  </a:lnTo>
                  <a:lnTo>
                    <a:pt x="3025" y="1635"/>
                  </a:lnTo>
                  <a:lnTo>
                    <a:pt x="3031" y="1640"/>
                  </a:lnTo>
                  <a:lnTo>
                    <a:pt x="3035" y="1647"/>
                  </a:lnTo>
                  <a:lnTo>
                    <a:pt x="3038" y="1654"/>
                  </a:lnTo>
                  <a:lnTo>
                    <a:pt x="3038" y="2434"/>
                  </a:lnTo>
                  <a:lnTo>
                    <a:pt x="3038" y="3214"/>
                  </a:lnTo>
                  <a:lnTo>
                    <a:pt x="3035" y="3223"/>
                  </a:lnTo>
                  <a:lnTo>
                    <a:pt x="3031" y="3230"/>
                  </a:lnTo>
                  <a:lnTo>
                    <a:pt x="3025" y="3234"/>
                  </a:lnTo>
                  <a:lnTo>
                    <a:pt x="3017" y="3235"/>
                  </a:lnTo>
                  <a:lnTo>
                    <a:pt x="3010" y="3234"/>
                  </a:lnTo>
                  <a:lnTo>
                    <a:pt x="3003" y="3230"/>
                  </a:lnTo>
                  <a:lnTo>
                    <a:pt x="2999" y="3223"/>
                  </a:lnTo>
                  <a:lnTo>
                    <a:pt x="2998" y="3214"/>
                  </a:lnTo>
                  <a:lnTo>
                    <a:pt x="2998" y="2443"/>
                  </a:lnTo>
                  <a:lnTo>
                    <a:pt x="2998" y="1674"/>
                  </a:lnTo>
                  <a:lnTo>
                    <a:pt x="2138" y="1674"/>
                  </a:lnTo>
                  <a:lnTo>
                    <a:pt x="2138" y="2333"/>
                  </a:lnTo>
                  <a:lnTo>
                    <a:pt x="2138" y="2994"/>
                  </a:lnTo>
                  <a:lnTo>
                    <a:pt x="2138" y="3655"/>
                  </a:lnTo>
                  <a:lnTo>
                    <a:pt x="2138" y="4317"/>
                  </a:lnTo>
                  <a:lnTo>
                    <a:pt x="2829" y="4317"/>
                  </a:lnTo>
                  <a:lnTo>
                    <a:pt x="2829" y="4141"/>
                  </a:lnTo>
                  <a:lnTo>
                    <a:pt x="2799" y="4138"/>
                  </a:lnTo>
                  <a:lnTo>
                    <a:pt x="2771" y="4132"/>
                  </a:lnTo>
                  <a:lnTo>
                    <a:pt x="2744" y="4123"/>
                  </a:lnTo>
                  <a:lnTo>
                    <a:pt x="2731" y="4118"/>
                  </a:lnTo>
                  <a:lnTo>
                    <a:pt x="2718" y="4113"/>
                  </a:lnTo>
                  <a:lnTo>
                    <a:pt x="2694" y="4099"/>
                  </a:lnTo>
                  <a:lnTo>
                    <a:pt x="2671" y="4084"/>
                  </a:lnTo>
                  <a:lnTo>
                    <a:pt x="2649" y="4067"/>
                  </a:lnTo>
                  <a:lnTo>
                    <a:pt x="2630" y="4048"/>
                  </a:lnTo>
                  <a:lnTo>
                    <a:pt x="2612" y="4026"/>
                  </a:lnTo>
                  <a:lnTo>
                    <a:pt x="2595" y="4005"/>
                  </a:lnTo>
                  <a:lnTo>
                    <a:pt x="2581" y="3980"/>
                  </a:lnTo>
                  <a:lnTo>
                    <a:pt x="2570" y="3955"/>
                  </a:lnTo>
                  <a:lnTo>
                    <a:pt x="2561" y="3929"/>
                  </a:lnTo>
                  <a:lnTo>
                    <a:pt x="2554" y="3901"/>
                  </a:lnTo>
                  <a:lnTo>
                    <a:pt x="2549" y="3873"/>
                  </a:lnTo>
                  <a:lnTo>
                    <a:pt x="2548" y="3843"/>
                  </a:lnTo>
                  <a:lnTo>
                    <a:pt x="2549" y="3813"/>
                  </a:lnTo>
                  <a:lnTo>
                    <a:pt x="2554" y="3773"/>
                  </a:lnTo>
                  <a:lnTo>
                    <a:pt x="2570" y="3675"/>
                  </a:lnTo>
                  <a:lnTo>
                    <a:pt x="2581" y="3617"/>
                  </a:lnTo>
                  <a:lnTo>
                    <a:pt x="2595" y="3558"/>
                  </a:lnTo>
                  <a:lnTo>
                    <a:pt x="2630" y="3436"/>
                  </a:lnTo>
                  <a:lnTo>
                    <a:pt x="2650" y="3377"/>
                  </a:lnTo>
                  <a:lnTo>
                    <a:pt x="2674" y="3320"/>
                  </a:lnTo>
                  <a:lnTo>
                    <a:pt x="2698" y="3268"/>
                  </a:lnTo>
                  <a:lnTo>
                    <a:pt x="2725" y="3222"/>
                  </a:lnTo>
                  <a:lnTo>
                    <a:pt x="2753" y="3185"/>
                  </a:lnTo>
                  <a:lnTo>
                    <a:pt x="2783" y="3156"/>
                  </a:lnTo>
                  <a:lnTo>
                    <a:pt x="2799" y="3144"/>
                  </a:lnTo>
                  <a:lnTo>
                    <a:pt x="2815" y="3136"/>
                  </a:lnTo>
                  <a:lnTo>
                    <a:pt x="2831" y="3133"/>
                  </a:lnTo>
                  <a:lnTo>
                    <a:pt x="2848" y="3130"/>
                  </a:lnTo>
                  <a:lnTo>
                    <a:pt x="2866" y="3133"/>
                  </a:lnTo>
                  <a:lnTo>
                    <a:pt x="2883" y="3138"/>
                  </a:lnTo>
                  <a:lnTo>
                    <a:pt x="2899" y="3145"/>
                  </a:lnTo>
                  <a:lnTo>
                    <a:pt x="2915" y="3157"/>
                  </a:lnTo>
                  <a:lnTo>
                    <a:pt x="2945" y="3187"/>
                  </a:lnTo>
                  <a:lnTo>
                    <a:pt x="2953" y="3196"/>
                  </a:lnTo>
                  <a:lnTo>
                    <a:pt x="2960" y="3205"/>
                  </a:lnTo>
                  <a:lnTo>
                    <a:pt x="2974" y="3226"/>
                  </a:lnTo>
                  <a:lnTo>
                    <a:pt x="3001" y="3272"/>
                  </a:lnTo>
                  <a:lnTo>
                    <a:pt x="3024" y="3323"/>
                  </a:lnTo>
                  <a:lnTo>
                    <a:pt x="3045" y="3377"/>
                  </a:lnTo>
                  <a:lnTo>
                    <a:pt x="3065" y="3433"/>
                  </a:lnTo>
                  <a:lnTo>
                    <a:pt x="3083" y="3492"/>
                  </a:lnTo>
                  <a:lnTo>
                    <a:pt x="3099" y="3551"/>
                  </a:lnTo>
                  <a:lnTo>
                    <a:pt x="3113" y="3609"/>
                  </a:lnTo>
                  <a:lnTo>
                    <a:pt x="3125" y="3666"/>
                  </a:lnTo>
                  <a:lnTo>
                    <a:pt x="3135" y="3719"/>
                  </a:lnTo>
                  <a:lnTo>
                    <a:pt x="3142" y="3767"/>
                  </a:lnTo>
                  <a:lnTo>
                    <a:pt x="3147" y="3809"/>
                  </a:lnTo>
                  <a:lnTo>
                    <a:pt x="3148" y="3843"/>
                  </a:lnTo>
                  <a:lnTo>
                    <a:pt x="3147" y="3873"/>
                  </a:lnTo>
                  <a:lnTo>
                    <a:pt x="3143" y="3901"/>
                  </a:lnTo>
                  <a:lnTo>
                    <a:pt x="3135" y="3929"/>
                  </a:lnTo>
                  <a:lnTo>
                    <a:pt x="3126" y="3955"/>
                  </a:lnTo>
                  <a:lnTo>
                    <a:pt x="3115" y="3980"/>
                  </a:lnTo>
                  <a:lnTo>
                    <a:pt x="3101" y="4005"/>
                  </a:lnTo>
                  <a:lnTo>
                    <a:pt x="3067" y="4048"/>
                  </a:lnTo>
                  <a:lnTo>
                    <a:pt x="3025" y="4084"/>
                  </a:lnTo>
                  <a:lnTo>
                    <a:pt x="3002" y="4099"/>
                  </a:lnTo>
                  <a:lnTo>
                    <a:pt x="2977" y="4113"/>
                  </a:lnTo>
                  <a:lnTo>
                    <a:pt x="2952" y="4123"/>
                  </a:lnTo>
                  <a:lnTo>
                    <a:pt x="2925" y="4132"/>
                  </a:lnTo>
                  <a:lnTo>
                    <a:pt x="2897" y="4138"/>
                  </a:lnTo>
                  <a:lnTo>
                    <a:pt x="2868" y="4141"/>
                  </a:lnTo>
                  <a:lnTo>
                    <a:pt x="2868" y="4317"/>
                  </a:lnTo>
                  <a:lnTo>
                    <a:pt x="2998" y="4317"/>
                  </a:lnTo>
                  <a:lnTo>
                    <a:pt x="2998" y="4193"/>
                  </a:lnTo>
                  <a:lnTo>
                    <a:pt x="2999" y="4184"/>
                  </a:lnTo>
                  <a:lnTo>
                    <a:pt x="3003" y="4177"/>
                  </a:lnTo>
                  <a:lnTo>
                    <a:pt x="3010" y="4173"/>
                  </a:lnTo>
                  <a:lnTo>
                    <a:pt x="3017" y="4172"/>
                  </a:lnTo>
                  <a:lnTo>
                    <a:pt x="3025" y="4173"/>
                  </a:lnTo>
                  <a:lnTo>
                    <a:pt x="3031" y="4177"/>
                  </a:lnTo>
                  <a:lnTo>
                    <a:pt x="3035" y="4184"/>
                  </a:lnTo>
                  <a:lnTo>
                    <a:pt x="3038" y="4193"/>
                  </a:lnTo>
                  <a:lnTo>
                    <a:pt x="3038" y="4332"/>
                  </a:lnTo>
                  <a:lnTo>
                    <a:pt x="3036" y="4340"/>
                  </a:lnTo>
                  <a:lnTo>
                    <a:pt x="3031" y="4346"/>
                  </a:lnTo>
                  <a:lnTo>
                    <a:pt x="3025" y="4354"/>
                  </a:lnTo>
                  <a:lnTo>
                    <a:pt x="3013" y="4356"/>
                  </a:lnTo>
                  <a:lnTo>
                    <a:pt x="2343" y="4356"/>
                  </a:lnTo>
                  <a:lnTo>
                    <a:pt x="1672" y="4356"/>
                  </a:lnTo>
                  <a:lnTo>
                    <a:pt x="1001" y="4356"/>
                  </a:lnTo>
                  <a:lnTo>
                    <a:pt x="332" y="4356"/>
                  </a:lnTo>
                  <a:close/>
                  <a:moveTo>
                    <a:pt x="1458" y="2791"/>
                  </a:moveTo>
                  <a:lnTo>
                    <a:pt x="900" y="2791"/>
                  </a:lnTo>
                  <a:lnTo>
                    <a:pt x="342" y="2791"/>
                  </a:lnTo>
                  <a:lnTo>
                    <a:pt x="342" y="3553"/>
                  </a:lnTo>
                  <a:lnTo>
                    <a:pt x="342" y="4317"/>
                  </a:lnTo>
                  <a:lnTo>
                    <a:pt x="1218" y="4317"/>
                  </a:lnTo>
                  <a:lnTo>
                    <a:pt x="2095" y="4317"/>
                  </a:lnTo>
                  <a:lnTo>
                    <a:pt x="2095" y="3553"/>
                  </a:lnTo>
                  <a:lnTo>
                    <a:pt x="2095" y="2791"/>
                  </a:lnTo>
                  <a:lnTo>
                    <a:pt x="1723" y="2791"/>
                  </a:lnTo>
                  <a:lnTo>
                    <a:pt x="1714" y="2790"/>
                  </a:lnTo>
                  <a:lnTo>
                    <a:pt x="1708" y="2786"/>
                  </a:lnTo>
                  <a:lnTo>
                    <a:pt x="1704" y="2780"/>
                  </a:lnTo>
                  <a:lnTo>
                    <a:pt x="1703" y="2772"/>
                  </a:lnTo>
                  <a:lnTo>
                    <a:pt x="1704" y="2764"/>
                  </a:lnTo>
                  <a:lnTo>
                    <a:pt x="1708" y="2758"/>
                  </a:lnTo>
                  <a:lnTo>
                    <a:pt x="1714" y="2754"/>
                  </a:lnTo>
                  <a:lnTo>
                    <a:pt x="1723" y="2751"/>
                  </a:lnTo>
                  <a:lnTo>
                    <a:pt x="1976" y="2751"/>
                  </a:lnTo>
                  <a:lnTo>
                    <a:pt x="1976" y="2598"/>
                  </a:lnTo>
                  <a:lnTo>
                    <a:pt x="1025" y="2598"/>
                  </a:lnTo>
                  <a:lnTo>
                    <a:pt x="1018" y="2602"/>
                  </a:lnTo>
                  <a:lnTo>
                    <a:pt x="1010" y="2603"/>
                  </a:lnTo>
                  <a:lnTo>
                    <a:pt x="544" y="2603"/>
                  </a:lnTo>
                  <a:lnTo>
                    <a:pt x="536" y="2602"/>
                  </a:lnTo>
                  <a:lnTo>
                    <a:pt x="531" y="2598"/>
                  </a:lnTo>
                  <a:lnTo>
                    <a:pt x="480" y="2598"/>
                  </a:lnTo>
                  <a:lnTo>
                    <a:pt x="480" y="2751"/>
                  </a:lnTo>
                  <a:lnTo>
                    <a:pt x="1458" y="2751"/>
                  </a:lnTo>
                  <a:lnTo>
                    <a:pt x="1467" y="2754"/>
                  </a:lnTo>
                  <a:lnTo>
                    <a:pt x="1473" y="2758"/>
                  </a:lnTo>
                  <a:lnTo>
                    <a:pt x="1477" y="2764"/>
                  </a:lnTo>
                  <a:lnTo>
                    <a:pt x="1478" y="2772"/>
                  </a:lnTo>
                  <a:lnTo>
                    <a:pt x="1477" y="2780"/>
                  </a:lnTo>
                  <a:lnTo>
                    <a:pt x="1473" y="2786"/>
                  </a:lnTo>
                  <a:lnTo>
                    <a:pt x="1467" y="2790"/>
                  </a:lnTo>
                  <a:lnTo>
                    <a:pt x="1458" y="2791"/>
                  </a:lnTo>
                  <a:close/>
                  <a:moveTo>
                    <a:pt x="2829" y="4085"/>
                  </a:moveTo>
                  <a:lnTo>
                    <a:pt x="2829" y="4077"/>
                  </a:lnTo>
                  <a:lnTo>
                    <a:pt x="2594" y="3774"/>
                  </a:lnTo>
                  <a:lnTo>
                    <a:pt x="2590" y="3814"/>
                  </a:lnTo>
                  <a:lnTo>
                    <a:pt x="2588" y="3843"/>
                  </a:lnTo>
                  <a:lnTo>
                    <a:pt x="2589" y="3868"/>
                  </a:lnTo>
                  <a:lnTo>
                    <a:pt x="2593" y="3893"/>
                  </a:lnTo>
                  <a:lnTo>
                    <a:pt x="2599" y="3916"/>
                  </a:lnTo>
                  <a:lnTo>
                    <a:pt x="2607" y="3939"/>
                  </a:lnTo>
                  <a:lnTo>
                    <a:pt x="2617" y="3961"/>
                  </a:lnTo>
                  <a:lnTo>
                    <a:pt x="2629" y="3982"/>
                  </a:lnTo>
                  <a:lnTo>
                    <a:pt x="2643" y="4002"/>
                  </a:lnTo>
                  <a:lnTo>
                    <a:pt x="2658" y="4020"/>
                  </a:lnTo>
                  <a:lnTo>
                    <a:pt x="2675" y="4037"/>
                  </a:lnTo>
                  <a:lnTo>
                    <a:pt x="2693" y="4051"/>
                  </a:lnTo>
                  <a:lnTo>
                    <a:pt x="2713" y="4065"/>
                  </a:lnTo>
                  <a:lnTo>
                    <a:pt x="2734" y="4076"/>
                  </a:lnTo>
                  <a:lnTo>
                    <a:pt x="2756" y="4085"/>
                  </a:lnTo>
                  <a:lnTo>
                    <a:pt x="2779" y="4093"/>
                  </a:lnTo>
                  <a:lnTo>
                    <a:pt x="2803" y="4098"/>
                  </a:lnTo>
                  <a:lnTo>
                    <a:pt x="2829" y="4102"/>
                  </a:lnTo>
                  <a:lnTo>
                    <a:pt x="2829" y="4093"/>
                  </a:lnTo>
                  <a:lnTo>
                    <a:pt x="2829" y="4085"/>
                  </a:lnTo>
                  <a:close/>
                  <a:moveTo>
                    <a:pt x="1903" y="3824"/>
                  </a:moveTo>
                  <a:lnTo>
                    <a:pt x="1903" y="3937"/>
                  </a:lnTo>
                  <a:lnTo>
                    <a:pt x="1902" y="3946"/>
                  </a:lnTo>
                  <a:lnTo>
                    <a:pt x="1896" y="3952"/>
                  </a:lnTo>
                  <a:lnTo>
                    <a:pt x="1890" y="3956"/>
                  </a:lnTo>
                  <a:lnTo>
                    <a:pt x="1882" y="3957"/>
                  </a:lnTo>
                  <a:lnTo>
                    <a:pt x="1876" y="3956"/>
                  </a:lnTo>
                  <a:lnTo>
                    <a:pt x="1870" y="3952"/>
                  </a:lnTo>
                  <a:lnTo>
                    <a:pt x="1864" y="3946"/>
                  </a:lnTo>
                  <a:lnTo>
                    <a:pt x="1863" y="3937"/>
                  </a:lnTo>
                  <a:lnTo>
                    <a:pt x="1863" y="3824"/>
                  </a:lnTo>
                  <a:lnTo>
                    <a:pt x="1864" y="3817"/>
                  </a:lnTo>
                  <a:lnTo>
                    <a:pt x="1870" y="3810"/>
                  </a:lnTo>
                  <a:lnTo>
                    <a:pt x="1876" y="3806"/>
                  </a:lnTo>
                  <a:lnTo>
                    <a:pt x="1882" y="3805"/>
                  </a:lnTo>
                  <a:lnTo>
                    <a:pt x="1890" y="3806"/>
                  </a:lnTo>
                  <a:lnTo>
                    <a:pt x="1896" y="3810"/>
                  </a:lnTo>
                  <a:lnTo>
                    <a:pt x="1902" y="3817"/>
                  </a:lnTo>
                  <a:lnTo>
                    <a:pt x="1903" y="3824"/>
                  </a:lnTo>
                  <a:close/>
                  <a:moveTo>
                    <a:pt x="587" y="3118"/>
                  </a:moveTo>
                  <a:lnTo>
                    <a:pt x="587" y="3231"/>
                  </a:lnTo>
                  <a:lnTo>
                    <a:pt x="586" y="3240"/>
                  </a:lnTo>
                  <a:lnTo>
                    <a:pt x="581" y="3246"/>
                  </a:lnTo>
                  <a:lnTo>
                    <a:pt x="574" y="3250"/>
                  </a:lnTo>
                  <a:lnTo>
                    <a:pt x="567" y="3251"/>
                  </a:lnTo>
                  <a:lnTo>
                    <a:pt x="560" y="3250"/>
                  </a:lnTo>
                  <a:lnTo>
                    <a:pt x="554" y="3246"/>
                  </a:lnTo>
                  <a:lnTo>
                    <a:pt x="549" y="3240"/>
                  </a:lnTo>
                  <a:lnTo>
                    <a:pt x="548" y="3231"/>
                  </a:lnTo>
                  <a:lnTo>
                    <a:pt x="548" y="3118"/>
                  </a:lnTo>
                  <a:lnTo>
                    <a:pt x="549" y="3111"/>
                  </a:lnTo>
                  <a:lnTo>
                    <a:pt x="554" y="3104"/>
                  </a:lnTo>
                  <a:lnTo>
                    <a:pt x="560" y="3101"/>
                  </a:lnTo>
                  <a:lnTo>
                    <a:pt x="567" y="3099"/>
                  </a:lnTo>
                  <a:lnTo>
                    <a:pt x="574" y="3101"/>
                  </a:lnTo>
                  <a:lnTo>
                    <a:pt x="581" y="3104"/>
                  </a:lnTo>
                  <a:lnTo>
                    <a:pt x="586" y="3111"/>
                  </a:lnTo>
                  <a:lnTo>
                    <a:pt x="587" y="3118"/>
                  </a:lnTo>
                  <a:close/>
                  <a:moveTo>
                    <a:pt x="850" y="3118"/>
                  </a:moveTo>
                  <a:lnTo>
                    <a:pt x="850" y="3231"/>
                  </a:lnTo>
                  <a:lnTo>
                    <a:pt x="849" y="3240"/>
                  </a:lnTo>
                  <a:lnTo>
                    <a:pt x="844" y="3246"/>
                  </a:lnTo>
                  <a:lnTo>
                    <a:pt x="837" y="3250"/>
                  </a:lnTo>
                  <a:lnTo>
                    <a:pt x="831" y="3251"/>
                  </a:lnTo>
                  <a:lnTo>
                    <a:pt x="823" y="3250"/>
                  </a:lnTo>
                  <a:lnTo>
                    <a:pt x="817" y="3246"/>
                  </a:lnTo>
                  <a:lnTo>
                    <a:pt x="812" y="3240"/>
                  </a:lnTo>
                  <a:lnTo>
                    <a:pt x="810" y="3231"/>
                  </a:lnTo>
                  <a:lnTo>
                    <a:pt x="810" y="3118"/>
                  </a:lnTo>
                  <a:lnTo>
                    <a:pt x="812" y="3111"/>
                  </a:lnTo>
                  <a:lnTo>
                    <a:pt x="817" y="3104"/>
                  </a:lnTo>
                  <a:lnTo>
                    <a:pt x="823" y="3101"/>
                  </a:lnTo>
                  <a:lnTo>
                    <a:pt x="831" y="3099"/>
                  </a:lnTo>
                  <a:lnTo>
                    <a:pt x="837" y="3101"/>
                  </a:lnTo>
                  <a:lnTo>
                    <a:pt x="844" y="3104"/>
                  </a:lnTo>
                  <a:lnTo>
                    <a:pt x="849" y="3111"/>
                  </a:lnTo>
                  <a:lnTo>
                    <a:pt x="850" y="3118"/>
                  </a:lnTo>
                  <a:close/>
                  <a:moveTo>
                    <a:pt x="1113" y="3118"/>
                  </a:moveTo>
                  <a:lnTo>
                    <a:pt x="1113" y="3231"/>
                  </a:lnTo>
                  <a:lnTo>
                    <a:pt x="1112" y="3240"/>
                  </a:lnTo>
                  <a:lnTo>
                    <a:pt x="1107" y="3246"/>
                  </a:lnTo>
                  <a:lnTo>
                    <a:pt x="1100" y="3250"/>
                  </a:lnTo>
                  <a:lnTo>
                    <a:pt x="1094" y="3251"/>
                  </a:lnTo>
                  <a:lnTo>
                    <a:pt x="1086" y="3250"/>
                  </a:lnTo>
                  <a:lnTo>
                    <a:pt x="1080" y="3246"/>
                  </a:lnTo>
                  <a:lnTo>
                    <a:pt x="1076" y="3240"/>
                  </a:lnTo>
                  <a:lnTo>
                    <a:pt x="1073" y="3231"/>
                  </a:lnTo>
                  <a:lnTo>
                    <a:pt x="1073" y="3118"/>
                  </a:lnTo>
                  <a:lnTo>
                    <a:pt x="1076" y="3111"/>
                  </a:lnTo>
                  <a:lnTo>
                    <a:pt x="1080" y="3104"/>
                  </a:lnTo>
                  <a:lnTo>
                    <a:pt x="1086" y="3101"/>
                  </a:lnTo>
                  <a:lnTo>
                    <a:pt x="1094" y="3099"/>
                  </a:lnTo>
                  <a:lnTo>
                    <a:pt x="1100" y="3101"/>
                  </a:lnTo>
                  <a:lnTo>
                    <a:pt x="1107" y="3104"/>
                  </a:lnTo>
                  <a:lnTo>
                    <a:pt x="1112" y="3111"/>
                  </a:lnTo>
                  <a:lnTo>
                    <a:pt x="1113" y="3118"/>
                  </a:lnTo>
                  <a:close/>
                  <a:moveTo>
                    <a:pt x="1377" y="3118"/>
                  </a:moveTo>
                  <a:lnTo>
                    <a:pt x="1377" y="3231"/>
                  </a:lnTo>
                  <a:lnTo>
                    <a:pt x="1375" y="3240"/>
                  </a:lnTo>
                  <a:lnTo>
                    <a:pt x="1371" y="3246"/>
                  </a:lnTo>
                  <a:lnTo>
                    <a:pt x="1364" y="3250"/>
                  </a:lnTo>
                  <a:lnTo>
                    <a:pt x="1357" y="3251"/>
                  </a:lnTo>
                  <a:lnTo>
                    <a:pt x="1349" y="3250"/>
                  </a:lnTo>
                  <a:lnTo>
                    <a:pt x="1343" y="3246"/>
                  </a:lnTo>
                  <a:lnTo>
                    <a:pt x="1339" y="3240"/>
                  </a:lnTo>
                  <a:lnTo>
                    <a:pt x="1336" y="3231"/>
                  </a:lnTo>
                  <a:lnTo>
                    <a:pt x="1336" y="3118"/>
                  </a:lnTo>
                  <a:lnTo>
                    <a:pt x="1339" y="3111"/>
                  </a:lnTo>
                  <a:lnTo>
                    <a:pt x="1343" y="3104"/>
                  </a:lnTo>
                  <a:lnTo>
                    <a:pt x="1349" y="3101"/>
                  </a:lnTo>
                  <a:lnTo>
                    <a:pt x="1357" y="3099"/>
                  </a:lnTo>
                  <a:lnTo>
                    <a:pt x="1364" y="3101"/>
                  </a:lnTo>
                  <a:lnTo>
                    <a:pt x="1371" y="3104"/>
                  </a:lnTo>
                  <a:lnTo>
                    <a:pt x="1375" y="3111"/>
                  </a:lnTo>
                  <a:lnTo>
                    <a:pt x="1377" y="3118"/>
                  </a:lnTo>
                  <a:close/>
                  <a:moveTo>
                    <a:pt x="1640" y="3118"/>
                  </a:moveTo>
                  <a:lnTo>
                    <a:pt x="1640" y="3231"/>
                  </a:lnTo>
                  <a:lnTo>
                    <a:pt x="1637" y="3240"/>
                  </a:lnTo>
                  <a:lnTo>
                    <a:pt x="1634" y="3246"/>
                  </a:lnTo>
                  <a:lnTo>
                    <a:pt x="1627" y="3250"/>
                  </a:lnTo>
                  <a:lnTo>
                    <a:pt x="1620" y="3251"/>
                  </a:lnTo>
                  <a:lnTo>
                    <a:pt x="1612" y="3250"/>
                  </a:lnTo>
                  <a:lnTo>
                    <a:pt x="1605" y="3246"/>
                  </a:lnTo>
                  <a:lnTo>
                    <a:pt x="1602" y="3240"/>
                  </a:lnTo>
                  <a:lnTo>
                    <a:pt x="1600" y="3231"/>
                  </a:lnTo>
                  <a:lnTo>
                    <a:pt x="1600" y="3118"/>
                  </a:lnTo>
                  <a:lnTo>
                    <a:pt x="1602" y="3111"/>
                  </a:lnTo>
                  <a:lnTo>
                    <a:pt x="1605" y="3104"/>
                  </a:lnTo>
                  <a:lnTo>
                    <a:pt x="1612" y="3101"/>
                  </a:lnTo>
                  <a:lnTo>
                    <a:pt x="1620" y="3099"/>
                  </a:lnTo>
                  <a:lnTo>
                    <a:pt x="1627" y="3101"/>
                  </a:lnTo>
                  <a:lnTo>
                    <a:pt x="1634" y="3104"/>
                  </a:lnTo>
                  <a:lnTo>
                    <a:pt x="1637" y="3111"/>
                  </a:lnTo>
                  <a:lnTo>
                    <a:pt x="1640" y="3118"/>
                  </a:lnTo>
                  <a:close/>
                  <a:moveTo>
                    <a:pt x="1903" y="3118"/>
                  </a:moveTo>
                  <a:lnTo>
                    <a:pt x="1903" y="3231"/>
                  </a:lnTo>
                  <a:lnTo>
                    <a:pt x="1902" y="3240"/>
                  </a:lnTo>
                  <a:lnTo>
                    <a:pt x="1896" y="3246"/>
                  </a:lnTo>
                  <a:lnTo>
                    <a:pt x="1890" y="3250"/>
                  </a:lnTo>
                  <a:lnTo>
                    <a:pt x="1882" y="3251"/>
                  </a:lnTo>
                  <a:lnTo>
                    <a:pt x="1876" y="3250"/>
                  </a:lnTo>
                  <a:lnTo>
                    <a:pt x="1870" y="3246"/>
                  </a:lnTo>
                  <a:lnTo>
                    <a:pt x="1864" y="3240"/>
                  </a:lnTo>
                  <a:lnTo>
                    <a:pt x="1863" y="3231"/>
                  </a:lnTo>
                  <a:lnTo>
                    <a:pt x="1863" y="3118"/>
                  </a:lnTo>
                  <a:lnTo>
                    <a:pt x="1864" y="3111"/>
                  </a:lnTo>
                  <a:lnTo>
                    <a:pt x="1870" y="3104"/>
                  </a:lnTo>
                  <a:lnTo>
                    <a:pt x="1876" y="3101"/>
                  </a:lnTo>
                  <a:lnTo>
                    <a:pt x="1882" y="3099"/>
                  </a:lnTo>
                  <a:lnTo>
                    <a:pt x="1890" y="3101"/>
                  </a:lnTo>
                  <a:lnTo>
                    <a:pt x="1896" y="3104"/>
                  </a:lnTo>
                  <a:lnTo>
                    <a:pt x="1902" y="3111"/>
                  </a:lnTo>
                  <a:lnTo>
                    <a:pt x="1903" y="3118"/>
                  </a:lnTo>
                  <a:close/>
                  <a:moveTo>
                    <a:pt x="587" y="3354"/>
                  </a:moveTo>
                  <a:lnTo>
                    <a:pt x="587" y="3466"/>
                  </a:lnTo>
                  <a:lnTo>
                    <a:pt x="586" y="3475"/>
                  </a:lnTo>
                  <a:lnTo>
                    <a:pt x="581" y="3482"/>
                  </a:lnTo>
                  <a:lnTo>
                    <a:pt x="574" y="3485"/>
                  </a:lnTo>
                  <a:lnTo>
                    <a:pt x="567" y="3487"/>
                  </a:lnTo>
                  <a:lnTo>
                    <a:pt x="560" y="3485"/>
                  </a:lnTo>
                  <a:lnTo>
                    <a:pt x="554" y="3482"/>
                  </a:lnTo>
                  <a:lnTo>
                    <a:pt x="549" y="3475"/>
                  </a:lnTo>
                  <a:lnTo>
                    <a:pt x="548" y="3466"/>
                  </a:lnTo>
                  <a:lnTo>
                    <a:pt x="548" y="3354"/>
                  </a:lnTo>
                  <a:lnTo>
                    <a:pt x="549" y="3346"/>
                  </a:lnTo>
                  <a:lnTo>
                    <a:pt x="554" y="3340"/>
                  </a:lnTo>
                  <a:lnTo>
                    <a:pt x="560" y="3336"/>
                  </a:lnTo>
                  <a:lnTo>
                    <a:pt x="567" y="3335"/>
                  </a:lnTo>
                  <a:lnTo>
                    <a:pt x="574" y="3336"/>
                  </a:lnTo>
                  <a:lnTo>
                    <a:pt x="581" y="3340"/>
                  </a:lnTo>
                  <a:lnTo>
                    <a:pt x="586" y="3346"/>
                  </a:lnTo>
                  <a:lnTo>
                    <a:pt x="587" y="3354"/>
                  </a:lnTo>
                  <a:close/>
                  <a:moveTo>
                    <a:pt x="850" y="3354"/>
                  </a:moveTo>
                  <a:lnTo>
                    <a:pt x="850" y="3466"/>
                  </a:lnTo>
                  <a:lnTo>
                    <a:pt x="849" y="3475"/>
                  </a:lnTo>
                  <a:lnTo>
                    <a:pt x="844" y="3482"/>
                  </a:lnTo>
                  <a:lnTo>
                    <a:pt x="837" y="3485"/>
                  </a:lnTo>
                  <a:lnTo>
                    <a:pt x="831" y="3487"/>
                  </a:lnTo>
                  <a:lnTo>
                    <a:pt x="823" y="3485"/>
                  </a:lnTo>
                  <a:lnTo>
                    <a:pt x="817" y="3482"/>
                  </a:lnTo>
                  <a:lnTo>
                    <a:pt x="812" y="3475"/>
                  </a:lnTo>
                  <a:lnTo>
                    <a:pt x="810" y="3466"/>
                  </a:lnTo>
                  <a:lnTo>
                    <a:pt x="810" y="3354"/>
                  </a:lnTo>
                  <a:lnTo>
                    <a:pt x="812" y="3346"/>
                  </a:lnTo>
                  <a:lnTo>
                    <a:pt x="817" y="3340"/>
                  </a:lnTo>
                  <a:lnTo>
                    <a:pt x="823" y="3336"/>
                  </a:lnTo>
                  <a:lnTo>
                    <a:pt x="831" y="3335"/>
                  </a:lnTo>
                  <a:lnTo>
                    <a:pt x="837" y="3336"/>
                  </a:lnTo>
                  <a:lnTo>
                    <a:pt x="844" y="3340"/>
                  </a:lnTo>
                  <a:lnTo>
                    <a:pt x="849" y="3346"/>
                  </a:lnTo>
                  <a:lnTo>
                    <a:pt x="850" y="3354"/>
                  </a:lnTo>
                  <a:close/>
                  <a:moveTo>
                    <a:pt x="1113" y="3354"/>
                  </a:moveTo>
                  <a:lnTo>
                    <a:pt x="1113" y="3466"/>
                  </a:lnTo>
                  <a:lnTo>
                    <a:pt x="1112" y="3475"/>
                  </a:lnTo>
                  <a:lnTo>
                    <a:pt x="1107" y="3482"/>
                  </a:lnTo>
                  <a:lnTo>
                    <a:pt x="1100" y="3485"/>
                  </a:lnTo>
                  <a:lnTo>
                    <a:pt x="1094" y="3487"/>
                  </a:lnTo>
                  <a:lnTo>
                    <a:pt x="1086" y="3485"/>
                  </a:lnTo>
                  <a:lnTo>
                    <a:pt x="1080" y="3482"/>
                  </a:lnTo>
                  <a:lnTo>
                    <a:pt x="1076" y="3475"/>
                  </a:lnTo>
                  <a:lnTo>
                    <a:pt x="1073" y="3466"/>
                  </a:lnTo>
                  <a:lnTo>
                    <a:pt x="1073" y="3354"/>
                  </a:lnTo>
                  <a:lnTo>
                    <a:pt x="1076" y="3346"/>
                  </a:lnTo>
                  <a:lnTo>
                    <a:pt x="1080" y="3340"/>
                  </a:lnTo>
                  <a:lnTo>
                    <a:pt x="1086" y="3336"/>
                  </a:lnTo>
                  <a:lnTo>
                    <a:pt x="1094" y="3335"/>
                  </a:lnTo>
                  <a:lnTo>
                    <a:pt x="1100" y="3336"/>
                  </a:lnTo>
                  <a:lnTo>
                    <a:pt x="1107" y="3340"/>
                  </a:lnTo>
                  <a:lnTo>
                    <a:pt x="1112" y="3346"/>
                  </a:lnTo>
                  <a:lnTo>
                    <a:pt x="1113" y="3354"/>
                  </a:lnTo>
                  <a:close/>
                  <a:moveTo>
                    <a:pt x="1377" y="3354"/>
                  </a:moveTo>
                  <a:lnTo>
                    <a:pt x="1377" y="3466"/>
                  </a:lnTo>
                  <a:lnTo>
                    <a:pt x="1375" y="3475"/>
                  </a:lnTo>
                  <a:lnTo>
                    <a:pt x="1371" y="3482"/>
                  </a:lnTo>
                  <a:lnTo>
                    <a:pt x="1364" y="3485"/>
                  </a:lnTo>
                  <a:lnTo>
                    <a:pt x="1357" y="3487"/>
                  </a:lnTo>
                  <a:lnTo>
                    <a:pt x="1349" y="3485"/>
                  </a:lnTo>
                  <a:lnTo>
                    <a:pt x="1343" y="3482"/>
                  </a:lnTo>
                  <a:lnTo>
                    <a:pt x="1339" y="3475"/>
                  </a:lnTo>
                  <a:lnTo>
                    <a:pt x="1336" y="3466"/>
                  </a:lnTo>
                  <a:lnTo>
                    <a:pt x="1336" y="3354"/>
                  </a:lnTo>
                  <a:lnTo>
                    <a:pt x="1339" y="3346"/>
                  </a:lnTo>
                  <a:lnTo>
                    <a:pt x="1343" y="3340"/>
                  </a:lnTo>
                  <a:lnTo>
                    <a:pt x="1349" y="3336"/>
                  </a:lnTo>
                  <a:lnTo>
                    <a:pt x="1357" y="3335"/>
                  </a:lnTo>
                  <a:lnTo>
                    <a:pt x="1364" y="3336"/>
                  </a:lnTo>
                  <a:lnTo>
                    <a:pt x="1371" y="3340"/>
                  </a:lnTo>
                  <a:lnTo>
                    <a:pt x="1375" y="3346"/>
                  </a:lnTo>
                  <a:lnTo>
                    <a:pt x="1377" y="3354"/>
                  </a:lnTo>
                  <a:close/>
                  <a:moveTo>
                    <a:pt x="1640" y="3354"/>
                  </a:moveTo>
                  <a:lnTo>
                    <a:pt x="1640" y="3466"/>
                  </a:lnTo>
                  <a:lnTo>
                    <a:pt x="1637" y="3475"/>
                  </a:lnTo>
                  <a:lnTo>
                    <a:pt x="1634" y="3482"/>
                  </a:lnTo>
                  <a:lnTo>
                    <a:pt x="1627" y="3485"/>
                  </a:lnTo>
                  <a:lnTo>
                    <a:pt x="1620" y="3487"/>
                  </a:lnTo>
                  <a:lnTo>
                    <a:pt x="1612" y="3485"/>
                  </a:lnTo>
                  <a:lnTo>
                    <a:pt x="1605" y="3482"/>
                  </a:lnTo>
                  <a:lnTo>
                    <a:pt x="1602" y="3475"/>
                  </a:lnTo>
                  <a:lnTo>
                    <a:pt x="1600" y="3466"/>
                  </a:lnTo>
                  <a:lnTo>
                    <a:pt x="1600" y="3354"/>
                  </a:lnTo>
                  <a:lnTo>
                    <a:pt x="1602" y="3346"/>
                  </a:lnTo>
                  <a:lnTo>
                    <a:pt x="1605" y="3340"/>
                  </a:lnTo>
                  <a:lnTo>
                    <a:pt x="1612" y="3336"/>
                  </a:lnTo>
                  <a:lnTo>
                    <a:pt x="1620" y="3335"/>
                  </a:lnTo>
                  <a:lnTo>
                    <a:pt x="1627" y="3336"/>
                  </a:lnTo>
                  <a:lnTo>
                    <a:pt x="1634" y="3340"/>
                  </a:lnTo>
                  <a:lnTo>
                    <a:pt x="1637" y="3346"/>
                  </a:lnTo>
                  <a:lnTo>
                    <a:pt x="1640" y="3354"/>
                  </a:lnTo>
                  <a:close/>
                  <a:moveTo>
                    <a:pt x="1903" y="3354"/>
                  </a:moveTo>
                  <a:lnTo>
                    <a:pt x="1903" y="3466"/>
                  </a:lnTo>
                  <a:lnTo>
                    <a:pt x="1902" y="3475"/>
                  </a:lnTo>
                  <a:lnTo>
                    <a:pt x="1896" y="3482"/>
                  </a:lnTo>
                  <a:lnTo>
                    <a:pt x="1890" y="3485"/>
                  </a:lnTo>
                  <a:lnTo>
                    <a:pt x="1882" y="3487"/>
                  </a:lnTo>
                  <a:lnTo>
                    <a:pt x="1876" y="3485"/>
                  </a:lnTo>
                  <a:lnTo>
                    <a:pt x="1870" y="3482"/>
                  </a:lnTo>
                  <a:lnTo>
                    <a:pt x="1864" y="3475"/>
                  </a:lnTo>
                  <a:lnTo>
                    <a:pt x="1863" y="3466"/>
                  </a:lnTo>
                  <a:lnTo>
                    <a:pt x="1863" y="3354"/>
                  </a:lnTo>
                  <a:lnTo>
                    <a:pt x="1864" y="3346"/>
                  </a:lnTo>
                  <a:lnTo>
                    <a:pt x="1870" y="3340"/>
                  </a:lnTo>
                  <a:lnTo>
                    <a:pt x="1876" y="3336"/>
                  </a:lnTo>
                  <a:lnTo>
                    <a:pt x="1882" y="3335"/>
                  </a:lnTo>
                  <a:lnTo>
                    <a:pt x="1890" y="3336"/>
                  </a:lnTo>
                  <a:lnTo>
                    <a:pt x="1896" y="3340"/>
                  </a:lnTo>
                  <a:lnTo>
                    <a:pt x="1902" y="3346"/>
                  </a:lnTo>
                  <a:lnTo>
                    <a:pt x="1903" y="3354"/>
                  </a:lnTo>
                  <a:close/>
                  <a:moveTo>
                    <a:pt x="587" y="3589"/>
                  </a:moveTo>
                  <a:lnTo>
                    <a:pt x="587" y="3702"/>
                  </a:lnTo>
                  <a:lnTo>
                    <a:pt x="586" y="3710"/>
                  </a:lnTo>
                  <a:lnTo>
                    <a:pt x="581" y="3717"/>
                  </a:lnTo>
                  <a:lnTo>
                    <a:pt x="574" y="3721"/>
                  </a:lnTo>
                  <a:lnTo>
                    <a:pt x="567" y="3722"/>
                  </a:lnTo>
                  <a:lnTo>
                    <a:pt x="560" y="3721"/>
                  </a:lnTo>
                  <a:lnTo>
                    <a:pt x="554" y="3717"/>
                  </a:lnTo>
                  <a:lnTo>
                    <a:pt x="549" y="3710"/>
                  </a:lnTo>
                  <a:lnTo>
                    <a:pt x="548" y="3702"/>
                  </a:lnTo>
                  <a:lnTo>
                    <a:pt x="548" y="3589"/>
                  </a:lnTo>
                  <a:lnTo>
                    <a:pt x="549" y="3581"/>
                  </a:lnTo>
                  <a:lnTo>
                    <a:pt x="554" y="3575"/>
                  </a:lnTo>
                  <a:lnTo>
                    <a:pt x="560" y="3571"/>
                  </a:lnTo>
                  <a:lnTo>
                    <a:pt x="567" y="3570"/>
                  </a:lnTo>
                  <a:lnTo>
                    <a:pt x="574" y="3571"/>
                  </a:lnTo>
                  <a:lnTo>
                    <a:pt x="581" y="3575"/>
                  </a:lnTo>
                  <a:lnTo>
                    <a:pt x="586" y="3581"/>
                  </a:lnTo>
                  <a:lnTo>
                    <a:pt x="587" y="3589"/>
                  </a:lnTo>
                  <a:close/>
                  <a:moveTo>
                    <a:pt x="850" y="3589"/>
                  </a:moveTo>
                  <a:lnTo>
                    <a:pt x="850" y="3702"/>
                  </a:lnTo>
                  <a:lnTo>
                    <a:pt x="849" y="3710"/>
                  </a:lnTo>
                  <a:lnTo>
                    <a:pt x="844" y="3717"/>
                  </a:lnTo>
                  <a:lnTo>
                    <a:pt x="837" y="3721"/>
                  </a:lnTo>
                  <a:lnTo>
                    <a:pt x="831" y="3722"/>
                  </a:lnTo>
                  <a:lnTo>
                    <a:pt x="823" y="3721"/>
                  </a:lnTo>
                  <a:lnTo>
                    <a:pt x="817" y="3717"/>
                  </a:lnTo>
                  <a:lnTo>
                    <a:pt x="812" y="3710"/>
                  </a:lnTo>
                  <a:lnTo>
                    <a:pt x="810" y="3702"/>
                  </a:lnTo>
                  <a:lnTo>
                    <a:pt x="810" y="3589"/>
                  </a:lnTo>
                  <a:lnTo>
                    <a:pt x="812" y="3581"/>
                  </a:lnTo>
                  <a:lnTo>
                    <a:pt x="817" y="3575"/>
                  </a:lnTo>
                  <a:lnTo>
                    <a:pt x="823" y="3571"/>
                  </a:lnTo>
                  <a:lnTo>
                    <a:pt x="831" y="3570"/>
                  </a:lnTo>
                  <a:lnTo>
                    <a:pt x="837" y="3571"/>
                  </a:lnTo>
                  <a:lnTo>
                    <a:pt x="844" y="3575"/>
                  </a:lnTo>
                  <a:lnTo>
                    <a:pt x="849" y="3581"/>
                  </a:lnTo>
                  <a:lnTo>
                    <a:pt x="850" y="3589"/>
                  </a:lnTo>
                  <a:close/>
                  <a:moveTo>
                    <a:pt x="1113" y="3589"/>
                  </a:moveTo>
                  <a:lnTo>
                    <a:pt x="1113" y="3702"/>
                  </a:lnTo>
                  <a:lnTo>
                    <a:pt x="1112" y="3710"/>
                  </a:lnTo>
                  <a:lnTo>
                    <a:pt x="1107" y="3717"/>
                  </a:lnTo>
                  <a:lnTo>
                    <a:pt x="1100" y="3721"/>
                  </a:lnTo>
                  <a:lnTo>
                    <a:pt x="1094" y="3722"/>
                  </a:lnTo>
                  <a:lnTo>
                    <a:pt x="1086" y="3721"/>
                  </a:lnTo>
                  <a:lnTo>
                    <a:pt x="1080" y="3717"/>
                  </a:lnTo>
                  <a:lnTo>
                    <a:pt x="1076" y="3710"/>
                  </a:lnTo>
                  <a:lnTo>
                    <a:pt x="1073" y="3702"/>
                  </a:lnTo>
                  <a:lnTo>
                    <a:pt x="1073" y="3589"/>
                  </a:lnTo>
                  <a:lnTo>
                    <a:pt x="1076" y="3581"/>
                  </a:lnTo>
                  <a:lnTo>
                    <a:pt x="1080" y="3575"/>
                  </a:lnTo>
                  <a:lnTo>
                    <a:pt x="1086" y="3571"/>
                  </a:lnTo>
                  <a:lnTo>
                    <a:pt x="1094" y="3570"/>
                  </a:lnTo>
                  <a:lnTo>
                    <a:pt x="1100" y="3571"/>
                  </a:lnTo>
                  <a:lnTo>
                    <a:pt x="1107" y="3575"/>
                  </a:lnTo>
                  <a:lnTo>
                    <a:pt x="1112" y="3581"/>
                  </a:lnTo>
                  <a:lnTo>
                    <a:pt x="1113" y="3589"/>
                  </a:lnTo>
                  <a:close/>
                  <a:moveTo>
                    <a:pt x="1377" y="3589"/>
                  </a:moveTo>
                  <a:lnTo>
                    <a:pt x="1377" y="3702"/>
                  </a:lnTo>
                  <a:lnTo>
                    <a:pt x="1375" y="3710"/>
                  </a:lnTo>
                  <a:lnTo>
                    <a:pt x="1371" y="3717"/>
                  </a:lnTo>
                  <a:lnTo>
                    <a:pt x="1364" y="3721"/>
                  </a:lnTo>
                  <a:lnTo>
                    <a:pt x="1357" y="3722"/>
                  </a:lnTo>
                  <a:lnTo>
                    <a:pt x="1349" y="3721"/>
                  </a:lnTo>
                  <a:lnTo>
                    <a:pt x="1343" y="3717"/>
                  </a:lnTo>
                  <a:lnTo>
                    <a:pt x="1339" y="3710"/>
                  </a:lnTo>
                  <a:lnTo>
                    <a:pt x="1336" y="3702"/>
                  </a:lnTo>
                  <a:lnTo>
                    <a:pt x="1336" y="3589"/>
                  </a:lnTo>
                  <a:lnTo>
                    <a:pt x="1339" y="3581"/>
                  </a:lnTo>
                  <a:lnTo>
                    <a:pt x="1343" y="3575"/>
                  </a:lnTo>
                  <a:lnTo>
                    <a:pt x="1349" y="3571"/>
                  </a:lnTo>
                  <a:lnTo>
                    <a:pt x="1357" y="3570"/>
                  </a:lnTo>
                  <a:lnTo>
                    <a:pt x="1364" y="3571"/>
                  </a:lnTo>
                  <a:lnTo>
                    <a:pt x="1371" y="3575"/>
                  </a:lnTo>
                  <a:lnTo>
                    <a:pt x="1375" y="3581"/>
                  </a:lnTo>
                  <a:lnTo>
                    <a:pt x="1377" y="3589"/>
                  </a:lnTo>
                  <a:close/>
                  <a:moveTo>
                    <a:pt x="1640" y="3589"/>
                  </a:moveTo>
                  <a:lnTo>
                    <a:pt x="1640" y="3702"/>
                  </a:lnTo>
                  <a:lnTo>
                    <a:pt x="1637" y="3710"/>
                  </a:lnTo>
                  <a:lnTo>
                    <a:pt x="1634" y="3717"/>
                  </a:lnTo>
                  <a:lnTo>
                    <a:pt x="1627" y="3721"/>
                  </a:lnTo>
                  <a:lnTo>
                    <a:pt x="1620" y="3722"/>
                  </a:lnTo>
                  <a:lnTo>
                    <a:pt x="1612" y="3721"/>
                  </a:lnTo>
                  <a:lnTo>
                    <a:pt x="1605" y="3717"/>
                  </a:lnTo>
                  <a:lnTo>
                    <a:pt x="1602" y="3710"/>
                  </a:lnTo>
                  <a:lnTo>
                    <a:pt x="1600" y="3702"/>
                  </a:lnTo>
                  <a:lnTo>
                    <a:pt x="1600" y="3589"/>
                  </a:lnTo>
                  <a:lnTo>
                    <a:pt x="1602" y="3581"/>
                  </a:lnTo>
                  <a:lnTo>
                    <a:pt x="1605" y="3575"/>
                  </a:lnTo>
                  <a:lnTo>
                    <a:pt x="1612" y="3571"/>
                  </a:lnTo>
                  <a:lnTo>
                    <a:pt x="1620" y="3570"/>
                  </a:lnTo>
                  <a:lnTo>
                    <a:pt x="1627" y="3571"/>
                  </a:lnTo>
                  <a:lnTo>
                    <a:pt x="1634" y="3575"/>
                  </a:lnTo>
                  <a:lnTo>
                    <a:pt x="1637" y="3581"/>
                  </a:lnTo>
                  <a:lnTo>
                    <a:pt x="1640" y="3589"/>
                  </a:lnTo>
                  <a:close/>
                  <a:moveTo>
                    <a:pt x="1903" y="3589"/>
                  </a:moveTo>
                  <a:lnTo>
                    <a:pt x="1903" y="3702"/>
                  </a:lnTo>
                  <a:lnTo>
                    <a:pt x="1902" y="3710"/>
                  </a:lnTo>
                  <a:lnTo>
                    <a:pt x="1896" y="3717"/>
                  </a:lnTo>
                  <a:lnTo>
                    <a:pt x="1890" y="3721"/>
                  </a:lnTo>
                  <a:lnTo>
                    <a:pt x="1882" y="3722"/>
                  </a:lnTo>
                  <a:lnTo>
                    <a:pt x="1876" y="3721"/>
                  </a:lnTo>
                  <a:lnTo>
                    <a:pt x="1870" y="3717"/>
                  </a:lnTo>
                  <a:lnTo>
                    <a:pt x="1864" y="3710"/>
                  </a:lnTo>
                  <a:lnTo>
                    <a:pt x="1863" y="3702"/>
                  </a:lnTo>
                  <a:lnTo>
                    <a:pt x="1863" y="3589"/>
                  </a:lnTo>
                  <a:lnTo>
                    <a:pt x="1864" y="3581"/>
                  </a:lnTo>
                  <a:lnTo>
                    <a:pt x="1870" y="3575"/>
                  </a:lnTo>
                  <a:lnTo>
                    <a:pt x="1876" y="3571"/>
                  </a:lnTo>
                  <a:lnTo>
                    <a:pt x="1882" y="3570"/>
                  </a:lnTo>
                  <a:lnTo>
                    <a:pt x="1890" y="3571"/>
                  </a:lnTo>
                  <a:lnTo>
                    <a:pt x="1896" y="3575"/>
                  </a:lnTo>
                  <a:lnTo>
                    <a:pt x="1902" y="3581"/>
                  </a:lnTo>
                  <a:lnTo>
                    <a:pt x="1903" y="3589"/>
                  </a:lnTo>
                  <a:close/>
                  <a:moveTo>
                    <a:pt x="587" y="3824"/>
                  </a:moveTo>
                  <a:lnTo>
                    <a:pt x="587" y="3937"/>
                  </a:lnTo>
                  <a:lnTo>
                    <a:pt x="586" y="3946"/>
                  </a:lnTo>
                  <a:lnTo>
                    <a:pt x="581" y="3952"/>
                  </a:lnTo>
                  <a:lnTo>
                    <a:pt x="574" y="3956"/>
                  </a:lnTo>
                  <a:lnTo>
                    <a:pt x="567" y="3957"/>
                  </a:lnTo>
                  <a:lnTo>
                    <a:pt x="560" y="3956"/>
                  </a:lnTo>
                  <a:lnTo>
                    <a:pt x="554" y="3952"/>
                  </a:lnTo>
                  <a:lnTo>
                    <a:pt x="549" y="3946"/>
                  </a:lnTo>
                  <a:lnTo>
                    <a:pt x="548" y="3937"/>
                  </a:lnTo>
                  <a:lnTo>
                    <a:pt x="548" y="3824"/>
                  </a:lnTo>
                  <a:lnTo>
                    <a:pt x="549" y="3817"/>
                  </a:lnTo>
                  <a:lnTo>
                    <a:pt x="554" y="3810"/>
                  </a:lnTo>
                  <a:lnTo>
                    <a:pt x="560" y="3806"/>
                  </a:lnTo>
                  <a:lnTo>
                    <a:pt x="567" y="3805"/>
                  </a:lnTo>
                  <a:lnTo>
                    <a:pt x="574" y="3806"/>
                  </a:lnTo>
                  <a:lnTo>
                    <a:pt x="581" y="3810"/>
                  </a:lnTo>
                  <a:lnTo>
                    <a:pt x="586" y="3817"/>
                  </a:lnTo>
                  <a:lnTo>
                    <a:pt x="587" y="3824"/>
                  </a:lnTo>
                  <a:close/>
                  <a:moveTo>
                    <a:pt x="850" y="3824"/>
                  </a:moveTo>
                  <a:lnTo>
                    <a:pt x="850" y="3937"/>
                  </a:lnTo>
                  <a:lnTo>
                    <a:pt x="849" y="3946"/>
                  </a:lnTo>
                  <a:lnTo>
                    <a:pt x="844" y="3952"/>
                  </a:lnTo>
                  <a:lnTo>
                    <a:pt x="837" y="3956"/>
                  </a:lnTo>
                  <a:lnTo>
                    <a:pt x="831" y="3957"/>
                  </a:lnTo>
                  <a:lnTo>
                    <a:pt x="823" y="3956"/>
                  </a:lnTo>
                  <a:lnTo>
                    <a:pt x="817" y="3952"/>
                  </a:lnTo>
                  <a:lnTo>
                    <a:pt x="812" y="3946"/>
                  </a:lnTo>
                  <a:lnTo>
                    <a:pt x="810" y="3937"/>
                  </a:lnTo>
                  <a:lnTo>
                    <a:pt x="810" y="3824"/>
                  </a:lnTo>
                  <a:lnTo>
                    <a:pt x="812" y="3817"/>
                  </a:lnTo>
                  <a:lnTo>
                    <a:pt x="817" y="3810"/>
                  </a:lnTo>
                  <a:lnTo>
                    <a:pt x="823" y="3806"/>
                  </a:lnTo>
                  <a:lnTo>
                    <a:pt x="831" y="3805"/>
                  </a:lnTo>
                  <a:lnTo>
                    <a:pt x="837" y="3806"/>
                  </a:lnTo>
                  <a:lnTo>
                    <a:pt x="844" y="3810"/>
                  </a:lnTo>
                  <a:lnTo>
                    <a:pt x="849" y="3817"/>
                  </a:lnTo>
                  <a:lnTo>
                    <a:pt x="850" y="3824"/>
                  </a:lnTo>
                  <a:close/>
                  <a:moveTo>
                    <a:pt x="1113" y="3824"/>
                  </a:moveTo>
                  <a:lnTo>
                    <a:pt x="1113" y="3937"/>
                  </a:lnTo>
                  <a:lnTo>
                    <a:pt x="1112" y="3946"/>
                  </a:lnTo>
                  <a:lnTo>
                    <a:pt x="1107" y="3952"/>
                  </a:lnTo>
                  <a:lnTo>
                    <a:pt x="1100" y="3956"/>
                  </a:lnTo>
                  <a:lnTo>
                    <a:pt x="1094" y="3957"/>
                  </a:lnTo>
                  <a:lnTo>
                    <a:pt x="1086" y="3956"/>
                  </a:lnTo>
                  <a:lnTo>
                    <a:pt x="1080" y="3952"/>
                  </a:lnTo>
                  <a:lnTo>
                    <a:pt x="1076" y="3946"/>
                  </a:lnTo>
                  <a:lnTo>
                    <a:pt x="1073" y="3937"/>
                  </a:lnTo>
                  <a:lnTo>
                    <a:pt x="1073" y="3824"/>
                  </a:lnTo>
                  <a:lnTo>
                    <a:pt x="1076" y="3817"/>
                  </a:lnTo>
                  <a:lnTo>
                    <a:pt x="1080" y="3810"/>
                  </a:lnTo>
                  <a:lnTo>
                    <a:pt x="1086" y="3806"/>
                  </a:lnTo>
                  <a:lnTo>
                    <a:pt x="1094" y="3805"/>
                  </a:lnTo>
                  <a:lnTo>
                    <a:pt x="1100" y="3806"/>
                  </a:lnTo>
                  <a:lnTo>
                    <a:pt x="1107" y="3810"/>
                  </a:lnTo>
                  <a:lnTo>
                    <a:pt x="1112" y="3817"/>
                  </a:lnTo>
                  <a:lnTo>
                    <a:pt x="1113" y="3824"/>
                  </a:lnTo>
                  <a:close/>
                  <a:moveTo>
                    <a:pt x="1377" y="3824"/>
                  </a:moveTo>
                  <a:lnTo>
                    <a:pt x="1377" y="3937"/>
                  </a:lnTo>
                  <a:lnTo>
                    <a:pt x="1375" y="3946"/>
                  </a:lnTo>
                  <a:lnTo>
                    <a:pt x="1371" y="3952"/>
                  </a:lnTo>
                  <a:lnTo>
                    <a:pt x="1364" y="3956"/>
                  </a:lnTo>
                  <a:lnTo>
                    <a:pt x="1357" y="3957"/>
                  </a:lnTo>
                  <a:lnTo>
                    <a:pt x="1349" y="3956"/>
                  </a:lnTo>
                  <a:lnTo>
                    <a:pt x="1343" y="3952"/>
                  </a:lnTo>
                  <a:lnTo>
                    <a:pt x="1339" y="3946"/>
                  </a:lnTo>
                  <a:lnTo>
                    <a:pt x="1336" y="3937"/>
                  </a:lnTo>
                  <a:lnTo>
                    <a:pt x="1336" y="3824"/>
                  </a:lnTo>
                  <a:lnTo>
                    <a:pt x="1339" y="3817"/>
                  </a:lnTo>
                  <a:lnTo>
                    <a:pt x="1343" y="3810"/>
                  </a:lnTo>
                  <a:lnTo>
                    <a:pt x="1349" y="3806"/>
                  </a:lnTo>
                  <a:lnTo>
                    <a:pt x="1357" y="3805"/>
                  </a:lnTo>
                  <a:lnTo>
                    <a:pt x="1364" y="3806"/>
                  </a:lnTo>
                  <a:lnTo>
                    <a:pt x="1371" y="3810"/>
                  </a:lnTo>
                  <a:lnTo>
                    <a:pt x="1375" y="3817"/>
                  </a:lnTo>
                  <a:lnTo>
                    <a:pt x="1377" y="3824"/>
                  </a:lnTo>
                  <a:close/>
                  <a:moveTo>
                    <a:pt x="1640" y="3824"/>
                  </a:moveTo>
                  <a:lnTo>
                    <a:pt x="1640" y="3937"/>
                  </a:lnTo>
                  <a:lnTo>
                    <a:pt x="1637" y="3946"/>
                  </a:lnTo>
                  <a:lnTo>
                    <a:pt x="1634" y="3952"/>
                  </a:lnTo>
                  <a:lnTo>
                    <a:pt x="1627" y="3956"/>
                  </a:lnTo>
                  <a:lnTo>
                    <a:pt x="1620" y="3957"/>
                  </a:lnTo>
                  <a:lnTo>
                    <a:pt x="1612" y="3956"/>
                  </a:lnTo>
                  <a:lnTo>
                    <a:pt x="1605" y="3952"/>
                  </a:lnTo>
                  <a:lnTo>
                    <a:pt x="1602" y="3946"/>
                  </a:lnTo>
                  <a:lnTo>
                    <a:pt x="1600" y="3937"/>
                  </a:lnTo>
                  <a:lnTo>
                    <a:pt x="1600" y="3824"/>
                  </a:lnTo>
                  <a:lnTo>
                    <a:pt x="1602" y="3817"/>
                  </a:lnTo>
                  <a:lnTo>
                    <a:pt x="1605" y="3810"/>
                  </a:lnTo>
                  <a:lnTo>
                    <a:pt x="1612" y="3806"/>
                  </a:lnTo>
                  <a:lnTo>
                    <a:pt x="1620" y="3805"/>
                  </a:lnTo>
                  <a:lnTo>
                    <a:pt x="1627" y="3806"/>
                  </a:lnTo>
                  <a:lnTo>
                    <a:pt x="1634" y="3810"/>
                  </a:lnTo>
                  <a:lnTo>
                    <a:pt x="1637" y="3817"/>
                  </a:lnTo>
                  <a:lnTo>
                    <a:pt x="1640" y="3824"/>
                  </a:lnTo>
                  <a:close/>
                  <a:moveTo>
                    <a:pt x="2829" y="4093"/>
                  </a:moveTo>
                  <a:lnTo>
                    <a:pt x="2829" y="4085"/>
                  </a:lnTo>
                  <a:lnTo>
                    <a:pt x="2829" y="4093"/>
                  </a:lnTo>
                  <a:close/>
                  <a:moveTo>
                    <a:pt x="0" y="915"/>
                  </a:moveTo>
                  <a:lnTo>
                    <a:pt x="492" y="915"/>
                  </a:lnTo>
                  <a:lnTo>
                    <a:pt x="500" y="917"/>
                  </a:lnTo>
                  <a:lnTo>
                    <a:pt x="507" y="922"/>
                  </a:lnTo>
                  <a:lnTo>
                    <a:pt x="512" y="928"/>
                  </a:lnTo>
                  <a:lnTo>
                    <a:pt x="513" y="936"/>
                  </a:lnTo>
                  <a:lnTo>
                    <a:pt x="513" y="1633"/>
                  </a:lnTo>
                  <a:lnTo>
                    <a:pt x="513" y="2329"/>
                  </a:lnTo>
                  <a:lnTo>
                    <a:pt x="512" y="2338"/>
                  </a:lnTo>
                  <a:lnTo>
                    <a:pt x="507" y="2345"/>
                  </a:lnTo>
                  <a:lnTo>
                    <a:pt x="500" y="2349"/>
                  </a:lnTo>
                  <a:lnTo>
                    <a:pt x="492" y="2350"/>
                  </a:lnTo>
                  <a:lnTo>
                    <a:pt x="486" y="2349"/>
                  </a:lnTo>
                  <a:lnTo>
                    <a:pt x="480" y="2345"/>
                  </a:lnTo>
                  <a:lnTo>
                    <a:pt x="474" y="2338"/>
                  </a:lnTo>
                  <a:lnTo>
                    <a:pt x="473" y="2329"/>
                  </a:lnTo>
                  <a:lnTo>
                    <a:pt x="473" y="1642"/>
                  </a:lnTo>
                  <a:lnTo>
                    <a:pt x="473" y="955"/>
                  </a:lnTo>
                  <a:lnTo>
                    <a:pt x="0" y="955"/>
                  </a:lnTo>
                  <a:lnTo>
                    <a:pt x="0" y="915"/>
                  </a:lnTo>
                  <a:close/>
                  <a:moveTo>
                    <a:pt x="190" y="1345"/>
                  </a:moveTo>
                  <a:lnTo>
                    <a:pt x="190" y="1450"/>
                  </a:lnTo>
                  <a:lnTo>
                    <a:pt x="188" y="1457"/>
                  </a:lnTo>
                  <a:lnTo>
                    <a:pt x="183" y="1464"/>
                  </a:lnTo>
                  <a:lnTo>
                    <a:pt x="177" y="1468"/>
                  </a:lnTo>
                  <a:lnTo>
                    <a:pt x="171" y="1469"/>
                  </a:lnTo>
                  <a:lnTo>
                    <a:pt x="163" y="1468"/>
                  </a:lnTo>
                  <a:lnTo>
                    <a:pt x="156" y="1464"/>
                  </a:lnTo>
                  <a:lnTo>
                    <a:pt x="151" y="1457"/>
                  </a:lnTo>
                  <a:lnTo>
                    <a:pt x="150" y="1450"/>
                  </a:lnTo>
                  <a:lnTo>
                    <a:pt x="150" y="1345"/>
                  </a:lnTo>
                  <a:lnTo>
                    <a:pt x="151" y="1337"/>
                  </a:lnTo>
                  <a:lnTo>
                    <a:pt x="156" y="1331"/>
                  </a:lnTo>
                  <a:lnTo>
                    <a:pt x="163" y="1327"/>
                  </a:lnTo>
                  <a:lnTo>
                    <a:pt x="171" y="1326"/>
                  </a:lnTo>
                  <a:lnTo>
                    <a:pt x="177" y="1327"/>
                  </a:lnTo>
                  <a:lnTo>
                    <a:pt x="183" y="1331"/>
                  </a:lnTo>
                  <a:lnTo>
                    <a:pt x="188" y="1337"/>
                  </a:lnTo>
                  <a:lnTo>
                    <a:pt x="190" y="1345"/>
                  </a:lnTo>
                  <a:close/>
                  <a:moveTo>
                    <a:pt x="190" y="1576"/>
                  </a:moveTo>
                  <a:lnTo>
                    <a:pt x="190" y="1680"/>
                  </a:lnTo>
                  <a:lnTo>
                    <a:pt x="188" y="1689"/>
                  </a:lnTo>
                  <a:lnTo>
                    <a:pt x="183" y="1695"/>
                  </a:lnTo>
                  <a:lnTo>
                    <a:pt x="177" y="1699"/>
                  </a:lnTo>
                  <a:lnTo>
                    <a:pt x="171" y="1700"/>
                  </a:lnTo>
                  <a:lnTo>
                    <a:pt x="163" y="1699"/>
                  </a:lnTo>
                  <a:lnTo>
                    <a:pt x="156" y="1695"/>
                  </a:lnTo>
                  <a:lnTo>
                    <a:pt x="151" y="1689"/>
                  </a:lnTo>
                  <a:lnTo>
                    <a:pt x="150" y="1680"/>
                  </a:lnTo>
                  <a:lnTo>
                    <a:pt x="150" y="1576"/>
                  </a:lnTo>
                  <a:lnTo>
                    <a:pt x="151" y="1567"/>
                  </a:lnTo>
                  <a:lnTo>
                    <a:pt x="156" y="1561"/>
                  </a:lnTo>
                  <a:lnTo>
                    <a:pt x="163" y="1558"/>
                  </a:lnTo>
                  <a:lnTo>
                    <a:pt x="171" y="1557"/>
                  </a:lnTo>
                  <a:lnTo>
                    <a:pt x="177" y="1558"/>
                  </a:lnTo>
                  <a:lnTo>
                    <a:pt x="183" y="1561"/>
                  </a:lnTo>
                  <a:lnTo>
                    <a:pt x="188" y="1567"/>
                  </a:lnTo>
                  <a:lnTo>
                    <a:pt x="190" y="1576"/>
                  </a:lnTo>
                  <a:close/>
                  <a:moveTo>
                    <a:pt x="190" y="1808"/>
                  </a:moveTo>
                  <a:lnTo>
                    <a:pt x="190" y="1911"/>
                  </a:lnTo>
                  <a:lnTo>
                    <a:pt x="188" y="1920"/>
                  </a:lnTo>
                  <a:lnTo>
                    <a:pt x="183" y="1927"/>
                  </a:lnTo>
                  <a:lnTo>
                    <a:pt x="177" y="1931"/>
                  </a:lnTo>
                  <a:lnTo>
                    <a:pt x="171" y="1932"/>
                  </a:lnTo>
                  <a:lnTo>
                    <a:pt x="163" y="1931"/>
                  </a:lnTo>
                  <a:lnTo>
                    <a:pt x="156" y="1927"/>
                  </a:lnTo>
                  <a:lnTo>
                    <a:pt x="151" y="1920"/>
                  </a:lnTo>
                  <a:lnTo>
                    <a:pt x="150" y="1911"/>
                  </a:lnTo>
                  <a:lnTo>
                    <a:pt x="150" y="1808"/>
                  </a:lnTo>
                  <a:lnTo>
                    <a:pt x="151" y="1799"/>
                  </a:lnTo>
                  <a:lnTo>
                    <a:pt x="156" y="1792"/>
                  </a:lnTo>
                  <a:lnTo>
                    <a:pt x="163" y="1789"/>
                  </a:lnTo>
                  <a:lnTo>
                    <a:pt x="171" y="1787"/>
                  </a:lnTo>
                  <a:lnTo>
                    <a:pt x="177" y="1789"/>
                  </a:lnTo>
                  <a:lnTo>
                    <a:pt x="183" y="1792"/>
                  </a:lnTo>
                  <a:lnTo>
                    <a:pt x="188" y="1799"/>
                  </a:lnTo>
                  <a:lnTo>
                    <a:pt x="190" y="1808"/>
                  </a:lnTo>
                  <a:close/>
                  <a:moveTo>
                    <a:pt x="190" y="2039"/>
                  </a:moveTo>
                  <a:lnTo>
                    <a:pt x="190" y="2143"/>
                  </a:lnTo>
                  <a:lnTo>
                    <a:pt x="188" y="2150"/>
                  </a:lnTo>
                  <a:lnTo>
                    <a:pt x="183" y="2157"/>
                  </a:lnTo>
                  <a:lnTo>
                    <a:pt x="177" y="2161"/>
                  </a:lnTo>
                  <a:lnTo>
                    <a:pt x="171" y="2162"/>
                  </a:lnTo>
                  <a:lnTo>
                    <a:pt x="163" y="2161"/>
                  </a:lnTo>
                  <a:lnTo>
                    <a:pt x="156" y="2157"/>
                  </a:lnTo>
                  <a:lnTo>
                    <a:pt x="151" y="2150"/>
                  </a:lnTo>
                  <a:lnTo>
                    <a:pt x="150" y="2143"/>
                  </a:lnTo>
                  <a:lnTo>
                    <a:pt x="150" y="2039"/>
                  </a:lnTo>
                  <a:lnTo>
                    <a:pt x="151" y="2030"/>
                  </a:lnTo>
                  <a:lnTo>
                    <a:pt x="156" y="2024"/>
                  </a:lnTo>
                  <a:lnTo>
                    <a:pt x="163" y="2020"/>
                  </a:lnTo>
                  <a:lnTo>
                    <a:pt x="171" y="2019"/>
                  </a:lnTo>
                  <a:lnTo>
                    <a:pt x="177" y="2020"/>
                  </a:lnTo>
                  <a:lnTo>
                    <a:pt x="183" y="2024"/>
                  </a:lnTo>
                  <a:lnTo>
                    <a:pt x="188" y="2030"/>
                  </a:lnTo>
                  <a:lnTo>
                    <a:pt x="190" y="2039"/>
                  </a:lnTo>
                  <a:close/>
                  <a:moveTo>
                    <a:pt x="190" y="2269"/>
                  </a:moveTo>
                  <a:lnTo>
                    <a:pt x="190" y="2373"/>
                  </a:lnTo>
                  <a:lnTo>
                    <a:pt x="188" y="2382"/>
                  </a:lnTo>
                  <a:lnTo>
                    <a:pt x="183" y="2388"/>
                  </a:lnTo>
                  <a:lnTo>
                    <a:pt x="177" y="2392"/>
                  </a:lnTo>
                  <a:lnTo>
                    <a:pt x="171" y="2393"/>
                  </a:lnTo>
                  <a:lnTo>
                    <a:pt x="163" y="2392"/>
                  </a:lnTo>
                  <a:lnTo>
                    <a:pt x="156" y="2388"/>
                  </a:lnTo>
                  <a:lnTo>
                    <a:pt x="151" y="2382"/>
                  </a:lnTo>
                  <a:lnTo>
                    <a:pt x="150" y="2373"/>
                  </a:lnTo>
                  <a:lnTo>
                    <a:pt x="150" y="2269"/>
                  </a:lnTo>
                  <a:lnTo>
                    <a:pt x="151" y="2260"/>
                  </a:lnTo>
                  <a:lnTo>
                    <a:pt x="156" y="2255"/>
                  </a:lnTo>
                  <a:lnTo>
                    <a:pt x="163" y="2251"/>
                  </a:lnTo>
                  <a:lnTo>
                    <a:pt x="171" y="2250"/>
                  </a:lnTo>
                  <a:lnTo>
                    <a:pt x="177" y="2251"/>
                  </a:lnTo>
                  <a:lnTo>
                    <a:pt x="183" y="2255"/>
                  </a:lnTo>
                  <a:lnTo>
                    <a:pt x="188" y="2260"/>
                  </a:lnTo>
                  <a:lnTo>
                    <a:pt x="190" y="2269"/>
                  </a:lnTo>
                  <a:close/>
                  <a:moveTo>
                    <a:pt x="190" y="2501"/>
                  </a:moveTo>
                  <a:lnTo>
                    <a:pt x="190" y="2604"/>
                  </a:lnTo>
                  <a:lnTo>
                    <a:pt x="188" y="2613"/>
                  </a:lnTo>
                  <a:lnTo>
                    <a:pt x="183" y="2620"/>
                  </a:lnTo>
                  <a:lnTo>
                    <a:pt x="177" y="2624"/>
                  </a:lnTo>
                  <a:lnTo>
                    <a:pt x="171" y="2625"/>
                  </a:lnTo>
                  <a:lnTo>
                    <a:pt x="163" y="2624"/>
                  </a:lnTo>
                  <a:lnTo>
                    <a:pt x="156" y="2620"/>
                  </a:lnTo>
                  <a:lnTo>
                    <a:pt x="151" y="2613"/>
                  </a:lnTo>
                  <a:lnTo>
                    <a:pt x="150" y="2604"/>
                  </a:lnTo>
                  <a:lnTo>
                    <a:pt x="150" y="2501"/>
                  </a:lnTo>
                  <a:lnTo>
                    <a:pt x="151" y="2492"/>
                  </a:lnTo>
                  <a:lnTo>
                    <a:pt x="156" y="2485"/>
                  </a:lnTo>
                  <a:lnTo>
                    <a:pt x="163" y="2482"/>
                  </a:lnTo>
                  <a:lnTo>
                    <a:pt x="171" y="2480"/>
                  </a:lnTo>
                  <a:lnTo>
                    <a:pt x="177" y="2482"/>
                  </a:lnTo>
                  <a:lnTo>
                    <a:pt x="183" y="2485"/>
                  </a:lnTo>
                  <a:lnTo>
                    <a:pt x="188" y="2492"/>
                  </a:lnTo>
                  <a:lnTo>
                    <a:pt x="190" y="2501"/>
                  </a:lnTo>
                  <a:close/>
                  <a:moveTo>
                    <a:pt x="190" y="2732"/>
                  </a:moveTo>
                  <a:lnTo>
                    <a:pt x="190" y="2836"/>
                  </a:lnTo>
                  <a:lnTo>
                    <a:pt x="188" y="2845"/>
                  </a:lnTo>
                  <a:lnTo>
                    <a:pt x="183" y="2850"/>
                  </a:lnTo>
                  <a:lnTo>
                    <a:pt x="177" y="2854"/>
                  </a:lnTo>
                  <a:lnTo>
                    <a:pt x="171" y="2855"/>
                  </a:lnTo>
                  <a:lnTo>
                    <a:pt x="163" y="2854"/>
                  </a:lnTo>
                  <a:lnTo>
                    <a:pt x="156" y="2850"/>
                  </a:lnTo>
                  <a:lnTo>
                    <a:pt x="151" y="2845"/>
                  </a:lnTo>
                  <a:lnTo>
                    <a:pt x="150" y="2836"/>
                  </a:lnTo>
                  <a:lnTo>
                    <a:pt x="150" y="2732"/>
                  </a:lnTo>
                  <a:lnTo>
                    <a:pt x="151" y="2723"/>
                  </a:lnTo>
                  <a:lnTo>
                    <a:pt x="156" y="2717"/>
                  </a:lnTo>
                  <a:lnTo>
                    <a:pt x="163" y="2713"/>
                  </a:lnTo>
                  <a:lnTo>
                    <a:pt x="171" y="2712"/>
                  </a:lnTo>
                  <a:lnTo>
                    <a:pt x="177" y="2713"/>
                  </a:lnTo>
                  <a:lnTo>
                    <a:pt x="183" y="2717"/>
                  </a:lnTo>
                  <a:lnTo>
                    <a:pt x="188" y="2723"/>
                  </a:lnTo>
                  <a:lnTo>
                    <a:pt x="190" y="2732"/>
                  </a:lnTo>
                  <a:close/>
                  <a:moveTo>
                    <a:pt x="190" y="2962"/>
                  </a:moveTo>
                  <a:lnTo>
                    <a:pt x="190" y="3066"/>
                  </a:lnTo>
                  <a:lnTo>
                    <a:pt x="188" y="3075"/>
                  </a:lnTo>
                  <a:lnTo>
                    <a:pt x="183" y="3081"/>
                  </a:lnTo>
                  <a:lnTo>
                    <a:pt x="177" y="3085"/>
                  </a:lnTo>
                  <a:lnTo>
                    <a:pt x="171" y="3086"/>
                  </a:lnTo>
                  <a:lnTo>
                    <a:pt x="163" y="3085"/>
                  </a:lnTo>
                  <a:lnTo>
                    <a:pt x="156" y="3081"/>
                  </a:lnTo>
                  <a:lnTo>
                    <a:pt x="151" y="3075"/>
                  </a:lnTo>
                  <a:lnTo>
                    <a:pt x="150" y="3066"/>
                  </a:lnTo>
                  <a:lnTo>
                    <a:pt x="150" y="2962"/>
                  </a:lnTo>
                  <a:lnTo>
                    <a:pt x="151" y="2953"/>
                  </a:lnTo>
                  <a:lnTo>
                    <a:pt x="156" y="2948"/>
                  </a:lnTo>
                  <a:lnTo>
                    <a:pt x="163" y="2945"/>
                  </a:lnTo>
                  <a:lnTo>
                    <a:pt x="171" y="2943"/>
                  </a:lnTo>
                  <a:lnTo>
                    <a:pt x="177" y="2945"/>
                  </a:lnTo>
                  <a:lnTo>
                    <a:pt x="183" y="2948"/>
                  </a:lnTo>
                  <a:lnTo>
                    <a:pt x="188" y="2953"/>
                  </a:lnTo>
                  <a:lnTo>
                    <a:pt x="190" y="2962"/>
                  </a:lnTo>
                  <a:close/>
                  <a:moveTo>
                    <a:pt x="2375" y="1897"/>
                  </a:moveTo>
                  <a:lnTo>
                    <a:pt x="2375" y="2001"/>
                  </a:lnTo>
                  <a:lnTo>
                    <a:pt x="2372" y="2010"/>
                  </a:lnTo>
                  <a:lnTo>
                    <a:pt x="2368" y="2016"/>
                  </a:lnTo>
                  <a:lnTo>
                    <a:pt x="2362" y="2020"/>
                  </a:lnTo>
                  <a:lnTo>
                    <a:pt x="2354" y="2021"/>
                  </a:lnTo>
                  <a:lnTo>
                    <a:pt x="2347" y="2020"/>
                  </a:lnTo>
                  <a:lnTo>
                    <a:pt x="2340" y="2016"/>
                  </a:lnTo>
                  <a:lnTo>
                    <a:pt x="2336" y="2010"/>
                  </a:lnTo>
                  <a:lnTo>
                    <a:pt x="2334" y="2001"/>
                  </a:lnTo>
                  <a:lnTo>
                    <a:pt x="2334" y="1897"/>
                  </a:lnTo>
                  <a:lnTo>
                    <a:pt x="2336" y="1888"/>
                  </a:lnTo>
                  <a:lnTo>
                    <a:pt x="2340" y="1882"/>
                  </a:lnTo>
                  <a:lnTo>
                    <a:pt x="2347" y="1878"/>
                  </a:lnTo>
                  <a:lnTo>
                    <a:pt x="2354" y="1877"/>
                  </a:lnTo>
                  <a:lnTo>
                    <a:pt x="2362" y="1878"/>
                  </a:lnTo>
                  <a:lnTo>
                    <a:pt x="2368" y="1882"/>
                  </a:lnTo>
                  <a:lnTo>
                    <a:pt x="2372" y="1888"/>
                  </a:lnTo>
                  <a:lnTo>
                    <a:pt x="2375" y="1897"/>
                  </a:lnTo>
                  <a:close/>
                  <a:moveTo>
                    <a:pt x="2589" y="1897"/>
                  </a:moveTo>
                  <a:lnTo>
                    <a:pt x="2589" y="2001"/>
                  </a:lnTo>
                  <a:lnTo>
                    <a:pt x="2588" y="2010"/>
                  </a:lnTo>
                  <a:lnTo>
                    <a:pt x="2583" y="2016"/>
                  </a:lnTo>
                  <a:lnTo>
                    <a:pt x="2576" y="2020"/>
                  </a:lnTo>
                  <a:lnTo>
                    <a:pt x="2570" y="2021"/>
                  </a:lnTo>
                  <a:lnTo>
                    <a:pt x="2562" y="2020"/>
                  </a:lnTo>
                  <a:lnTo>
                    <a:pt x="2556" y="2016"/>
                  </a:lnTo>
                  <a:lnTo>
                    <a:pt x="2550" y="2010"/>
                  </a:lnTo>
                  <a:lnTo>
                    <a:pt x="2549" y="2001"/>
                  </a:lnTo>
                  <a:lnTo>
                    <a:pt x="2549" y="1897"/>
                  </a:lnTo>
                  <a:lnTo>
                    <a:pt x="2550" y="1888"/>
                  </a:lnTo>
                  <a:lnTo>
                    <a:pt x="2556" y="1882"/>
                  </a:lnTo>
                  <a:lnTo>
                    <a:pt x="2562" y="1878"/>
                  </a:lnTo>
                  <a:lnTo>
                    <a:pt x="2570" y="1877"/>
                  </a:lnTo>
                  <a:lnTo>
                    <a:pt x="2576" y="1878"/>
                  </a:lnTo>
                  <a:lnTo>
                    <a:pt x="2583" y="1882"/>
                  </a:lnTo>
                  <a:lnTo>
                    <a:pt x="2588" y="1888"/>
                  </a:lnTo>
                  <a:lnTo>
                    <a:pt x="2589" y="1897"/>
                  </a:lnTo>
                  <a:close/>
                  <a:moveTo>
                    <a:pt x="2804" y="1897"/>
                  </a:moveTo>
                  <a:lnTo>
                    <a:pt x="2804" y="2001"/>
                  </a:lnTo>
                  <a:lnTo>
                    <a:pt x="2803" y="2010"/>
                  </a:lnTo>
                  <a:lnTo>
                    <a:pt x="2798" y="2016"/>
                  </a:lnTo>
                  <a:lnTo>
                    <a:pt x="2792" y="2020"/>
                  </a:lnTo>
                  <a:lnTo>
                    <a:pt x="2784" y="2021"/>
                  </a:lnTo>
                  <a:lnTo>
                    <a:pt x="2777" y="2020"/>
                  </a:lnTo>
                  <a:lnTo>
                    <a:pt x="2771" y="2016"/>
                  </a:lnTo>
                  <a:lnTo>
                    <a:pt x="2766" y="2010"/>
                  </a:lnTo>
                  <a:lnTo>
                    <a:pt x="2765" y="2001"/>
                  </a:lnTo>
                  <a:lnTo>
                    <a:pt x="2765" y="1897"/>
                  </a:lnTo>
                  <a:lnTo>
                    <a:pt x="2766" y="1888"/>
                  </a:lnTo>
                  <a:lnTo>
                    <a:pt x="2771" y="1882"/>
                  </a:lnTo>
                  <a:lnTo>
                    <a:pt x="2777" y="1878"/>
                  </a:lnTo>
                  <a:lnTo>
                    <a:pt x="2784" y="1877"/>
                  </a:lnTo>
                  <a:lnTo>
                    <a:pt x="2792" y="1878"/>
                  </a:lnTo>
                  <a:lnTo>
                    <a:pt x="2798" y="1882"/>
                  </a:lnTo>
                  <a:lnTo>
                    <a:pt x="2803" y="1888"/>
                  </a:lnTo>
                  <a:lnTo>
                    <a:pt x="2804" y="1897"/>
                  </a:lnTo>
                  <a:close/>
                  <a:moveTo>
                    <a:pt x="2375" y="2245"/>
                  </a:moveTo>
                  <a:lnTo>
                    <a:pt x="2375" y="2349"/>
                  </a:lnTo>
                  <a:lnTo>
                    <a:pt x="2372" y="2358"/>
                  </a:lnTo>
                  <a:lnTo>
                    <a:pt x="2368" y="2364"/>
                  </a:lnTo>
                  <a:lnTo>
                    <a:pt x="2362" y="2368"/>
                  </a:lnTo>
                  <a:lnTo>
                    <a:pt x="2354" y="2369"/>
                  </a:lnTo>
                  <a:lnTo>
                    <a:pt x="2347" y="2368"/>
                  </a:lnTo>
                  <a:lnTo>
                    <a:pt x="2340" y="2364"/>
                  </a:lnTo>
                  <a:lnTo>
                    <a:pt x="2336" y="2358"/>
                  </a:lnTo>
                  <a:lnTo>
                    <a:pt x="2334" y="2349"/>
                  </a:lnTo>
                  <a:lnTo>
                    <a:pt x="2334" y="2245"/>
                  </a:lnTo>
                  <a:lnTo>
                    <a:pt x="2336" y="2236"/>
                  </a:lnTo>
                  <a:lnTo>
                    <a:pt x="2340" y="2230"/>
                  </a:lnTo>
                  <a:lnTo>
                    <a:pt x="2347" y="2226"/>
                  </a:lnTo>
                  <a:lnTo>
                    <a:pt x="2354" y="2225"/>
                  </a:lnTo>
                  <a:lnTo>
                    <a:pt x="2362" y="2226"/>
                  </a:lnTo>
                  <a:lnTo>
                    <a:pt x="2368" y="2230"/>
                  </a:lnTo>
                  <a:lnTo>
                    <a:pt x="2372" y="2236"/>
                  </a:lnTo>
                  <a:lnTo>
                    <a:pt x="2375" y="2245"/>
                  </a:lnTo>
                  <a:close/>
                  <a:moveTo>
                    <a:pt x="2589" y="2245"/>
                  </a:moveTo>
                  <a:lnTo>
                    <a:pt x="2589" y="2349"/>
                  </a:lnTo>
                  <a:lnTo>
                    <a:pt x="2588" y="2358"/>
                  </a:lnTo>
                  <a:lnTo>
                    <a:pt x="2583" y="2364"/>
                  </a:lnTo>
                  <a:lnTo>
                    <a:pt x="2576" y="2368"/>
                  </a:lnTo>
                  <a:lnTo>
                    <a:pt x="2570" y="2369"/>
                  </a:lnTo>
                  <a:lnTo>
                    <a:pt x="2562" y="2368"/>
                  </a:lnTo>
                  <a:lnTo>
                    <a:pt x="2556" y="2364"/>
                  </a:lnTo>
                  <a:lnTo>
                    <a:pt x="2550" y="2358"/>
                  </a:lnTo>
                  <a:lnTo>
                    <a:pt x="2549" y="2349"/>
                  </a:lnTo>
                  <a:lnTo>
                    <a:pt x="2549" y="2245"/>
                  </a:lnTo>
                  <a:lnTo>
                    <a:pt x="2550" y="2236"/>
                  </a:lnTo>
                  <a:lnTo>
                    <a:pt x="2556" y="2230"/>
                  </a:lnTo>
                  <a:lnTo>
                    <a:pt x="2562" y="2226"/>
                  </a:lnTo>
                  <a:lnTo>
                    <a:pt x="2570" y="2225"/>
                  </a:lnTo>
                  <a:lnTo>
                    <a:pt x="2576" y="2226"/>
                  </a:lnTo>
                  <a:lnTo>
                    <a:pt x="2583" y="2230"/>
                  </a:lnTo>
                  <a:lnTo>
                    <a:pt x="2588" y="2236"/>
                  </a:lnTo>
                  <a:lnTo>
                    <a:pt x="2589" y="2245"/>
                  </a:lnTo>
                  <a:close/>
                  <a:moveTo>
                    <a:pt x="2804" y="2245"/>
                  </a:moveTo>
                  <a:lnTo>
                    <a:pt x="2804" y="2349"/>
                  </a:lnTo>
                  <a:lnTo>
                    <a:pt x="2803" y="2358"/>
                  </a:lnTo>
                  <a:lnTo>
                    <a:pt x="2798" y="2364"/>
                  </a:lnTo>
                  <a:lnTo>
                    <a:pt x="2792" y="2368"/>
                  </a:lnTo>
                  <a:lnTo>
                    <a:pt x="2784" y="2369"/>
                  </a:lnTo>
                  <a:lnTo>
                    <a:pt x="2777" y="2368"/>
                  </a:lnTo>
                  <a:lnTo>
                    <a:pt x="2771" y="2364"/>
                  </a:lnTo>
                  <a:lnTo>
                    <a:pt x="2766" y="2358"/>
                  </a:lnTo>
                  <a:lnTo>
                    <a:pt x="2765" y="2349"/>
                  </a:lnTo>
                  <a:lnTo>
                    <a:pt x="2765" y="2245"/>
                  </a:lnTo>
                  <a:lnTo>
                    <a:pt x="2766" y="2236"/>
                  </a:lnTo>
                  <a:lnTo>
                    <a:pt x="2771" y="2230"/>
                  </a:lnTo>
                  <a:lnTo>
                    <a:pt x="2777" y="2226"/>
                  </a:lnTo>
                  <a:lnTo>
                    <a:pt x="2784" y="2225"/>
                  </a:lnTo>
                  <a:lnTo>
                    <a:pt x="2792" y="2226"/>
                  </a:lnTo>
                  <a:lnTo>
                    <a:pt x="2798" y="2230"/>
                  </a:lnTo>
                  <a:lnTo>
                    <a:pt x="2803" y="2236"/>
                  </a:lnTo>
                  <a:lnTo>
                    <a:pt x="2804" y="2245"/>
                  </a:lnTo>
                  <a:close/>
                  <a:moveTo>
                    <a:pt x="2375" y="2593"/>
                  </a:moveTo>
                  <a:lnTo>
                    <a:pt x="2375" y="2696"/>
                  </a:lnTo>
                  <a:lnTo>
                    <a:pt x="2372" y="2705"/>
                  </a:lnTo>
                  <a:lnTo>
                    <a:pt x="2368" y="2712"/>
                  </a:lnTo>
                  <a:lnTo>
                    <a:pt x="2362" y="2716"/>
                  </a:lnTo>
                  <a:lnTo>
                    <a:pt x="2354" y="2717"/>
                  </a:lnTo>
                  <a:lnTo>
                    <a:pt x="2347" y="2716"/>
                  </a:lnTo>
                  <a:lnTo>
                    <a:pt x="2340" y="2712"/>
                  </a:lnTo>
                  <a:lnTo>
                    <a:pt x="2336" y="2705"/>
                  </a:lnTo>
                  <a:lnTo>
                    <a:pt x="2334" y="2696"/>
                  </a:lnTo>
                  <a:lnTo>
                    <a:pt x="2334" y="2593"/>
                  </a:lnTo>
                  <a:lnTo>
                    <a:pt x="2336" y="2584"/>
                  </a:lnTo>
                  <a:lnTo>
                    <a:pt x="2340" y="2578"/>
                  </a:lnTo>
                  <a:lnTo>
                    <a:pt x="2347" y="2574"/>
                  </a:lnTo>
                  <a:lnTo>
                    <a:pt x="2354" y="2572"/>
                  </a:lnTo>
                  <a:lnTo>
                    <a:pt x="2362" y="2574"/>
                  </a:lnTo>
                  <a:lnTo>
                    <a:pt x="2368" y="2578"/>
                  </a:lnTo>
                  <a:lnTo>
                    <a:pt x="2372" y="2584"/>
                  </a:lnTo>
                  <a:lnTo>
                    <a:pt x="2375" y="2593"/>
                  </a:lnTo>
                  <a:close/>
                  <a:moveTo>
                    <a:pt x="2589" y="2593"/>
                  </a:moveTo>
                  <a:lnTo>
                    <a:pt x="2589" y="2696"/>
                  </a:lnTo>
                  <a:lnTo>
                    <a:pt x="2588" y="2705"/>
                  </a:lnTo>
                  <a:lnTo>
                    <a:pt x="2583" y="2712"/>
                  </a:lnTo>
                  <a:lnTo>
                    <a:pt x="2576" y="2716"/>
                  </a:lnTo>
                  <a:lnTo>
                    <a:pt x="2570" y="2717"/>
                  </a:lnTo>
                  <a:lnTo>
                    <a:pt x="2562" y="2716"/>
                  </a:lnTo>
                  <a:lnTo>
                    <a:pt x="2556" y="2712"/>
                  </a:lnTo>
                  <a:lnTo>
                    <a:pt x="2550" y="2705"/>
                  </a:lnTo>
                  <a:lnTo>
                    <a:pt x="2549" y="2696"/>
                  </a:lnTo>
                  <a:lnTo>
                    <a:pt x="2549" y="2593"/>
                  </a:lnTo>
                  <a:lnTo>
                    <a:pt x="2550" y="2584"/>
                  </a:lnTo>
                  <a:lnTo>
                    <a:pt x="2556" y="2578"/>
                  </a:lnTo>
                  <a:lnTo>
                    <a:pt x="2562" y="2574"/>
                  </a:lnTo>
                  <a:lnTo>
                    <a:pt x="2570" y="2572"/>
                  </a:lnTo>
                  <a:lnTo>
                    <a:pt x="2576" y="2574"/>
                  </a:lnTo>
                  <a:lnTo>
                    <a:pt x="2583" y="2578"/>
                  </a:lnTo>
                  <a:lnTo>
                    <a:pt x="2588" y="2584"/>
                  </a:lnTo>
                  <a:lnTo>
                    <a:pt x="2589" y="2593"/>
                  </a:lnTo>
                  <a:close/>
                  <a:moveTo>
                    <a:pt x="2804" y="2593"/>
                  </a:moveTo>
                  <a:lnTo>
                    <a:pt x="2804" y="2696"/>
                  </a:lnTo>
                  <a:lnTo>
                    <a:pt x="2803" y="2705"/>
                  </a:lnTo>
                  <a:lnTo>
                    <a:pt x="2798" y="2712"/>
                  </a:lnTo>
                  <a:lnTo>
                    <a:pt x="2792" y="2716"/>
                  </a:lnTo>
                  <a:lnTo>
                    <a:pt x="2784" y="2717"/>
                  </a:lnTo>
                  <a:lnTo>
                    <a:pt x="2777" y="2716"/>
                  </a:lnTo>
                  <a:lnTo>
                    <a:pt x="2771" y="2712"/>
                  </a:lnTo>
                  <a:lnTo>
                    <a:pt x="2766" y="2705"/>
                  </a:lnTo>
                  <a:lnTo>
                    <a:pt x="2765" y="2696"/>
                  </a:lnTo>
                  <a:lnTo>
                    <a:pt x="2765" y="2593"/>
                  </a:lnTo>
                  <a:lnTo>
                    <a:pt x="2766" y="2584"/>
                  </a:lnTo>
                  <a:lnTo>
                    <a:pt x="2771" y="2578"/>
                  </a:lnTo>
                  <a:lnTo>
                    <a:pt x="2777" y="2574"/>
                  </a:lnTo>
                  <a:lnTo>
                    <a:pt x="2784" y="2572"/>
                  </a:lnTo>
                  <a:lnTo>
                    <a:pt x="2792" y="2574"/>
                  </a:lnTo>
                  <a:lnTo>
                    <a:pt x="2798" y="2578"/>
                  </a:lnTo>
                  <a:lnTo>
                    <a:pt x="2803" y="2584"/>
                  </a:lnTo>
                  <a:lnTo>
                    <a:pt x="2804" y="2593"/>
                  </a:lnTo>
                  <a:close/>
                  <a:moveTo>
                    <a:pt x="2375" y="2941"/>
                  </a:moveTo>
                  <a:lnTo>
                    <a:pt x="2375" y="3044"/>
                  </a:lnTo>
                  <a:lnTo>
                    <a:pt x="2372" y="3053"/>
                  </a:lnTo>
                  <a:lnTo>
                    <a:pt x="2368" y="3060"/>
                  </a:lnTo>
                  <a:lnTo>
                    <a:pt x="2362" y="3063"/>
                  </a:lnTo>
                  <a:lnTo>
                    <a:pt x="2354" y="3065"/>
                  </a:lnTo>
                  <a:lnTo>
                    <a:pt x="2347" y="3063"/>
                  </a:lnTo>
                  <a:lnTo>
                    <a:pt x="2340" y="3060"/>
                  </a:lnTo>
                  <a:lnTo>
                    <a:pt x="2336" y="3053"/>
                  </a:lnTo>
                  <a:lnTo>
                    <a:pt x="2334" y="3044"/>
                  </a:lnTo>
                  <a:lnTo>
                    <a:pt x="2334" y="2941"/>
                  </a:lnTo>
                  <a:lnTo>
                    <a:pt x="2336" y="2932"/>
                  </a:lnTo>
                  <a:lnTo>
                    <a:pt x="2340" y="2925"/>
                  </a:lnTo>
                  <a:lnTo>
                    <a:pt x="2347" y="2922"/>
                  </a:lnTo>
                  <a:lnTo>
                    <a:pt x="2354" y="2920"/>
                  </a:lnTo>
                  <a:lnTo>
                    <a:pt x="2362" y="2922"/>
                  </a:lnTo>
                  <a:lnTo>
                    <a:pt x="2368" y="2925"/>
                  </a:lnTo>
                  <a:lnTo>
                    <a:pt x="2372" y="2932"/>
                  </a:lnTo>
                  <a:lnTo>
                    <a:pt x="2375" y="2941"/>
                  </a:lnTo>
                  <a:close/>
                  <a:moveTo>
                    <a:pt x="2589" y="2941"/>
                  </a:moveTo>
                  <a:lnTo>
                    <a:pt x="2589" y="3044"/>
                  </a:lnTo>
                  <a:lnTo>
                    <a:pt x="2588" y="3053"/>
                  </a:lnTo>
                  <a:lnTo>
                    <a:pt x="2583" y="3060"/>
                  </a:lnTo>
                  <a:lnTo>
                    <a:pt x="2576" y="3063"/>
                  </a:lnTo>
                  <a:lnTo>
                    <a:pt x="2570" y="3065"/>
                  </a:lnTo>
                  <a:lnTo>
                    <a:pt x="2562" y="3063"/>
                  </a:lnTo>
                  <a:lnTo>
                    <a:pt x="2556" y="3060"/>
                  </a:lnTo>
                  <a:lnTo>
                    <a:pt x="2550" y="3053"/>
                  </a:lnTo>
                  <a:lnTo>
                    <a:pt x="2549" y="3044"/>
                  </a:lnTo>
                  <a:lnTo>
                    <a:pt x="2549" y="2941"/>
                  </a:lnTo>
                  <a:lnTo>
                    <a:pt x="2550" y="2932"/>
                  </a:lnTo>
                  <a:lnTo>
                    <a:pt x="2556" y="2925"/>
                  </a:lnTo>
                  <a:lnTo>
                    <a:pt x="2562" y="2922"/>
                  </a:lnTo>
                  <a:lnTo>
                    <a:pt x="2570" y="2920"/>
                  </a:lnTo>
                  <a:lnTo>
                    <a:pt x="2576" y="2922"/>
                  </a:lnTo>
                  <a:lnTo>
                    <a:pt x="2583" y="2925"/>
                  </a:lnTo>
                  <a:lnTo>
                    <a:pt x="2588" y="2932"/>
                  </a:lnTo>
                  <a:lnTo>
                    <a:pt x="2589" y="2941"/>
                  </a:lnTo>
                  <a:close/>
                  <a:moveTo>
                    <a:pt x="2804" y="2941"/>
                  </a:moveTo>
                  <a:lnTo>
                    <a:pt x="2804" y="3044"/>
                  </a:lnTo>
                  <a:lnTo>
                    <a:pt x="2803" y="3053"/>
                  </a:lnTo>
                  <a:lnTo>
                    <a:pt x="2798" y="3060"/>
                  </a:lnTo>
                  <a:lnTo>
                    <a:pt x="2792" y="3063"/>
                  </a:lnTo>
                  <a:lnTo>
                    <a:pt x="2784" y="3065"/>
                  </a:lnTo>
                  <a:lnTo>
                    <a:pt x="2777" y="3063"/>
                  </a:lnTo>
                  <a:lnTo>
                    <a:pt x="2771" y="3060"/>
                  </a:lnTo>
                  <a:lnTo>
                    <a:pt x="2766" y="3053"/>
                  </a:lnTo>
                  <a:lnTo>
                    <a:pt x="2765" y="3044"/>
                  </a:lnTo>
                  <a:lnTo>
                    <a:pt x="2765" y="2941"/>
                  </a:lnTo>
                  <a:lnTo>
                    <a:pt x="2766" y="2932"/>
                  </a:lnTo>
                  <a:lnTo>
                    <a:pt x="2771" y="2925"/>
                  </a:lnTo>
                  <a:lnTo>
                    <a:pt x="2777" y="2922"/>
                  </a:lnTo>
                  <a:lnTo>
                    <a:pt x="2784" y="2920"/>
                  </a:lnTo>
                  <a:lnTo>
                    <a:pt x="2792" y="2922"/>
                  </a:lnTo>
                  <a:lnTo>
                    <a:pt x="2798" y="2925"/>
                  </a:lnTo>
                  <a:lnTo>
                    <a:pt x="2803" y="2932"/>
                  </a:lnTo>
                  <a:lnTo>
                    <a:pt x="2804" y="2941"/>
                  </a:lnTo>
                  <a:close/>
                  <a:moveTo>
                    <a:pt x="6888" y="1521"/>
                  </a:moveTo>
                  <a:lnTo>
                    <a:pt x="6778" y="1521"/>
                  </a:lnTo>
                  <a:lnTo>
                    <a:pt x="6778" y="1631"/>
                  </a:lnTo>
                  <a:lnTo>
                    <a:pt x="6888" y="1631"/>
                  </a:lnTo>
                  <a:lnTo>
                    <a:pt x="6888" y="1521"/>
                  </a:lnTo>
                  <a:close/>
                  <a:moveTo>
                    <a:pt x="7276" y="2772"/>
                  </a:moveTo>
                  <a:lnTo>
                    <a:pt x="7276" y="2585"/>
                  </a:lnTo>
                  <a:lnTo>
                    <a:pt x="7276" y="2277"/>
                  </a:lnTo>
                  <a:lnTo>
                    <a:pt x="7277" y="2271"/>
                  </a:lnTo>
                  <a:lnTo>
                    <a:pt x="7277" y="1671"/>
                  </a:lnTo>
                  <a:lnTo>
                    <a:pt x="6909" y="1671"/>
                  </a:lnTo>
                  <a:lnTo>
                    <a:pt x="6758" y="1671"/>
                  </a:lnTo>
                  <a:lnTo>
                    <a:pt x="6469" y="1671"/>
                  </a:lnTo>
                  <a:lnTo>
                    <a:pt x="6460" y="1670"/>
                  </a:lnTo>
                  <a:lnTo>
                    <a:pt x="6454" y="1665"/>
                  </a:lnTo>
                  <a:lnTo>
                    <a:pt x="6450" y="1658"/>
                  </a:lnTo>
                  <a:lnTo>
                    <a:pt x="6449" y="1652"/>
                  </a:lnTo>
                  <a:lnTo>
                    <a:pt x="6450" y="1644"/>
                  </a:lnTo>
                  <a:lnTo>
                    <a:pt x="6454" y="1638"/>
                  </a:lnTo>
                  <a:lnTo>
                    <a:pt x="6460" y="1633"/>
                  </a:lnTo>
                  <a:lnTo>
                    <a:pt x="6469" y="1631"/>
                  </a:lnTo>
                  <a:lnTo>
                    <a:pt x="6574" y="1631"/>
                  </a:lnTo>
                  <a:lnTo>
                    <a:pt x="6574" y="1488"/>
                  </a:lnTo>
                  <a:lnTo>
                    <a:pt x="6172" y="1488"/>
                  </a:lnTo>
                  <a:lnTo>
                    <a:pt x="6172" y="1631"/>
                  </a:lnTo>
                  <a:lnTo>
                    <a:pt x="6204" y="1631"/>
                  </a:lnTo>
                  <a:lnTo>
                    <a:pt x="6213" y="1633"/>
                  </a:lnTo>
                  <a:lnTo>
                    <a:pt x="6219" y="1638"/>
                  </a:lnTo>
                  <a:lnTo>
                    <a:pt x="6223" y="1644"/>
                  </a:lnTo>
                  <a:lnTo>
                    <a:pt x="6224" y="1652"/>
                  </a:lnTo>
                  <a:lnTo>
                    <a:pt x="6223" y="1658"/>
                  </a:lnTo>
                  <a:lnTo>
                    <a:pt x="6219" y="1665"/>
                  </a:lnTo>
                  <a:lnTo>
                    <a:pt x="6213" y="1670"/>
                  </a:lnTo>
                  <a:lnTo>
                    <a:pt x="6204" y="1671"/>
                  </a:lnTo>
                  <a:lnTo>
                    <a:pt x="6037" y="1671"/>
                  </a:lnTo>
                  <a:lnTo>
                    <a:pt x="6037" y="2332"/>
                  </a:lnTo>
                  <a:lnTo>
                    <a:pt x="6037" y="2993"/>
                  </a:lnTo>
                  <a:lnTo>
                    <a:pt x="6037" y="3654"/>
                  </a:lnTo>
                  <a:lnTo>
                    <a:pt x="6037" y="4317"/>
                  </a:lnTo>
                  <a:lnTo>
                    <a:pt x="6656" y="4317"/>
                  </a:lnTo>
                  <a:lnTo>
                    <a:pt x="7276" y="4317"/>
                  </a:lnTo>
                  <a:lnTo>
                    <a:pt x="7276" y="3544"/>
                  </a:lnTo>
                  <a:lnTo>
                    <a:pt x="7276" y="2772"/>
                  </a:lnTo>
                  <a:close/>
                  <a:moveTo>
                    <a:pt x="9050" y="2792"/>
                  </a:moveTo>
                  <a:lnTo>
                    <a:pt x="8182" y="2792"/>
                  </a:lnTo>
                  <a:lnTo>
                    <a:pt x="7315" y="2792"/>
                  </a:lnTo>
                  <a:lnTo>
                    <a:pt x="7315" y="3554"/>
                  </a:lnTo>
                  <a:lnTo>
                    <a:pt x="7315" y="4317"/>
                  </a:lnTo>
                  <a:lnTo>
                    <a:pt x="8182" y="4317"/>
                  </a:lnTo>
                  <a:lnTo>
                    <a:pt x="9050" y="4317"/>
                  </a:lnTo>
                  <a:lnTo>
                    <a:pt x="9050" y="3554"/>
                  </a:lnTo>
                  <a:lnTo>
                    <a:pt x="9050" y="2792"/>
                  </a:lnTo>
                  <a:close/>
                  <a:moveTo>
                    <a:pt x="8412" y="2258"/>
                  </a:moveTo>
                  <a:lnTo>
                    <a:pt x="8412" y="2135"/>
                  </a:lnTo>
                  <a:lnTo>
                    <a:pt x="8413" y="2127"/>
                  </a:lnTo>
                  <a:lnTo>
                    <a:pt x="8418" y="2121"/>
                  </a:lnTo>
                  <a:lnTo>
                    <a:pt x="8425" y="2117"/>
                  </a:lnTo>
                  <a:lnTo>
                    <a:pt x="8432" y="2116"/>
                  </a:lnTo>
                  <a:lnTo>
                    <a:pt x="8677" y="2116"/>
                  </a:lnTo>
                  <a:lnTo>
                    <a:pt x="8685" y="2117"/>
                  </a:lnTo>
                  <a:lnTo>
                    <a:pt x="8691" y="2121"/>
                  </a:lnTo>
                  <a:lnTo>
                    <a:pt x="8695" y="2127"/>
                  </a:lnTo>
                  <a:lnTo>
                    <a:pt x="8698" y="2135"/>
                  </a:lnTo>
                  <a:lnTo>
                    <a:pt x="8698" y="2258"/>
                  </a:lnTo>
                  <a:lnTo>
                    <a:pt x="8853" y="2258"/>
                  </a:lnTo>
                  <a:lnTo>
                    <a:pt x="8868" y="2266"/>
                  </a:lnTo>
                  <a:lnTo>
                    <a:pt x="9089" y="2565"/>
                  </a:lnTo>
                  <a:lnTo>
                    <a:pt x="9100" y="2565"/>
                  </a:lnTo>
                  <a:lnTo>
                    <a:pt x="9108" y="2566"/>
                  </a:lnTo>
                  <a:lnTo>
                    <a:pt x="9114" y="2571"/>
                  </a:lnTo>
                  <a:lnTo>
                    <a:pt x="9120" y="2578"/>
                  </a:lnTo>
                  <a:lnTo>
                    <a:pt x="9121" y="2585"/>
                  </a:lnTo>
                  <a:lnTo>
                    <a:pt x="9121" y="2772"/>
                  </a:lnTo>
                  <a:lnTo>
                    <a:pt x="9120" y="2780"/>
                  </a:lnTo>
                  <a:lnTo>
                    <a:pt x="9114" y="2786"/>
                  </a:lnTo>
                  <a:lnTo>
                    <a:pt x="9108" y="2791"/>
                  </a:lnTo>
                  <a:lnTo>
                    <a:pt x="9100" y="2792"/>
                  </a:lnTo>
                  <a:lnTo>
                    <a:pt x="9090" y="2792"/>
                  </a:lnTo>
                  <a:lnTo>
                    <a:pt x="9090" y="3563"/>
                  </a:lnTo>
                  <a:lnTo>
                    <a:pt x="9090" y="4336"/>
                  </a:lnTo>
                  <a:lnTo>
                    <a:pt x="9089" y="4343"/>
                  </a:lnTo>
                  <a:lnTo>
                    <a:pt x="9084" y="4350"/>
                  </a:lnTo>
                  <a:lnTo>
                    <a:pt x="9077" y="4355"/>
                  </a:lnTo>
                  <a:lnTo>
                    <a:pt x="9070" y="4356"/>
                  </a:lnTo>
                  <a:lnTo>
                    <a:pt x="8184" y="4356"/>
                  </a:lnTo>
                  <a:lnTo>
                    <a:pt x="7297" y="4356"/>
                  </a:lnTo>
                  <a:lnTo>
                    <a:pt x="7295" y="4356"/>
                  </a:lnTo>
                  <a:lnTo>
                    <a:pt x="6656" y="4356"/>
                  </a:lnTo>
                  <a:lnTo>
                    <a:pt x="6018" y="4356"/>
                  </a:lnTo>
                  <a:lnTo>
                    <a:pt x="6010" y="4355"/>
                  </a:lnTo>
                  <a:lnTo>
                    <a:pt x="6004" y="4350"/>
                  </a:lnTo>
                  <a:lnTo>
                    <a:pt x="5999" y="4343"/>
                  </a:lnTo>
                  <a:lnTo>
                    <a:pt x="5997" y="4336"/>
                  </a:lnTo>
                  <a:lnTo>
                    <a:pt x="5997" y="3664"/>
                  </a:lnTo>
                  <a:lnTo>
                    <a:pt x="5997" y="2993"/>
                  </a:lnTo>
                  <a:lnTo>
                    <a:pt x="5997" y="2322"/>
                  </a:lnTo>
                  <a:lnTo>
                    <a:pt x="5997" y="1652"/>
                  </a:lnTo>
                  <a:lnTo>
                    <a:pt x="5999" y="1644"/>
                  </a:lnTo>
                  <a:lnTo>
                    <a:pt x="6004" y="1638"/>
                  </a:lnTo>
                  <a:lnTo>
                    <a:pt x="6010" y="1633"/>
                  </a:lnTo>
                  <a:lnTo>
                    <a:pt x="6018" y="1631"/>
                  </a:lnTo>
                  <a:lnTo>
                    <a:pt x="6132" y="1631"/>
                  </a:lnTo>
                  <a:lnTo>
                    <a:pt x="6132" y="1469"/>
                  </a:lnTo>
                  <a:lnTo>
                    <a:pt x="6133" y="1461"/>
                  </a:lnTo>
                  <a:lnTo>
                    <a:pt x="6138" y="1455"/>
                  </a:lnTo>
                  <a:lnTo>
                    <a:pt x="6145" y="1451"/>
                  </a:lnTo>
                  <a:lnTo>
                    <a:pt x="6152" y="1448"/>
                  </a:lnTo>
                  <a:lnTo>
                    <a:pt x="6595" y="1448"/>
                  </a:lnTo>
                  <a:lnTo>
                    <a:pt x="6602" y="1451"/>
                  </a:lnTo>
                  <a:lnTo>
                    <a:pt x="6609" y="1455"/>
                  </a:lnTo>
                  <a:lnTo>
                    <a:pt x="6613" y="1461"/>
                  </a:lnTo>
                  <a:lnTo>
                    <a:pt x="6614" y="1469"/>
                  </a:lnTo>
                  <a:lnTo>
                    <a:pt x="6614" y="1631"/>
                  </a:lnTo>
                  <a:lnTo>
                    <a:pt x="6738" y="1631"/>
                  </a:lnTo>
                  <a:lnTo>
                    <a:pt x="6738" y="1501"/>
                  </a:lnTo>
                  <a:lnTo>
                    <a:pt x="6740" y="1493"/>
                  </a:lnTo>
                  <a:lnTo>
                    <a:pt x="6744" y="1487"/>
                  </a:lnTo>
                  <a:lnTo>
                    <a:pt x="6750" y="1483"/>
                  </a:lnTo>
                  <a:lnTo>
                    <a:pt x="6758" y="1480"/>
                  </a:lnTo>
                  <a:lnTo>
                    <a:pt x="6909" y="1480"/>
                  </a:lnTo>
                  <a:lnTo>
                    <a:pt x="6917" y="1483"/>
                  </a:lnTo>
                  <a:lnTo>
                    <a:pt x="6923" y="1487"/>
                  </a:lnTo>
                  <a:lnTo>
                    <a:pt x="6927" y="1493"/>
                  </a:lnTo>
                  <a:lnTo>
                    <a:pt x="6928" y="1501"/>
                  </a:lnTo>
                  <a:lnTo>
                    <a:pt x="6928" y="1631"/>
                  </a:lnTo>
                  <a:lnTo>
                    <a:pt x="7297" y="1631"/>
                  </a:lnTo>
                  <a:lnTo>
                    <a:pt x="7305" y="1633"/>
                  </a:lnTo>
                  <a:lnTo>
                    <a:pt x="7312" y="1638"/>
                  </a:lnTo>
                  <a:lnTo>
                    <a:pt x="7315" y="1644"/>
                  </a:lnTo>
                  <a:lnTo>
                    <a:pt x="7317" y="1652"/>
                  </a:lnTo>
                  <a:lnTo>
                    <a:pt x="7317" y="2258"/>
                  </a:lnTo>
                  <a:lnTo>
                    <a:pt x="7864" y="2258"/>
                  </a:lnTo>
                  <a:lnTo>
                    <a:pt x="8412" y="2258"/>
                  </a:lnTo>
                  <a:close/>
                  <a:moveTo>
                    <a:pt x="8657" y="2258"/>
                  </a:moveTo>
                  <a:lnTo>
                    <a:pt x="8657" y="2156"/>
                  </a:lnTo>
                  <a:lnTo>
                    <a:pt x="8452" y="2156"/>
                  </a:lnTo>
                  <a:lnTo>
                    <a:pt x="8452" y="2258"/>
                  </a:lnTo>
                  <a:lnTo>
                    <a:pt x="8482" y="2258"/>
                  </a:lnTo>
                  <a:lnTo>
                    <a:pt x="8491" y="2259"/>
                  </a:lnTo>
                  <a:lnTo>
                    <a:pt x="8496" y="2264"/>
                  </a:lnTo>
                  <a:lnTo>
                    <a:pt x="8500" y="2271"/>
                  </a:lnTo>
                  <a:lnTo>
                    <a:pt x="8502" y="2277"/>
                  </a:lnTo>
                  <a:lnTo>
                    <a:pt x="8500" y="2285"/>
                  </a:lnTo>
                  <a:lnTo>
                    <a:pt x="8496" y="2291"/>
                  </a:lnTo>
                  <a:lnTo>
                    <a:pt x="8491" y="2296"/>
                  </a:lnTo>
                  <a:lnTo>
                    <a:pt x="8482" y="2298"/>
                  </a:lnTo>
                  <a:lnTo>
                    <a:pt x="7899" y="2298"/>
                  </a:lnTo>
                  <a:lnTo>
                    <a:pt x="7315" y="2298"/>
                  </a:lnTo>
                  <a:lnTo>
                    <a:pt x="7315" y="2565"/>
                  </a:lnTo>
                  <a:lnTo>
                    <a:pt x="8177" y="2565"/>
                  </a:lnTo>
                  <a:lnTo>
                    <a:pt x="9039" y="2565"/>
                  </a:lnTo>
                  <a:lnTo>
                    <a:pt x="8843" y="2298"/>
                  </a:lnTo>
                  <a:lnTo>
                    <a:pt x="8637" y="2298"/>
                  </a:lnTo>
                  <a:lnTo>
                    <a:pt x="8630" y="2296"/>
                  </a:lnTo>
                  <a:lnTo>
                    <a:pt x="8623" y="2291"/>
                  </a:lnTo>
                  <a:lnTo>
                    <a:pt x="8619" y="2285"/>
                  </a:lnTo>
                  <a:lnTo>
                    <a:pt x="8618" y="2277"/>
                  </a:lnTo>
                  <a:lnTo>
                    <a:pt x="8619" y="2271"/>
                  </a:lnTo>
                  <a:lnTo>
                    <a:pt x="8623" y="2264"/>
                  </a:lnTo>
                  <a:lnTo>
                    <a:pt x="8630" y="2259"/>
                  </a:lnTo>
                  <a:lnTo>
                    <a:pt x="8637" y="2258"/>
                  </a:lnTo>
                  <a:lnTo>
                    <a:pt x="8657" y="2258"/>
                  </a:lnTo>
                  <a:close/>
                  <a:moveTo>
                    <a:pt x="9075" y="2604"/>
                  </a:moveTo>
                  <a:lnTo>
                    <a:pt x="8195" y="2604"/>
                  </a:lnTo>
                  <a:lnTo>
                    <a:pt x="7315" y="2604"/>
                  </a:lnTo>
                  <a:lnTo>
                    <a:pt x="7315" y="2753"/>
                  </a:lnTo>
                  <a:lnTo>
                    <a:pt x="8192" y="2753"/>
                  </a:lnTo>
                  <a:lnTo>
                    <a:pt x="9070" y="2753"/>
                  </a:lnTo>
                  <a:lnTo>
                    <a:pt x="9081" y="2753"/>
                  </a:lnTo>
                  <a:lnTo>
                    <a:pt x="9081" y="2604"/>
                  </a:lnTo>
                  <a:lnTo>
                    <a:pt x="9075" y="2604"/>
                  </a:lnTo>
                  <a:close/>
                  <a:moveTo>
                    <a:pt x="6236" y="1893"/>
                  </a:moveTo>
                  <a:lnTo>
                    <a:pt x="6369" y="1893"/>
                  </a:lnTo>
                  <a:lnTo>
                    <a:pt x="6378" y="1895"/>
                  </a:lnTo>
                  <a:lnTo>
                    <a:pt x="6384" y="1900"/>
                  </a:lnTo>
                  <a:lnTo>
                    <a:pt x="6387" y="1906"/>
                  </a:lnTo>
                  <a:lnTo>
                    <a:pt x="6388" y="1913"/>
                  </a:lnTo>
                  <a:lnTo>
                    <a:pt x="6387" y="1920"/>
                  </a:lnTo>
                  <a:lnTo>
                    <a:pt x="6384" y="1927"/>
                  </a:lnTo>
                  <a:lnTo>
                    <a:pt x="6378" y="1932"/>
                  </a:lnTo>
                  <a:lnTo>
                    <a:pt x="6369" y="1933"/>
                  </a:lnTo>
                  <a:lnTo>
                    <a:pt x="6236" y="1933"/>
                  </a:lnTo>
                  <a:lnTo>
                    <a:pt x="6227" y="1932"/>
                  </a:lnTo>
                  <a:lnTo>
                    <a:pt x="6220" y="1927"/>
                  </a:lnTo>
                  <a:lnTo>
                    <a:pt x="6216" y="1920"/>
                  </a:lnTo>
                  <a:lnTo>
                    <a:pt x="6215" y="1913"/>
                  </a:lnTo>
                  <a:lnTo>
                    <a:pt x="6216" y="1906"/>
                  </a:lnTo>
                  <a:lnTo>
                    <a:pt x="6220" y="1900"/>
                  </a:lnTo>
                  <a:lnTo>
                    <a:pt x="6227" y="1895"/>
                  </a:lnTo>
                  <a:lnTo>
                    <a:pt x="6236" y="1893"/>
                  </a:lnTo>
                  <a:close/>
                  <a:moveTo>
                    <a:pt x="6472" y="1893"/>
                  </a:moveTo>
                  <a:lnTo>
                    <a:pt x="6605" y="1893"/>
                  </a:lnTo>
                  <a:lnTo>
                    <a:pt x="6614" y="1895"/>
                  </a:lnTo>
                  <a:lnTo>
                    <a:pt x="6620" y="1900"/>
                  </a:lnTo>
                  <a:lnTo>
                    <a:pt x="6624" y="1906"/>
                  </a:lnTo>
                  <a:lnTo>
                    <a:pt x="6626" y="1913"/>
                  </a:lnTo>
                  <a:lnTo>
                    <a:pt x="6624" y="1920"/>
                  </a:lnTo>
                  <a:lnTo>
                    <a:pt x="6620" y="1927"/>
                  </a:lnTo>
                  <a:lnTo>
                    <a:pt x="6614" y="1932"/>
                  </a:lnTo>
                  <a:lnTo>
                    <a:pt x="6605" y="1933"/>
                  </a:lnTo>
                  <a:lnTo>
                    <a:pt x="6472" y="1933"/>
                  </a:lnTo>
                  <a:lnTo>
                    <a:pt x="6464" y="1932"/>
                  </a:lnTo>
                  <a:lnTo>
                    <a:pt x="6458" y="1927"/>
                  </a:lnTo>
                  <a:lnTo>
                    <a:pt x="6454" y="1920"/>
                  </a:lnTo>
                  <a:lnTo>
                    <a:pt x="6452" y="1913"/>
                  </a:lnTo>
                  <a:lnTo>
                    <a:pt x="6454" y="1906"/>
                  </a:lnTo>
                  <a:lnTo>
                    <a:pt x="6458" y="1900"/>
                  </a:lnTo>
                  <a:lnTo>
                    <a:pt x="6464" y="1895"/>
                  </a:lnTo>
                  <a:lnTo>
                    <a:pt x="6472" y="1893"/>
                  </a:lnTo>
                  <a:close/>
                  <a:moveTo>
                    <a:pt x="6709" y="1893"/>
                  </a:moveTo>
                  <a:lnTo>
                    <a:pt x="6842" y="1893"/>
                  </a:lnTo>
                  <a:lnTo>
                    <a:pt x="6851" y="1895"/>
                  </a:lnTo>
                  <a:lnTo>
                    <a:pt x="6858" y="1900"/>
                  </a:lnTo>
                  <a:lnTo>
                    <a:pt x="6861" y="1906"/>
                  </a:lnTo>
                  <a:lnTo>
                    <a:pt x="6863" y="1913"/>
                  </a:lnTo>
                  <a:lnTo>
                    <a:pt x="6861" y="1920"/>
                  </a:lnTo>
                  <a:lnTo>
                    <a:pt x="6858" y="1927"/>
                  </a:lnTo>
                  <a:lnTo>
                    <a:pt x="6851" y="1932"/>
                  </a:lnTo>
                  <a:lnTo>
                    <a:pt x="6842" y="1933"/>
                  </a:lnTo>
                  <a:lnTo>
                    <a:pt x="6709" y="1933"/>
                  </a:lnTo>
                  <a:lnTo>
                    <a:pt x="6700" y="1932"/>
                  </a:lnTo>
                  <a:lnTo>
                    <a:pt x="6693" y="1927"/>
                  </a:lnTo>
                  <a:lnTo>
                    <a:pt x="6690" y="1920"/>
                  </a:lnTo>
                  <a:lnTo>
                    <a:pt x="6688" y="1913"/>
                  </a:lnTo>
                  <a:lnTo>
                    <a:pt x="6690" y="1906"/>
                  </a:lnTo>
                  <a:lnTo>
                    <a:pt x="6693" y="1900"/>
                  </a:lnTo>
                  <a:lnTo>
                    <a:pt x="6700" y="1895"/>
                  </a:lnTo>
                  <a:lnTo>
                    <a:pt x="6709" y="1893"/>
                  </a:lnTo>
                  <a:close/>
                  <a:moveTo>
                    <a:pt x="6946" y="1893"/>
                  </a:moveTo>
                  <a:lnTo>
                    <a:pt x="7078" y="1893"/>
                  </a:lnTo>
                  <a:lnTo>
                    <a:pt x="7087" y="1895"/>
                  </a:lnTo>
                  <a:lnTo>
                    <a:pt x="7094" y="1900"/>
                  </a:lnTo>
                  <a:lnTo>
                    <a:pt x="7097" y="1906"/>
                  </a:lnTo>
                  <a:lnTo>
                    <a:pt x="7099" y="1913"/>
                  </a:lnTo>
                  <a:lnTo>
                    <a:pt x="7097" y="1920"/>
                  </a:lnTo>
                  <a:lnTo>
                    <a:pt x="7094" y="1927"/>
                  </a:lnTo>
                  <a:lnTo>
                    <a:pt x="7087" y="1932"/>
                  </a:lnTo>
                  <a:lnTo>
                    <a:pt x="7078" y="1933"/>
                  </a:lnTo>
                  <a:lnTo>
                    <a:pt x="6946" y="1933"/>
                  </a:lnTo>
                  <a:lnTo>
                    <a:pt x="6937" y="1932"/>
                  </a:lnTo>
                  <a:lnTo>
                    <a:pt x="6931" y="1927"/>
                  </a:lnTo>
                  <a:lnTo>
                    <a:pt x="6927" y="1920"/>
                  </a:lnTo>
                  <a:lnTo>
                    <a:pt x="6926" y="1913"/>
                  </a:lnTo>
                  <a:lnTo>
                    <a:pt x="6927" y="1906"/>
                  </a:lnTo>
                  <a:lnTo>
                    <a:pt x="6931" y="1900"/>
                  </a:lnTo>
                  <a:lnTo>
                    <a:pt x="6937" y="1895"/>
                  </a:lnTo>
                  <a:lnTo>
                    <a:pt x="6946" y="1893"/>
                  </a:lnTo>
                  <a:close/>
                  <a:moveTo>
                    <a:pt x="6236" y="2156"/>
                  </a:moveTo>
                  <a:lnTo>
                    <a:pt x="6369" y="2156"/>
                  </a:lnTo>
                  <a:lnTo>
                    <a:pt x="6378" y="2158"/>
                  </a:lnTo>
                  <a:lnTo>
                    <a:pt x="6384" y="2162"/>
                  </a:lnTo>
                  <a:lnTo>
                    <a:pt x="6387" y="2168"/>
                  </a:lnTo>
                  <a:lnTo>
                    <a:pt x="6388" y="2176"/>
                  </a:lnTo>
                  <a:lnTo>
                    <a:pt x="6387" y="2184"/>
                  </a:lnTo>
                  <a:lnTo>
                    <a:pt x="6384" y="2190"/>
                  </a:lnTo>
                  <a:lnTo>
                    <a:pt x="6378" y="2194"/>
                  </a:lnTo>
                  <a:lnTo>
                    <a:pt x="6369" y="2197"/>
                  </a:lnTo>
                  <a:lnTo>
                    <a:pt x="6236" y="2197"/>
                  </a:lnTo>
                  <a:lnTo>
                    <a:pt x="6227" y="2194"/>
                  </a:lnTo>
                  <a:lnTo>
                    <a:pt x="6220" y="2190"/>
                  </a:lnTo>
                  <a:lnTo>
                    <a:pt x="6216" y="2184"/>
                  </a:lnTo>
                  <a:lnTo>
                    <a:pt x="6215" y="2176"/>
                  </a:lnTo>
                  <a:lnTo>
                    <a:pt x="6216" y="2168"/>
                  </a:lnTo>
                  <a:lnTo>
                    <a:pt x="6220" y="2162"/>
                  </a:lnTo>
                  <a:lnTo>
                    <a:pt x="6227" y="2158"/>
                  </a:lnTo>
                  <a:lnTo>
                    <a:pt x="6236" y="2156"/>
                  </a:lnTo>
                  <a:close/>
                  <a:moveTo>
                    <a:pt x="6472" y="2156"/>
                  </a:moveTo>
                  <a:lnTo>
                    <a:pt x="6605" y="2156"/>
                  </a:lnTo>
                  <a:lnTo>
                    <a:pt x="6614" y="2158"/>
                  </a:lnTo>
                  <a:lnTo>
                    <a:pt x="6620" y="2162"/>
                  </a:lnTo>
                  <a:lnTo>
                    <a:pt x="6624" y="2168"/>
                  </a:lnTo>
                  <a:lnTo>
                    <a:pt x="6626" y="2176"/>
                  </a:lnTo>
                  <a:lnTo>
                    <a:pt x="6624" y="2184"/>
                  </a:lnTo>
                  <a:lnTo>
                    <a:pt x="6620" y="2190"/>
                  </a:lnTo>
                  <a:lnTo>
                    <a:pt x="6614" y="2194"/>
                  </a:lnTo>
                  <a:lnTo>
                    <a:pt x="6605" y="2197"/>
                  </a:lnTo>
                  <a:lnTo>
                    <a:pt x="6472" y="2197"/>
                  </a:lnTo>
                  <a:lnTo>
                    <a:pt x="6464" y="2194"/>
                  </a:lnTo>
                  <a:lnTo>
                    <a:pt x="6458" y="2190"/>
                  </a:lnTo>
                  <a:lnTo>
                    <a:pt x="6454" y="2184"/>
                  </a:lnTo>
                  <a:lnTo>
                    <a:pt x="6452" y="2176"/>
                  </a:lnTo>
                  <a:lnTo>
                    <a:pt x="6454" y="2168"/>
                  </a:lnTo>
                  <a:lnTo>
                    <a:pt x="6458" y="2162"/>
                  </a:lnTo>
                  <a:lnTo>
                    <a:pt x="6464" y="2158"/>
                  </a:lnTo>
                  <a:lnTo>
                    <a:pt x="6472" y="2156"/>
                  </a:lnTo>
                  <a:close/>
                  <a:moveTo>
                    <a:pt x="6709" y="2156"/>
                  </a:moveTo>
                  <a:lnTo>
                    <a:pt x="6842" y="2156"/>
                  </a:lnTo>
                  <a:lnTo>
                    <a:pt x="6851" y="2158"/>
                  </a:lnTo>
                  <a:lnTo>
                    <a:pt x="6858" y="2162"/>
                  </a:lnTo>
                  <a:lnTo>
                    <a:pt x="6861" y="2168"/>
                  </a:lnTo>
                  <a:lnTo>
                    <a:pt x="6863" y="2176"/>
                  </a:lnTo>
                  <a:lnTo>
                    <a:pt x="6861" y="2184"/>
                  </a:lnTo>
                  <a:lnTo>
                    <a:pt x="6858" y="2190"/>
                  </a:lnTo>
                  <a:lnTo>
                    <a:pt x="6851" y="2194"/>
                  </a:lnTo>
                  <a:lnTo>
                    <a:pt x="6842" y="2197"/>
                  </a:lnTo>
                  <a:lnTo>
                    <a:pt x="6709" y="2197"/>
                  </a:lnTo>
                  <a:lnTo>
                    <a:pt x="6700" y="2194"/>
                  </a:lnTo>
                  <a:lnTo>
                    <a:pt x="6693" y="2190"/>
                  </a:lnTo>
                  <a:lnTo>
                    <a:pt x="6690" y="2184"/>
                  </a:lnTo>
                  <a:lnTo>
                    <a:pt x="6688" y="2176"/>
                  </a:lnTo>
                  <a:lnTo>
                    <a:pt x="6690" y="2168"/>
                  </a:lnTo>
                  <a:lnTo>
                    <a:pt x="6693" y="2162"/>
                  </a:lnTo>
                  <a:lnTo>
                    <a:pt x="6700" y="2158"/>
                  </a:lnTo>
                  <a:lnTo>
                    <a:pt x="6709" y="2156"/>
                  </a:lnTo>
                  <a:close/>
                  <a:moveTo>
                    <a:pt x="6946" y="2156"/>
                  </a:moveTo>
                  <a:lnTo>
                    <a:pt x="7078" y="2156"/>
                  </a:lnTo>
                  <a:lnTo>
                    <a:pt x="7087" y="2158"/>
                  </a:lnTo>
                  <a:lnTo>
                    <a:pt x="7094" y="2162"/>
                  </a:lnTo>
                  <a:lnTo>
                    <a:pt x="7097" y="2168"/>
                  </a:lnTo>
                  <a:lnTo>
                    <a:pt x="7099" y="2176"/>
                  </a:lnTo>
                  <a:lnTo>
                    <a:pt x="7097" y="2184"/>
                  </a:lnTo>
                  <a:lnTo>
                    <a:pt x="7094" y="2190"/>
                  </a:lnTo>
                  <a:lnTo>
                    <a:pt x="7087" y="2194"/>
                  </a:lnTo>
                  <a:lnTo>
                    <a:pt x="7078" y="2197"/>
                  </a:lnTo>
                  <a:lnTo>
                    <a:pt x="6946" y="2197"/>
                  </a:lnTo>
                  <a:lnTo>
                    <a:pt x="6937" y="2194"/>
                  </a:lnTo>
                  <a:lnTo>
                    <a:pt x="6931" y="2190"/>
                  </a:lnTo>
                  <a:lnTo>
                    <a:pt x="6927" y="2184"/>
                  </a:lnTo>
                  <a:lnTo>
                    <a:pt x="6926" y="2176"/>
                  </a:lnTo>
                  <a:lnTo>
                    <a:pt x="6927" y="2168"/>
                  </a:lnTo>
                  <a:lnTo>
                    <a:pt x="6931" y="2162"/>
                  </a:lnTo>
                  <a:lnTo>
                    <a:pt x="6937" y="2158"/>
                  </a:lnTo>
                  <a:lnTo>
                    <a:pt x="6946" y="2156"/>
                  </a:lnTo>
                  <a:close/>
                  <a:moveTo>
                    <a:pt x="6236" y="2419"/>
                  </a:moveTo>
                  <a:lnTo>
                    <a:pt x="6369" y="2419"/>
                  </a:lnTo>
                  <a:lnTo>
                    <a:pt x="6378" y="2420"/>
                  </a:lnTo>
                  <a:lnTo>
                    <a:pt x="6384" y="2425"/>
                  </a:lnTo>
                  <a:lnTo>
                    <a:pt x="6387" y="2432"/>
                  </a:lnTo>
                  <a:lnTo>
                    <a:pt x="6388" y="2439"/>
                  </a:lnTo>
                  <a:lnTo>
                    <a:pt x="6387" y="2446"/>
                  </a:lnTo>
                  <a:lnTo>
                    <a:pt x="6384" y="2452"/>
                  </a:lnTo>
                  <a:lnTo>
                    <a:pt x="6378" y="2457"/>
                  </a:lnTo>
                  <a:lnTo>
                    <a:pt x="6369" y="2459"/>
                  </a:lnTo>
                  <a:lnTo>
                    <a:pt x="6236" y="2459"/>
                  </a:lnTo>
                  <a:lnTo>
                    <a:pt x="6227" y="2457"/>
                  </a:lnTo>
                  <a:lnTo>
                    <a:pt x="6220" y="2452"/>
                  </a:lnTo>
                  <a:lnTo>
                    <a:pt x="6216" y="2446"/>
                  </a:lnTo>
                  <a:lnTo>
                    <a:pt x="6215" y="2439"/>
                  </a:lnTo>
                  <a:lnTo>
                    <a:pt x="6216" y="2432"/>
                  </a:lnTo>
                  <a:lnTo>
                    <a:pt x="6220" y="2425"/>
                  </a:lnTo>
                  <a:lnTo>
                    <a:pt x="6227" y="2420"/>
                  </a:lnTo>
                  <a:lnTo>
                    <a:pt x="6236" y="2419"/>
                  </a:lnTo>
                  <a:close/>
                  <a:moveTo>
                    <a:pt x="6472" y="2419"/>
                  </a:moveTo>
                  <a:lnTo>
                    <a:pt x="6605" y="2419"/>
                  </a:lnTo>
                  <a:lnTo>
                    <a:pt x="6614" y="2420"/>
                  </a:lnTo>
                  <a:lnTo>
                    <a:pt x="6620" y="2425"/>
                  </a:lnTo>
                  <a:lnTo>
                    <a:pt x="6624" y="2432"/>
                  </a:lnTo>
                  <a:lnTo>
                    <a:pt x="6626" y="2439"/>
                  </a:lnTo>
                  <a:lnTo>
                    <a:pt x="6624" y="2446"/>
                  </a:lnTo>
                  <a:lnTo>
                    <a:pt x="6620" y="2452"/>
                  </a:lnTo>
                  <a:lnTo>
                    <a:pt x="6614" y="2457"/>
                  </a:lnTo>
                  <a:lnTo>
                    <a:pt x="6605" y="2459"/>
                  </a:lnTo>
                  <a:lnTo>
                    <a:pt x="6472" y="2459"/>
                  </a:lnTo>
                  <a:lnTo>
                    <a:pt x="6464" y="2457"/>
                  </a:lnTo>
                  <a:lnTo>
                    <a:pt x="6458" y="2452"/>
                  </a:lnTo>
                  <a:lnTo>
                    <a:pt x="6454" y="2446"/>
                  </a:lnTo>
                  <a:lnTo>
                    <a:pt x="6452" y="2439"/>
                  </a:lnTo>
                  <a:lnTo>
                    <a:pt x="6454" y="2432"/>
                  </a:lnTo>
                  <a:lnTo>
                    <a:pt x="6458" y="2425"/>
                  </a:lnTo>
                  <a:lnTo>
                    <a:pt x="6464" y="2420"/>
                  </a:lnTo>
                  <a:lnTo>
                    <a:pt x="6472" y="2419"/>
                  </a:lnTo>
                  <a:close/>
                  <a:moveTo>
                    <a:pt x="6709" y="2419"/>
                  </a:moveTo>
                  <a:lnTo>
                    <a:pt x="6842" y="2419"/>
                  </a:lnTo>
                  <a:lnTo>
                    <a:pt x="6851" y="2420"/>
                  </a:lnTo>
                  <a:lnTo>
                    <a:pt x="6858" y="2425"/>
                  </a:lnTo>
                  <a:lnTo>
                    <a:pt x="6861" y="2432"/>
                  </a:lnTo>
                  <a:lnTo>
                    <a:pt x="6863" y="2439"/>
                  </a:lnTo>
                  <a:lnTo>
                    <a:pt x="6861" y="2446"/>
                  </a:lnTo>
                  <a:lnTo>
                    <a:pt x="6858" y="2452"/>
                  </a:lnTo>
                  <a:lnTo>
                    <a:pt x="6851" y="2457"/>
                  </a:lnTo>
                  <a:lnTo>
                    <a:pt x="6842" y="2459"/>
                  </a:lnTo>
                  <a:lnTo>
                    <a:pt x="6709" y="2459"/>
                  </a:lnTo>
                  <a:lnTo>
                    <a:pt x="6700" y="2457"/>
                  </a:lnTo>
                  <a:lnTo>
                    <a:pt x="6693" y="2452"/>
                  </a:lnTo>
                  <a:lnTo>
                    <a:pt x="6690" y="2446"/>
                  </a:lnTo>
                  <a:lnTo>
                    <a:pt x="6688" y="2439"/>
                  </a:lnTo>
                  <a:lnTo>
                    <a:pt x="6690" y="2432"/>
                  </a:lnTo>
                  <a:lnTo>
                    <a:pt x="6693" y="2425"/>
                  </a:lnTo>
                  <a:lnTo>
                    <a:pt x="6700" y="2420"/>
                  </a:lnTo>
                  <a:lnTo>
                    <a:pt x="6709" y="2419"/>
                  </a:lnTo>
                  <a:close/>
                  <a:moveTo>
                    <a:pt x="6946" y="2419"/>
                  </a:moveTo>
                  <a:lnTo>
                    <a:pt x="7078" y="2419"/>
                  </a:lnTo>
                  <a:lnTo>
                    <a:pt x="7087" y="2420"/>
                  </a:lnTo>
                  <a:lnTo>
                    <a:pt x="7094" y="2425"/>
                  </a:lnTo>
                  <a:lnTo>
                    <a:pt x="7097" y="2432"/>
                  </a:lnTo>
                  <a:lnTo>
                    <a:pt x="7099" y="2439"/>
                  </a:lnTo>
                  <a:lnTo>
                    <a:pt x="7097" y="2446"/>
                  </a:lnTo>
                  <a:lnTo>
                    <a:pt x="7094" y="2452"/>
                  </a:lnTo>
                  <a:lnTo>
                    <a:pt x="7087" y="2457"/>
                  </a:lnTo>
                  <a:lnTo>
                    <a:pt x="7078" y="2459"/>
                  </a:lnTo>
                  <a:lnTo>
                    <a:pt x="6946" y="2459"/>
                  </a:lnTo>
                  <a:lnTo>
                    <a:pt x="6937" y="2457"/>
                  </a:lnTo>
                  <a:lnTo>
                    <a:pt x="6931" y="2452"/>
                  </a:lnTo>
                  <a:lnTo>
                    <a:pt x="6927" y="2446"/>
                  </a:lnTo>
                  <a:lnTo>
                    <a:pt x="6926" y="2439"/>
                  </a:lnTo>
                  <a:lnTo>
                    <a:pt x="6927" y="2432"/>
                  </a:lnTo>
                  <a:lnTo>
                    <a:pt x="6931" y="2425"/>
                  </a:lnTo>
                  <a:lnTo>
                    <a:pt x="6937" y="2420"/>
                  </a:lnTo>
                  <a:lnTo>
                    <a:pt x="6946" y="2419"/>
                  </a:lnTo>
                  <a:close/>
                  <a:moveTo>
                    <a:pt x="6236" y="2682"/>
                  </a:moveTo>
                  <a:lnTo>
                    <a:pt x="6369" y="2682"/>
                  </a:lnTo>
                  <a:lnTo>
                    <a:pt x="6378" y="2684"/>
                  </a:lnTo>
                  <a:lnTo>
                    <a:pt x="6384" y="2689"/>
                  </a:lnTo>
                  <a:lnTo>
                    <a:pt x="6387" y="2695"/>
                  </a:lnTo>
                  <a:lnTo>
                    <a:pt x="6388" y="2702"/>
                  </a:lnTo>
                  <a:lnTo>
                    <a:pt x="6387" y="2709"/>
                  </a:lnTo>
                  <a:lnTo>
                    <a:pt x="6384" y="2716"/>
                  </a:lnTo>
                  <a:lnTo>
                    <a:pt x="6378" y="2721"/>
                  </a:lnTo>
                  <a:lnTo>
                    <a:pt x="6369" y="2722"/>
                  </a:lnTo>
                  <a:lnTo>
                    <a:pt x="6236" y="2722"/>
                  </a:lnTo>
                  <a:lnTo>
                    <a:pt x="6227" y="2721"/>
                  </a:lnTo>
                  <a:lnTo>
                    <a:pt x="6220" y="2716"/>
                  </a:lnTo>
                  <a:lnTo>
                    <a:pt x="6216" y="2709"/>
                  </a:lnTo>
                  <a:lnTo>
                    <a:pt x="6215" y="2702"/>
                  </a:lnTo>
                  <a:lnTo>
                    <a:pt x="6216" y="2695"/>
                  </a:lnTo>
                  <a:lnTo>
                    <a:pt x="6220" y="2689"/>
                  </a:lnTo>
                  <a:lnTo>
                    <a:pt x="6227" y="2684"/>
                  </a:lnTo>
                  <a:lnTo>
                    <a:pt x="6236" y="2682"/>
                  </a:lnTo>
                  <a:close/>
                  <a:moveTo>
                    <a:pt x="6472" y="2682"/>
                  </a:moveTo>
                  <a:lnTo>
                    <a:pt x="6605" y="2682"/>
                  </a:lnTo>
                  <a:lnTo>
                    <a:pt x="6614" y="2684"/>
                  </a:lnTo>
                  <a:lnTo>
                    <a:pt x="6620" y="2689"/>
                  </a:lnTo>
                  <a:lnTo>
                    <a:pt x="6624" y="2695"/>
                  </a:lnTo>
                  <a:lnTo>
                    <a:pt x="6626" y="2702"/>
                  </a:lnTo>
                  <a:lnTo>
                    <a:pt x="6624" y="2709"/>
                  </a:lnTo>
                  <a:lnTo>
                    <a:pt x="6620" y="2716"/>
                  </a:lnTo>
                  <a:lnTo>
                    <a:pt x="6614" y="2721"/>
                  </a:lnTo>
                  <a:lnTo>
                    <a:pt x="6605" y="2722"/>
                  </a:lnTo>
                  <a:lnTo>
                    <a:pt x="6472" y="2722"/>
                  </a:lnTo>
                  <a:lnTo>
                    <a:pt x="6464" y="2721"/>
                  </a:lnTo>
                  <a:lnTo>
                    <a:pt x="6458" y="2716"/>
                  </a:lnTo>
                  <a:lnTo>
                    <a:pt x="6454" y="2709"/>
                  </a:lnTo>
                  <a:lnTo>
                    <a:pt x="6452" y="2702"/>
                  </a:lnTo>
                  <a:lnTo>
                    <a:pt x="6454" y="2695"/>
                  </a:lnTo>
                  <a:lnTo>
                    <a:pt x="6458" y="2689"/>
                  </a:lnTo>
                  <a:lnTo>
                    <a:pt x="6464" y="2684"/>
                  </a:lnTo>
                  <a:lnTo>
                    <a:pt x="6472" y="2682"/>
                  </a:lnTo>
                  <a:close/>
                  <a:moveTo>
                    <a:pt x="6709" y="2682"/>
                  </a:moveTo>
                  <a:lnTo>
                    <a:pt x="6842" y="2682"/>
                  </a:lnTo>
                  <a:lnTo>
                    <a:pt x="6851" y="2684"/>
                  </a:lnTo>
                  <a:lnTo>
                    <a:pt x="6858" y="2689"/>
                  </a:lnTo>
                  <a:lnTo>
                    <a:pt x="6861" y="2695"/>
                  </a:lnTo>
                  <a:lnTo>
                    <a:pt x="6863" y="2702"/>
                  </a:lnTo>
                  <a:lnTo>
                    <a:pt x="6861" y="2709"/>
                  </a:lnTo>
                  <a:lnTo>
                    <a:pt x="6858" y="2716"/>
                  </a:lnTo>
                  <a:lnTo>
                    <a:pt x="6851" y="2721"/>
                  </a:lnTo>
                  <a:lnTo>
                    <a:pt x="6842" y="2722"/>
                  </a:lnTo>
                  <a:lnTo>
                    <a:pt x="6709" y="2722"/>
                  </a:lnTo>
                  <a:lnTo>
                    <a:pt x="6700" y="2721"/>
                  </a:lnTo>
                  <a:lnTo>
                    <a:pt x="6693" y="2716"/>
                  </a:lnTo>
                  <a:lnTo>
                    <a:pt x="6690" y="2709"/>
                  </a:lnTo>
                  <a:lnTo>
                    <a:pt x="6688" y="2702"/>
                  </a:lnTo>
                  <a:lnTo>
                    <a:pt x="6690" y="2695"/>
                  </a:lnTo>
                  <a:lnTo>
                    <a:pt x="6693" y="2689"/>
                  </a:lnTo>
                  <a:lnTo>
                    <a:pt x="6700" y="2684"/>
                  </a:lnTo>
                  <a:lnTo>
                    <a:pt x="6709" y="2682"/>
                  </a:lnTo>
                  <a:close/>
                  <a:moveTo>
                    <a:pt x="6946" y="2682"/>
                  </a:moveTo>
                  <a:lnTo>
                    <a:pt x="7078" y="2682"/>
                  </a:lnTo>
                  <a:lnTo>
                    <a:pt x="7087" y="2684"/>
                  </a:lnTo>
                  <a:lnTo>
                    <a:pt x="7094" y="2689"/>
                  </a:lnTo>
                  <a:lnTo>
                    <a:pt x="7097" y="2695"/>
                  </a:lnTo>
                  <a:lnTo>
                    <a:pt x="7099" y="2702"/>
                  </a:lnTo>
                  <a:lnTo>
                    <a:pt x="7097" y="2709"/>
                  </a:lnTo>
                  <a:lnTo>
                    <a:pt x="7094" y="2716"/>
                  </a:lnTo>
                  <a:lnTo>
                    <a:pt x="7087" y="2721"/>
                  </a:lnTo>
                  <a:lnTo>
                    <a:pt x="7078" y="2722"/>
                  </a:lnTo>
                  <a:lnTo>
                    <a:pt x="6946" y="2722"/>
                  </a:lnTo>
                  <a:lnTo>
                    <a:pt x="6937" y="2721"/>
                  </a:lnTo>
                  <a:lnTo>
                    <a:pt x="6931" y="2716"/>
                  </a:lnTo>
                  <a:lnTo>
                    <a:pt x="6927" y="2709"/>
                  </a:lnTo>
                  <a:lnTo>
                    <a:pt x="6926" y="2702"/>
                  </a:lnTo>
                  <a:lnTo>
                    <a:pt x="6927" y="2695"/>
                  </a:lnTo>
                  <a:lnTo>
                    <a:pt x="6931" y="2689"/>
                  </a:lnTo>
                  <a:lnTo>
                    <a:pt x="6937" y="2684"/>
                  </a:lnTo>
                  <a:lnTo>
                    <a:pt x="6946" y="2682"/>
                  </a:lnTo>
                  <a:close/>
                  <a:moveTo>
                    <a:pt x="6236" y="2946"/>
                  </a:moveTo>
                  <a:lnTo>
                    <a:pt x="6369" y="2946"/>
                  </a:lnTo>
                  <a:lnTo>
                    <a:pt x="6378" y="2947"/>
                  </a:lnTo>
                  <a:lnTo>
                    <a:pt x="6384" y="2951"/>
                  </a:lnTo>
                  <a:lnTo>
                    <a:pt x="6387" y="2957"/>
                  </a:lnTo>
                  <a:lnTo>
                    <a:pt x="6388" y="2965"/>
                  </a:lnTo>
                  <a:lnTo>
                    <a:pt x="6387" y="2973"/>
                  </a:lnTo>
                  <a:lnTo>
                    <a:pt x="6384" y="2979"/>
                  </a:lnTo>
                  <a:lnTo>
                    <a:pt x="6378" y="2983"/>
                  </a:lnTo>
                  <a:lnTo>
                    <a:pt x="6369" y="2985"/>
                  </a:lnTo>
                  <a:lnTo>
                    <a:pt x="6236" y="2985"/>
                  </a:lnTo>
                  <a:lnTo>
                    <a:pt x="6227" y="2983"/>
                  </a:lnTo>
                  <a:lnTo>
                    <a:pt x="6220" y="2979"/>
                  </a:lnTo>
                  <a:lnTo>
                    <a:pt x="6216" y="2973"/>
                  </a:lnTo>
                  <a:lnTo>
                    <a:pt x="6215" y="2965"/>
                  </a:lnTo>
                  <a:lnTo>
                    <a:pt x="6216" y="2957"/>
                  </a:lnTo>
                  <a:lnTo>
                    <a:pt x="6220" y="2951"/>
                  </a:lnTo>
                  <a:lnTo>
                    <a:pt x="6227" y="2947"/>
                  </a:lnTo>
                  <a:lnTo>
                    <a:pt x="6236" y="2946"/>
                  </a:lnTo>
                  <a:close/>
                  <a:moveTo>
                    <a:pt x="6472" y="2946"/>
                  </a:moveTo>
                  <a:lnTo>
                    <a:pt x="6605" y="2946"/>
                  </a:lnTo>
                  <a:lnTo>
                    <a:pt x="6614" y="2947"/>
                  </a:lnTo>
                  <a:lnTo>
                    <a:pt x="6620" y="2951"/>
                  </a:lnTo>
                  <a:lnTo>
                    <a:pt x="6624" y="2957"/>
                  </a:lnTo>
                  <a:lnTo>
                    <a:pt x="6626" y="2965"/>
                  </a:lnTo>
                  <a:lnTo>
                    <a:pt x="6624" y="2973"/>
                  </a:lnTo>
                  <a:lnTo>
                    <a:pt x="6620" y="2979"/>
                  </a:lnTo>
                  <a:lnTo>
                    <a:pt x="6614" y="2983"/>
                  </a:lnTo>
                  <a:lnTo>
                    <a:pt x="6605" y="2985"/>
                  </a:lnTo>
                  <a:lnTo>
                    <a:pt x="6472" y="2985"/>
                  </a:lnTo>
                  <a:lnTo>
                    <a:pt x="6464" y="2983"/>
                  </a:lnTo>
                  <a:lnTo>
                    <a:pt x="6458" y="2979"/>
                  </a:lnTo>
                  <a:lnTo>
                    <a:pt x="6454" y="2973"/>
                  </a:lnTo>
                  <a:lnTo>
                    <a:pt x="6452" y="2965"/>
                  </a:lnTo>
                  <a:lnTo>
                    <a:pt x="6454" y="2957"/>
                  </a:lnTo>
                  <a:lnTo>
                    <a:pt x="6458" y="2951"/>
                  </a:lnTo>
                  <a:lnTo>
                    <a:pt x="6464" y="2947"/>
                  </a:lnTo>
                  <a:lnTo>
                    <a:pt x="6472" y="2946"/>
                  </a:lnTo>
                  <a:close/>
                  <a:moveTo>
                    <a:pt x="6709" y="2946"/>
                  </a:moveTo>
                  <a:lnTo>
                    <a:pt x="6842" y="2946"/>
                  </a:lnTo>
                  <a:lnTo>
                    <a:pt x="6851" y="2947"/>
                  </a:lnTo>
                  <a:lnTo>
                    <a:pt x="6858" y="2951"/>
                  </a:lnTo>
                  <a:lnTo>
                    <a:pt x="6861" y="2957"/>
                  </a:lnTo>
                  <a:lnTo>
                    <a:pt x="6863" y="2965"/>
                  </a:lnTo>
                  <a:lnTo>
                    <a:pt x="6861" y="2973"/>
                  </a:lnTo>
                  <a:lnTo>
                    <a:pt x="6858" y="2979"/>
                  </a:lnTo>
                  <a:lnTo>
                    <a:pt x="6851" y="2983"/>
                  </a:lnTo>
                  <a:lnTo>
                    <a:pt x="6842" y="2985"/>
                  </a:lnTo>
                  <a:lnTo>
                    <a:pt x="6709" y="2985"/>
                  </a:lnTo>
                  <a:lnTo>
                    <a:pt x="6700" y="2983"/>
                  </a:lnTo>
                  <a:lnTo>
                    <a:pt x="6693" y="2979"/>
                  </a:lnTo>
                  <a:lnTo>
                    <a:pt x="6690" y="2973"/>
                  </a:lnTo>
                  <a:lnTo>
                    <a:pt x="6688" y="2965"/>
                  </a:lnTo>
                  <a:lnTo>
                    <a:pt x="6690" y="2957"/>
                  </a:lnTo>
                  <a:lnTo>
                    <a:pt x="6693" y="2951"/>
                  </a:lnTo>
                  <a:lnTo>
                    <a:pt x="6700" y="2947"/>
                  </a:lnTo>
                  <a:lnTo>
                    <a:pt x="6709" y="2946"/>
                  </a:lnTo>
                  <a:close/>
                  <a:moveTo>
                    <a:pt x="6946" y="2946"/>
                  </a:moveTo>
                  <a:lnTo>
                    <a:pt x="7078" y="2946"/>
                  </a:lnTo>
                  <a:lnTo>
                    <a:pt x="7087" y="2947"/>
                  </a:lnTo>
                  <a:lnTo>
                    <a:pt x="7094" y="2951"/>
                  </a:lnTo>
                  <a:lnTo>
                    <a:pt x="7097" y="2957"/>
                  </a:lnTo>
                  <a:lnTo>
                    <a:pt x="7099" y="2965"/>
                  </a:lnTo>
                  <a:lnTo>
                    <a:pt x="7097" y="2973"/>
                  </a:lnTo>
                  <a:lnTo>
                    <a:pt x="7094" y="2979"/>
                  </a:lnTo>
                  <a:lnTo>
                    <a:pt x="7087" y="2983"/>
                  </a:lnTo>
                  <a:lnTo>
                    <a:pt x="7078" y="2985"/>
                  </a:lnTo>
                  <a:lnTo>
                    <a:pt x="6946" y="2985"/>
                  </a:lnTo>
                  <a:lnTo>
                    <a:pt x="6937" y="2983"/>
                  </a:lnTo>
                  <a:lnTo>
                    <a:pt x="6931" y="2979"/>
                  </a:lnTo>
                  <a:lnTo>
                    <a:pt x="6927" y="2973"/>
                  </a:lnTo>
                  <a:lnTo>
                    <a:pt x="6926" y="2965"/>
                  </a:lnTo>
                  <a:lnTo>
                    <a:pt x="6927" y="2957"/>
                  </a:lnTo>
                  <a:lnTo>
                    <a:pt x="6931" y="2951"/>
                  </a:lnTo>
                  <a:lnTo>
                    <a:pt x="6937" y="2947"/>
                  </a:lnTo>
                  <a:lnTo>
                    <a:pt x="6946" y="2946"/>
                  </a:lnTo>
                  <a:close/>
                  <a:moveTo>
                    <a:pt x="6236" y="3208"/>
                  </a:moveTo>
                  <a:lnTo>
                    <a:pt x="6369" y="3208"/>
                  </a:lnTo>
                  <a:lnTo>
                    <a:pt x="6378" y="3211"/>
                  </a:lnTo>
                  <a:lnTo>
                    <a:pt x="6384" y="3214"/>
                  </a:lnTo>
                  <a:lnTo>
                    <a:pt x="6387" y="3221"/>
                  </a:lnTo>
                  <a:lnTo>
                    <a:pt x="6388" y="3228"/>
                  </a:lnTo>
                  <a:lnTo>
                    <a:pt x="6387" y="3236"/>
                  </a:lnTo>
                  <a:lnTo>
                    <a:pt x="6384" y="3242"/>
                  </a:lnTo>
                  <a:lnTo>
                    <a:pt x="6378" y="3246"/>
                  </a:lnTo>
                  <a:lnTo>
                    <a:pt x="6369" y="3248"/>
                  </a:lnTo>
                  <a:lnTo>
                    <a:pt x="6236" y="3248"/>
                  </a:lnTo>
                  <a:lnTo>
                    <a:pt x="6227" y="3246"/>
                  </a:lnTo>
                  <a:lnTo>
                    <a:pt x="6220" y="3242"/>
                  </a:lnTo>
                  <a:lnTo>
                    <a:pt x="6216" y="3236"/>
                  </a:lnTo>
                  <a:lnTo>
                    <a:pt x="6215" y="3228"/>
                  </a:lnTo>
                  <a:lnTo>
                    <a:pt x="6216" y="3221"/>
                  </a:lnTo>
                  <a:lnTo>
                    <a:pt x="6220" y="3214"/>
                  </a:lnTo>
                  <a:lnTo>
                    <a:pt x="6227" y="3211"/>
                  </a:lnTo>
                  <a:lnTo>
                    <a:pt x="6236" y="3208"/>
                  </a:lnTo>
                  <a:close/>
                  <a:moveTo>
                    <a:pt x="6472" y="3208"/>
                  </a:moveTo>
                  <a:lnTo>
                    <a:pt x="6605" y="3208"/>
                  </a:lnTo>
                  <a:lnTo>
                    <a:pt x="6614" y="3211"/>
                  </a:lnTo>
                  <a:lnTo>
                    <a:pt x="6620" y="3214"/>
                  </a:lnTo>
                  <a:lnTo>
                    <a:pt x="6624" y="3221"/>
                  </a:lnTo>
                  <a:lnTo>
                    <a:pt x="6626" y="3228"/>
                  </a:lnTo>
                  <a:lnTo>
                    <a:pt x="6624" y="3236"/>
                  </a:lnTo>
                  <a:lnTo>
                    <a:pt x="6620" y="3242"/>
                  </a:lnTo>
                  <a:lnTo>
                    <a:pt x="6614" y="3246"/>
                  </a:lnTo>
                  <a:lnTo>
                    <a:pt x="6605" y="3248"/>
                  </a:lnTo>
                  <a:lnTo>
                    <a:pt x="6472" y="3248"/>
                  </a:lnTo>
                  <a:lnTo>
                    <a:pt x="6464" y="3246"/>
                  </a:lnTo>
                  <a:lnTo>
                    <a:pt x="6458" y="3242"/>
                  </a:lnTo>
                  <a:lnTo>
                    <a:pt x="6454" y="3236"/>
                  </a:lnTo>
                  <a:lnTo>
                    <a:pt x="6452" y="3228"/>
                  </a:lnTo>
                  <a:lnTo>
                    <a:pt x="6454" y="3221"/>
                  </a:lnTo>
                  <a:lnTo>
                    <a:pt x="6458" y="3214"/>
                  </a:lnTo>
                  <a:lnTo>
                    <a:pt x="6464" y="3211"/>
                  </a:lnTo>
                  <a:lnTo>
                    <a:pt x="6472" y="3208"/>
                  </a:lnTo>
                  <a:close/>
                  <a:moveTo>
                    <a:pt x="6709" y="3208"/>
                  </a:moveTo>
                  <a:lnTo>
                    <a:pt x="6842" y="3208"/>
                  </a:lnTo>
                  <a:lnTo>
                    <a:pt x="6851" y="3211"/>
                  </a:lnTo>
                  <a:lnTo>
                    <a:pt x="6858" y="3214"/>
                  </a:lnTo>
                  <a:lnTo>
                    <a:pt x="6861" y="3221"/>
                  </a:lnTo>
                  <a:lnTo>
                    <a:pt x="6863" y="3228"/>
                  </a:lnTo>
                  <a:lnTo>
                    <a:pt x="6861" y="3236"/>
                  </a:lnTo>
                  <a:lnTo>
                    <a:pt x="6858" y="3242"/>
                  </a:lnTo>
                  <a:lnTo>
                    <a:pt x="6851" y="3246"/>
                  </a:lnTo>
                  <a:lnTo>
                    <a:pt x="6842" y="3248"/>
                  </a:lnTo>
                  <a:lnTo>
                    <a:pt x="6709" y="3248"/>
                  </a:lnTo>
                  <a:lnTo>
                    <a:pt x="6700" y="3246"/>
                  </a:lnTo>
                  <a:lnTo>
                    <a:pt x="6693" y="3242"/>
                  </a:lnTo>
                  <a:lnTo>
                    <a:pt x="6690" y="3236"/>
                  </a:lnTo>
                  <a:lnTo>
                    <a:pt x="6688" y="3228"/>
                  </a:lnTo>
                  <a:lnTo>
                    <a:pt x="6690" y="3221"/>
                  </a:lnTo>
                  <a:lnTo>
                    <a:pt x="6693" y="3214"/>
                  </a:lnTo>
                  <a:lnTo>
                    <a:pt x="6700" y="3211"/>
                  </a:lnTo>
                  <a:lnTo>
                    <a:pt x="6709" y="3208"/>
                  </a:lnTo>
                  <a:close/>
                  <a:moveTo>
                    <a:pt x="6946" y="3208"/>
                  </a:moveTo>
                  <a:lnTo>
                    <a:pt x="7078" y="3208"/>
                  </a:lnTo>
                  <a:lnTo>
                    <a:pt x="7087" y="3211"/>
                  </a:lnTo>
                  <a:lnTo>
                    <a:pt x="7094" y="3214"/>
                  </a:lnTo>
                  <a:lnTo>
                    <a:pt x="7097" y="3221"/>
                  </a:lnTo>
                  <a:lnTo>
                    <a:pt x="7099" y="3228"/>
                  </a:lnTo>
                  <a:lnTo>
                    <a:pt x="7097" y="3236"/>
                  </a:lnTo>
                  <a:lnTo>
                    <a:pt x="7094" y="3242"/>
                  </a:lnTo>
                  <a:lnTo>
                    <a:pt x="7087" y="3246"/>
                  </a:lnTo>
                  <a:lnTo>
                    <a:pt x="7078" y="3248"/>
                  </a:lnTo>
                  <a:lnTo>
                    <a:pt x="6946" y="3248"/>
                  </a:lnTo>
                  <a:lnTo>
                    <a:pt x="6937" y="3246"/>
                  </a:lnTo>
                  <a:lnTo>
                    <a:pt x="6931" y="3242"/>
                  </a:lnTo>
                  <a:lnTo>
                    <a:pt x="6927" y="3236"/>
                  </a:lnTo>
                  <a:lnTo>
                    <a:pt x="6926" y="3228"/>
                  </a:lnTo>
                  <a:lnTo>
                    <a:pt x="6927" y="3221"/>
                  </a:lnTo>
                  <a:lnTo>
                    <a:pt x="6931" y="3214"/>
                  </a:lnTo>
                  <a:lnTo>
                    <a:pt x="6937" y="3211"/>
                  </a:lnTo>
                  <a:lnTo>
                    <a:pt x="6946" y="3208"/>
                  </a:lnTo>
                  <a:close/>
                  <a:moveTo>
                    <a:pt x="6236" y="3471"/>
                  </a:moveTo>
                  <a:lnTo>
                    <a:pt x="6369" y="3471"/>
                  </a:lnTo>
                  <a:lnTo>
                    <a:pt x="6378" y="3473"/>
                  </a:lnTo>
                  <a:lnTo>
                    <a:pt x="6384" y="3478"/>
                  </a:lnTo>
                  <a:lnTo>
                    <a:pt x="6387" y="3484"/>
                  </a:lnTo>
                  <a:lnTo>
                    <a:pt x="6388" y="3492"/>
                  </a:lnTo>
                  <a:lnTo>
                    <a:pt x="6387" y="3498"/>
                  </a:lnTo>
                  <a:lnTo>
                    <a:pt x="6384" y="3505"/>
                  </a:lnTo>
                  <a:lnTo>
                    <a:pt x="6378" y="3510"/>
                  </a:lnTo>
                  <a:lnTo>
                    <a:pt x="6369" y="3511"/>
                  </a:lnTo>
                  <a:lnTo>
                    <a:pt x="6236" y="3511"/>
                  </a:lnTo>
                  <a:lnTo>
                    <a:pt x="6227" y="3510"/>
                  </a:lnTo>
                  <a:lnTo>
                    <a:pt x="6220" y="3505"/>
                  </a:lnTo>
                  <a:lnTo>
                    <a:pt x="6216" y="3498"/>
                  </a:lnTo>
                  <a:lnTo>
                    <a:pt x="6215" y="3492"/>
                  </a:lnTo>
                  <a:lnTo>
                    <a:pt x="6216" y="3484"/>
                  </a:lnTo>
                  <a:lnTo>
                    <a:pt x="6220" y="3478"/>
                  </a:lnTo>
                  <a:lnTo>
                    <a:pt x="6227" y="3473"/>
                  </a:lnTo>
                  <a:lnTo>
                    <a:pt x="6236" y="3471"/>
                  </a:lnTo>
                  <a:close/>
                  <a:moveTo>
                    <a:pt x="6472" y="3471"/>
                  </a:moveTo>
                  <a:lnTo>
                    <a:pt x="6605" y="3471"/>
                  </a:lnTo>
                  <a:lnTo>
                    <a:pt x="6614" y="3473"/>
                  </a:lnTo>
                  <a:lnTo>
                    <a:pt x="6620" y="3478"/>
                  </a:lnTo>
                  <a:lnTo>
                    <a:pt x="6624" y="3484"/>
                  </a:lnTo>
                  <a:lnTo>
                    <a:pt x="6626" y="3492"/>
                  </a:lnTo>
                  <a:lnTo>
                    <a:pt x="6624" y="3498"/>
                  </a:lnTo>
                  <a:lnTo>
                    <a:pt x="6620" y="3505"/>
                  </a:lnTo>
                  <a:lnTo>
                    <a:pt x="6614" y="3510"/>
                  </a:lnTo>
                  <a:lnTo>
                    <a:pt x="6605" y="3511"/>
                  </a:lnTo>
                  <a:lnTo>
                    <a:pt x="6472" y="3511"/>
                  </a:lnTo>
                  <a:lnTo>
                    <a:pt x="6464" y="3510"/>
                  </a:lnTo>
                  <a:lnTo>
                    <a:pt x="6458" y="3505"/>
                  </a:lnTo>
                  <a:lnTo>
                    <a:pt x="6454" y="3498"/>
                  </a:lnTo>
                  <a:lnTo>
                    <a:pt x="6452" y="3492"/>
                  </a:lnTo>
                  <a:lnTo>
                    <a:pt x="6454" y="3484"/>
                  </a:lnTo>
                  <a:lnTo>
                    <a:pt x="6458" y="3478"/>
                  </a:lnTo>
                  <a:lnTo>
                    <a:pt x="6464" y="3473"/>
                  </a:lnTo>
                  <a:lnTo>
                    <a:pt x="6472" y="3471"/>
                  </a:lnTo>
                  <a:close/>
                  <a:moveTo>
                    <a:pt x="6709" y="3471"/>
                  </a:moveTo>
                  <a:lnTo>
                    <a:pt x="6842" y="3471"/>
                  </a:lnTo>
                  <a:lnTo>
                    <a:pt x="6851" y="3473"/>
                  </a:lnTo>
                  <a:lnTo>
                    <a:pt x="6858" y="3478"/>
                  </a:lnTo>
                  <a:lnTo>
                    <a:pt x="6861" y="3484"/>
                  </a:lnTo>
                  <a:lnTo>
                    <a:pt x="6863" y="3492"/>
                  </a:lnTo>
                  <a:lnTo>
                    <a:pt x="6861" y="3498"/>
                  </a:lnTo>
                  <a:lnTo>
                    <a:pt x="6858" y="3505"/>
                  </a:lnTo>
                  <a:lnTo>
                    <a:pt x="6851" y="3510"/>
                  </a:lnTo>
                  <a:lnTo>
                    <a:pt x="6842" y="3511"/>
                  </a:lnTo>
                  <a:lnTo>
                    <a:pt x="6709" y="3511"/>
                  </a:lnTo>
                  <a:lnTo>
                    <a:pt x="6700" y="3510"/>
                  </a:lnTo>
                  <a:lnTo>
                    <a:pt x="6693" y="3505"/>
                  </a:lnTo>
                  <a:lnTo>
                    <a:pt x="6690" y="3498"/>
                  </a:lnTo>
                  <a:lnTo>
                    <a:pt x="6688" y="3492"/>
                  </a:lnTo>
                  <a:lnTo>
                    <a:pt x="6690" y="3484"/>
                  </a:lnTo>
                  <a:lnTo>
                    <a:pt x="6693" y="3478"/>
                  </a:lnTo>
                  <a:lnTo>
                    <a:pt x="6700" y="3473"/>
                  </a:lnTo>
                  <a:lnTo>
                    <a:pt x="6709" y="3471"/>
                  </a:lnTo>
                  <a:close/>
                  <a:moveTo>
                    <a:pt x="6946" y="3471"/>
                  </a:moveTo>
                  <a:lnTo>
                    <a:pt x="7078" y="3471"/>
                  </a:lnTo>
                  <a:lnTo>
                    <a:pt x="7087" y="3473"/>
                  </a:lnTo>
                  <a:lnTo>
                    <a:pt x="7094" y="3478"/>
                  </a:lnTo>
                  <a:lnTo>
                    <a:pt x="7097" y="3484"/>
                  </a:lnTo>
                  <a:lnTo>
                    <a:pt x="7099" y="3492"/>
                  </a:lnTo>
                  <a:lnTo>
                    <a:pt x="7097" y="3498"/>
                  </a:lnTo>
                  <a:lnTo>
                    <a:pt x="7094" y="3505"/>
                  </a:lnTo>
                  <a:lnTo>
                    <a:pt x="7087" y="3510"/>
                  </a:lnTo>
                  <a:lnTo>
                    <a:pt x="7078" y="3511"/>
                  </a:lnTo>
                  <a:lnTo>
                    <a:pt x="6946" y="3511"/>
                  </a:lnTo>
                  <a:lnTo>
                    <a:pt x="6937" y="3510"/>
                  </a:lnTo>
                  <a:lnTo>
                    <a:pt x="6931" y="3505"/>
                  </a:lnTo>
                  <a:lnTo>
                    <a:pt x="6927" y="3498"/>
                  </a:lnTo>
                  <a:lnTo>
                    <a:pt x="6926" y="3492"/>
                  </a:lnTo>
                  <a:lnTo>
                    <a:pt x="6927" y="3484"/>
                  </a:lnTo>
                  <a:lnTo>
                    <a:pt x="6931" y="3478"/>
                  </a:lnTo>
                  <a:lnTo>
                    <a:pt x="6937" y="3473"/>
                  </a:lnTo>
                  <a:lnTo>
                    <a:pt x="6946" y="3471"/>
                  </a:lnTo>
                  <a:close/>
                  <a:moveTo>
                    <a:pt x="6236" y="3735"/>
                  </a:moveTo>
                  <a:lnTo>
                    <a:pt x="6369" y="3735"/>
                  </a:lnTo>
                  <a:lnTo>
                    <a:pt x="6378" y="3736"/>
                  </a:lnTo>
                  <a:lnTo>
                    <a:pt x="6384" y="3741"/>
                  </a:lnTo>
                  <a:lnTo>
                    <a:pt x="6387" y="3748"/>
                  </a:lnTo>
                  <a:lnTo>
                    <a:pt x="6388" y="3754"/>
                  </a:lnTo>
                  <a:lnTo>
                    <a:pt x="6387" y="3762"/>
                  </a:lnTo>
                  <a:lnTo>
                    <a:pt x="6384" y="3768"/>
                  </a:lnTo>
                  <a:lnTo>
                    <a:pt x="6378" y="3773"/>
                  </a:lnTo>
                  <a:lnTo>
                    <a:pt x="6369" y="3774"/>
                  </a:lnTo>
                  <a:lnTo>
                    <a:pt x="6236" y="3774"/>
                  </a:lnTo>
                  <a:lnTo>
                    <a:pt x="6227" y="3773"/>
                  </a:lnTo>
                  <a:lnTo>
                    <a:pt x="6220" y="3768"/>
                  </a:lnTo>
                  <a:lnTo>
                    <a:pt x="6216" y="3762"/>
                  </a:lnTo>
                  <a:lnTo>
                    <a:pt x="6215" y="3754"/>
                  </a:lnTo>
                  <a:lnTo>
                    <a:pt x="6216" y="3748"/>
                  </a:lnTo>
                  <a:lnTo>
                    <a:pt x="6220" y="3741"/>
                  </a:lnTo>
                  <a:lnTo>
                    <a:pt x="6227" y="3736"/>
                  </a:lnTo>
                  <a:lnTo>
                    <a:pt x="6236" y="3735"/>
                  </a:lnTo>
                  <a:close/>
                  <a:moveTo>
                    <a:pt x="6472" y="3735"/>
                  </a:moveTo>
                  <a:lnTo>
                    <a:pt x="6605" y="3735"/>
                  </a:lnTo>
                  <a:lnTo>
                    <a:pt x="6614" y="3736"/>
                  </a:lnTo>
                  <a:lnTo>
                    <a:pt x="6620" y="3741"/>
                  </a:lnTo>
                  <a:lnTo>
                    <a:pt x="6624" y="3748"/>
                  </a:lnTo>
                  <a:lnTo>
                    <a:pt x="6626" y="3754"/>
                  </a:lnTo>
                  <a:lnTo>
                    <a:pt x="6624" y="3762"/>
                  </a:lnTo>
                  <a:lnTo>
                    <a:pt x="6620" y="3768"/>
                  </a:lnTo>
                  <a:lnTo>
                    <a:pt x="6614" y="3773"/>
                  </a:lnTo>
                  <a:lnTo>
                    <a:pt x="6605" y="3774"/>
                  </a:lnTo>
                  <a:lnTo>
                    <a:pt x="6472" y="3774"/>
                  </a:lnTo>
                  <a:lnTo>
                    <a:pt x="6464" y="3773"/>
                  </a:lnTo>
                  <a:lnTo>
                    <a:pt x="6458" y="3768"/>
                  </a:lnTo>
                  <a:lnTo>
                    <a:pt x="6454" y="3762"/>
                  </a:lnTo>
                  <a:lnTo>
                    <a:pt x="6452" y="3754"/>
                  </a:lnTo>
                  <a:lnTo>
                    <a:pt x="6454" y="3748"/>
                  </a:lnTo>
                  <a:lnTo>
                    <a:pt x="6458" y="3741"/>
                  </a:lnTo>
                  <a:lnTo>
                    <a:pt x="6464" y="3736"/>
                  </a:lnTo>
                  <a:lnTo>
                    <a:pt x="6472" y="3735"/>
                  </a:lnTo>
                  <a:close/>
                  <a:moveTo>
                    <a:pt x="6709" y="3735"/>
                  </a:moveTo>
                  <a:lnTo>
                    <a:pt x="6842" y="3735"/>
                  </a:lnTo>
                  <a:lnTo>
                    <a:pt x="6851" y="3736"/>
                  </a:lnTo>
                  <a:lnTo>
                    <a:pt x="6858" y="3741"/>
                  </a:lnTo>
                  <a:lnTo>
                    <a:pt x="6861" y="3748"/>
                  </a:lnTo>
                  <a:lnTo>
                    <a:pt x="6863" y="3754"/>
                  </a:lnTo>
                  <a:lnTo>
                    <a:pt x="6861" y="3762"/>
                  </a:lnTo>
                  <a:lnTo>
                    <a:pt x="6858" y="3768"/>
                  </a:lnTo>
                  <a:lnTo>
                    <a:pt x="6851" y="3773"/>
                  </a:lnTo>
                  <a:lnTo>
                    <a:pt x="6842" y="3774"/>
                  </a:lnTo>
                  <a:lnTo>
                    <a:pt x="6709" y="3774"/>
                  </a:lnTo>
                  <a:lnTo>
                    <a:pt x="6700" y="3773"/>
                  </a:lnTo>
                  <a:lnTo>
                    <a:pt x="6693" y="3768"/>
                  </a:lnTo>
                  <a:lnTo>
                    <a:pt x="6690" y="3762"/>
                  </a:lnTo>
                  <a:lnTo>
                    <a:pt x="6688" y="3754"/>
                  </a:lnTo>
                  <a:lnTo>
                    <a:pt x="6690" y="3748"/>
                  </a:lnTo>
                  <a:lnTo>
                    <a:pt x="6693" y="3741"/>
                  </a:lnTo>
                  <a:lnTo>
                    <a:pt x="6700" y="3736"/>
                  </a:lnTo>
                  <a:lnTo>
                    <a:pt x="6709" y="3735"/>
                  </a:lnTo>
                  <a:close/>
                  <a:moveTo>
                    <a:pt x="6946" y="3735"/>
                  </a:moveTo>
                  <a:lnTo>
                    <a:pt x="7078" y="3735"/>
                  </a:lnTo>
                  <a:lnTo>
                    <a:pt x="7087" y="3736"/>
                  </a:lnTo>
                  <a:lnTo>
                    <a:pt x="7094" y="3741"/>
                  </a:lnTo>
                  <a:lnTo>
                    <a:pt x="7097" y="3748"/>
                  </a:lnTo>
                  <a:lnTo>
                    <a:pt x="7099" y="3754"/>
                  </a:lnTo>
                  <a:lnTo>
                    <a:pt x="7097" y="3762"/>
                  </a:lnTo>
                  <a:lnTo>
                    <a:pt x="7094" y="3768"/>
                  </a:lnTo>
                  <a:lnTo>
                    <a:pt x="7087" y="3773"/>
                  </a:lnTo>
                  <a:lnTo>
                    <a:pt x="7078" y="3774"/>
                  </a:lnTo>
                  <a:lnTo>
                    <a:pt x="6946" y="3774"/>
                  </a:lnTo>
                  <a:lnTo>
                    <a:pt x="6937" y="3773"/>
                  </a:lnTo>
                  <a:lnTo>
                    <a:pt x="6931" y="3768"/>
                  </a:lnTo>
                  <a:lnTo>
                    <a:pt x="6927" y="3762"/>
                  </a:lnTo>
                  <a:lnTo>
                    <a:pt x="6926" y="3754"/>
                  </a:lnTo>
                  <a:lnTo>
                    <a:pt x="6927" y="3748"/>
                  </a:lnTo>
                  <a:lnTo>
                    <a:pt x="6931" y="3741"/>
                  </a:lnTo>
                  <a:lnTo>
                    <a:pt x="6937" y="3736"/>
                  </a:lnTo>
                  <a:lnTo>
                    <a:pt x="6946" y="3735"/>
                  </a:lnTo>
                  <a:close/>
                  <a:moveTo>
                    <a:pt x="6236" y="3997"/>
                  </a:moveTo>
                  <a:lnTo>
                    <a:pt x="6369" y="3997"/>
                  </a:lnTo>
                  <a:lnTo>
                    <a:pt x="6378" y="3999"/>
                  </a:lnTo>
                  <a:lnTo>
                    <a:pt x="6384" y="4003"/>
                  </a:lnTo>
                  <a:lnTo>
                    <a:pt x="6387" y="4010"/>
                  </a:lnTo>
                  <a:lnTo>
                    <a:pt x="6388" y="4017"/>
                  </a:lnTo>
                  <a:lnTo>
                    <a:pt x="6387" y="4025"/>
                  </a:lnTo>
                  <a:lnTo>
                    <a:pt x="6384" y="4031"/>
                  </a:lnTo>
                  <a:lnTo>
                    <a:pt x="6378" y="4035"/>
                  </a:lnTo>
                  <a:lnTo>
                    <a:pt x="6369" y="4038"/>
                  </a:lnTo>
                  <a:lnTo>
                    <a:pt x="6236" y="4038"/>
                  </a:lnTo>
                  <a:lnTo>
                    <a:pt x="6227" y="4035"/>
                  </a:lnTo>
                  <a:lnTo>
                    <a:pt x="6220" y="4031"/>
                  </a:lnTo>
                  <a:lnTo>
                    <a:pt x="6216" y="4025"/>
                  </a:lnTo>
                  <a:lnTo>
                    <a:pt x="6215" y="4017"/>
                  </a:lnTo>
                  <a:lnTo>
                    <a:pt x="6216" y="4010"/>
                  </a:lnTo>
                  <a:lnTo>
                    <a:pt x="6220" y="4003"/>
                  </a:lnTo>
                  <a:lnTo>
                    <a:pt x="6227" y="3999"/>
                  </a:lnTo>
                  <a:lnTo>
                    <a:pt x="6236" y="3997"/>
                  </a:lnTo>
                  <a:close/>
                  <a:moveTo>
                    <a:pt x="6472" y="3997"/>
                  </a:moveTo>
                  <a:lnTo>
                    <a:pt x="6605" y="3997"/>
                  </a:lnTo>
                  <a:lnTo>
                    <a:pt x="6614" y="3999"/>
                  </a:lnTo>
                  <a:lnTo>
                    <a:pt x="6620" y="4003"/>
                  </a:lnTo>
                  <a:lnTo>
                    <a:pt x="6624" y="4010"/>
                  </a:lnTo>
                  <a:lnTo>
                    <a:pt x="6626" y="4017"/>
                  </a:lnTo>
                  <a:lnTo>
                    <a:pt x="6624" y="4025"/>
                  </a:lnTo>
                  <a:lnTo>
                    <a:pt x="6620" y="4031"/>
                  </a:lnTo>
                  <a:lnTo>
                    <a:pt x="6614" y="4035"/>
                  </a:lnTo>
                  <a:lnTo>
                    <a:pt x="6605" y="4038"/>
                  </a:lnTo>
                  <a:lnTo>
                    <a:pt x="6472" y="4038"/>
                  </a:lnTo>
                  <a:lnTo>
                    <a:pt x="6464" y="4035"/>
                  </a:lnTo>
                  <a:lnTo>
                    <a:pt x="6458" y="4031"/>
                  </a:lnTo>
                  <a:lnTo>
                    <a:pt x="6454" y="4025"/>
                  </a:lnTo>
                  <a:lnTo>
                    <a:pt x="6452" y="4017"/>
                  </a:lnTo>
                  <a:lnTo>
                    <a:pt x="6454" y="4010"/>
                  </a:lnTo>
                  <a:lnTo>
                    <a:pt x="6458" y="4003"/>
                  </a:lnTo>
                  <a:lnTo>
                    <a:pt x="6464" y="3999"/>
                  </a:lnTo>
                  <a:lnTo>
                    <a:pt x="6472" y="3997"/>
                  </a:lnTo>
                  <a:close/>
                  <a:moveTo>
                    <a:pt x="6709" y="3997"/>
                  </a:moveTo>
                  <a:lnTo>
                    <a:pt x="6842" y="3997"/>
                  </a:lnTo>
                  <a:lnTo>
                    <a:pt x="6851" y="3999"/>
                  </a:lnTo>
                  <a:lnTo>
                    <a:pt x="6858" y="4003"/>
                  </a:lnTo>
                  <a:lnTo>
                    <a:pt x="6861" y="4010"/>
                  </a:lnTo>
                  <a:lnTo>
                    <a:pt x="6863" y="4017"/>
                  </a:lnTo>
                  <a:lnTo>
                    <a:pt x="6861" y="4025"/>
                  </a:lnTo>
                  <a:lnTo>
                    <a:pt x="6858" y="4031"/>
                  </a:lnTo>
                  <a:lnTo>
                    <a:pt x="6851" y="4035"/>
                  </a:lnTo>
                  <a:lnTo>
                    <a:pt x="6842" y="4038"/>
                  </a:lnTo>
                  <a:lnTo>
                    <a:pt x="6709" y="4038"/>
                  </a:lnTo>
                  <a:lnTo>
                    <a:pt x="6700" y="4035"/>
                  </a:lnTo>
                  <a:lnTo>
                    <a:pt x="6693" y="4031"/>
                  </a:lnTo>
                  <a:lnTo>
                    <a:pt x="6690" y="4025"/>
                  </a:lnTo>
                  <a:lnTo>
                    <a:pt x="6688" y="4017"/>
                  </a:lnTo>
                  <a:lnTo>
                    <a:pt x="6690" y="4010"/>
                  </a:lnTo>
                  <a:lnTo>
                    <a:pt x="6693" y="4003"/>
                  </a:lnTo>
                  <a:lnTo>
                    <a:pt x="6700" y="3999"/>
                  </a:lnTo>
                  <a:lnTo>
                    <a:pt x="6709" y="3997"/>
                  </a:lnTo>
                  <a:close/>
                  <a:moveTo>
                    <a:pt x="6946" y="3997"/>
                  </a:moveTo>
                  <a:lnTo>
                    <a:pt x="7078" y="3997"/>
                  </a:lnTo>
                  <a:lnTo>
                    <a:pt x="7087" y="3999"/>
                  </a:lnTo>
                  <a:lnTo>
                    <a:pt x="7094" y="4003"/>
                  </a:lnTo>
                  <a:lnTo>
                    <a:pt x="7097" y="4010"/>
                  </a:lnTo>
                  <a:lnTo>
                    <a:pt x="7099" y="4017"/>
                  </a:lnTo>
                  <a:lnTo>
                    <a:pt x="7097" y="4025"/>
                  </a:lnTo>
                  <a:lnTo>
                    <a:pt x="7094" y="4031"/>
                  </a:lnTo>
                  <a:lnTo>
                    <a:pt x="7087" y="4035"/>
                  </a:lnTo>
                  <a:lnTo>
                    <a:pt x="7078" y="4038"/>
                  </a:lnTo>
                  <a:lnTo>
                    <a:pt x="6946" y="4038"/>
                  </a:lnTo>
                  <a:lnTo>
                    <a:pt x="6937" y="4035"/>
                  </a:lnTo>
                  <a:lnTo>
                    <a:pt x="6931" y="4031"/>
                  </a:lnTo>
                  <a:lnTo>
                    <a:pt x="6927" y="4025"/>
                  </a:lnTo>
                  <a:lnTo>
                    <a:pt x="6926" y="4017"/>
                  </a:lnTo>
                  <a:lnTo>
                    <a:pt x="6927" y="4010"/>
                  </a:lnTo>
                  <a:lnTo>
                    <a:pt x="6931" y="4003"/>
                  </a:lnTo>
                  <a:lnTo>
                    <a:pt x="6937" y="3999"/>
                  </a:lnTo>
                  <a:lnTo>
                    <a:pt x="6946" y="3997"/>
                  </a:lnTo>
                  <a:close/>
                  <a:moveTo>
                    <a:pt x="7545" y="2941"/>
                  </a:moveTo>
                  <a:lnTo>
                    <a:pt x="7545" y="3052"/>
                  </a:lnTo>
                  <a:lnTo>
                    <a:pt x="7542" y="3061"/>
                  </a:lnTo>
                  <a:lnTo>
                    <a:pt x="7539" y="3067"/>
                  </a:lnTo>
                  <a:lnTo>
                    <a:pt x="7532" y="3071"/>
                  </a:lnTo>
                  <a:lnTo>
                    <a:pt x="7524" y="3072"/>
                  </a:lnTo>
                  <a:lnTo>
                    <a:pt x="7517" y="3071"/>
                  </a:lnTo>
                  <a:lnTo>
                    <a:pt x="7510" y="3067"/>
                  </a:lnTo>
                  <a:lnTo>
                    <a:pt x="7506" y="3061"/>
                  </a:lnTo>
                  <a:lnTo>
                    <a:pt x="7505" y="3052"/>
                  </a:lnTo>
                  <a:lnTo>
                    <a:pt x="7505" y="2941"/>
                  </a:lnTo>
                  <a:lnTo>
                    <a:pt x="7506" y="2932"/>
                  </a:lnTo>
                  <a:lnTo>
                    <a:pt x="7510" y="2925"/>
                  </a:lnTo>
                  <a:lnTo>
                    <a:pt x="7517" y="2922"/>
                  </a:lnTo>
                  <a:lnTo>
                    <a:pt x="7524" y="2920"/>
                  </a:lnTo>
                  <a:lnTo>
                    <a:pt x="7532" y="2922"/>
                  </a:lnTo>
                  <a:lnTo>
                    <a:pt x="7539" y="2925"/>
                  </a:lnTo>
                  <a:lnTo>
                    <a:pt x="7542" y="2932"/>
                  </a:lnTo>
                  <a:lnTo>
                    <a:pt x="7545" y="2941"/>
                  </a:lnTo>
                  <a:close/>
                  <a:moveTo>
                    <a:pt x="7808" y="2941"/>
                  </a:moveTo>
                  <a:lnTo>
                    <a:pt x="7808" y="3052"/>
                  </a:lnTo>
                  <a:lnTo>
                    <a:pt x="7807" y="3061"/>
                  </a:lnTo>
                  <a:lnTo>
                    <a:pt x="7801" y="3067"/>
                  </a:lnTo>
                  <a:lnTo>
                    <a:pt x="7795" y="3071"/>
                  </a:lnTo>
                  <a:lnTo>
                    <a:pt x="7787" y="3072"/>
                  </a:lnTo>
                  <a:lnTo>
                    <a:pt x="7781" y="3071"/>
                  </a:lnTo>
                  <a:lnTo>
                    <a:pt x="7774" y="3067"/>
                  </a:lnTo>
                  <a:lnTo>
                    <a:pt x="7769" y="3061"/>
                  </a:lnTo>
                  <a:lnTo>
                    <a:pt x="7768" y="3052"/>
                  </a:lnTo>
                  <a:lnTo>
                    <a:pt x="7768" y="2941"/>
                  </a:lnTo>
                  <a:lnTo>
                    <a:pt x="7769" y="2932"/>
                  </a:lnTo>
                  <a:lnTo>
                    <a:pt x="7774" y="2925"/>
                  </a:lnTo>
                  <a:lnTo>
                    <a:pt x="7781" y="2922"/>
                  </a:lnTo>
                  <a:lnTo>
                    <a:pt x="7787" y="2920"/>
                  </a:lnTo>
                  <a:lnTo>
                    <a:pt x="7795" y="2922"/>
                  </a:lnTo>
                  <a:lnTo>
                    <a:pt x="7801" y="2925"/>
                  </a:lnTo>
                  <a:lnTo>
                    <a:pt x="7807" y="2932"/>
                  </a:lnTo>
                  <a:lnTo>
                    <a:pt x="7808" y="2941"/>
                  </a:lnTo>
                  <a:close/>
                  <a:moveTo>
                    <a:pt x="8071" y="2941"/>
                  </a:moveTo>
                  <a:lnTo>
                    <a:pt x="8071" y="3052"/>
                  </a:lnTo>
                  <a:lnTo>
                    <a:pt x="8069" y="3061"/>
                  </a:lnTo>
                  <a:lnTo>
                    <a:pt x="8064" y="3067"/>
                  </a:lnTo>
                  <a:lnTo>
                    <a:pt x="8058" y="3071"/>
                  </a:lnTo>
                  <a:lnTo>
                    <a:pt x="8051" y="3072"/>
                  </a:lnTo>
                  <a:lnTo>
                    <a:pt x="8044" y="3071"/>
                  </a:lnTo>
                  <a:lnTo>
                    <a:pt x="8037" y="3067"/>
                  </a:lnTo>
                  <a:lnTo>
                    <a:pt x="8032" y="3061"/>
                  </a:lnTo>
                  <a:lnTo>
                    <a:pt x="8031" y="3052"/>
                  </a:lnTo>
                  <a:lnTo>
                    <a:pt x="8031" y="2941"/>
                  </a:lnTo>
                  <a:lnTo>
                    <a:pt x="8032" y="2932"/>
                  </a:lnTo>
                  <a:lnTo>
                    <a:pt x="8037" y="2925"/>
                  </a:lnTo>
                  <a:lnTo>
                    <a:pt x="8044" y="2922"/>
                  </a:lnTo>
                  <a:lnTo>
                    <a:pt x="8051" y="2920"/>
                  </a:lnTo>
                  <a:lnTo>
                    <a:pt x="8058" y="2922"/>
                  </a:lnTo>
                  <a:lnTo>
                    <a:pt x="8064" y="2925"/>
                  </a:lnTo>
                  <a:lnTo>
                    <a:pt x="8069" y="2932"/>
                  </a:lnTo>
                  <a:lnTo>
                    <a:pt x="8071" y="2941"/>
                  </a:lnTo>
                  <a:close/>
                  <a:moveTo>
                    <a:pt x="8334" y="2941"/>
                  </a:moveTo>
                  <a:lnTo>
                    <a:pt x="8334" y="3052"/>
                  </a:lnTo>
                  <a:lnTo>
                    <a:pt x="8332" y="3061"/>
                  </a:lnTo>
                  <a:lnTo>
                    <a:pt x="8327" y="3067"/>
                  </a:lnTo>
                  <a:lnTo>
                    <a:pt x="8322" y="3071"/>
                  </a:lnTo>
                  <a:lnTo>
                    <a:pt x="8314" y="3072"/>
                  </a:lnTo>
                  <a:lnTo>
                    <a:pt x="8307" y="3071"/>
                  </a:lnTo>
                  <a:lnTo>
                    <a:pt x="8300" y="3067"/>
                  </a:lnTo>
                  <a:lnTo>
                    <a:pt x="8296" y="3061"/>
                  </a:lnTo>
                  <a:lnTo>
                    <a:pt x="8294" y="3052"/>
                  </a:lnTo>
                  <a:lnTo>
                    <a:pt x="8294" y="2941"/>
                  </a:lnTo>
                  <a:lnTo>
                    <a:pt x="8296" y="2932"/>
                  </a:lnTo>
                  <a:lnTo>
                    <a:pt x="8300" y="2925"/>
                  </a:lnTo>
                  <a:lnTo>
                    <a:pt x="8307" y="2922"/>
                  </a:lnTo>
                  <a:lnTo>
                    <a:pt x="8314" y="2920"/>
                  </a:lnTo>
                  <a:lnTo>
                    <a:pt x="8322" y="2922"/>
                  </a:lnTo>
                  <a:lnTo>
                    <a:pt x="8327" y="2925"/>
                  </a:lnTo>
                  <a:lnTo>
                    <a:pt x="8332" y="2932"/>
                  </a:lnTo>
                  <a:lnTo>
                    <a:pt x="8334" y="2941"/>
                  </a:lnTo>
                  <a:close/>
                  <a:moveTo>
                    <a:pt x="8598" y="2941"/>
                  </a:moveTo>
                  <a:lnTo>
                    <a:pt x="8598" y="3052"/>
                  </a:lnTo>
                  <a:lnTo>
                    <a:pt x="8595" y="3061"/>
                  </a:lnTo>
                  <a:lnTo>
                    <a:pt x="8591" y="3067"/>
                  </a:lnTo>
                  <a:lnTo>
                    <a:pt x="8585" y="3071"/>
                  </a:lnTo>
                  <a:lnTo>
                    <a:pt x="8577" y="3072"/>
                  </a:lnTo>
                  <a:lnTo>
                    <a:pt x="8569" y="3071"/>
                  </a:lnTo>
                  <a:lnTo>
                    <a:pt x="8563" y="3067"/>
                  </a:lnTo>
                  <a:lnTo>
                    <a:pt x="8559" y="3061"/>
                  </a:lnTo>
                  <a:lnTo>
                    <a:pt x="8557" y="3052"/>
                  </a:lnTo>
                  <a:lnTo>
                    <a:pt x="8557" y="2941"/>
                  </a:lnTo>
                  <a:lnTo>
                    <a:pt x="8559" y="2932"/>
                  </a:lnTo>
                  <a:lnTo>
                    <a:pt x="8563" y="2925"/>
                  </a:lnTo>
                  <a:lnTo>
                    <a:pt x="8569" y="2922"/>
                  </a:lnTo>
                  <a:lnTo>
                    <a:pt x="8577" y="2920"/>
                  </a:lnTo>
                  <a:lnTo>
                    <a:pt x="8585" y="2922"/>
                  </a:lnTo>
                  <a:lnTo>
                    <a:pt x="8591" y="2925"/>
                  </a:lnTo>
                  <a:lnTo>
                    <a:pt x="8595" y="2932"/>
                  </a:lnTo>
                  <a:lnTo>
                    <a:pt x="8598" y="2941"/>
                  </a:lnTo>
                  <a:close/>
                  <a:moveTo>
                    <a:pt x="8861" y="2941"/>
                  </a:moveTo>
                  <a:lnTo>
                    <a:pt x="8861" y="3052"/>
                  </a:lnTo>
                  <a:lnTo>
                    <a:pt x="8858" y="3061"/>
                  </a:lnTo>
                  <a:lnTo>
                    <a:pt x="8854" y="3067"/>
                  </a:lnTo>
                  <a:lnTo>
                    <a:pt x="8848" y="3071"/>
                  </a:lnTo>
                  <a:lnTo>
                    <a:pt x="8840" y="3072"/>
                  </a:lnTo>
                  <a:lnTo>
                    <a:pt x="8832" y="3071"/>
                  </a:lnTo>
                  <a:lnTo>
                    <a:pt x="8826" y="3067"/>
                  </a:lnTo>
                  <a:lnTo>
                    <a:pt x="8822" y="3061"/>
                  </a:lnTo>
                  <a:lnTo>
                    <a:pt x="8821" y="3052"/>
                  </a:lnTo>
                  <a:lnTo>
                    <a:pt x="8821" y="2941"/>
                  </a:lnTo>
                  <a:lnTo>
                    <a:pt x="8822" y="2932"/>
                  </a:lnTo>
                  <a:lnTo>
                    <a:pt x="8826" y="2925"/>
                  </a:lnTo>
                  <a:lnTo>
                    <a:pt x="8832" y="2922"/>
                  </a:lnTo>
                  <a:lnTo>
                    <a:pt x="8840" y="2920"/>
                  </a:lnTo>
                  <a:lnTo>
                    <a:pt x="8848" y="2922"/>
                  </a:lnTo>
                  <a:lnTo>
                    <a:pt x="8854" y="2925"/>
                  </a:lnTo>
                  <a:lnTo>
                    <a:pt x="8858" y="2932"/>
                  </a:lnTo>
                  <a:lnTo>
                    <a:pt x="8861" y="2941"/>
                  </a:lnTo>
                  <a:close/>
                  <a:moveTo>
                    <a:pt x="7545" y="3186"/>
                  </a:moveTo>
                  <a:lnTo>
                    <a:pt x="7545" y="3299"/>
                  </a:lnTo>
                  <a:lnTo>
                    <a:pt x="7542" y="3308"/>
                  </a:lnTo>
                  <a:lnTo>
                    <a:pt x="7539" y="3314"/>
                  </a:lnTo>
                  <a:lnTo>
                    <a:pt x="7532" y="3318"/>
                  </a:lnTo>
                  <a:lnTo>
                    <a:pt x="7524" y="3319"/>
                  </a:lnTo>
                  <a:lnTo>
                    <a:pt x="7517" y="3318"/>
                  </a:lnTo>
                  <a:lnTo>
                    <a:pt x="7510" y="3314"/>
                  </a:lnTo>
                  <a:lnTo>
                    <a:pt x="7506" y="3308"/>
                  </a:lnTo>
                  <a:lnTo>
                    <a:pt x="7505" y="3299"/>
                  </a:lnTo>
                  <a:lnTo>
                    <a:pt x="7505" y="3186"/>
                  </a:lnTo>
                  <a:lnTo>
                    <a:pt x="7506" y="3179"/>
                  </a:lnTo>
                  <a:lnTo>
                    <a:pt x="7510" y="3172"/>
                  </a:lnTo>
                  <a:lnTo>
                    <a:pt x="7517" y="3168"/>
                  </a:lnTo>
                  <a:lnTo>
                    <a:pt x="7524" y="3167"/>
                  </a:lnTo>
                  <a:lnTo>
                    <a:pt x="7532" y="3168"/>
                  </a:lnTo>
                  <a:lnTo>
                    <a:pt x="7539" y="3172"/>
                  </a:lnTo>
                  <a:lnTo>
                    <a:pt x="7542" y="3179"/>
                  </a:lnTo>
                  <a:lnTo>
                    <a:pt x="7545" y="3186"/>
                  </a:lnTo>
                  <a:close/>
                  <a:moveTo>
                    <a:pt x="7808" y="3186"/>
                  </a:moveTo>
                  <a:lnTo>
                    <a:pt x="7808" y="3299"/>
                  </a:lnTo>
                  <a:lnTo>
                    <a:pt x="7807" y="3308"/>
                  </a:lnTo>
                  <a:lnTo>
                    <a:pt x="7801" y="3314"/>
                  </a:lnTo>
                  <a:lnTo>
                    <a:pt x="7795" y="3318"/>
                  </a:lnTo>
                  <a:lnTo>
                    <a:pt x="7787" y="3319"/>
                  </a:lnTo>
                  <a:lnTo>
                    <a:pt x="7781" y="3318"/>
                  </a:lnTo>
                  <a:lnTo>
                    <a:pt x="7774" y="3314"/>
                  </a:lnTo>
                  <a:lnTo>
                    <a:pt x="7769" y="3308"/>
                  </a:lnTo>
                  <a:lnTo>
                    <a:pt x="7768" y="3299"/>
                  </a:lnTo>
                  <a:lnTo>
                    <a:pt x="7768" y="3186"/>
                  </a:lnTo>
                  <a:lnTo>
                    <a:pt x="7769" y="3179"/>
                  </a:lnTo>
                  <a:lnTo>
                    <a:pt x="7774" y="3172"/>
                  </a:lnTo>
                  <a:lnTo>
                    <a:pt x="7781" y="3168"/>
                  </a:lnTo>
                  <a:lnTo>
                    <a:pt x="7787" y="3167"/>
                  </a:lnTo>
                  <a:lnTo>
                    <a:pt x="7795" y="3168"/>
                  </a:lnTo>
                  <a:lnTo>
                    <a:pt x="7801" y="3172"/>
                  </a:lnTo>
                  <a:lnTo>
                    <a:pt x="7807" y="3179"/>
                  </a:lnTo>
                  <a:lnTo>
                    <a:pt x="7808" y="3186"/>
                  </a:lnTo>
                  <a:close/>
                  <a:moveTo>
                    <a:pt x="8071" y="3186"/>
                  </a:moveTo>
                  <a:lnTo>
                    <a:pt x="8071" y="3299"/>
                  </a:lnTo>
                  <a:lnTo>
                    <a:pt x="8069" y="3308"/>
                  </a:lnTo>
                  <a:lnTo>
                    <a:pt x="8064" y="3314"/>
                  </a:lnTo>
                  <a:lnTo>
                    <a:pt x="8058" y="3318"/>
                  </a:lnTo>
                  <a:lnTo>
                    <a:pt x="8051" y="3319"/>
                  </a:lnTo>
                  <a:lnTo>
                    <a:pt x="8044" y="3318"/>
                  </a:lnTo>
                  <a:lnTo>
                    <a:pt x="8037" y="3314"/>
                  </a:lnTo>
                  <a:lnTo>
                    <a:pt x="8032" y="3308"/>
                  </a:lnTo>
                  <a:lnTo>
                    <a:pt x="8031" y="3299"/>
                  </a:lnTo>
                  <a:lnTo>
                    <a:pt x="8031" y="3186"/>
                  </a:lnTo>
                  <a:lnTo>
                    <a:pt x="8032" y="3179"/>
                  </a:lnTo>
                  <a:lnTo>
                    <a:pt x="8037" y="3172"/>
                  </a:lnTo>
                  <a:lnTo>
                    <a:pt x="8044" y="3168"/>
                  </a:lnTo>
                  <a:lnTo>
                    <a:pt x="8051" y="3167"/>
                  </a:lnTo>
                  <a:lnTo>
                    <a:pt x="8058" y="3168"/>
                  </a:lnTo>
                  <a:lnTo>
                    <a:pt x="8064" y="3172"/>
                  </a:lnTo>
                  <a:lnTo>
                    <a:pt x="8069" y="3179"/>
                  </a:lnTo>
                  <a:lnTo>
                    <a:pt x="8071" y="3186"/>
                  </a:lnTo>
                  <a:close/>
                  <a:moveTo>
                    <a:pt x="8334" y="3186"/>
                  </a:moveTo>
                  <a:lnTo>
                    <a:pt x="8334" y="3299"/>
                  </a:lnTo>
                  <a:lnTo>
                    <a:pt x="8332" y="3308"/>
                  </a:lnTo>
                  <a:lnTo>
                    <a:pt x="8327" y="3314"/>
                  </a:lnTo>
                  <a:lnTo>
                    <a:pt x="8322" y="3318"/>
                  </a:lnTo>
                  <a:lnTo>
                    <a:pt x="8314" y="3319"/>
                  </a:lnTo>
                  <a:lnTo>
                    <a:pt x="8307" y="3318"/>
                  </a:lnTo>
                  <a:lnTo>
                    <a:pt x="8300" y="3314"/>
                  </a:lnTo>
                  <a:lnTo>
                    <a:pt x="8296" y="3308"/>
                  </a:lnTo>
                  <a:lnTo>
                    <a:pt x="8294" y="3299"/>
                  </a:lnTo>
                  <a:lnTo>
                    <a:pt x="8294" y="3186"/>
                  </a:lnTo>
                  <a:lnTo>
                    <a:pt x="8296" y="3179"/>
                  </a:lnTo>
                  <a:lnTo>
                    <a:pt x="8300" y="3172"/>
                  </a:lnTo>
                  <a:lnTo>
                    <a:pt x="8307" y="3168"/>
                  </a:lnTo>
                  <a:lnTo>
                    <a:pt x="8314" y="3167"/>
                  </a:lnTo>
                  <a:lnTo>
                    <a:pt x="8322" y="3168"/>
                  </a:lnTo>
                  <a:lnTo>
                    <a:pt x="8327" y="3172"/>
                  </a:lnTo>
                  <a:lnTo>
                    <a:pt x="8332" y="3179"/>
                  </a:lnTo>
                  <a:lnTo>
                    <a:pt x="8334" y="3186"/>
                  </a:lnTo>
                  <a:close/>
                  <a:moveTo>
                    <a:pt x="8598" y="3186"/>
                  </a:moveTo>
                  <a:lnTo>
                    <a:pt x="8598" y="3299"/>
                  </a:lnTo>
                  <a:lnTo>
                    <a:pt x="8595" y="3308"/>
                  </a:lnTo>
                  <a:lnTo>
                    <a:pt x="8591" y="3314"/>
                  </a:lnTo>
                  <a:lnTo>
                    <a:pt x="8585" y="3318"/>
                  </a:lnTo>
                  <a:lnTo>
                    <a:pt x="8577" y="3319"/>
                  </a:lnTo>
                  <a:lnTo>
                    <a:pt x="8569" y="3318"/>
                  </a:lnTo>
                  <a:lnTo>
                    <a:pt x="8563" y="3314"/>
                  </a:lnTo>
                  <a:lnTo>
                    <a:pt x="8559" y="3308"/>
                  </a:lnTo>
                  <a:lnTo>
                    <a:pt x="8557" y="3299"/>
                  </a:lnTo>
                  <a:lnTo>
                    <a:pt x="8557" y="3186"/>
                  </a:lnTo>
                  <a:lnTo>
                    <a:pt x="8559" y="3179"/>
                  </a:lnTo>
                  <a:lnTo>
                    <a:pt x="8563" y="3172"/>
                  </a:lnTo>
                  <a:lnTo>
                    <a:pt x="8569" y="3168"/>
                  </a:lnTo>
                  <a:lnTo>
                    <a:pt x="8577" y="3167"/>
                  </a:lnTo>
                  <a:lnTo>
                    <a:pt x="8585" y="3168"/>
                  </a:lnTo>
                  <a:lnTo>
                    <a:pt x="8591" y="3172"/>
                  </a:lnTo>
                  <a:lnTo>
                    <a:pt x="8595" y="3179"/>
                  </a:lnTo>
                  <a:lnTo>
                    <a:pt x="8598" y="3186"/>
                  </a:lnTo>
                  <a:close/>
                  <a:moveTo>
                    <a:pt x="8861" y="3186"/>
                  </a:moveTo>
                  <a:lnTo>
                    <a:pt x="8861" y="3299"/>
                  </a:lnTo>
                  <a:lnTo>
                    <a:pt x="8858" y="3308"/>
                  </a:lnTo>
                  <a:lnTo>
                    <a:pt x="8854" y="3314"/>
                  </a:lnTo>
                  <a:lnTo>
                    <a:pt x="8848" y="3318"/>
                  </a:lnTo>
                  <a:lnTo>
                    <a:pt x="8840" y="3319"/>
                  </a:lnTo>
                  <a:lnTo>
                    <a:pt x="8832" y="3318"/>
                  </a:lnTo>
                  <a:lnTo>
                    <a:pt x="8826" y="3314"/>
                  </a:lnTo>
                  <a:lnTo>
                    <a:pt x="8822" y="3308"/>
                  </a:lnTo>
                  <a:lnTo>
                    <a:pt x="8821" y="3299"/>
                  </a:lnTo>
                  <a:lnTo>
                    <a:pt x="8821" y="3186"/>
                  </a:lnTo>
                  <a:lnTo>
                    <a:pt x="8822" y="3179"/>
                  </a:lnTo>
                  <a:lnTo>
                    <a:pt x="8826" y="3172"/>
                  </a:lnTo>
                  <a:lnTo>
                    <a:pt x="8832" y="3168"/>
                  </a:lnTo>
                  <a:lnTo>
                    <a:pt x="8840" y="3167"/>
                  </a:lnTo>
                  <a:lnTo>
                    <a:pt x="8848" y="3168"/>
                  </a:lnTo>
                  <a:lnTo>
                    <a:pt x="8854" y="3172"/>
                  </a:lnTo>
                  <a:lnTo>
                    <a:pt x="8858" y="3179"/>
                  </a:lnTo>
                  <a:lnTo>
                    <a:pt x="8861" y="3186"/>
                  </a:lnTo>
                  <a:close/>
                  <a:moveTo>
                    <a:pt x="7545" y="3433"/>
                  </a:moveTo>
                  <a:lnTo>
                    <a:pt x="7545" y="3546"/>
                  </a:lnTo>
                  <a:lnTo>
                    <a:pt x="7542" y="3554"/>
                  </a:lnTo>
                  <a:lnTo>
                    <a:pt x="7539" y="3561"/>
                  </a:lnTo>
                  <a:lnTo>
                    <a:pt x="7532" y="3565"/>
                  </a:lnTo>
                  <a:lnTo>
                    <a:pt x="7524" y="3565"/>
                  </a:lnTo>
                  <a:lnTo>
                    <a:pt x="7517" y="3565"/>
                  </a:lnTo>
                  <a:lnTo>
                    <a:pt x="7510" y="3561"/>
                  </a:lnTo>
                  <a:lnTo>
                    <a:pt x="7506" y="3554"/>
                  </a:lnTo>
                  <a:lnTo>
                    <a:pt x="7505" y="3546"/>
                  </a:lnTo>
                  <a:lnTo>
                    <a:pt x="7505" y="3433"/>
                  </a:lnTo>
                  <a:lnTo>
                    <a:pt x="7506" y="3424"/>
                  </a:lnTo>
                  <a:lnTo>
                    <a:pt x="7510" y="3419"/>
                  </a:lnTo>
                  <a:lnTo>
                    <a:pt x="7517" y="3415"/>
                  </a:lnTo>
                  <a:lnTo>
                    <a:pt x="7524" y="3414"/>
                  </a:lnTo>
                  <a:lnTo>
                    <a:pt x="7532" y="3415"/>
                  </a:lnTo>
                  <a:lnTo>
                    <a:pt x="7539" y="3419"/>
                  </a:lnTo>
                  <a:lnTo>
                    <a:pt x="7542" y="3424"/>
                  </a:lnTo>
                  <a:lnTo>
                    <a:pt x="7545" y="3433"/>
                  </a:lnTo>
                  <a:close/>
                  <a:moveTo>
                    <a:pt x="7808" y="3433"/>
                  </a:moveTo>
                  <a:lnTo>
                    <a:pt x="7808" y="3546"/>
                  </a:lnTo>
                  <a:lnTo>
                    <a:pt x="7807" y="3554"/>
                  </a:lnTo>
                  <a:lnTo>
                    <a:pt x="7801" y="3561"/>
                  </a:lnTo>
                  <a:lnTo>
                    <a:pt x="7795" y="3565"/>
                  </a:lnTo>
                  <a:lnTo>
                    <a:pt x="7787" y="3565"/>
                  </a:lnTo>
                  <a:lnTo>
                    <a:pt x="7781" y="3565"/>
                  </a:lnTo>
                  <a:lnTo>
                    <a:pt x="7774" y="3561"/>
                  </a:lnTo>
                  <a:lnTo>
                    <a:pt x="7769" y="3554"/>
                  </a:lnTo>
                  <a:lnTo>
                    <a:pt x="7768" y="3546"/>
                  </a:lnTo>
                  <a:lnTo>
                    <a:pt x="7768" y="3433"/>
                  </a:lnTo>
                  <a:lnTo>
                    <a:pt x="7769" y="3424"/>
                  </a:lnTo>
                  <a:lnTo>
                    <a:pt x="7774" y="3419"/>
                  </a:lnTo>
                  <a:lnTo>
                    <a:pt x="7781" y="3415"/>
                  </a:lnTo>
                  <a:lnTo>
                    <a:pt x="7787" y="3414"/>
                  </a:lnTo>
                  <a:lnTo>
                    <a:pt x="7795" y="3415"/>
                  </a:lnTo>
                  <a:lnTo>
                    <a:pt x="7801" y="3419"/>
                  </a:lnTo>
                  <a:lnTo>
                    <a:pt x="7807" y="3424"/>
                  </a:lnTo>
                  <a:lnTo>
                    <a:pt x="7808" y="3433"/>
                  </a:lnTo>
                  <a:close/>
                  <a:moveTo>
                    <a:pt x="8071" y="3433"/>
                  </a:moveTo>
                  <a:lnTo>
                    <a:pt x="8071" y="3546"/>
                  </a:lnTo>
                  <a:lnTo>
                    <a:pt x="8069" y="3554"/>
                  </a:lnTo>
                  <a:lnTo>
                    <a:pt x="8064" y="3561"/>
                  </a:lnTo>
                  <a:lnTo>
                    <a:pt x="8058" y="3565"/>
                  </a:lnTo>
                  <a:lnTo>
                    <a:pt x="8051" y="3565"/>
                  </a:lnTo>
                  <a:lnTo>
                    <a:pt x="8044" y="3565"/>
                  </a:lnTo>
                  <a:lnTo>
                    <a:pt x="8037" y="3561"/>
                  </a:lnTo>
                  <a:lnTo>
                    <a:pt x="8032" y="3554"/>
                  </a:lnTo>
                  <a:lnTo>
                    <a:pt x="8031" y="3546"/>
                  </a:lnTo>
                  <a:lnTo>
                    <a:pt x="8031" y="3433"/>
                  </a:lnTo>
                  <a:lnTo>
                    <a:pt x="8032" y="3424"/>
                  </a:lnTo>
                  <a:lnTo>
                    <a:pt x="8037" y="3419"/>
                  </a:lnTo>
                  <a:lnTo>
                    <a:pt x="8044" y="3415"/>
                  </a:lnTo>
                  <a:lnTo>
                    <a:pt x="8051" y="3414"/>
                  </a:lnTo>
                  <a:lnTo>
                    <a:pt x="8058" y="3415"/>
                  </a:lnTo>
                  <a:lnTo>
                    <a:pt x="8064" y="3419"/>
                  </a:lnTo>
                  <a:lnTo>
                    <a:pt x="8069" y="3424"/>
                  </a:lnTo>
                  <a:lnTo>
                    <a:pt x="8071" y="3433"/>
                  </a:lnTo>
                  <a:close/>
                  <a:moveTo>
                    <a:pt x="8334" y="3433"/>
                  </a:moveTo>
                  <a:lnTo>
                    <a:pt x="8334" y="3546"/>
                  </a:lnTo>
                  <a:lnTo>
                    <a:pt x="8332" y="3554"/>
                  </a:lnTo>
                  <a:lnTo>
                    <a:pt x="8327" y="3561"/>
                  </a:lnTo>
                  <a:lnTo>
                    <a:pt x="8322" y="3565"/>
                  </a:lnTo>
                  <a:lnTo>
                    <a:pt x="8314" y="3565"/>
                  </a:lnTo>
                  <a:lnTo>
                    <a:pt x="8307" y="3565"/>
                  </a:lnTo>
                  <a:lnTo>
                    <a:pt x="8300" y="3561"/>
                  </a:lnTo>
                  <a:lnTo>
                    <a:pt x="8296" y="3554"/>
                  </a:lnTo>
                  <a:lnTo>
                    <a:pt x="8294" y="3546"/>
                  </a:lnTo>
                  <a:lnTo>
                    <a:pt x="8294" y="3433"/>
                  </a:lnTo>
                  <a:lnTo>
                    <a:pt x="8296" y="3424"/>
                  </a:lnTo>
                  <a:lnTo>
                    <a:pt x="8300" y="3419"/>
                  </a:lnTo>
                  <a:lnTo>
                    <a:pt x="8307" y="3415"/>
                  </a:lnTo>
                  <a:lnTo>
                    <a:pt x="8314" y="3414"/>
                  </a:lnTo>
                  <a:lnTo>
                    <a:pt x="8322" y="3415"/>
                  </a:lnTo>
                  <a:lnTo>
                    <a:pt x="8327" y="3419"/>
                  </a:lnTo>
                  <a:lnTo>
                    <a:pt x="8332" y="3424"/>
                  </a:lnTo>
                  <a:lnTo>
                    <a:pt x="8334" y="3433"/>
                  </a:lnTo>
                  <a:close/>
                  <a:moveTo>
                    <a:pt x="8598" y="3433"/>
                  </a:moveTo>
                  <a:lnTo>
                    <a:pt x="8598" y="3546"/>
                  </a:lnTo>
                  <a:lnTo>
                    <a:pt x="8595" y="3554"/>
                  </a:lnTo>
                  <a:lnTo>
                    <a:pt x="8591" y="3561"/>
                  </a:lnTo>
                  <a:lnTo>
                    <a:pt x="8585" y="3565"/>
                  </a:lnTo>
                  <a:lnTo>
                    <a:pt x="8577" y="3565"/>
                  </a:lnTo>
                  <a:lnTo>
                    <a:pt x="8569" y="3565"/>
                  </a:lnTo>
                  <a:lnTo>
                    <a:pt x="8563" y="3561"/>
                  </a:lnTo>
                  <a:lnTo>
                    <a:pt x="8559" y="3554"/>
                  </a:lnTo>
                  <a:lnTo>
                    <a:pt x="8557" y="3546"/>
                  </a:lnTo>
                  <a:lnTo>
                    <a:pt x="8557" y="3433"/>
                  </a:lnTo>
                  <a:lnTo>
                    <a:pt x="8559" y="3424"/>
                  </a:lnTo>
                  <a:lnTo>
                    <a:pt x="8563" y="3419"/>
                  </a:lnTo>
                  <a:lnTo>
                    <a:pt x="8569" y="3415"/>
                  </a:lnTo>
                  <a:lnTo>
                    <a:pt x="8577" y="3414"/>
                  </a:lnTo>
                  <a:lnTo>
                    <a:pt x="8585" y="3415"/>
                  </a:lnTo>
                  <a:lnTo>
                    <a:pt x="8591" y="3419"/>
                  </a:lnTo>
                  <a:lnTo>
                    <a:pt x="8595" y="3424"/>
                  </a:lnTo>
                  <a:lnTo>
                    <a:pt x="8598" y="3433"/>
                  </a:lnTo>
                  <a:close/>
                  <a:moveTo>
                    <a:pt x="8861" y="3433"/>
                  </a:moveTo>
                  <a:lnTo>
                    <a:pt x="8861" y="3546"/>
                  </a:lnTo>
                  <a:lnTo>
                    <a:pt x="8858" y="3554"/>
                  </a:lnTo>
                  <a:lnTo>
                    <a:pt x="8854" y="3561"/>
                  </a:lnTo>
                  <a:lnTo>
                    <a:pt x="8848" y="3565"/>
                  </a:lnTo>
                  <a:lnTo>
                    <a:pt x="8840" y="3565"/>
                  </a:lnTo>
                  <a:lnTo>
                    <a:pt x="8832" y="3565"/>
                  </a:lnTo>
                  <a:lnTo>
                    <a:pt x="8826" y="3561"/>
                  </a:lnTo>
                  <a:lnTo>
                    <a:pt x="8822" y="3554"/>
                  </a:lnTo>
                  <a:lnTo>
                    <a:pt x="8821" y="3546"/>
                  </a:lnTo>
                  <a:lnTo>
                    <a:pt x="8821" y="3433"/>
                  </a:lnTo>
                  <a:lnTo>
                    <a:pt x="8822" y="3424"/>
                  </a:lnTo>
                  <a:lnTo>
                    <a:pt x="8826" y="3419"/>
                  </a:lnTo>
                  <a:lnTo>
                    <a:pt x="8832" y="3415"/>
                  </a:lnTo>
                  <a:lnTo>
                    <a:pt x="8840" y="3414"/>
                  </a:lnTo>
                  <a:lnTo>
                    <a:pt x="8848" y="3415"/>
                  </a:lnTo>
                  <a:lnTo>
                    <a:pt x="8854" y="3419"/>
                  </a:lnTo>
                  <a:lnTo>
                    <a:pt x="8858" y="3424"/>
                  </a:lnTo>
                  <a:lnTo>
                    <a:pt x="8861" y="3433"/>
                  </a:lnTo>
                  <a:close/>
                  <a:moveTo>
                    <a:pt x="7545" y="3680"/>
                  </a:moveTo>
                  <a:lnTo>
                    <a:pt x="7545" y="3792"/>
                  </a:lnTo>
                  <a:lnTo>
                    <a:pt x="7542" y="3801"/>
                  </a:lnTo>
                  <a:lnTo>
                    <a:pt x="7539" y="3806"/>
                  </a:lnTo>
                  <a:lnTo>
                    <a:pt x="7532" y="3810"/>
                  </a:lnTo>
                  <a:lnTo>
                    <a:pt x="7524" y="3811"/>
                  </a:lnTo>
                  <a:lnTo>
                    <a:pt x="7517" y="3810"/>
                  </a:lnTo>
                  <a:lnTo>
                    <a:pt x="7510" y="3806"/>
                  </a:lnTo>
                  <a:lnTo>
                    <a:pt x="7506" y="3801"/>
                  </a:lnTo>
                  <a:lnTo>
                    <a:pt x="7505" y="3792"/>
                  </a:lnTo>
                  <a:lnTo>
                    <a:pt x="7505" y="3680"/>
                  </a:lnTo>
                  <a:lnTo>
                    <a:pt x="7506" y="3671"/>
                  </a:lnTo>
                  <a:lnTo>
                    <a:pt x="7510" y="3664"/>
                  </a:lnTo>
                  <a:lnTo>
                    <a:pt x="7517" y="3661"/>
                  </a:lnTo>
                  <a:lnTo>
                    <a:pt x="7524" y="3659"/>
                  </a:lnTo>
                  <a:lnTo>
                    <a:pt x="7532" y="3661"/>
                  </a:lnTo>
                  <a:lnTo>
                    <a:pt x="7539" y="3664"/>
                  </a:lnTo>
                  <a:lnTo>
                    <a:pt x="7542" y="3671"/>
                  </a:lnTo>
                  <a:lnTo>
                    <a:pt x="7545" y="3680"/>
                  </a:lnTo>
                  <a:close/>
                  <a:moveTo>
                    <a:pt x="7808" y="3680"/>
                  </a:moveTo>
                  <a:lnTo>
                    <a:pt x="7808" y="3792"/>
                  </a:lnTo>
                  <a:lnTo>
                    <a:pt x="7807" y="3801"/>
                  </a:lnTo>
                  <a:lnTo>
                    <a:pt x="7801" y="3806"/>
                  </a:lnTo>
                  <a:lnTo>
                    <a:pt x="7795" y="3810"/>
                  </a:lnTo>
                  <a:lnTo>
                    <a:pt x="7787" y="3811"/>
                  </a:lnTo>
                  <a:lnTo>
                    <a:pt x="7781" y="3810"/>
                  </a:lnTo>
                  <a:lnTo>
                    <a:pt x="7774" y="3806"/>
                  </a:lnTo>
                  <a:lnTo>
                    <a:pt x="7769" y="3801"/>
                  </a:lnTo>
                  <a:lnTo>
                    <a:pt x="7768" y="3792"/>
                  </a:lnTo>
                  <a:lnTo>
                    <a:pt x="7768" y="3680"/>
                  </a:lnTo>
                  <a:lnTo>
                    <a:pt x="7769" y="3671"/>
                  </a:lnTo>
                  <a:lnTo>
                    <a:pt x="7774" y="3664"/>
                  </a:lnTo>
                  <a:lnTo>
                    <a:pt x="7781" y="3661"/>
                  </a:lnTo>
                  <a:lnTo>
                    <a:pt x="7787" y="3659"/>
                  </a:lnTo>
                  <a:lnTo>
                    <a:pt x="7795" y="3661"/>
                  </a:lnTo>
                  <a:lnTo>
                    <a:pt x="7801" y="3664"/>
                  </a:lnTo>
                  <a:lnTo>
                    <a:pt x="7807" y="3671"/>
                  </a:lnTo>
                  <a:lnTo>
                    <a:pt x="7808" y="3680"/>
                  </a:lnTo>
                  <a:close/>
                  <a:moveTo>
                    <a:pt x="8071" y="3680"/>
                  </a:moveTo>
                  <a:lnTo>
                    <a:pt x="8071" y="3792"/>
                  </a:lnTo>
                  <a:lnTo>
                    <a:pt x="8069" y="3801"/>
                  </a:lnTo>
                  <a:lnTo>
                    <a:pt x="8064" y="3806"/>
                  </a:lnTo>
                  <a:lnTo>
                    <a:pt x="8058" y="3810"/>
                  </a:lnTo>
                  <a:lnTo>
                    <a:pt x="8051" y="3811"/>
                  </a:lnTo>
                  <a:lnTo>
                    <a:pt x="8044" y="3810"/>
                  </a:lnTo>
                  <a:lnTo>
                    <a:pt x="8037" y="3806"/>
                  </a:lnTo>
                  <a:lnTo>
                    <a:pt x="8032" y="3801"/>
                  </a:lnTo>
                  <a:lnTo>
                    <a:pt x="8031" y="3792"/>
                  </a:lnTo>
                  <a:lnTo>
                    <a:pt x="8031" y="3680"/>
                  </a:lnTo>
                  <a:lnTo>
                    <a:pt x="8032" y="3671"/>
                  </a:lnTo>
                  <a:lnTo>
                    <a:pt x="8037" y="3664"/>
                  </a:lnTo>
                  <a:lnTo>
                    <a:pt x="8044" y="3661"/>
                  </a:lnTo>
                  <a:lnTo>
                    <a:pt x="8051" y="3659"/>
                  </a:lnTo>
                  <a:lnTo>
                    <a:pt x="8058" y="3661"/>
                  </a:lnTo>
                  <a:lnTo>
                    <a:pt x="8064" y="3664"/>
                  </a:lnTo>
                  <a:lnTo>
                    <a:pt x="8069" y="3671"/>
                  </a:lnTo>
                  <a:lnTo>
                    <a:pt x="8071" y="3680"/>
                  </a:lnTo>
                  <a:close/>
                  <a:moveTo>
                    <a:pt x="8334" y="3680"/>
                  </a:moveTo>
                  <a:lnTo>
                    <a:pt x="8334" y="3792"/>
                  </a:lnTo>
                  <a:lnTo>
                    <a:pt x="8332" y="3801"/>
                  </a:lnTo>
                  <a:lnTo>
                    <a:pt x="8327" y="3806"/>
                  </a:lnTo>
                  <a:lnTo>
                    <a:pt x="8322" y="3810"/>
                  </a:lnTo>
                  <a:lnTo>
                    <a:pt x="8314" y="3811"/>
                  </a:lnTo>
                  <a:lnTo>
                    <a:pt x="8307" y="3810"/>
                  </a:lnTo>
                  <a:lnTo>
                    <a:pt x="8300" y="3806"/>
                  </a:lnTo>
                  <a:lnTo>
                    <a:pt x="8296" y="3801"/>
                  </a:lnTo>
                  <a:lnTo>
                    <a:pt x="8294" y="3792"/>
                  </a:lnTo>
                  <a:lnTo>
                    <a:pt x="8294" y="3680"/>
                  </a:lnTo>
                  <a:lnTo>
                    <a:pt x="8296" y="3671"/>
                  </a:lnTo>
                  <a:lnTo>
                    <a:pt x="8300" y="3664"/>
                  </a:lnTo>
                  <a:lnTo>
                    <a:pt x="8307" y="3661"/>
                  </a:lnTo>
                  <a:lnTo>
                    <a:pt x="8314" y="3659"/>
                  </a:lnTo>
                  <a:lnTo>
                    <a:pt x="8322" y="3661"/>
                  </a:lnTo>
                  <a:lnTo>
                    <a:pt x="8327" y="3664"/>
                  </a:lnTo>
                  <a:lnTo>
                    <a:pt x="8332" y="3671"/>
                  </a:lnTo>
                  <a:lnTo>
                    <a:pt x="8334" y="3680"/>
                  </a:lnTo>
                  <a:close/>
                  <a:moveTo>
                    <a:pt x="8598" y="3680"/>
                  </a:moveTo>
                  <a:lnTo>
                    <a:pt x="8598" y="3792"/>
                  </a:lnTo>
                  <a:lnTo>
                    <a:pt x="8595" y="3801"/>
                  </a:lnTo>
                  <a:lnTo>
                    <a:pt x="8591" y="3806"/>
                  </a:lnTo>
                  <a:lnTo>
                    <a:pt x="8585" y="3810"/>
                  </a:lnTo>
                  <a:lnTo>
                    <a:pt x="8577" y="3811"/>
                  </a:lnTo>
                  <a:lnTo>
                    <a:pt x="8569" y="3810"/>
                  </a:lnTo>
                  <a:lnTo>
                    <a:pt x="8563" y="3806"/>
                  </a:lnTo>
                  <a:lnTo>
                    <a:pt x="8559" y="3801"/>
                  </a:lnTo>
                  <a:lnTo>
                    <a:pt x="8557" y="3792"/>
                  </a:lnTo>
                  <a:lnTo>
                    <a:pt x="8557" y="3680"/>
                  </a:lnTo>
                  <a:lnTo>
                    <a:pt x="8559" y="3671"/>
                  </a:lnTo>
                  <a:lnTo>
                    <a:pt x="8563" y="3664"/>
                  </a:lnTo>
                  <a:lnTo>
                    <a:pt x="8569" y="3661"/>
                  </a:lnTo>
                  <a:lnTo>
                    <a:pt x="8577" y="3659"/>
                  </a:lnTo>
                  <a:lnTo>
                    <a:pt x="8585" y="3661"/>
                  </a:lnTo>
                  <a:lnTo>
                    <a:pt x="8591" y="3664"/>
                  </a:lnTo>
                  <a:lnTo>
                    <a:pt x="8595" y="3671"/>
                  </a:lnTo>
                  <a:lnTo>
                    <a:pt x="8598" y="3680"/>
                  </a:lnTo>
                  <a:close/>
                  <a:moveTo>
                    <a:pt x="8861" y="3680"/>
                  </a:moveTo>
                  <a:lnTo>
                    <a:pt x="8861" y="3792"/>
                  </a:lnTo>
                  <a:lnTo>
                    <a:pt x="8858" y="3801"/>
                  </a:lnTo>
                  <a:lnTo>
                    <a:pt x="8854" y="3806"/>
                  </a:lnTo>
                  <a:lnTo>
                    <a:pt x="8848" y="3810"/>
                  </a:lnTo>
                  <a:lnTo>
                    <a:pt x="8840" y="3811"/>
                  </a:lnTo>
                  <a:lnTo>
                    <a:pt x="8832" y="3810"/>
                  </a:lnTo>
                  <a:lnTo>
                    <a:pt x="8826" y="3806"/>
                  </a:lnTo>
                  <a:lnTo>
                    <a:pt x="8822" y="3801"/>
                  </a:lnTo>
                  <a:lnTo>
                    <a:pt x="8821" y="3792"/>
                  </a:lnTo>
                  <a:lnTo>
                    <a:pt x="8821" y="3680"/>
                  </a:lnTo>
                  <a:lnTo>
                    <a:pt x="8822" y="3671"/>
                  </a:lnTo>
                  <a:lnTo>
                    <a:pt x="8826" y="3664"/>
                  </a:lnTo>
                  <a:lnTo>
                    <a:pt x="8832" y="3661"/>
                  </a:lnTo>
                  <a:lnTo>
                    <a:pt x="8840" y="3659"/>
                  </a:lnTo>
                  <a:lnTo>
                    <a:pt x="8848" y="3661"/>
                  </a:lnTo>
                  <a:lnTo>
                    <a:pt x="8854" y="3664"/>
                  </a:lnTo>
                  <a:lnTo>
                    <a:pt x="8858" y="3671"/>
                  </a:lnTo>
                  <a:lnTo>
                    <a:pt x="8861" y="3680"/>
                  </a:lnTo>
                  <a:close/>
                  <a:moveTo>
                    <a:pt x="9081" y="2604"/>
                  </a:moveTo>
                  <a:lnTo>
                    <a:pt x="9075" y="2604"/>
                  </a:lnTo>
                  <a:lnTo>
                    <a:pt x="9081" y="2604"/>
                  </a:lnTo>
                  <a:close/>
                  <a:moveTo>
                    <a:pt x="5536" y="1840"/>
                  </a:moveTo>
                  <a:lnTo>
                    <a:pt x="5109" y="1840"/>
                  </a:lnTo>
                  <a:lnTo>
                    <a:pt x="5109" y="1950"/>
                  </a:lnTo>
                  <a:lnTo>
                    <a:pt x="5536" y="1950"/>
                  </a:lnTo>
                  <a:lnTo>
                    <a:pt x="5536" y="1840"/>
                  </a:lnTo>
                  <a:close/>
                  <a:moveTo>
                    <a:pt x="4446" y="3790"/>
                  </a:moveTo>
                  <a:lnTo>
                    <a:pt x="5309" y="3790"/>
                  </a:lnTo>
                  <a:lnTo>
                    <a:pt x="5318" y="3791"/>
                  </a:lnTo>
                  <a:lnTo>
                    <a:pt x="5324" y="3796"/>
                  </a:lnTo>
                  <a:lnTo>
                    <a:pt x="5328" y="3803"/>
                  </a:lnTo>
                  <a:lnTo>
                    <a:pt x="5329" y="3809"/>
                  </a:lnTo>
                  <a:lnTo>
                    <a:pt x="5328" y="3817"/>
                  </a:lnTo>
                  <a:lnTo>
                    <a:pt x="5324" y="3823"/>
                  </a:lnTo>
                  <a:lnTo>
                    <a:pt x="5318" y="3828"/>
                  </a:lnTo>
                  <a:lnTo>
                    <a:pt x="5309" y="3829"/>
                  </a:lnTo>
                  <a:lnTo>
                    <a:pt x="5215" y="3829"/>
                  </a:lnTo>
                  <a:lnTo>
                    <a:pt x="5215" y="4317"/>
                  </a:lnTo>
                  <a:lnTo>
                    <a:pt x="5754" y="4317"/>
                  </a:lnTo>
                  <a:lnTo>
                    <a:pt x="5754" y="3782"/>
                  </a:lnTo>
                  <a:lnTo>
                    <a:pt x="5754" y="3249"/>
                  </a:lnTo>
                  <a:lnTo>
                    <a:pt x="5754" y="2716"/>
                  </a:lnTo>
                  <a:lnTo>
                    <a:pt x="5754" y="2182"/>
                  </a:lnTo>
                  <a:lnTo>
                    <a:pt x="5195" y="2182"/>
                  </a:lnTo>
                  <a:lnTo>
                    <a:pt x="4637" y="2182"/>
                  </a:lnTo>
                  <a:lnTo>
                    <a:pt x="4629" y="2181"/>
                  </a:lnTo>
                  <a:lnTo>
                    <a:pt x="4623" y="2176"/>
                  </a:lnTo>
                  <a:lnTo>
                    <a:pt x="4619" y="2170"/>
                  </a:lnTo>
                  <a:lnTo>
                    <a:pt x="4617" y="2163"/>
                  </a:lnTo>
                  <a:lnTo>
                    <a:pt x="4619" y="2156"/>
                  </a:lnTo>
                  <a:lnTo>
                    <a:pt x="4623" y="2149"/>
                  </a:lnTo>
                  <a:lnTo>
                    <a:pt x="4629" y="2144"/>
                  </a:lnTo>
                  <a:lnTo>
                    <a:pt x="4637" y="2143"/>
                  </a:lnTo>
                  <a:lnTo>
                    <a:pt x="5615" y="2143"/>
                  </a:lnTo>
                  <a:lnTo>
                    <a:pt x="5615" y="1989"/>
                  </a:lnTo>
                  <a:lnTo>
                    <a:pt x="5555" y="1989"/>
                  </a:lnTo>
                  <a:lnTo>
                    <a:pt x="5089" y="1989"/>
                  </a:lnTo>
                  <a:lnTo>
                    <a:pt x="4119" y="1989"/>
                  </a:lnTo>
                  <a:lnTo>
                    <a:pt x="4119" y="2143"/>
                  </a:lnTo>
                  <a:lnTo>
                    <a:pt x="4373" y="2143"/>
                  </a:lnTo>
                  <a:lnTo>
                    <a:pt x="4382" y="2144"/>
                  </a:lnTo>
                  <a:lnTo>
                    <a:pt x="4387" y="2149"/>
                  </a:lnTo>
                  <a:lnTo>
                    <a:pt x="4391" y="2156"/>
                  </a:lnTo>
                  <a:lnTo>
                    <a:pt x="4392" y="2163"/>
                  </a:lnTo>
                  <a:lnTo>
                    <a:pt x="4391" y="2170"/>
                  </a:lnTo>
                  <a:lnTo>
                    <a:pt x="4387" y="2176"/>
                  </a:lnTo>
                  <a:lnTo>
                    <a:pt x="4382" y="2181"/>
                  </a:lnTo>
                  <a:lnTo>
                    <a:pt x="4373" y="2182"/>
                  </a:lnTo>
                  <a:lnTo>
                    <a:pt x="4001" y="2182"/>
                  </a:lnTo>
                  <a:lnTo>
                    <a:pt x="4001" y="3195"/>
                  </a:lnTo>
                  <a:lnTo>
                    <a:pt x="3999" y="3204"/>
                  </a:lnTo>
                  <a:lnTo>
                    <a:pt x="3994" y="3211"/>
                  </a:lnTo>
                  <a:lnTo>
                    <a:pt x="3988" y="3214"/>
                  </a:lnTo>
                  <a:lnTo>
                    <a:pt x="3980" y="3216"/>
                  </a:lnTo>
                  <a:lnTo>
                    <a:pt x="3974" y="3214"/>
                  </a:lnTo>
                  <a:lnTo>
                    <a:pt x="3967" y="3211"/>
                  </a:lnTo>
                  <a:lnTo>
                    <a:pt x="3962" y="3204"/>
                  </a:lnTo>
                  <a:lnTo>
                    <a:pt x="3961" y="3195"/>
                  </a:lnTo>
                  <a:lnTo>
                    <a:pt x="3961" y="2679"/>
                  </a:lnTo>
                  <a:lnTo>
                    <a:pt x="3961" y="2163"/>
                  </a:lnTo>
                  <a:lnTo>
                    <a:pt x="3962" y="2156"/>
                  </a:lnTo>
                  <a:lnTo>
                    <a:pt x="3966" y="2149"/>
                  </a:lnTo>
                  <a:lnTo>
                    <a:pt x="3973" y="2144"/>
                  </a:lnTo>
                  <a:lnTo>
                    <a:pt x="3980" y="2143"/>
                  </a:lnTo>
                  <a:lnTo>
                    <a:pt x="4079" y="2143"/>
                  </a:lnTo>
                  <a:lnTo>
                    <a:pt x="4079" y="1970"/>
                  </a:lnTo>
                  <a:lnTo>
                    <a:pt x="4080" y="1963"/>
                  </a:lnTo>
                  <a:lnTo>
                    <a:pt x="4085" y="1956"/>
                  </a:lnTo>
                  <a:lnTo>
                    <a:pt x="4092" y="1951"/>
                  </a:lnTo>
                  <a:lnTo>
                    <a:pt x="4099" y="1950"/>
                  </a:lnTo>
                  <a:lnTo>
                    <a:pt x="5069" y="1950"/>
                  </a:lnTo>
                  <a:lnTo>
                    <a:pt x="5069" y="1819"/>
                  </a:lnTo>
                  <a:lnTo>
                    <a:pt x="5070" y="1812"/>
                  </a:lnTo>
                  <a:lnTo>
                    <a:pt x="5075" y="1805"/>
                  </a:lnTo>
                  <a:lnTo>
                    <a:pt x="5082" y="1801"/>
                  </a:lnTo>
                  <a:lnTo>
                    <a:pt x="5089" y="1799"/>
                  </a:lnTo>
                  <a:lnTo>
                    <a:pt x="5555" y="1799"/>
                  </a:lnTo>
                  <a:lnTo>
                    <a:pt x="5563" y="1801"/>
                  </a:lnTo>
                  <a:lnTo>
                    <a:pt x="5569" y="1805"/>
                  </a:lnTo>
                  <a:lnTo>
                    <a:pt x="5573" y="1812"/>
                  </a:lnTo>
                  <a:lnTo>
                    <a:pt x="5575" y="1819"/>
                  </a:lnTo>
                  <a:lnTo>
                    <a:pt x="5575" y="1950"/>
                  </a:lnTo>
                  <a:lnTo>
                    <a:pt x="5636" y="1950"/>
                  </a:lnTo>
                  <a:lnTo>
                    <a:pt x="5643" y="1951"/>
                  </a:lnTo>
                  <a:lnTo>
                    <a:pt x="5650" y="1956"/>
                  </a:lnTo>
                  <a:lnTo>
                    <a:pt x="5654" y="1963"/>
                  </a:lnTo>
                  <a:lnTo>
                    <a:pt x="5656" y="1970"/>
                  </a:lnTo>
                  <a:lnTo>
                    <a:pt x="5656" y="2143"/>
                  </a:lnTo>
                  <a:lnTo>
                    <a:pt x="5773" y="2143"/>
                  </a:lnTo>
                  <a:lnTo>
                    <a:pt x="5781" y="2144"/>
                  </a:lnTo>
                  <a:lnTo>
                    <a:pt x="5787" y="2149"/>
                  </a:lnTo>
                  <a:lnTo>
                    <a:pt x="5792" y="2156"/>
                  </a:lnTo>
                  <a:lnTo>
                    <a:pt x="5793" y="2163"/>
                  </a:lnTo>
                  <a:lnTo>
                    <a:pt x="5793" y="2705"/>
                  </a:lnTo>
                  <a:lnTo>
                    <a:pt x="5793" y="3249"/>
                  </a:lnTo>
                  <a:lnTo>
                    <a:pt x="5793" y="3792"/>
                  </a:lnTo>
                  <a:lnTo>
                    <a:pt x="5793" y="4336"/>
                  </a:lnTo>
                  <a:lnTo>
                    <a:pt x="5792" y="4343"/>
                  </a:lnTo>
                  <a:lnTo>
                    <a:pt x="5787" y="4350"/>
                  </a:lnTo>
                  <a:lnTo>
                    <a:pt x="5781" y="4355"/>
                  </a:lnTo>
                  <a:lnTo>
                    <a:pt x="5773" y="4356"/>
                  </a:lnTo>
                  <a:lnTo>
                    <a:pt x="5195" y="4356"/>
                  </a:lnTo>
                  <a:lnTo>
                    <a:pt x="4560" y="4356"/>
                  </a:lnTo>
                  <a:lnTo>
                    <a:pt x="3980" y="4356"/>
                  </a:lnTo>
                  <a:lnTo>
                    <a:pt x="3973" y="4355"/>
                  </a:lnTo>
                  <a:lnTo>
                    <a:pt x="3966" y="4350"/>
                  </a:lnTo>
                  <a:lnTo>
                    <a:pt x="3962" y="4343"/>
                  </a:lnTo>
                  <a:lnTo>
                    <a:pt x="3961" y="4336"/>
                  </a:lnTo>
                  <a:lnTo>
                    <a:pt x="3961" y="4037"/>
                  </a:lnTo>
                  <a:lnTo>
                    <a:pt x="3962" y="4028"/>
                  </a:lnTo>
                  <a:lnTo>
                    <a:pt x="3967" y="4021"/>
                  </a:lnTo>
                  <a:lnTo>
                    <a:pt x="3974" y="4017"/>
                  </a:lnTo>
                  <a:lnTo>
                    <a:pt x="3980" y="4016"/>
                  </a:lnTo>
                  <a:lnTo>
                    <a:pt x="3988" y="4017"/>
                  </a:lnTo>
                  <a:lnTo>
                    <a:pt x="3994" y="4021"/>
                  </a:lnTo>
                  <a:lnTo>
                    <a:pt x="3999" y="4028"/>
                  </a:lnTo>
                  <a:lnTo>
                    <a:pt x="4001" y="4037"/>
                  </a:lnTo>
                  <a:lnTo>
                    <a:pt x="4001" y="4317"/>
                  </a:lnTo>
                  <a:lnTo>
                    <a:pt x="4539" y="4317"/>
                  </a:lnTo>
                  <a:lnTo>
                    <a:pt x="4539" y="3829"/>
                  </a:lnTo>
                  <a:lnTo>
                    <a:pt x="4446" y="3829"/>
                  </a:lnTo>
                  <a:lnTo>
                    <a:pt x="4437" y="3828"/>
                  </a:lnTo>
                  <a:lnTo>
                    <a:pt x="4430" y="3823"/>
                  </a:lnTo>
                  <a:lnTo>
                    <a:pt x="4426" y="3817"/>
                  </a:lnTo>
                  <a:lnTo>
                    <a:pt x="4425" y="3809"/>
                  </a:lnTo>
                  <a:lnTo>
                    <a:pt x="4426" y="3803"/>
                  </a:lnTo>
                  <a:lnTo>
                    <a:pt x="4430" y="3796"/>
                  </a:lnTo>
                  <a:lnTo>
                    <a:pt x="4437" y="3791"/>
                  </a:lnTo>
                  <a:lnTo>
                    <a:pt x="4446" y="3790"/>
                  </a:lnTo>
                  <a:close/>
                  <a:moveTo>
                    <a:pt x="4897" y="3950"/>
                  </a:moveTo>
                  <a:lnTo>
                    <a:pt x="4897" y="4317"/>
                  </a:lnTo>
                  <a:lnTo>
                    <a:pt x="5175" y="4317"/>
                  </a:lnTo>
                  <a:lnTo>
                    <a:pt x="5175" y="3829"/>
                  </a:lnTo>
                  <a:lnTo>
                    <a:pt x="4579" y="3829"/>
                  </a:lnTo>
                  <a:lnTo>
                    <a:pt x="4579" y="4317"/>
                  </a:lnTo>
                  <a:lnTo>
                    <a:pt x="4857" y="4317"/>
                  </a:lnTo>
                  <a:lnTo>
                    <a:pt x="4857" y="3950"/>
                  </a:lnTo>
                  <a:lnTo>
                    <a:pt x="4859" y="3941"/>
                  </a:lnTo>
                  <a:lnTo>
                    <a:pt x="4864" y="3934"/>
                  </a:lnTo>
                  <a:lnTo>
                    <a:pt x="4870" y="3930"/>
                  </a:lnTo>
                  <a:lnTo>
                    <a:pt x="4877" y="3929"/>
                  </a:lnTo>
                  <a:lnTo>
                    <a:pt x="4884" y="3930"/>
                  </a:lnTo>
                  <a:lnTo>
                    <a:pt x="4891" y="3934"/>
                  </a:lnTo>
                  <a:lnTo>
                    <a:pt x="4896" y="3941"/>
                  </a:lnTo>
                  <a:lnTo>
                    <a:pt x="4897" y="3950"/>
                  </a:lnTo>
                  <a:close/>
                  <a:moveTo>
                    <a:pt x="8349" y="481"/>
                  </a:moveTo>
                  <a:lnTo>
                    <a:pt x="8337" y="483"/>
                  </a:lnTo>
                  <a:lnTo>
                    <a:pt x="8328" y="482"/>
                  </a:lnTo>
                  <a:lnTo>
                    <a:pt x="8321" y="475"/>
                  </a:lnTo>
                  <a:lnTo>
                    <a:pt x="8318" y="464"/>
                  </a:lnTo>
                  <a:lnTo>
                    <a:pt x="8316" y="446"/>
                  </a:lnTo>
                  <a:lnTo>
                    <a:pt x="8312" y="428"/>
                  </a:lnTo>
                  <a:lnTo>
                    <a:pt x="8299" y="394"/>
                  </a:lnTo>
                  <a:lnTo>
                    <a:pt x="8280" y="364"/>
                  </a:lnTo>
                  <a:lnTo>
                    <a:pt x="8255" y="337"/>
                  </a:lnTo>
                  <a:lnTo>
                    <a:pt x="8226" y="316"/>
                  </a:lnTo>
                  <a:lnTo>
                    <a:pt x="8192" y="299"/>
                  </a:lnTo>
                  <a:lnTo>
                    <a:pt x="8175" y="293"/>
                  </a:lnTo>
                  <a:lnTo>
                    <a:pt x="8157" y="289"/>
                  </a:lnTo>
                  <a:lnTo>
                    <a:pt x="8137" y="286"/>
                  </a:lnTo>
                  <a:lnTo>
                    <a:pt x="8119" y="285"/>
                  </a:lnTo>
                  <a:lnTo>
                    <a:pt x="8080" y="289"/>
                  </a:lnTo>
                  <a:lnTo>
                    <a:pt x="8060" y="294"/>
                  </a:lnTo>
                  <a:lnTo>
                    <a:pt x="8042" y="300"/>
                  </a:lnTo>
                  <a:lnTo>
                    <a:pt x="8008" y="318"/>
                  </a:lnTo>
                  <a:lnTo>
                    <a:pt x="7978" y="341"/>
                  </a:lnTo>
                  <a:lnTo>
                    <a:pt x="7966" y="355"/>
                  </a:lnTo>
                  <a:lnTo>
                    <a:pt x="7954" y="369"/>
                  </a:lnTo>
                  <a:lnTo>
                    <a:pt x="7935" y="403"/>
                  </a:lnTo>
                  <a:lnTo>
                    <a:pt x="7928" y="420"/>
                  </a:lnTo>
                  <a:lnTo>
                    <a:pt x="7923" y="438"/>
                  </a:lnTo>
                  <a:lnTo>
                    <a:pt x="7919" y="477"/>
                  </a:lnTo>
                  <a:lnTo>
                    <a:pt x="7867" y="477"/>
                  </a:lnTo>
                  <a:lnTo>
                    <a:pt x="7836" y="474"/>
                  </a:lnTo>
                  <a:lnTo>
                    <a:pt x="7815" y="477"/>
                  </a:lnTo>
                  <a:lnTo>
                    <a:pt x="7798" y="482"/>
                  </a:lnTo>
                  <a:lnTo>
                    <a:pt x="7780" y="492"/>
                  </a:lnTo>
                  <a:lnTo>
                    <a:pt x="7765" y="504"/>
                  </a:lnTo>
                  <a:lnTo>
                    <a:pt x="7754" y="519"/>
                  </a:lnTo>
                  <a:lnTo>
                    <a:pt x="7745" y="537"/>
                  </a:lnTo>
                  <a:lnTo>
                    <a:pt x="7740" y="556"/>
                  </a:lnTo>
                  <a:lnTo>
                    <a:pt x="7737" y="576"/>
                  </a:lnTo>
                  <a:lnTo>
                    <a:pt x="7740" y="598"/>
                  </a:lnTo>
                  <a:lnTo>
                    <a:pt x="8505" y="599"/>
                  </a:lnTo>
                  <a:lnTo>
                    <a:pt x="8508" y="574"/>
                  </a:lnTo>
                  <a:lnTo>
                    <a:pt x="8505" y="552"/>
                  </a:lnTo>
                  <a:lnTo>
                    <a:pt x="8499" y="532"/>
                  </a:lnTo>
                  <a:lnTo>
                    <a:pt x="8490" y="514"/>
                  </a:lnTo>
                  <a:lnTo>
                    <a:pt x="8477" y="497"/>
                  </a:lnTo>
                  <a:lnTo>
                    <a:pt x="8460" y="484"/>
                  </a:lnTo>
                  <a:lnTo>
                    <a:pt x="8443" y="474"/>
                  </a:lnTo>
                  <a:lnTo>
                    <a:pt x="8423" y="468"/>
                  </a:lnTo>
                  <a:lnTo>
                    <a:pt x="8401" y="465"/>
                  </a:lnTo>
                  <a:lnTo>
                    <a:pt x="8373" y="469"/>
                  </a:lnTo>
                  <a:lnTo>
                    <a:pt x="8349" y="481"/>
                  </a:lnTo>
                  <a:close/>
                  <a:moveTo>
                    <a:pt x="7880" y="455"/>
                  </a:moveTo>
                  <a:lnTo>
                    <a:pt x="7883" y="433"/>
                  </a:lnTo>
                  <a:lnTo>
                    <a:pt x="7889" y="411"/>
                  </a:lnTo>
                  <a:lnTo>
                    <a:pt x="7896" y="391"/>
                  </a:lnTo>
                  <a:lnTo>
                    <a:pt x="7905" y="372"/>
                  </a:lnTo>
                  <a:lnTo>
                    <a:pt x="7917" y="354"/>
                  </a:lnTo>
                  <a:lnTo>
                    <a:pt x="7930" y="336"/>
                  </a:lnTo>
                  <a:lnTo>
                    <a:pt x="7944" y="321"/>
                  </a:lnTo>
                  <a:lnTo>
                    <a:pt x="7959" y="305"/>
                  </a:lnTo>
                  <a:lnTo>
                    <a:pt x="7994" y="280"/>
                  </a:lnTo>
                  <a:lnTo>
                    <a:pt x="8032" y="261"/>
                  </a:lnTo>
                  <a:lnTo>
                    <a:pt x="8075" y="249"/>
                  </a:lnTo>
                  <a:lnTo>
                    <a:pt x="8119" y="245"/>
                  </a:lnTo>
                  <a:lnTo>
                    <a:pt x="8160" y="249"/>
                  </a:lnTo>
                  <a:lnTo>
                    <a:pt x="8200" y="259"/>
                  </a:lnTo>
                  <a:lnTo>
                    <a:pt x="8237" y="276"/>
                  </a:lnTo>
                  <a:lnTo>
                    <a:pt x="8254" y="286"/>
                  </a:lnTo>
                  <a:lnTo>
                    <a:pt x="8271" y="299"/>
                  </a:lnTo>
                  <a:lnTo>
                    <a:pt x="8300" y="326"/>
                  </a:lnTo>
                  <a:lnTo>
                    <a:pt x="8325" y="358"/>
                  </a:lnTo>
                  <a:lnTo>
                    <a:pt x="8335" y="376"/>
                  </a:lnTo>
                  <a:lnTo>
                    <a:pt x="8343" y="395"/>
                  </a:lnTo>
                  <a:lnTo>
                    <a:pt x="8350" y="414"/>
                  </a:lnTo>
                  <a:lnTo>
                    <a:pt x="8354" y="433"/>
                  </a:lnTo>
                  <a:lnTo>
                    <a:pt x="8377" y="428"/>
                  </a:lnTo>
                  <a:lnTo>
                    <a:pt x="8401" y="426"/>
                  </a:lnTo>
                  <a:lnTo>
                    <a:pt x="8431" y="428"/>
                  </a:lnTo>
                  <a:lnTo>
                    <a:pt x="8459" y="437"/>
                  </a:lnTo>
                  <a:lnTo>
                    <a:pt x="8484" y="451"/>
                  </a:lnTo>
                  <a:lnTo>
                    <a:pt x="8505" y="470"/>
                  </a:lnTo>
                  <a:lnTo>
                    <a:pt x="8523" y="492"/>
                  </a:lnTo>
                  <a:lnTo>
                    <a:pt x="8531" y="505"/>
                  </a:lnTo>
                  <a:lnTo>
                    <a:pt x="8536" y="518"/>
                  </a:lnTo>
                  <a:lnTo>
                    <a:pt x="8545" y="544"/>
                  </a:lnTo>
                  <a:lnTo>
                    <a:pt x="8548" y="560"/>
                  </a:lnTo>
                  <a:lnTo>
                    <a:pt x="8548" y="574"/>
                  </a:lnTo>
                  <a:lnTo>
                    <a:pt x="8548" y="592"/>
                  </a:lnTo>
                  <a:lnTo>
                    <a:pt x="8544" y="613"/>
                  </a:lnTo>
                  <a:lnTo>
                    <a:pt x="8540" y="624"/>
                  </a:lnTo>
                  <a:lnTo>
                    <a:pt x="8535" y="631"/>
                  </a:lnTo>
                  <a:lnTo>
                    <a:pt x="8528" y="638"/>
                  </a:lnTo>
                  <a:lnTo>
                    <a:pt x="8521" y="640"/>
                  </a:lnTo>
                  <a:lnTo>
                    <a:pt x="7724" y="638"/>
                  </a:lnTo>
                  <a:lnTo>
                    <a:pt x="7717" y="637"/>
                  </a:lnTo>
                  <a:lnTo>
                    <a:pt x="7710" y="631"/>
                  </a:lnTo>
                  <a:lnTo>
                    <a:pt x="7705" y="622"/>
                  </a:lnTo>
                  <a:lnTo>
                    <a:pt x="7701" y="613"/>
                  </a:lnTo>
                  <a:lnTo>
                    <a:pt x="7699" y="593"/>
                  </a:lnTo>
                  <a:lnTo>
                    <a:pt x="7698" y="576"/>
                  </a:lnTo>
                  <a:lnTo>
                    <a:pt x="7700" y="548"/>
                  </a:lnTo>
                  <a:lnTo>
                    <a:pt x="7708" y="521"/>
                  </a:lnTo>
                  <a:lnTo>
                    <a:pt x="7721" y="497"/>
                  </a:lnTo>
                  <a:lnTo>
                    <a:pt x="7737" y="477"/>
                  </a:lnTo>
                  <a:lnTo>
                    <a:pt x="7757" y="459"/>
                  </a:lnTo>
                  <a:lnTo>
                    <a:pt x="7781" y="446"/>
                  </a:lnTo>
                  <a:lnTo>
                    <a:pt x="7807" y="437"/>
                  </a:lnTo>
                  <a:lnTo>
                    <a:pt x="7836" y="434"/>
                  </a:lnTo>
                  <a:lnTo>
                    <a:pt x="7851" y="436"/>
                  </a:lnTo>
                  <a:lnTo>
                    <a:pt x="7864" y="440"/>
                  </a:lnTo>
                  <a:lnTo>
                    <a:pt x="7874" y="445"/>
                  </a:lnTo>
                  <a:lnTo>
                    <a:pt x="7880" y="455"/>
                  </a:lnTo>
                  <a:close/>
                  <a:moveTo>
                    <a:pt x="4157" y="902"/>
                  </a:moveTo>
                  <a:lnTo>
                    <a:pt x="4683" y="902"/>
                  </a:lnTo>
                  <a:lnTo>
                    <a:pt x="5210" y="902"/>
                  </a:lnTo>
                  <a:lnTo>
                    <a:pt x="5210" y="892"/>
                  </a:lnTo>
                  <a:lnTo>
                    <a:pt x="5207" y="865"/>
                  </a:lnTo>
                  <a:lnTo>
                    <a:pt x="5203" y="854"/>
                  </a:lnTo>
                  <a:lnTo>
                    <a:pt x="5200" y="841"/>
                  </a:lnTo>
                  <a:lnTo>
                    <a:pt x="5187" y="819"/>
                  </a:lnTo>
                  <a:lnTo>
                    <a:pt x="5179" y="809"/>
                  </a:lnTo>
                  <a:lnTo>
                    <a:pt x="5171" y="799"/>
                  </a:lnTo>
                  <a:lnTo>
                    <a:pt x="5151" y="784"/>
                  </a:lnTo>
                  <a:lnTo>
                    <a:pt x="5141" y="777"/>
                  </a:lnTo>
                  <a:lnTo>
                    <a:pt x="5129" y="771"/>
                  </a:lnTo>
                  <a:lnTo>
                    <a:pt x="5103" y="763"/>
                  </a:lnTo>
                  <a:lnTo>
                    <a:pt x="5077" y="761"/>
                  </a:lnTo>
                  <a:lnTo>
                    <a:pt x="5052" y="763"/>
                  </a:lnTo>
                  <a:lnTo>
                    <a:pt x="5042" y="767"/>
                  </a:lnTo>
                  <a:lnTo>
                    <a:pt x="5030" y="771"/>
                  </a:lnTo>
                  <a:lnTo>
                    <a:pt x="4996" y="791"/>
                  </a:lnTo>
                  <a:lnTo>
                    <a:pt x="4982" y="799"/>
                  </a:lnTo>
                  <a:lnTo>
                    <a:pt x="4970" y="801"/>
                  </a:lnTo>
                  <a:lnTo>
                    <a:pt x="4961" y="799"/>
                  </a:lnTo>
                  <a:lnTo>
                    <a:pt x="4955" y="786"/>
                  </a:lnTo>
                  <a:lnTo>
                    <a:pt x="4944" y="758"/>
                  </a:lnTo>
                  <a:lnTo>
                    <a:pt x="4938" y="745"/>
                  </a:lnTo>
                  <a:lnTo>
                    <a:pt x="4929" y="732"/>
                  </a:lnTo>
                  <a:lnTo>
                    <a:pt x="4911" y="711"/>
                  </a:lnTo>
                  <a:lnTo>
                    <a:pt x="4900" y="700"/>
                  </a:lnTo>
                  <a:lnTo>
                    <a:pt x="4888" y="690"/>
                  </a:lnTo>
                  <a:lnTo>
                    <a:pt x="4864" y="675"/>
                  </a:lnTo>
                  <a:lnTo>
                    <a:pt x="4837" y="662"/>
                  </a:lnTo>
                  <a:lnTo>
                    <a:pt x="4821" y="658"/>
                  </a:lnTo>
                  <a:lnTo>
                    <a:pt x="4807" y="656"/>
                  </a:lnTo>
                  <a:lnTo>
                    <a:pt x="4775" y="653"/>
                  </a:lnTo>
                  <a:lnTo>
                    <a:pt x="4751" y="656"/>
                  </a:lnTo>
                  <a:lnTo>
                    <a:pt x="4725" y="661"/>
                  </a:lnTo>
                  <a:lnTo>
                    <a:pt x="4702" y="665"/>
                  </a:lnTo>
                  <a:lnTo>
                    <a:pt x="4694" y="663"/>
                  </a:lnTo>
                  <a:lnTo>
                    <a:pt x="4688" y="660"/>
                  </a:lnTo>
                  <a:lnTo>
                    <a:pt x="4671" y="643"/>
                  </a:lnTo>
                  <a:lnTo>
                    <a:pt x="4653" y="628"/>
                  </a:lnTo>
                  <a:lnTo>
                    <a:pt x="4634" y="615"/>
                  </a:lnTo>
                  <a:lnTo>
                    <a:pt x="4614" y="605"/>
                  </a:lnTo>
                  <a:lnTo>
                    <a:pt x="4592" y="596"/>
                  </a:lnTo>
                  <a:lnTo>
                    <a:pt x="4570" y="589"/>
                  </a:lnTo>
                  <a:lnTo>
                    <a:pt x="4546" y="585"/>
                  </a:lnTo>
                  <a:lnTo>
                    <a:pt x="4521" y="584"/>
                  </a:lnTo>
                  <a:lnTo>
                    <a:pt x="4480" y="587"/>
                  </a:lnTo>
                  <a:lnTo>
                    <a:pt x="4462" y="590"/>
                  </a:lnTo>
                  <a:lnTo>
                    <a:pt x="4446" y="594"/>
                  </a:lnTo>
                  <a:lnTo>
                    <a:pt x="4416" y="607"/>
                  </a:lnTo>
                  <a:lnTo>
                    <a:pt x="4393" y="622"/>
                  </a:lnTo>
                  <a:lnTo>
                    <a:pt x="4373" y="640"/>
                  </a:lnTo>
                  <a:lnTo>
                    <a:pt x="4356" y="661"/>
                  </a:lnTo>
                  <a:lnTo>
                    <a:pt x="4343" y="683"/>
                  </a:lnTo>
                  <a:lnTo>
                    <a:pt x="4333" y="704"/>
                  </a:lnTo>
                  <a:lnTo>
                    <a:pt x="4317" y="749"/>
                  </a:lnTo>
                  <a:lnTo>
                    <a:pt x="4306" y="786"/>
                  </a:lnTo>
                  <a:lnTo>
                    <a:pt x="4293" y="812"/>
                  </a:lnTo>
                  <a:lnTo>
                    <a:pt x="4287" y="818"/>
                  </a:lnTo>
                  <a:lnTo>
                    <a:pt x="4276" y="819"/>
                  </a:lnTo>
                  <a:lnTo>
                    <a:pt x="4261" y="818"/>
                  </a:lnTo>
                  <a:lnTo>
                    <a:pt x="4242" y="819"/>
                  </a:lnTo>
                  <a:lnTo>
                    <a:pt x="4224" y="824"/>
                  </a:lnTo>
                  <a:lnTo>
                    <a:pt x="4207" y="832"/>
                  </a:lnTo>
                  <a:lnTo>
                    <a:pt x="4193" y="842"/>
                  </a:lnTo>
                  <a:lnTo>
                    <a:pt x="4180" y="854"/>
                  </a:lnTo>
                  <a:lnTo>
                    <a:pt x="4170" y="868"/>
                  </a:lnTo>
                  <a:lnTo>
                    <a:pt x="4162" y="885"/>
                  </a:lnTo>
                  <a:lnTo>
                    <a:pt x="4157" y="902"/>
                  </a:lnTo>
                  <a:close/>
                  <a:moveTo>
                    <a:pt x="5248" y="923"/>
                  </a:moveTo>
                  <a:lnTo>
                    <a:pt x="5243" y="933"/>
                  </a:lnTo>
                  <a:lnTo>
                    <a:pt x="5238" y="938"/>
                  </a:lnTo>
                  <a:lnTo>
                    <a:pt x="5227" y="942"/>
                  </a:lnTo>
                  <a:lnTo>
                    <a:pt x="4680" y="942"/>
                  </a:lnTo>
                  <a:lnTo>
                    <a:pt x="4135" y="942"/>
                  </a:lnTo>
                  <a:lnTo>
                    <a:pt x="4129" y="940"/>
                  </a:lnTo>
                  <a:lnTo>
                    <a:pt x="4123" y="936"/>
                  </a:lnTo>
                  <a:lnTo>
                    <a:pt x="4117" y="928"/>
                  </a:lnTo>
                  <a:lnTo>
                    <a:pt x="4116" y="920"/>
                  </a:lnTo>
                  <a:lnTo>
                    <a:pt x="4119" y="891"/>
                  </a:lnTo>
                  <a:lnTo>
                    <a:pt x="4128" y="864"/>
                  </a:lnTo>
                  <a:lnTo>
                    <a:pt x="4140" y="840"/>
                  </a:lnTo>
                  <a:lnTo>
                    <a:pt x="4158" y="819"/>
                  </a:lnTo>
                  <a:lnTo>
                    <a:pt x="4180" y="801"/>
                  </a:lnTo>
                  <a:lnTo>
                    <a:pt x="4205" y="789"/>
                  </a:lnTo>
                  <a:lnTo>
                    <a:pt x="4232" y="781"/>
                  </a:lnTo>
                  <a:lnTo>
                    <a:pt x="4261" y="777"/>
                  </a:lnTo>
                  <a:lnTo>
                    <a:pt x="4265" y="753"/>
                  </a:lnTo>
                  <a:lnTo>
                    <a:pt x="4270" y="730"/>
                  </a:lnTo>
                  <a:lnTo>
                    <a:pt x="4279" y="707"/>
                  </a:lnTo>
                  <a:lnTo>
                    <a:pt x="4288" y="686"/>
                  </a:lnTo>
                  <a:lnTo>
                    <a:pt x="4301" y="666"/>
                  </a:lnTo>
                  <a:lnTo>
                    <a:pt x="4314" y="647"/>
                  </a:lnTo>
                  <a:lnTo>
                    <a:pt x="4329" y="629"/>
                  </a:lnTo>
                  <a:lnTo>
                    <a:pt x="4346" y="612"/>
                  </a:lnTo>
                  <a:lnTo>
                    <a:pt x="4364" y="597"/>
                  </a:lnTo>
                  <a:lnTo>
                    <a:pt x="4383" y="584"/>
                  </a:lnTo>
                  <a:lnTo>
                    <a:pt x="4425" y="562"/>
                  </a:lnTo>
                  <a:lnTo>
                    <a:pt x="4448" y="555"/>
                  </a:lnTo>
                  <a:lnTo>
                    <a:pt x="4471" y="550"/>
                  </a:lnTo>
                  <a:lnTo>
                    <a:pt x="4496" y="546"/>
                  </a:lnTo>
                  <a:lnTo>
                    <a:pt x="4521" y="544"/>
                  </a:lnTo>
                  <a:lnTo>
                    <a:pt x="4548" y="546"/>
                  </a:lnTo>
                  <a:lnTo>
                    <a:pt x="4575" y="550"/>
                  </a:lnTo>
                  <a:lnTo>
                    <a:pt x="4625" y="565"/>
                  </a:lnTo>
                  <a:lnTo>
                    <a:pt x="4648" y="576"/>
                  </a:lnTo>
                  <a:lnTo>
                    <a:pt x="4670" y="590"/>
                  </a:lnTo>
                  <a:lnTo>
                    <a:pt x="4689" y="606"/>
                  </a:lnTo>
                  <a:lnTo>
                    <a:pt x="4709" y="622"/>
                  </a:lnTo>
                  <a:lnTo>
                    <a:pt x="4741" y="615"/>
                  </a:lnTo>
                  <a:lnTo>
                    <a:pt x="4775" y="612"/>
                  </a:lnTo>
                  <a:lnTo>
                    <a:pt x="4810" y="615"/>
                  </a:lnTo>
                  <a:lnTo>
                    <a:pt x="4827" y="619"/>
                  </a:lnTo>
                  <a:lnTo>
                    <a:pt x="4842" y="622"/>
                  </a:lnTo>
                  <a:lnTo>
                    <a:pt x="4873" y="635"/>
                  </a:lnTo>
                  <a:lnTo>
                    <a:pt x="4901" y="651"/>
                  </a:lnTo>
                  <a:lnTo>
                    <a:pt x="4927" y="671"/>
                  </a:lnTo>
                  <a:lnTo>
                    <a:pt x="4950" y="694"/>
                  </a:lnTo>
                  <a:lnTo>
                    <a:pt x="4969" y="720"/>
                  </a:lnTo>
                  <a:lnTo>
                    <a:pt x="4984" y="749"/>
                  </a:lnTo>
                  <a:lnTo>
                    <a:pt x="5005" y="738"/>
                  </a:lnTo>
                  <a:lnTo>
                    <a:pt x="5028" y="729"/>
                  </a:lnTo>
                  <a:lnTo>
                    <a:pt x="5052" y="722"/>
                  </a:lnTo>
                  <a:lnTo>
                    <a:pt x="5077" y="721"/>
                  </a:lnTo>
                  <a:lnTo>
                    <a:pt x="5112" y="725"/>
                  </a:lnTo>
                  <a:lnTo>
                    <a:pt x="5128" y="729"/>
                  </a:lnTo>
                  <a:lnTo>
                    <a:pt x="5145" y="734"/>
                  </a:lnTo>
                  <a:lnTo>
                    <a:pt x="5174" y="750"/>
                  </a:lnTo>
                  <a:lnTo>
                    <a:pt x="5200" y="771"/>
                  </a:lnTo>
                  <a:lnTo>
                    <a:pt x="5210" y="784"/>
                  </a:lnTo>
                  <a:lnTo>
                    <a:pt x="5220" y="796"/>
                  </a:lnTo>
                  <a:lnTo>
                    <a:pt x="5229" y="810"/>
                  </a:lnTo>
                  <a:lnTo>
                    <a:pt x="5237" y="826"/>
                  </a:lnTo>
                  <a:lnTo>
                    <a:pt x="5247" y="858"/>
                  </a:lnTo>
                  <a:lnTo>
                    <a:pt x="5250" y="892"/>
                  </a:lnTo>
                  <a:lnTo>
                    <a:pt x="5250" y="908"/>
                  </a:lnTo>
                  <a:lnTo>
                    <a:pt x="5248" y="923"/>
                  </a:lnTo>
                  <a:close/>
                  <a:moveTo>
                    <a:pt x="4239" y="2494"/>
                  </a:moveTo>
                  <a:lnTo>
                    <a:pt x="4239" y="2607"/>
                  </a:lnTo>
                  <a:lnTo>
                    <a:pt x="4238" y="2616"/>
                  </a:lnTo>
                  <a:lnTo>
                    <a:pt x="4233" y="2622"/>
                  </a:lnTo>
                  <a:lnTo>
                    <a:pt x="4226" y="2626"/>
                  </a:lnTo>
                  <a:lnTo>
                    <a:pt x="4219" y="2627"/>
                  </a:lnTo>
                  <a:lnTo>
                    <a:pt x="4212" y="2626"/>
                  </a:lnTo>
                  <a:lnTo>
                    <a:pt x="4206" y="2622"/>
                  </a:lnTo>
                  <a:lnTo>
                    <a:pt x="4201" y="2616"/>
                  </a:lnTo>
                  <a:lnTo>
                    <a:pt x="4199" y="2607"/>
                  </a:lnTo>
                  <a:lnTo>
                    <a:pt x="4199" y="2494"/>
                  </a:lnTo>
                  <a:lnTo>
                    <a:pt x="4201" y="2487"/>
                  </a:lnTo>
                  <a:lnTo>
                    <a:pt x="4206" y="2480"/>
                  </a:lnTo>
                  <a:lnTo>
                    <a:pt x="4212" y="2477"/>
                  </a:lnTo>
                  <a:lnTo>
                    <a:pt x="4219" y="2475"/>
                  </a:lnTo>
                  <a:lnTo>
                    <a:pt x="4226" y="2477"/>
                  </a:lnTo>
                  <a:lnTo>
                    <a:pt x="4233" y="2480"/>
                  </a:lnTo>
                  <a:lnTo>
                    <a:pt x="4238" y="2487"/>
                  </a:lnTo>
                  <a:lnTo>
                    <a:pt x="4239" y="2494"/>
                  </a:lnTo>
                  <a:close/>
                  <a:moveTo>
                    <a:pt x="4502" y="2494"/>
                  </a:moveTo>
                  <a:lnTo>
                    <a:pt x="4502" y="2607"/>
                  </a:lnTo>
                  <a:lnTo>
                    <a:pt x="4501" y="2616"/>
                  </a:lnTo>
                  <a:lnTo>
                    <a:pt x="4496" y="2622"/>
                  </a:lnTo>
                  <a:lnTo>
                    <a:pt x="4489" y="2626"/>
                  </a:lnTo>
                  <a:lnTo>
                    <a:pt x="4483" y="2627"/>
                  </a:lnTo>
                  <a:lnTo>
                    <a:pt x="4475" y="2626"/>
                  </a:lnTo>
                  <a:lnTo>
                    <a:pt x="4469" y="2622"/>
                  </a:lnTo>
                  <a:lnTo>
                    <a:pt x="4464" y="2616"/>
                  </a:lnTo>
                  <a:lnTo>
                    <a:pt x="4462" y="2607"/>
                  </a:lnTo>
                  <a:lnTo>
                    <a:pt x="4462" y="2494"/>
                  </a:lnTo>
                  <a:lnTo>
                    <a:pt x="4464" y="2487"/>
                  </a:lnTo>
                  <a:lnTo>
                    <a:pt x="4469" y="2480"/>
                  </a:lnTo>
                  <a:lnTo>
                    <a:pt x="4475" y="2477"/>
                  </a:lnTo>
                  <a:lnTo>
                    <a:pt x="4483" y="2475"/>
                  </a:lnTo>
                  <a:lnTo>
                    <a:pt x="4489" y="2477"/>
                  </a:lnTo>
                  <a:lnTo>
                    <a:pt x="4496" y="2480"/>
                  </a:lnTo>
                  <a:lnTo>
                    <a:pt x="4501" y="2487"/>
                  </a:lnTo>
                  <a:lnTo>
                    <a:pt x="4502" y="2494"/>
                  </a:lnTo>
                  <a:close/>
                  <a:moveTo>
                    <a:pt x="4765" y="2494"/>
                  </a:moveTo>
                  <a:lnTo>
                    <a:pt x="4765" y="2607"/>
                  </a:lnTo>
                  <a:lnTo>
                    <a:pt x="4764" y="2616"/>
                  </a:lnTo>
                  <a:lnTo>
                    <a:pt x="4759" y="2622"/>
                  </a:lnTo>
                  <a:lnTo>
                    <a:pt x="4752" y="2626"/>
                  </a:lnTo>
                  <a:lnTo>
                    <a:pt x="4746" y="2627"/>
                  </a:lnTo>
                  <a:lnTo>
                    <a:pt x="4738" y="2626"/>
                  </a:lnTo>
                  <a:lnTo>
                    <a:pt x="4732" y="2622"/>
                  </a:lnTo>
                  <a:lnTo>
                    <a:pt x="4728" y="2616"/>
                  </a:lnTo>
                  <a:lnTo>
                    <a:pt x="4725" y="2607"/>
                  </a:lnTo>
                  <a:lnTo>
                    <a:pt x="4725" y="2494"/>
                  </a:lnTo>
                  <a:lnTo>
                    <a:pt x="4728" y="2487"/>
                  </a:lnTo>
                  <a:lnTo>
                    <a:pt x="4732" y="2480"/>
                  </a:lnTo>
                  <a:lnTo>
                    <a:pt x="4738" y="2477"/>
                  </a:lnTo>
                  <a:lnTo>
                    <a:pt x="4746" y="2475"/>
                  </a:lnTo>
                  <a:lnTo>
                    <a:pt x="4752" y="2477"/>
                  </a:lnTo>
                  <a:lnTo>
                    <a:pt x="4759" y="2480"/>
                  </a:lnTo>
                  <a:lnTo>
                    <a:pt x="4764" y="2487"/>
                  </a:lnTo>
                  <a:lnTo>
                    <a:pt x="4765" y="2494"/>
                  </a:lnTo>
                  <a:close/>
                  <a:moveTo>
                    <a:pt x="5029" y="2494"/>
                  </a:moveTo>
                  <a:lnTo>
                    <a:pt x="5029" y="2607"/>
                  </a:lnTo>
                  <a:lnTo>
                    <a:pt x="5027" y="2616"/>
                  </a:lnTo>
                  <a:lnTo>
                    <a:pt x="5023" y="2622"/>
                  </a:lnTo>
                  <a:lnTo>
                    <a:pt x="5016" y="2626"/>
                  </a:lnTo>
                  <a:lnTo>
                    <a:pt x="5009" y="2627"/>
                  </a:lnTo>
                  <a:lnTo>
                    <a:pt x="5001" y="2626"/>
                  </a:lnTo>
                  <a:lnTo>
                    <a:pt x="4994" y="2622"/>
                  </a:lnTo>
                  <a:lnTo>
                    <a:pt x="4991" y="2616"/>
                  </a:lnTo>
                  <a:lnTo>
                    <a:pt x="4988" y="2607"/>
                  </a:lnTo>
                  <a:lnTo>
                    <a:pt x="4988" y="2494"/>
                  </a:lnTo>
                  <a:lnTo>
                    <a:pt x="4991" y="2487"/>
                  </a:lnTo>
                  <a:lnTo>
                    <a:pt x="4994" y="2480"/>
                  </a:lnTo>
                  <a:lnTo>
                    <a:pt x="5001" y="2477"/>
                  </a:lnTo>
                  <a:lnTo>
                    <a:pt x="5009" y="2475"/>
                  </a:lnTo>
                  <a:lnTo>
                    <a:pt x="5016" y="2477"/>
                  </a:lnTo>
                  <a:lnTo>
                    <a:pt x="5023" y="2480"/>
                  </a:lnTo>
                  <a:lnTo>
                    <a:pt x="5027" y="2487"/>
                  </a:lnTo>
                  <a:lnTo>
                    <a:pt x="5029" y="2494"/>
                  </a:lnTo>
                  <a:close/>
                  <a:moveTo>
                    <a:pt x="5292" y="2494"/>
                  </a:moveTo>
                  <a:lnTo>
                    <a:pt x="5292" y="2607"/>
                  </a:lnTo>
                  <a:lnTo>
                    <a:pt x="5289" y="2616"/>
                  </a:lnTo>
                  <a:lnTo>
                    <a:pt x="5286" y="2622"/>
                  </a:lnTo>
                  <a:lnTo>
                    <a:pt x="5279" y="2626"/>
                  </a:lnTo>
                  <a:lnTo>
                    <a:pt x="5271" y="2627"/>
                  </a:lnTo>
                  <a:lnTo>
                    <a:pt x="5264" y="2626"/>
                  </a:lnTo>
                  <a:lnTo>
                    <a:pt x="5257" y="2622"/>
                  </a:lnTo>
                  <a:lnTo>
                    <a:pt x="5253" y="2616"/>
                  </a:lnTo>
                  <a:lnTo>
                    <a:pt x="5252" y="2607"/>
                  </a:lnTo>
                  <a:lnTo>
                    <a:pt x="5252" y="2494"/>
                  </a:lnTo>
                  <a:lnTo>
                    <a:pt x="5253" y="2487"/>
                  </a:lnTo>
                  <a:lnTo>
                    <a:pt x="5257" y="2480"/>
                  </a:lnTo>
                  <a:lnTo>
                    <a:pt x="5264" y="2477"/>
                  </a:lnTo>
                  <a:lnTo>
                    <a:pt x="5271" y="2475"/>
                  </a:lnTo>
                  <a:lnTo>
                    <a:pt x="5279" y="2477"/>
                  </a:lnTo>
                  <a:lnTo>
                    <a:pt x="5286" y="2480"/>
                  </a:lnTo>
                  <a:lnTo>
                    <a:pt x="5289" y="2487"/>
                  </a:lnTo>
                  <a:lnTo>
                    <a:pt x="5292" y="2494"/>
                  </a:lnTo>
                  <a:close/>
                  <a:moveTo>
                    <a:pt x="5555" y="2494"/>
                  </a:moveTo>
                  <a:lnTo>
                    <a:pt x="5555" y="2607"/>
                  </a:lnTo>
                  <a:lnTo>
                    <a:pt x="5554" y="2616"/>
                  </a:lnTo>
                  <a:lnTo>
                    <a:pt x="5548" y="2622"/>
                  </a:lnTo>
                  <a:lnTo>
                    <a:pt x="5542" y="2626"/>
                  </a:lnTo>
                  <a:lnTo>
                    <a:pt x="5534" y="2627"/>
                  </a:lnTo>
                  <a:lnTo>
                    <a:pt x="5528" y="2626"/>
                  </a:lnTo>
                  <a:lnTo>
                    <a:pt x="5521" y="2622"/>
                  </a:lnTo>
                  <a:lnTo>
                    <a:pt x="5516" y="2616"/>
                  </a:lnTo>
                  <a:lnTo>
                    <a:pt x="5515" y="2607"/>
                  </a:lnTo>
                  <a:lnTo>
                    <a:pt x="5515" y="2494"/>
                  </a:lnTo>
                  <a:lnTo>
                    <a:pt x="5516" y="2487"/>
                  </a:lnTo>
                  <a:lnTo>
                    <a:pt x="5521" y="2480"/>
                  </a:lnTo>
                  <a:lnTo>
                    <a:pt x="5528" y="2477"/>
                  </a:lnTo>
                  <a:lnTo>
                    <a:pt x="5534" y="2475"/>
                  </a:lnTo>
                  <a:lnTo>
                    <a:pt x="5542" y="2477"/>
                  </a:lnTo>
                  <a:lnTo>
                    <a:pt x="5548" y="2480"/>
                  </a:lnTo>
                  <a:lnTo>
                    <a:pt x="5554" y="2487"/>
                  </a:lnTo>
                  <a:lnTo>
                    <a:pt x="5555" y="2494"/>
                  </a:lnTo>
                  <a:close/>
                  <a:moveTo>
                    <a:pt x="4239" y="2741"/>
                  </a:moveTo>
                  <a:lnTo>
                    <a:pt x="4239" y="2854"/>
                  </a:lnTo>
                  <a:lnTo>
                    <a:pt x="4238" y="2863"/>
                  </a:lnTo>
                  <a:lnTo>
                    <a:pt x="4233" y="2869"/>
                  </a:lnTo>
                  <a:lnTo>
                    <a:pt x="4226" y="2873"/>
                  </a:lnTo>
                  <a:lnTo>
                    <a:pt x="4219" y="2874"/>
                  </a:lnTo>
                  <a:lnTo>
                    <a:pt x="4212" y="2873"/>
                  </a:lnTo>
                  <a:lnTo>
                    <a:pt x="4206" y="2869"/>
                  </a:lnTo>
                  <a:lnTo>
                    <a:pt x="4201" y="2863"/>
                  </a:lnTo>
                  <a:lnTo>
                    <a:pt x="4199" y="2854"/>
                  </a:lnTo>
                  <a:lnTo>
                    <a:pt x="4199" y="2741"/>
                  </a:lnTo>
                  <a:lnTo>
                    <a:pt x="4201" y="2732"/>
                  </a:lnTo>
                  <a:lnTo>
                    <a:pt x="4206" y="2727"/>
                  </a:lnTo>
                  <a:lnTo>
                    <a:pt x="4212" y="2723"/>
                  </a:lnTo>
                  <a:lnTo>
                    <a:pt x="4219" y="2722"/>
                  </a:lnTo>
                  <a:lnTo>
                    <a:pt x="4226" y="2723"/>
                  </a:lnTo>
                  <a:lnTo>
                    <a:pt x="4233" y="2727"/>
                  </a:lnTo>
                  <a:lnTo>
                    <a:pt x="4238" y="2732"/>
                  </a:lnTo>
                  <a:lnTo>
                    <a:pt x="4239" y="2741"/>
                  </a:lnTo>
                  <a:close/>
                  <a:moveTo>
                    <a:pt x="4502" y="2741"/>
                  </a:moveTo>
                  <a:lnTo>
                    <a:pt x="4502" y="2854"/>
                  </a:lnTo>
                  <a:lnTo>
                    <a:pt x="4501" y="2863"/>
                  </a:lnTo>
                  <a:lnTo>
                    <a:pt x="4496" y="2869"/>
                  </a:lnTo>
                  <a:lnTo>
                    <a:pt x="4489" y="2873"/>
                  </a:lnTo>
                  <a:lnTo>
                    <a:pt x="4483" y="2874"/>
                  </a:lnTo>
                  <a:lnTo>
                    <a:pt x="4475" y="2873"/>
                  </a:lnTo>
                  <a:lnTo>
                    <a:pt x="4469" y="2869"/>
                  </a:lnTo>
                  <a:lnTo>
                    <a:pt x="4464" y="2863"/>
                  </a:lnTo>
                  <a:lnTo>
                    <a:pt x="4462" y="2854"/>
                  </a:lnTo>
                  <a:lnTo>
                    <a:pt x="4462" y="2741"/>
                  </a:lnTo>
                  <a:lnTo>
                    <a:pt x="4464" y="2732"/>
                  </a:lnTo>
                  <a:lnTo>
                    <a:pt x="4469" y="2727"/>
                  </a:lnTo>
                  <a:lnTo>
                    <a:pt x="4475" y="2723"/>
                  </a:lnTo>
                  <a:lnTo>
                    <a:pt x="4483" y="2722"/>
                  </a:lnTo>
                  <a:lnTo>
                    <a:pt x="4489" y="2723"/>
                  </a:lnTo>
                  <a:lnTo>
                    <a:pt x="4496" y="2727"/>
                  </a:lnTo>
                  <a:lnTo>
                    <a:pt x="4501" y="2732"/>
                  </a:lnTo>
                  <a:lnTo>
                    <a:pt x="4502" y="2741"/>
                  </a:lnTo>
                  <a:close/>
                  <a:moveTo>
                    <a:pt x="4765" y="2741"/>
                  </a:moveTo>
                  <a:lnTo>
                    <a:pt x="4765" y="2854"/>
                  </a:lnTo>
                  <a:lnTo>
                    <a:pt x="4764" y="2863"/>
                  </a:lnTo>
                  <a:lnTo>
                    <a:pt x="4759" y="2869"/>
                  </a:lnTo>
                  <a:lnTo>
                    <a:pt x="4752" y="2873"/>
                  </a:lnTo>
                  <a:lnTo>
                    <a:pt x="4746" y="2874"/>
                  </a:lnTo>
                  <a:lnTo>
                    <a:pt x="4738" y="2873"/>
                  </a:lnTo>
                  <a:lnTo>
                    <a:pt x="4732" y="2869"/>
                  </a:lnTo>
                  <a:lnTo>
                    <a:pt x="4728" y="2863"/>
                  </a:lnTo>
                  <a:lnTo>
                    <a:pt x="4725" y="2854"/>
                  </a:lnTo>
                  <a:lnTo>
                    <a:pt x="4725" y="2741"/>
                  </a:lnTo>
                  <a:lnTo>
                    <a:pt x="4728" y="2732"/>
                  </a:lnTo>
                  <a:lnTo>
                    <a:pt x="4732" y="2727"/>
                  </a:lnTo>
                  <a:lnTo>
                    <a:pt x="4738" y="2723"/>
                  </a:lnTo>
                  <a:lnTo>
                    <a:pt x="4746" y="2722"/>
                  </a:lnTo>
                  <a:lnTo>
                    <a:pt x="4752" y="2723"/>
                  </a:lnTo>
                  <a:lnTo>
                    <a:pt x="4759" y="2727"/>
                  </a:lnTo>
                  <a:lnTo>
                    <a:pt x="4764" y="2732"/>
                  </a:lnTo>
                  <a:lnTo>
                    <a:pt x="4765" y="2741"/>
                  </a:lnTo>
                  <a:close/>
                  <a:moveTo>
                    <a:pt x="5029" y="2741"/>
                  </a:moveTo>
                  <a:lnTo>
                    <a:pt x="5029" y="2854"/>
                  </a:lnTo>
                  <a:lnTo>
                    <a:pt x="5027" y="2863"/>
                  </a:lnTo>
                  <a:lnTo>
                    <a:pt x="5023" y="2869"/>
                  </a:lnTo>
                  <a:lnTo>
                    <a:pt x="5016" y="2873"/>
                  </a:lnTo>
                  <a:lnTo>
                    <a:pt x="5009" y="2874"/>
                  </a:lnTo>
                  <a:lnTo>
                    <a:pt x="5001" y="2873"/>
                  </a:lnTo>
                  <a:lnTo>
                    <a:pt x="4994" y="2869"/>
                  </a:lnTo>
                  <a:lnTo>
                    <a:pt x="4991" y="2863"/>
                  </a:lnTo>
                  <a:lnTo>
                    <a:pt x="4988" y="2854"/>
                  </a:lnTo>
                  <a:lnTo>
                    <a:pt x="4988" y="2741"/>
                  </a:lnTo>
                  <a:lnTo>
                    <a:pt x="4991" y="2732"/>
                  </a:lnTo>
                  <a:lnTo>
                    <a:pt x="4994" y="2727"/>
                  </a:lnTo>
                  <a:lnTo>
                    <a:pt x="5001" y="2723"/>
                  </a:lnTo>
                  <a:lnTo>
                    <a:pt x="5009" y="2722"/>
                  </a:lnTo>
                  <a:lnTo>
                    <a:pt x="5016" y="2723"/>
                  </a:lnTo>
                  <a:lnTo>
                    <a:pt x="5023" y="2727"/>
                  </a:lnTo>
                  <a:lnTo>
                    <a:pt x="5027" y="2732"/>
                  </a:lnTo>
                  <a:lnTo>
                    <a:pt x="5029" y="2741"/>
                  </a:lnTo>
                  <a:close/>
                  <a:moveTo>
                    <a:pt x="5292" y="2741"/>
                  </a:moveTo>
                  <a:lnTo>
                    <a:pt x="5292" y="2854"/>
                  </a:lnTo>
                  <a:lnTo>
                    <a:pt x="5289" y="2863"/>
                  </a:lnTo>
                  <a:lnTo>
                    <a:pt x="5286" y="2869"/>
                  </a:lnTo>
                  <a:lnTo>
                    <a:pt x="5279" y="2873"/>
                  </a:lnTo>
                  <a:lnTo>
                    <a:pt x="5271" y="2874"/>
                  </a:lnTo>
                  <a:lnTo>
                    <a:pt x="5264" y="2873"/>
                  </a:lnTo>
                  <a:lnTo>
                    <a:pt x="5257" y="2869"/>
                  </a:lnTo>
                  <a:lnTo>
                    <a:pt x="5253" y="2863"/>
                  </a:lnTo>
                  <a:lnTo>
                    <a:pt x="5252" y="2854"/>
                  </a:lnTo>
                  <a:lnTo>
                    <a:pt x="5252" y="2741"/>
                  </a:lnTo>
                  <a:lnTo>
                    <a:pt x="5253" y="2732"/>
                  </a:lnTo>
                  <a:lnTo>
                    <a:pt x="5257" y="2727"/>
                  </a:lnTo>
                  <a:lnTo>
                    <a:pt x="5264" y="2723"/>
                  </a:lnTo>
                  <a:lnTo>
                    <a:pt x="5271" y="2722"/>
                  </a:lnTo>
                  <a:lnTo>
                    <a:pt x="5279" y="2723"/>
                  </a:lnTo>
                  <a:lnTo>
                    <a:pt x="5286" y="2727"/>
                  </a:lnTo>
                  <a:lnTo>
                    <a:pt x="5289" y="2732"/>
                  </a:lnTo>
                  <a:lnTo>
                    <a:pt x="5292" y="2741"/>
                  </a:lnTo>
                  <a:close/>
                  <a:moveTo>
                    <a:pt x="5555" y="2741"/>
                  </a:moveTo>
                  <a:lnTo>
                    <a:pt x="5555" y="2854"/>
                  </a:lnTo>
                  <a:lnTo>
                    <a:pt x="5554" y="2863"/>
                  </a:lnTo>
                  <a:lnTo>
                    <a:pt x="5548" y="2869"/>
                  </a:lnTo>
                  <a:lnTo>
                    <a:pt x="5542" y="2873"/>
                  </a:lnTo>
                  <a:lnTo>
                    <a:pt x="5534" y="2874"/>
                  </a:lnTo>
                  <a:lnTo>
                    <a:pt x="5528" y="2873"/>
                  </a:lnTo>
                  <a:lnTo>
                    <a:pt x="5521" y="2869"/>
                  </a:lnTo>
                  <a:lnTo>
                    <a:pt x="5516" y="2863"/>
                  </a:lnTo>
                  <a:lnTo>
                    <a:pt x="5515" y="2854"/>
                  </a:lnTo>
                  <a:lnTo>
                    <a:pt x="5515" y="2741"/>
                  </a:lnTo>
                  <a:lnTo>
                    <a:pt x="5516" y="2732"/>
                  </a:lnTo>
                  <a:lnTo>
                    <a:pt x="5521" y="2727"/>
                  </a:lnTo>
                  <a:lnTo>
                    <a:pt x="5528" y="2723"/>
                  </a:lnTo>
                  <a:lnTo>
                    <a:pt x="5534" y="2722"/>
                  </a:lnTo>
                  <a:lnTo>
                    <a:pt x="5542" y="2723"/>
                  </a:lnTo>
                  <a:lnTo>
                    <a:pt x="5548" y="2727"/>
                  </a:lnTo>
                  <a:lnTo>
                    <a:pt x="5554" y="2732"/>
                  </a:lnTo>
                  <a:lnTo>
                    <a:pt x="5555" y="2741"/>
                  </a:lnTo>
                  <a:close/>
                  <a:moveTo>
                    <a:pt x="4239" y="2988"/>
                  </a:moveTo>
                  <a:lnTo>
                    <a:pt x="4239" y="3101"/>
                  </a:lnTo>
                  <a:lnTo>
                    <a:pt x="4238" y="3109"/>
                  </a:lnTo>
                  <a:lnTo>
                    <a:pt x="4233" y="3115"/>
                  </a:lnTo>
                  <a:lnTo>
                    <a:pt x="4226" y="3118"/>
                  </a:lnTo>
                  <a:lnTo>
                    <a:pt x="4219" y="3120"/>
                  </a:lnTo>
                  <a:lnTo>
                    <a:pt x="4212" y="3118"/>
                  </a:lnTo>
                  <a:lnTo>
                    <a:pt x="4206" y="3115"/>
                  </a:lnTo>
                  <a:lnTo>
                    <a:pt x="4201" y="3109"/>
                  </a:lnTo>
                  <a:lnTo>
                    <a:pt x="4199" y="3101"/>
                  </a:lnTo>
                  <a:lnTo>
                    <a:pt x="4199" y="2988"/>
                  </a:lnTo>
                  <a:lnTo>
                    <a:pt x="4201" y="2979"/>
                  </a:lnTo>
                  <a:lnTo>
                    <a:pt x="4206" y="2973"/>
                  </a:lnTo>
                  <a:lnTo>
                    <a:pt x="4212" y="2970"/>
                  </a:lnTo>
                  <a:lnTo>
                    <a:pt x="4219" y="2969"/>
                  </a:lnTo>
                  <a:lnTo>
                    <a:pt x="4226" y="2970"/>
                  </a:lnTo>
                  <a:lnTo>
                    <a:pt x="4233" y="2973"/>
                  </a:lnTo>
                  <a:lnTo>
                    <a:pt x="4238" y="2979"/>
                  </a:lnTo>
                  <a:lnTo>
                    <a:pt x="4239" y="2988"/>
                  </a:lnTo>
                  <a:close/>
                  <a:moveTo>
                    <a:pt x="4502" y="2988"/>
                  </a:moveTo>
                  <a:lnTo>
                    <a:pt x="4502" y="3101"/>
                  </a:lnTo>
                  <a:lnTo>
                    <a:pt x="4501" y="3109"/>
                  </a:lnTo>
                  <a:lnTo>
                    <a:pt x="4496" y="3115"/>
                  </a:lnTo>
                  <a:lnTo>
                    <a:pt x="4489" y="3118"/>
                  </a:lnTo>
                  <a:lnTo>
                    <a:pt x="4483" y="3120"/>
                  </a:lnTo>
                  <a:lnTo>
                    <a:pt x="4475" y="3118"/>
                  </a:lnTo>
                  <a:lnTo>
                    <a:pt x="4469" y="3115"/>
                  </a:lnTo>
                  <a:lnTo>
                    <a:pt x="4464" y="3109"/>
                  </a:lnTo>
                  <a:lnTo>
                    <a:pt x="4462" y="3101"/>
                  </a:lnTo>
                  <a:lnTo>
                    <a:pt x="4462" y="2988"/>
                  </a:lnTo>
                  <a:lnTo>
                    <a:pt x="4464" y="2979"/>
                  </a:lnTo>
                  <a:lnTo>
                    <a:pt x="4469" y="2973"/>
                  </a:lnTo>
                  <a:lnTo>
                    <a:pt x="4475" y="2970"/>
                  </a:lnTo>
                  <a:lnTo>
                    <a:pt x="4483" y="2969"/>
                  </a:lnTo>
                  <a:lnTo>
                    <a:pt x="4489" y="2970"/>
                  </a:lnTo>
                  <a:lnTo>
                    <a:pt x="4496" y="2973"/>
                  </a:lnTo>
                  <a:lnTo>
                    <a:pt x="4501" y="2979"/>
                  </a:lnTo>
                  <a:lnTo>
                    <a:pt x="4502" y="2988"/>
                  </a:lnTo>
                  <a:close/>
                  <a:moveTo>
                    <a:pt x="4765" y="2988"/>
                  </a:moveTo>
                  <a:lnTo>
                    <a:pt x="4765" y="3101"/>
                  </a:lnTo>
                  <a:lnTo>
                    <a:pt x="4764" y="3109"/>
                  </a:lnTo>
                  <a:lnTo>
                    <a:pt x="4759" y="3115"/>
                  </a:lnTo>
                  <a:lnTo>
                    <a:pt x="4752" y="3118"/>
                  </a:lnTo>
                  <a:lnTo>
                    <a:pt x="4746" y="3120"/>
                  </a:lnTo>
                  <a:lnTo>
                    <a:pt x="4738" y="3118"/>
                  </a:lnTo>
                  <a:lnTo>
                    <a:pt x="4732" y="3115"/>
                  </a:lnTo>
                  <a:lnTo>
                    <a:pt x="4728" y="3109"/>
                  </a:lnTo>
                  <a:lnTo>
                    <a:pt x="4725" y="3101"/>
                  </a:lnTo>
                  <a:lnTo>
                    <a:pt x="4725" y="2988"/>
                  </a:lnTo>
                  <a:lnTo>
                    <a:pt x="4728" y="2979"/>
                  </a:lnTo>
                  <a:lnTo>
                    <a:pt x="4732" y="2973"/>
                  </a:lnTo>
                  <a:lnTo>
                    <a:pt x="4738" y="2970"/>
                  </a:lnTo>
                  <a:lnTo>
                    <a:pt x="4746" y="2969"/>
                  </a:lnTo>
                  <a:lnTo>
                    <a:pt x="4752" y="2970"/>
                  </a:lnTo>
                  <a:lnTo>
                    <a:pt x="4759" y="2973"/>
                  </a:lnTo>
                  <a:lnTo>
                    <a:pt x="4764" y="2979"/>
                  </a:lnTo>
                  <a:lnTo>
                    <a:pt x="4765" y="2988"/>
                  </a:lnTo>
                  <a:close/>
                  <a:moveTo>
                    <a:pt x="5029" y="2988"/>
                  </a:moveTo>
                  <a:lnTo>
                    <a:pt x="5029" y="3101"/>
                  </a:lnTo>
                  <a:lnTo>
                    <a:pt x="5027" y="3109"/>
                  </a:lnTo>
                  <a:lnTo>
                    <a:pt x="5023" y="3115"/>
                  </a:lnTo>
                  <a:lnTo>
                    <a:pt x="5016" y="3118"/>
                  </a:lnTo>
                  <a:lnTo>
                    <a:pt x="5009" y="3120"/>
                  </a:lnTo>
                  <a:lnTo>
                    <a:pt x="5001" y="3118"/>
                  </a:lnTo>
                  <a:lnTo>
                    <a:pt x="4994" y="3115"/>
                  </a:lnTo>
                  <a:lnTo>
                    <a:pt x="4991" y="3109"/>
                  </a:lnTo>
                  <a:lnTo>
                    <a:pt x="4988" y="3101"/>
                  </a:lnTo>
                  <a:lnTo>
                    <a:pt x="4988" y="2988"/>
                  </a:lnTo>
                  <a:lnTo>
                    <a:pt x="4991" y="2979"/>
                  </a:lnTo>
                  <a:lnTo>
                    <a:pt x="4994" y="2973"/>
                  </a:lnTo>
                  <a:lnTo>
                    <a:pt x="5001" y="2970"/>
                  </a:lnTo>
                  <a:lnTo>
                    <a:pt x="5009" y="2969"/>
                  </a:lnTo>
                  <a:lnTo>
                    <a:pt x="5016" y="2970"/>
                  </a:lnTo>
                  <a:lnTo>
                    <a:pt x="5023" y="2973"/>
                  </a:lnTo>
                  <a:lnTo>
                    <a:pt x="5027" y="2979"/>
                  </a:lnTo>
                  <a:lnTo>
                    <a:pt x="5029" y="2988"/>
                  </a:lnTo>
                  <a:close/>
                  <a:moveTo>
                    <a:pt x="5292" y="2988"/>
                  </a:moveTo>
                  <a:lnTo>
                    <a:pt x="5292" y="3101"/>
                  </a:lnTo>
                  <a:lnTo>
                    <a:pt x="5289" y="3109"/>
                  </a:lnTo>
                  <a:lnTo>
                    <a:pt x="5286" y="3115"/>
                  </a:lnTo>
                  <a:lnTo>
                    <a:pt x="5279" y="3118"/>
                  </a:lnTo>
                  <a:lnTo>
                    <a:pt x="5271" y="3120"/>
                  </a:lnTo>
                  <a:lnTo>
                    <a:pt x="5264" y="3118"/>
                  </a:lnTo>
                  <a:lnTo>
                    <a:pt x="5257" y="3115"/>
                  </a:lnTo>
                  <a:lnTo>
                    <a:pt x="5253" y="3109"/>
                  </a:lnTo>
                  <a:lnTo>
                    <a:pt x="5252" y="3101"/>
                  </a:lnTo>
                  <a:lnTo>
                    <a:pt x="5252" y="2988"/>
                  </a:lnTo>
                  <a:lnTo>
                    <a:pt x="5253" y="2979"/>
                  </a:lnTo>
                  <a:lnTo>
                    <a:pt x="5257" y="2973"/>
                  </a:lnTo>
                  <a:lnTo>
                    <a:pt x="5264" y="2970"/>
                  </a:lnTo>
                  <a:lnTo>
                    <a:pt x="5271" y="2969"/>
                  </a:lnTo>
                  <a:lnTo>
                    <a:pt x="5279" y="2970"/>
                  </a:lnTo>
                  <a:lnTo>
                    <a:pt x="5286" y="2973"/>
                  </a:lnTo>
                  <a:lnTo>
                    <a:pt x="5289" y="2979"/>
                  </a:lnTo>
                  <a:lnTo>
                    <a:pt x="5292" y="2988"/>
                  </a:lnTo>
                  <a:close/>
                  <a:moveTo>
                    <a:pt x="5555" y="2988"/>
                  </a:moveTo>
                  <a:lnTo>
                    <a:pt x="5555" y="3101"/>
                  </a:lnTo>
                  <a:lnTo>
                    <a:pt x="5554" y="3109"/>
                  </a:lnTo>
                  <a:lnTo>
                    <a:pt x="5548" y="3115"/>
                  </a:lnTo>
                  <a:lnTo>
                    <a:pt x="5542" y="3118"/>
                  </a:lnTo>
                  <a:lnTo>
                    <a:pt x="5534" y="3120"/>
                  </a:lnTo>
                  <a:lnTo>
                    <a:pt x="5528" y="3118"/>
                  </a:lnTo>
                  <a:lnTo>
                    <a:pt x="5521" y="3115"/>
                  </a:lnTo>
                  <a:lnTo>
                    <a:pt x="5516" y="3109"/>
                  </a:lnTo>
                  <a:lnTo>
                    <a:pt x="5515" y="3101"/>
                  </a:lnTo>
                  <a:lnTo>
                    <a:pt x="5515" y="2988"/>
                  </a:lnTo>
                  <a:lnTo>
                    <a:pt x="5516" y="2979"/>
                  </a:lnTo>
                  <a:lnTo>
                    <a:pt x="5521" y="2973"/>
                  </a:lnTo>
                  <a:lnTo>
                    <a:pt x="5528" y="2970"/>
                  </a:lnTo>
                  <a:lnTo>
                    <a:pt x="5534" y="2969"/>
                  </a:lnTo>
                  <a:lnTo>
                    <a:pt x="5542" y="2970"/>
                  </a:lnTo>
                  <a:lnTo>
                    <a:pt x="5548" y="2973"/>
                  </a:lnTo>
                  <a:lnTo>
                    <a:pt x="5554" y="2979"/>
                  </a:lnTo>
                  <a:lnTo>
                    <a:pt x="5555" y="2988"/>
                  </a:lnTo>
                  <a:close/>
                  <a:moveTo>
                    <a:pt x="4239" y="3235"/>
                  </a:moveTo>
                  <a:lnTo>
                    <a:pt x="4239" y="3347"/>
                  </a:lnTo>
                  <a:lnTo>
                    <a:pt x="4238" y="3355"/>
                  </a:lnTo>
                  <a:lnTo>
                    <a:pt x="4233" y="3361"/>
                  </a:lnTo>
                  <a:lnTo>
                    <a:pt x="4226" y="3365"/>
                  </a:lnTo>
                  <a:lnTo>
                    <a:pt x="4219" y="3367"/>
                  </a:lnTo>
                  <a:lnTo>
                    <a:pt x="4212" y="3365"/>
                  </a:lnTo>
                  <a:lnTo>
                    <a:pt x="4206" y="3361"/>
                  </a:lnTo>
                  <a:lnTo>
                    <a:pt x="4201" y="3355"/>
                  </a:lnTo>
                  <a:lnTo>
                    <a:pt x="4199" y="3347"/>
                  </a:lnTo>
                  <a:lnTo>
                    <a:pt x="4199" y="3235"/>
                  </a:lnTo>
                  <a:lnTo>
                    <a:pt x="4201" y="3226"/>
                  </a:lnTo>
                  <a:lnTo>
                    <a:pt x="4206" y="3219"/>
                  </a:lnTo>
                  <a:lnTo>
                    <a:pt x="4212" y="3216"/>
                  </a:lnTo>
                  <a:lnTo>
                    <a:pt x="4219" y="3214"/>
                  </a:lnTo>
                  <a:lnTo>
                    <a:pt x="4226" y="3216"/>
                  </a:lnTo>
                  <a:lnTo>
                    <a:pt x="4233" y="3219"/>
                  </a:lnTo>
                  <a:lnTo>
                    <a:pt x="4238" y="3226"/>
                  </a:lnTo>
                  <a:lnTo>
                    <a:pt x="4239" y="3235"/>
                  </a:lnTo>
                  <a:close/>
                  <a:moveTo>
                    <a:pt x="4502" y="3235"/>
                  </a:moveTo>
                  <a:lnTo>
                    <a:pt x="4502" y="3347"/>
                  </a:lnTo>
                  <a:lnTo>
                    <a:pt x="4501" y="3355"/>
                  </a:lnTo>
                  <a:lnTo>
                    <a:pt x="4496" y="3361"/>
                  </a:lnTo>
                  <a:lnTo>
                    <a:pt x="4489" y="3365"/>
                  </a:lnTo>
                  <a:lnTo>
                    <a:pt x="4483" y="3367"/>
                  </a:lnTo>
                  <a:lnTo>
                    <a:pt x="4475" y="3365"/>
                  </a:lnTo>
                  <a:lnTo>
                    <a:pt x="4469" y="3361"/>
                  </a:lnTo>
                  <a:lnTo>
                    <a:pt x="4464" y="3355"/>
                  </a:lnTo>
                  <a:lnTo>
                    <a:pt x="4462" y="3347"/>
                  </a:lnTo>
                  <a:lnTo>
                    <a:pt x="4462" y="3235"/>
                  </a:lnTo>
                  <a:lnTo>
                    <a:pt x="4464" y="3226"/>
                  </a:lnTo>
                  <a:lnTo>
                    <a:pt x="4469" y="3219"/>
                  </a:lnTo>
                  <a:lnTo>
                    <a:pt x="4475" y="3216"/>
                  </a:lnTo>
                  <a:lnTo>
                    <a:pt x="4483" y="3214"/>
                  </a:lnTo>
                  <a:lnTo>
                    <a:pt x="4489" y="3216"/>
                  </a:lnTo>
                  <a:lnTo>
                    <a:pt x="4496" y="3219"/>
                  </a:lnTo>
                  <a:lnTo>
                    <a:pt x="4501" y="3226"/>
                  </a:lnTo>
                  <a:lnTo>
                    <a:pt x="4502" y="3235"/>
                  </a:lnTo>
                  <a:close/>
                  <a:moveTo>
                    <a:pt x="4765" y="3235"/>
                  </a:moveTo>
                  <a:lnTo>
                    <a:pt x="4765" y="3347"/>
                  </a:lnTo>
                  <a:lnTo>
                    <a:pt x="4764" y="3355"/>
                  </a:lnTo>
                  <a:lnTo>
                    <a:pt x="4759" y="3361"/>
                  </a:lnTo>
                  <a:lnTo>
                    <a:pt x="4752" y="3365"/>
                  </a:lnTo>
                  <a:lnTo>
                    <a:pt x="4746" y="3367"/>
                  </a:lnTo>
                  <a:lnTo>
                    <a:pt x="4738" y="3365"/>
                  </a:lnTo>
                  <a:lnTo>
                    <a:pt x="4732" y="3361"/>
                  </a:lnTo>
                  <a:lnTo>
                    <a:pt x="4728" y="3355"/>
                  </a:lnTo>
                  <a:lnTo>
                    <a:pt x="4725" y="3347"/>
                  </a:lnTo>
                  <a:lnTo>
                    <a:pt x="4725" y="3235"/>
                  </a:lnTo>
                  <a:lnTo>
                    <a:pt x="4728" y="3226"/>
                  </a:lnTo>
                  <a:lnTo>
                    <a:pt x="4732" y="3219"/>
                  </a:lnTo>
                  <a:lnTo>
                    <a:pt x="4738" y="3216"/>
                  </a:lnTo>
                  <a:lnTo>
                    <a:pt x="4746" y="3214"/>
                  </a:lnTo>
                  <a:lnTo>
                    <a:pt x="4752" y="3216"/>
                  </a:lnTo>
                  <a:lnTo>
                    <a:pt x="4759" y="3219"/>
                  </a:lnTo>
                  <a:lnTo>
                    <a:pt x="4764" y="3226"/>
                  </a:lnTo>
                  <a:lnTo>
                    <a:pt x="4765" y="3235"/>
                  </a:lnTo>
                  <a:close/>
                  <a:moveTo>
                    <a:pt x="5029" y="3235"/>
                  </a:moveTo>
                  <a:lnTo>
                    <a:pt x="5029" y="3347"/>
                  </a:lnTo>
                  <a:lnTo>
                    <a:pt x="5027" y="3355"/>
                  </a:lnTo>
                  <a:lnTo>
                    <a:pt x="5023" y="3361"/>
                  </a:lnTo>
                  <a:lnTo>
                    <a:pt x="5016" y="3365"/>
                  </a:lnTo>
                  <a:lnTo>
                    <a:pt x="5009" y="3367"/>
                  </a:lnTo>
                  <a:lnTo>
                    <a:pt x="5001" y="3365"/>
                  </a:lnTo>
                  <a:lnTo>
                    <a:pt x="4994" y="3361"/>
                  </a:lnTo>
                  <a:lnTo>
                    <a:pt x="4991" y="3355"/>
                  </a:lnTo>
                  <a:lnTo>
                    <a:pt x="4988" y="3347"/>
                  </a:lnTo>
                  <a:lnTo>
                    <a:pt x="4988" y="3235"/>
                  </a:lnTo>
                  <a:lnTo>
                    <a:pt x="4991" y="3226"/>
                  </a:lnTo>
                  <a:lnTo>
                    <a:pt x="4994" y="3219"/>
                  </a:lnTo>
                  <a:lnTo>
                    <a:pt x="5001" y="3216"/>
                  </a:lnTo>
                  <a:lnTo>
                    <a:pt x="5009" y="3214"/>
                  </a:lnTo>
                  <a:lnTo>
                    <a:pt x="5016" y="3216"/>
                  </a:lnTo>
                  <a:lnTo>
                    <a:pt x="5023" y="3219"/>
                  </a:lnTo>
                  <a:lnTo>
                    <a:pt x="5027" y="3226"/>
                  </a:lnTo>
                  <a:lnTo>
                    <a:pt x="5029" y="3235"/>
                  </a:lnTo>
                  <a:close/>
                  <a:moveTo>
                    <a:pt x="5292" y="3235"/>
                  </a:moveTo>
                  <a:lnTo>
                    <a:pt x="5292" y="3347"/>
                  </a:lnTo>
                  <a:lnTo>
                    <a:pt x="5289" y="3355"/>
                  </a:lnTo>
                  <a:lnTo>
                    <a:pt x="5286" y="3361"/>
                  </a:lnTo>
                  <a:lnTo>
                    <a:pt x="5279" y="3365"/>
                  </a:lnTo>
                  <a:lnTo>
                    <a:pt x="5271" y="3367"/>
                  </a:lnTo>
                  <a:lnTo>
                    <a:pt x="5264" y="3365"/>
                  </a:lnTo>
                  <a:lnTo>
                    <a:pt x="5257" y="3361"/>
                  </a:lnTo>
                  <a:lnTo>
                    <a:pt x="5253" y="3355"/>
                  </a:lnTo>
                  <a:lnTo>
                    <a:pt x="5252" y="3347"/>
                  </a:lnTo>
                  <a:lnTo>
                    <a:pt x="5252" y="3235"/>
                  </a:lnTo>
                  <a:lnTo>
                    <a:pt x="5253" y="3226"/>
                  </a:lnTo>
                  <a:lnTo>
                    <a:pt x="5257" y="3219"/>
                  </a:lnTo>
                  <a:lnTo>
                    <a:pt x="5264" y="3216"/>
                  </a:lnTo>
                  <a:lnTo>
                    <a:pt x="5271" y="3214"/>
                  </a:lnTo>
                  <a:lnTo>
                    <a:pt x="5279" y="3216"/>
                  </a:lnTo>
                  <a:lnTo>
                    <a:pt x="5286" y="3219"/>
                  </a:lnTo>
                  <a:lnTo>
                    <a:pt x="5289" y="3226"/>
                  </a:lnTo>
                  <a:lnTo>
                    <a:pt x="5292" y="3235"/>
                  </a:lnTo>
                  <a:close/>
                  <a:moveTo>
                    <a:pt x="5555" y="3235"/>
                  </a:moveTo>
                  <a:lnTo>
                    <a:pt x="5555" y="3347"/>
                  </a:lnTo>
                  <a:lnTo>
                    <a:pt x="5554" y="3355"/>
                  </a:lnTo>
                  <a:lnTo>
                    <a:pt x="5548" y="3361"/>
                  </a:lnTo>
                  <a:lnTo>
                    <a:pt x="5542" y="3365"/>
                  </a:lnTo>
                  <a:lnTo>
                    <a:pt x="5534" y="3367"/>
                  </a:lnTo>
                  <a:lnTo>
                    <a:pt x="5528" y="3365"/>
                  </a:lnTo>
                  <a:lnTo>
                    <a:pt x="5521" y="3361"/>
                  </a:lnTo>
                  <a:lnTo>
                    <a:pt x="5516" y="3355"/>
                  </a:lnTo>
                  <a:lnTo>
                    <a:pt x="5515" y="3347"/>
                  </a:lnTo>
                  <a:lnTo>
                    <a:pt x="5515" y="3235"/>
                  </a:lnTo>
                  <a:lnTo>
                    <a:pt x="5516" y="3226"/>
                  </a:lnTo>
                  <a:lnTo>
                    <a:pt x="5521" y="3219"/>
                  </a:lnTo>
                  <a:lnTo>
                    <a:pt x="5528" y="3216"/>
                  </a:lnTo>
                  <a:lnTo>
                    <a:pt x="5534" y="3214"/>
                  </a:lnTo>
                  <a:lnTo>
                    <a:pt x="5542" y="3216"/>
                  </a:lnTo>
                  <a:lnTo>
                    <a:pt x="5548" y="3219"/>
                  </a:lnTo>
                  <a:lnTo>
                    <a:pt x="5554" y="3226"/>
                  </a:lnTo>
                  <a:lnTo>
                    <a:pt x="5555" y="3235"/>
                  </a:lnTo>
                  <a:close/>
                  <a:moveTo>
                    <a:pt x="3624" y="4034"/>
                  </a:moveTo>
                  <a:lnTo>
                    <a:pt x="3624" y="3864"/>
                  </a:lnTo>
                  <a:lnTo>
                    <a:pt x="3625" y="3856"/>
                  </a:lnTo>
                  <a:lnTo>
                    <a:pt x="3629" y="3851"/>
                  </a:lnTo>
                  <a:lnTo>
                    <a:pt x="3634" y="3847"/>
                  </a:lnTo>
                  <a:lnTo>
                    <a:pt x="3639" y="3845"/>
                  </a:lnTo>
                  <a:lnTo>
                    <a:pt x="3646" y="3845"/>
                  </a:lnTo>
                  <a:lnTo>
                    <a:pt x="3652" y="3846"/>
                  </a:lnTo>
                  <a:lnTo>
                    <a:pt x="3657" y="3849"/>
                  </a:lnTo>
                  <a:lnTo>
                    <a:pt x="3662" y="3854"/>
                  </a:lnTo>
                  <a:lnTo>
                    <a:pt x="3666" y="3860"/>
                  </a:lnTo>
                  <a:lnTo>
                    <a:pt x="3667" y="3869"/>
                  </a:lnTo>
                  <a:lnTo>
                    <a:pt x="3667" y="4034"/>
                  </a:lnTo>
                  <a:lnTo>
                    <a:pt x="3710" y="4029"/>
                  </a:lnTo>
                  <a:lnTo>
                    <a:pt x="3751" y="4021"/>
                  </a:lnTo>
                  <a:lnTo>
                    <a:pt x="3789" y="4010"/>
                  </a:lnTo>
                  <a:lnTo>
                    <a:pt x="3828" y="3994"/>
                  </a:lnTo>
                  <a:lnTo>
                    <a:pt x="3846" y="3985"/>
                  </a:lnTo>
                  <a:lnTo>
                    <a:pt x="3864" y="3975"/>
                  </a:lnTo>
                  <a:lnTo>
                    <a:pt x="3897" y="3953"/>
                  </a:lnTo>
                  <a:lnTo>
                    <a:pt x="3928" y="3928"/>
                  </a:lnTo>
                  <a:lnTo>
                    <a:pt x="3957" y="3901"/>
                  </a:lnTo>
                  <a:lnTo>
                    <a:pt x="3970" y="3886"/>
                  </a:lnTo>
                  <a:lnTo>
                    <a:pt x="3983" y="3870"/>
                  </a:lnTo>
                  <a:lnTo>
                    <a:pt x="4006" y="3838"/>
                  </a:lnTo>
                  <a:lnTo>
                    <a:pt x="4026" y="3804"/>
                  </a:lnTo>
                  <a:lnTo>
                    <a:pt x="4043" y="3767"/>
                  </a:lnTo>
                  <a:lnTo>
                    <a:pt x="4057" y="3728"/>
                  </a:lnTo>
                  <a:lnTo>
                    <a:pt x="4067" y="3689"/>
                  </a:lnTo>
                  <a:lnTo>
                    <a:pt x="4074" y="3648"/>
                  </a:lnTo>
                  <a:lnTo>
                    <a:pt x="4075" y="3604"/>
                  </a:lnTo>
                  <a:lnTo>
                    <a:pt x="4074" y="3569"/>
                  </a:lnTo>
                  <a:lnTo>
                    <a:pt x="4069" y="3533"/>
                  </a:lnTo>
                  <a:lnTo>
                    <a:pt x="4062" y="3498"/>
                  </a:lnTo>
                  <a:lnTo>
                    <a:pt x="4052" y="3464"/>
                  </a:lnTo>
                  <a:lnTo>
                    <a:pt x="4039" y="3432"/>
                  </a:lnTo>
                  <a:lnTo>
                    <a:pt x="4024" y="3401"/>
                  </a:lnTo>
                  <a:lnTo>
                    <a:pt x="4006" y="3372"/>
                  </a:lnTo>
                  <a:lnTo>
                    <a:pt x="3987" y="3343"/>
                  </a:lnTo>
                  <a:lnTo>
                    <a:pt x="3955" y="3308"/>
                  </a:lnTo>
                  <a:lnTo>
                    <a:pt x="3919" y="3276"/>
                  </a:lnTo>
                  <a:lnTo>
                    <a:pt x="3880" y="3248"/>
                  </a:lnTo>
                  <a:lnTo>
                    <a:pt x="3860" y="3236"/>
                  </a:lnTo>
                  <a:lnTo>
                    <a:pt x="3839" y="3225"/>
                  </a:lnTo>
                  <a:lnTo>
                    <a:pt x="3817" y="3214"/>
                  </a:lnTo>
                  <a:lnTo>
                    <a:pt x="3794" y="3205"/>
                  </a:lnTo>
                  <a:lnTo>
                    <a:pt x="3748" y="3191"/>
                  </a:lnTo>
                  <a:lnTo>
                    <a:pt x="3699" y="3184"/>
                  </a:lnTo>
                  <a:lnTo>
                    <a:pt x="3674" y="3181"/>
                  </a:lnTo>
                  <a:lnTo>
                    <a:pt x="3648" y="3180"/>
                  </a:lnTo>
                  <a:lnTo>
                    <a:pt x="3604" y="3182"/>
                  </a:lnTo>
                  <a:lnTo>
                    <a:pt x="3562" y="3189"/>
                  </a:lnTo>
                  <a:lnTo>
                    <a:pt x="3521" y="3200"/>
                  </a:lnTo>
                  <a:lnTo>
                    <a:pt x="3481" y="3214"/>
                  </a:lnTo>
                  <a:lnTo>
                    <a:pt x="3443" y="3232"/>
                  </a:lnTo>
                  <a:lnTo>
                    <a:pt x="3408" y="3254"/>
                  </a:lnTo>
                  <a:lnTo>
                    <a:pt x="3375" y="3278"/>
                  </a:lnTo>
                  <a:lnTo>
                    <a:pt x="3344" y="3306"/>
                  </a:lnTo>
                  <a:lnTo>
                    <a:pt x="3316" y="3337"/>
                  </a:lnTo>
                  <a:lnTo>
                    <a:pt x="3292" y="3369"/>
                  </a:lnTo>
                  <a:lnTo>
                    <a:pt x="3270" y="3405"/>
                  </a:lnTo>
                  <a:lnTo>
                    <a:pt x="3252" y="3443"/>
                  </a:lnTo>
                  <a:lnTo>
                    <a:pt x="3238" y="3482"/>
                  </a:lnTo>
                  <a:lnTo>
                    <a:pt x="3226" y="3524"/>
                  </a:lnTo>
                  <a:lnTo>
                    <a:pt x="3220" y="3566"/>
                  </a:lnTo>
                  <a:lnTo>
                    <a:pt x="3219" y="3609"/>
                  </a:lnTo>
                  <a:lnTo>
                    <a:pt x="3220" y="3647"/>
                  </a:lnTo>
                  <a:lnTo>
                    <a:pt x="3224" y="3682"/>
                  </a:lnTo>
                  <a:lnTo>
                    <a:pt x="3231" y="3717"/>
                  </a:lnTo>
                  <a:lnTo>
                    <a:pt x="3242" y="3750"/>
                  </a:lnTo>
                  <a:lnTo>
                    <a:pt x="3254" y="3783"/>
                  </a:lnTo>
                  <a:lnTo>
                    <a:pt x="3270" y="3814"/>
                  </a:lnTo>
                  <a:lnTo>
                    <a:pt x="3288" y="3843"/>
                  </a:lnTo>
                  <a:lnTo>
                    <a:pt x="3307" y="3872"/>
                  </a:lnTo>
                  <a:lnTo>
                    <a:pt x="3336" y="3905"/>
                  </a:lnTo>
                  <a:lnTo>
                    <a:pt x="3370" y="3936"/>
                  </a:lnTo>
                  <a:lnTo>
                    <a:pt x="3388" y="3950"/>
                  </a:lnTo>
                  <a:lnTo>
                    <a:pt x="3407" y="3962"/>
                  </a:lnTo>
                  <a:lnTo>
                    <a:pt x="3445" y="3985"/>
                  </a:lnTo>
                  <a:lnTo>
                    <a:pt x="3487" y="4005"/>
                  </a:lnTo>
                  <a:lnTo>
                    <a:pt x="3531" y="4019"/>
                  </a:lnTo>
                  <a:lnTo>
                    <a:pt x="3576" y="4029"/>
                  </a:lnTo>
                  <a:lnTo>
                    <a:pt x="3624" y="4034"/>
                  </a:lnTo>
                  <a:close/>
                  <a:moveTo>
                    <a:pt x="3628" y="4333"/>
                  </a:moveTo>
                  <a:lnTo>
                    <a:pt x="3625" y="4328"/>
                  </a:lnTo>
                  <a:lnTo>
                    <a:pt x="3624" y="4320"/>
                  </a:lnTo>
                  <a:lnTo>
                    <a:pt x="3624" y="4079"/>
                  </a:lnTo>
                  <a:lnTo>
                    <a:pt x="3571" y="4072"/>
                  </a:lnTo>
                  <a:lnTo>
                    <a:pt x="3521" y="4062"/>
                  </a:lnTo>
                  <a:lnTo>
                    <a:pt x="3472" y="4045"/>
                  </a:lnTo>
                  <a:lnTo>
                    <a:pt x="3449" y="4035"/>
                  </a:lnTo>
                  <a:lnTo>
                    <a:pt x="3428" y="4024"/>
                  </a:lnTo>
                  <a:lnTo>
                    <a:pt x="3384" y="3998"/>
                  </a:lnTo>
                  <a:lnTo>
                    <a:pt x="3363" y="3984"/>
                  </a:lnTo>
                  <a:lnTo>
                    <a:pt x="3344" y="3967"/>
                  </a:lnTo>
                  <a:lnTo>
                    <a:pt x="3326" y="3951"/>
                  </a:lnTo>
                  <a:lnTo>
                    <a:pt x="3308" y="3934"/>
                  </a:lnTo>
                  <a:lnTo>
                    <a:pt x="3292" y="3915"/>
                  </a:lnTo>
                  <a:lnTo>
                    <a:pt x="3276" y="3896"/>
                  </a:lnTo>
                  <a:lnTo>
                    <a:pt x="3253" y="3865"/>
                  </a:lnTo>
                  <a:lnTo>
                    <a:pt x="3233" y="3832"/>
                  </a:lnTo>
                  <a:lnTo>
                    <a:pt x="3216" y="3797"/>
                  </a:lnTo>
                  <a:lnTo>
                    <a:pt x="3201" y="3762"/>
                  </a:lnTo>
                  <a:lnTo>
                    <a:pt x="3189" y="3725"/>
                  </a:lnTo>
                  <a:lnTo>
                    <a:pt x="3181" y="3686"/>
                  </a:lnTo>
                  <a:lnTo>
                    <a:pt x="3176" y="3645"/>
                  </a:lnTo>
                  <a:lnTo>
                    <a:pt x="3174" y="3604"/>
                  </a:lnTo>
                  <a:lnTo>
                    <a:pt x="3176" y="3557"/>
                  </a:lnTo>
                  <a:lnTo>
                    <a:pt x="3184" y="3510"/>
                  </a:lnTo>
                  <a:lnTo>
                    <a:pt x="3189" y="3488"/>
                  </a:lnTo>
                  <a:lnTo>
                    <a:pt x="3195" y="3465"/>
                  </a:lnTo>
                  <a:lnTo>
                    <a:pt x="3211" y="3423"/>
                  </a:lnTo>
                  <a:lnTo>
                    <a:pt x="3231" y="3382"/>
                  </a:lnTo>
                  <a:lnTo>
                    <a:pt x="3254" y="3342"/>
                  </a:lnTo>
                  <a:lnTo>
                    <a:pt x="3281" y="3306"/>
                  </a:lnTo>
                  <a:lnTo>
                    <a:pt x="3297" y="3290"/>
                  </a:lnTo>
                  <a:lnTo>
                    <a:pt x="3312" y="3273"/>
                  </a:lnTo>
                  <a:lnTo>
                    <a:pt x="3345" y="3242"/>
                  </a:lnTo>
                  <a:lnTo>
                    <a:pt x="3363" y="3228"/>
                  </a:lnTo>
                  <a:lnTo>
                    <a:pt x="3381" y="3216"/>
                  </a:lnTo>
                  <a:lnTo>
                    <a:pt x="3420" y="3193"/>
                  </a:lnTo>
                  <a:lnTo>
                    <a:pt x="3440" y="3182"/>
                  </a:lnTo>
                  <a:lnTo>
                    <a:pt x="3462" y="3172"/>
                  </a:lnTo>
                  <a:lnTo>
                    <a:pt x="3483" y="3164"/>
                  </a:lnTo>
                  <a:lnTo>
                    <a:pt x="3504" y="3157"/>
                  </a:lnTo>
                  <a:lnTo>
                    <a:pt x="3528" y="3150"/>
                  </a:lnTo>
                  <a:lnTo>
                    <a:pt x="3549" y="3145"/>
                  </a:lnTo>
                  <a:lnTo>
                    <a:pt x="3597" y="3138"/>
                  </a:lnTo>
                  <a:lnTo>
                    <a:pt x="3644" y="3135"/>
                  </a:lnTo>
                  <a:lnTo>
                    <a:pt x="3701" y="3139"/>
                  </a:lnTo>
                  <a:lnTo>
                    <a:pt x="3728" y="3143"/>
                  </a:lnTo>
                  <a:lnTo>
                    <a:pt x="3755" y="3149"/>
                  </a:lnTo>
                  <a:lnTo>
                    <a:pt x="3781" y="3156"/>
                  </a:lnTo>
                  <a:lnTo>
                    <a:pt x="3807" y="3164"/>
                  </a:lnTo>
                  <a:lnTo>
                    <a:pt x="3831" y="3175"/>
                  </a:lnTo>
                  <a:lnTo>
                    <a:pt x="3856" y="3185"/>
                  </a:lnTo>
                  <a:lnTo>
                    <a:pt x="3902" y="3212"/>
                  </a:lnTo>
                  <a:lnTo>
                    <a:pt x="3944" y="3242"/>
                  </a:lnTo>
                  <a:lnTo>
                    <a:pt x="3965" y="3260"/>
                  </a:lnTo>
                  <a:lnTo>
                    <a:pt x="3983" y="3278"/>
                  </a:lnTo>
                  <a:lnTo>
                    <a:pt x="4001" y="3299"/>
                  </a:lnTo>
                  <a:lnTo>
                    <a:pt x="4017" y="3318"/>
                  </a:lnTo>
                  <a:lnTo>
                    <a:pt x="4040" y="3350"/>
                  </a:lnTo>
                  <a:lnTo>
                    <a:pt x="4060" y="3382"/>
                  </a:lnTo>
                  <a:lnTo>
                    <a:pt x="4078" y="3416"/>
                  </a:lnTo>
                  <a:lnTo>
                    <a:pt x="4092" y="3453"/>
                  </a:lnTo>
                  <a:lnTo>
                    <a:pt x="4103" y="3491"/>
                  </a:lnTo>
                  <a:lnTo>
                    <a:pt x="4112" y="3529"/>
                  </a:lnTo>
                  <a:lnTo>
                    <a:pt x="4117" y="3569"/>
                  </a:lnTo>
                  <a:lnTo>
                    <a:pt x="4119" y="3609"/>
                  </a:lnTo>
                  <a:lnTo>
                    <a:pt x="4117" y="3657"/>
                  </a:lnTo>
                  <a:lnTo>
                    <a:pt x="4110" y="3702"/>
                  </a:lnTo>
                  <a:lnTo>
                    <a:pt x="4105" y="3725"/>
                  </a:lnTo>
                  <a:lnTo>
                    <a:pt x="4099" y="3746"/>
                  </a:lnTo>
                  <a:lnTo>
                    <a:pt x="4084" y="3788"/>
                  </a:lnTo>
                  <a:lnTo>
                    <a:pt x="4075" y="3809"/>
                  </a:lnTo>
                  <a:lnTo>
                    <a:pt x="4065" y="3828"/>
                  </a:lnTo>
                  <a:lnTo>
                    <a:pt x="4043" y="3866"/>
                  </a:lnTo>
                  <a:lnTo>
                    <a:pt x="4016" y="3902"/>
                  </a:lnTo>
                  <a:lnTo>
                    <a:pt x="3988" y="3936"/>
                  </a:lnTo>
                  <a:lnTo>
                    <a:pt x="3956" y="3965"/>
                  </a:lnTo>
                  <a:lnTo>
                    <a:pt x="3921" y="3993"/>
                  </a:lnTo>
                  <a:lnTo>
                    <a:pt x="3884" y="4016"/>
                  </a:lnTo>
                  <a:lnTo>
                    <a:pt x="3844" y="4037"/>
                  </a:lnTo>
                  <a:lnTo>
                    <a:pt x="3802" y="4053"/>
                  </a:lnTo>
                  <a:lnTo>
                    <a:pt x="3760" y="4066"/>
                  </a:lnTo>
                  <a:lnTo>
                    <a:pt x="3715" y="4075"/>
                  </a:lnTo>
                  <a:lnTo>
                    <a:pt x="3667" y="4079"/>
                  </a:lnTo>
                  <a:lnTo>
                    <a:pt x="3667" y="4336"/>
                  </a:lnTo>
                  <a:lnTo>
                    <a:pt x="3666" y="4345"/>
                  </a:lnTo>
                  <a:lnTo>
                    <a:pt x="3661" y="4351"/>
                  </a:lnTo>
                  <a:lnTo>
                    <a:pt x="3654" y="4355"/>
                  </a:lnTo>
                  <a:lnTo>
                    <a:pt x="3648" y="4356"/>
                  </a:lnTo>
                  <a:lnTo>
                    <a:pt x="3640" y="4355"/>
                  </a:lnTo>
                  <a:lnTo>
                    <a:pt x="3634" y="4351"/>
                  </a:lnTo>
                  <a:lnTo>
                    <a:pt x="3629" y="4345"/>
                  </a:lnTo>
                  <a:lnTo>
                    <a:pt x="3628" y="4336"/>
                  </a:lnTo>
                  <a:lnTo>
                    <a:pt x="3628" y="4333"/>
                  </a:lnTo>
                  <a:close/>
                </a:path>
              </a:pathLst>
            </a:custGeom>
            <a:solidFill>
              <a:srgbClr val="FF6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12">
              <a:extLst>
                <a:ext uri="{FF2B5EF4-FFF2-40B4-BE49-F238E27FC236}">
                  <a16:creationId xmlns:a16="http://schemas.microsoft.com/office/drawing/2014/main" id="{D1B949EF-E873-4EC8-9984-717CF3B6E746}"/>
                </a:ext>
              </a:extLst>
            </p:cNvPr>
            <p:cNvSpPr>
              <a:spLocks noChangeAspect="1" noEditPoints="1"/>
            </p:cNvSpPr>
            <p:nvPr userDrawn="1"/>
          </p:nvSpPr>
          <p:spPr bwMode="black">
            <a:xfrm>
              <a:off x="5610994" y="5177099"/>
              <a:ext cx="193514" cy="216000"/>
            </a:xfrm>
            <a:custGeom>
              <a:avLst/>
              <a:gdLst>
                <a:gd name="T0" fmla="*/ 2964 w 3578"/>
                <a:gd name="T1" fmla="*/ 3151 h 3996"/>
                <a:gd name="T2" fmla="*/ 2988 w 3578"/>
                <a:gd name="T3" fmla="*/ 3131 h 3996"/>
                <a:gd name="T4" fmla="*/ 3002 w 3578"/>
                <a:gd name="T5" fmla="*/ 3095 h 3996"/>
                <a:gd name="T6" fmla="*/ 2998 w 3578"/>
                <a:gd name="T7" fmla="*/ 3052 h 3996"/>
                <a:gd name="T8" fmla="*/ 2570 w 3578"/>
                <a:gd name="T9" fmla="*/ 2480 h 3996"/>
                <a:gd name="T10" fmla="*/ 2976 w 3578"/>
                <a:gd name="T11" fmla="*/ 956 h 3996"/>
                <a:gd name="T12" fmla="*/ 2988 w 3578"/>
                <a:gd name="T13" fmla="*/ 917 h 3996"/>
                <a:gd name="T14" fmla="*/ 2981 w 3578"/>
                <a:gd name="T15" fmla="*/ 878 h 3996"/>
                <a:gd name="T16" fmla="*/ 2961 w 3578"/>
                <a:gd name="T17" fmla="*/ 853 h 3996"/>
                <a:gd name="T18" fmla="*/ 2936 w 3578"/>
                <a:gd name="T19" fmla="*/ 840 h 3996"/>
                <a:gd name="T20" fmla="*/ 2275 w 3578"/>
                <a:gd name="T21" fmla="*/ 835 h 3996"/>
                <a:gd name="T22" fmla="*/ 2209 w 3578"/>
                <a:gd name="T23" fmla="*/ 845 h 3996"/>
                <a:gd name="T24" fmla="*/ 2160 w 3578"/>
                <a:gd name="T25" fmla="*/ 872 h 3996"/>
                <a:gd name="T26" fmla="*/ 2119 w 3578"/>
                <a:gd name="T27" fmla="*/ 915 h 3996"/>
                <a:gd name="T28" fmla="*/ 1365 w 3578"/>
                <a:gd name="T29" fmla="*/ 931 h 3996"/>
                <a:gd name="T30" fmla="*/ 1356 w 3578"/>
                <a:gd name="T31" fmla="*/ 884 h 3996"/>
                <a:gd name="T32" fmla="*/ 1325 w 3578"/>
                <a:gd name="T33" fmla="*/ 851 h 3996"/>
                <a:gd name="T34" fmla="*/ 1280 w 3578"/>
                <a:gd name="T35" fmla="*/ 835 h 3996"/>
                <a:gd name="T36" fmla="*/ 664 w 3578"/>
                <a:gd name="T37" fmla="*/ 840 h 3996"/>
                <a:gd name="T38" fmla="*/ 625 w 3578"/>
                <a:gd name="T39" fmla="*/ 862 h 3996"/>
                <a:gd name="T40" fmla="*/ 602 w 3578"/>
                <a:gd name="T41" fmla="*/ 902 h 3996"/>
                <a:gd name="T42" fmla="*/ 598 w 3578"/>
                <a:gd name="T43" fmla="*/ 1998 h 3996"/>
                <a:gd name="T44" fmla="*/ 602 w 3578"/>
                <a:gd name="T45" fmla="*/ 3094 h 3996"/>
                <a:gd name="T46" fmla="*/ 625 w 3578"/>
                <a:gd name="T47" fmla="*/ 3133 h 3996"/>
                <a:gd name="T48" fmla="*/ 664 w 3578"/>
                <a:gd name="T49" fmla="*/ 3156 h 3996"/>
                <a:gd name="T50" fmla="*/ 1280 w 3578"/>
                <a:gd name="T51" fmla="*/ 3160 h 3996"/>
                <a:gd name="T52" fmla="*/ 1325 w 3578"/>
                <a:gd name="T53" fmla="*/ 3144 h 3996"/>
                <a:gd name="T54" fmla="*/ 1356 w 3578"/>
                <a:gd name="T55" fmla="*/ 3111 h 3996"/>
                <a:gd name="T56" fmla="*/ 1365 w 3578"/>
                <a:gd name="T57" fmla="*/ 3064 h 3996"/>
                <a:gd name="T58" fmla="*/ 2119 w 3578"/>
                <a:gd name="T59" fmla="*/ 3080 h 3996"/>
                <a:gd name="T60" fmla="*/ 2160 w 3578"/>
                <a:gd name="T61" fmla="*/ 3123 h 3996"/>
                <a:gd name="T62" fmla="*/ 2209 w 3578"/>
                <a:gd name="T63" fmla="*/ 3151 h 3996"/>
                <a:gd name="T64" fmla="*/ 2275 w 3578"/>
                <a:gd name="T65" fmla="*/ 3160 h 3996"/>
                <a:gd name="T66" fmla="*/ 4 w 3578"/>
                <a:gd name="T67" fmla="*/ 3929 h 3996"/>
                <a:gd name="T68" fmla="*/ 27 w 3578"/>
                <a:gd name="T69" fmla="*/ 3968 h 3996"/>
                <a:gd name="T70" fmla="*/ 66 w 3578"/>
                <a:gd name="T71" fmla="*/ 3991 h 3996"/>
                <a:gd name="T72" fmla="*/ 1789 w 3578"/>
                <a:gd name="T73" fmla="*/ 3996 h 3996"/>
                <a:gd name="T74" fmla="*/ 3512 w 3578"/>
                <a:gd name="T75" fmla="*/ 3991 h 3996"/>
                <a:gd name="T76" fmla="*/ 3552 w 3578"/>
                <a:gd name="T77" fmla="*/ 3968 h 3996"/>
                <a:gd name="T78" fmla="*/ 3574 w 3578"/>
                <a:gd name="T79" fmla="*/ 3929 h 3996"/>
                <a:gd name="T80" fmla="*/ 3577 w 3578"/>
                <a:gd name="T81" fmla="*/ 3624 h 3996"/>
                <a:gd name="T82" fmla="*/ 3563 w 3578"/>
                <a:gd name="T83" fmla="*/ 3579 h 3996"/>
                <a:gd name="T84" fmla="*/ 3529 w 3578"/>
                <a:gd name="T85" fmla="*/ 3549 h 3996"/>
                <a:gd name="T86" fmla="*/ 3482 w 3578"/>
                <a:gd name="T87" fmla="*/ 3538 h 3996"/>
                <a:gd name="T88" fmla="*/ 85 w 3578"/>
                <a:gd name="T89" fmla="*/ 3538 h 3996"/>
                <a:gd name="T90" fmla="*/ 41 w 3578"/>
                <a:gd name="T91" fmla="*/ 3554 h 3996"/>
                <a:gd name="T92" fmla="*/ 11 w 3578"/>
                <a:gd name="T93" fmla="*/ 3587 h 3996"/>
                <a:gd name="T94" fmla="*/ 0 w 3578"/>
                <a:gd name="T95" fmla="*/ 3634 h 3996"/>
                <a:gd name="T96" fmla="*/ 4 w 3578"/>
                <a:gd name="T97" fmla="*/ 391 h 3996"/>
                <a:gd name="T98" fmla="*/ 27 w 3578"/>
                <a:gd name="T99" fmla="*/ 430 h 3996"/>
                <a:gd name="T100" fmla="*/ 66 w 3578"/>
                <a:gd name="T101" fmla="*/ 453 h 3996"/>
                <a:gd name="T102" fmla="*/ 1789 w 3578"/>
                <a:gd name="T103" fmla="*/ 456 h 3996"/>
                <a:gd name="T104" fmla="*/ 3512 w 3578"/>
                <a:gd name="T105" fmla="*/ 453 h 3996"/>
                <a:gd name="T106" fmla="*/ 3552 w 3578"/>
                <a:gd name="T107" fmla="*/ 430 h 3996"/>
                <a:gd name="T108" fmla="*/ 3574 w 3578"/>
                <a:gd name="T109" fmla="*/ 391 h 3996"/>
                <a:gd name="T110" fmla="*/ 3577 w 3578"/>
                <a:gd name="T111" fmla="*/ 85 h 3996"/>
                <a:gd name="T112" fmla="*/ 3563 w 3578"/>
                <a:gd name="T113" fmla="*/ 41 h 3996"/>
                <a:gd name="T114" fmla="*/ 3529 w 3578"/>
                <a:gd name="T115" fmla="*/ 11 h 3996"/>
                <a:gd name="T116" fmla="*/ 3482 w 3578"/>
                <a:gd name="T117" fmla="*/ 0 h 3996"/>
                <a:gd name="T118" fmla="*/ 85 w 3578"/>
                <a:gd name="T119" fmla="*/ 0 h 3996"/>
                <a:gd name="T120" fmla="*/ 41 w 3578"/>
                <a:gd name="T121" fmla="*/ 16 h 3996"/>
                <a:gd name="T122" fmla="*/ 11 w 3578"/>
                <a:gd name="T123" fmla="*/ 49 h 3996"/>
                <a:gd name="T124" fmla="*/ 0 w 3578"/>
                <a:gd name="T125" fmla="*/ 95 h 3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78" h="3996">
                  <a:moveTo>
                    <a:pt x="2924" y="3160"/>
                  </a:moveTo>
                  <a:lnTo>
                    <a:pt x="2936" y="3160"/>
                  </a:lnTo>
                  <a:lnTo>
                    <a:pt x="2947" y="3157"/>
                  </a:lnTo>
                  <a:lnTo>
                    <a:pt x="2958" y="3153"/>
                  </a:lnTo>
                  <a:lnTo>
                    <a:pt x="2964" y="3151"/>
                  </a:lnTo>
                  <a:lnTo>
                    <a:pt x="2968" y="3148"/>
                  </a:lnTo>
                  <a:lnTo>
                    <a:pt x="2977" y="3142"/>
                  </a:lnTo>
                  <a:lnTo>
                    <a:pt x="2981" y="3139"/>
                  </a:lnTo>
                  <a:lnTo>
                    <a:pt x="2985" y="3135"/>
                  </a:lnTo>
                  <a:lnTo>
                    <a:pt x="2988" y="3131"/>
                  </a:lnTo>
                  <a:lnTo>
                    <a:pt x="2991" y="3126"/>
                  </a:lnTo>
                  <a:lnTo>
                    <a:pt x="2996" y="3117"/>
                  </a:lnTo>
                  <a:lnTo>
                    <a:pt x="3000" y="3106"/>
                  </a:lnTo>
                  <a:lnTo>
                    <a:pt x="3001" y="3101"/>
                  </a:lnTo>
                  <a:lnTo>
                    <a:pt x="3002" y="3095"/>
                  </a:lnTo>
                  <a:lnTo>
                    <a:pt x="3003" y="3084"/>
                  </a:lnTo>
                  <a:lnTo>
                    <a:pt x="3002" y="3072"/>
                  </a:lnTo>
                  <a:lnTo>
                    <a:pt x="3001" y="3065"/>
                  </a:lnTo>
                  <a:lnTo>
                    <a:pt x="2999" y="3059"/>
                  </a:lnTo>
                  <a:lnTo>
                    <a:pt x="2998" y="3052"/>
                  </a:lnTo>
                  <a:lnTo>
                    <a:pt x="2995" y="3045"/>
                  </a:lnTo>
                  <a:lnTo>
                    <a:pt x="2988" y="3032"/>
                  </a:lnTo>
                  <a:lnTo>
                    <a:pt x="2985" y="3026"/>
                  </a:lnTo>
                  <a:lnTo>
                    <a:pt x="2980" y="3019"/>
                  </a:lnTo>
                  <a:lnTo>
                    <a:pt x="2570" y="2480"/>
                  </a:lnTo>
                  <a:lnTo>
                    <a:pt x="2162" y="1941"/>
                  </a:lnTo>
                  <a:lnTo>
                    <a:pt x="2562" y="1459"/>
                  </a:lnTo>
                  <a:lnTo>
                    <a:pt x="2962" y="976"/>
                  </a:lnTo>
                  <a:lnTo>
                    <a:pt x="2972" y="962"/>
                  </a:lnTo>
                  <a:lnTo>
                    <a:pt x="2976" y="956"/>
                  </a:lnTo>
                  <a:lnTo>
                    <a:pt x="2979" y="949"/>
                  </a:lnTo>
                  <a:lnTo>
                    <a:pt x="2985" y="936"/>
                  </a:lnTo>
                  <a:lnTo>
                    <a:pt x="2986" y="929"/>
                  </a:lnTo>
                  <a:lnTo>
                    <a:pt x="2988" y="923"/>
                  </a:lnTo>
                  <a:lnTo>
                    <a:pt x="2988" y="917"/>
                  </a:lnTo>
                  <a:lnTo>
                    <a:pt x="2989" y="910"/>
                  </a:lnTo>
                  <a:lnTo>
                    <a:pt x="2988" y="899"/>
                  </a:lnTo>
                  <a:lnTo>
                    <a:pt x="2987" y="894"/>
                  </a:lnTo>
                  <a:lnTo>
                    <a:pt x="2986" y="888"/>
                  </a:lnTo>
                  <a:lnTo>
                    <a:pt x="2981" y="878"/>
                  </a:lnTo>
                  <a:lnTo>
                    <a:pt x="2979" y="873"/>
                  </a:lnTo>
                  <a:lnTo>
                    <a:pt x="2976" y="868"/>
                  </a:lnTo>
                  <a:lnTo>
                    <a:pt x="2972" y="864"/>
                  </a:lnTo>
                  <a:lnTo>
                    <a:pt x="2969" y="861"/>
                  </a:lnTo>
                  <a:lnTo>
                    <a:pt x="2961" y="853"/>
                  </a:lnTo>
                  <a:lnTo>
                    <a:pt x="2957" y="849"/>
                  </a:lnTo>
                  <a:lnTo>
                    <a:pt x="2951" y="846"/>
                  </a:lnTo>
                  <a:lnTo>
                    <a:pt x="2947" y="844"/>
                  </a:lnTo>
                  <a:lnTo>
                    <a:pt x="2941" y="842"/>
                  </a:lnTo>
                  <a:lnTo>
                    <a:pt x="2936" y="840"/>
                  </a:lnTo>
                  <a:lnTo>
                    <a:pt x="2930" y="838"/>
                  </a:lnTo>
                  <a:lnTo>
                    <a:pt x="2925" y="836"/>
                  </a:lnTo>
                  <a:lnTo>
                    <a:pt x="2919" y="836"/>
                  </a:lnTo>
                  <a:lnTo>
                    <a:pt x="2907" y="835"/>
                  </a:lnTo>
                  <a:lnTo>
                    <a:pt x="2275" y="835"/>
                  </a:lnTo>
                  <a:lnTo>
                    <a:pt x="2260" y="835"/>
                  </a:lnTo>
                  <a:lnTo>
                    <a:pt x="2246" y="836"/>
                  </a:lnTo>
                  <a:lnTo>
                    <a:pt x="2234" y="838"/>
                  </a:lnTo>
                  <a:lnTo>
                    <a:pt x="2222" y="841"/>
                  </a:lnTo>
                  <a:lnTo>
                    <a:pt x="2209" y="845"/>
                  </a:lnTo>
                  <a:lnTo>
                    <a:pt x="2198" y="848"/>
                  </a:lnTo>
                  <a:lnTo>
                    <a:pt x="2188" y="854"/>
                  </a:lnTo>
                  <a:lnTo>
                    <a:pt x="2178" y="859"/>
                  </a:lnTo>
                  <a:lnTo>
                    <a:pt x="2168" y="865"/>
                  </a:lnTo>
                  <a:lnTo>
                    <a:pt x="2160" y="872"/>
                  </a:lnTo>
                  <a:lnTo>
                    <a:pt x="2151" y="879"/>
                  </a:lnTo>
                  <a:lnTo>
                    <a:pt x="2142" y="887"/>
                  </a:lnTo>
                  <a:lnTo>
                    <a:pt x="2134" y="896"/>
                  </a:lnTo>
                  <a:lnTo>
                    <a:pt x="2126" y="905"/>
                  </a:lnTo>
                  <a:lnTo>
                    <a:pt x="2119" y="915"/>
                  </a:lnTo>
                  <a:lnTo>
                    <a:pt x="2111" y="925"/>
                  </a:lnTo>
                  <a:lnTo>
                    <a:pt x="1738" y="1404"/>
                  </a:lnTo>
                  <a:lnTo>
                    <a:pt x="1365" y="1885"/>
                  </a:lnTo>
                  <a:lnTo>
                    <a:pt x="1365" y="1408"/>
                  </a:lnTo>
                  <a:lnTo>
                    <a:pt x="1365" y="931"/>
                  </a:lnTo>
                  <a:lnTo>
                    <a:pt x="1365" y="920"/>
                  </a:lnTo>
                  <a:lnTo>
                    <a:pt x="1364" y="910"/>
                  </a:lnTo>
                  <a:lnTo>
                    <a:pt x="1362" y="902"/>
                  </a:lnTo>
                  <a:lnTo>
                    <a:pt x="1359" y="892"/>
                  </a:lnTo>
                  <a:lnTo>
                    <a:pt x="1356" y="884"/>
                  </a:lnTo>
                  <a:lnTo>
                    <a:pt x="1350" y="876"/>
                  </a:lnTo>
                  <a:lnTo>
                    <a:pt x="1346" y="868"/>
                  </a:lnTo>
                  <a:lnTo>
                    <a:pt x="1339" y="862"/>
                  </a:lnTo>
                  <a:lnTo>
                    <a:pt x="1332" y="856"/>
                  </a:lnTo>
                  <a:lnTo>
                    <a:pt x="1325" y="851"/>
                  </a:lnTo>
                  <a:lnTo>
                    <a:pt x="1317" y="846"/>
                  </a:lnTo>
                  <a:lnTo>
                    <a:pt x="1309" y="842"/>
                  </a:lnTo>
                  <a:lnTo>
                    <a:pt x="1300" y="840"/>
                  </a:lnTo>
                  <a:lnTo>
                    <a:pt x="1290" y="837"/>
                  </a:lnTo>
                  <a:lnTo>
                    <a:pt x="1280" y="835"/>
                  </a:lnTo>
                  <a:lnTo>
                    <a:pt x="1270" y="835"/>
                  </a:lnTo>
                  <a:lnTo>
                    <a:pt x="694" y="835"/>
                  </a:lnTo>
                  <a:lnTo>
                    <a:pt x="684" y="835"/>
                  </a:lnTo>
                  <a:lnTo>
                    <a:pt x="674" y="837"/>
                  </a:lnTo>
                  <a:lnTo>
                    <a:pt x="664" y="840"/>
                  </a:lnTo>
                  <a:lnTo>
                    <a:pt x="656" y="842"/>
                  </a:lnTo>
                  <a:lnTo>
                    <a:pt x="647" y="846"/>
                  </a:lnTo>
                  <a:lnTo>
                    <a:pt x="639" y="851"/>
                  </a:lnTo>
                  <a:lnTo>
                    <a:pt x="632" y="856"/>
                  </a:lnTo>
                  <a:lnTo>
                    <a:pt x="625" y="862"/>
                  </a:lnTo>
                  <a:lnTo>
                    <a:pt x="619" y="868"/>
                  </a:lnTo>
                  <a:lnTo>
                    <a:pt x="614" y="876"/>
                  </a:lnTo>
                  <a:lnTo>
                    <a:pt x="609" y="884"/>
                  </a:lnTo>
                  <a:lnTo>
                    <a:pt x="606" y="892"/>
                  </a:lnTo>
                  <a:lnTo>
                    <a:pt x="602" y="902"/>
                  </a:lnTo>
                  <a:lnTo>
                    <a:pt x="600" y="910"/>
                  </a:lnTo>
                  <a:lnTo>
                    <a:pt x="599" y="920"/>
                  </a:lnTo>
                  <a:lnTo>
                    <a:pt x="598" y="931"/>
                  </a:lnTo>
                  <a:lnTo>
                    <a:pt x="598" y="1464"/>
                  </a:lnTo>
                  <a:lnTo>
                    <a:pt x="598" y="1998"/>
                  </a:lnTo>
                  <a:lnTo>
                    <a:pt x="598" y="2531"/>
                  </a:lnTo>
                  <a:lnTo>
                    <a:pt x="598" y="3064"/>
                  </a:lnTo>
                  <a:lnTo>
                    <a:pt x="599" y="3074"/>
                  </a:lnTo>
                  <a:lnTo>
                    <a:pt x="600" y="3084"/>
                  </a:lnTo>
                  <a:lnTo>
                    <a:pt x="602" y="3094"/>
                  </a:lnTo>
                  <a:lnTo>
                    <a:pt x="606" y="3103"/>
                  </a:lnTo>
                  <a:lnTo>
                    <a:pt x="609" y="3111"/>
                  </a:lnTo>
                  <a:lnTo>
                    <a:pt x="614" y="3120"/>
                  </a:lnTo>
                  <a:lnTo>
                    <a:pt x="619" y="3126"/>
                  </a:lnTo>
                  <a:lnTo>
                    <a:pt x="625" y="3133"/>
                  </a:lnTo>
                  <a:lnTo>
                    <a:pt x="632" y="3140"/>
                  </a:lnTo>
                  <a:lnTo>
                    <a:pt x="639" y="3144"/>
                  </a:lnTo>
                  <a:lnTo>
                    <a:pt x="647" y="3150"/>
                  </a:lnTo>
                  <a:lnTo>
                    <a:pt x="656" y="3153"/>
                  </a:lnTo>
                  <a:lnTo>
                    <a:pt x="664" y="3156"/>
                  </a:lnTo>
                  <a:lnTo>
                    <a:pt x="674" y="3158"/>
                  </a:lnTo>
                  <a:lnTo>
                    <a:pt x="684" y="3160"/>
                  </a:lnTo>
                  <a:lnTo>
                    <a:pt x="694" y="3160"/>
                  </a:lnTo>
                  <a:lnTo>
                    <a:pt x="1270" y="3160"/>
                  </a:lnTo>
                  <a:lnTo>
                    <a:pt x="1280" y="3160"/>
                  </a:lnTo>
                  <a:lnTo>
                    <a:pt x="1290" y="3158"/>
                  </a:lnTo>
                  <a:lnTo>
                    <a:pt x="1300" y="3156"/>
                  </a:lnTo>
                  <a:lnTo>
                    <a:pt x="1309" y="3153"/>
                  </a:lnTo>
                  <a:lnTo>
                    <a:pt x="1317" y="3150"/>
                  </a:lnTo>
                  <a:lnTo>
                    <a:pt x="1325" y="3144"/>
                  </a:lnTo>
                  <a:lnTo>
                    <a:pt x="1332" y="3140"/>
                  </a:lnTo>
                  <a:lnTo>
                    <a:pt x="1339" y="3133"/>
                  </a:lnTo>
                  <a:lnTo>
                    <a:pt x="1346" y="3126"/>
                  </a:lnTo>
                  <a:lnTo>
                    <a:pt x="1350" y="3120"/>
                  </a:lnTo>
                  <a:lnTo>
                    <a:pt x="1356" y="3111"/>
                  </a:lnTo>
                  <a:lnTo>
                    <a:pt x="1359" y="3103"/>
                  </a:lnTo>
                  <a:lnTo>
                    <a:pt x="1362" y="3094"/>
                  </a:lnTo>
                  <a:lnTo>
                    <a:pt x="1364" y="3084"/>
                  </a:lnTo>
                  <a:lnTo>
                    <a:pt x="1365" y="3074"/>
                  </a:lnTo>
                  <a:lnTo>
                    <a:pt x="1365" y="3064"/>
                  </a:lnTo>
                  <a:lnTo>
                    <a:pt x="1365" y="2539"/>
                  </a:lnTo>
                  <a:lnTo>
                    <a:pt x="1365" y="2014"/>
                  </a:lnTo>
                  <a:lnTo>
                    <a:pt x="1738" y="2542"/>
                  </a:lnTo>
                  <a:lnTo>
                    <a:pt x="2111" y="3070"/>
                  </a:lnTo>
                  <a:lnTo>
                    <a:pt x="2119" y="3080"/>
                  </a:lnTo>
                  <a:lnTo>
                    <a:pt x="2126" y="3090"/>
                  </a:lnTo>
                  <a:lnTo>
                    <a:pt x="2134" y="3099"/>
                  </a:lnTo>
                  <a:lnTo>
                    <a:pt x="2142" y="3108"/>
                  </a:lnTo>
                  <a:lnTo>
                    <a:pt x="2151" y="3115"/>
                  </a:lnTo>
                  <a:lnTo>
                    <a:pt x="2160" y="3123"/>
                  </a:lnTo>
                  <a:lnTo>
                    <a:pt x="2168" y="3130"/>
                  </a:lnTo>
                  <a:lnTo>
                    <a:pt x="2178" y="3136"/>
                  </a:lnTo>
                  <a:lnTo>
                    <a:pt x="2188" y="3142"/>
                  </a:lnTo>
                  <a:lnTo>
                    <a:pt x="2198" y="3146"/>
                  </a:lnTo>
                  <a:lnTo>
                    <a:pt x="2209" y="3151"/>
                  </a:lnTo>
                  <a:lnTo>
                    <a:pt x="2222" y="3154"/>
                  </a:lnTo>
                  <a:lnTo>
                    <a:pt x="2234" y="3156"/>
                  </a:lnTo>
                  <a:lnTo>
                    <a:pt x="2246" y="3158"/>
                  </a:lnTo>
                  <a:lnTo>
                    <a:pt x="2260" y="3160"/>
                  </a:lnTo>
                  <a:lnTo>
                    <a:pt x="2275" y="3160"/>
                  </a:lnTo>
                  <a:lnTo>
                    <a:pt x="2924" y="3160"/>
                  </a:lnTo>
                  <a:close/>
                  <a:moveTo>
                    <a:pt x="0" y="3899"/>
                  </a:moveTo>
                  <a:lnTo>
                    <a:pt x="1" y="3909"/>
                  </a:lnTo>
                  <a:lnTo>
                    <a:pt x="2" y="3919"/>
                  </a:lnTo>
                  <a:lnTo>
                    <a:pt x="4" y="3929"/>
                  </a:lnTo>
                  <a:lnTo>
                    <a:pt x="8" y="3938"/>
                  </a:lnTo>
                  <a:lnTo>
                    <a:pt x="11" y="3947"/>
                  </a:lnTo>
                  <a:lnTo>
                    <a:pt x="16" y="3955"/>
                  </a:lnTo>
                  <a:lnTo>
                    <a:pt x="21" y="3961"/>
                  </a:lnTo>
                  <a:lnTo>
                    <a:pt x="27" y="3968"/>
                  </a:lnTo>
                  <a:lnTo>
                    <a:pt x="33" y="3975"/>
                  </a:lnTo>
                  <a:lnTo>
                    <a:pt x="41" y="3980"/>
                  </a:lnTo>
                  <a:lnTo>
                    <a:pt x="49" y="3985"/>
                  </a:lnTo>
                  <a:lnTo>
                    <a:pt x="58" y="3988"/>
                  </a:lnTo>
                  <a:lnTo>
                    <a:pt x="66" y="3991"/>
                  </a:lnTo>
                  <a:lnTo>
                    <a:pt x="75" y="3993"/>
                  </a:lnTo>
                  <a:lnTo>
                    <a:pt x="85" y="3995"/>
                  </a:lnTo>
                  <a:lnTo>
                    <a:pt x="96" y="3996"/>
                  </a:lnTo>
                  <a:lnTo>
                    <a:pt x="942" y="3996"/>
                  </a:lnTo>
                  <a:lnTo>
                    <a:pt x="1789" y="3996"/>
                  </a:lnTo>
                  <a:lnTo>
                    <a:pt x="2635" y="3996"/>
                  </a:lnTo>
                  <a:lnTo>
                    <a:pt x="3482" y="3996"/>
                  </a:lnTo>
                  <a:lnTo>
                    <a:pt x="3493" y="3995"/>
                  </a:lnTo>
                  <a:lnTo>
                    <a:pt x="3503" y="3993"/>
                  </a:lnTo>
                  <a:lnTo>
                    <a:pt x="3512" y="3991"/>
                  </a:lnTo>
                  <a:lnTo>
                    <a:pt x="3521" y="3988"/>
                  </a:lnTo>
                  <a:lnTo>
                    <a:pt x="3529" y="3985"/>
                  </a:lnTo>
                  <a:lnTo>
                    <a:pt x="3537" y="3980"/>
                  </a:lnTo>
                  <a:lnTo>
                    <a:pt x="3545" y="3975"/>
                  </a:lnTo>
                  <a:lnTo>
                    <a:pt x="3552" y="3968"/>
                  </a:lnTo>
                  <a:lnTo>
                    <a:pt x="3557" y="3961"/>
                  </a:lnTo>
                  <a:lnTo>
                    <a:pt x="3563" y="3955"/>
                  </a:lnTo>
                  <a:lnTo>
                    <a:pt x="3567" y="3947"/>
                  </a:lnTo>
                  <a:lnTo>
                    <a:pt x="3572" y="3938"/>
                  </a:lnTo>
                  <a:lnTo>
                    <a:pt x="3574" y="3929"/>
                  </a:lnTo>
                  <a:lnTo>
                    <a:pt x="3576" y="3919"/>
                  </a:lnTo>
                  <a:lnTo>
                    <a:pt x="3577" y="3909"/>
                  </a:lnTo>
                  <a:lnTo>
                    <a:pt x="3578" y="3899"/>
                  </a:lnTo>
                  <a:lnTo>
                    <a:pt x="3578" y="3634"/>
                  </a:lnTo>
                  <a:lnTo>
                    <a:pt x="3577" y="3624"/>
                  </a:lnTo>
                  <a:lnTo>
                    <a:pt x="3576" y="3614"/>
                  </a:lnTo>
                  <a:lnTo>
                    <a:pt x="3574" y="3605"/>
                  </a:lnTo>
                  <a:lnTo>
                    <a:pt x="3572" y="3595"/>
                  </a:lnTo>
                  <a:lnTo>
                    <a:pt x="3567" y="3587"/>
                  </a:lnTo>
                  <a:lnTo>
                    <a:pt x="3563" y="3579"/>
                  </a:lnTo>
                  <a:lnTo>
                    <a:pt x="3557" y="3572"/>
                  </a:lnTo>
                  <a:lnTo>
                    <a:pt x="3552" y="3565"/>
                  </a:lnTo>
                  <a:lnTo>
                    <a:pt x="3545" y="3559"/>
                  </a:lnTo>
                  <a:lnTo>
                    <a:pt x="3537" y="3554"/>
                  </a:lnTo>
                  <a:lnTo>
                    <a:pt x="3529" y="3549"/>
                  </a:lnTo>
                  <a:lnTo>
                    <a:pt x="3521" y="3545"/>
                  </a:lnTo>
                  <a:lnTo>
                    <a:pt x="3512" y="3542"/>
                  </a:lnTo>
                  <a:lnTo>
                    <a:pt x="3503" y="3539"/>
                  </a:lnTo>
                  <a:lnTo>
                    <a:pt x="3493" y="3538"/>
                  </a:lnTo>
                  <a:lnTo>
                    <a:pt x="3482" y="3538"/>
                  </a:lnTo>
                  <a:lnTo>
                    <a:pt x="2635" y="3538"/>
                  </a:lnTo>
                  <a:lnTo>
                    <a:pt x="1789" y="3538"/>
                  </a:lnTo>
                  <a:lnTo>
                    <a:pt x="942" y="3538"/>
                  </a:lnTo>
                  <a:lnTo>
                    <a:pt x="96" y="3538"/>
                  </a:lnTo>
                  <a:lnTo>
                    <a:pt x="85" y="3538"/>
                  </a:lnTo>
                  <a:lnTo>
                    <a:pt x="75" y="3539"/>
                  </a:lnTo>
                  <a:lnTo>
                    <a:pt x="66" y="3542"/>
                  </a:lnTo>
                  <a:lnTo>
                    <a:pt x="58" y="3545"/>
                  </a:lnTo>
                  <a:lnTo>
                    <a:pt x="49" y="3549"/>
                  </a:lnTo>
                  <a:lnTo>
                    <a:pt x="41" y="3554"/>
                  </a:lnTo>
                  <a:lnTo>
                    <a:pt x="33" y="3559"/>
                  </a:lnTo>
                  <a:lnTo>
                    <a:pt x="27" y="3565"/>
                  </a:lnTo>
                  <a:lnTo>
                    <a:pt x="21" y="3572"/>
                  </a:lnTo>
                  <a:lnTo>
                    <a:pt x="16" y="3579"/>
                  </a:lnTo>
                  <a:lnTo>
                    <a:pt x="11" y="3587"/>
                  </a:lnTo>
                  <a:lnTo>
                    <a:pt x="8" y="3595"/>
                  </a:lnTo>
                  <a:lnTo>
                    <a:pt x="4" y="3605"/>
                  </a:lnTo>
                  <a:lnTo>
                    <a:pt x="2" y="3614"/>
                  </a:lnTo>
                  <a:lnTo>
                    <a:pt x="1" y="3624"/>
                  </a:lnTo>
                  <a:lnTo>
                    <a:pt x="0" y="3634"/>
                  </a:lnTo>
                  <a:lnTo>
                    <a:pt x="0" y="3899"/>
                  </a:lnTo>
                  <a:close/>
                  <a:moveTo>
                    <a:pt x="0" y="361"/>
                  </a:moveTo>
                  <a:lnTo>
                    <a:pt x="1" y="371"/>
                  </a:lnTo>
                  <a:lnTo>
                    <a:pt x="2" y="381"/>
                  </a:lnTo>
                  <a:lnTo>
                    <a:pt x="4" y="391"/>
                  </a:lnTo>
                  <a:lnTo>
                    <a:pt x="8" y="400"/>
                  </a:lnTo>
                  <a:lnTo>
                    <a:pt x="11" y="409"/>
                  </a:lnTo>
                  <a:lnTo>
                    <a:pt x="16" y="416"/>
                  </a:lnTo>
                  <a:lnTo>
                    <a:pt x="21" y="423"/>
                  </a:lnTo>
                  <a:lnTo>
                    <a:pt x="27" y="430"/>
                  </a:lnTo>
                  <a:lnTo>
                    <a:pt x="33" y="436"/>
                  </a:lnTo>
                  <a:lnTo>
                    <a:pt x="41" y="441"/>
                  </a:lnTo>
                  <a:lnTo>
                    <a:pt x="49" y="446"/>
                  </a:lnTo>
                  <a:lnTo>
                    <a:pt x="58" y="450"/>
                  </a:lnTo>
                  <a:lnTo>
                    <a:pt x="66" y="453"/>
                  </a:lnTo>
                  <a:lnTo>
                    <a:pt x="75" y="455"/>
                  </a:lnTo>
                  <a:lnTo>
                    <a:pt x="85" y="456"/>
                  </a:lnTo>
                  <a:lnTo>
                    <a:pt x="96" y="456"/>
                  </a:lnTo>
                  <a:lnTo>
                    <a:pt x="942" y="456"/>
                  </a:lnTo>
                  <a:lnTo>
                    <a:pt x="1789" y="456"/>
                  </a:lnTo>
                  <a:lnTo>
                    <a:pt x="2635" y="456"/>
                  </a:lnTo>
                  <a:lnTo>
                    <a:pt x="3482" y="456"/>
                  </a:lnTo>
                  <a:lnTo>
                    <a:pt x="3493" y="456"/>
                  </a:lnTo>
                  <a:lnTo>
                    <a:pt x="3503" y="455"/>
                  </a:lnTo>
                  <a:lnTo>
                    <a:pt x="3512" y="453"/>
                  </a:lnTo>
                  <a:lnTo>
                    <a:pt x="3521" y="450"/>
                  </a:lnTo>
                  <a:lnTo>
                    <a:pt x="3529" y="446"/>
                  </a:lnTo>
                  <a:lnTo>
                    <a:pt x="3537" y="441"/>
                  </a:lnTo>
                  <a:lnTo>
                    <a:pt x="3545" y="436"/>
                  </a:lnTo>
                  <a:lnTo>
                    <a:pt x="3552" y="430"/>
                  </a:lnTo>
                  <a:lnTo>
                    <a:pt x="3557" y="423"/>
                  </a:lnTo>
                  <a:lnTo>
                    <a:pt x="3563" y="416"/>
                  </a:lnTo>
                  <a:lnTo>
                    <a:pt x="3567" y="409"/>
                  </a:lnTo>
                  <a:lnTo>
                    <a:pt x="3572" y="400"/>
                  </a:lnTo>
                  <a:lnTo>
                    <a:pt x="3574" y="391"/>
                  </a:lnTo>
                  <a:lnTo>
                    <a:pt x="3576" y="381"/>
                  </a:lnTo>
                  <a:lnTo>
                    <a:pt x="3577" y="371"/>
                  </a:lnTo>
                  <a:lnTo>
                    <a:pt x="3578" y="361"/>
                  </a:lnTo>
                  <a:lnTo>
                    <a:pt x="3578" y="95"/>
                  </a:lnTo>
                  <a:lnTo>
                    <a:pt x="3577" y="85"/>
                  </a:lnTo>
                  <a:lnTo>
                    <a:pt x="3576" y="75"/>
                  </a:lnTo>
                  <a:lnTo>
                    <a:pt x="3574" y="65"/>
                  </a:lnTo>
                  <a:lnTo>
                    <a:pt x="3572" y="57"/>
                  </a:lnTo>
                  <a:lnTo>
                    <a:pt x="3567" y="49"/>
                  </a:lnTo>
                  <a:lnTo>
                    <a:pt x="3563" y="41"/>
                  </a:lnTo>
                  <a:lnTo>
                    <a:pt x="3557" y="33"/>
                  </a:lnTo>
                  <a:lnTo>
                    <a:pt x="3552" y="27"/>
                  </a:lnTo>
                  <a:lnTo>
                    <a:pt x="3545" y="20"/>
                  </a:lnTo>
                  <a:lnTo>
                    <a:pt x="3537" y="16"/>
                  </a:lnTo>
                  <a:lnTo>
                    <a:pt x="3529" y="11"/>
                  </a:lnTo>
                  <a:lnTo>
                    <a:pt x="3521" y="7"/>
                  </a:lnTo>
                  <a:lnTo>
                    <a:pt x="3512" y="3"/>
                  </a:lnTo>
                  <a:lnTo>
                    <a:pt x="3503" y="1"/>
                  </a:lnTo>
                  <a:lnTo>
                    <a:pt x="3493" y="0"/>
                  </a:lnTo>
                  <a:lnTo>
                    <a:pt x="3482" y="0"/>
                  </a:lnTo>
                  <a:lnTo>
                    <a:pt x="2635" y="0"/>
                  </a:lnTo>
                  <a:lnTo>
                    <a:pt x="1789" y="0"/>
                  </a:lnTo>
                  <a:lnTo>
                    <a:pt x="942" y="0"/>
                  </a:lnTo>
                  <a:lnTo>
                    <a:pt x="96" y="0"/>
                  </a:lnTo>
                  <a:lnTo>
                    <a:pt x="85" y="0"/>
                  </a:lnTo>
                  <a:lnTo>
                    <a:pt x="75" y="1"/>
                  </a:lnTo>
                  <a:lnTo>
                    <a:pt x="66" y="3"/>
                  </a:lnTo>
                  <a:lnTo>
                    <a:pt x="58" y="7"/>
                  </a:lnTo>
                  <a:lnTo>
                    <a:pt x="49" y="11"/>
                  </a:lnTo>
                  <a:lnTo>
                    <a:pt x="41" y="16"/>
                  </a:lnTo>
                  <a:lnTo>
                    <a:pt x="33" y="20"/>
                  </a:lnTo>
                  <a:lnTo>
                    <a:pt x="27" y="27"/>
                  </a:lnTo>
                  <a:lnTo>
                    <a:pt x="21" y="33"/>
                  </a:lnTo>
                  <a:lnTo>
                    <a:pt x="16" y="41"/>
                  </a:lnTo>
                  <a:lnTo>
                    <a:pt x="11" y="49"/>
                  </a:lnTo>
                  <a:lnTo>
                    <a:pt x="8" y="57"/>
                  </a:lnTo>
                  <a:lnTo>
                    <a:pt x="4" y="65"/>
                  </a:lnTo>
                  <a:lnTo>
                    <a:pt x="2" y="75"/>
                  </a:lnTo>
                  <a:lnTo>
                    <a:pt x="1" y="85"/>
                  </a:lnTo>
                  <a:lnTo>
                    <a:pt x="0" y="95"/>
                  </a:lnTo>
                  <a:lnTo>
                    <a:pt x="0" y="36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Skatta Sans Regular" pitchFamily="50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C030384-8DA6-42D9-9DB7-36F1211929ED}"/>
              </a:ext>
            </a:extLst>
          </p:cNvPr>
          <p:cNvGrpSpPr/>
          <p:nvPr userDrawn="1"/>
        </p:nvGrpSpPr>
        <p:grpSpPr>
          <a:xfrm>
            <a:off x="10344472" y="692696"/>
            <a:ext cx="1260000" cy="2520280"/>
            <a:chOff x="10579338" y="620688"/>
            <a:chExt cx="1260000" cy="2520280"/>
          </a:xfrm>
          <a:solidFill>
            <a:schemeClr val="accent2"/>
          </a:solidFill>
        </p:grpSpPr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F796B9BE-A2BB-454B-86F5-F5E0B6F30885}"/>
                </a:ext>
              </a:extLst>
            </p:cNvPr>
            <p:cNvSpPr>
              <a:spLocks noChangeAspect="1" noEditPoints="1"/>
            </p:cNvSpPr>
            <p:nvPr/>
          </p:nvSpPr>
          <p:spPr bwMode="black">
            <a:xfrm>
              <a:off x="10705591" y="620688"/>
              <a:ext cx="1007493" cy="1124563"/>
            </a:xfrm>
            <a:custGeom>
              <a:avLst/>
              <a:gdLst>
                <a:gd name="T0" fmla="*/ 2964 w 3578"/>
                <a:gd name="T1" fmla="*/ 3151 h 3996"/>
                <a:gd name="T2" fmla="*/ 2988 w 3578"/>
                <a:gd name="T3" fmla="*/ 3131 h 3996"/>
                <a:gd name="T4" fmla="*/ 3002 w 3578"/>
                <a:gd name="T5" fmla="*/ 3095 h 3996"/>
                <a:gd name="T6" fmla="*/ 2998 w 3578"/>
                <a:gd name="T7" fmla="*/ 3052 h 3996"/>
                <a:gd name="T8" fmla="*/ 2570 w 3578"/>
                <a:gd name="T9" fmla="*/ 2480 h 3996"/>
                <a:gd name="T10" fmla="*/ 2976 w 3578"/>
                <a:gd name="T11" fmla="*/ 956 h 3996"/>
                <a:gd name="T12" fmla="*/ 2988 w 3578"/>
                <a:gd name="T13" fmla="*/ 917 h 3996"/>
                <a:gd name="T14" fmla="*/ 2981 w 3578"/>
                <a:gd name="T15" fmla="*/ 878 h 3996"/>
                <a:gd name="T16" fmla="*/ 2961 w 3578"/>
                <a:gd name="T17" fmla="*/ 853 h 3996"/>
                <a:gd name="T18" fmla="*/ 2936 w 3578"/>
                <a:gd name="T19" fmla="*/ 840 h 3996"/>
                <a:gd name="T20" fmla="*/ 2275 w 3578"/>
                <a:gd name="T21" fmla="*/ 835 h 3996"/>
                <a:gd name="T22" fmla="*/ 2209 w 3578"/>
                <a:gd name="T23" fmla="*/ 845 h 3996"/>
                <a:gd name="T24" fmla="*/ 2160 w 3578"/>
                <a:gd name="T25" fmla="*/ 872 h 3996"/>
                <a:gd name="T26" fmla="*/ 2119 w 3578"/>
                <a:gd name="T27" fmla="*/ 915 h 3996"/>
                <a:gd name="T28" fmla="*/ 1365 w 3578"/>
                <a:gd name="T29" fmla="*/ 931 h 3996"/>
                <a:gd name="T30" fmla="*/ 1356 w 3578"/>
                <a:gd name="T31" fmla="*/ 884 h 3996"/>
                <a:gd name="T32" fmla="*/ 1325 w 3578"/>
                <a:gd name="T33" fmla="*/ 851 h 3996"/>
                <a:gd name="T34" fmla="*/ 1280 w 3578"/>
                <a:gd name="T35" fmla="*/ 835 h 3996"/>
                <a:gd name="T36" fmla="*/ 664 w 3578"/>
                <a:gd name="T37" fmla="*/ 840 h 3996"/>
                <a:gd name="T38" fmla="*/ 625 w 3578"/>
                <a:gd name="T39" fmla="*/ 862 h 3996"/>
                <a:gd name="T40" fmla="*/ 602 w 3578"/>
                <a:gd name="T41" fmla="*/ 902 h 3996"/>
                <a:gd name="T42" fmla="*/ 598 w 3578"/>
                <a:gd name="T43" fmla="*/ 1998 h 3996"/>
                <a:gd name="T44" fmla="*/ 602 w 3578"/>
                <a:gd name="T45" fmla="*/ 3094 h 3996"/>
                <a:gd name="T46" fmla="*/ 625 w 3578"/>
                <a:gd name="T47" fmla="*/ 3133 h 3996"/>
                <a:gd name="T48" fmla="*/ 664 w 3578"/>
                <a:gd name="T49" fmla="*/ 3156 h 3996"/>
                <a:gd name="T50" fmla="*/ 1280 w 3578"/>
                <a:gd name="T51" fmla="*/ 3160 h 3996"/>
                <a:gd name="T52" fmla="*/ 1325 w 3578"/>
                <a:gd name="T53" fmla="*/ 3144 h 3996"/>
                <a:gd name="T54" fmla="*/ 1356 w 3578"/>
                <a:gd name="T55" fmla="*/ 3111 h 3996"/>
                <a:gd name="T56" fmla="*/ 1365 w 3578"/>
                <a:gd name="T57" fmla="*/ 3064 h 3996"/>
                <a:gd name="T58" fmla="*/ 2119 w 3578"/>
                <a:gd name="T59" fmla="*/ 3080 h 3996"/>
                <a:gd name="T60" fmla="*/ 2160 w 3578"/>
                <a:gd name="T61" fmla="*/ 3123 h 3996"/>
                <a:gd name="T62" fmla="*/ 2209 w 3578"/>
                <a:gd name="T63" fmla="*/ 3151 h 3996"/>
                <a:gd name="T64" fmla="*/ 2275 w 3578"/>
                <a:gd name="T65" fmla="*/ 3160 h 3996"/>
                <a:gd name="T66" fmla="*/ 4 w 3578"/>
                <a:gd name="T67" fmla="*/ 3929 h 3996"/>
                <a:gd name="T68" fmla="*/ 27 w 3578"/>
                <a:gd name="T69" fmla="*/ 3968 h 3996"/>
                <a:gd name="T70" fmla="*/ 66 w 3578"/>
                <a:gd name="T71" fmla="*/ 3991 h 3996"/>
                <a:gd name="T72" fmla="*/ 1789 w 3578"/>
                <a:gd name="T73" fmla="*/ 3996 h 3996"/>
                <a:gd name="T74" fmla="*/ 3512 w 3578"/>
                <a:gd name="T75" fmla="*/ 3991 h 3996"/>
                <a:gd name="T76" fmla="*/ 3552 w 3578"/>
                <a:gd name="T77" fmla="*/ 3968 h 3996"/>
                <a:gd name="T78" fmla="*/ 3574 w 3578"/>
                <a:gd name="T79" fmla="*/ 3929 h 3996"/>
                <a:gd name="T80" fmla="*/ 3577 w 3578"/>
                <a:gd name="T81" fmla="*/ 3624 h 3996"/>
                <a:gd name="T82" fmla="*/ 3563 w 3578"/>
                <a:gd name="T83" fmla="*/ 3579 h 3996"/>
                <a:gd name="T84" fmla="*/ 3529 w 3578"/>
                <a:gd name="T85" fmla="*/ 3549 h 3996"/>
                <a:gd name="T86" fmla="*/ 3482 w 3578"/>
                <a:gd name="T87" fmla="*/ 3538 h 3996"/>
                <a:gd name="T88" fmla="*/ 85 w 3578"/>
                <a:gd name="T89" fmla="*/ 3538 h 3996"/>
                <a:gd name="T90" fmla="*/ 41 w 3578"/>
                <a:gd name="T91" fmla="*/ 3554 h 3996"/>
                <a:gd name="T92" fmla="*/ 11 w 3578"/>
                <a:gd name="T93" fmla="*/ 3587 h 3996"/>
                <a:gd name="T94" fmla="*/ 0 w 3578"/>
                <a:gd name="T95" fmla="*/ 3634 h 3996"/>
                <a:gd name="T96" fmla="*/ 4 w 3578"/>
                <a:gd name="T97" fmla="*/ 391 h 3996"/>
                <a:gd name="T98" fmla="*/ 27 w 3578"/>
                <a:gd name="T99" fmla="*/ 430 h 3996"/>
                <a:gd name="T100" fmla="*/ 66 w 3578"/>
                <a:gd name="T101" fmla="*/ 453 h 3996"/>
                <a:gd name="T102" fmla="*/ 1789 w 3578"/>
                <a:gd name="T103" fmla="*/ 456 h 3996"/>
                <a:gd name="T104" fmla="*/ 3512 w 3578"/>
                <a:gd name="T105" fmla="*/ 453 h 3996"/>
                <a:gd name="T106" fmla="*/ 3552 w 3578"/>
                <a:gd name="T107" fmla="*/ 430 h 3996"/>
                <a:gd name="T108" fmla="*/ 3574 w 3578"/>
                <a:gd name="T109" fmla="*/ 391 h 3996"/>
                <a:gd name="T110" fmla="*/ 3577 w 3578"/>
                <a:gd name="T111" fmla="*/ 85 h 3996"/>
                <a:gd name="T112" fmla="*/ 3563 w 3578"/>
                <a:gd name="T113" fmla="*/ 41 h 3996"/>
                <a:gd name="T114" fmla="*/ 3529 w 3578"/>
                <a:gd name="T115" fmla="*/ 11 h 3996"/>
                <a:gd name="T116" fmla="*/ 3482 w 3578"/>
                <a:gd name="T117" fmla="*/ 0 h 3996"/>
                <a:gd name="T118" fmla="*/ 85 w 3578"/>
                <a:gd name="T119" fmla="*/ 0 h 3996"/>
                <a:gd name="T120" fmla="*/ 41 w 3578"/>
                <a:gd name="T121" fmla="*/ 16 h 3996"/>
                <a:gd name="T122" fmla="*/ 11 w 3578"/>
                <a:gd name="T123" fmla="*/ 49 h 3996"/>
                <a:gd name="T124" fmla="*/ 0 w 3578"/>
                <a:gd name="T125" fmla="*/ 95 h 3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78" h="3996">
                  <a:moveTo>
                    <a:pt x="2924" y="3160"/>
                  </a:moveTo>
                  <a:lnTo>
                    <a:pt x="2936" y="3160"/>
                  </a:lnTo>
                  <a:lnTo>
                    <a:pt x="2947" y="3157"/>
                  </a:lnTo>
                  <a:lnTo>
                    <a:pt x="2958" y="3153"/>
                  </a:lnTo>
                  <a:lnTo>
                    <a:pt x="2964" y="3151"/>
                  </a:lnTo>
                  <a:lnTo>
                    <a:pt x="2968" y="3148"/>
                  </a:lnTo>
                  <a:lnTo>
                    <a:pt x="2977" y="3142"/>
                  </a:lnTo>
                  <a:lnTo>
                    <a:pt x="2981" y="3139"/>
                  </a:lnTo>
                  <a:lnTo>
                    <a:pt x="2985" y="3135"/>
                  </a:lnTo>
                  <a:lnTo>
                    <a:pt x="2988" y="3131"/>
                  </a:lnTo>
                  <a:lnTo>
                    <a:pt x="2991" y="3126"/>
                  </a:lnTo>
                  <a:lnTo>
                    <a:pt x="2996" y="3117"/>
                  </a:lnTo>
                  <a:lnTo>
                    <a:pt x="3000" y="3106"/>
                  </a:lnTo>
                  <a:lnTo>
                    <a:pt x="3001" y="3101"/>
                  </a:lnTo>
                  <a:lnTo>
                    <a:pt x="3002" y="3095"/>
                  </a:lnTo>
                  <a:lnTo>
                    <a:pt x="3003" y="3084"/>
                  </a:lnTo>
                  <a:lnTo>
                    <a:pt x="3002" y="3072"/>
                  </a:lnTo>
                  <a:lnTo>
                    <a:pt x="3001" y="3065"/>
                  </a:lnTo>
                  <a:lnTo>
                    <a:pt x="2999" y="3059"/>
                  </a:lnTo>
                  <a:lnTo>
                    <a:pt x="2998" y="3052"/>
                  </a:lnTo>
                  <a:lnTo>
                    <a:pt x="2995" y="3045"/>
                  </a:lnTo>
                  <a:lnTo>
                    <a:pt x="2988" y="3032"/>
                  </a:lnTo>
                  <a:lnTo>
                    <a:pt x="2985" y="3026"/>
                  </a:lnTo>
                  <a:lnTo>
                    <a:pt x="2980" y="3019"/>
                  </a:lnTo>
                  <a:lnTo>
                    <a:pt x="2570" y="2480"/>
                  </a:lnTo>
                  <a:lnTo>
                    <a:pt x="2162" y="1941"/>
                  </a:lnTo>
                  <a:lnTo>
                    <a:pt x="2562" y="1459"/>
                  </a:lnTo>
                  <a:lnTo>
                    <a:pt x="2962" y="976"/>
                  </a:lnTo>
                  <a:lnTo>
                    <a:pt x="2972" y="962"/>
                  </a:lnTo>
                  <a:lnTo>
                    <a:pt x="2976" y="956"/>
                  </a:lnTo>
                  <a:lnTo>
                    <a:pt x="2979" y="949"/>
                  </a:lnTo>
                  <a:lnTo>
                    <a:pt x="2985" y="936"/>
                  </a:lnTo>
                  <a:lnTo>
                    <a:pt x="2986" y="929"/>
                  </a:lnTo>
                  <a:lnTo>
                    <a:pt x="2988" y="923"/>
                  </a:lnTo>
                  <a:lnTo>
                    <a:pt x="2988" y="917"/>
                  </a:lnTo>
                  <a:lnTo>
                    <a:pt x="2989" y="910"/>
                  </a:lnTo>
                  <a:lnTo>
                    <a:pt x="2988" y="899"/>
                  </a:lnTo>
                  <a:lnTo>
                    <a:pt x="2987" y="894"/>
                  </a:lnTo>
                  <a:lnTo>
                    <a:pt x="2986" y="888"/>
                  </a:lnTo>
                  <a:lnTo>
                    <a:pt x="2981" y="878"/>
                  </a:lnTo>
                  <a:lnTo>
                    <a:pt x="2979" y="873"/>
                  </a:lnTo>
                  <a:lnTo>
                    <a:pt x="2976" y="868"/>
                  </a:lnTo>
                  <a:lnTo>
                    <a:pt x="2972" y="864"/>
                  </a:lnTo>
                  <a:lnTo>
                    <a:pt x="2969" y="861"/>
                  </a:lnTo>
                  <a:lnTo>
                    <a:pt x="2961" y="853"/>
                  </a:lnTo>
                  <a:lnTo>
                    <a:pt x="2957" y="849"/>
                  </a:lnTo>
                  <a:lnTo>
                    <a:pt x="2951" y="846"/>
                  </a:lnTo>
                  <a:lnTo>
                    <a:pt x="2947" y="844"/>
                  </a:lnTo>
                  <a:lnTo>
                    <a:pt x="2941" y="842"/>
                  </a:lnTo>
                  <a:lnTo>
                    <a:pt x="2936" y="840"/>
                  </a:lnTo>
                  <a:lnTo>
                    <a:pt x="2930" y="838"/>
                  </a:lnTo>
                  <a:lnTo>
                    <a:pt x="2925" y="836"/>
                  </a:lnTo>
                  <a:lnTo>
                    <a:pt x="2919" y="836"/>
                  </a:lnTo>
                  <a:lnTo>
                    <a:pt x="2907" y="835"/>
                  </a:lnTo>
                  <a:lnTo>
                    <a:pt x="2275" y="835"/>
                  </a:lnTo>
                  <a:lnTo>
                    <a:pt x="2260" y="835"/>
                  </a:lnTo>
                  <a:lnTo>
                    <a:pt x="2246" y="836"/>
                  </a:lnTo>
                  <a:lnTo>
                    <a:pt x="2234" y="838"/>
                  </a:lnTo>
                  <a:lnTo>
                    <a:pt x="2222" y="841"/>
                  </a:lnTo>
                  <a:lnTo>
                    <a:pt x="2209" y="845"/>
                  </a:lnTo>
                  <a:lnTo>
                    <a:pt x="2198" y="848"/>
                  </a:lnTo>
                  <a:lnTo>
                    <a:pt x="2188" y="854"/>
                  </a:lnTo>
                  <a:lnTo>
                    <a:pt x="2178" y="859"/>
                  </a:lnTo>
                  <a:lnTo>
                    <a:pt x="2168" y="865"/>
                  </a:lnTo>
                  <a:lnTo>
                    <a:pt x="2160" y="872"/>
                  </a:lnTo>
                  <a:lnTo>
                    <a:pt x="2151" y="879"/>
                  </a:lnTo>
                  <a:lnTo>
                    <a:pt x="2142" y="887"/>
                  </a:lnTo>
                  <a:lnTo>
                    <a:pt x="2134" y="896"/>
                  </a:lnTo>
                  <a:lnTo>
                    <a:pt x="2126" y="905"/>
                  </a:lnTo>
                  <a:lnTo>
                    <a:pt x="2119" y="915"/>
                  </a:lnTo>
                  <a:lnTo>
                    <a:pt x="2111" y="925"/>
                  </a:lnTo>
                  <a:lnTo>
                    <a:pt x="1738" y="1404"/>
                  </a:lnTo>
                  <a:lnTo>
                    <a:pt x="1365" y="1885"/>
                  </a:lnTo>
                  <a:lnTo>
                    <a:pt x="1365" y="1408"/>
                  </a:lnTo>
                  <a:lnTo>
                    <a:pt x="1365" y="931"/>
                  </a:lnTo>
                  <a:lnTo>
                    <a:pt x="1365" y="920"/>
                  </a:lnTo>
                  <a:lnTo>
                    <a:pt x="1364" y="910"/>
                  </a:lnTo>
                  <a:lnTo>
                    <a:pt x="1362" y="902"/>
                  </a:lnTo>
                  <a:lnTo>
                    <a:pt x="1359" y="892"/>
                  </a:lnTo>
                  <a:lnTo>
                    <a:pt x="1356" y="884"/>
                  </a:lnTo>
                  <a:lnTo>
                    <a:pt x="1350" y="876"/>
                  </a:lnTo>
                  <a:lnTo>
                    <a:pt x="1346" y="868"/>
                  </a:lnTo>
                  <a:lnTo>
                    <a:pt x="1339" y="862"/>
                  </a:lnTo>
                  <a:lnTo>
                    <a:pt x="1332" y="856"/>
                  </a:lnTo>
                  <a:lnTo>
                    <a:pt x="1325" y="851"/>
                  </a:lnTo>
                  <a:lnTo>
                    <a:pt x="1317" y="846"/>
                  </a:lnTo>
                  <a:lnTo>
                    <a:pt x="1309" y="842"/>
                  </a:lnTo>
                  <a:lnTo>
                    <a:pt x="1300" y="840"/>
                  </a:lnTo>
                  <a:lnTo>
                    <a:pt x="1290" y="837"/>
                  </a:lnTo>
                  <a:lnTo>
                    <a:pt x="1280" y="835"/>
                  </a:lnTo>
                  <a:lnTo>
                    <a:pt x="1270" y="835"/>
                  </a:lnTo>
                  <a:lnTo>
                    <a:pt x="694" y="835"/>
                  </a:lnTo>
                  <a:lnTo>
                    <a:pt x="684" y="835"/>
                  </a:lnTo>
                  <a:lnTo>
                    <a:pt x="674" y="837"/>
                  </a:lnTo>
                  <a:lnTo>
                    <a:pt x="664" y="840"/>
                  </a:lnTo>
                  <a:lnTo>
                    <a:pt x="656" y="842"/>
                  </a:lnTo>
                  <a:lnTo>
                    <a:pt x="647" y="846"/>
                  </a:lnTo>
                  <a:lnTo>
                    <a:pt x="639" y="851"/>
                  </a:lnTo>
                  <a:lnTo>
                    <a:pt x="632" y="856"/>
                  </a:lnTo>
                  <a:lnTo>
                    <a:pt x="625" y="862"/>
                  </a:lnTo>
                  <a:lnTo>
                    <a:pt x="619" y="868"/>
                  </a:lnTo>
                  <a:lnTo>
                    <a:pt x="614" y="876"/>
                  </a:lnTo>
                  <a:lnTo>
                    <a:pt x="609" y="884"/>
                  </a:lnTo>
                  <a:lnTo>
                    <a:pt x="606" y="892"/>
                  </a:lnTo>
                  <a:lnTo>
                    <a:pt x="602" y="902"/>
                  </a:lnTo>
                  <a:lnTo>
                    <a:pt x="600" y="910"/>
                  </a:lnTo>
                  <a:lnTo>
                    <a:pt x="599" y="920"/>
                  </a:lnTo>
                  <a:lnTo>
                    <a:pt x="598" y="931"/>
                  </a:lnTo>
                  <a:lnTo>
                    <a:pt x="598" y="1464"/>
                  </a:lnTo>
                  <a:lnTo>
                    <a:pt x="598" y="1998"/>
                  </a:lnTo>
                  <a:lnTo>
                    <a:pt x="598" y="2531"/>
                  </a:lnTo>
                  <a:lnTo>
                    <a:pt x="598" y="3064"/>
                  </a:lnTo>
                  <a:lnTo>
                    <a:pt x="599" y="3074"/>
                  </a:lnTo>
                  <a:lnTo>
                    <a:pt x="600" y="3084"/>
                  </a:lnTo>
                  <a:lnTo>
                    <a:pt x="602" y="3094"/>
                  </a:lnTo>
                  <a:lnTo>
                    <a:pt x="606" y="3103"/>
                  </a:lnTo>
                  <a:lnTo>
                    <a:pt x="609" y="3111"/>
                  </a:lnTo>
                  <a:lnTo>
                    <a:pt x="614" y="3120"/>
                  </a:lnTo>
                  <a:lnTo>
                    <a:pt x="619" y="3126"/>
                  </a:lnTo>
                  <a:lnTo>
                    <a:pt x="625" y="3133"/>
                  </a:lnTo>
                  <a:lnTo>
                    <a:pt x="632" y="3140"/>
                  </a:lnTo>
                  <a:lnTo>
                    <a:pt x="639" y="3144"/>
                  </a:lnTo>
                  <a:lnTo>
                    <a:pt x="647" y="3150"/>
                  </a:lnTo>
                  <a:lnTo>
                    <a:pt x="656" y="3153"/>
                  </a:lnTo>
                  <a:lnTo>
                    <a:pt x="664" y="3156"/>
                  </a:lnTo>
                  <a:lnTo>
                    <a:pt x="674" y="3158"/>
                  </a:lnTo>
                  <a:lnTo>
                    <a:pt x="684" y="3160"/>
                  </a:lnTo>
                  <a:lnTo>
                    <a:pt x="694" y="3160"/>
                  </a:lnTo>
                  <a:lnTo>
                    <a:pt x="1270" y="3160"/>
                  </a:lnTo>
                  <a:lnTo>
                    <a:pt x="1280" y="3160"/>
                  </a:lnTo>
                  <a:lnTo>
                    <a:pt x="1290" y="3158"/>
                  </a:lnTo>
                  <a:lnTo>
                    <a:pt x="1300" y="3156"/>
                  </a:lnTo>
                  <a:lnTo>
                    <a:pt x="1309" y="3153"/>
                  </a:lnTo>
                  <a:lnTo>
                    <a:pt x="1317" y="3150"/>
                  </a:lnTo>
                  <a:lnTo>
                    <a:pt x="1325" y="3144"/>
                  </a:lnTo>
                  <a:lnTo>
                    <a:pt x="1332" y="3140"/>
                  </a:lnTo>
                  <a:lnTo>
                    <a:pt x="1339" y="3133"/>
                  </a:lnTo>
                  <a:lnTo>
                    <a:pt x="1346" y="3126"/>
                  </a:lnTo>
                  <a:lnTo>
                    <a:pt x="1350" y="3120"/>
                  </a:lnTo>
                  <a:lnTo>
                    <a:pt x="1356" y="3111"/>
                  </a:lnTo>
                  <a:lnTo>
                    <a:pt x="1359" y="3103"/>
                  </a:lnTo>
                  <a:lnTo>
                    <a:pt x="1362" y="3094"/>
                  </a:lnTo>
                  <a:lnTo>
                    <a:pt x="1364" y="3084"/>
                  </a:lnTo>
                  <a:lnTo>
                    <a:pt x="1365" y="3074"/>
                  </a:lnTo>
                  <a:lnTo>
                    <a:pt x="1365" y="3064"/>
                  </a:lnTo>
                  <a:lnTo>
                    <a:pt x="1365" y="2539"/>
                  </a:lnTo>
                  <a:lnTo>
                    <a:pt x="1365" y="2014"/>
                  </a:lnTo>
                  <a:lnTo>
                    <a:pt x="1738" y="2542"/>
                  </a:lnTo>
                  <a:lnTo>
                    <a:pt x="2111" y="3070"/>
                  </a:lnTo>
                  <a:lnTo>
                    <a:pt x="2119" y="3080"/>
                  </a:lnTo>
                  <a:lnTo>
                    <a:pt x="2126" y="3090"/>
                  </a:lnTo>
                  <a:lnTo>
                    <a:pt x="2134" y="3099"/>
                  </a:lnTo>
                  <a:lnTo>
                    <a:pt x="2142" y="3108"/>
                  </a:lnTo>
                  <a:lnTo>
                    <a:pt x="2151" y="3115"/>
                  </a:lnTo>
                  <a:lnTo>
                    <a:pt x="2160" y="3123"/>
                  </a:lnTo>
                  <a:lnTo>
                    <a:pt x="2168" y="3130"/>
                  </a:lnTo>
                  <a:lnTo>
                    <a:pt x="2178" y="3136"/>
                  </a:lnTo>
                  <a:lnTo>
                    <a:pt x="2188" y="3142"/>
                  </a:lnTo>
                  <a:lnTo>
                    <a:pt x="2198" y="3146"/>
                  </a:lnTo>
                  <a:lnTo>
                    <a:pt x="2209" y="3151"/>
                  </a:lnTo>
                  <a:lnTo>
                    <a:pt x="2222" y="3154"/>
                  </a:lnTo>
                  <a:lnTo>
                    <a:pt x="2234" y="3156"/>
                  </a:lnTo>
                  <a:lnTo>
                    <a:pt x="2246" y="3158"/>
                  </a:lnTo>
                  <a:lnTo>
                    <a:pt x="2260" y="3160"/>
                  </a:lnTo>
                  <a:lnTo>
                    <a:pt x="2275" y="3160"/>
                  </a:lnTo>
                  <a:lnTo>
                    <a:pt x="2924" y="3160"/>
                  </a:lnTo>
                  <a:close/>
                  <a:moveTo>
                    <a:pt x="0" y="3899"/>
                  </a:moveTo>
                  <a:lnTo>
                    <a:pt x="1" y="3909"/>
                  </a:lnTo>
                  <a:lnTo>
                    <a:pt x="2" y="3919"/>
                  </a:lnTo>
                  <a:lnTo>
                    <a:pt x="4" y="3929"/>
                  </a:lnTo>
                  <a:lnTo>
                    <a:pt x="8" y="3938"/>
                  </a:lnTo>
                  <a:lnTo>
                    <a:pt x="11" y="3947"/>
                  </a:lnTo>
                  <a:lnTo>
                    <a:pt x="16" y="3955"/>
                  </a:lnTo>
                  <a:lnTo>
                    <a:pt x="21" y="3961"/>
                  </a:lnTo>
                  <a:lnTo>
                    <a:pt x="27" y="3968"/>
                  </a:lnTo>
                  <a:lnTo>
                    <a:pt x="33" y="3975"/>
                  </a:lnTo>
                  <a:lnTo>
                    <a:pt x="41" y="3980"/>
                  </a:lnTo>
                  <a:lnTo>
                    <a:pt x="49" y="3985"/>
                  </a:lnTo>
                  <a:lnTo>
                    <a:pt x="58" y="3988"/>
                  </a:lnTo>
                  <a:lnTo>
                    <a:pt x="66" y="3991"/>
                  </a:lnTo>
                  <a:lnTo>
                    <a:pt x="75" y="3993"/>
                  </a:lnTo>
                  <a:lnTo>
                    <a:pt x="85" y="3995"/>
                  </a:lnTo>
                  <a:lnTo>
                    <a:pt x="96" y="3996"/>
                  </a:lnTo>
                  <a:lnTo>
                    <a:pt x="942" y="3996"/>
                  </a:lnTo>
                  <a:lnTo>
                    <a:pt x="1789" y="3996"/>
                  </a:lnTo>
                  <a:lnTo>
                    <a:pt x="2635" y="3996"/>
                  </a:lnTo>
                  <a:lnTo>
                    <a:pt x="3482" y="3996"/>
                  </a:lnTo>
                  <a:lnTo>
                    <a:pt x="3493" y="3995"/>
                  </a:lnTo>
                  <a:lnTo>
                    <a:pt x="3503" y="3993"/>
                  </a:lnTo>
                  <a:lnTo>
                    <a:pt x="3512" y="3991"/>
                  </a:lnTo>
                  <a:lnTo>
                    <a:pt x="3521" y="3988"/>
                  </a:lnTo>
                  <a:lnTo>
                    <a:pt x="3529" y="3985"/>
                  </a:lnTo>
                  <a:lnTo>
                    <a:pt x="3537" y="3980"/>
                  </a:lnTo>
                  <a:lnTo>
                    <a:pt x="3545" y="3975"/>
                  </a:lnTo>
                  <a:lnTo>
                    <a:pt x="3552" y="3968"/>
                  </a:lnTo>
                  <a:lnTo>
                    <a:pt x="3557" y="3961"/>
                  </a:lnTo>
                  <a:lnTo>
                    <a:pt x="3563" y="3955"/>
                  </a:lnTo>
                  <a:lnTo>
                    <a:pt x="3567" y="3947"/>
                  </a:lnTo>
                  <a:lnTo>
                    <a:pt x="3572" y="3938"/>
                  </a:lnTo>
                  <a:lnTo>
                    <a:pt x="3574" y="3929"/>
                  </a:lnTo>
                  <a:lnTo>
                    <a:pt x="3576" y="3919"/>
                  </a:lnTo>
                  <a:lnTo>
                    <a:pt x="3577" y="3909"/>
                  </a:lnTo>
                  <a:lnTo>
                    <a:pt x="3578" y="3899"/>
                  </a:lnTo>
                  <a:lnTo>
                    <a:pt x="3578" y="3634"/>
                  </a:lnTo>
                  <a:lnTo>
                    <a:pt x="3577" y="3624"/>
                  </a:lnTo>
                  <a:lnTo>
                    <a:pt x="3576" y="3614"/>
                  </a:lnTo>
                  <a:lnTo>
                    <a:pt x="3574" y="3605"/>
                  </a:lnTo>
                  <a:lnTo>
                    <a:pt x="3572" y="3595"/>
                  </a:lnTo>
                  <a:lnTo>
                    <a:pt x="3567" y="3587"/>
                  </a:lnTo>
                  <a:lnTo>
                    <a:pt x="3563" y="3579"/>
                  </a:lnTo>
                  <a:lnTo>
                    <a:pt x="3557" y="3572"/>
                  </a:lnTo>
                  <a:lnTo>
                    <a:pt x="3552" y="3565"/>
                  </a:lnTo>
                  <a:lnTo>
                    <a:pt x="3545" y="3559"/>
                  </a:lnTo>
                  <a:lnTo>
                    <a:pt x="3537" y="3554"/>
                  </a:lnTo>
                  <a:lnTo>
                    <a:pt x="3529" y="3549"/>
                  </a:lnTo>
                  <a:lnTo>
                    <a:pt x="3521" y="3545"/>
                  </a:lnTo>
                  <a:lnTo>
                    <a:pt x="3512" y="3542"/>
                  </a:lnTo>
                  <a:lnTo>
                    <a:pt x="3503" y="3539"/>
                  </a:lnTo>
                  <a:lnTo>
                    <a:pt x="3493" y="3538"/>
                  </a:lnTo>
                  <a:lnTo>
                    <a:pt x="3482" y="3538"/>
                  </a:lnTo>
                  <a:lnTo>
                    <a:pt x="2635" y="3538"/>
                  </a:lnTo>
                  <a:lnTo>
                    <a:pt x="1789" y="3538"/>
                  </a:lnTo>
                  <a:lnTo>
                    <a:pt x="942" y="3538"/>
                  </a:lnTo>
                  <a:lnTo>
                    <a:pt x="96" y="3538"/>
                  </a:lnTo>
                  <a:lnTo>
                    <a:pt x="85" y="3538"/>
                  </a:lnTo>
                  <a:lnTo>
                    <a:pt x="75" y="3539"/>
                  </a:lnTo>
                  <a:lnTo>
                    <a:pt x="66" y="3542"/>
                  </a:lnTo>
                  <a:lnTo>
                    <a:pt x="58" y="3545"/>
                  </a:lnTo>
                  <a:lnTo>
                    <a:pt x="49" y="3549"/>
                  </a:lnTo>
                  <a:lnTo>
                    <a:pt x="41" y="3554"/>
                  </a:lnTo>
                  <a:lnTo>
                    <a:pt x="33" y="3559"/>
                  </a:lnTo>
                  <a:lnTo>
                    <a:pt x="27" y="3565"/>
                  </a:lnTo>
                  <a:lnTo>
                    <a:pt x="21" y="3572"/>
                  </a:lnTo>
                  <a:lnTo>
                    <a:pt x="16" y="3579"/>
                  </a:lnTo>
                  <a:lnTo>
                    <a:pt x="11" y="3587"/>
                  </a:lnTo>
                  <a:lnTo>
                    <a:pt x="8" y="3595"/>
                  </a:lnTo>
                  <a:lnTo>
                    <a:pt x="4" y="3605"/>
                  </a:lnTo>
                  <a:lnTo>
                    <a:pt x="2" y="3614"/>
                  </a:lnTo>
                  <a:lnTo>
                    <a:pt x="1" y="3624"/>
                  </a:lnTo>
                  <a:lnTo>
                    <a:pt x="0" y="3634"/>
                  </a:lnTo>
                  <a:lnTo>
                    <a:pt x="0" y="3899"/>
                  </a:lnTo>
                  <a:close/>
                  <a:moveTo>
                    <a:pt x="0" y="361"/>
                  </a:moveTo>
                  <a:lnTo>
                    <a:pt x="1" y="371"/>
                  </a:lnTo>
                  <a:lnTo>
                    <a:pt x="2" y="381"/>
                  </a:lnTo>
                  <a:lnTo>
                    <a:pt x="4" y="391"/>
                  </a:lnTo>
                  <a:lnTo>
                    <a:pt x="8" y="400"/>
                  </a:lnTo>
                  <a:lnTo>
                    <a:pt x="11" y="409"/>
                  </a:lnTo>
                  <a:lnTo>
                    <a:pt x="16" y="416"/>
                  </a:lnTo>
                  <a:lnTo>
                    <a:pt x="21" y="423"/>
                  </a:lnTo>
                  <a:lnTo>
                    <a:pt x="27" y="430"/>
                  </a:lnTo>
                  <a:lnTo>
                    <a:pt x="33" y="436"/>
                  </a:lnTo>
                  <a:lnTo>
                    <a:pt x="41" y="441"/>
                  </a:lnTo>
                  <a:lnTo>
                    <a:pt x="49" y="446"/>
                  </a:lnTo>
                  <a:lnTo>
                    <a:pt x="58" y="450"/>
                  </a:lnTo>
                  <a:lnTo>
                    <a:pt x="66" y="453"/>
                  </a:lnTo>
                  <a:lnTo>
                    <a:pt x="75" y="455"/>
                  </a:lnTo>
                  <a:lnTo>
                    <a:pt x="85" y="456"/>
                  </a:lnTo>
                  <a:lnTo>
                    <a:pt x="96" y="456"/>
                  </a:lnTo>
                  <a:lnTo>
                    <a:pt x="942" y="456"/>
                  </a:lnTo>
                  <a:lnTo>
                    <a:pt x="1789" y="456"/>
                  </a:lnTo>
                  <a:lnTo>
                    <a:pt x="2635" y="456"/>
                  </a:lnTo>
                  <a:lnTo>
                    <a:pt x="3482" y="456"/>
                  </a:lnTo>
                  <a:lnTo>
                    <a:pt x="3493" y="456"/>
                  </a:lnTo>
                  <a:lnTo>
                    <a:pt x="3503" y="455"/>
                  </a:lnTo>
                  <a:lnTo>
                    <a:pt x="3512" y="453"/>
                  </a:lnTo>
                  <a:lnTo>
                    <a:pt x="3521" y="450"/>
                  </a:lnTo>
                  <a:lnTo>
                    <a:pt x="3529" y="446"/>
                  </a:lnTo>
                  <a:lnTo>
                    <a:pt x="3537" y="441"/>
                  </a:lnTo>
                  <a:lnTo>
                    <a:pt x="3545" y="436"/>
                  </a:lnTo>
                  <a:lnTo>
                    <a:pt x="3552" y="430"/>
                  </a:lnTo>
                  <a:lnTo>
                    <a:pt x="3557" y="423"/>
                  </a:lnTo>
                  <a:lnTo>
                    <a:pt x="3563" y="416"/>
                  </a:lnTo>
                  <a:lnTo>
                    <a:pt x="3567" y="409"/>
                  </a:lnTo>
                  <a:lnTo>
                    <a:pt x="3572" y="400"/>
                  </a:lnTo>
                  <a:lnTo>
                    <a:pt x="3574" y="391"/>
                  </a:lnTo>
                  <a:lnTo>
                    <a:pt x="3576" y="381"/>
                  </a:lnTo>
                  <a:lnTo>
                    <a:pt x="3577" y="371"/>
                  </a:lnTo>
                  <a:lnTo>
                    <a:pt x="3578" y="361"/>
                  </a:lnTo>
                  <a:lnTo>
                    <a:pt x="3578" y="95"/>
                  </a:lnTo>
                  <a:lnTo>
                    <a:pt x="3577" y="85"/>
                  </a:lnTo>
                  <a:lnTo>
                    <a:pt x="3576" y="75"/>
                  </a:lnTo>
                  <a:lnTo>
                    <a:pt x="3574" y="65"/>
                  </a:lnTo>
                  <a:lnTo>
                    <a:pt x="3572" y="57"/>
                  </a:lnTo>
                  <a:lnTo>
                    <a:pt x="3567" y="49"/>
                  </a:lnTo>
                  <a:lnTo>
                    <a:pt x="3563" y="41"/>
                  </a:lnTo>
                  <a:lnTo>
                    <a:pt x="3557" y="33"/>
                  </a:lnTo>
                  <a:lnTo>
                    <a:pt x="3552" y="27"/>
                  </a:lnTo>
                  <a:lnTo>
                    <a:pt x="3545" y="20"/>
                  </a:lnTo>
                  <a:lnTo>
                    <a:pt x="3537" y="16"/>
                  </a:lnTo>
                  <a:lnTo>
                    <a:pt x="3529" y="11"/>
                  </a:lnTo>
                  <a:lnTo>
                    <a:pt x="3521" y="7"/>
                  </a:lnTo>
                  <a:lnTo>
                    <a:pt x="3512" y="3"/>
                  </a:lnTo>
                  <a:lnTo>
                    <a:pt x="3503" y="1"/>
                  </a:lnTo>
                  <a:lnTo>
                    <a:pt x="3493" y="0"/>
                  </a:lnTo>
                  <a:lnTo>
                    <a:pt x="3482" y="0"/>
                  </a:lnTo>
                  <a:lnTo>
                    <a:pt x="2635" y="0"/>
                  </a:lnTo>
                  <a:lnTo>
                    <a:pt x="1789" y="0"/>
                  </a:lnTo>
                  <a:lnTo>
                    <a:pt x="942" y="0"/>
                  </a:lnTo>
                  <a:lnTo>
                    <a:pt x="96" y="0"/>
                  </a:lnTo>
                  <a:lnTo>
                    <a:pt x="85" y="0"/>
                  </a:lnTo>
                  <a:lnTo>
                    <a:pt x="75" y="1"/>
                  </a:lnTo>
                  <a:lnTo>
                    <a:pt x="66" y="3"/>
                  </a:lnTo>
                  <a:lnTo>
                    <a:pt x="58" y="7"/>
                  </a:lnTo>
                  <a:lnTo>
                    <a:pt x="49" y="11"/>
                  </a:lnTo>
                  <a:lnTo>
                    <a:pt x="41" y="16"/>
                  </a:lnTo>
                  <a:lnTo>
                    <a:pt x="33" y="20"/>
                  </a:lnTo>
                  <a:lnTo>
                    <a:pt x="27" y="27"/>
                  </a:lnTo>
                  <a:lnTo>
                    <a:pt x="21" y="33"/>
                  </a:lnTo>
                  <a:lnTo>
                    <a:pt x="16" y="41"/>
                  </a:lnTo>
                  <a:lnTo>
                    <a:pt x="11" y="49"/>
                  </a:lnTo>
                  <a:lnTo>
                    <a:pt x="8" y="57"/>
                  </a:lnTo>
                  <a:lnTo>
                    <a:pt x="4" y="65"/>
                  </a:lnTo>
                  <a:lnTo>
                    <a:pt x="2" y="75"/>
                  </a:lnTo>
                  <a:lnTo>
                    <a:pt x="1" y="85"/>
                  </a:lnTo>
                  <a:lnTo>
                    <a:pt x="0" y="95"/>
                  </a:lnTo>
                  <a:lnTo>
                    <a:pt x="0" y="36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Skatta Sans Regular" pitchFamily="50" charset="0"/>
              </a:endParaRPr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BE1640A1-F5C8-47E0-94BC-B915B5C2E326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579338" y="2067802"/>
              <a:ext cx="1260000" cy="1073166"/>
            </a:xfrm>
            <a:custGeom>
              <a:avLst/>
              <a:gdLst>
                <a:gd name="T0" fmla="*/ 2264 w 3082"/>
                <a:gd name="T1" fmla="*/ 744 h 2625"/>
                <a:gd name="T2" fmla="*/ 2266 w 3082"/>
                <a:gd name="T3" fmla="*/ 977 h 2625"/>
                <a:gd name="T4" fmla="*/ 2059 w 3082"/>
                <a:gd name="T5" fmla="*/ 1141 h 2625"/>
                <a:gd name="T6" fmla="*/ 2128 w 3082"/>
                <a:gd name="T7" fmla="*/ 961 h 2625"/>
                <a:gd name="T8" fmla="*/ 2534 w 3082"/>
                <a:gd name="T9" fmla="*/ 737 h 2625"/>
                <a:gd name="T10" fmla="*/ 2516 w 3082"/>
                <a:gd name="T11" fmla="*/ 927 h 2625"/>
                <a:gd name="T12" fmla="*/ 2383 w 3082"/>
                <a:gd name="T13" fmla="*/ 1154 h 2625"/>
                <a:gd name="T14" fmla="*/ 2470 w 3082"/>
                <a:gd name="T15" fmla="*/ 1025 h 2625"/>
                <a:gd name="T16" fmla="*/ 733 w 3082"/>
                <a:gd name="T17" fmla="*/ 1006 h 2625"/>
                <a:gd name="T18" fmla="*/ 885 w 3082"/>
                <a:gd name="T19" fmla="*/ 1154 h 2625"/>
                <a:gd name="T20" fmla="*/ 60 w 3082"/>
                <a:gd name="T21" fmla="*/ 1150 h 2625"/>
                <a:gd name="T22" fmla="*/ 1819 w 3082"/>
                <a:gd name="T23" fmla="*/ 1010 h 2625"/>
                <a:gd name="T24" fmla="*/ 1910 w 3082"/>
                <a:gd name="T25" fmla="*/ 1155 h 2625"/>
                <a:gd name="T26" fmla="*/ 1110 w 3082"/>
                <a:gd name="T27" fmla="*/ 1070 h 2625"/>
                <a:gd name="T28" fmla="*/ 1273 w 3082"/>
                <a:gd name="T29" fmla="*/ 1060 h 2625"/>
                <a:gd name="T30" fmla="*/ 962 w 3082"/>
                <a:gd name="T31" fmla="*/ 1091 h 2625"/>
                <a:gd name="T32" fmla="*/ 1547 w 3082"/>
                <a:gd name="T33" fmla="*/ 832 h 2625"/>
                <a:gd name="T34" fmla="*/ 1673 w 3082"/>
                <a:gd name="T35" fmla="*/ 911 h 2625"/>
                <a:gd name="T36" fmla="*/ 1380 w 3082"/>
                <a:gd name="T37" fmla="*/ 739 h 2625"/>
                <a:gd name="T38" fmla="*/ 3022 w 3082"/>
                <a:gd name="T39" fmla="*/ 1141 h 2625"/>
                <a:gd name="T40" fmla="*/ 706 w 3082"/>
                <a:gd name="T41" fmla="*/ 2392 h 2625"/>
                <a:gd name="T42" fmla="*/ 702 w 3082"/>
                <a:gd name="T43" fmla="*/ 2624 h 2625"/>
                <a:gd name="T44" fmla="*/ 1320 w 3082"/>
                <a:gd name="T45" fmla="*/ 2090 h 2625"/>
                <a:gd name="T46" fmla="*/ 1026 w 3082"/>
                <a:gd name="T47" fmla="*/ 2625 h 2625"/>
                <a:gd name="T48" fmla="*/ 1151 w 3082"/>
                <a:gd name="T49" fmla="*/ 2177 h 2625"/>
                <a:gd name="T50" fmla="*/ 1200 w 3082"/>
                <a:gd name="T51" fmla="*/ 2104 h 2625"/>
                <a:gd name="T52" fmla="*/ 1429 w 3082"/>
                <a:gd name="T53" fmla="*/ 2214 h 2625"/>
                <a:gd name="T54" fmla="*/ 1980 w 3082"/>
                <a:gd name="T55" fmla="*/ 2526 h 2625"/>
                <a:gd name="T56" fmla="*/ 1928 w 3082"/>
                <a:gd name="T57" fmla="*/ 2207 h 2625"/>
                <a:gd name="T58" fmla="*/ 2141 w 3082"/>
                <a:gd name="T59" fmla="*/ 2491 h 2625"/>
                <a:gd name="T60" fmla="*/ 1928 w 3082"/>
                <a:gd name="T61" fmla="*/ 2207 h 2625"/>
                <a:gd name="T62" fmla="*/ 2436 w 3082"/>
                <a:gd name="T63" fmla="*/ 2096 h 2625"/>
                <a:gd name="T64" fmla="*/ 2188 w 3082"/>
                <a:gd name="T65" fmla="*/ 2624 h 2625"/>
                <a:gd name="T66" fmla="*/ 2236 w 3082"/>
                <a:gd name="T67" fmla="*/ 2169 h 2625"/>
                <a:gd name="T68" fmla="*/ 2314 w 3082"/>
                <a:gd name="T69" fmla="*/ 2123 h 2625"/>
                <a:gd name="T70" fmla="*/ 1320 w 3082"/>
                <a:gd name="T71" fmla="*/ 177 h 2625"/>
                <a:gd name="T72" fmla="*/ 1094 w 3082"/>
                <a:gd name="T73" fmla="*/ 230 h 2625"/>
                <a:gd name="T74" fmla="*/ 1361 w 3082"/>
                <a:gd name="T75" fmla="*/ 54 h 2625"/>
                <a:gd name="T76" fmla="*/ 1345 w 3082"/>
                <a:gd name="T77" fmla="*/ 391 h 2625"/>
                <a:gd name="T78" fmla="*/ 1007 w 3082"/>
                <a:gd name="T79" fmla="*/ 313 h 2625"/>
                <a:gd name="T80" fmla="*/ 1174 w 3082"/>
                <a:gd name="T81" fmla="*/ 2 h 2625"/>
                <a:gd name="T82" fmla="*/ 1786 w 3082"/>
                <a:gd name="T83" fmla="*/ 89 h 2625"/>
                <a:gd name="T84" fmla="*/ 1490 w 3082"/>
                <a:gd name="T85" fmla="*/ 99 h 2625"/>
                <a:gd name="T86" fmla="*/ 2149 w 3082"/>
                <a:gd name="T87" fmla="*/ 9 h 2625"/>
                <a:gd name="T88" fmla="*/ 908 w 3082"/>
                <a:gd name="T89" fmla="*/ 365 h 2625"/>
                <a:gd name="T90" fmla="*/ 816 w 3082"/>
                <a:gd name="T91" fmla="*/ 336 h 2625"/>
                <a:gd name="T92" fmla="*/ 2672 w 3082"/>
                <a:gd name="T93" fmla="*/ 1878 h 2625"/>
                <a:gd name="T94" fmla="*/ 1737 w 3082"/>
                <a:gd name="T95" fmla="*/ 1879 h 2625"/>
                <a:gd name="T96" fmla="*/ 2104 w 3082"/>
                <a:gd name="T97" fmla="*/ 1888 h 2625"/>
                <a:gd name="T98" fmla="*/ 2174 w 3082"/>
                <a:gd name="T99" fmla="*/ 1888 h 2625"/>
                <a:gd name="T100" fmla="*/ 2719 w 3082"/>
                <a:gd name="T101" fmla="*/ 1481 h 2625"/>
                <a:gd name="T102" fmla="*/ 333 w 3082"/>
                <a:gd name="T103" fmla="*/ 1634 h 2625"/>
                <a:gd name="T104" fmla="*/ 110 w 3082"/>
                <a:gd name="T105" fmla="*/ 1707 h 2625"/>
                <a:gd name="T106" fmla="*/ 383 w 3082"/>
                <a:gd name="T107" fmla="*/ 1524 h 2625"/>
                <a:gd name="T108" fmla="*/ 351 w 3082"/>
                <a:gd name="T109" fmla="*/ 1860 h 2625"/>
                <a:gd name="T110" fmla="*/ 17 w 3082"/>
                <a:gd name="T111" fmla="*/ 1766 h 2625"/>
                <a:gd name="T112" fmla="*/ 200 w 3082"/>
                <a:gd name="T113" fmla="*/ 1464 h 2625"/>
                <a:gd name="T114" fmla="*/ 974 w 3082"/>
                <a:gd name="T115" fmla="*/ 1638 h 2625"/>
                <a:gd name="T116" fmla="*/ 1221 w 3082"/>
                <a:gd name="T117" fmla="*/ 1494 h 2625"/>
                <a:gd name="T118" fmla="*/ 1083 w 3082"/>
                <a:gd name="T119" fmla="*/ 1612 h 2625"/>
                <a:gd name="T120" fmla="*/ 1173 w 3082"/>
                <a:gd name="T121" fmla="*/ 1878 h 2625"/>
                <a:gd name="T122" fmla="*/ 1067 w 3082"/>
                <a:gd name="T123" fmla="*/ 1808 h 2625"/>
                <a:gd name="T124" fmla="*/ 777 w 3082"/>
                <a:gd name="T125" fmla="*/ 1480 h 26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082" h="2625">
                  <a:moveTo>
                    <a:pt x="1319" y="1480"/>
                  </a:moveTo>
                  <a:lnTo>
                    <a:pt x="1319" y="1478"/>
                  </a:lnTo>
                  <a:lnTo>
                    <a:pt x="1320" y="1476"/>
                  </a:lnTo>
                  <a:lnTo>
                    <a:pt x="1322" y="1473"/>
                  </a:lnTo>
                  <a:lnTo>
                    <a:pt x="1323" y="1472"/>
                  </a:lnTo>
                  <a:lnTo>
                    <a:pt x="1325" y="1471"/>
                  </a:lnTo>
                  <a:lnTo>
                    <a:pt x="1329" y="1470"/>
                  </a:lnTo>
                  <a:lnTo>
                    <a:pt x="1411" y="1470"/>
                  </a:lnTo>
                  <a:lnTo>
                    <a:pt x="1415" y="1471"/>
                  </a:lnTo>
                  <a:lnTo>
                    <a:pt x="1419" y="1473"/>
                  </a:lnTo>
                  <a:lnTo>
                    <a:pt x="1420" y="1474"/>
                  </a:lnTo>
                  <a:lnTo>
                    <a:pt x="1421" y="1476"/>
                  </a:lnTo>
                  <a:lnTo>
                    <a:pt x="1421" y="1478"/>
                  </a:lnTo>
                  <a:lnTo>
                    <a:pt x="1421" y="1480"/>
                  </a:lnTo>
                  <a:lnTo>
                    <a:pt x="1421" y="1879"/>
                  </a:lnTo>
                  <a:lnTo>
                    <a:pt x="1421" y="1881"/>
                  </a:lnTo>
                  <a:lnTo>
                    <a:pt x="1421" y="1883"/>
                  </a:lnTo>
                  <a:lnTo>
                    <a:pt x="1419" y="1886"/>
                  </a:lnTo>
                  <a:lnTo>
                    <a:pt x="1417" y="1887"/>
                  </a:lnTo>
                  <a:lnTo>
                    <a:pt x="1415" y="1888"/>
                  </a:lnTo>
                  <a:lnTo>
                    <a:pt x="1411" y="1889"/>
                  </a:lnTo>
                  <a:lnTo>
                    <a:pt x="1329" y="1889"/>
                  </a:lnTo>
                  <a:lnTo>
                    <a:pt x="1325" y="1888"/>
                  </a:lnTo>
                  <a:lnTo>
                    <a:pt x="1322" y="1886"/>
                  </a:lnTo>
                  <a:lnTo>
                    <a:pt x="1321" y="1885"/>
                  </a:lnTo>
                  <a:lnTo>
                    <a:pt x="1320" y="1883"/>
                  </a:lnTo>
                  <a:lnTo>
                    <a:pt x="1319" y="1881"/>
                  </a:lnTo>
                  <a:lnTo>
                    <a:pt x="1319" y="1879"/>
                  </a:lnTo>
                  <a:lnTo>
                    <a:pt x="1319" y="1480"/>
                  </a:lnTo>
                  <a:close/>
                  <a:moveTo>
                    <a:pt x="2184" y="729"/>
                  </a:moveTo>
                  <a:lnTo>
                    <a:pt x="2195" y="729"/>
                  </a:lnTo>
                  <a:lnTo>
                    <a:pt x="2206" y="730"/>
                  </a:lnTo>
                  <a:lnTo>
                    <a:pt x="2217" y="731"/>
                  </a:lnTo>
                  <a:lnTo>
                    <a:pt x="2227" y="733"/>
                  </a:lnTo>
                  <a:lnTo>
                    <a:pt x="2237" y="735"/>
                  </a:lnTo>
                  <a:lnTo>
                    <a:pt x="2246" y="737"/>
                  </a:lnTo>
                  <a:lnTo>
                    <a:pt x="2253" y="739"/>
                  </a:lnTo>
                  <a:lnTo>
                    <a:pt x="2259" y="741"/>
                  </a:lnTo>
                  <a:lnTo>
                    <a:pt x="2262" y="742"/>
                  </a:lnTo>
                  <a:lnTo>
                    <a:pt x="2264" y="744"/>
                  </a:lnTo>
                  <a:lnTo>
                    <a:pt x="2265" y="745"/>
                  </a:lnTo>
                  <a:lnTo>
                    <a:pt x="2266" y="747"/>
                  </a:lnTo>
                  <a:lnTo>
                    <a:pt x="2267" y="749"/>
                  </a:lnTo>
                  <a:lnTo>
                    <a:pt x="2267" y="752"/>
                  </a:lnTo>
                  <a:lnTo>
                    <a:pt x="2267" y="757"/>
                  </a:lnTo>
                  <a:lnTo>
                    <a:pt x="2248" y="818"/>
                  </a:lnTo>
                  <a:lnTo>
                    <a:pt x="2247" y="821"/>
                  </a:lnTo>
                  <a:lnTo>
                    <a:pt x="2246" y="823"/>
                  </a:lnTo>
                  <a:lnTo>
                    <a:pt x="2245" y="825"/>
                  </a:lnTo>
                  <a:lnTo>
                    <a:pt x="2243" y="826"/>
                  </a:lnTo>
                  <a:lnTo>
                    <a:pt x="2241" y="827"/>
                  </a:lnTo>
                  <a:lnTo>
                    <a:pt x="2239" y="827"/>
                  </a:lnTo>
                  <a:lnTo>
                    <a:pt x="2233" y="827"/>
                  </a:lnTo>
                  <a:lnTo>
                    <a:pt x="2223" y="823"/>
                  </a:lnTo>
                  <a:lnTo>
                    <a:pt x="2213" y="821"/>
                  </a:lnTo>
                  <a:lnTo>
                    <a:pt x="2204" y="819"/>
                  </a:lnTo>
                  <a:lnTo>
                    <a:pt x="2194" y="818"/>
                  </a:lnTo>
                  <a:lnTo>
                    <a:pt x="2188" y="819"/>
                  </a:lnTo>
                  <a:lnTo>
                    <a:pt x="2185" y="819"/>
                  </a:lnTo>
                  <a:lnTo>
                    <a:pt x="2182" y="820"/>
                  </a:lnTo>
                  <a:lnTo>
                    <a:pt x="2180" y="821"/>
                  </a:lnTo>
                  <a:lnTo>
                    <a:pt x="2177" y="823"/>
                  </a:lnTo>
                  <a:lnTo>
                    <a:pt x="2173" y="826"/>
                  </a:lnTo>
                  <a:lnTo>
                    <a:pt x="2170" y="829"/>
                  </a:lnTo>
                  <a:lnTo>
                    <a:pt x="2169" y="831"/>
                  </a:lnTo>
                  <a:lnTo>
                    <a:pt x="2168" y="834"/>
                  </a:lnTo>
                  <a:lnTo>
                    <a:pt x="2166" y="839"/>
                  </a:lnTo>
                  <a:lnTo>
                    <a:pt x="2166" y="844"/>
                  </a:lnTo>
                  <a:lnTo>
                    <a:pt x="2167" y="850"/>
                  </a:lnTo>
                  <a:lnTo>
                    <a:pt x="2168" y="856"/>
                  </a:lnTo>
                  <a:lnTo>
                    <a:pt x="2171" y="862"/>
                  </a:lnTo>
                  <a:lnTo>
                    <a:pt x="2175" y="867"/>
                  </a:lnTo>
                  <a:lnTo>
                    <a:pt x="2179" y="872"/>
                  </a:lnTo>
                  <a:lnTo>
                    <a:pt x="2184" y="878"/>
                  </a:lnTo>
                  <a:lnTo>
                    <a:pt x="2195" y="890"/>
                  </a:lnTo>
                  <a:lnTo>
                    <a:pt x="2228" y="927"/>
                  </a:lnTo>
                  <a:lnTo>
                    <a:pt x="2238" y="938"/>
                  </a:lnTo>
                  <a:lnTo>
                    <a:pt x="2248" y="950"/>
                  </a:lnTo>
                  <a:lnTo>
                    <a:pt x="2257" y="963"/>
                  </a:lnTo>
                  <a:lnTo>
                    <a:pt x="2266" y="977"/>
                  </a:lnTo>
                  <a:lnTo>
                    <a:pt x="2270" y="985"/>
                  </a:lnTo>
                  <a:lnTo>
                    <a:pt x="2273" y="992"/>
                  </a:lnTo>
                  <a:lnTo>
                    <a:pt x="2276" y="1000"/>
                  </a:lnTo>
                  <a:lnTo>
                    <a:pt x="2279" y="1007"/>
                  </a:lnTo>
                  <a:lnTo>
                    <a:pt x="2281" y="1015"/>
                  </a:lnTo>
                  <a:lnTo>
                    <a:pt x="2282" y="1023"/>
                  </a:lnTo>
                  <a:lnTo>
                    <a:pt x="2283" y="1031"/>
                  </a:lnTo>
                  <a:lnTo>
                    <a:pt x="2284" y="1039"/>
                  </a:lnTo>
                  <a:lnTo>
                    <a:pt x="2284" y="1047"/>
                  </a:lnTo>
                  <a:lnTo>
                    <a:pt x="2283" y="1054"/>
                  </a:lnTo>
                  <a:lnTo>
                    <a:pt x="2282" y="1061"/>
                  </a:lnTo>
                  <a:lnTo>
                    <a:pt x="2281" y="1068"/>
                  </a:lnTo>
                  <a:lnTo>
                    <a:pt x="2280" y="1075"/>
                  </a:lnTo>
                  <a:lnTo>
                    <a:pt x="2278" y="1081"/>
                  </a:lnTo>
                  <a:lnTo>
                    <a:pt x="2274" y="1093"/>
                  </a:lnTo>
                  <a:lnTo>
                    <a:pt x="2268" y="1104"/>
                  </a:lnTo>
                  <a:lnTo>
                    <a:pt x="2265" y="1109"/>
                  </a:lnTo>
                  <a:lnTo>
                    <a:pt x="2262" y="1114"/>
                  </a:lnTo>
                  <a:lnTo>
                    <a:pt x="2258" y="1119"/>
                  </a:lnTo>
                  <a:lnTo>
                    <a:pt x="2255" y="1123"/>
                  </a:lnTo>
                  <a:lnTo>
                    <a:pt x="2246" y="1131"/>
                  </a:lnTo>
                  <a:lnTo>
                    <a:pt x="2237" y="1139"/>
                  </a:lnTo>
                  <a:lnTo>
                    <a:pt x="2227" y="1145"/>
                  </a:lnTo>
                  <a:lnTo>
                    <a:pt x="2217" y="1150"/>
                  </a:lnTo>
                  <a:lnTo>
                    <a:pt x="2205" y="1154"/>
                  </a:lnTo>
                  <a:lnTo>
                    <a:pt x="2193" y="1158"/>
                  </a:lnTo>
                  <a:lnTo>
                    <a:pt x="2187" y="1159"/>
                  </a:lnTo>
                  <a:lnTo>
                    <a:pt x="2181" y="1160"/>
                  </a:lnTo>
                  <a:lnTo>
                    <a:pt x="2168" y="1161"/>
                  </a:lnTo>
                  <a:lnTo>
                    <a:pt x="2155" y="1162"/>
                  </a:lnTo>
                  <a:lnTo>
                    <a:pt x="2143" y="1162"/>
                  </a:lnTo>
                  <a:lnTo>
                    <a:pt x="2131" y="1161"/>
                  </a:lnTo>
                  <a:lnTo>
                    <a:pt x="2118" y="1159"/>
                  </a:lnTo>
                  <a:lnTo>
                    <a:pt x="2106" y="1157"/>
                  </a:lnTo>
                  <a:lnTo>
                    <a:pt x="2094" y="1154"/>
                  </a:lnTo>
                  <a:lnTo>
                    <a:pt x="2083" y="1151"/>
                  </a:lnTo>
                  <a:lnTo>
                    <a:pt x="2073" y="1148"/>
                  </a:lnTo>
                  <a:lnTo>
                    <a:pt x="2064" y="1144"/>
                  </a:lnTo>
                  <a:lnTo>
                    <a:pt x="2062" y="1143"/>
                  </a:lnTo>
                  <a:lnTo>
                    <a:pt x="2059" y="1141"/>
                  </a:lnTo>
                  <a:lnTo>
                    <a:pt x="2058" y="1140"/>
                  </a:lnTo>
                  <a:lnTo>
                    <a:pt x="2057" y="1138"/>
                  </a:lnTo>
                  <a:lnTo>
                    <a:pt x="2057" y="1136"/>
                  </a:lnTo>
                  <a:lnTo>
                    <a:pt x="2056" y="1134"/>
                  </a:lnTo>
                  <a:lnTo>
                    <a:pt x="2057" y="1131"/>
                  </a:lnTo>
                  <a:lnTo>
                    <a:pt x="2077" y="1065"/>
                  </a:lnTo>
                  <a:lnTo>
                    <a:pt x="2078" y="1062"/>
                  </a:lnTo>
                  <a:lnTo>
                    <a:pt x="2079" y="1060"/>
                  </a:lnTo>
                  <a:lnTo>
                    <a:pt x="2080" y="1058"/>
                  </a:lnTo>
                  <a:lnTo>
                    <a:pt x="2082" y="1057"/>
                  </a:lnTo>
                  <a:lnTo>
                    <a:pt x="2084" y="1057"/>
                  </a:lnTo>
                  <a:lnTo>
                    <a:pt x="2086" y="1057"/>
                  </a:lnTo>
                  <a:lnTo>
                    <a:pt x="2088" y="1057"/>
                  </a:lnTo>
                  <a:lnTo>
                    <a:pt x="2091" y="1058"/>
                  </a:lnTo>
                  <a:lnTo>
                    <a:pt x="2098" y="1062"/>
                  </a:lnTo>
                  <a:lnTo>
                    <a:pt x="2106" y="1064"/>
                  </a:lnTo>
                  <a:lnTo>
                    <a:pt x="2113" y="1067"/>
                  </a:lnTo>
                  <a:lnTo>
                    <a:pt x="2120" y="1069"/>
                  </a:lnTo>
                  <a:lnTo>
                    <a:pt x="2128" y="1070"/>
                  </a:lnTo>
                  <a:lnTo>
                    <a:pt x="2135" y="1071"/>
                  </a:lnTo>
                  <a:lnTo>
                    <a:pt x="2142" y="1072"/>
                  </a:lnTo>
                  <a:lnTo>
                    <a:pt x="2148" y="1072"/>
                  </a:lnTo>
                  <a:lnTo>
                    <a:pt x="2157" y="1071"/>
                  </a:lnTo>
                  <a:lnTo>
                    <a:pt x="2161" y="1071"/>
                  </a:lnTo>
                  <a:lnTo>
                    <a:pt x="2165" y="1070"/>
                  </a:lnTo>
                  <a:lnTo>
                    <a:pt x="2171" y="1067"/>
                  </a:lnTo>
                  <a:lnTo>
                    <a:pt x="2176" y="1064"/>
                  </a:lnTo>
                  <a:lnTo>
                    <a:pt x="2180" y="1060"/>
                  </a:lnTo>
                  <a:lnTo>
                    <a:pt x="2182" y="1057"/>
                  </a:lnTo>
                  <a:lnTo>
                    <a:pt x="2183" y="1055"/>
                  </a:lnTo>
                  <a:lnTo>
                    <a:pt x="2185" y="1049"/>
                  </a:lnTo>
                  <a:lnTo>
                    <a:pt x="2186" y="1042"/>
                  </a:lnTo>
                  <a:lnTo>
                    <a:pt x="2185" y="1037"/>
                  </a:lnTo>
                  <a:lnTo>
                    <a:pt x="2184" y="1031"/>
                  </a:lnTo>
                  <a:lnTo>
                    <a:pt x="2181" y="1025"/>
                  </a:lnTo>
                  <a:lnTo>
                    <a:pt x="2178" y="1020"/>
                  </a:lnTo>
                  <a:lnTo>
                    <a:pt x="2175" y="1014"/>
                  </a:lnTo>
                  <a:lnTo>
                    <a:pt x="2170" y="1008"/>
                  </a:lnTo>
                  <a:lnTo>
                    <a:pt x="2161" y="997"/>
                  </a:lnTo>
                  <a:lnTo>
                    <a:pt x="2128" y="961"/>
                  </a:lnTo>
                  <a:lnTo>
                    <a:pt x="2116" y="948"/>
                  </a:lnTo>
                  <a:lnTo>
                    <a:pt x="2106" y="935"/>
                  </a:lnTo>
                  <a:lnTo>
                    <a:pt x="2095" y="922"/>
                  </a:lnTo>
                  <a:lnTo>
                    <a:pt x="2091" y="915"/>
                  </a:lnTo>
                  <a:lnTo>
                    <a:pt x="2086" y="908"/>
                  </a:lnTo>
                  <a:lnTo>
                    <a:pt x="2082" y="900"/>
                  </a:lnTo>
                  <a:lnTo>
                    <a:pt x="2079" y="893"/>
                  </a:lnTo>
                  <a:lnTo>
                    <a:pt x="2076" y="885"/>
                  </a:lnTo>
                  <a:lnTo>
                    <a:pt x="2073" y="877"/>
                  </a:lnTo>
                  <a:lnTo>
                    <a:pt x="2071" y="868"/>
                  </a:lnTo>
                  <a:lnTo>
                    <a:pt x="2070" y="864"/>
                  </a:lnTo>
                  <a:lnTo>
                    <a:pt x="2069" y="859"/>
                  </a:lnTo>
                  <a:lnTo>
                    <a:pt x="2068" y="850"/>
                  </a:lnTo>
                  <a:lnTo>
                    <a:pt x="2068" y="841"/>
                  </a:lnTo>
                  <a:lnTo>
                    <a:pt x="2068" y="829"/>
                  </a:lnTo>
                  <a:lnTo>
                    <a:pt x="2070" y="817"/>
                  </a:lnTo>
                  <a:lnTo>
                    <a:pt x="2073" y="806"/>
                  </a:lnTo>
                  <a:lnTo>
                    <a:pt x="2077" y="795"/>
                  </a:lnTo>
                  <a:lnTo>
                    <a:pt x="2081" y="785"/>
                  </a:lnTo>
                  <a:lnTo>
                    <a:pt x="2087" y="776"/>
                  </a:lnTo>
                  <a:lnTo>
                    <a:pt x="2094" y="768"/>
                  </a:lnTo>
                  <a:lnTo>
                    <a:pt x="2101" y="760"/>
                  </a:lnTo>
                  <a:lnTo>
                    <a:pt x="2105" y="756"/>
                  </a:lnTo>
                  <a:lnTo>
                    <a:pt x="2109" y="753"/>
                  </a:lnTo>
                  <a:lnTo>
                    <a:pt x="2118" y="747"/>
                  </a:lnTo>
                  <a:lnTo>
                    <a:pt x="2123" y="744"/>
                  </a:lnTo>
                  <a:lnTo>
                    <a:pt x="2128" y="741"/>
                  </a:lnTo>
                  <a:lnTo>
                    <a:pt x="2138" y="737"/>
                  </a:lnTo>
                  <a:lnTo>
                    <a:pt x="2148" y="734"/>
                  </a:lnTo>
                  <a:lnTo>
                    <a:pt x="2160" y="731"/>
                  </a:lnTo>
                  <a:lnTo>
                    <a:pt x="2166" y="730"/>
                  </a:lnTo>
                  <a:lnTo>
                    <a:pt x="2172" y="730"/>
                  </a:lnTo>
                  <a:lnTo>
                    <a:pt x="2184" y="729"/>
                  </a:lnTo>
                  <a:close/>
                  <a:moveTo>
                    <a:pt x="2472" y="729"/>
                  </a:moveTo>
                  <a:lnTo>
                    <a:pt x="2483" y="729"/>
                  </a:lnTo>
                  <a:lnTo>
                    <a:pt x="2495" y="730"/>
                  </a:lnTo>
                  <a:lnTo>
                    <a:pt x="2505" y="731"/>
                  </a:lnTo>
                  <a:lnTo>
                    <a:pt x="2516" y="733"/>
                  </a:lnTo>
                  <a:lnTo>
                    <a:pt x="2525" y="735"/>
                  </a:lnTo>
                  <a:lnTo>
                    <a:pt x="2534" y="737"/>
                  </a:lnTo>
                  <a:lnTo>
                    <a:pt x="2542" y="739"/>
                  </a:lnTo>
                  <a:lnTo>
                    <a:pt x="2548" y="741"/>
                  </a:lnTo>
                  <a:lnTo>
                    <a:pt x="2550" y="742"/>
                  </a:lnTo>
                  <a:lnTo>
                    <a:pt x="2552" y="744"/>
                  </a:lnTo>
                  <a:lnTo>
                    <a:pt x="2554" y="745"/>
                  </a:lnTo>
                  <a:lnTo>
                    <a:pt x="2555" y="747"/>
                  </a:lnTo>
                  <a:lnTo>
                    <a:pt x="2555" y="749"/>
                  </a:lnTo>
                  <a:lnTo>
                    <a:pt x="2556" y="752"/>
                  </a:lnTo>
                  <a:lnTo>
                    <a:pt x="2555" y="757"/>
                  </a:lnTo>
                  <a:lnTo>
                    <a:pt x="2537" y="818"/>
                  </a:lnTo>
                  <a:lnTo>
                    <a:pt x="2536" y="821"/>
                  </a:lnTo>
                  <a:lnTo>
                    <a:pt x="2534" y="823"/>
                  </a:lnTo>
                  <a:lnTo>
                    <a:pt x="2533" y="825"/>
                  </a:lnTo>
                  <a:lnTo>
                    <a:pt x="2531" y="826"/>
                  </a:lnTo>
                  <a:lnTo>
                    <a:pt x="2529" y="827"/>
                  </a:lnTo>
                  <a:lnTo>
                    <a:pt x="2527" y="827"/>
                  </a:lnTo>
                  <a:lnTo>
                    <a:pt x="2522" y="827"/>
                  </a:lnTo>
                  <a:lnTo>
                    <a:pt x="2511" y="823"/>
                  </a:lnTo>
                  <a:lnTo>
                    <a:pt x="2501" y="821"/>
                  </a:lnTo>
                  <a:lnTo>
                    <a:pt x="2492" y="819"/>
                  </a:lnTo>
                  <a:lnTo>
                    <a:pt x="2483" y="818"/>
                  </a:lnTo>
                  <a:lnTo>
                    <a:pt x="2476" y="819"/>
                  </a:lnTo>
                  <a:lnTo>
                    <a:pt x="2473" y="819"/>
                  </a:lnTo>
                  <a:lnTo>
                    <a:pt x="2471" y="820"/>
                  </a:lnTo>
                  <a:lnTo>
                    <a:pt x="2468" y="821"/>
                  </a:lnTo>
                  <a:lnTo>
                    <a:pt x="2466" y="823"/>
                  </a:lnTo>
                  <a:lnTo>
                    <a:pt x="2462" y="826"/>
                  </a:lnTo>
                  <a:lnTo>
                    <a:pt x="2459" y="829"/>
                  </a:lnTo>
                  <a:lnTo>
                    <a:pt x="2457" y="831"/>
                  </a:lnTo>
                  <a:lnTo>
                    <a:pt x="2456" y="834"/>
                  </a:lnTo>
                  <a:lnTo>
                    <a:pt x="2455" y="839"/>
                  </a:lnTo>
                  <a:lnTo>
                    <a:pt x="2454" y="844"/>
                  </a:lnTo>
                  <a:lnTo>
                    <a:pt x="2455" y="850"/>
                  </a:lnTo>
                  <a:lnTo>
                    <a:pt x="2457" y="856"/>
                  </a:lnTo>
                  <a:lnTo>
                    <a:pt x="2459" y="862"/>
                  </a:lnTo>
                  <a:lnTo>
                    <a:pt x="2463" y="867"/>
                  </a:lnTo>
                  <a:lnTo>
                    <a:pt x="2467" y="872"/>
                  </a:lnTo>
                  <a:lnTo>
                    <a:pt x="2472" y="878"/>
                  </a:lnTo>
                  <a:lnTo>
                    <a:pt x="2483" y="890"/>
                  </a:lnTo>
                  <a:lnTo>
                    <a:pt x="2516" y="927"/>
                  </a:lnTo>
                  <a:lnTo>
                    <a:pt x="2526" y="938"/>
                  </a:lnTo>
                  <a:lnTo>
                    <a:pt x="2536" y="950"/>
                  </a:lnTo>
                  <a:lnTo>
                    <a:pt x="2546" y="963"/>
                  </a:lnTo>
                  <a:lnTo>
                    <a:pt x="2554" y="977"/>
                  </a:lnTo>
                  <a:lnTo>
                    <a:pt x="2558" y="985"/>
                  </a:lnTo>
                  <a:lnTo>
                    <a:pt x="2561" y="992"/>
                  </a:lnTo>
                  <a:lnTo>
                    <a:pt x="2564" y="1000"/>
                  </a:lnTo>
                  <a:lnTo>
                    <a:pt x="2567" y="1007"/>
                  </a:lnTo>
                  <a:lnTo>
                    <a:pt x="2569" y="1015"/>
                  </a:lnTo>
                  <a:lnTo>
                    <a:pt x="2571" y="1023"/>
                  </a:lnTo>
                  <a:lnTo>
                    <a:pt x="2572" y="1031"/>
                  </a:lnTo>
                  <a:lnTo>
                    <a:pt x="2572" y="1039"/>
                  </a:lnTo>
                  <a:lnTo>
                    <a:pt x="2572" y="1047"/>
                  </a:lnTo>
                  <a:lnTo>
                    <a:pt x="2571" y="1054"/>
                  </a:lnTo>
                  <a:lnTo>
                    <a:pt x="2571" y="1061"/>
                  </a:lnTo>
                  <a:lnTo>
                    <a:pt x="2569" y="1068"/>
                  </a:lnTo>
                  <a:lnTo>
                    <a:pt x="2568" y="1075"/>
                  </a:lnTo>
                  <a:lnTo>
                    <a:pt x="2566" y="1081"/>
                  </a:lnTo>
                  <a:lnTo>
                    <a:pt x="2562" y="1093"/>
                  </a:lnTo>
                  <a:lnTo>
                    <a:pt x="2557" y="1104"/>
                  </a:lnTo>
                  <a:lnTo>
                    <a:pt x="2554" y="1109"/>
                  </a:lnTo>
                  <a:lnTo>
                    <a:pt x="2550" y="1114"/>
                  </a:lnTo>
                  <a:lnTo>
                    <a:pt x="2547" y="1119"/>
                  </a:lnTo>
                  <a:lnTo>
                    <a:pt x="2543" y="1123"/>
                  </a:lnTo>
                  <a:lnTo>
                    <a:pt x="2535" y="1131"/>
                  </a:lnTo>
                  <a:lnTo>
                    <a:pt x="2526" y="1139"/>
                  </a:lnTo>
                  <a:lnTo>
                    <a:pt x="2516" y="1145"/>
                  </a:lnTo>
                  <a:lnTo>
                    <a:pt x="2510" y="1148"/>
                  </a:lnTo>
                  <a:lnTo>
                    <a:pt x="2505" y="1150"/>
                  </a:lnTo>
                  <a:lnTo>
                    <a:pt x="2494" y="1154"/>
                  </a:lnTo>
                  <a:lnTo>
                    <a:pt x="2482" y="1158"/>
                  </a:lnTo>
                  <a:lnTo>
                    <a:pt x="2476" y="1159"/>
                  </a:lnTo>
                  <a:lnTo>
                    <a:pt x="2469" y="1160"/>
                  </a:lnTo>
                  <a:lnTo>
                    <a:pt x="2456" y="1161"/>
                  </a:lnTo>
                  <a:lnTo>
                    <a:pt x="2443" y="1162"/>
                  </a:lnTo>
                  <a:lnTo>
                    <a:pt x="2431" y="1162"/>
                  </a:lnTo>
                  <a:lnTo>
                    <a:pt x="2419" y="1161"/>
                  </a:lnTo>
                  <a:lnTo>
                    <a:pt x="2407" y="1159"/>
                  </a:lnTo>
                  <a:lnTo>
                    <a:pt x="2395" y="1157"/>
                  </a:lnTo>
                  <a:lnTo>
                    <a:pt x="2383" y="1154"/>
                  </a:lnTo>
                  <a:lnTo>
                    <a:pt x="2372" y="1151"/>
                  </a:lnTo>
                  <a:lnTo>
                    <a:pt x="2362" y="1148"/>
                  </a:lnTo>
                  <a:lnTo>
                    <a:pt x="2353" y="1144"/>
                  </a:lnTo>
                  <a:lnTo>
                    <a:pt x="2350" y="1143"/>
                  </a:lnTo>
                  <a:lnTo>
                    <a:pt x="2348" y="1141"/>
                  </a:lnTo>
                  <a:lnTo>
                    <a:pt x="2346" y="1140"/>
                  </a:lnTo>
                  <a:lnTo>
                    <a:pt x="2345" y="1138"/>
                  </a:lnTo>
                  <a:lnTo>
                    <a:pt x="2345" y="1136"/>
                  </a:lnTo>
                  <a:lnTo>
                    <a:pt x="2345" y="1134"/>
                  </a:lnTo>
                  <a:lnTo>
                    <a:pt x="2346" y="1131"/>
                  </a:lnTo>
                  <a:lnTo>
                    <a:pt x="2365" y="1065"/>
                  </a:lnTo>
                  <a:lnTo>
                    <a:pt x="2366" y="1062"/>
                  </a:lnTo>
                  <a:lnTo>
                    <a:pt x="2367" y="1060"/>
                  </a:lnTo>
                  <a:lnTo>
                    <a:pt x="2369" y="1058"/>
                  </a:lnTo>
                  <a:lnTo>
                    <a:pt x="2370" y="1057"/>
                  </a:lnTo>
                  <a:lnTo>
                    <a:pt x="2372" y="1057"/>
                  </a:lnTo>
                  <a:lnTo>
                    <a:pt x="2374" y="1057"/>
                  </a:lnTo>
                  <a:lnTo>
                    <a:pt x="2377" y="1057"/>
                  </a:lnTo>
                  <a:lnTo>
                    <a:pt x="2379" y="1058"/>
                  </a:lnTo>
                  <a:lnTo>
                    <a:pt x="2387" y="1062"/>
                  </a:lnTo>
                  <a:lnTo>
                    <a:pt x="2394" y="1064"/>
                  </a:lnTo>
                  <a:lnTo>
                    <a:pt x="2401" y="1067"/>
                  </a:lnTo>
                  <a:lnTo>
                    <a:pt x="2409" y="1069"/>
                  </a:lnTo>
                  <a:lnTo>
                    <a:pt x="2416" y="1070"/>
                  </a:lnTo>
                  <a:lnTo>
                    <a:pt x="2423" y="1071"/>
                  </a:lnTo>
                  <a:lnTo>
                    <a:pt x="2430" y="1072"/>
                  </a:lnTo>
                  <a:lnTo>
                    <a:pt x="2437" y="1072"/>
                  </a:lnTo>
                  <a:lnTo>
                    <a:pt x="2446" y="1071"/>
                  </a:lnTo>
                  <a:lnTo>
                    <a:pt x="2449" y="1071"/>
                  </a:lnTo>
                  <a:lnTo>
                    <a:pt x="2453" y="1070"/>
                  </a:lnTo>
                  <a:lnTo>
                    <a:pt x="2460" y="1067"/>
                  </a:lnTo>
                  <a:lnTo>
                    <a:pt x="2465" y="1064"/>
                  </a:lnTo>
                  <a:lnTo>
                    <a:pt x="2469" y="1060"/>
                  </a:lnTo>
                  <a:lnTo>
                    <a:pt x="2470" y="1057"/>
                  </a:lnTo>
                  <a:lnTo>
                    <a:pt x="2472" y="1055"/>
                  </a:lnTo>
                  <a:lnTo>
                    <a:pt x="2473" y="1049"/>
                  </a:lnTo>
                  <a:lnTo>
                    <a:pt x="2474" y="1042"/>
                  </a:lnTo>
                  <a:lnTo>
                    <a:pt x="2473" y="1037"/>
                  </a:lnTo>
                  <a:lnTo>
                    <a:pt x="2472" y="1031"/>
                  </a:lnTo>
                  <a:lnTo>
                    <a:pt x="2470" y="1025"/>
                  </a:lnTo>
                  <a:lnTo>
                    <a:pt x="2467" y="1020"/>
                  </a:lnTo>
                  <a:lnTo>
                    <a:pt x="2463" y="1014"/>
                  </a:lnTo>
                  <a:lnTo>
                    <a:pt x="2459" y="1008"/>
                  </a:lnTo>
                  <a:lnTo>
                    <a:pt x="2449" y="997"/>
                  </a:lnTo>
                  <a:lnTo>
                    <a:pt x="2416" y="961"/>
                  </a:lnTo>
                  <a:lnTo>
                    <a:pt x="2405" y="948"/>
                  </a:lnTo>
                  <a:lnTo>
                    <a:pt x="2394" y="935"/>
                  </a:lnTo>
                  <a:lnTo>
                    <a:pt x="2384" y="922"/>
                  </a:lnTo>
                  <a:lnTo>
                    <a:pt x="2379" y="915"/>
                  </a:lnTo>
                  <a:lnTo>
                    <a:pt x="2375" y="908"/>
                  </a:lnTo>
                  <a:lnTo>
                    <a:pt x="2371" y="900"/>
                  </a:lnTo>
                  <a:lnTo>
                    <a:pt x="2367" y="893"/>
                  </a:lnTo>
                  <a:lnTo>
                    <a:pt x="2364" y="885"/>
                  </a:lnTo>
                  <a:lnTo>
                    <a:pt x="2361" y="877"/>
                  </a:lnTo>
                  <a:lnTo>
                    <a:pt x="2359" y="868"/>
                  </a:lnTo>
                  <a:lnTo>
                    <a:pt x="2358" y="864"/>
                  </a:lnTo>
                  <a:lnTo>
                    <a:pt x="2358" y="859"/>
                  </a:lnTo>
                  <a:lnTo>
                    <a:pt x="2357" y="850"/>
                  </a:lnTo>
                  <a:lnTo>
                    <a:pt x="2356" y="841"/>
                  </a:lnTo>
                  <a:lnTo>
                    <a:pt x="2357" y="829"/>
                  </a:lnTo>
                  <a:lnTo>
                    <a:pt x="2358" y="817"/>
                  </a:lnTo>
                  <a:lnTo>
                    <a:pt x="2361" y="806"/>
                  </a:lnTo>
                  <a:lnTo>
                    <a:pt x="2365" y="795"/>
                  </a:lnTo>
                  <a:lnTo>
                    <a:pt x="2370" y="785"/>
                  </a:lnTo>
                  <a:lnTo>
                    <a:pt x="2375" y="776"/>
                  </a:lnTo>
                  <a:lnTo>
                    <a:pt x="2382" y="768"/>
                  </a:lnTo>
                  <a:lnTo>
                    <a:pt x="2389" y="760"/>
                  </a:lnTo>
                  <a:lnTo>
                    <a:pt x="2393" y="756"/>
                  </a:lnTo>
                  <a:lnTo>
                    <a:pt x="2397" y="753"/>
                  </a:lnTo>
                  <a:lnTo>
                    <a:pt x="2406" y="747"/>
                  </a:lnTo>
                  <a:lnTo>
                    <a:pt x="2411" y="744"/>
                  </a:lnTo>
                  <a:lnTo>
                    <a:pt x="2416" y="741"/>
                  </a:lnTo>
                  <a:lnTo>
                    <a:pt x="2426" y="737"/>
                  </a:lnTo>
                  <a:lnTo>
                    <a:pt x="2437" y="734"/>
                  </a:lnTo>
                  <a:lnTo>
                    <a:pt x="2448" y="731"/>
                  </a:lnTo>
                  <a:lnTo>
                    <a:pt x="2454" y="730"/>
                  </a:lnTo>
                  <a:lnTo>
                    <a:pt x="2460" y="730"/>
                  </a:lnTo>
                  <a:lnTo>
                    <a:pt x="2472" y="729"/>
                  </a:lnTo>
                  <a:close/>
                  <a:moveTo>
                    <a:pt x="633" y="1006"/>
                  </a:moveTo>
                  <a:lnTo>
                    <a:pt x="733" y="1006"/>
                  </a:lnTo>
                  <a:lnTo>
                    <a:pt x="683" y="875"/>
                  </a:lnTo>
                  <a:lnTo>
                    <a:pt x="633" y="1006"/>
                  </a:lnTo>
                  <a:close/>
                  <a:moveTo>
                    <a:pt x="763" y="1088"/>
                  </a:moveTo>
                  <a:lnTo>
                    <a:pt x="603" y="1088"/>
                  </a:lnTo>
                  <a:lnTo>
                    <a:pt x="581" y="1145"/>
                  </a:lnTo>
                  <a:lnTo>
                    <a:pt x="580" y="1148"/>
                  </a:lnTo>
                  <a:lnTo>
                    <a:pt x="579" y="1150"/>
                  </a:lnTo>
                  <a:lnTo>
                    <a:pt x="577" y="1151"/>
                  </a:lnTo>
                  <a:lnTo>
                    <a:pt x="576" y="1153"/>
                  </a:lnTo>
                  <a:lnTo>
                    <a:pt x="572" y="1154"/>
                  </a:lnTo>
                  <a:lnTo>
                    <a:pt x="568" y="1155"/>
                  </a:lnTo>
                  <a:lnTo>
                    <a:pt x="489" y="1155"/>
                  </a:lnTo>
                  <a:lnTo>
                    <a:pt x="486" y="1155"/>
                  </a:lnTo>
                  <a:lnTo>
                    <a:pt x="484" y="1154"/>
                  </a:lnTo>
                  <a:lnTo>
                    <a:pt x="482" y="1153"/>
                  </a:lnTo>
                  <a:lnTo>
                    <a:pt x="481" y="1151"/>
                  </a:lnTo>
                  <a:lnTo>
                    <a:pt x="479" y="1149"/>
                  </a:lnTo>
                  <a:lnTo>
                    <a:pt x="479" y="1147"/>
                  </a:lnTo>
                  <a:lnTo>
                    <a:pt x="479" y="1144"/>
                  </a:lnTo>
                  <a:lnTo>
                    <a:pt x="480" y="1141"/>
                  </a:lnTo>
                  <a:lnTo>
                    <a:pt x="636" y="746"/>
                  </a:lnTo>
                  <a:lnTo>
                    <a:pt x="637" y="743"/>
                  </a:lnTo>
                  <a:lnTo>
                    <a:pt x="638" y="741"/>
                  </a:lnTo>
                  <a:lnTo>
                    <a:pt x="641" y="738"/>
                  </a:lnTo>
                  <a:lnTo>
                    <a:pt x="645" y="737"/>
                  </a:lnTo>
                  <a:lnTo>
                    <a:pt x="647" y="736"/>
                  </a:lnTo>
                  <a:lnTo>
                    <a:pt x="649" y="736"/>
                  </a:lnTo>
                  <a:lnTo>
                    <a:pt x="719" y="736"/>
                  </a:lnTo>
                  <a:lnTo>
                    <a:pt x="724" y="737"/>
                  </a:lnTo>
                  <a:lnTo>
                    <a:pt x="728" y="738"/>
                  </a:lnTo>
                  <a:lnTo>
                    <a:pt x="730" y="741"/>
                  </a:lnTo>
                  <a:lnTo>
                    <a:pt x="732" y="743"/>
                  </a:lnTo>
                  <a:lnTo>
                    <a:pt x="733" y="746"/>
                  </a:lnTo>
                  <a:lnTo>
                    <a:pt x="889" y="1141"/>
                  </a:lnTo>
                  <a:lnTo>
                    <a:pt x="890" y="1144"/>
                  </a:lnTo>
                  <a:lnTo>
                    <a:pt x="890" y="1147"/>
                  </a:lnTo>
                  <a:lnTo>
                    <a:pt x="890" y="1149"/>
                  </a:lnTo>
                  <a:lnTo>
                    <a:pt x="889" y="1151"/>
                  </a:lnTo>
                  <a:lnTo>
                    <a:pt x="887" y="1153"/>
                  </a:lnTo>
                  <a:lnTo>
                    <a:pt x="885" y="1154"/>
                  </a:lnTo>
                  <a:lnTo>
                    <a:pt x="883" y="1155"/>
                  </a:lnTo>
                  <a:lnTo>
                    <a:pt x="880" y="1155"/>
                  </a:lnTo>
                  <a:lnTo>
                    <a:pt x="800" y="1155"/>
                  </a:lnTo>
                  <a:lnTo>
                    <a:pt x="796" y="1154"/>
                  </a:lnTo>
                  <a:lnTo>
                    <a:pt x="794" y="1154"/>
                  </a:lnTo>
                  <a:lnTo>
                    <a:pt x="792" y="1153"/>
                  </a:lnTo>
                  <a:lnTo>
                    <a:pt x="790" y="1151"/>
                  </a:lnTo>
                  <a:lnTo>
                    <a:pt x="788" y="1150"/>
                  </a:lnTo>
                  <a:lnTo>
                    <a:pt x="787" y="1148"/>
                  </a:lnTo>
                  <a:lnTo>
                    <a:pt x="786" y="1145"/>
                  </a:lnTo>
                  <a:lnTo>
                    <a:pt x="763" y="1088"/>
                  </a:lnTo>
                  <a:close/>
                  <a:moveTo>
                    <a:pt x="292" y="912"/>
                  </a:moveTo>
                  <a:lnTo>
                    <a:pt x="428" y="1142"/>
                  </a:lnTo>
                  <a:lnTo>
                    <a:pt x="429" y="1144"/>
                  </a:lnTo>
                  <a:lnTo>
                    <a:pt x="429" y="1146"/>
                  </a:lnTo>
                  <a:lnTo>
                    <a:pt x="429" y="1148"/>
                  </a:lnTo>
                  <a:lnTo>
                    <a:pt x="429" y="1150"/>
                  </a:lnTo>
                  <a:lnTo>
                    <a:pt x="428" y="1152"/>
                  </a:lnTo>
                  <a:lnTo>
                    <a:pt x="426" y="1154"/>
                  </a:lnTo>
                  <a:lnTo>
                    <a:pt x="424" y="1154"/>
                  </a:lnTo>
                  <a:lnTo>
                    <a:pt x="421" y="1155"/>
                  </a:lnTo>
                  <a:lnTo>
                    <a:pt x="325" y="1155"/>
                  </a:lnTo>
                  <a:lnTo>
                    <a:pt x="321" y="1154"/>
                  </a:lnTo>
                  <a:lnTo>
                    <a:pt x="316" y="1152"/>
                  </a:lnTo>
                  <a:lnTo>
                    <a:pt x="315" y="1151"/>
                  </a:lnTo>
                  <a:lnTo>
                    <a:pt x="313" y="1150"/>
                  </a:lnTo>
                  <a:lnTo>
                    <a:pt x="310" y="1145"/>
                  </a:lnTo>
                  <a:lnTo>
                    <a:pt x="214" y="979"/>
                  </a:lnTo>
                  <a:lnTo>
                    <a:pt x="161" y="1044"/>
                  </a:lnTo>
                  <a:lnTo>
                    <a:pt x="161" y="1145"/>
                  </a:lnTo>
                  <a:lnTo>
                    <a:pt x="161" y="1147"/>
                  </a:lnTo>
                  <a:lnTo>
                    <a:pt x="160" y="1149"/>
                  </a:lnTo>
                  <a:lnTo>
                    <a:pt x="158" y="1152"/>
                  </a:lnTo>
                  <a:lnTo>
                    <a:pt x="157" y="1153"/>
                  </a:lnTo>
                  <a:lnTo>
                    <a:pt x="155" y="1154"/>
                  </a:lnTo>
                  <a:lnTo>
                    <a:pt x="151" y="1155"/>
                  </a:lnTo>
                  <a:lnTo>
                    <a:pt x="69" y="1155"/>
                  </a:lnTo>
                  <a:lnTo>
                    <a:pt x="65" y="1154"/>
                  </a:lnTo>
                  <a:lnTo>
                    <a:pt x="62" y="1152"/>
                  </a:lnTo>
                  <a:lnTo>
                    <a:pt x="60" y="1150"/>
                  </a:lnTo>
                  <a:lnTo>
                    <a:pt x="60" y="1149"/>
                  </a:lnTo>
                  <a:lnTo>
                    <a:pt x="59" y="1147"/>
                  </a:lnTo>
                  <a:lnTo>
                    <a:pt x="59" y="1145"/>
                  </a:lnTo>
                  <a:lnTo>
                    <a:pt x="59" y="746"/>
                  </a:lnTo>
                  <a:lnTo>
                    <a:pt x="59" y="744"/>
                  </a:lnTo>
                  <a:lnTo>
                    <a:pt x="60" y="742"/>
                  </a:lnTo>
                  <a:lnTo>
                    <a:pt x="62" y="739"/>
                  </a:lnTo>
                  <a:lnTo>
                    <a:pt x="63" y="738"/>
                  </a:lnTo>
                  <a:lnTo>
                    <a:pt x="65" y="737"/>
                  </a:lnTo>
                  <a:lnTo>
                    <a:pt x="69" y="736"/>
                  </a:lnTo>
                  <a:lnTo>
                    <a:pt x="151" y="736"/>
                  </a:lnTo>
                  <a:lnTo>
                    <a:pt x="155" y="737"/>
                  </a:lnTo>
                  <a:lnTo>
                    <a:pt x="158" y="739"/>
                  </a:lnTo>
                  <a:lnTo>
                    <a:pt x="159" y="740"/>
                  </a:lnTo>
                  <a:lnTo>
                    <a:pt x="160" y="742"/>
                  </a:lnTo>
                  <a:lnTo>
                    <a:pt x="161" y="744"/>
                  </a:lnTo>
                  <a:lnTo>
                    <a:pt x="161" y="746"/>
                  </a:lnTo>
                  <a:lnTo>
                    <a:pt x="161" y="921"/>
                  </a:lnTo>
                  <a:lnTo>
                    <a:pt x="304" y="746"/>
                  </a:lnTo>
                  <a:lnTo>
                    <a:pt x="308" y="742"/>
                  </a:lnTo>
                  <a:lnTo>
                    <a:pt x="310" y="740"/>
                  </a:lnTo>
                  <a:lnTo>
                    <a:pt x="312" y="739"/>
                  </a:lnTo>
                  <a:lnTo>
                    <a:pt x="314" y="738"/>
                  </a:lnTo>
                  <a:lnTo>
                    <a:pt x="317" y="737"/>
                  </a:lnTo>
                  <a:lnTo>
                    <a:pt x="319" y="736"/>
                  </a:lnTo>
                  <a:lnTo>
                    <a:pt x="322" y="736"/>
                  </a:lnTo>
                  <a:lnTo>
                    <a:pt x="418" y="736"/>
                  </a:lnTo>
                  <a:lnTo>
                    <a:pt x="421" y="737"/>
                  </a:lnTo>
                  <a:lnTo>
                    <a:pt x="423" y="738"/>
                  </a:lnTo>
                  <a:lnTo>
                    <a:pt x="425" y="739"/>
                  </a:lnTo>
                  <a:lnTo>
                    <a:pt x="426" y="741"/>
                  </a:lnTo>
                  <a:lnTo>
                    <a:pt x="426" y="744"/>
                  </a:lnTo>
                  <a:lnTo>
                    <a:pt x="426" y="746"/>
                  </a:lnTo>
                  <a:lnTo>
                    <a:pt x="425" y="749"/>
                  </a:lnTo>
                  <a:lnTo>
                    <a:pt x="424" y="751"/>
                  </a:lnTo>
                  <a:lnTo>
                    <a:pt x="292" y="912"/>
                  </a:lnTo>
                  <a:close/>
                  <a:moveTo>
                    <a:pt x="1819" y="1010"/>
                  </a:moveTo>
                  <a:lnTo>
                    <a:pt x="1872" y="1010"/>
                  </a:lnTo>
                  <a:lnTo>
                    <a:pt x="1845" y="883"/>
                  </a:lnTo>
                  <a:lnTo>
                    <a:pt x="1819" y="1010"/>
                  </a:lnTo>
                  <a:close/>
                  <a:moveTo>
                    <a:pt x="1887" y="1088"/>
                  </a:moveTo>
                  <a:lnTo>
                    <a:pt x="1805" y="1088"/>
                  </a:lnTo>
                  <a:lnTo>
                    <a:pt x="1793" y="1145"/>
                  </a:lnTo>
                  <a:lnTo>
                    <a:pt x="1792" y="1147"/>
                  </a:lnTo>
                  <a:lnTo>
                    <a:pt x="1791" y="1149"/>
                  </a:lnTo>
                  <a:lnTo>
                    <a:pt x="1788" y="1152"/>
                  </a:lnTo>
                  <a:lnTo>
                    <a:pt x="1787" y="1153"/>
                  </a:lnTo>
                  <a:lnTo>
                    <a:pt x="1785" y="1154"/>
                  </a:lnTo>
                  <a:lnTo>
                    <a:pt x="1783" y="1155"/>
                  </a:lnTo>
                  <a:lnTo>
                    <a:pt x="1781" y="1155"/>
                  </a:lnTo>
                  <a:lnTo>
                    <a:pt x="1708" y="1155"/>
                  </a:lnTo>
                  <a:lnTo>
                    <a:pt x="1706" y="1155"/>
                  </a:lnTo>
                  <a:lnTo>
                    <a:pt x="1704" y="1154"/>
                  </a:lnTo>
                  <a:lnTo>
                    <a:pt x="1702" y="1153"/>
                  </a:lnTo>
                  <a:lnTo>
                    <a:pt x="1701" y="1152"/>
                  </a:lnTo>
                  <a:lnTo>
                    <a:pt x="1700" y="1150"/>
                  </a:lnTo>
                  <a:lnTo>
                    <a:pt x="1700" y="1147"/>
                  </a:lnTo>
                  <a:lnTo>
                    <a:pt x="1701" y="1141"/>
                  </a:lnTo>
                  <a:lnTo>
                    <a:pt x="1793" y="746"/>
                  </a:lnTo>
                  <a:lnTo>
                    <a:pt x="1793" y="744"/>
                  </a:lnTo>
                  <a:lnTo>
                    <a:pt x="1794" y="742"/>
                  </a:lnTo>
                  <a:lnTo>
                    <a:pt x="1797" y="739"/>
                  </a:lnTo>
                  <a:lnTo>
                    <a:pt x="1799" y="738"/>
                  </a:lnTo>
                  <a:lnTo>
                    <a:pt x="1801" y="737"/>
                  </a:lnTo>
                  <a:lnTo>
                    <a:pt x="1806" y="736"/>
                  </a:lnTo>
                  <a:lnTo>
                    <a:pt x="1887" y="736"/>
                  </a:lnTo>
                  <a:lnTo>
                    <a:pt x="1889" y="736"/>
                  </a:lnTo>
                  <a:lnTo>
                    <a:pt x="1892" y="737"/>
                  </a:lnTo>
                  <a:lnTo>
                    <a:pt x="1896" y="739"/>
                  </a:lnTo>
                  <a:lnTo>
                    <a:pt x="1898" y="742"/>
                  </a:lnTo>
                  <a:lnTo>
                    <a:pt x="1899" y="744"/>
                  </a:lnTo>
                  <a:lnTo>
                    <a:pt x="1900" y="746"/>
                  </a:lnTo>
                  <a:lnTo>
                    <a:pt x="1992" y="1141"/>
                  </a:lnTo>
                  <a:lnTo>
                    <a:pt x="1993" y="1147"/>
                  </a:lnTo>
                  <a:lnTo>
                    <a:pt x="1992" y="1150"/>
                  </a:lnTo>
                  <a:lnTo>
                    <a:pt x="1992" y="1152"/>
                  </a:lnTo>
                  <a:lnTo>
                    <a:pt x="1990" y="1153"/>
                  </a:lnTo>
                  <a:lnTo>
                    <a:pt x="1989" y="1154"/>
                  </a:lnTo>
                  <a:lnTo>
                    <a:pt x="1984" y="1155"/>
                  </a:lnTo>
                  <a:lnTo>
                    <a:pt x="1910" y="1155"/>
                  </a:lnTo>
                  <a:lnTo>
                    <a:pt x="1906" y="1154"/>
                  </a:lnTo>
                  <a:lnTo>
                    <a:pt x="1902" y="1152"/>
                  </a:lnTo>
                  <a:lnTo>
                    <a:pt x="1901" y="1151"/>
                  </a:lnTo>
                  <a:lnTo>
                    <a:pt x="1900" y="1149"/>
                  </a:lnTo>
                  <a:lnTo>
                    <a:pt x="1899" y="1147"/>
                  </a:lnTo>
                  <a:lnTo>
                    <a:pt x="1898" y="1145"/>
                  </a:lnTo>
                  <a:lnTo>
                    <a:pt x="1887" y="1088"/>
                  </a:lnTo>
                  <a:close/>
                  <a:moveTo>
                    <a:pt x="937" y="991"/>
                  </a:moveTo>
                  <a:lnTo>
                    <a:pt x="937" y="746"/>
                  </a:lnTo>
                  <a:lnTo>
                    <a:pt x="937" y="744"/>
                  </a:lnTo>
                  <a:lnTo>
                    <a:pt x="938" y="742"/>
                  </a:lnTo>
                  <a:lnTo>
                    <a:pt x="940" y="739"/>
                  </a:lnTo>
                  <a:lnTo>
                    <a:pt x="941" y="738"/>
                  </a:lnTo>
                  <a:lnTo>
                    <a:pt x="943" y="737"/>
                  </a:lnTo>
                  <a:lnTo>
                    <a:pt x="947" y="736"/>
                  </a:lnTo>
                  <a:lnTo>
                    <a:pt x="1029" y="736"/>
                  </a:lnTo>
                  <a:lnTo>
                    <a:pt x="1033" y="737"/>
                  </a:lnTo>
                  <a:lnTo>
                    <a:pt x="1037" y="739"/>
                  </a:lnTo>
                  <a:lnTo>
                    <a:pt x="1038" y="740"/>
                  </a:lnTo>
                  <a:lnTo>
                    <a:pt x="1039" y="742"/>
                  </a:lnTo>
                  <a:lnTo>
                    <a:pt x="1039" y="744"/>
                  </a:lnTo>
                  <a:lnTo>
                    <a:pt x="1039" y="746"/>
                  </a:lnTo>
                  <a:lnTo>
                    <a:pt x="1039" y="986"/>
                  </a:lnTo>
                  <a:lnTo>
                    <a:pt x="1040" y="996"/>
                  </a:lnTo>
                  <a:lnTo>
                    <a:pt x="1041" y="1005"/>
                  </a:lnTo>
                  <a:lnTo>
                    <a:pt x="1042" y="1014"/>
                  </a:lnTo>
                  <a:lnTo>
                    <a:pt x="1044" y="1022"/>
                  </a:lnTo>
                  <a:lnTo>
                    <a:pt x="1047" y="1030"/>
                  </a:lnTo>
                  <a:lnTo>
                    <a:pt x="1050" y="1037"/>
                  </a:lnTo>
                  <a:lnTo>
                    <a:pt x="1054" y="1043"/>
                  </a:lnTo>
                  <a:lnTo>
                    <a:pt x="1058" y="1049"/>
                  </a:lnTo>
                  <a:lnTo>
                    <a:pt x="1063" y="1054"/>
                  </a:lnTo>
                  <a:lnTo>
                    <a:pt x="1068" y="1058"/>
                  </a:lnTo>
                  <a:lnTo>
                    <a:pt x="1074" y="1062"/>
                  </a:lnTo>
                  <a:lnTo>
                    <a:pt x="1077" y="1063"/>
                  </a:lnTo>
                  <a:lnTo>
                    <a:pt x="1080" y="1065"/>
                  </a:lnTo>
                  <a:lnTo>
                    <a:pt x="1087" y="1067"/>
                  </a:lnTo>
                  <a:lnTo>
                    <a:pt x="1094" y="1069"/>
                  </a:lnTo>
                  <a:lnTo>
                    <a:pt x="1102" y="1070"/>
                  </a:lnTo>
                  <a:lnTo>
                    <a:pt x="1110" y="1070"/>
                  </a:lnTo>
                  <a:lnTo>
                    <a:pt x="1118" y="1070"/>
                  </a:lnTo>
                  <a:lnTo>
                    <a:pt x="1126" y="1069"/>
                  </a:lnTo>
                  <a:lnTo>
                    <a:pt x="1133" y="1067"/>
                  </a:lnTo>
                  <a:lnTo>
                    <a:pt x="1140" y="1065"/>
                  </a:lnTo>
                  <a:lnTo>
                    <a:pt x="1146" y="1062"/>
                  </a:lnTo>
                  <a:lnTo>
                    <a:pt x="1149" y="1060"/>
                  </a:lnTo>
                  <a:lnTo>
                    <a:pt x="1152" y="1058"/>
                  </a:lnTo>
                  <a:lnTo>
                    <a:pt x="1157" y="1054"/>
                  </a:lnTo>
                  <a:lnTo>
                    <a:pt x="1162" y="1049"/>
                  </a:lnTo>
                  <a:lnTo>
                    <a:pt x="1166" y="1043"/>
                  </a:lnTo>
                  <a:lnTo>
                    <a:pt x="1170" y="1037"/>
                  </a:lnTo>
                  <a:lnTo>
                    <a:pt x="1173" y="1030"/>
                  </a:lnTo>
                  <a:lnTo>
                    <a:pt x="1176" y="1022"/>
                  </a:lnTo>
                  <a:lnTo>
                    <a:pt x="1178" y="1014"/>
                  </a:lnTo>
                  <a:lnTo>
                    <a:pt x="1180" y="1005"/>
                  </a:lnTo>
                  <a:lnTo>
                    <a:pt x="1180" y="996"/>
                  </a:lnTo>
                  <a:lnTo>
                    <a:pt x="1181" y="986"/>
                  </a:lnTo>
                  <a:lnTo>
                    <a:pt x="1181" y="746"/>
                  </a:lnTo>
                  <a:lnTo>
                    <a:pt x="1181" y="744"/>
                  </a:lnTo>
                  <a:lnTo>
                    <a:pt x="1182" y="742"/>
                  </a:lnTo>
                  <a:lnTo>
                    <a:pt x="1184" y="739"/>
                  </a:lnTo>
                  <a:lnTo>
                    <a:pt x="1185" y="738"/>
                  </a:lnTo>
                  <a:lnTo>
                    <a:pt x="1187" y="737"/>
                  </a:lnTo>
                  <a:lnTo>
                    <a:pt x="1191" y="736"/>
                  </a:lnTo>
                  <a:lnTo>
                    <a:pt x="1273" y="736"/>
                  </a:lnTo>
                  <a:lnTo>
                    <a:pt x="1277" y="737"/>
                  </a:lnTo>
                  <a:lnTo>
                    <a:pt x="1280" y="739"/>
                  </a:lnTo>
                  <a:lnTo>
                    <a:pt x="1281" y="740"/>
                  </a:lnTo>
                  <a:lnTo>
                    <a:pt x="1282" y="742"/>
                  </a:lnTo>
                  <a:lnTo>
                    <a:pt x="1283" y="744"/>
                  </a:lnTo>
                  <a:lnTo>
                    <a:pt x="1283" y="746"/>
                  </a:lnTo>
                  <a:lnTo>
                    <a:pt x="1283" y="991"/>
                  </a:lnTo>
                  <a:lnTo>
                    <a:pt x="1283" y="1002"/>
                  </a:lnTo>
                  <a:lnTo>
                    <a:pt x="1283" y="1007"/>
                  </a:lnTo>
                  <a:lnTo>
                    <a:pt x="1282" y="1013"/>
                  </a:lnTo>
                  <a:lnTo>
                    <a:pt x="1281" y="1023"/>
                  </a:lnTo>
                  <a:lnTo>
                    <a:pt x="1280" y="1033"/>
                  </a:lnTo>
                  <a:lnTo>
                    <a:pt x="1278" y="1042"/>
                  </a:lnTo>
                  <a:lnTo>
                    <a:pt x="1275" y="1051"/>
                  </a:lnTo>
                  <a:lnTo>
                    <a:pt x="1273" y="1060"/>
                  </a:lnTo>
                  <a:lnTo>
                    <a:pt x="1270" y="1068"/>
                  </a:lnTo>
                  <a:lnTo>
                    <a:pt x="1266" y="1076"/>
                  </a:lnTo>
                  <a:lnTo>
                    <a:pt x="1262" y="1084"/>
                  </a:lnTo>
                  <a:lnTo>
                    <a:pt x="1254" y="1098"/>
                  </a:lnTo>
                  <a:lnTo>
                    <a:pt x="1249" y="1104"/>
                  </a:lnTo>
                  <a:lnTo>
                    <a:pt x="1244" y="1110"/>
                  </a:lnTo>
                  <a:lnTo>
                    <a:pt x="1239" y="1116"/>
                  </a:lnTo>
                  <a:lnTo>
                    <a:pt x="1233" y="1121"/>
                  </a:lnTo>
                  <a:lnTo>
                    <a:pt x="1227" y="1126"/>
                  </a:lnTo>
                  <a:lnTo>
                    <a:pt x="1221" y="1131"/>
                  </a:lnTo>
                  <a:lnTo>
                    <a:pt x="1214" y="1135"/>
                  </a:lnTo>
                  <a:lnTo>
                    <a:pt x="1207" y="1139"/>
                  </a:lnTo>
                  <a:lnTo>
                    <a:pt x="1200" y="1143"/>
                  </a:lnTo>
                  <a:lnTo>
                    <a:pt x="1193" y="1146"/>
                  </a:lnTo>
                  <a:lnTo>
                    <a:pt x="1178" y="1152"/>
                  </a:lnTo>
                  <a:lnTo>
                    <a:pt x="1170" y="1154"/>
                  </a:lnTo>
                  <a:lnTo>
                    <a:pt x="1162" y="1156"/>
                  </a:lnTo>
                  <a:lnTo>
                    <a:pt x="1154" y="1158"/>
                  </a:lnTo>
                  <a:lnTo>
                    <a:pt x="1145" y="1159"/>
                  </a:lnTo>
                  <a:lnTo>
                    <a:pt x="1137" y="1160"/>
                  </a:lnTo>
                  <a:lnTo>
                    <a:pt x="1128" y="1161"/>
                  </a:lnTo>
                  <a:lnTo>
                    <a:pt x="1119" y="1162"/>
                  </a:lnTo>
                  <a:lnTo>
                    <a:pt x="1110" y="1162"/>
                  </a:lnTo>
                  <a:lnTo>
                    <a:pt x="1092" y="1161"/>
                  </a:lnTo>
                  <a:lnTo>
                    <a:pt x="1075" y="1159"/>
                  </a:lnTo>
                  <a:lnTo>
                    <a:pt x="1066" y="1158"/>
                  </a:lnTo>
                  <a:lnTo>
                    <a:pt x="1058" y="1156"/>
                  </a:lnTo>
                  <a:lnTo>
                    <a:pt x="1042" y="1152"/>
                  </a:lnTo>
                  <a:lnTo>
                    <a:pt x="1035" y="1149"/>
                  </a:lnTo>
                  <a:lnTo>
                    <a:pt x="1027" y="1146"/>
                  </a:lnTo>
                  <a:lnTo>
                    <a:pt x="1020" y="1143"/>
                  </a:lnTo>
                  <a:lnTo>
                    <a:pt x="1013" y="1139"/>
                  </a:lnTo>
                  <a:lnTo>
                    <a:pt x="1006" y="1135"/>
                  </a:lnTo>
                  <a:lnTo>
                    <a:pt x="1000" y="1131"/>
                  </a:lnTo>
                  <a:lnTo>
                    <a:pt x="993" y="1126"/>
                  </a:lnTo>
                  <a:lnTo>
                    <a:pt x="987" y="1121"/>
                  </a:lnTo>
                  <a:lnTo>
                    <a:pt x="982" y="1116"/>
                  </a:lnTo>
                  <a:lnTo>
                    <a:pt x="976" y="1110"/>
                  </a:lnTo>
                  <a:lnTo>
                    <a:pt x="966" y="1098"/>
                  </a:lnTo>
                  <a:lnTo>
                    <a:pt x="962" y="1091"/>
                  </a:lnTo>
                  <a:lnTo>
                    <a:pt x="958" y="1084"/>
                  </a:lnTo>
                  <a:lnTo>
                    <a:pt x="954" y="1076"/>
                  </a:lnTo>
                  <a:lnTo>
                    <a:pt x="951" y="1068"/>
                  </a:lnTo>
                  <a:lnTo>
                    <a:pt x="948" y="1060"/>
                  </a:lnTo>
                  <a:lnTo>
                    <a:pt x="945" y="1051"/>
                  </a:lnTo>
                  <a:lnTo>
                    <a:pt x="943" y="1042"/>
                  </a:lnTo>
                  <a:lnTo>
                    <a:pt x="941" y="1033"/>
                  </a:lnTo>
                  <a:lnTo>
                    <a:pt x="939" y="1023"/>
                  </a:lnTo>
                  <a:lnTo>
                    <a:pt x="938" y="1013"/>
                  </a:lnTo>
                  <a:lnTo>
                    <a:pt x="937" y="1002"/>
                  </a:lnTo>
                  <a:lnTo>
                    <a:pt x="937" y="991"/>
                  </a:lnTo>
                  <a:close/>
                  <a:moveTo>
                    <a:pt x="1479" y="824"/>
                  </a:moveTo>
                  <a:lnTo>
                    <a:pt x="1479" y="934"/>
                  </a:lnTo>
                  <a:lnTo>
                    <a:pt x="1514" y="934"/>
                  </a:lnTo>
                  <a:lnTo>
                    <a:pt x="1520" y="933"/>
                  </a:lnTo>
                  <a:lnTo>
                    <a:pt x="1526" y="933"/>
                  </a:lnTo>
                  <a:lnTo>
                    <a:pt x="1532" y="932"/>
                  </a:lnTo>
                  <a:lnTo>
                    <a:pt x="1538" y="930"/>
                  </a:lnTo>
                  <a:lnTo>
                    <a:pt x="1543" y="928"/>
                  </a:lnTo>
                  <a:lnTo>
                    <a:pt x="1547" y="926"/>
                  </a:lnTo>
                  <a:lnTo>
                    <a:pt x="1551" y="923"/>
                  </a:lnTo>
                  <a:lnTo>
                    <a:pt x="1555" y="919"/>
                  </a:lnTo>
                  <a:lnTo>
                    <a:pt x="1559" y="916"/>
                  </a:lnTo>
                  <a:lnTo>
                    <a:pt x="1562" y="912"/>
                  </a:lnTo>
                  <a:lnTo>
                    <a:pt x="1564" y="907"/>
                  </a:lnTo>
                  <a:lnTo>
                    <a:pt x="1566" y="902"/>
                  </a:lnTo>
                  <a:lnTo>
                    <a:pt x="1568" y="897"/>
                  </a:lnTo>
                  <a:lnTo>
                    <a:pt x="1569" y="891"/>
                  </a:lnTo>
                  <a:lnTo>
                    <a:pt x="1570" y="885"/>
                  </a:lnTo>
                  <a:lnTo>
                    <a:pt x="1570" y="879"/>
                  </a:lnTo>
                  <a:lnTo>
                    <a:pt x="1570" y="872"/>
                  </a:lnTo>
                  <a:lnTo>
                    <a:pt x="1569" y="866"/>
                  </a:lnTo>
                  <a:lnTo>
                    <a:pt x="1568" y="861"/>
                  </a:lnTo>
                  <a:lnTo>
                    <a:pt x="1566" y="855"/>
                  </a:lnTo>
                  <a:lnTo>
                    <a:pt x="1564" y="850"/>
                  </a:lnTo>
                  <a:lnTo>
                    <a:pt x="1562" y="846"/>
                  </a:lnTo>
                  <a:lnTo>
                    <a:pt x="1559" y="842"/>
                  </a:lnTo>
                  <a:lnTo>
                    <a:pt x="1555" y="838"/>
                  </a:lnTo>
                  <a:lnTo>
                    <a:pt x="1551" y="835"/>
                  </a:lnTo>
                  <a:lnTo>
                    <a:pt x="1547" y="832"/>
                  </a:lnTo>
                  <a:lnTo>
                    <a:pt x="1543" y="829"/>
                  </a:lnTo>
                  <a:lnTo>
                    <a:pt x="1538" y="827"/>
                  </a:lnTo>
                  <a:lnTo>
                    <a:pt x="1535" y="826"/>
                  </a:lnTo>
                  <a:lnTo>
                    <a:pt x="1532" y="826"/>
                  </a:lnTo>
                  <a:lnTo>
                    <a:pt x="1526" y="825"/>
                  </a:lnTo>
                  <a:lnTo>
                    <a:pt x="1520" y="824"/>
                  </a:lnTo>
                  <a:lnTo>
                    <a:pt x="1514" y="824"/>
                  </a:lnTo>
                  <a:lnTo>
                    <a:pt x="1479" y="824"/>
                  </a:lnTo>
                  <a:close/>
                  <a:moveTo>
                    <a:pt x="1514" y="736"/>
                  </a:moveTo>
                  <a:lnTo>
                    <a:pt x="1532" y="737"/>
                  </a:lnTo>
                  <a:lnTo>
                    <a:pt x="1549" y="738"/>
                  </a:lnTo>
                  <a:lnTo>
                    <a:pt x="1557" y="740"/>
                  </a:lnTo>
                  <a:lnTo>
                    <a:pt x="1565" y="741"/>
                  </a:lnTo>
                  <a:lnTo>
                    <a:pt x="1580" y="745"/>
                  </a:lnTo>
                  <a:lnTo>
                    <a:pt x="1588" y="748"/>
                  </a:lnTo>
                  <a:lnTo>
                    <a:pt x="1595" y="750"/>
                  </a:lnTo>
                  <a:lnTo>
                    <a:pt x="1608" y="757"/>
                  </a:lnTo>
                  <a:lnTo>
                    <a:pt x="1620" y="764"/>
                  </a:lnTo>
                  <a:lnTo>
                    <a:pt x="1626" y="768"/>
                  </a:lnTo>
                  <a:lnTo>
                    <a:pt x="1631" y="773"/>
                  </a:lnTo>
                  <a:lnTo>
                    <a:pt x="1637" y="777"/>
                  </a:lnTo>
                  <a:lnTo>
                    <a:pt x="1641" y="782"/>
                  </a:lnTo>
                  <a:lnTo>
                    <a:pt x="1646" y="787"/>
                  </a:lnTo>
                  <a:lnTo>
                    <a:pt x="1650" y="793"/>
                  </a:lnTo>
                  <a:lnTo>
                    <a:pt x="1654" y="798"/>
                  </a:lnTo>
                  <a:lnTo>
                    <a:pt x="1658" y="804"/>
                  </a:lnTo>
                  <a:lnTo>
                    <a:pt x="1661" y="811"/>
                  </a:lnTo>
                  <a:lnTo>
                    <a:pt x="1664" y="817"/>
                  </a:lnTo>
                  <a:lnTo>
                    <a:pt x="1667" y="824"/>
                  </a:lnTo>
                  <a:lnTo>
                    <a:pt x="1669" y="831"/>
                  </a:lnTo>
                  <a:lnTo>
                    <a:pt x="1671" y="838"/>
                  </a:lnTo>
                  <a:lnTo>
                    <a:pt x="1673" y="846"/>
                  </a:lnTo>
                  <a:lnTo>
                    <a:pt x="1674" y="854"/>
                  </a:lnTo>
                  <a:lnTo>
                    <a:pt x="1675" y="862"/>
                  </a:lnTo>
                  <a:lnTo>
                    <a:pt x="1676" y="870"/>
                  </a:lnTo>
                  <a:lnTo>
                    <a:pt x="1676" y="879"/>
                  </a:lnTo>
                  <a:lnTo>
                    <a:pt x="1676" y="887"/>
                  </a:lnTo>
                  <a:lnTo>
                    <a:pt x="1675" y="896"/>
                  </a:lnTo>
                  <a:lnTo>
                    <a:pt x="1674" y="904"/>
                  </a:lnTo>
                  <a:lnTo>
                    <a:pt x="1673" y="911"/>
                  </a:lnTo>
                  <a:lnTo>
                    <a:pt x="1669" y="926"/>
                  </a:lnTo>
                  <a:lnTo>
                    <a:pt x="1667" y="933"/>
                  </a:lnTo>
                  <a:lnTo>
                    <a:pt x="1664" y="940"/>
                  </a:lnTo>
                  <a:lnTo>
                    <a:pt x="1658" y="953"/>
                  </a:lnTo>
                  <a:lnTo>
                    <a:pt x="1654" y="959"/>
                  </a:lnTo>
                  <a:lnTo>
                    <a:pt x="1650" y="965"/>
                  </a:lnTo>
                  <a:lnTo>
                    <a:pt x="1642" y="975"/>
                  </a:lnTo>
                  <a:lnTo>
                    <a:pt x="1632" y="985"/>
                  </a:lnTo>
                  <a:lnTo>
                    <a:pt x="1626" y="989"/>
                  </a:lnTo>
                  <a:lnTo>
                    <a:pt x="1620" y="993"/>
                  </a:lnTo>
                  <a:lnTo>
                    <a:pt x="1614" y="997"/>
                  </a:lnTo>
                  <a:lnTo>
                    <a:pt x="1608" y="1001"/>
                  </a:lnTo>
                  <a:lnTo>
                    <a:pt x="1595" y="1007"/>
                  </a:lnTo>
                  <a:lnTo>
                    <a:pt x="1588" y="1009"/>
                  </a:lnTo>
                  <a:lnTo>
                    <a:pt x="1580" y="1012"/>
                  </a:lnTo>
                  <a:lnTo>
                    <a:pt x="1565" y="1016"/>
                  </a:lnTo>
                  <a:lnTo>
                    <a:pt x="1557" y="1018"/>
                  </a:lnTo>
                  <a:lnTo>
                    <a:pt x="1549" y="1019"/>
                  </a:lnTo>
                  <a:lnTo>
                    <a:pt x="1532" y="1021"/>
                  </a:lnTo>
                  <a:lnTo>
                    <a:pt x="1523" y="1021"/>
                  </a:lnTo>
                  <a:lnTo>
                    <a:pt x="1514" y="1021"/>
                  </a:lnTo>
                  <a:lnTo>
                    <a:pt x="1479" y="1021"/>
                  </a:lnTo>
                  <a:lnTo>
                    <a:pt x="1479" y="1145"/>
                  </a:lnTo>
                  <a:lnTo>
                    <a:pt x="1479" y="1147"/>
                  </a:lnTo>
                  <a:lnTo>
                    <a:pt x="1479" y="1149"/>
                  </a:lnTo>
                  <a:lnTo>
                    <a:pt x="1477" y="1152"/>
                  </a:lnTo>
                  <a:lnTo>
                    <a:pt x="1475" y="1153"/>
                  </a:lnTo>
                  <a:lnTo>
                    <a:pt x="1473" y="1154"/>
                  </a:lnTo>
                  <a:lnTo>
                    <a:pt x="1469" y="1155"/>
                  </a:lnTo>
                  <a:lnTo>
                    <a:pt x="1387" y="1155"/>
                  </a:lnTo>
                  <a:lnTo>
                    <a:pt x="1383" y="1154"/>
                  </a:lnTo>
                  <a:lnTo>
                    <a:pt x="1380" y="1152"/>
                  </a:lnTo>
                  <a:lnTo>
                    <a:pt x="1379" y="1150"/>
                  </a:lnTo>
                  <a:lnTo>
                    <a:pt x="1378" y="1149"/>
                  </a:lnTo>
                  <a:lnTo>
                    <a:pt x="1377" y="1147"/>
                  </a:lnTo>
                  <a:lnTo>
                    <a:pt x="1377" y="1145"/>
                  </a:lnTo>
                  <a:lnTo>
                    <a:pt x="1377" y="746"/>
                  </a:lnTo>
                  <a:lnTo>
                    <a:pt x="1377" y="744"/>
                  </a:lnTo>
                  <a:lnTo>
                    <a:pt x="1378" y="742"/>
                  </a:lnTo>
                  <a:lnTo>
                    <a:pt x="1380" y="739"/>
                  </a:lnTo>
                  <a:lnTo>
                    <a:pt x="1381" y="738"/>
                  </a:lnTo>
                  <a:lnTo>
                    <a:pt x="1383" y="737"/>
                  </a:lnTo>
                  <a:lnTo>
                    <a:pt x="1387" y="736"/>
                  </a:lnTo>
                  <a:lnTo>
                    <a:pt x="1514" y="736"/>
                  </a:lnTo>
                  <a:close/>
                  <a:moveTo>
                    <a:pt x="2767" y="1006"/>
                  </a:moveTo>
                  <a:lnTo>
                    <a:pt x="2866" y="1006"/>
                  </a:lnTo>
                  <a:lnTo>
                    <a:pt x="2817" y="875"/>
                  </a:lnTo>
                  <a:lnTo>
                    <a:pt x="2767" y="1006"/>
                  </a:lnTo>
                  <a:close/>
                  <a:moveTo>
                    <a:pt x="2897" y="1088"/>
                  </a:moveTo>
                  <a:lnTo>
                    <a:pt x="2737" y="1088"/>
                  </a:lnTo>
                  <a:lnTo>
                    <a:pt x="2715" y="1145"/>
                  </a:lnTo>
                  <a:lnTo>
                    <a:pt x="2714" y="1148"/>
                  </a:lnTo>
                  <a:lnTo>
                    <a:pt x="2713" y="1150"/>
                  </a:lnTo>
                  <a:lnTo>
                    <a:pt x="2711" y="1151"/>
                  </a:lnTo>
                  <a:lnTo>
                    <a:pt x="2710" y="1153"/>
                  </a:lnTo>
                  <a:lnTo>
                    <a:pt x="2706" y="1154"/>
                  </a:lnTo>
                  <a:lnTo>
                    <a:pt x="2701" y="1155"/>
                  </a:lnTo>
                  <a:lnTo>
                    <a:pt x="2623" y="1155"/>
                  </a:lnTo>
                  <a:lnTo>
                    <a:pt x="2620" y="1155"/>
                  </a:lnTo>
                  <a:lnTo>
                    <a:pt x="2618" y="1154"/>
                  </a:lnTo>
                  <a:lnTo>
                    <a:pt x="2616" y="1153"/>
                  </a:lnTo>
                  <a:lnTo>
                    <a:pt x="2614" y="1151"/>
                  </a:lnTo>
                  <a:lnTo>
                    <a:pt x="2613" y="1149"/>
                  </a:lnTo>
                  <a:lnTo>
                    <a:pt x="2613" y="1147"/>
                  </a:lnTo>
                  <a:lnTo>
                    <a:pt x="2613" y="1144"/>
                  </a:lnTo>
                  <a:lnTo>
                    <a:pt x="2614" y="1141"/>
                  </a:lnTo>
                  <a:lnTo>
                    <a:pt x="2769" y="746"/>
                  </a:lnTo>
                  <a:lnTo>
                    <a:pt x="2770" y="743"/>
                  </a:lnTo>
                  <a:lnTo>
                    <a:pt x="2772" y="741"/>
                  </a:lnTo>
                  <a:lnTo>
                    <a:pt x="2775" y="738"/>
                  </a:lnTo>
                  <a:lnTo>
                    <a:pt x="2779" y="737"/>
                  </a:lnTo>
                  <a:lnTo>
                    <a:pt x="2781" y="736"/>
                  </a:lnTo>
                  <a:lnTo>
                    <a:pt x="2783" y="736"/>
                  </a:lnTo>
                  <a:lnTo>
                    <a:pt x="2853" y="736"/>
                  </a:lnTo>
                  <a:lnTo>
                    <a:pt x="2858" y="737"/>
                  </a:lnTo>
                  <a:lnTo>
                    <a:pt x="2861" y="738"/>
                  </a:lnTo>
                  <a:lnTo>
                    <a:pt x="2864" y="741"/>
                  </a:lnTo>
                  <a:lnTo>
                    <a:pt x="2865" y="743"/>
                  </a:lnTo>
                  <a:lnTo>
                    <a:pt x="2866" y="746"/>
                  </a:lnTo>
                  <a:lnTo>
                    <a:pt x="3022" y="1141"/>
                  </a:lnTo>
                  <a:lnTo>
                    <a:pt x="3023" y="1144"/>
                  </a:lnTo>
                  <a:lnTo>
                    <a:pt x="3023" y="1147"/>
                  </a:lnTo>
                  <a:lnTo>
                    <a:pt x="3023" y="1149"/>
                  </a:lnTo>
                  <a:lnTo>
                    <a:pt x="3021" y="1151"/>
                  </a:lnTo>
                  <a:lnTo>
                    <a:pt x="3020" y="1153"/>
                  </a:lnTo>
                  <a:lnTo>
                    <a:pt x="3018" y="1154"/>
                  </a:lnTo>
                  <a:lnTo>
                    <a:pt x="3016" y="1155"/>
                  </a:lnTo>
                  <a:lnTo>
                    <a:pt x="3013" y="1155"/>
                  </a:lnTo>
                  <a:lnTo>
                    <a:pt x="2933" y="1155"/>
                  </a:lnTo>
                  <a:lnTo>
                    <a:pt x="2928" y="1154"/>
                  </a:lnTo>
                  <a:lnTo>
                    <a:pt x="2926" y="1154"/>
                  </a:lnTo>
                  <a:lnTo>
                    <a:pt x="2925" y="1153"/>
                  </a:lnTo>
                  <a:lnTo>
                    <a:pt x="2923" y="1151"/>
                  </a:lnTo>
                  <a:lnTo>
                    <a:pt x="2921" y="1150"/>
                  </a:lnTo>
                  <a:lnTo>
                    <a:pt x="2920" y="1148"/>
                  </a:lnTo>
                  <a:lnTo>
                    <a:pt x="2919" y="1145"/>
                  </a:lnTo>
                  <a:lnTo>
                    <a:pt x="2897" y="1088"/>
                  </a:lnTo>
                  <a:close/>
                  <a:moveTo>
                    <a:pt x="696" y="2625"/>
                  </a:moveTo>
                  <a:lnTo>
                    <a:pt x="614" y="2625"/>
                  </a:lnTo>
                  <a:lnTo>
                    <a:pt x="610" y="2624"/>
                  </a:lnTo>
                  <a:lnTo>
                    <a:pt x="607" y="2622"/>
                  </a:lnTo>
                  <a:lnTo>
                    <a:pt x="605" y="2621"/>
                  </a:lnTo>
                  <a:lnTo>
                    <a:pt x="605" y="2619"/>
                  </a:lnTo>
                  <a:lnTo>
                    <a:pt x="604" y="2617"/>
                  </a:lnTo>
                  <a:lnTo>
                    <a:pt x="604" y="2615"/>
                  </a:lnTo>
                  <a:lnTo>
                    <a:pt x="604" y="2217"/>
                  </a:lnTo>
                  <a:lnTo>
                    <a:pt x="604" y="2214"/>
                  </a:lnTo>
                  <a:lnTo>
                    <a:pt x="605" y="2212"/>
                  </a:lnTo>
                  <a:lnTo>
                    <a:pt x="607" y="2209"/>
                  </a:lnTo>
                  <a:lnTo>
                    <a:pt x="608" y="2208"/>
                  </a:lnTo>
                  <a:lnTo>
                    <a:pt x="610" y="2207"/>
                  </a:lnTo>
                  <a:lnTo>
                    <a:pt x="614" y="2207"/>
                  </a:lnTo>
                  <a:lnTo>
                    <a:pt x="696" y="2207"/>
                  </a:lnTo>
                  <a:lnTo>
                    <a:pt x="700" y="2207"/>
                  </a:lnTo>
                  <a:lnTo>
                    <a:pt x="703" y="2209"/>
                  </a:lnTo>
                  <a:lnTo>
                    <a:pt x="704" y="2211"/>
                  </a:lnTo>
                  <a:lnTo>
                    <a:pt x="705" y="2212"/>
                  </a:lnTo>
                  <a:lnTo>
                    <a:pt x="706" y="2214"/>
                  </a:lnTo>
                  <a:lnTo>
                    <a:pt x="706" y="2217"/>
                  </a:lnTo>
                  <a:lnTo>
                    <a:pt x="706" y="2392"/>
                  </a:lnTo>
                  <a:lnTo>
                    <a:pt x="850" y="2216"/>
                  </a:lnTo>
                  <a:lnTo>
                    <a:pt x="854" y="2212"/>
                  </a:lnTo>
                  <a:lnTo>
                    <a:pt x="856" y="2210"/>
                  </a:lnTo>
                  <a:lnTo>
                    <a:pt x="858" y="2209"/>
                  </a:lnTo>
                  <a:lnTo>
                    <a:pt x="860" y="2208"/>
                  </a:lnTo>
                  <a:lnTo>
                    <a:pt x="863" y="2207"/>
                  </a:lnTo>
                  <a:lnTo>
                    <a:pt x="865" y="2207"/>
                  </a:lnTo>
                  <a:lnTo>
                    <a:pt x="868" y="2207"/>
                  </a:lnTo>
                  <a:lnTo>
                    <a:pt x="964" y="2207"/>
                  </a:lnTo>
                  <a:lnTo>
                    <a:pt x="967" y="2207"/>
                  </a:lnTo>
                  <a:lnTo>
                    <a:pt x="969" y="2208"/>
                  </a:lnTo>
                  <a:lnTo>
                    <a:pt x="971" y="2210"/>
                  </a:lnTo>
                  <a:lnTo>
                    <a:pt x="972" y="2212"/>
                  </a:lnTo>
                  <a:lnTo>
                    <a:pt x="972" y="2214"/>
                  </a:lnTo>
                  <a:lnTo>
                    <a:pt x="972" y="2216"/>
                  </a:lnTo>
                  <a:lnTo>
                    <a:pt x="971" y="2219"/>
                  </a:lnTo>
                  <a:lnTo>
                    <a:pt x="970" y="2221"/>
                  </a:lnTo>
                  <a:lnTo>
                    <a:pt x="838" y="2382"/>
                  </a:lnTo>
                  <a:lnTo>
                    <a:pt x="974" y="2612"/>
                  </a:lnTo>
                  <a:lnTo>
                    <a:pt x="975" y="2614"/>
                  </a:lnTo>
                  <a:lnTo>
                    <a:pt x="975" y="2617"/>
                  </a:lnTo>
                  <a:lnTo>
                    <a:pt x="975" y="2619"/>
                  </a:lnTo>
                  <a:lnTo>
                    <a:pt x="975" y="2621"/>
                  </a:lnTo>
                  <a:lnTo>
                    <a:pt x="974" y="2623"/>
                  </a:lnTo>
                  <a:lnTo>
                    <a:pt x="972" y="2624"/>
                  </a:lnTo>
                  <a:lnTo>
                    <a:pt x="970" y="2625"/>
                  </a:lnTo>
                  <a:lnTo>
                    <a:pt x="967" y="2625"/>
                  </a:lnTo>
                  <a:lnTo>
                    <a:pt x="871" y="2625"/>
                  </a:lnTo>
                  <a:lnTo>
                    <a:pt x="867" y="2625"/>
                  </a:lnTo>
                  <a:lnTo>
                    <a:pt x="862" y="2623"/>
                  </a:lnTo>
                  <a:lnTo>
                    <a:pt x="861" y="2622"/>
                  </a:lnTo>
                  <a:lnTo>
                    <a:pt x="859" y="2620"/>
                  </a:lnTo>
                  <a:lnTo>
                    <a:pt x="856" y="2616"/>
                  </a:lnTo>
                  <a:lnTo>
                    <a:pt x="759" y="2450"/>
                  </a:lnTo>
                  <a:lnTo>
                    <a:pt x="706" y="2514"/>
                  </a:lnTo>
                  <a:lnTo>
                    <a:pt x="706" y="2615"/>
                  </a:lnTo>
                  <a:lnTo>
                    <a:pt x="706" y="2617"/>
                  </a:lnTo>
                  <a:lnTo>
                    <a:pt x="705" y="2619"/>
                  </a:lnTo>
                  <a:lnTo>
                    <a:pt x="703" y="2622"/>
                  </a:lnTo>
                  <a:lnTo>
                    <a:pt x="702" y="2624"/>
                  </a:lnTo>
                  <a:lnTo>
                    <a:pt x="700" y="2624"/>
                  </a:lnTo>
                  <a:lnTo>
                    <a:pt x="696" y="2625"/>
                  </a:lnTo>
                  <a:close/>
                  <a:moveTo>
                    <a:pt x="1288" y="2177"/>
                  </a:moveTo>
                  <a:lnTo>
                    <a:pt x="1283" y="2177"/>
                  </a:lnTo>
                  <a:lnTo>
                    <a:pt x="1278" y="2176"/>
                  </a:lnTo>
                  <a:lnTo>
                    <a:pt x="1273" y="2175"/>
                  </a:lnTo>
                  <a:lnTo>
                    <a:pt x="1268" y="2173"/>
                  </a:lnTo>
                  <a:lnTo>
                    <a:pt x="1260" y="2169"/>
                  </a:lnTo>
                  <a:lnTo>
                    <a:pt x="1256" y="2166"/>
                  </a:lnTo>
                  <a:lnTo>
                    <a:pt x="1253" y="2163"/>
                  </a:lnTo>
                  <a:lnTo>
                    <a:pt x="1249" y="2160"/>
                  </a:lnTo>
                  <a:lnTo>
                    <a:pt x="1247" y="2156"/>
                  </a:lnTo>
                  <a:lnTo>
                    <a:pt x="1244" y="2152"/>
                  </a:lnTo>
                  <a:lnTo>
                    <a:pt x="1242" y="2148"/>
                  </a:lnTo>
                  <a:lnTo>
                    <a:pt x="1241" y="2143"/>
                  </a:lnTo>
                  <a:lnTo>
                    <a:pt x="1240" y="2138"/>
                  </a:lnTo>
                  <a:lnTo>
                    <a:pt x="1239" y="2133"/>
                  </a:lnTo>
                  <a:lnTo>
                    <a:pt x="1239" y="2128"/>
                  </a:lnTo>
                  <a:lnTo>
                    <a:pt x="1239" y="2123"/>
                  </a:lnTo>
                  <a:lnTo>
                    <a:pt x="1240" y="2118"/>
                  </a:lnTo>
                  <a:lnTo>
                    <a:pt x="1241" y="2113"/>
                  </a:lnTo>
                  <a:lnTo>
                    <a:pt x="1242" y="2108"/>
                  </a:lnTo>
                  <a:lnTo>
                    <a:pt x="1244" y="2104"/>
                  </a:lnTo>
                  <a:lnTo>
                    <a:pt x="1247" y="2100"/>
                  </a:lnTo>
                  <a:lnTo>
                    <a:pt x="1249" y="2096"/>
                  </a:lnTo>
                  <a:lnTo>
                    <a:pt x="1253" y="2093"/>
                  </a:lnTo>
                  <a:lnTo>
                    <a:pt x="1256" y="2090"/>
                  </a:lnTo>
                  <a:lnTo>
                    <a:pt x="1260" y="2087"/>
                  </a:lnTo>
                  <a:lnTo>
                    <a:pt x="1264" y="2084"/>
                  </a:lnTo>
                  <a:lnTo>
                    <a:pt x="1268" y="2082"/>
                  </a:lnTo>
                  <a:lnTo>
                    <a:pt x="1273" y="2081"/>
                  </a:lnTo>
                  <a:lnTo>
                    <a:pt x="1278" y="2080"/>
                  </a:lnTo>
                  <a:lnTo>
                    <a:pt x="1283" y="2079"/>
                  </a:lnTo>
                  <a:lnTo>
                    <a:pt x="1288" y="2079"/>
                  </a:lnTo>
                  <a:lnTo>
                    <a:pt x="1294" y="2079"/>
                  </a:lnTo>
                  <a:lnTo>
                    <a:pt x="1299" y="2080"/>
                  </a:lnTo>
                  <a:lnTo>
                    <a:pt x="1304" y="2081"/>
                  </a:lnTo>
                  <a:lnTo>
                    <a:pt x="1308" y="2082"/>
                  </a:lnTo>
                  <a:lnTo>
                    <a:pt x="1317" y="2087"/>
                  </a:lnTo>
                  <a:lnTo>
                    <a:pt x="1320" y="2090"/>
                  </a:lnTo>
                  <a:lnTo>
                    <a:pt x="1324" y="2093"/>
                  </a:lnTo>
                  <a:lnTo>
                    <a:pt x="1327" y="2096"/>
                  </a:lnTo>
                  <a:lnTo>
                    <a:pt x="1330" y="2100"/>
                  </a:lnTo>
                  <a:lnTo>
                    <a:pt x="1332" y="2104"/>
                  </a:lnTo>
                  <a:lnTo>
                    <a:pt x="1334" y="2108"/>
                  </a:lnTo>
                  <a:lnTo>
                    <a:pt x="1336" y="2113"/>
                  </a:lnTo>
                  <a:lnTo>
                    <a:pt x="1337" y="2118"/>
                  </a:lnTo>
                  <a:lnTo>
                    <a:pt x="1338" y="2123"/>
                  </a:lnTo>
                  <a:lnTo>
                    <a:pt x="1338" y="2128"/>
                  </a:lnTo>
                  <a:lnTo>
                    <a:pt x="1338" y="2133"/>
                  </a:lnTo>
                  <a:lnTo>
                    <a:pt x="1337" y="2138"/>
                  </a:lnTo>
                  <a:lnTo>
                    <a:pt x="1336" y="2143"/>
                  </a:lnTo>
                  <a:lnTo>
                    <a:pt x="1334" y="2148"/>
                  </a:lnTo>
                  <a:lnTo>
                    <a:pt x="1332" y="2152"/>
                  </a:lnTo>
                  <a:lnTo>
                    <a:pt x="1330" y="2156"/>
                  </a:lnTo>
                  <a:lnTo>
                    <a:pt x="1327" y="2160"/>
                  </a:lnTo>
                  <a:lnTo>
                    <a:pt x="1324" y="2163"/>
                  </a:lnTo>
                  <a:lnTo>
                    <a:pt x="1320" y="2166"/>
                  </a:lnTo>
                  <a:lnTo>
                    <a:pt x="1317" y="2169"/>
                  </a:lnTo>
                  <a:lnTo>
                    <a:pt x="1313" y="2171"/>
                  </a:lnTo>
                  <a:lnTo>
                    <a:pt x="1308" y="2173"/>
                  </a:lnTo>
                  <a:lnTo>
                    <a:pt x="1304" y="2175"/>
                  </a:lnTo>
                  <a:lnTo>
                    <a:pt x="1299" y="2176"/>
                  </a:lnTo>
                  <a:lnTo>
                    <a:pt x="1294" y="2177"/>
                  </a:lnTo>
                  <a:lnTo>
                    <a:pt x="1288" y="2177"/>
                  </a:lnTo>
                  <a:close/>
                  <a:moveTo>
                    <a:pt x="1173" y="2477"/>
                  </a:moveTo>
                  <a:lnTo>
                    <a:pt x="1272" y="2477"/>
                  </a:lnTo>
                  <a:lnTo>
                    <a:pt x="1223" y="2345"/>
                  </a:lnTo>
                  <a:lnTo>
                    <a:pt x="1173" y="2477"/>
                  </a:lnTo>
                  <a:close/>
                  <a:moveTo>
                    <a:pt x="1303" y="2558"/>
                  </a:moveTo>
                  <a:lnTo>
                    <a:pt x="1143" y="2558"/>
                  </a:lnTo>
                  <a:lnTo>
                    <a:pt x="1121" y="2616"/>
                  </a:lnTo>
                  <a:lnTo>
                    <a:pt x="1120" y="2618"/>
                  </a:lnTo>
                  <a:lnTo>
                    <a:pt x="1119" y="2620"/>
                  </a:lnTo>
                  <a:lnTo>
                    <a:pt x="1117" y="2622"/>
                  </a:lnTo>
                  <a:lnTo>
                    <a:pt x="1115" y="2623"/>
                  </a:lnTo>
                  <a:lnTo>
                    <a:pt x="1112" y="2625"/>
                  </a:lnTo>
                  <a:lnTo>
                    <a:pt x="1107" y="2625"/>
                  </a:lnTo>
                  <a:lnTo>
                    <a:pt x="1029" y="2625"/>
                  </a:lnTo>
                  <a:lnTo>
                    <a:pt x="1026" y="2625"/>
                  </a:lnTo>
                  <a:lnTo>
                    <a:pt x="1024" y="2624"/>
                  </a:lnTo>
                  <a:lnTo>
                    <a:pt x="1022" y="2623"/>
                  </a:lnTo>
                  <a:lnTo>
                    <a:pt x="1020" y="2622"/>
                  </a:lnTo>
                  <a:lnTo>
                    <a:pt x="1019" y="2620"/>
                  </a:lnTo>
                  <a:lnTo>
                    <a:pt x="1019" y="2617"/>
                  </a:lnTo>
                  <a:lnTo>
                    <a:pt x="1019" y="2615"/>
                  </a:lnTo>
                  <a:lnTo>
                    <a:pt x="1020" y="2612"/>
                  </a:lnTo>
                  <a:lnTo>
                    <a:pt x="1175" y="2216"/>
                  </a:lnTo>
                  <a:lnTo>
                    <a:pt x="1176" y="2214"/>
                  </a:lnTo>
                  <a:lnTo>
                    <a:pt x="1178" y="2212"/>
                  </a:lnTo>
                  <a:lnTo>
                    <a:pt x="1181" y="2209"/>
                  </a:lnTo>
                  <a:lnTo>
                    <a:pt x="1184" y="2207"/>
                  </a:lnTo>
                  <a:lnTo>
                    <a:pt x="1187" y="2207"/>
                  </a:lnTo>
                  <a:lnTo>
                    <a:pt x="1189" y="2207"/>
                  </a:lnTo>
                  <a:lnTo>
                    <a:pt x="1259" y="2207"/>
                  </a:lnTo>
                  <a:lnTo>
                    <a:pt x="1263" y="2207"/>
                  </a:lnTo>
                  <a:lnTo>
                    <a:pt x="1267" y="2209"/>
                  </a:lnTo>
                  <a:lnTo>
                    <a:pt x="1270" y="2212"/>
                  </a:lnTo>
                  <a:lnTo>
                    <a:pt x="1271" y="2214"/>
                  </a:lnTo>
                  <a:lnTo>
                    <a:pt x="1272" y="2216"/>
                  </a:lnTo>
                  <a:lnTo>
                    <a:pt x="1428" y="2612"/>
                  </a:lnTo>
                  <a:lnTo>
                    <a:pt x="1429" y="2615"/>
                  </a:lnTo>
                  <a:lnTo>
                    <a:pt x="1429" y="2617"/>
                  </a:lnTo>
                  <a:lnTo>
                    <a:pt x="1428" y="2620"/>
                  </a:lnTo>
                  <a:lnTo>
                    <a:pt x="1427" y="2622"/>
                  </a:lnTo>
                  <a:lnTo>
                    <a:pt x="1426" y="2623"/>
                  </a:lnTo>
                  <a:lnTo>
                    <a:pt x="1424" y="2624"/>
                  </a:lnTo>
                  <a:lnTo>
                    <a:pt x="1421" y="2625"/>
                  </a:lnTo>
                  <a:lnTo>
                    <a:pt x="1419" y="2625"/>
                  </a:lnTo>
                  <a:lnTo>
                    <a:pt x="1339" y="2625"/>
                  </a:lnTo>
                  <a:lnTo>
                    <a:pt x="1334" y="2625"/>
                  </a:lnTo>
                  <a:lnTo>
                    <a:pt x="1332" y="2624"/>
                  </a:lnTo>
                  <a:lnTo>
                    <a:pt x="1330" y="2623"/>
                  </a:lnTo>
                  <a:lnTo>
                    <a:pt x="1329" y="2622"/>
                  </a:lnTo>
                  <a:lnTo>
                    <a:pt x="1327" y="2620"/>
                  </a:lnTo>
                  <a:lnTo>
                    <a:pt x="1326" y="2618"/>
                  </a:lnTo>
                  <a:lnTo>
                    <a:pt x="1325" y="2616"/>
                  </a:lnTo>
                  <a:lnTo>
                    <a:pt x="1303" y="2558"/>
                  </a:lnTo>
                  <a:close/>
                  <a:moveTo>
                    <a:pt x="1156" y="2177"/>
                  </a:moveTo>
                  <a:lnTo>
                    <a:pt x="1151" y="2177"/>
                  </a:lnTo>
                  <a:lnTo>
                    <a:pt x="1146" y="2176"/>
                  </a:lnTo>
                  <a:lnTo>
                    <a:pt x="1141" y="2175"/>
                  </a:lnTo>
                  <a:lnTo>
                    <a:pt x="1136" y="2173"/>
                  </a:lnTo>
                  <a:lnTo>
                    <a:pt x="1128" y="2169"/>
                  </a:lnTo>
                  <a:lnTo>
                    <a:pt x="1124" y="2166"/>
                  </a:lnTo>
                  <a:lnTo>
                    <a:pt x="1121" y="2163"/>
                  </a:lnTo>
                  <a:lnTo>
                    <a:pt x="1118" y="2160"/>
                  </a:lnTo>
                  <a:lnTo>
                    <a:pt x="1115" y="2156"/>
                  </a:lnTo>
                  <a:lnTo>
                    <a:pt x="1112" y="2152"/>
                  </a:lnTo>
                  <a:lnTo>
                    <a:pt x="1110" y="2148"/>
                  </a:lnTo>
                  <a:lnTo>
                    <a:pt x="1109" y="2143"/>
                  </a:lnTo>
                  <a:lnTo>
                    <a:pt x="1108" y="2138"/>
                  </a:lnTo>
                  <a:lnTo>
                    <a:pt x="1107" y="2133"/>
                  </a:lnTo>
                  <a:lnTo>
                    <a:pt x="1107" y="2128"/>
                  </a:lnTo>
                  <a:lnTo>
                    <a:pt x="1107" y="2123"/>
                  </a:lnTo>
                  <a:lnTo>
                    <a:pt x="1108" y="2118"/>
                  </a:lnTo>
                  <a:lnTo>
                    <a:pt x="1109" y="2113"/>
                  </a:lnTo>
                  <a:lnTo>
                    <a:pt x="1110" y="2108"/>
                  </a:lnTo>
                  <a:lnTo>
                    <a:pt x="1112" y="2104"/>
                  </a:lnTo>
                  <a:lnTo>
                    <a:pt x="1115" y="2100"/>
                  </a:lnTo>
                  <a:lnTo>
                    <a:pt x="1118" y="2096"/>
                  </a:lnTo>
                  <a:lnTo>
                    <a:pt x="1121" y="2093"/>
                  </a:lnTo>
                  <a:lnTo>
                    <a:pt x="1124" y="2090"/>
                  </a:lnTo>
                  <a:lnTo>
                    <a:pt x="1128" y="2087"/>
                  </a:lnTo>
                  <a:lnTo>
                    <a:pt x="1132" y="2084"/>
                  </a:lnTo>
                  <a:lnTo>
                    <a:pt x="1136" y="2082"/>
                  </a:lnTo>
                  <a:lnTo>
                    <a:pt x="1141" y="2081"/>
                  </a:lnTo>
                  <a:lnTo>
                    <a:pt x="1146" y="2080"/>
                  </a:lnTo>
                  <a:lnTo>
                    <a:pt x="1151" y="2079"/>
                  </a:lnTo>
                  <a:lnTo>
                    <a:pt x="1156" y="2079"/>
                  </a:lnTo>
                  <a:lnTo>
                    <a:pt x="1162" y="2079"/>
                  </a:lnTo>
                  <a:lnTo>
                    <a:pt x="1167" y="2080"/>
                  </a:lnTo>
                  <a:lnTo>
                    <a:pt x="1172" y="2081"/>
                  </a:lnTo>
                  <a:lnTo>
                    <a:pt x="1176" y="2082"/>
                  </a:lnTo>
                  <a:lnTo>
                    <a:pt x="1185" y="2087"/>
                  </a:lnTo>
                  <a:lnTo>
                    <a:pt x="1189" y="2090"/>
                  </a:lnTo>
                  <a:lnTo>
                    <a:pt x="1192" y="2093"/>
                  </a:lnTo>
                  <a:lnTo>
                    <a:pt x="1195" y="2096"/>
                  </a:lnTo>
                  <a:lnTo>
                    <a:pt x="1198" y="2100"/>
                  </a:lnTo>
                  <a:lnTo>
                    <a:pt x="1200" y="2104"/>
                  </a:lnTo>
                  <a:lnTo>
                    <a:pt x="1202" y="2108"/>
                  </a:lnTo>
                  <a:lnTo>
                    <a:pt x="1204" y="2113"/>
                  </a:lnTo>
                  <a:lnTo>
                    <a:pt x="1205" y="2118"/>
                  </a:lnTo>
                  <a:lnTo>
                    <a:pt x="1206" y="2123"/>
                  </a:lnTo>
                  <a:lnTo>
                    <a:pt x="1206" y="2128"/>
                  </a:lnTo>
                  <a:lnTo>
                    <a:pt x="1206" y="2133"/>
                  </a:lnTo>
                  <a:lnTo>
                    <a:pt x="1205" y="2138"/>
                  </a:lnTo>
                  <a:lnTo>
                    <a:pt x="1204" y="2143"/>
                  </a:lnTo>
                  <a:lnTo>
                    <a:pt x="1202" y="2148"/>
                  </a:lnTo>
                  <a:lnTo>
                    <a:pt x="1200" y="2152"/>
                  </a:lnTo>
                  <a:lnTo>
                    <a:pt x="1198" y="2156"/>
                  </a:lnTo>
                  <a:lnTo>
                    <a:pt x="1195" y="2160"/>
                  </a:lnTo>
                  <a:lnTo>
                    <a:pt x="1192" y="2163"/>
                  </a:lnTo>
                  <a:lnTo>
                    <a:pt x="1189" y="2166"/>
                  </a:lnTo>
                  <a:lnTo>
                    <a:pt x="1185" y="2169"/>
                  </a:lnTo>
                  <a:lnTo>
                    <a:pt x="1181" y="2171"/>
                  </a:lnTo>
                  <a:lnTo>
                    <a:pt x="1176" y="2173"/>
                  </a:lnTo>
                  <a:lnTo>
                    <a:pt x="1172" y="2175"/>
                  </a:lnTo>
                  <a:lnTo>
                    <a:pt x="1167" y="2176"/>
                  </a:lnTo>
                  <a:lnTo>
                    <a:pt x="1162" y="2177"/>
                  </a:lnTo>
                  <a:lnTo>
                    <a:pt x="1156" y="2177"/>
                  </a:lnTo>
                  <a:close/>
                  <a:moveTo>
                    <a:pt x="1624" y="2446"/>
                  </a:moveTo>
                  <a:lnTo>
                    <a:pt x="1624" y="2615"/>
                  </a:lnTo>
                  <a:lnTo>
                    <a:pt x="1624" y="2617"/>
                  </a:lnTo>
                  <a:lnTo>
                    <a:pt x="1623" y="2619"/>
                  </a:lnTo>
                  <a:lnTo>
                    <a:pt x="1622" y="2622"/>
                  </a:lnTo>
                  <a:lnTo>
                    <a:pt x="1620" y="2623"/>
                  </a:lnTo>
                  <a:lnTo>
                    <a:pt x="1619" y="2624"/>
                  </a:lnTo>
                  <a:lnTo>
                    <a:pt x="1617" y="2625"/>
                  </a:lnTo>
                  <a:lnTo>
                    <a:pt x="1615" y="2625"/>
                  </a:lnTo>
                  <a:lnTo>
                    <a:pt x="1536" y="2625"/>
                  </a:lnTo>
                  <a:lnTo>
                    <a:pt x="1532" y="2624"/>
                  </a:lnTo>
                  <a:lnTo>
                    <a:pt x="1529" y="2622"/>
                  </a:lnTo>
                  <a:lnTo>
                    <a:pt x="1527" y="2619"/>
                  </a:lnTo>
                  <a:lnTo>
                    <a:pt x="1527" y="2617"/>
                  </a:lnTo>
                  <a:lnTo>
                    <a:pt x="1526" y="2615"/>
                  </a:lnTo>
                  <a:lnTo>
                    <a:pt x="1526" y="2446"/>
                  </a:lnTo>
                  <a:lnTo>
                    <a:pt x="1430" y="2220"/>
                  </a:lnTo>
                  <a:lnTo>
                    <a:pt x="1429" y="2217"/>
                  </a:lnTo>
                  <a:lnTo>
                    <a:pt x="1429" y="2214"/>
                  </a:lnTo>
                  <a:lnTo>
                    <a:pt x="1429" y="2212"/>
                  </a:lnTo>
                  <a:lnTo>
                    <a:pt x="1430" y="2210"/>
                  </a:lnTo>
                  <a:lnTo>
                    <a:pt x="1431" y="2209"/>
                  </a:lnTo>
                  <a:lnTo>
                    <a:pt x="1432" y="2208"/>
                  </a:lnTo>
                  <a:lnTo>
                    <a:pt x="1434" y="2207"/>
                  </a:lnTo>
                  <a:lnTo>
                    <a:pt x="1437" y="2207"/>
                  </a:lnTo>
                  <a:lnTo>
                    <a:pt x="1516" y="2207"/>
                  </a:lnTo>
                  <a:lnTo>
                    <a:pt x="1520" y="2207"/>
                  </a:lnTo>
                  <a:lnTo>
                    <a:pt x="1523" y="2208"/>
                  </a:lnTo>
                  <a:lnTo>
                    <a:pt x="1524" y="2209"/>
                  </a:lnTo>
                  <a:lnTo>
                    <a:pt x="1526" y="2210"/>
                  </a:lnTo>
                  <a:lnTo>
                    <a:pt x="1528" y="2211"/>
                  </a:lnTo>
                  <a:lnTo>
                    <a:pt x="1529" y="2213"/>
                  </a:lnTo>
                  <a:lnTo>
                    <a:pt x="1530" y="2215"/>
                  </a:lnTo>
                  <a:lnTo>
                    <a:pt x="1577" y="2342"/>
                  </a:lnTo>
                  <a:lnTo>
                    <a:pt x="1621" y="2215"/>
                  </a:lnTo>
                  <a:lnTo>
                    <a:pt x="1622" y="2213"/>
                  </a:lnTo>
                  <a:lnTo>
                    <a:pt x="1623" y="2211"/>
                  </a:lnTo>
                  <a:lnTo>
                    <a:pt x="1625" y="2210"/>
                  </a:lnTo>
                  <a:lnTo>
                    <a:pt x="1627" y="2209"/>
                  </a:lnTo>
                  <a:lnTo>
                    <a:pt x="1629" y="2208"/>
                  </a:lnTo>
                  <a:lnTo>
                    <a:pt x="1631" y="2207"/>
                  </a:lnTo>
                  <a:lnTo>
                    <a:pt x="1635" y="2207"/>
                  </a:lnTo>
                  <a:lnTo>
                    <a:pt x="1712" y="2207"/>
                  </a:lnTo>
                  <a:lnTo>
                    <a:pt x="1714" y="2207"/>
                  </a:lnTo>
                  <a:lnTo>
                    <a:pt x="1716" y="2208"/>
                  </a:lnTo>
                  <a:lnTo>
                    <a:pt x="1717" y="2209"/>
                  </a:lnTo>
                  <a:lnTo>
                    <a:pt x="1718" y="2210"/>
                  </a:lnTo>
                  <a:lnTo>
                    <a:pt x="1719" y="2212"/>
                  </a:lnTo>
                  <a:lnTo>
                    <a:pt x="1719" y="2214"/>
                  </a:lnTo>
                  <a:lnTo>
                    <a:pt x="1719" y="2217"/>
                  </a:lnTo>
                  <a:lnTo>
                    <a:pt x="1718" y="2220"/>
                  </a:lnTo>
                  <a:lnTo>
                    <a:pt x="1624" y="2446"/>
                  </a:lnTo>
                  <a:close/>
                  <a:moveTo>
                    <a:pt x="1929" y="2536"/>
                  </a:moveTo>
                  <a:lnTo>
                    <a:pt x="1941" y="2536"/>
                  </a:lnTo>
                  <a:lnTo>
                    <a:pt x="1947" y="2535"/>
                  </a:lnTo>
                  <a:lnTo>
                    <a:pt x="1953" y="2534"/>
                  </a:lnTo>
                  <a:lnTo>
                    <a:pt x="1964" y="2532"/>
                  </a:lnTo>
                  <a:lnTo>
                    <a:pt x="1975" y="2528"/>
                  </a:lnTo>
                  <a:lnTo>
                    <a:pt x="1980" y="2526"/>
                  </a:lnTo>
                  <a:lnTo>
                    <a:pt x="1985" y="2524"/>
                  </a:lnTo>
                  <a:lnTo>
                    <a:pt x="1995" y="2519"/>
                  </a:lnTo>
                  <a:lnTo>
                    <a:pt x="2004" y="2512"/>
                  </a:lnTo>
                  <a:lnTo>
                    <a:pt x="2012" y="2505"/>
                  </a:lnTo>
                  <a:lnTo>
                    <a:pt x="2019" y="2497"/>
                  </a:lnTo>
                  <a:lnTo>
                    <a:pt x="2026" y="2488"/>
                  </a:lnTo>
                  <a:lnTo>
                    <a:pt x="2032" y="2478"/>
                  </a:lnTo>
                  <a:lnTo>
                    <a:pt x="2034" y="2473"/>
                  </a:lnTo>
                  <a:lnTo>
                    <a:pt x="2036" y="2467"/>
                  </a:lnTo>
                  <a:lnTo>
                    <a:pt x="2038" y="2461"/>
                  </a:lnTo>
                  <a:lnTo>
                    <a:pt x="2040" y="2455"/>
                  </a:lnTo>
                  <a:lnTo>
                    <a:pt x="2043" y="2443"/>
                  </a:lnTo>
                  <a:lnTo>
                    <a:pt x="2045" y="2430"/>
                  </a:lnTo>
                  <a:lnTo>
                    <a:pt x="2045" y="2423"/>
                  </a:lnTo>
                  <a:lnTo>
                    <a:pt x="2045" y="2416"/>
                  </a:lnTo>
                  <a:lnTo>
                    <a:pt x="2045" y="2402"/>
                  </a:lnTo>
                  <a:lnTo>
                    <a:pt x="2043" y="2388"/>
                  </a:lnTo>
                  <a:lnTo>
                    <a:pt x="2040" y="2376"/>
                  </a:lnTo>
                  <a:lnTo>
                    <a:pt x="2036" y="2364"/>
                  </a:lnTo>
                  <a:lnTo>
                    <a:pt x="2032" y="2354"/>
                  </a:lnTo>
                  <a:lnTo>
                    <a:pt x="2026" y="2344"/>
                  </a:lnTo>
                  <a:lnTo>
                    <a:pt x="2023" y="2339"/>
                  </a:lnTo>
                  <a:lnTo>
                    <a:pt x="2019" y="2335"/>
                  </a:lnTo>
                  <a:lnTo>
                    <a:pt x="2012" y="2326"/>
                  </a:lnTo>
                  <a:lnTo>
                    <a:pt x="2008" y="2323"/>
                  </a:lnTo>
                  <a:lnTo>
                    <a:pt x="2004" y="2319"/>
                  </a:lnTo>
                  <a:lnTo>
                    <a:pt x="1995" y="2313"/>
                  </a:lnTo>
                  <a:lnTo>
                    <a:pt x="1990" y="2310"/>
                  </a:lnTo>
                  <a:lnTo>
                    <a:pt x="1985" y="2308"/>
                  </a:lnTo>
                  <a:lnTo>
                    <a:pt x="1980" y="2305"/>
                  </a:lnTo>
                  <a:lnTo>
                    <a:pt x="1975" y="2303"/>
                  </a:lnTo>
                  <a:lnTo>
                    <a:pt x="1964" y="2300"/>
                  </a:lnTo>
                  <a:lnTo>
                    <a:pt x="1953" y="2297"/>
                  </a:lnTo>
                  <a:lnTo>
                    <a:pt x="1947" y="2296"/>
                  </a:lnTo>
                  <a:lnTo>
                    <a:pt x="1941" y="2296"/>
                  </a:lnTo>
                  <a:lnTo>
                    <a:pt x="1929" y="2295"/>
                  </a:lnTo>
                  <a:lnTo>
                    <a:pt x="1888" y="2295"/>
                  </a:lnTo>
                  <a:lnTo>
                    <a:pt x="1888" y="2536"/>
                  </a:lnTo>
                  <a:lnTo>
                    <a:pt x="1929" y="2536"/>
                  </a:lnTo>
                  <a:close/>
                  <a:moveTo>
                    <a:pt x="1928" y="2207"/>
                  </a:moveTo>
                  <a:lnTo>
                    <a:pt x="1941" y="2207"/>
                  </a:lnTo>
                  <a:lnTo>
                    <a:pt x="1953" y="2207"/>
                  </a:lnTo>
                  <a:lnTo>
                    <a:pt x="1966" y="2209"/>
                  </a:lnTo>
                  <a:lnTo>
                    <a:pt x="1978" y="2210"/>
                  </a:lnTo>
                  <a:lnTo>
                    <a:pt x="1989" y="2212"/>
                  </a:lnTo>
                  <a:lnTo>
                    <a:pt x="2001" y="2215"/>
                  </a:lnTo>
                  <a:lnTo>
                    <a:pt x="2011" y="2218"/>
                  </a:lnTo>
                  <a:lnTo>
                    <a:pt x="2022" y="2222"/>
                  </a:lnTo>
                  <a:lnTo>
                    <a:pt x="2032" y="2225"/>
                  </a:lnTo>
                  <a:lnTo>
                    <a:pt x="2042" y="2230"/>
                  </a:lnTo>
                  <a:lnTo>
                    <a:pt x="2051" y="2235"/>
                  </a:lnTo>
                  <a:lnTo>
                    <a:pt x="2061" y="2240"/>
                  </a:lnTo>
                  <a:lnTo>
                    <a:pt x="2069" y="2245"/>
                  </a:lnTo>
                  <a:lnTo>
                    <a:pt x="2078" y="2251"/>
                  </a:lnTo>
                  <a:lnTo>
                    <a:pt x="2085" y="2257"/>
                  </a:lnTo>
                  <a:lnTo>
                    <a:pt x="2093" y="2264"/>
                  </a:lnTo>
                  <a:lnTo>
                    <a:pt x="2100" y="2271"/>
                  </a:lnTo>
                  <a:lnTo>
                    <a:pt x="2107" y="2279"/>
                  </a:lnTo>
                  <a:lnTo>
                    <a:pt x="2113" y="2286"/>
                  </a:lnTo>
                  <a:lnTo>
                    <a:pt x="2119" y="2294"/>
                  </a:lnTo>
                  <a:lnTo>
                    <a:pt x="2121" y="2299"/>
                  </a:lnTo>
                  <a:lnTo>
                    <a:pt x="2124" y="2303"/>
                  </a:lnTo>
                  <a:lnTo>
                    <a:pt x="2129" y="2312"/>
                  </a:lnTo>
                  <a:lnTo>
                    <a:pt x="2133" y="2321"/>
                  </a:lnTo>
                  <a:lnTo>
                    <a:pt x="2137" y="2330"/>
                  </a:lnTo>
                  <a:lnTo>
                    <a:pt x="2141" y="2340"/>
                  </a:lnTo>
                  <a:lnTo>
                    <a:pt x="2144" y="2350"/>
                  </a:lnTo>
                  <a:lnTo>
                    <a:pt x="2147" y="2360"/>
                  </a:lnTo>
                  <a:lnTo>
                    <a:pt x="2149" y="2371"/>
                  </a:lnTo>
                  <a:lnTo>
                    <a:pt x="2151" y="2382"/>
                  </a:lnTo>
                  <a:lnTo>
                    <a:pt x="2152" y="2393"/>
                  </a:lnTo>
                  <a:lnTo>
                    <a:pt x="2153" y="2404"/>
                  </a:lnTo>
                  <a:lnTo>
                    <a:pt x="2153" y="2416"/>
                  </a:lnTo>
                  <a:lnTo>
                    <a:pt x="2153" y="2427"/>
                  </a:lnTo>
                  <a:lnTo>
                    <a:pt x="2152" y="2439"/>
                  </a:lnTo>
                  <a:lnTo>
                    <a:pt x="2151" y="2450"/>
                  </a:lnTo>
                  <a:lnTo>
                    <a:pt x="2149" y="2461"/>
                  </a:lnTo>
                  <a:lnTo>
                    <a:pt x="2147" y="2471"/>
                  </a:lnTo>
                  <a:lnTo>
                    <a:pt x="2144" y="2481"/>
                  </a:lnTo>
                  <a:lnTo>
                    <a:pt x="2141" y="2491"/>
                  </a:lnTo>
                  <a:lnTo>
                    <a:pt x="2137" y="2501"/>
                  </a:lnTo>
                  <a:lnTo>
                    <a:pt x="2133" y="2511"/>
                  </a:lnTo>
                  <a:lnTo>
                    <a:pt x="2129" y="2520"/>
                  </a:lnTo>
                  <a:lnTo>
                    <a:pt x="2124" y="2528"/>
                  </a:lnTo>
                  <a:lnTo>
                    <a:pt x="2119" y="2537"/>
                  </a:lnTo>
                  <a:lnTo>
                    <a:pt x="2113" y="2545"/>
                  </a:lnTo>
                  <a:lnTo>
                    <a:pt x="2107" y="2553"/>
                  </a:lnTo>
                  <a:lnTo>
                    <a:pt x="2100" y="2560"/>
                  </a:lnTo>
                  <a:lnTo>
                    <a:pt x="2093" y="2567"/>
                  </a:lnTo>
                  <a:lnTo>
                    <a:pt x="2085" y="2574"/>
                  </a:lnTo>
                  <a:lnTo>
                    <a:pt x="2078" y="2580"/>
                  </a:lnTo>
                  <a:lnTo>
                    <a:pt x="2069" y="2586"/>
                  </a:lnTo>
                  <a:lnTo>
                    <a:pt x="2061" y="2592"/>
                  </a:lnTo>
                  <a:lnTo>
                    <a:pt x="2051" y="2597"/>
                  </a:lnTo>
                  <a:lnTo>
                    <a:pt x="2042" y="2602"/>
                  </a:lnTo>
                  <a:lnTo>
                    <a:pt x="2032" y="2606"/>
                  </a:lnTo>
                  <a:lnTo>
                    <a:pt x="2022" y="2610"/>
                  </a:lnTo>
                  <a:lnTo>
                    <a:pt x="2011" y="2613"/>
                  </a:lnTo>
                  <a:lnTo>
                    <a:pt x="2001" y="2616"/>
                  </a:lnTo>
                  <a:lnTo>
                    <a:pt x="1989" y="2619"/>
                  </a:lnTo>
                  <a:lnTo>
                    <a:pt x="1978" y="2621"/>
                  </a:lnTo>
                  <a:lnTo>
                    <a:pt x="1966" y="2623"/>
                  </a:lnTo>
                  <a:lnTo>
                    <a:pt x="1953" y="2624"/>
                  </a:lnTo>
                  <a:lnTo>
                    <a:pt x="1941" y="2625"/>
                  </a:lnTo>
                  <a:lnTo>
                    <a:pt x="1928" y="2625"/>
                  </a:lnTo>
                  <a:lnTo>
                    <a:pt x="1795" y="2625"/>
                  </a:lnTo>
                  <a:lnTo>
                    <a:pt x="1791" y="2624"/>
                  </a:lnTo>
                  <a:lnTo>
                    <a:pt x="1788" y="2622"/>
                  </a:lnTo>
                  <a:lnTo>
                    <a:pt x="1787" y="2621"/>
                  </a:lnTo>
                  <a:lnTo>
                    <a:pt x="1786" y="2619"/>
                  </a:lnTo>
                  <a:lnTo>
                    <a:pt x="1785" y="2617"/>
                  </a:lnTo>
                  <a:lnTo>
                    <a:pt x="1785" y="2615"/>
                  </a:lnTo>
                  <a:lnTo>
                    <a:pt x="1785" y="2217"/>
                  </a:lnTo>
                  <a:lnTo>
                    <a:pt x="1785" y="2214"/>
                  </a:lnTo>
                  <a:lnTo>
                    <a:pt x="1786" y="2212"/>
                  </a:lnTo>
                  <a:lnTo>
                    <a:pt x="1788" y="2209"/>
                  </a:lnTo>
                  <a:lnTo>
                    <a:pt x="1789" y="2208"/>
                  </a:lnTo>
                  <a:lnTo>
                    <a:pt x="1791" y="2207"/>
                  </a:lnTo>
                  <a:lnTo>
                    <a:pt x="1795" y="2207"/>
                  </a:lnTo>
                  <a:lnTo>
                    <a:pt x="1928" y="2207"/>
                  </a:lnTo>
                  <a:close/>
                  <a:moveTo>
                    <a:pt x="2397" y="2177"/>
                  </a:moveTo>
                  <a:lnTo>
                    <a:pt x="2392" y="2177"/>
                  </a:lnTo>
                  <a:lnTo>
                    <a:pt x="2386" y="2176"/>
                  </a:lnTo>
                  <a:lnTo>
                    <a:pt x="2382" y="2175"/>
                  </a:lnTo>
                  <a:lnTo>
                    <a:pt x="2377" y="2173"/>
                  </a:lnTo>
                  <a:lnTo>
                    <a:pt x="2368" y="2169"/>
                  </a:lnTo>
                  <a:lnTo>
                    <a:pt x="2365" y="2166"/>
                  </a:lnTo>
                  <a:lnTo>
                    <a:pt x="2361" y="2163"/>
                  </a:lnTo>
                  <a:lnTo>
                    <a:pt x="2358" y="2160"/>
                  </a:lnTo>
                  <a:lnTo>
                    <a:pt x="2355" y="2156"/>
                  </a:lnTo>
                  <a:lnTo>
                    <a:pt x="2353" y="2152"/>
                  </a:lnTo>
                  <a:lnTo>
                    <a:pt x="2351" y="2148"/>
                  </a:lnTo>
                  <a:lnTo>
                    <a:pt x="2349" y="2143"/>
                  </a:lnTo>
                  <a:lnTo>
                    <a:pt x="2348" y="2138"/>
                  </a:lnTo>
                  <a:lnTo>
                    <a:pt x="2347" y="2133"/>
                  </a:lnTo>
                  <a:lnTo>
                    <a:pt x="2347" y="2128"/>
                  </a:lnTo>
                  <a:lnTo>
                    <a:pt x="2347" y="2123"/>
                  </a:lnTo>
                  <a:lnTo>
                    <a:pt x="2348" y="2118"/>
                  </a:lnTo>
                  <a:lnTo>
                    <a:pt x="2349" y="2113"/>
                  </a:lnTo>
                  <a:lnTo>
                    <a:pt x="2351" y="2108"/>
                  </a:lnTo>
                  <a:lnTo>
                    <a:pt x="2353" y="2104"/>
                  </a:lnTo>
                  <a:lnTo>
                    <a:pt x="2355" y="2100"/>
                  </a:lnTo>
                  <a:lnTo>
                    <a:pt x="2358" y="2096"/>
                  </a:lnTo>
                  <a:lnTo>
                    <a:pt x="2361" y="2093"/>
                  </a:lnTo>
                  <a:lnTo>
                    <a:pt x="2365" y="2090"/>
                  </a:lnTo>
                  <a:lnTo>
                    <a:pt x="2368" y="2087"/>
                  </a:lnTo>
                  <a:lnTo>
                    <a:pt x="2373" y="2084"/>
                  </a:lnTo>
                  <a:lnTo>
                    <a:pt x="2377" y="2082"/>
                  </a:lnTo>
                  <a:lnTo>
                    <a:pt x="2382" y="2081"/>
                  </a:lnTo>
                  <a:lnTo>
                    <a:pt x="2386" y="2080"/>
                  </a:lnTo>
                  <a:lnTo>
                    <a:pt x="2392" y="2079"/>
                  </a:lnTo>
                  <a:lnTo>
                    <a:pt x="2397" y="2079"/>
                  </a:lnTo>
                  <a:lnTo>
                    <a:pt x="2402" y="2079"/>
                  </a:lnTo>
                  <a:lnTo>
                    <a:pt x="2407" y="2080"/>
                  </a:lnTo>
                  <a:lnTo>
                    <a:pt x="2412" y="2081"/>
                  </a:lnTo>
                  <a:lnTo>
                    <a:pt x="2417" y="2082"/>
                  </a:lnTo>
                  <a:lnTo>
                    <a:pt x="2425" y="2087"/>
                  </a:lnTo>
                  <a:lnTo>
                    <a:pt x="2429" y="2090"/>
                  </a:lnTo>
                  <a:lnTo>
                    <a:pt x="2433" y="2093"/>
                  </a:lnTo>
                  <a:lnTo>
                    <a:pt x="2436" y="2096"/>
                  </a:lnTo>
                  <a:lnTo>
                    <a:pt x="2438" y="2100"/>
                  </a:lnTo>
                  <a:lnTo>
                    <a:pt x="2441" y="2104"/>
                  </a:lnTo>
                  <a:lnTo>
                    <a:pt x="2443" y="2108"/>
                  </a:lnTo>
                  <a:lnTo>
                    <a:pt x="2444" y="2113"/>
                  </a:lnTo>
                  <a:lnTo>
                    <a:pt x="2446" y="2118"/>
                  </a:lnTo>
                  <a:lnTo>
                    <a:pt x="2446" y="2123"/>
                  </a:lnTo>
                  <a:lnTo>
                    <a:pt x="2447" y="2128"/>
                  </a:lnTo>
                  <a:lnTo>
                    <a:pt x="2446" y="2133"/>
                  </a:lnTo>
                  <a:lnTo>
                    <a:pt x="2446" y="2138"/>
                  </a:lnTo>
                  <a:lnTo>
                    <a:pt x="2444" y="2143"/>
                  </a:lnTo>
                  <a:lnTo>
                    <a:pt x="2443" y="2148"/>
                  </a:lnTo>
                  <a:lnTo>
                    <a:pt x="2441" y="2152"/>
                  </a:lnTo>
                  <a:lnTo>
                    <a:pt x="2438" y="2156"/>
                  </a:lnTo>
                  <a:lnTo>
                    <a:pt x="2436" y="2160"/>
                  </a:lnTo>
                  <a:lnTo>
                    <a:pt x="2433" y="2163"/>
                  </a:lnTo>
                  <a:lnTo>
                    <a:pt x="2429" y="2166"/>
                  </a:lnTo>
                  <a:lnTo>
                    <a:pt x="2425" y="2169"/>
                  </a:lnTo>
                  <a:lnTo>
                    <a:pt x="2421" y="2171"/>
                  </a:lnTo>
                  <a:lnTo>
                    <a:pt x="2417" y="2173"/>
                  </a:lnTo>
                  <a:lnTo>
                    <a:pt x="2412" y="2175"/>
                  </a:lnTo>
                  <a:lnTo>
                    <a:pt x="2407" y="2176"/>
                  </a:lnTo>
                  <a:lnTo>
                    <a:pt x="2402" y="2177"/>
                  </a:lnTo>
                  <a:lnTo>
                    <a:pt x="2397" y="2177"/>
                  </a:lnTo>
                  <a:close/>
                  <a:moveTo>
                    <a:pt x="2303" y="2480"/>
                  </a:moveTo>
                  <a:lnTo>
                    <a:pt x="2357" y="2480"/>
                  </a:lnTo>
                  <a:lnTo>
                    <a:pt x="2331" y="2354"/>
                  </a:lnTo>
                  <a:lnTo>
                    <a:pt x="2303" y="2480"/>
                  </a:lnTo>
                  <a:close/>
                  <a:moveTo>
                    <a:pt x="2372" y="2558"/>
                  </a:moveTo>
                  <a:lnTo>
                    <a:pt x="2289" y="2558"/>
                  </a:lnTo>
                  <a:lnTo>
                    <a:pt x="2277" y="2615"/>
                  </a:lnTo>
                  <a:lnTo>
                    <a:pt x="2276" y="2618"/>
                  </a:lnTo>
                  <a:lnTo>
                    <a:pt x="2275" y="2620"/>
                  </a:lnTo>
                  <a:lnTo>
                    <a:pt x="2273" y="2623"/>
                  </a:lnTo>
                  <a:lnTo>
                    <a:pt x="2271" y="2624"/>
                  </a:lnTo>
                  <a:lnTo>
                    <a:pt x="2269" y="2625"/>
                  </a:lnTo>
                  <a:lnTo>
                    <a:pt x="2267" y="2625"/>
                  </a:lnTo>
                  <a:lnTo>
                    <a:pt x="2265" y="2625"/>
                  </a:lnTo>
                  <a:lnTo>
                    <a:pt x="2192" y="2625"/>
                  </a:lnTo>
                  <a:lnTo>
                    <a:pt x="2190" y="2625"/>
                  </a:lnTo>
                  <a:lnTo>
                    <a:pt x="2188" y="2624"/>
                  </a:lnTo>
                  <a:lnTo>
                    <a:pt x="2187" y="2623"/>
                  </a:lnTo>
                  <a:lnTo>
                    <a:pt x="2185" y="2622"/>
                  </a:lnTo>
                  <a:lnTo>
                    <a:pt x="2184" y="2620"/>
                  </a:lnTo>
                  <a:lnTo>
                    <a:pt x="2184" y="2618"/>
                  </a:lnTo>
                  <a:lnTo>
                    <a:pt x="2185" y="2612"/>
                  </a:lnTo>
                  <a:lnTo>
                    <a:pt x="2277" y="2217"/>
                  </a:lnTo>
                  <a:lnTo>
                    <a:pt x="2278" y="2214"/>
                  </a:lnTo>
                  <a:lnTo>
                    <a:pt x="2279" y="2212"/>
                  </a:lnTo>
                  <a:lnTo>
                    <a:pt x="2281" y="2209"/>
                  </a:lnTo>
                  <a:lnTo>
                    <a:pt x="2283" y="2208"/>
                  </a:lnTo>
                  <a:lnTo>
                    <a:pt x="2285" y="2207"/>
                  </a:lnTo>
                  <a:lnTo>
                    <a:pt x="2290" y="2207"/>
                  </a:lnTo>
                  <a:lnTo>
                    <a:pt x="2372" y="2207"/>
                  </a:lnTo>
                  <a:lnTo>
                    <a:pt x="2375" y="2207"/>
                  </a:lnTo>
                  <a:lnTo>
                    <a:pt x="2377" y="2207"/>
                  </a:lnTo>
                  <a:lnTo>
                    <a:pt x="2381" y="2209"/>
                  </a:lnTo>
                  <a:lnTo>
                    <a:pt x="2384" y="2212"/>
                  </a:lnTo>
                  <a:lnTo>
                    <a:pt x="2384" y="2214"/>
                  </a:lnTo>
                  <a:lnTo>
                    <a:pt x="2385" y="2217"/>
                  </a:lnTo>
                  <a:lnTo>
                    <a:pt x="2477" y="2612"/>
                  </a:lnTo>
                  <a:lnTo>
                    <a:pt x="2478" y="2618"/>
                  </a:lnTo>
                  <a:lnTo>
                    <a:pt x="2478" y="2620"/>
                  </a:lnTo>
                  <a:lnTo>
                    <a:pt x="2477" y="2622"/>
                  </a:lnTo>
                  <a:lnTo>
                    <a:pt x="2476" y="2623"/>
                  </a:lnTo>
                  <a:lnTo>
                    <a:pt x="2474" y="2624"/>
                  </a:lnTo>
                  <a:lnTo>
                    <a:pt x="2470" y="2625"/>
                  </a:lnTo>
                  <a:lnTo>
                    <a:pt x="2395" y="2625"/>
                  </a:lnTo>
                  <a:lnTo>
                    <a:pt x="2391" y="2625"/>
                  </a:lnTo>
                  <a:lnTo>
                    <a:pt x="2388" y="2623"/>
                  </a:lnTo>
                  <a:lnTo>
                    <a:pt x="2386" y="2621"/>
                  </a:lnTo>
                  <a:lnTo>
                    <a:pt x="2385" y="2620"/>
                  </a:lnTo>
                  <a:lnTo>
                    <a:pt x="2384" y="2618"/>
                  </a:lnTo>
                  <a:lnTo>
                    <a:pt x="2383" y="2615"/>
                  </a:lnTo>
                  <a:lnTo>
                    <a:pt x="2372" y="2558"/>
                  </a:lnTo>
                  <a:close/>
                  <a:moveTo>
                    <a:pt x="2264" y="2177"/>
                  </a:moveTo>
                  <a:lnTo>
                    <a:pt x="2259" y="2177"/>
                  </a:lnTo>
                  <a:lnTo>
                    <a:pt x="2254" y="2176"/>
                  </a:lnTo>
                  <a:lnTo>
                    <a:pt x="2249" y="2175"/>
                  </a:lnTo>
                  <a:lnTo>
                    <a:pt x="2244" y="2173"/>
                  </a:lnTo>
                  <a:lnTo>
                    <a:pt x="2236" y="2169"/>
                  </a:lnTo>
                  <a:lnTo>
                    <a:pt x="2232" y="2166"/>
                  </a:lnTo>
                  <a:lnTo>
                    <a:pt x="2228" y="2163"/>
                  </a:lnTo>
                  <a:lnTo>
                    <a:pt x="2225" y="2160"/>
                  </a:lnTo>
                  <a:lnTo>
                    <a:pt x="2222" y="2156"/>
                  </a:lnTo>
                  <a:lnTo>
                    <a:pt x="2220" y="2152"/>
                  </a:lnTo>
                  <a:lnTo>
                    <a:pt x="2218" y="2148"/>
                  </a:lnTo>
                  <a:lnTo>
                    <a:pt x="2216" y="2143"/>
                  </a:lnTo>
                  <a:lnTo>
                    <a:pt x="2215" y="2138"/>
                  </a:lnTo>
                  <a:lnTo>
                    <a:pt x="2215" y="2133"/>
                  </a:lnTo>
                  <a:lnTo>
                    <a:pt x="2214" y="2128"/>
                  </a:lnTo>
                  <a:lnTo>
                    <a:pt x="2215" y="2123"/>
                  </a:lnTo>
                  <a:lnTo>
                    <a:pt x="2215" y="2118"/>
                  </a:lnTo>
                  <a:lnTo>
                    <a:pt x="2216" y="2113"/>
                  </a:lnTo>
                  <a:lnTo>
                    <a:pt x="2218" y="2108"/>
                  </a:lnTo>
                  <a:lnTo>
                    <a:pt x="2220" y="2104"/>
                  </a:lnTo>
                  <a:lnTo>
                    <a:pt x="2222" y="2100"/>
                  </a:lnTo>
                  <a:lnTo>
                    <a:pt x="2225" y="2096"/>
                  </a:lnTo>
                  <a:lnTo>
                    <a:pt x="2228" y="2093"/>
                  </a:lnTo>
                  <a:lnTo>
                    <a:pt x="2232" y="2090"/>
                  </a:lnTo>
                  <a:lnTo>
                    <a:pt x="2236" y="2087"/>
                  </a:lnTo>
                  <a:lnTo>
                    <a:pt x="2240" y="2084"/>
                  </a:lnTo>
                  <a:lnTo>
                    <a:pt x="2244" y="2082"/>
                  </a:lnTo>
                  <a:lnTo>
                    <a:pt x="2249" y="2081"/>
                  </a:lnTo>
                  <a:lnTo>
                    <a:pt x="2254" y="2080"/>
                  </a:lnTo>
                  <a:lnTo>
                    <a:pt x="2259" y="2079"/>
                  </a:lnTo>
                  <a:lnTo>
                    <a:pt x="2264" y="2079"/>
                  </a:lnTo>
                  <a:lnTo>
                    <a:pt x="2269" y="2079"/>
                  </a:lnTo>
                  <a:lnTo>
                    <a:pt x="2274" y="2080"/>
                  </a:lnTo>
                  <a:lnTo>
                    <a:pt x="2279" y="2081"/>
                  </a:lnTo>
                  <a:lnTo>
                    <a:pt x="2284" y="2082"/>
                  </a:lnTo>
                  <a:lnTo>
                    <a:pt x="2292" y="2087"/>
                  </a:lnTo>
                  <a:lnTo>
                    <a:pt x="2296" y="2090"/>
                  </a:lnTo>
                  <a:lnTo>
                    <a:pt x="2300" y="2093"/>
                  </a:lnTo>
                  <a:lnTo>
                    <a:pt x="2303" y="2096"/>
                  </a:lnTo>
                  <a:lnTo>
                    <a:pt x="2306" y="2100"/>
                  </a:lnTo>
                  <a:lnTo>
                    <a:pt x="2308" y="2104"/>
                  </a:lnTo>
                  <a:lnTo>
                    <a:pt x="2310" y="2108"/>
                  </a:lnTo>
                  <a:lnTo>
                    <a:pt x="2313" y="2113"/>
                  </a:lnTo>
                  <a:lnTo>
                    <a:pt x="2314" y="2118"/>
                  </a:lnTo>
                  <a:lnTo>
                    <a:pt x="2314" y="2123"/>
                  </a:lnTo>
                  <a:lnTo>
                    <a:pt x="2315" y="2128"/>
                  </a:lnTo>
                  <a:lnTo>
                    <a:pt x="2314" y="2133"/>
                  </a:lnTo>
                  <a:lnTo>
                    <a:pt x="2314" y="2138"/>
                  </a:lnTo>
                  <a:lnTo>
                    <a:pt x="2313" y="2143"/>
                  </a:lnTo>
                  <a:lnTo>
                    <a:pt x="2310" y="2148"/>
                  </a:lnTo>
                  <a:lnTo>
                    <a:pt x="2308" y="2152"/>
                  </a:lnTo>
                  <a:lnTo>
                    <a:pt x="2306" y="2156"/>
                  </a:lnTo>
                  <a:lnTo>
                    <a:pt x="2303" y="2160"/>
                  </a:lnTo>
                  <a:lnTo>
                    <a:pt x="2300" y="2163"/>
                  </a:lnTo>
                  <a:lnTo>
                    <a:pt x="2296" y="2166"/>
                  </a:lnTo>
                  <a:lnTo>
                    <a:pt x="2292" y="2169"/>
                  </a:lnTo>
                  <a:lnTo>
                    <a:pt x="2288" y="2171"/>
                  </a:lnTo>
                  <a:lnTo>
                    <a:pt x="2284" y="2173"/>
                  </a:lnTo>
                  <a:lnTo>
                    <a:pt x="2279" y="2175"/>
                  </a:lnTo>
                  <a:lnTo>
                    <a:pt x="2274" y="2176"/>
                  </a:lnTo>
                  <a:lnTo>
                    <a:pt x="2269" y="2177"/>
                  </a:lnTo>
                  <a:lnTo>
                    <a:pt x="2264" y="2177"/>
                  </a:lnTo>
                  <a:close/>
                  <a:moveTo>
                    <a:pt x="1209" y="341"/>
                  </a:moveTo>
                  <a:lnTo>
                    <a:pt x="1221" y="341"/>
                  </a:lnTo>
                  <a:lnTo>
                    <a:pt x="1233" y="339"/>
                  </a:lnTo>
                  <a:lnTo>
                    <a:pt x="1244" y="336"/>
                  </a:lnTo>
                  <a:lnTo>
                    <a:pt x="1250" y="334"/>
                  </a:lnTo>
                  <a:lnTo>
                    <a:pt x="1255" y="332"/>
                  </a:lnTo>
                  <a:lnTo>
                    <a:pt x="1265" y="327"/>
                  </a:lnTo>
                  <a:lnTo>
                    <a:pt x="1275" y="322"/>
                  </a:lnTo>
                  <a:lnTo>
                    <a:pt x="1284" y="315"/>
                  </a:lnTo>
                  <a:lnTo>
                    <a:pt x="1292" y="307"/>
                  </a:lnTo>
                  <a:lnTo>
                    <a:pt x="1299" y="299"/>
                  </a:lnTo>
                  <a:lnTo>
                    <a:pt x="1306" y="289"/>
                  </a:lnTo>
                  <a:lnTo>
                    <a:pt x="1311" y="279"/>
                  </a:lnTo>
                  <a:lnTo>
                    <a:pt x="1316" y="268"/>
                  </a:lnTo>
                  <a:lnTo>
                    <a:pt x="1318" y="262"/>
                  </a:lnTo>
                  <a:lnTo>
                    <a:pt x="1320" y="256"/>
                  </a:lnTo>
                  <a:lnTo>
                    <a:pt x="1323" y="243"/>
                  </a:lnTo>
                  <a:lnTo>
                    <a:pt x="1324" y="230"/>
                  </a:lnTo>
                  <a:lnTo>
                    <a:pt x="1325" y="223"/>
                  </a:lnTo>
                  <a:lnTo>
                    <a:pt x="1325" y="216"/>
                  </a:lnTo>
                  <a:lnTo>
                    <a:pt x="1324" y="202"/>
                  </a:lnTo>
                  <a:lnTo>
                    <a:pt x="1323" y="189"/>
                  </a:lnTo>
                  <a:lnTo>
                    <a:pt x="1320" y="177"/>
                  </a:lnTo>
                  <a:lnTo>
                    <a:pt x="1318" y="171"/>
                  </a:lnTo>
                  <a:lnTo>
                    <a:pt x="1316" y="165"/>
                  </a:lnTo>
                  <a:lnTo>
                    <a:pt x="1311" y="154"/>
                  </a:lnTo>
                  <a:lnTo>
                    <a:pt x="1306" y="144"/>
                  </a:lnTo>
                  <a:lnTo>
                    <a:pt x="1299" y="134"/>
                  </a:lnTo>
                  <a:lnTo>
                    <a:pt x="1296" y="130"/>
                  </a:lnTo>
                  <a:lnTo>
                    <a:pt x="1292" y="126"/>
                  </a:lnTo>
                  <a:lnTo>
                    <a:pt x="1288" y="122"/>
                  </a:lnTo>
                  <a:lnTo>
                    <a:pt x="1284" y="118"/>
                  </a:lnTo>
                  <a:lnTo>
                    <a:pt x="1279" y="114"/>
                  </a:lnTo>
                  <a:lnTo>
                    <a:pt x="1275" y="111"/>
                  </a:lnTo>
                  <a:lnTo>
                    <a:pt x="1265" y="105"/>
                  </a:lnTo>
                  <a:lnTo>
                    <a:pt x="1260" y="103"/>
                  </a:lnTo>
                  <a:lnTo>
                    <a:pt x="1255" y="100"/>
                  </a:lnTo>
                  <a:lnTo>
                    <a:pt x="1250" y="98"/>
                  </a:lnTo>
                  <a:lnTo>
                    <a:pt x="1244" y="97"/>
                  </a:lnTo>
                  <a:lnTo>
                    <a:pt x="1233" y="94"/>
                  </a:lnTo>
                  <a:lnTo>
                    <a:pt x="1221" y="92"/>
                  </a:lnTo>
                  <a:lnTo>
                    <a:pt x="1215" y="92"/>
                  </a:lnTo>
                  <a:lnTo>
                    <a:pt x="1209" y="92"/>
                  </a:lnTo>
                  <a:lnTo>
                    <a:pt x="1197" y="92"/>
                  </a:lnTo>
                  <a:lnTo>
                    <a:pt x="1185" y="94"/>
                  </a:lnTo>
                  <a:lnTo>
                    <a:pt x="1174" y="97"/>
                  </a:lnTo>
                  <a:lnTo>
                    <a:pt x="1169" y="98"/>
                  </a:lnTo>
                  <a:lnTo>
                    <a:pt x="1163" y="100"/>
                  </a:lnTo>
                  <a:lnTo>
                    <a:pt x="1153" y="105"/>
                  </a:lnTo>
                  <a:lnTo>
                    <a:pt x="1144" y="111"/>
                  </a:lnTo>
                  <a:lnTo>
                    <a:pt x="1135" y="118"/>
                  </a:lnTo>
                  <a:lnTo>
                    <a:pt x="1127" y="126"/>
                  </a:lnTo>
                  <a:lnTo>
                    <a:pt x="1119" y="134"/>
                  </a:lnTo>
                  <a:lnTo>
                    <a:pt x="1113" y="144"/>
                  </a:lnTo>
                  <a:lnTo>
                    <a:pt x="1107" y="154"/>
                  </a:lnTo>
                  <a:lnTo>
                    <a:pt x="1102" y="165"/>
                  </a:lnTo>
                  <a:lnTo>
                    <a:pt x="1100" y="171"/>
                  </a:lnTo>
                  <a:lnTo>
                    <a:pt x="1098" y="177"/>
                  </a:lnTo>
                  <a:lnTo>
                    <a:pt x="1096" y="189"/>
                  </a:lnTo>
                  <a:lnTo>
                    <a:pt x="1094" y="202"/>
                  </a:lnTo>
                  <a:lnTo>
                    <a:pt x="1093" y="209"/>
                  </a:lnTo>
                  <a:lnTo>
                    <a:pt x="1093" y="216"/>
                  </a:lnTo>
                  <a:lnTo>
                    <a:pt x="1094" y="230"/>
                  </a:lnTo>
                  <a:lnTo>
                    <a:pt x="1096" y="243"/>
                  </a:lnTo>
                  <a:lnTo>
                    <a:pt x="1098" y="256"/>
                  </a:lnTo>
                  <a:lnTo>
                    <a:pt x="1100" y="262"/>
                  </a:lnTo>
                  <a:lnTo>
                    <a:pt x="1102" y="268"/>
                  </a:lnTo>
                  <a:lnTo>
                    <a:pt x="1107" y="279"/>
                  </a:lnTo>
                  <a:lnTo>
                    <a:pt x="1113" y="289"/>
                  </a:lnTo>
                  <a:lnTo>
                    <a:pt x="1119" y="299"/>
                  </a:lnTo>
                  <a:lnTo>
                    <a:pt x="1123" y="303"/>
                  </a:lnTo>
                  <a:lnTo>
                    <a:pt x="1127" y="307"/>
                  </a:lnTo>
                  <a:lnTo>
                    <a:pt x="1131" y="311"/>
                  </a:lnTo>
                  <a:lnTo>
                    <a:pt x="1135" y="315"/>
                  </a:lnTo>
                  <a:lnTo>
                    <a:pt x="1139" y="318"/>
                  </a:lnTo>
                  <a:lnTo>
                    <a:pt x="1144" y="322"/>
                  </a:lnTo>
                  <a:lnTo>
                    <a:pt x="1153" y="327"/>
                  </a:lnTo>
                  <a:lnTo>
                    <a:pt x="1158" y="330"/>
                  </a:lnTo>
                  <a:lnTo>
                    <a:pt x="1163" y="332"/>
                  </a:lnTo>
                  <a:lnTo>
                    <a:pt x="1169" y="334"/>
                  </a:lnTo>
                  <a:lnTo>
                    <a:pt x="1174" y="336"/>
                  </a:lnTo>
                  <a:lnTo>
                    <a:pt x="1185" y="339"/>
                  </a:lnTo>
                  <a:lnTo>
                    <a:pt x="1197" y="341"/>
                  </a:lnTo>
                  <a:lnTo>
                    <a:pt x="1203" y="341"/>
                  </a:lnTo>
                  <a:lnTo>
                    <a:pt x="1209" y="341"/>
                  </a:lnTo>
                  <a:close/>
                  <a:moveTo>
                    <a:pt x="1209" y="0"/>
                  </a:moveTo>
                  <a:lnTo>
                    <a:pt x="1221" y="0"/>
                  </a:lnTo>
                  <a:lnTo>
                    <a:pt x="1233" y="1"/>
                  </a:lnTo>
                  <a:lnTo>
                    <a:pt x="1244" y="2"/>
                  </a:lnTo>
                  <a:lnTo>
                    <a:pt x="1256" y="4"/>
                  </a:lnTo>
                  <a:lnTo>
                    <a:pt x="1267" y="6"/>
                  </a:lnTo>
                  <a:lnTo>
                    <a:pt x="1277" y="9"/>
                  </a:lnTo>
                  <a:lnTo>
                    <a:pt x="1288" y="12"/>
                  </a:lnTo>
                  <a:lnTo>
                    <a:pt x="1298" y="16"/>
                  </a:lnTo>
                  <a:lnTo>
                    <a:pt x="1308" y="20"/>
                  </a:lnTo>
                  <a:lnTo>
                    <a:pt x="1318" y="25"/>
                  </a:lnTo>
                  <a:lnTo>
                    <a:pt x="1327" y="30"/>
                  </a:lnTo>
                  <a:lnTo>
                    <a:pt x="1336" y="35"/>
                  </a:lnTo>
                  <a:lnTo>
                    <a:pt x="1345" y="41"/>
                  </a:lnTo>
                  <a:lnTo>
                    <a:pt x="1349" y="44"/>
                  </a:lnTo>
                  <a:lnTo>
                    <a:pt x="1353" y="47"/>
                  </a:lnTo>
                  <a:lnTo>
                    <a:pt x="1357" y="51"/>
                  </a:lnTo>
                  <a:lnTo>
                    <a:pt x="1361" y="54"/>
                  </a:lnTo>
                  <a:lnTo>
                    <a:pt x="1369" y="61"/>
                  </a:lnTo>
                  <a:lnTo>
                    <a:pt x="1373" y="65"/>
                  </a:lnTo>
                  <a:lnTo>
                    <a:pt x="1376" y="69"/>
                  </a:lnTo>
                  <a:lnTo>
                    <a:pt x="1383" y="76"/>
                  </a:lnTo>
                  <a:lnTo>
                    <a:pt x="1390" y="84"/>
                  </a:lnTo>
                  <a:lnTo>
                    <a:pt x="1393" y="89"/>
                  </a:lnTo>
                  <a:lnTo>
                    <a:pt x="1396" y="93"/>
                  </a:lnTo>
                  <a:lnTo>
                    <a:pt x="1401" y="102"/>
                  </a:lnTo>
                  <a:lnTo>
                    <a:pt x="1407" y="111"/>
                  </a:lnTo>
                  <a:lnTo>
                    <a:pt x="1411" y="120"/>
                  </a:lnTo>
                  <a:lnTo>
                    <a:pt x="1416" y="130"/>
                  </a:lnTo>
                  <a:lnTo>
                    <a:pt x="1418" y="135"/>
                  </a:lnTo>
                  <a:lnTo>
                    <a:pt x="1420" y="140"/>
                  </a:lnTo>
                  <a:lnTo>
                    <a:pt x="1423" y="150"/>
                  </a:lnTo>
                  <a:lnTo>
                    <a:pt x="1426" y="160"/>
                  </a:lnTo>
                  <a:lnTo>
                    <a:pt x="1428" y="171"/>
                  </a:lnTo>
                  <a:lnTo>
                    <a:pt x="1430" y="182"/>
                  </a:lnTo>
                  <a:lnTo>
                    <a:pt x="1432" y="193"/>
                  </a:lnTo>
                  <a:lnTo>
                    <a:pt x="1432" y="199"/>
                  </a:lnTo>
                  <a:lnTo>
                    <a:pt x="1432" y="205"/>
                  </a:lnTo>
                  <a:lnTo>
                    <a:pt x="1433" y="216"/>
                  </a:lnTo>
                  <a:lnTo>
                    <a:pt x="1432" y="228"/>
                  </a:lnTo>
                  <a:lnTo>
                    <a:pt x="1432" y="239"/>
                  </a:lnTo>
                  <a:lnTo>
                    <a:pt x="1430" y="251"/>
                  </a:lnTo>
                  <a:lnTo>
                    <a:pt x="1428" y="262"/>
                  </a:lnTo>
                  <a:lnTo>
                    <a:pt x="1426" y="272"/>
                  </a:lnTo>
                  <a:lnTo>
                    <a:pt x="1423" y="283"/>
                  </a:lnTo>
                  <a:lnTo>
                    <a:pt x="1420" y="293"/>
                  </a:lnTo>
                  <a:lnTo>
                    <a:pt x="1416" y="303"/>
                  </a:lnTo>
                  <a:lnTo>
                    <a:pt x="1411" y="313"/>
                  </a:lnTo>
                  <a:lnTo>
                    <a:pt x="1407" y="322"/>
                  </a:lnTo>
                  <a:lnTo>
                    <a:pt x="1401" y="331"/>
                  </a:lnTo>
                  <a:lnTo>
                    <a:pt x="1396" y="340"/>
                  </a:lnTo>
                  <a:lnTo>
                    <a:pt x="1390" y="348"/>
                  </a:lnTo>
                  <a:lnTo>
                    <a:pt x="1383" y="356"/>
                  </a:lnTo>
                  <a:lnTo>
                    <a:pt x="1376" y="364"/>
                  </a:lnTo>
                  <a:lnTo>
                    <a:pt x="1369" y="372"/>
                  </a:lnTo>
                  <a:lnTo>
                    <a:pt x="1361" y="379"/>
                  </a:lnTo>
                  <a:lnTo>
                    <a:pt x="1353" y="385"/>
                  </a:lnTo>
                  <a:lnTo>
                    <a:pt x="1345" y="391"/>
                  </a:lnTo>
                  <a:lnTo>
                    <a:pt x="1336" y="397"/>
                  </a:lnTo>
                  <a:lnTo>
                    <a:pt x="1327" y="403"/>
                  </a:lnTo>
                  <a:lnTo>
                    <a:pt x="1318" y="408"/>
                  </a:lnTo>
                  <a:lnTo>
                    <a:pt x="1308" y="412"/>
                  </a:lnTo>
                  <a:lnTo>
                    <a:pt x="1298" y="417"/>
                  </a:lnTo>
                  <a:lnTo>
                    <a:pt x="1288" y="420"/>
                  </a:lnTo>
                  <a:lnTo>
                    <a:pt x="1277" y="424"/>
                  </a:lnTo>
                  <a:lnTo>
                    <a:pt x="1267" y="426"/>
                  </a:lnTo>
                  <a:lnTo>
                    <a:pt x="1256" y="429"/>
                  </a:lnTo>
                  <a:lnTo>
                    <a:pt x="1244" y="430"/>
                  </a:lnTo>
                  <a:lnTo>
                    <a:pt x="1233" y="432"/>
                  </a:lnTo>
                  <a:lnTo>
                    <a:pt x="1221" y="433"/>
                  </a:lnTo>
                  <a:lnTo>
                    <a:pt x="1209" y="433"/>
                  </a:lnTo>
                  <a:lnTo>
                    <a:pt x="1197" y="433"/>
                  </a:lnTo>
                  <a:lnTo>
                    <a:pt x="1186" y="432"/>
                  </a:lnTo>
                  <a:lnTo>
                    <a:pt x="1174" y="430"/>
                  </a:lnTo>
                  <a:lnTo>
                    <a:pt x="1163" y="429"/>
                  </a:lnTo>
                  <a:lnTo>
                    <a:pt x="1152" y="426"/>
                  </a:lnTo>
                  <a:lnTo>
                    <a:pt x="1141" y="424"/>
                  </a:lnTo>
                  <a:lnTo>
                    <a:pt x="1130" y="420"/>
                  </a:lnTo>
                  <a:lnTo>
                    <a:pt x="1120" y="417"/>
                  </a:lnTo>
                  <a:lnTo>
                    <a:pt x="1110" y="412"/>
                  </a:lnTo>
                  <a:lnTo>
                    <a:pt x="1100" y="408"/>
                  </a:lnTo>
                  <a:lnTo>
                    <a:pt x="1091" y="403"/>
                  </a:lnTo>
                  <a:lnTo>
                    <a:pt x="1082" y="397"/>
                  </a:lnTo>
                  <a:lnTo>
                    <a:pt x="1073" y="391"/>
                  </a:lnTo>
                  <a:lnTo>
                    <a:pt x="1069" y="388"/>
                  </a:lnTo>
                  <a:lnTo>
                    <a:pt x="1065" y="385"/>
                  </a:lnTo>
                  <a:lnTo>
                    <a:pt x="1061" y="382"/>
                  </a:lnTo>
                  <a:lnTo>
                    <a:pt x="1057" y="379"/>
                  </a:lnTo>
                  <a:lnTo>
                    <a:pt x="1049" y="372"/>
                  </a:lnTo>
                  <a:lnTo>
                    <a:pt x="1046" y="368"/>
                  </a:lnTo>
                  <a:lnTo>
                    <a:pt x="1042" y="364"/>
                  </a:lnTo>
                  <a:lnTo>
                    <a:pt x="1035" y="356"/>
                  </a:lnTo>
                  <a:lnTo>
                    <a:pt x="1029" y="348"/>
                  </a:lnTo>
                  <a:lnTo>
                    <a:pt x="1026" y="344"/>
                  </a:lnTo>
                  <a:lnTo>
                    <a:pt x="1023" y="340"/>
                  </a:lnTo>
                  <a:lnTo>
                    <a:pt x="1017" y="331"/>
                  </a:lnTo>
                  <a:lnTo>
                    <a:pt x="1012" y="322"/>
                  </a:lnTo>
                  <a:lnTo>
                    <a:pt x="1007" y="313"/>
                  </a:lnTo>
                  <a:lnTo>
                    <a:pt x="1003" y="303"/>
                  </a:lnTo>
                  <a:lnTo>
                    <a:pt x="1001" y="298"/>
                  </a:lnTo>
                  <a:lnTo>
                    <a:pt x="999" y="293"/>
                  </a:lnTo>
                  <a:lnTo>
                    <a:pt x="995" y="283"/>
                  </a:lnTo>
                  <a:lnTo>
                    <a:pt x="992" y="272"/>
                  </a:lnTo>
                  <a:lnTo>
                    <a:pt x="990" y="262"/>
                  </a:lnTo>
                  <a:lnTo>
                    <a:pt x="988" y="251"/>
                  </a:lnTo>
                  <a:lnTo>
                    <a:pt x="987" y="239"/>
                  </a:lnTo>
                  <a:lnTo>
                    <a:pt x="986" y="234"/>
                  </a:lnTo>
                  <a:lnTo>
                    <a:pt x="986" y="228"/>
                  </a:lnTo>
                  <a:lnTo>
                    <a:pt x="986" y="216"/>
                  </a:lnTo>
                  <a:lnTo>
                    <a:pt x="986" y="205"/>
                  </a:lnTo>
                  <a:lnTo>
                    <a:pt x="987" y="193"/>
                  </a:lnTo>
                  <a:lnTo>
                    <a:pt x="988" y="182"/>
                  </a:lnTo>
                  <a:lnTo>
                    <a:pt x="990" y="171"/>
                  </a:lnTo>
                  <a:lnTo>
                    <a:pt x="992" y="160"/>
                  </a:lnTo>
                  <a:lnTo>
                    <a:pt x="995" y="150"/>
                  </a:lnTo>
                  <a:lnTo>
                    <a:pt x="999" y="140"/>
                  </a:lnTo>
                  <a:lnTo>
                    <a:pt x="1003" y="130"/>
                  </a:lnTo>
                  <a:lnTo>
                    <a:pt x="1007" y="120"/>
                  </a:lnTo>
                  <a:lnTo>
                    <a:pt x="1012" y="111"/>
                  </a:lnTo>
                  <a:lnTo>
                    <a:pt x="1017" y="102"/>
                  </a:lnTo>
                  <a:lnTo>
                    <a:pt x="1023" y="93"/>
                  </a:lnTo>
                  <a:lnTo>
                    <a:pt x="1029" y="84"/>
                  </a:lnTo>
                  <a:lnTo>
                    <a:pt x="1035" y="76"/>
                  </a:lnTo>
                  <a:lnTo>
                    <a:pt x="1042" y="69"/>
                  </a:lnTo>
                  <a:lnTo>
                    <a:pt x="1049" y="61"/>
                  </a:lnTo>
                  <a:lnTo>
                    <a:pt x="1057" y="54"/>
                  </a:lnTo>
                  <a:lnTo>
                    <a:pt x="1065" y="47"/>
                  </a:lnTo>
                  <a:lnTo>
                    <a:pt x="1073" y="41"/>
                  </a:lnTo>
                  <a:lnTo>
                    <a:pt x="1082" y="35"/>
                  </a:lnTo>
                  <a:lnTo>
                    <a:pt x="1091" y="30"/>
                  </a:lnTo>
                  <a:lnTo>
                    <a:pt x="1100" y="25"/>
                  </a:lnTo>
                  <a:lnTo>
                    <a:pt x="1110" y="20"/>
                  </a:lnTo>
                  <a:lnTo>
                    <a:pt x="1120" y="16"/>
                  </a:lnTo>
                  <a:lnTo>
                    <a:pt x="1130" y="12"/>
                  </a:lnTo>
                  <a:lnTo>
                    <a:pt x="1141" y="9"/>
                  </a:lnTo>
                  <a:lnTo>
                    <a:pt x="1152" y="6"/>
                  </a:lnTo>
                  <a:lnTo>
                    <a:pt x="1163" y="4"/>
                  </a:lnTo>
                  <a:lnTo>
                    <a:pt x="1174" y="2"/>
                  </a:lnTo>
                  <a:lnTo>
                    <a:pt x="1186" y="1"/>
                  </a:lnTo>
                  <a:lnTo>
                    <a:pt x="1197" y="0"/>
                  </a:lnTo>
                  <a:lnTo>
                    <a:pt x="1209" y="0"/>
                  </a:lnTo>
                  <a:close/>
                  <a:moveTo>
                    <a:pt x="2022" y="7"/>
                  </a:moveTo>
                  <a:lnTo>
                    <a:pt x="2026" y="8"/>
                  </a:lnTo>
                  <a:lnTo>
                    <a:pt x="2028" y="8"/>
                  </a:lnTo>
                  <a:lnTo>
                    <a:pt x="2029" y="10"/>
                  </a:lnTo>
                  <a:lnTo>
                    <a:pt x="2030" y="11"/>
                  </a:lnTo>
                  <a:lnTo>
                    <a:pt x="2031" y="13"/>
                  </a:lnTo>
                  <a:lnTo>
                    <a:pt x="2031" y="16"/>
                  </a:lnTo>
                  <a:lnTo>
                    <a:pt x="2031" y="19"/>
                  </a:lnTo>
                  <a:lnTo>
                    <a:pt x="2017" y="88"/>
                  </a:lnTo>
                  <a:lnTo>
                    <a:pt x="2015" y="93"/>
                  </a:lnTo>
                  <a:lnTo>
                    <a:pt x="2013" y="96"/>
                  </a:lnTo>
                  <a:lnTo>
                    <a:pt x="2012" y="97"/>
                  </a:lnTo>
                  <a:lnTo>
                    <a:pt x="2010" y="98"/>
                  </a:lnTo>
                  <a:lnTo>
                    <a:pt x="2008" y="99"/>
                  </a:lnTo>
                  <a:lnTo>
                    <a:pt x="2005" y="99"/>
                  </a:lnTo>
                  <a:lnTo>
                    <a:pt x="1950" y="99"/>
                  </a:lnTo>
                  <a:lnTo>
                    <a:pt x="1950" y="416"/>
                  </a:lnTo>
                  <a:lnTo>
                    <a:pt x="1949" y="418"/>
                  </a:lnTo>
                  <a:lnTo>
                    <a:pt x="1949" y="420"/>
                  </a:lnTo>
                  <a:lnTo>
                    <a:pt x="1947" y="423"/>
                  </a:lnTo>
                  <a:lnTo>
                    <a:pt x="1945" y="424"/>
                  </a:lnTo>
                  <a:lnTo>
                    <a:pt x="1944" y="425"/>
                  </a:lnTo>
                  <a:lnTo>
                    <a:pt x="1940" y="426"/>
                  </a:lnTo>
                  <a:lnTo>
                    <a:pt x="1861" y="426"/>
                  </a:lnTo>
                  <a:lnTo>
                    <a:pt x="1858" y="425"/>
                  </a:lnTo>
                  <a:lnTo>
                    <a:pt x="1855" y="423"/>
                  </a:lnTo>
                  <a:lnTo>
                    <a:pt x="1854" y="421"/>
                  </a:lnTo>
                  <a:lnTo>
                    <a:pt x="1853" y="420"/>
                  </a:lnTo>
                  <a:lnTo>
                    <a:pt x="1853" y="418"/>
                  </a:lnTo>
                  <a:lnTo>
                    <a:pt x="1853" y="416"/>
                  </a:lnTo>
                  <a:lnTo>
                    <a:pt x="1853" y="99"/>
                  </a:lnTo>
                  <a:lnTo>
                    <a:pt x="1796" y="99"/>
                  </a:lnTo>
                  <a:lnTo>
                    <a:pt x="1792" y="98"/>
                  </a:lnTo>
                  <a:lnTo>
                    <a:pt x="1789" y="96"/>
                  </a:lnTo>
                  <a:lnTo>
                    <a:pt x="1787" y="93"/>
                  </a:lnTo>
                  <a:lnTo>
                    <a:pt x="1786" y="91"/>
                  </a:lnTo>
                  <a:lnTo>
                    <a:pt x="1786" y="89"/>
                  </a:lnTo>
                  <a:lnTo>
                    <a:pt x="1786" y="17"/>
                  </a:lnTo>
                  <a:lnTo>
                    <a:pt x="1786" y="15"/>
                  </a:lnTo>
                  <a:lnTo>
                    <a:pt x="1787" y="13"/>
                  </a:lnTo>
                  <a:lnTo>
                    <a:pt x="1789" y="10"/>
                  </a:lnTo>
                  <a:lnTo>
                    <a:pt x="1790" y="9"/>
                  </a:lnTo>
                  <a:lnTo>
                    <a:pt x="1792" y="8"/>
                  </a:lnTo>
                  <a:lnTo>
                    <a:pt x="1796" y="7"/>
                  </a:lnTo>
                  <a:lnTo>
                    <a:pt x="2022" y="7"/>
                  </a:lnTo>
                  <a:close/>
                  <a:moveTo>
                    <a:pt x="1716" y="7"/>
                  </a:moveTo>
                  <a:lnTo>
                    <a:pt x="1720" y="8"/>
                  </a:lnTo>
                  <a:lnTo>
                    <a:pt x="1722" y="8"/>
                  </a:lnTo>
                  <a:lnTo>
                    <a:pt x="1723" y="10"/>
                  </a:lnTo>
                  <a:lnTo>
                    <a:pt x="1724" y="11"/>
                  </a:lnTo>
                  <a:lnTo>
                    <a:pt x="1725" y="13"/>
                  </a:lnTo>
                  <a:lnTo>
                    <a:pt x="1725" y="16"/>
                  </a:lnTo>
                  <a:lnTo>
                    <a:pt x="1725" y="19"/>
                  </a:lnTo>
                  <a:lnTo>
                    <a:pt x="1711" y="88"/>
                  </a:lnTo>
                  <a:lnTo>
                    <a:pt x="1710" y="93"/>
                  </a:lnTo>
                  <a:lnTo>
                    <a:pt x="1707" y="96"/>
                  </a:lnTo>
                  <a:lnTo>
                    <a:pt x="1706" y="97"/>
                  </a:lnTo>
                  <a:lnTo>
                    <a:pt x="1704" y="98"/>
                  </a:lnTo>
                  <a:lnTo>
                    <a:pt x="1702" y="99"/>
                  </a:lnTo>
                  <a:lnTo>
                    <a:pt x="1699" y="99"/>
                  </a:lnTo>
                  <a:lnTo>
                    <a:pt x="1653" y="99"/>
                  </a:lnTo>
                  <a:lnTo>
                    <a:pt x="1653" y="416"/>
                  </a:lnTo>
                  <a:lnTo>
                    <a:pt x="1653" y="418"/>
                  </a:lnTo>
                  <a:lnTo>
                    <a:pt x="1652" y="420"/>
                  </a:lnTo>
                  <a:lnTo>
                    <a:pt x="1650" y="423"/>
                  </a:lnTo>
                  <a:lnTo>
                    <a:pt x="1649" y="424"/>
                  </a:lnTo>
                  <a:lnTo>
                    <a:pt x="1647" y="425"/>
                  </a:lnTo>
                  <a:lnTo>
                    <a:pt x="1644" y="426"/>
                  </a:lnTo>
                  <a:lnTo>
                    <a:pt x="1565" y="426"/>
                  </a:lnTo>
                  <a:lnTo>
                    <a:pt x="1561" y="425"/>
                  </a:lnTo>
                  <a:lnTo>
                    <a:pt x="1558" y="423"/>
                  </a:lnTo>
                  <a:lnTo>
                    <a:pt x="1557" y="421"/>
                  </a:lnTo>
                  <a:lnTo>
                    <a:pt x="1557" y="420"/>
                  </a:lnTo>
                  <a:lnTo>
                    <a:pt x="1556" y="418"/>
                  </a:lnTo>
                  <a:lnTo>
                    <a:pt x="1556" y="416"/>
                  </a:lnTo>
                  <a:lnTo>
                    <a:pt x="1556" y="99"/>
                  </a:lnTo>
                  <a:lnTo>
                    <a:pt x="1490" y="99"/>
                  </a:lnTo>
                  <a:lnTo>
                    <a:pt x="1486" y="98"/>
                  </a:lnTo>
                  <a:lnTo>
                    <a:pt x="1483" y="96"/>
                  </a:lnTo>
                  <a:lnTo>
                    <a:pt x="1481" y="93"/>
                  </a:lnTo>
                  <a:lnTo>
                    <a:pt x="1481" y="91"/>
                  </a:lnTo>
                  <a:lnTo>
                    <a:pt x="1480" y="89"/>
                  </a:lnTo>
                  <a:lnTo>
                    <a:pt x="1480" y="17"/>
                  </a:lnTo>
                  <a:lnTo>
                    <a:pt x="1481" y="15"/>
                  </a:lnTo>
                  <a:lnTo>
                    <a:pt x="1481" y="13"/>
                  </a:lnTo>
                  <a:lnTo>
                    <a:pt x="1483" y="10"/>
                  </a:lnTo>
                  <a:lnTo>
                    <a:pt x="1484" y="9"/>
                  </a:lnTo>
                  <a:lnTo>
                    <a:pt x="1486" y="8"/>
                  </a:lnTo>
                  <a:lnTo>
                    <a:pt x="1490" y="7"/>
                  </a:lnTo>
                  <a:lnTo>
                    <a:pt x="1716" y="7"/>
                  </a:lnTo>
                  <a:close/>
                  <a:moveTo>
                    <a:pt x="2168" y="281"/>
                  </a:moveTo>
                  <a:lnTo>
                    <a:pt x="2222" y="281"/>
                  </a:lnTo>
                  <a:lnTo>
                    <a:pt x="2195" y="154"/>
                  </a:lnTo>
                  <a:lnTo>
                    <a:pt x="2168" y="281"/>
                  </a:lnTo>
                  <a:close/>
                  <a:moveTo>
                    <a:pt x="2236" y="359"/>
                  </a:moveTo>
                  <a:lnTo>
                    <a:pt x="2154" y="359"/>
                  </a:lnTo>
                  <a:lnTo>
                    <a:pt x="2142" y="416"/>
                  </a:lnTo>
                  <a:lnTo>
                    <a:pt x="2142" y="418"/>
                  </a:lnTo>
                  <a:lnTo>
                    <a:pt x="2141" y="420"/>
                  </a:lnTo>
                  <a:lnTo>
                    <a:pt x="2138" y="423"/>
                  </a:lnTo>
                  <a:lnTo>
                    <a:pt x="2136" y="424"/>
                  </a:lnTo>
                  <a:lnTo>
                    <a:pt x="2135" y="425"/>
                  </a:lnTo>
                  <a:lnTo>
                    <a:pt x="2133" y="426"/>
                  </a:lnTo>
                  <a:lnTo>
                    <a:pt x="2131" y="426"/>
                  </a:lnTo>
                  <a:lnTo>
                    <a:pt x="2058" y="426"/>
                  </a:lnTo>
                  <a:lnTo>
                    <a:pt x="2056" y="425"/>
                  </a:lnTo>
                  <a:lnTo>
                    <a:pt x="2054" y="425"/>
                  </a:lnTo>
                  <a:lnTo>
                    <a:pt x="2052" y="424"/>
                  </a:lnTo>
                  <a:lnTo>
                    <a:pt x="2051" y="422"/>
                  </a:lnTo>
                  <a:lnTo>
                    <a:pt x="2050" y="421"/>
                  </a:lnTo>
                  <a:lnTo>
                    <a:pt x="2049" y="418"/>
                  </a:lnTo>
                  <a:lnTo>
                    <a:pt x="2050" y="412"/>
                  </a:lnTo>
                  <a:lnTo>
                    <a:pt x="2142" y="17"/>
                  </a:lnTo>
                  <a:lnTo>
                    <a:pt x="2143" y="15"/>
                  </a:lnTo>
                  <a:lnTo>
                    <a:pt x="2144" y="13"/>
                  </a:lnTo>
                  <a:lnTo>
                    <a:pt x="2147" y="10"/>
                  </a:lnTo>
                  <a:lnTo>
                    <a:pt x="2149" y="9"/>
                  </a:lnTo>
                  <a:lnTo>
                    <a:pt x="2151" y="8"/>
                  </a:lnTo>
                  <a:lnTo>
                    <a:pt x="2155" y="7"/>
                  </a:lnTo>
                  <a:lnTo>
                    <a:pt x="2236" y="7"/>
                  </a:lnTo>
                  <a:lnTo>
                    <a:pt x="2239" y="7"/>
                  </a:lnTo>
                  <a:lnTo>
                    <a:pt x="2241" y="8"/>
                  </a:lnTo>
                  <a:lnTo>
                    <a:pt x="2245" y="10"/>
                  </a:lnTo>
                  <a:lnTo>
                    <a:pt x="2248" y="13"/>
                  </a:lnTo>
                  <a:lnTo>
                    <a:pt x="2249" y="15"/>
                  </a:lnTo>
                  <a:lnTo>
                    <a:pt x="2249" y="17"/>
                  </a:lnTo>
                  <a:lnTo>
                    <a:pt x="2343" y="412"/>
                  </a:lnTo>
                  <a:lnTo>
                    <a:pt x="2343" y="418"/>
                  </a:lnTo>
                  <a:lnTo>
                    <a:pt x="2343" y="421"/>
                  </a:lnTo>
                  <a:lnTo>
                    <a:pt x="2342" y="422"/>
                  </a:lnTo>
                  <a:lnTo>
                    <a:pt x="2341" y="424"/>
                  </a:lnTo>
                  <a:lnTo>
                    <a:pt x="2339" y="425"/>
                  </a:lnTo>
                  <a:lnTo>
                    <a:pt x="2335" y="426"/>
                  </a:lnTo>
                  <a:lnTo>
                    <a:pt x="2260" y="426"/>
                  </a:lnTo>
                  <a:lnTo>
                    <a:pt x="2256" y="425"/>
                  </a:lnTo>
                  <a:lnTo>
                    <a:pt x="2252" y="423"/>
                  </a:lnTo>
                  <a:lnTo>
                    <a:pt x="2251" y="422"/>
                  </a:lnTo>
                  <a:lnTo>
                    <a:pt x="2249" y="420"/>
                  </a:lnTo>
                  <a:lnTo>
                    <a:pt x="2248" y="418"/>
                  </a:lnTo>
                  <a:lnTo>
                    <a:pt x="2248" y="416"/>
                  </a:lnTo>
                  <a:lnTo>
                    <a:pt x="2236" y="359"/>
                  </a:lnTo>
                  <a:close/>
                  <a:moveTo>
                    <a:pt x="912" y="4"/>
                  </a:moveTo>
                  <a:lnTo>
                    <a:pt x="915" y="5"/>
                  </a:lnTo>
                  <a:lnTo>
                    <a:pt x="918" y="7"/>
                  </a:lnTo>
                  <a:lnTo>
                    <a:pt x="919" y="9"/>
                  </a:lnTo>
                  <a:lnTo>
                    <a:pt x="920" y="10"/>
                  </a:lnTo>
                  <a:lnTo>
                    <a:pt x="921" y="12"/>
                  </a:lnTo>
                  <a:lnTo>
                    <a:pt x="921" y="14"/>
                  </a:lnTo>
                  <a:lnTo>
                    <a:pt x="921" y="291"/>
                  </a:lnTo>
                  <a:lnTo>
                    <a:pt x="921" y="301"/>
                  </a:lnTo>
                  <a:lnTo>
                    <a:pt x="920" y="310"/>
                  </a:lnTo>
                  <a:lnTo>
                    <a:pt x="919" y="320"/>
                  </a:lnTo>
                  <a:lnTo>
                    <a:pt x="918" y="328"/>
                  </a:lnTo>
                  <a:lnTo>
                    <a:pt x="917" y="336"/>
                  </a:lnTo>
                  <a:lnTo>
                    <a:pt x="915" y="344"/>
                  </a:lnTo>
                  <a:lnTo>
                    <a:pt x="911" y="359"/>
                  </a:lnTo>
                  <a:lnTo>
                    <a:pt x="908" y="365"/>
                  </a:lnTo>
                  <a:lnTo>
                    <a:pt x="906" y="372"/>
                  </a:lnTo>
                  <a:lnTo>
                    <a:pt x="899" y="383"/>
                  </a:lnTo>
                  <a:lnTo>
                    <a:pt x="896" y="388"/>
                  </a:lnTo>
                  <a:lnTo>
                    <a:pt x="893" y="393"/>
                  </a:lnTo>
                  <a:lnTo>
                    <a:pt x="885" y="401"/>
                  </a:lnTo>
                  <a:lnTo>
                    <a:pt x="877" y="408"/>
                  </a:lnTo>
                  <a:lnTo>
                    <a:pt x="872" y="411"/>
                  </a:lnTo>
                  <a:lnTo>
                    <a:pt x="868" y="414"/>
                  </a:lnTo>
                  <a:lnTo>
                    <a:pt x="858" y="419"/>
                  </a:lnTo>
                  <a:lnTo>
                    <a:pt x="849" y="422"/>
                  </a:lnTo>
                  <a:lnTo>
                    <a:pt x="839" y="425"/>
                  </a:lnTo>
                  <a:lnTo>
                    <a:pt x="829" y="427"/>
                  </a:lnTo>
                  <a:lnTo>
                    <a:pt x="819" y="428"/>
                  </a:lnTo>
                  <a:lnTo>
                    <a:pt x="808" y="428"/>
                  </a:lnTo>
                  <a:lnTo>
                    <a:pt x="796" y="428"/>
                  </a:lnTo>
                  <a:lnTo>
                    <a:pt x="784" y="427"/>
                  </a:lnTo>
                  <a:lnTo>
                    <a:pt x="774" y="425"/>
                  </a:lnTo>
                  <a:lnTo>
                    <a:pt x="764" y="423"/>
                  </a:lnTo>
                  <a:lnTo>
                    <a:pt x="759" y="421"/>
                  </a:lnTo>
                  <a:lnTo>
                    <a:pt x="756" y="419"/>
                  </a:lnTo>
                  <a:lnTo>
                    <a:pt x="753" y="415"/>
                  </a:lnTo>
                  <a:lnTo>
                    <a:pt x="752" y="411"/>
                  </a:lnTo>
                  <a:lnTo>
                    <a:pt x="739" y="353"/>
                  </a:lnTo>
                  <a:lnTo>
                    <a:pt x="738" y="350"/>
                  </a:lnTo>
                  <a:lnTo>
                    <a:pt x="739" y="347"/>
                  </a:lnTo>
                  <a:lnTo>
                    <a:pt x="739" y="345"/>
                  </a:lnTo>
                  <a:lnTo>
                    <a:pt x="741" y="344"/>
                  </a:lnTo>
                  <a:lnTo>
                    <a:pt x="742" y="342"/>
                  </a:lnTo>
                  <a:lnTo>
                    <a:pt x="744" y="341"/>
                  </a:lnTo>
                  <a:lnTo>
                    <a:pt x="746" y="341"/>
                  </a:lnTo>
                  <a:lnTo>
                    <a:pt x="749" y="341"/>
                  </a:lnTo>
                  <a:lnTo>
                    <a:pt x="763" y="344"/>
                  </a:lnTo>
                  <a:lnTo>
                    <a:pt x="773" y="346"/>
                  </a:lnTo>
                  <a:lnTo>
                    <a:pt x="785" y="346"/>
                  </a:lnTo>
                  <a:lnTo>
                    <a:pt x="791" y="346"/>
                  </a:lnTo>
                  <a:lnTo>
                    <a:pt x="797" y="345"/>
                  </a:lnTo>
                  <a:lnTo>
                    <a:pt x="803" y="344"/>
                  </a:lnTo>
                  <a:lnTo>
                    <a:pt x="808" y="342"/>
                  </a:lnTo>
                  <a:lnTo>
                    <a:pt x="812" y="339"/>
                  </a:lnTo>
                  <a:lnTo>
                    <a:pt x="816" y="336"/>
                  </a:lnTo>
                  <a:lnTo>
                    <a:pt x="817" y="335"/>
                  </a:lnTo>
                  <a:lnTo>
                    <a:pt x="819" y="333"/>
                  </a:lnTo>
                  <a:lnTo>
                    <a:pt x="821" y="328"/>
                  </a:lnTo>
                  <a:lnTo>
                    <a:pt x="824" y="323"/>
                  </a:lnTo>
                  <a:lnTo>
                    <a:pt x="825" y="318"/>
                  </a:lnTo>
                  <a:lnTo>
                    <a:pt x="827" y="311"/>
                  </a:lnTo>
                  <a:lnTo>
                    <a:pt x="828" y="304"/>
                  </a:lnTo>
                  <a:lnTo>
                    <a:pt x="829" y="297"/>
                  </a:lnTo>
                  <a:lnTo>
                    <a:pt x="829" y="288"/>
                  </a:lnTo>
                  <a:lnTo>
                    <a:pt x="830" y="269"/>
                  </a:lnTo>
                  <a:lnTo>
                    <a:pt x="830" y="14"/>
                  </a:lnTo>
                  <a:lnTo>
                    <a:pt x="830" y="12"/>
                  </a:lnTo>
                  <a:lnTo>
                    <a:pt x="830" y="10"/>
                  </a:lnTo>
                  <a:lnTo>
                    <a:pt x="832" y="7"/>
                  </a:lnTo>
                  <a:lnTo>
                    <a:pt x="833" y="6"/>
                  </a:lnTo>
                  <a:lnTo>
                    <a:pt x="835" y="5"/>
                  </a:lnTo>
                  <a:lnTo>
                    <a:pt x="837" y="5"/>
                  </a:lnTo>
                  <a:lnTo>
                    <a:pt x="838" y="4"/>
                  </a:lnTo>
                  <a:lnTo>
                    <a:pt x="912" y="4"/>
                  </a:lnTo>
                  <a:close/>
                  <a:moveTo>
                    <a:pt x="2826" y="1740"/>
                  </a:moveTo>
                  <a:lnTo>
                    <a:pt x="2925" y="1740"/>
                  </a:lnTo>
                  <a:lnTo>
                    <a:pt x="2875" y="1609"/>
                  </a:lnTo>
                  <a:lnTo>
                    <a:pt x="2826" y="1740"/>
                  </a:lnTo>
                  <a:close/>
                  <a:moveTo>
                    <a:pt x="2956" y="1822"/>
                  </a:moveTo>
                  <a:lnTo>
                    <a:pt x="2796" y="1822"/>
                  </a:lnTo>
                  <a:lnTo>
                    <a:pt x="2774" y="1879"/>
                  </a:lnTo>
                  <a:lnTo>
                    <a:pt x="2773" y="1882"/>
                  </a:lnTo>
                  <a:lnTo>
                    <a:pt x="2771" y="1884"/>
                  </a:lnTo>
                  <a:lnTo>
                    <a:pt x="2770" y="1885"/>
                  </a:lnTo>
                  <a:lnTo>
                    <a:pt x="2768" y="1887"/>
                  </a:lnTo>
                  <a:lnTo>
                    <a:pt x="2764" y="1888"/>
                  </a:lnTo>
                  <a:lnTo>
                    <a:pt x="2760" y="1889"/>
                  </a:lnTo>
                  <a:lnTo>
                    <a:pt x="2681" y="1889"/>
                  </a:lnTo>
                  <a:lnTo>
                    <a:pt x="2679" y="1889"/>
                  </a:lnTo>
                  <a:lnTo>
                    <a:pt x="2677" y="1888"/>
                  </a:lnTo>
                  <a:lnTo>
                    <a:pt x="2675" y="1887"/>
                  </a:lnTo>
                  <a:lnTo>
                    <a:pt x="2673" y="1885"/>
                  </a:lnTo>
                  <a:lnTo>
                    <a:pt x="2672" y="1883"/>
                  </a:lnTo>
                  <a:lnTo>
                    <a:pt x="2671" y="1881"/>
                  </a:lnTo>
                  <a:lnTo>
                    <a:pt x="2672" y="1878"/>
                  </a:lnTo>
                  <a:lnTo>
                    <a:pt x="2673" y="1875"/>
                  </a:lnTo>
                  <a:lnTo>
                    <a:pt x="2828" y="1480"/>
                  </a:lnTo>
                  <a:lnTo>
                    <a:pt x="2829" y="1477"/>
                  </a:lnTo>
                  <a:lnTo>
                    <a:pt x="2830" y="1475"/>
                  </a:lnTo>
                  <a:lnTo>
                    <a:pt x="2833" y="1472"/>
                  </a:lnTo>
                  <a:lnTo>
                    <a:pt x="2837" y="1471"/>
                  </a:lnTo>
                  <a:lnTo>
                    <a:pt x="2839" y="1470"/>
                  </a:lnTo>
                  <a:lnTo>
                    <a:pt x="2842" y="1470"/>
                  </a:lnTo>
                  <a:lnTo>
                    <a:pt x="2911" y="1470"/>
                  </a:lnTo>
                  <a:lnTo>
                    <a:pt x="2916" y="1471"/>
                  </a:lnTo>
                  <a:lnTo>
                    <a:pt x="2920" y="1472"/>
                  </a:lnTo>
                  <a:lnTo>
                    <a:pt x="2923" y="1475"/>
                  </a:lnTo>
                  <a:lnTo>
                    <a:pt x="2924" y="1477"/>
                  </a:lnTo>
                  <a:lnTo>
                    <a:pt x="2925" y="1480"/>
                  </a:lnTo>
                  <a:lnTo>
                    <a:pt x="3081" y="1875"/>
                  </a:lnTo>
                  <a:lnTo>
                    <a:pt x="3082" y="1878"/>
                  </a:lnTo>
                  <a:lnTo>
                    <a:pt x="3082" y="1881"/>
                  </a:lnTo>
                  <a:lnTo>
                    <a:pt x="3081" y="1883"/>
                  </a:lnTo>
                  <a:lnTo>
                    <a:pt x="3080" y="1885"/>
                  </a:lnTo>
                  <a:lnTo>
                    <a:pt x="3079" y="1887"/>
                  </a:lnTo>
                  <a:lnTo>
                    <a:pt x="3077" y="1888"/>
                  </a:lnTo>
                  <a:lnTo>
                    <a:pt x="3074" y="1889"/>
                  </a:lnTo>
                  <a:lnTo>
                    <a:pt x="3072" y="1889"/>
                  </a:lnTo>
                  <a:lnTo>
                    <a:pt x="2991" y="1889"/>
                  </a:lnTo>
                  <a:lnTo>
                    <a:pt x="2987" y="1888"/>
                  </a:lnTo>
                  <a:lnTo>
                    <a:pt x="2985" y="1888"/>
                  </a:lnTo>
                  <a:lnTo>
                    <a:pt x="2983" y="1887"/>
                  </a:lnTo>
                  <a:lnTo>
                    <a:pt x="2981" y="1885"/>
                  </a:lnTo>
                  <a:lnTo>
                    <a:pt x="2980" y="1884"/>
                  </a:lnTo>
                  <a:lnTo>
                    <a:pt x="2979" y="1882"/>
                  </a:lnTo>
                  <a:lnTo>
                    <a:pt x="2978" y="1879"/>
                  </a:lnTo>
                  <a:lnTo>
                    <a:pt x="2956" y="1822"/>
                  </a:lnTo>
                  <a:close/>
                  <a:moveTo>
                    <a:pt x="1829" y="1889"/>
                  </a:moveTo>
                  <a:lnTo>
                    <a:pt x="1747" y="1889"/>
                  </a:lnTo>
                  <a:lnTo>
                    <a:pt x="1743" y="1888"/>
                  </a:lnTo>
                  <a:lnTo>
                    <a:pt x="1739" y="1886"/>
                  </a:lnTo>
                  <a:lnTo>
                    <a:pt x="1738" y="1885"/>
                  </a:lnTo>
                  <a:lnTo>
                    <a:pt x="1737" y="1883"/>
                  </a:lnTo>
                  <a:lnTo>
                    <a:pt x="1737" y="1881"/>
                  </a:lnTo>
                  <a:lnTo>
                    <a:pt x="1737" y="1879"/>
                  </a:lnTo>
                  <a:lnTo>
                    <a:pt x="1737" y="1480"/>
                  </a:lnTo>
                  <a:lnTo>
                    <a:pt x="1737" y="1478"/>
                  </a:lnTo>
                  <a:lnTo>
                    <a:pt x="1737" y="1476"/>
                  </a:lnTo>
                  <a:lnTo>
                    <a:pt x="1739" y="1473"/>
                  </a:lnTo>
                  <a:lnTo>
                    <a:pt x="1741" y="1472"/>
                  </a:lnTo>
                  <a:lnTo>
                    <a:pt x="1743" y="1471"/>
                  </a:lnTo>
                  <a:lnTo>
                    <a:pt x="1747" y="1470"/>
                  </a:lnTo>
                  <a:lnTo>
                    <a:pt x="1829" y="1470"/>
                  </a:lnTo>
                  <a:lnTo>
                    <a:pt x="1833" y="1471"/>
                  </a:lnTo>
                  <a:lnTo>
                    <a:pt x="1836" y="1473"/>
                  </a:lnTo>
                  <a:lnTo>
                    <a:pt x="1837" y="1474"/>
                  </a:lnTo>
                  <a:lnTo>
                    <a:pt x="1838" y="1476"/>
                  </a:lnTo>
                  <a:lnTo>
                    <a:pt x="1839" y="1478"/>
                  </a:lnTo>
                  <a:lnTo>
                    <a:pt x="1839" y="1480"/>
                  </a:lnTo>
                  <a:lnTo>
                    <a:pt x="1839" y="1655"/>
                  </a:lnTo>
                  <a:lnTo>
                    <a:pt x="1982" y="1480"/>
                  </a:lnTo>
                  <a:lnTo>
                    <a:pt x="1986" y="1476"/>
                  </a:lnTo>
                  <a:lnTo>
                    <a:pt x="1987" y="1474"/>
                  </a:lnTo>
                  <a:lnTo>
                    <a:pt x="1990" y="1473"/>
                  </a:lnTo>
                  <a:lnTo>
                    <a:pt x="1992" y="1472"/>
                  </a:lnTo>
                  <a:lnTo>
                    <a:pt x="1994" y="1471"/>
                  </a:lnTo>
                  <a:lnTo>
                    <a:pt x="1997" y="1470"/>
                  </a:lnTo>
                  <a:lnTo>
                    <a:pt x="2000" y="1470"/>
                  </a:lnTo>
                  <a:lnTo>
                    <a:pt x="2095" y="1470"/>
                  </a:lnTo>
                  <a:lnTo>
                    <a:pt x="2098" y="1471"/>
                  </a:lnTo>
                  <a:lnTo>
                    <a:pt x="2101" y="1472"/>
                  </a:lnTo>
                  <a:lnTo>
                    <a:pt x="2102" y="1473"/>
                  </a:lnTo>
                  <a:lnTo>
                    <a:pt x="2103" y="1475"/>
                  </a:lnTo>
                  <a:lnTo>
                    <a:pt x="2104" y="1478"/>
                  </a:lnTo>
                  <a:lnTo>
                    <a:pt x="2104" y="1480"/>
                  </a:lnTo>
                  <a:lnTo>
                    <a:pt x="2103" y="1483"/>
                  </a:lnTo>
                  <a:lnTo>
                    <a:pt x="2101" y="1485"/>
                  </a:lnTo>
                  <a:lnTo>
                    <a:pt x="1970" y="1646"/>
                  </a:lnTo>
                  <a:lnTo>
                    <a:pt x="2105" y="1876"/>
                  </a:lnTo>
                  <a:lnTo>
                    <a:pt x="2107" y="1878"/>
                  </a:lnTo>
                  <a:lnTo>
                    <a:pt x="2107" y="1880"/>
                  </a:lnTo>
                  <a:lnTo>
                    <a:pt x="2107" y="1883"/>
                  </a:lnTo>
                  <a:lnTo>
                    <a:pt x="2106" y="1885"/>
                  </a:lnTo>
                  <a:lnTo>
                    <a:pt x="2105" y="1886"/>
                  </a:lnTo>
                  <a:lnTo>
                    <a:pt x="2104" y="1888"/>
                  </a:lnTo>
                  <a:lnTo>
                    <a:pt x="2102" y="1888"/>
                  </a:lnTo>
                  <a:lnTo>
                    <a:pt x="2099" y="1889"/>
                  </a:lnTo>
                  <a:lnTo>
                    <a:pt x="2003" y="1889"/>
                  </a:lnTo>
                  <a:lnTo>
                    <a:pt x="1998" y="1888"/>
                  </a:lnTo>
                  <a:lnTo>
                    <a:pt x="1994" y="1887"/>
                  </a:lnTo>
                  <a:lnTo>
                    <a:pt x="1992" y="1885"/>
                  </a:lnTo>
                  <a:lnTo>
                    <a:pt x="1991" y="1884"/>
                  </a:lnTo>
                  <a:lnTo>
                    <a:pt x="1988" y="1879"/>
                  </a:lnTo>
                  <a:lnTo>
                    <a:pt x="1892" y="1713"/>
                  </a:lnTo>
                  <a:lnTo>
                    <a:pt x="1839" y="1778"/>
                  </a:lnTo>
                  <a:lnTo>
                    <a:pt x="1839" y="1879"/>
                  </a:lnTo>
                  <a:lnTo>
                    <a:pt x="1839" y="1881"/>
                  </a:lnTo>
                  <a:lnTo>
                    <a:pt x="1838" y="1883"/>
                  </a:lnTo>
                  <a:lnTo>
                    <a:pt x="1836" y="1886"/>
                  </a:lnTo>
                  <a:lnTo>
                    <a:pt x="1835" y="1887"/>
                  </a:lnTo>
                  <a:lnTo>
                    <a:pt x="1833" y="1888"/>
                  </a:lnTo>
                  <a:lnTo>
                    <a:pt x="1829" y="1889"/>
                  </a:lnTo>
                  <a:close/>
                  <a:moveTo>
                    <a:pt x="2168" y="1480"/>
                  </a:moveTo>
                  <a:lnTo>
                    <a:pt x="2168" y="1478"/>
                  </a:lnTo>
                  <a:lnTo>
                    <a:pt x="2168" y="1476"/>
                  </a:lnTo>
                  <a:lnTo>
                    <a:pt x="2171" y="1473"/>
                  </a:lnTo>
                  <a:lnTo>
                    <a:pt x="2172" y="1472"/>
                  </a:lnTo>
                  <a:lnTo>
                    <a:pt x="2174" y="1471"/>
                  </a:lnTo>
                  <a:lnTo>
                    <a:pt x="2178" y="1470"/>
                  </a:lnTo>
                  <a:lnTo>
                    <a:pt x="2260" y="1470"/>
                  </a:lnTo>
                  <a:lnTo>
                    <a:pt x="2264" y="1471"/>
                  </a:lnTo>
                  <a:lnTo>
                    <a:pt x="2267" y="1473"/>
                  </a:lnTo>
                  <a:lnTo>
                    <a:pt x="2268" y="1474"/>
                  </a:lnTo>
                  <a:lnTo>
                    <a:pt x="2269" y="1476"/>
                  </a:lnTo>
                  <a:lnTo>
                    <a:pt x="2270" y="1478"/>
                  </a:lnTo>
                  <a:lnTo>
                    <a:pt x="2270" y="1480"/>
                  </a:lnTo>
                  <a:lnTo>
                    <a:pt x="2270" y="1879"/>
                  </a:lnTo>
                  <a:lnTo>
                    <a:pt x="2270" y="1881"/>
                  </a:lnTo>
                  <a:lnTo>
                    <a:pt x="2269" y="1883"/>
                  </a:lnTo>
                  <a:lnTo>
                    <a:pt x="2267" y="1886"/>
                  </a:lnTo>
                  <a:lnTo>
                    <a:pt x="2266" y="1887"/>
                  </a:lnTo>
                  <a:lnTo>
                    <a:pt x="2264" y="1888"/>
                  </a:lnTo>
                  <a:lnTo>
                    <a:pt x="2260" y="1889"/>
                  </a:lnTo>
                  <a:lnTo>
                    <a:pt x="2178" y="1889"/>
                  </a:lnTo>
                  <a:lnTo>
                    <a:pt x="2174" y="1888"/>
                  </a:lnTo>
                  <a:lnTo>
                    <a:pt x="2171" y="1886"/>
                  </a:lnTo>
                  <a:lnTo>
                    <a:pt x="2169" y="1885"/>
                  </a:lnTo>
                  <a:lnTo>
                    <a:pt x="2168" y="1883"/>
                  </a:lnTo>
                  <a:lnTo>
                    <a:pt x="2168" y="1881"/>
                  </a:lnTo>
                  <a:lnTo>
                    <a:pt x="2168" y="1879"/>
                  </a:lnTo>
                  <a:lnTo>
                    <a:pt x="2168" y="1480"/>
                  </a:lnTo>
                  <a:close/>
                  <a:moveTo>
                    <a:pt x="2470" y="1879"/>
                  </a:moveTo>
                  <a:lnTo>
                    <a:pt x="2323" y="1484"/>
                  </a:lnTo>
                  <a:lnTo>
                    <a:pt x="2322" y="1481"/>
                  </a:lnTo>
                  <a:lnTo>
                    <a:pt x="2322" y="1478"/>
                  </a:lnTo>
                  <a:lnTo>
                    <a:pt x="2322" y="1476"/>
                  </a:lnTo>
                  <a:lnTo>
                    <a:pt x="2323" y="1474"/>
                  </a:lnTo>
                  <a:lnTo>
                    <a:pt x="2325" y="1472"/>
                  </a:lnTo>
                  <a:lnTo>
                    <a:pt x="2327" y="1471"/>
                  </a:lnTo>
                  <a:lnTo>
                    <a:pt x="2329" y="1470"/>
                  </a:lnTo>
                  <a:lnTo>
                    <a:pt x="2332" y="1470"/>
                  </a:lnTo>
                  <a:lnTo>
                    <a:pt x="2415" y="1470"/>
                  </a:lnTo>
                  <a:lnTo>
                    <a:pt x="2419" y="1471"/>
                  </a:lnTo>
                  <a:lnTo>
                    <a:pt x="2421" y="1471"/>
                  </a:lnTo>
                  <a:lnTo>
                    <a:pt x="2423" y="1472"/>
                  </a:lnTo>
                  <a:lnTo>
                    <a:pt x="2425" y="1474"/>
                  </a:lnTo>
                  <a:lnTo>
                    <a:pt x="2426" y="1475"/>
                  </a:lnTo>
                  <a:lnTo>
                    <a:pt x="2428" y="1477"/>
                  </a:lnTo>
                  <a:lnTo>
                    <a:pt x="2429" y="1480"/>
                  </a:lnTo>
                  <a:lnTo>
                    <a:pt x="2521" y="1734"/>
                  </a:lnTo>
                  <a:lnTo>
                    <a:pt x="2614" y="1480"/>
                  </a:lnTo>
                  <a:lnTo>
                    <a:pt x="2615" y="1477"/>
                  </a:lnTo>
                  <a:lnTo>
                    <a:pt x="2616" y="1475"/>
                  </a:lnTo>
                  <a:lnTo>
                    <a:pt x="2618" y="1474"/>
                  </a:lnTo>
                  <a:lnTo>
                    <a:pt x="2619" y="1472"/>
                  </a:lnTo>
                  <a:lnTo>
                    <a:pt x="2623" y="1471"/>
                  </a:lnTo>
                  <a:lnTo>
                    <a:pt x="2627" y="1470"/>
                  </a:lnTo>
                  <a:lnTo>
                    <a:pt x="2709" y="1470"/>
                  </a:lnTo>
                  <a:lnTo>
                    <a:pt x="2711" y="1470"/>
                  </a:lnTo>
                  <a:lnTo>
                    <a:pt x="2714" y="1471"/>
                  </a:lnTo>
                  <a:lnTo>
                    <a:pt x="2716" y="1472"/>
                  </a:lnTo>
                  <a:lnTo>
                    <a:pt x="2717" y="1474"/>
                  </a:lnTo>
                  <a:lnTo>
                    <a:pt x="2718" y="1476"/>
                  </a:lnTo>
                  <a:lnTo>
                    <a:pt x="2719" y="1478"/>
                  </a:lnTo>
                  <a:lnTo>
                    <a:pt x="2719" y="1481"/>
                  </a:lnTo>
                  <a:lnTo>
                    <a:pt x="2718" y="1484"/>
                  </a:lnTo>
                  <a:lnTo>
                    <a:pt x="2571" y="1879"/>
                  </a:lnTo>
                  <a:lnTo>
                    <a:pt x="2569" y="1883"/>
                  </a:lnTo>
                  <a:lnTo>
                    <a:pt x="2567" y="1885"/>
                  </a:lnTo>
                  <a:lnTo>
                    <a:pt x="2566" y="1886"/>
                  </a:lnTo>
                  <a:lnTo>
                    <a:pt x="2564" y="1887"/>
                  </a:lnTo>
                  <a:lnTo>
                    <a:pt x="2562" y="1888"/>
                  </a:lnTo>
                  <a:lnTo>
                    <a:pt x="2560" y="1889"/>
                  </a:lnTo>
                  <a:lnTo>
                    <a:pt x="2557" y="1889"/>
                  </a:lnTo>
                  <a:lnTo>
                    <a:pt x="2484" y="1889"/>
                  </a:lnTo>
                  <a:lnTo>
                    <a:pt x="2481" y="1889"/>
                  </a:lnTo>
                  <a:lnTo>
                    <a:pt x="2479" y="1888"/>
                  </a:lnTo>
                  <a:lnTo>
                    <a:pt x="2475" y="1886"/>
                  </a:lnTo>
                  <a:lnTo>
                    <a:pt x="2473" y="1885"/>
                  </a:lnTo>
                  <a:lnTo>
                    <a:pt x="2472" y="1883"/>
                  </a:lnTo>
                  <a:lnTo>
                    <a:pt x="2470" y="1879"/>
                  </a:lnTo>
                  <a:close/>
                  <a:moveTo>
                    <a:pt x="224" y="1804"/>
                  </a:moveTo>
                  <a:lnTo>
                    <a:pt x="236" y="1804"/>
                  </a:lnTo>
                  <a:lnTo>
                    <a:pt x="247" y="1802"/>
                  </a:lnTo>
                  <a:lnTo>
                    <a:pt x="259" y="1799"/>
                  </a:lnTo>
                  <a:lnTo>
                    <a:pt x="264" y="1797"/>
                  </a:lnTo>
                  <a:lnTo>
                    <a:pt x="269" y="1795"/>
                  </a:lnTo>
                  <a:lnTo>
                    <a:pt x="280" y="1791"/>
                  </a:lnTo>
                  <a:lnTo>
                    <a:pt x="289" y="1785"/>
                  </a:lnTo>
                  <a:lnTo>
                    <a:pt x="298" y="1778"/>
                  </a:lnTo>
                  <a:lnTo>
                    <a:pt x="306" y="1770"/>
                  </a:lnTo>
                  <a:lnTo>
                    <a:pt x="314" y="1762"/>
                  </a:lnTo>
                  <a:lnTo>
                    <a:pt x="320" y="1752"/>
                  </a:lnTo>
                  <a:lnTo>
                    <a:pt x="326" y="1742"/>
                  </a:lnTo>
                  <a:lnTo>
                    <a:pt x="331" y="1731"/>
                  </a:lnTo>
                  <a:lnTo>
                    <a:pt x="333" y="1725"/>
                  </a:lnTo>
                  <a:lnTo>
                    <a:pt x="334" y="1719"/>
                  </a:lnTo>
                  <a:lnTo>
                    <a:pt x="337" y="1707"/>
                  </a:lnTo>
                  <a:lnTo>
                    <a:pt x="339" y="1693"/>
                  </a:lnTo>
                  <a:lnTo>
                    <a:pt x="339" y="1687"/>
                  </a:lnTo>
                  <a:lnTo>
                    <a:pt x="340" y="1680"/>
                  </a:lnTo>
                  <a:lnTo>
                    <a:pt x="339" y="1666"/>
                  </a:lnTo>
                  <a:lnTo>
                    <a:pt x="337" y="1652"/>
                  </a:lnTo>
                  <a:lnTo>
                    <a:pt x="334" y="1640"/>
                  </a:lnTo>
                  <a:lnTo>
                    <a:pt x="333" y="1634"/>
                  </a:lnTo>
                  <a:lnTo>
                    <a:pt x="331" y="1628"/>
                  </a:lnTo>
                  <a:lnTo>
                    <a:pt x="326" y="1617"/>
                  </a:lnTo>
                  <a:lnTo>
                    <a:pt x="320" y="1607"/>
                  </a:lnTo>
                  <a:lnTo>
                    <a:pt x="314" y="1597"/>
                  </a:lnTo>
                  <a:lnTo>
                    <a:pt x="310" y="1593"/>
                  </a:lnTo>
                  <a:lnTo>
                    <a:pt x="306" y="1589"/>
                  </a:lnTo>
                  <a:lnTo>
                    <a:pt x="302" y="1585"/>
                  </a:lnTo>
                  <a:lnTo>
                    <a:pt x="298" y="1581"/>
                  </a:lnTo>
                  <a:lnTo>
                    <a:pt x="294" y="1578"/>
                  </a:lnTo>
                  <a:lnTo>
                    <a:pt x="289" y="1574"/>
                  </a:lnTo>
                  <a:lnTo>
                    <a:pt x="280" y="1568"/>
                  </a:lnTo>
                  <a:lnTo>
                    <a:pt x="275" y="1566"/>
                  </a:lnTo>
                  <a:lnTo>
                    <a:pt x="269" y="1564"/>
                  </a:lnTo>
                  <a:lnTo>
                    <a:pt x="264" y="1562"/>
                  </a:lnTo>
                  <a:lnTo>
                    <a:pt x="259" y="1560"/>
                  </a:lnTo>
                  <a:lnTo>
                    <a:pt x="247" y="1557"/>
                  </a:lnTo>
                  <a:lnTo>
                    <a:pt x="236" y="1555"/>
                  </a:lnTo>
                  <a:lnTo>
                    <a:pt x="230" y="1555"/>
                  </a:lnTo>
                  <a:lnTo>
                    <a:pt x="224" y="1555"/>
                  </a:lnTo>
                  <a:lnTo>
                    <a:pt x="212" y="1555"/>
                  </a:lnTo>
                  <a:lnTo>
                    <a:pt x="200" y="1557"/>
                  </a:lnTo>
                  <a:lnTo>
                    <a:pt x="189" y="1560"/>
                  </a:lnTo>
                  <a:lnTo>
                    <a:pt x="183" y="1562"/>
                  </a:lnTo>
                  <a:lnTo>
                    <a:pt x="178" y="1564"/>
                  </a:lnTo>
                  <a:lnTo>
                    <a:pt x="168" y="1568"/>
                  </a:lnTo>
                  <a:lnTo>
                    <a:pt x="158" y="1574"/>
                  </a:lnTo>
                  <a:lnTo>
                    <a:pt x="149" y="1581"/>
                  </a:lnTo>
                  <a:lnTo>
                    <a:pt x="141" y="1589"/>
                  </a:lnTo>
                  <a:lnTo>
                    <a:pt x="134" y="1597"/>
                  </a:lnTo>
                  <a:lnTo>
                    <a:pt x="127" y="1607"/>
                  </a:lnTo>
                  <a:lnTo>
                    <a:pt x="121" y="1617"/>
                  </a:lnTo>
                  <a:lnTo>
                    <a:pt x="117" y="1628"/>
                  </a:lnTo>
                  <a:lnTo>
                    <a:pt x="115" y="1634"/>
                  </a:lnTo>
                  <a:lnTo>
                    <a:pt x="113" y="1640"/>
                  </a:lnTo>
                  <a:lnTo>
                    <a:pt x="110" y="1652"/>
                  </a:lnTo>
                  <a:lnTo>
                    <a:pt x="108" y="1666"/>
                  </a:lnTo>
                  <a:lnTo>
                    <a:pt x="108" y="1672"/>
                  </a:lnTo>
                  <a:lnTo>
                    <a:pt x="108" y="1680"/>
                  </a:lnTo>
                  <a:lnTo>
                    <a:pt x="108" y="1693"/>
                  </a:lnTo>
                  <a:lnTo>
                    <a:pt x="110" y="1707"/>
                  </a:lnTo>
                  <a:lnTo>
                    <a:pt x="113" y="1719"/>
                  </a:lnTo>
                  <a:lnTo>
                    <a:pt x="115" y="1725"/>
                  </a:lnTo>
                  <a:lnTo>
                    <a:pt x="117" y="1731"/>
                  </a:lnTo>
                  <a:lnTo>
                    <a:pt x="121" y="1742"/>
                  </a:lnTo>
                  <a:lnTo>
                    <a:pt x="127" y="1752"/>
                  </a:lnTo>
                  <a:lnTo>
                    <a:pt x="134" y="1762"/>
                  </a:lnTo>
                  <a:lnTo>
                    <a:pt x="137" y="1766"/>
                  </a:lnTo>
                  <a:lnTo>
                    <a:pt x="141" y="1770"/>
                  </a:lnTo>
                  <a:lnTo>
                    <a:pt x="145" y="1774"/>
                  </a:lnTo>
                  <a:lnTo>
                    <a:pt x="149" y="1778"/>
                  </a:lnTo>
                  <a:lnTo>
                    <a:pt x="154" y="1781"/>
                  </a:lnTo>
                  <a:lnTo>
                    <a:pt x="158" y="1785"/>
                  </a:lnTo>
                  <a:lnTo>
                    <a:pt x="168" y="1791"/>
                  </a:lnTo>
                  <a:lnTo>
                    <a:pt x="173" y="1793"/>
                  </a:lnTo>
                  <a:lnTo>
                    <a:pt x="178" y="1795"/>
                  </a:lnTo>
                  <a:lnTo>
                    <a:pt x="183" y="1797"/>
                  </a:lnTo>
                  <a:lnTo>
                    <a:pt x="189" y="1799"/>
                  </a:lnTo>
                  <a:lnTo>
                    <a:pt x="200" y="1802"/>
                  </a:lnTo>
                  <a:lnTo>
                    <a:pt x="212" y="1804"/>
                  </a:lnTo>
                  <a:lnTo>
                    <a:pt x="218" y="1804"/>
                  </a:lnTo>
                  <a:lnTo>
                    <a:pt x="224" y="1804"/>
                  </a:lnTo>
                  <a:close/>
                  <a:moveTo>
                    <a:pt x="224" y="1463"/>
                  </a:moveTo>
                  <a:lnTo>
                    <a:pt x="236" y="1463"/>
                  </a:lnTo>
                  <a:lnTo>
                    <a:pt x="247" y="1464"/>
                  </a:lnTo>
                  <a:lnTo>
                    <a:pt x="259" y="1465"/>
                  </a:lnTo>
                  <a:lnTo>
                    <a:pt x="270" y="1467"/>
                  </a:lnTo>
                  <a:lnTo>
                    <a:pt x="281" y="1470"/>
                  </a:lnTo>
                  <a:lnTo>
                    <a:pt x="292" y="1472"/>
                  </a:lnTo>
                  <a:lnTo>
                    <a:pt x="302" y="1476"/>
                  </a:lnTo>
                  <a:lnTo>
                    <a:pt x="313" y="1479"/>
                  </a:lnTo>
                  <a:lnTo>
                    <a:pt x="323" y="1483"/>
                  </a:lnTo>
                  <a:lnTo>
                    <a:pt x="332" y="1488"/>
                  </a:lnTo>
                  <a:lnTo>
                    <a:pt x="342" y="1493"/>
                  </a:lnTo>
                  <a:lnTo>
                    <a:pt x="351" y="1499"/>
                  </a:lnTo>
                  <a:lnTo>
                    <a:pt x="359" y="1504"/>
                  </a:lnTo>
                  <a:lnTo>
                    <a:pt x="364" y="1507"/>
                  </a:lnTo>
                  <a:lnTo>
                    <a:pt x="368" y="1511"/>
                  </a:lnTo>
                  <a:lnTo>
                    <a:pt x="372" y="1514"/>
                  </a:lnTo>
                  <a:lnTo>
                    <a:pt x="376" y="1517"/>
                  </a:lnTo>
                  <a:lnTo>
                    <a:pt x="383" y="1524"/>
                  </a:lnTo>
                  <a:lnTo>
                    <a:pt x="387" y="1528"/>
                  </a:lnTo>
                  <a:lnTo>
                    <a:pt x="391" y="1532"/>
                  </a:lnTo>
                  <a:lnTo>
                    <a:pt x="398" y="1539"/>
                  </a:lnTo>
                  <a:lnTo>
                    <a:pt x="404" y="1548"/>
                  </a:lnTo>
                  <a:lnTo>
                    <a:pt x="407" y="1552"/>
                  </a:lnTo>
                  <a:lnTo>
                    <a:pt x="410" y="1556"/>
                  </a:lnTo>
                  <a:lnTo>
                    <a:pt x="416" y="1565"/>
                  </a:lnTo>
                  <a:lnTo>
                    <a:pt x="421" y="1574"/>
                  </a:lnTo>
                  <a:lnTo>
                    <a:pt x="426" y="1583"/>
                  </a:lnTo>
                  <a:lnTo>
                    <a:pt x="430" y="1593"/>
                  </a:lnTo>
                  <a:lnTo>
                    <a:pt x="432" y="1598"/>
                  </a:lnTo>
                  <a:lnTo>
                    <a:pt x="434" y="1603"/>
                  </a:lnTo>
                  <a:lnTo>
                    <a:pt x="437" y="1613"/>
                  </a:lnTo>
                  <a:lnTo>
                    <a:pt x="440" y="1623"/>
                  </a:lnTo>
                  <a:lnTo>
                    <a:pt x="443" y="1634"/>
                  </a:lnTo>
                  <a:lnTo>
                    <a:pt x="445" y="1645"/>
                  </a:lnTo>
                  <a:lnTo>
                    <a:pt x="446" y="1656"/>
                  </a:lnTo>
                  <a:lnTo>
                    <a:pt x="446" y="1662"/>
                  </a:lnTo>
                  <a:lnTo>
                    <a:pt x="447" y="1668"/>
                  </a:lnTo>
                  <a:lnTo>
                    <a:pt x="447" y="1680"/>
                  </a:lnTo>
                  <a:lnTo>
                    <a:pt x="447" y="1691"/>
                  </a:lnTo>
                  <a:lnTo>
                    <a:pt x="446" y="1703"/>
                  </a:lnTo>
                  <a:lnTo>
                    <a:pt x="445" y="1714"/>
                  </a:lnTo>
                  <a:lnTo>
                    <a:pt x="443" y="1725"/>
                  </a:lnTo>
                  <a:lnTo>
                    <a:pt x="440" y="1736"/>
                  </a:lnTo>
                  <a:lnTo>
                    <a:pt x="437" y="1746"/>
                  </a:lnTo>
                  <a:lnTo>
                    <a:pt x="434" y="1756"/>
                  </a:lnTo>
                  <a:lnTo>
                    <a:pt x="430" y="1766"/>
                  </a:lnTo>
                  <a:lnTo>
                    <a:pt x="426" y="1776"/>
                  </a:lnTo>
                  <a:lnTo>
                    <a:pt x="421" y="1785"/>
                  </a:lnTo>
                  <a:lnTo>
                    <a:pt x="416" y="1794"/>
                  </a:lnTo>
                  <a:lnTo>
                    <a:pt x="410" y="1803"/>
                  </a:lnTo>
                  <a:lnTo>
                    <a:pt x="404" y="1811"/>
                  </a:lnTo>
                  <a:lnTo>
                    <a:pt x="398" y="1820"/>
                  </a:lnTo>
                  <a:lnTo>
                    <a:pt x="391" y="1827"/>
                  </a:lnTo>
                  <a:lnTo>
                    <a:pt x="383" y="1835"/>
                  </a:lnTo>
                  <a:lnTo>
                    <a:pt x="376" y="1842"/>
                  </a:lnTo>
                  <a:lnTo>
                    <a:pt x="368" y="1848"/>
                  </a:lnTo>
                  <a:lnTo>
                    <a:pt x="359" y="1855"/>
                  </a:lnTo>
                  <a:lnTo>
                    <a:pt x="351" y="1860"/>
                  </a:lnTo>
                  <a:lnTo>
                    <a:pt x="342" y="1866"/>
                  </a:lnTo>
                  <a:lnTo>
                    <a:pt x="332" y="1871"/>
                  </a:lnTo>
                  <a:lnTo>
                    <a:pt x="323" y="1876"/>
                  </a:lnTo>
                  <a:lnTo>
                    <a:pt x="313" y="1880"/>
                  </a:lnTo>
                  <a:lnTo>
                    <a:pt x="302" y="1883"/>
                  </a:lnTo>
                  <a:lnTo>
                    <a:pt x="292" y="1887"/>
                  </a:lnTo>
                  <a:lnTo>
                    <a:pt x="281" y="1889"/>
                  </a:lnTo>
                  <a:lnTo>
                    <a:pt x="270" y="1892"/>
                  </a:lnTo>
                  <a:lnTo>
                    <a:pt x="259" y="1894"/>
                  </a:lnTo>
                  <a:lnTo>
                    <a:pt x="247" y="1895"/>
                  </a:lnTo>
                  <a:lnTo>
                    <a:pt x="236" y="1896"/>
                  </a:lnTo>
                  <a:lnTo>
                    <a:pt x="224" y="1896"/>
                  </a:lnTo>
                  <a:lnTo>
                    <a:pt x="212" y="1896"/>
                  </a:lnTo>
                  <a:lnTo>
                    <a:pt x="200" y="1895"/>
                  </a:lnTo>
                  <a:lnTo>
                    <a:pt x="188" y="1894"/>
                  </a:lnTo>
                  <a:lnTo>
                    <a:pt x="177" y="1892"/>
                  </a:lnTo>
                  <a:lnTo>
                    <a:pt x="166" y="1889"/>
                  </a:lnTo>
                  <a:lnTo>
                    <a:pt x="155" y="1887"/>
                  </a:lnTo>
                  <a:lnTo>
                    <a:pt x="145" y="1883"/>
                  </a:lnTo>
                  <a:lnTo>
                    <a:pt x="135" y="1880"/>
                  </a:lnTo>
                  <a:lnTo>
                    <a:pt x="125" y="1876"/>
                  </a:lnTo>
                  <a:lnTo>
                    <a:pt x="115" y="1871"/>
                  </a:lnTo>
                  <a:lnTo>
                    <a:pt x="106" y="1866"/>
                  </a:lnTo>
                  <a:lnTo>
                    <a:pt x="97" y="1860"/>
                  </a:lnTo>
                  <a:lnTo>
                    <a:pt x="88" y="1855"/>
                  </a:lnTo>
                  <a:lnTo>
                    <a:pt x="84" y="1852"/>
                  </a:lnTo>
                  <a:lnTo>
                    <a:pt x="79" y="1848"/>
                  </a:lnTo>
                  <a:lnTo>
                    <a:pt x="75" y="1845"/>
                  </a:lnTo>
                  <a:lnTo>
                    <a:pt x="71" y="1842"/>
                  </a:lnTo>
                  <a:lnTo>
                    <a:pt x="64" y="1835"/>
                  </a:lnTo>
                  <a:lnTo>
                    <a:pt x="60" y="1831"/>
                  </a:lnTo>
                  <a:lnTo>
                    <a:pt x="56" y="1827"/>
                  </a:lnTo>
                  <a:lnTo>
                    <a:pt x="50" y="1820"/>
                  </a:lnTo>
                  <a:lnTo>
                    <a:pt x="43" y="1811"/>
                  </a:lnTo>
                  <a:lnTo>
                    <a:pt x="40" y="1807"/>
                  </a:lnTo>
                  <a:lnTo>
                    <a:pt x="37" y="1803"/>
                  </a:lnTo>
                  <a:lnTo>
                    <a:pt x="31" y="1794"/>
                  </a:lnTo>
                  <a:lnTo>
                    <a:pt x="26" y="1785"/>
                  </a:lnTo>
                  <a:lnTo>
                    <a:pt x="21" y="1776"/>
                  </a:lnTo>
                  <a:lnTo>
                    <a:pt x="17" y="1766"/>
                  </a:lnTo>
                  <a:lnTo>
                    <a:pt x="15" y="1761"/>
                  </a:lnTo>
                  <a:lnTo>
                    <a:pt x="13" y="1756"/>
                  </a:lnTo>
                  <a:lnTo>
                    <a:pt x="10" y="1746"/>
                  </a:lnTo>
                  <a:lnTo>
                    <a:pt x="7" y="1736"/>
                  </a:lnTo>
                  <a:lnTo>
                    <a:pt x="4" y="1725"/>
                  </a:lnTo>
                  <a:lnTo>
                    <a:pt x="3" y="1714"/>
                  </a:lnTo>
                  <a:lnTo>
                    <a:pt x="1" y="1703"/>
                  </a:lnTo>
                  <a:lnTo>
                    <a:pt x="1" y="1697"/>
                  </a:lnTo>
                  <a:lnTo>
                    <a:pt x="0" y="1691"/>
                  </a:lnTo>
                  <a:lnTo>
                    <a:pt x="0" y="1680"/>
                  </a:lnTo>
                  <a:lnTo>
                    <a:pt x="0" y="1668"/>
                  </a:lnTo>
                  <a:lnTo>
                    <a:pt x="1" y="1656"/>
                  </a:lnTo>
                  <a:lnTo>
                    <a:pt x="3" y="1645"/>
                  </a:lnTo>
                  <a:lnTo>
                    <a:pt x="4" y="1634"/>
                  </a:lnTo>
                  <a:lnTo>
                    <a:pt x="7" y="1623"/>
                  </a:lnTo>
                  <a:lnTo>
                    <a:pt x="10" y="1613"/>
                  </a:lnTo>
                  <a:lnTo>
                    <a:pt x="13" y="1603"/>
                  </a:lnTo>
                  <a:lnTo>
                    <a:pt x="17" y="1593"/>
                  </a:lnTo>
                  <a:lnTo>
                    <a:pt x="21" y="1583"/>
                  </a:lnTo>
                  <a:lnTo>
                    <a:pt x="26" y="1574"/>
                  </a:lnTo>
                  <a:lnTo>
                    <a:pt x="31" y="1565"/>
                  </a:lnTo>
                  <a:lnTo>
                    <a:pt x="37" y="1556"/>
                  </a:lnTo>
                  <a:lnTo>
                    <a:pt x="43" y="1548"/>
                  </a:lnTo>
                  <a:lnTo>
                    <a:pt x="50" y="1539"/>
                  </a:lnTo>
                  <a:lnTo>
                    <a:pt x="56" y="1532"/>
                  </a:lnTo>
                  <a:lnTo>
                    <a:pt x="64" y="1524"/>
                  </a:lnTo>
                  <a:lnTo>
                    <a:pt x="71" y="1517"/>
                  </a:lnTo>
                  <a:lnTo>
                    <a:pt x="79" y="1511"/>
                  </a:lnTo>
                  <a:lnTo>
                    <a:pt x="88" y="1504"/>
                  </a:lnTo>
                  <a:lnTo>
                    <a:pt x="97" y="1499"/>
                  </a:lnTo>
                  <a:lnTo>
                    <a:pt x="106" y="1493"/>
                  </a:lnTo>
                  <a:lnTo>
                    <a:pt x="115" y="1488"/>
                  </a:lnTo>
                  <a:lnTo>
                    <a:pt x="125" y="1483"/>
                  </a:lnTo>
                  <a:lnTo>
                    <a:pt x="135" y="1479"/>
                  </a:lnTo>
                  <a:lnTo>
                    <a:pt x="145" y="1476"/>
                  </a:lnTo>
                  <a:lnTo>
                    <a:pt x="155" y="1472"/>
                  </a:lnTo>
                  <a:lnTo>
                    <a:pt x="166" y="1470"/>
                  </a:lnTo>
                  <a:lnTo>
                    <a:pt x="177" y="1467"/>
                  </a:lnTo>
                  <a:lnTo>
                    <a:pt x="188" y="1465"/>
                  </a:lnTo>
                  <a:lnTo>
                    <a:pt x="200" y="1464"/>
                  </a:lnTo>
                  <a:lnTo>
                    <a:pt x="212" y="1463"/>
                  </a:lnTo>
                  <a:lnTo>
                    <a:pt x="224" y="1463"/>
                  </a:lnTo>
                  <a:close/>
                  <a:moveTo>
                    <a:pt x="1090" y="1810"/>
                  </a:moveTo>
                  <a:lnTo>
                    <a:pt x="1096" y="1809"/>
                  </a:lnTo>
                  <a:lnTo>
                    <a:pt x="1102" y="1809"/>
                  </a:lnTo>
                  <a:lnTo>
                    <a:pt x="1112" y="1807"/>
                  </a:lnTo>
                  <a:lnTo>
                    <a:pt x="1116" y="1806"/>
                  </a:lnTo>
                  <a:lnTo>
                    <a:pt x="1120" y="1804"/>
                  </a:lnTo>
                  <a:lnTo>
                    <a:pt x="1128" y="1800"/>
                  </a:lnTo>
                  <a:lnTo>
                    <a:pt x="1131" y="1798"/>
                  </a:lnTo>
                  <a:lnTo>
                    <a:pt x="1133" y="1795"/>
                  </a:lnTo>
                  <a:lnTo>
                    <a:pt x="1136" y="1792"/>
                  </a:lnTo>
                  <a:lnTo>
                    <a:pt x="1138" y="1789"/>
                  </a:lnTo>
                  <a:lnTo>
                    <a:pt x="1139" y="1786"/>
                  </a:lnTo>
                  <a:lnTo>
                    <a:pt x="1140" y="1782"/>
                  </a:lnTo>
                  <a:lnTo>
                    <a:pt x="1141" y="1779"/>
                  </a:lnTo>
                  <a:lnTo>
                    <a:pt x="1141" y="1775"/>
                  </a:lnTo>
                  <a:lnTo>
                    <a:pt x="1141" y="1771"/>
                  </a:lnTo>
                  <a:lnTo>
                    <a:pt x="1140" y="1767"/>
                  </a:lnTo>
                  <a:lnTo>
                    <a:pt x="1139" y="1763"/>
                  </a:lnTo>
                  <a:lnTo>
                    <a:pt x="1138" y="1760"/>
                  </a:lnTo>
                  <a:lnTo>
                    <a:pt x="1134" y="1754"/>
                  </a:lnTo>
                  <a:lnTo>
                    <a:pt x="1130" y="1749"/>
                  </a:lnTo>
                  <a:lnTo>
                    <a:pt x="1127" y="1747"/>
                  </a:lnTo>
                  <a:lnTo>
                    <a:pt x="1124" y="1744"/>
                  </a:lnTo>
                  <a:lnTo>
                    <a:pt x="1120" y="1742"/>
                  </a:lnTo>
                  <a:lnTo>
                    <a:pt x="1116" y="1740"/>
                  </a:lnTo>
                  <a:lnTo>
                    <a:pt x="1099" y="1732"/>
                  </a:lnTo>
                  <a:lnTo>
                    <a:pt x="1038" y="1703"/>
                  </a:lnTo>
                  <a:lnTo>
                    <a:pt x="1031" y="1699"/>
                  </a:lnTo>
                  <a:lnTo>
                    <a:pt x="1023" y="1695"/>
                  </a:lnTo>
                  <a:lnTo>
                    <a:pt x="1016" y="1691"/>
                  </a:lnTo>
                  <a:lnTo>
                    <a:pt x="1010" y="1686"/>
                  </a:lnTo>
                  <a:lnTo>
                    <a:pt x="1003" y="1680"/>
                  </a:lnTo>
                  <a:lnTo>
                    <a:pt x="997" y="1674"/>
                  </a:lnTo>
                  <a:lnTo>
                    <a:pt x="992" y="1668"/>
                  </a:lnTo>
                  <a:lnTo>
                    <a:pt x="986" y="1661"/>
                  </a:lnTo>
                  <a:lnTo>
                    <a:pt x="982" y="1654"/>
                  </a:lnTo>
                  <a:lnTo>
                    <a:pt x="978" y="1646"/>
                  </a:lnTo>
                  <a:lnTo>
                    <a:pt x="974" y="1638"/>
                  </a:lnTo>
                  <a:lnTo>
                    <a:pt x="971" y="1629"/>
                  </a:lnTo>
                  <a:lnTo>
                    <a:pt x="969" y="1620"/>
                  </a:lnTo>
                  <a:lnTo>
                    <a:pt x="967" y="1610"/>
                  </a:lnTo>
                  <a:lnTo>
                    <a:pt x="966" y="1600"/>
                  </a:lnTo>
                  <a:lnTo>
                    <a:pt x="965" y="1590"/>
                  </a:lnTo>
                  <a:lnTo>
                    <a:pt x="966" y="1583"/>
                  </a:lnTo>
                  <a:lnTo>
                    <a:pt x="966" y="1576"/>
                  </a:lnTo>
                  <a:lnTo>
                    <a:pt x="967" y="1570"/>
                  </a:lnTo>
                  <a:lnTo>
                    <a:pt x="968" y="1563"/>
                  </a:lnTo>
                  <a:lnTo>
                    <a:pt x="971" y="1551"/>
                  </a:lnTo>
                  <a:lnTo>
                    <a:pt x="973" y="1545"/>
                  </a:lnTo>
                  <a:lnTo>
                    <a:pt x="976" y="1539"/>
                  </a:lnTo>
                  <a:lnTo>
                    <a:pt x="979" y="1534"/>
                  </a:lnTo>
                  <a:lnTo>
                    <a:pt x="982" y="1528"/>
                  </a:lnTo>
                  <a:lnTo>
                    <a:pt x="988" y="1518"/>
                  </a:lnTo>
                  <a:lnTo>
                    <a:pt x="996" y="1508"/>
                  </a:lnTo>
                  <a:lnTo>
                    <a:pt x="1005" y="1499"/>
                  </a:lnTo>
                  <a:lnTo>
                    <a:pt x="1015" y="1491"/>
                  </a:lnTo>
                  <a:lnTo>
                    <a:pt x="1026" y="1484"/>
                  </a:lnTo>
                  <a:lnTo>
                    <a:pt x="1037" y="1478"/>
                  </a:lnTo>
                  <a:lnTo>
                    <a:pt x="1044" y="1475"/>
                  </a:lnTo>
                  <a:lnTo>
                    <a:pt x="1050" y="1473"/>
                  </a:lnTo>
                  <a:lnTo>
                    <a:pt x="1063" y="1469"/>
                  </a:lnTo>
                  <a:lnTo>
                    <a:pt x="1070" y="1467"/>
                  </a:lnTo>
                  <a:lnTo>
                    <a:pt x="1077" y="1466"/>
                  </a:lnTo>
                  <a:lnTo>
                    <a:pt x="1085" y="1464"/>
                  </a:lnTo>
                  <a:lnTo>
                    <a:pt x="1092" y="1464"/>
                  </a:lnTo>
                  <a:lnTo>
                    <a:pt x="1107" y="1463"/>
                  </a:lnTo>
                  <a:lnTo>
                    <a:pt x="1122" y="1464"/>
                  </a:lnTo>
                  <a:lnTo>
                    <a:pt x="1137" y="1465"/>
                  </a:lnTo>
                  <a:lnTo>
                    <a:pt x="1145" y="1466"/>
                  </a:lnTo>
                  <a:lnTo>
                    <a:pt x="1152" y="1467"/>
                  </a:lnTo>
                  <a:lnTo>
                    <a:pt x="1159" y="1468"/>
                  </a:lnTo>
                  <a:lnTo>
                    <a:pt x="1166" y="1470"/>
                  </a:lnTo>
                  <a:lnTo>
                    <a:pt x="1180" y="1474"/>
                  </a:lnTo>
                  <a:lnTo>
                    <a:pt x="1193" y="1479"/>
                  </a:lnTo>
                  <a:lnTo>
                    <a:pt x="1206" y="1484"/>
                  </a:lnTo>
                  <a:lnTo>
                    <a:pt x="1217" y="1490"/>
                  </a:lnTo>
                  <a:lnTo>
                    <a:pt x="1219" y="1492"/>
                  </a:lnTo>
                  <a:lnTo>
                    <a:pt x="1221" y="1494"/>
                  </a:lnTo>
                  <a:lnTo>
                    <a:pt x="1222" y="1496"/>
                  </a:lnTo>
                  <a:lnTo>
                    <a:pt x="1223" y="1498"/>
                  </a:lnTo>
                  <a:lnTo>
                    <a:pt x="1223" y="1502"/>
                  </a:lnTo>
                  <a:lnTo>
                    <a:pt x="1221" y="1507"/>
                  </a:lnTo>
                  <a:lnTo>
                    <a:pt x="1197" y="1562"/>
                  </a:lnTo>
                  <a:lnTo>
                    <a:pt x="1194" y="1567"/>
                  </a:lnTo>
                  <a:lnTo>
                    <a:pt x="1192" y="1569"/>
                  </a:lnTo>
                  <a:lnTo>
                    <a:pt x="1191" y="1570"/>
                  </a:lnTo>
                  <a:lnTo>
                    <a:pt x="1186" y="1570"/>
                  </a:lnTo>
                  <a:lnTo>
                    <a:pt x="1184" y="1570"/>
                  </a:lnTo>
                  <a:lnTo>
                    <a:pt x="1181" y="1569"/>
                  </a:lnTo>
                  <a:lnTo>
                    <a:pt x="1172" y="1565"/>
                  </a:lnTo>
                  <a:lnTo>
                    <a:pt x="1164" y="1561"/>
                  </a:lnTo>
                  <a:lnTo>
                    <a:pt x="1156" y="1558"/>
                  </a:lnTo>
                  <a:lnTo>
                    <a:pt x="1147" y="1555"/>
                  </a:lnTo>
                  <a:lnTo>
                    <a:pt x="1139" y="1552"/>
                  </a:lnTo>
                  <a:lnTo>
                    <a:pt x="1130" y="1551"/>
                  </a:lnTo>
                  <a:lnTo>
                    <a:pt x="1121" y="1550"/>
                  </a:lnTo>
                  <a:lnTo>
                    <a:pt x="1111" y="1549"/>
                  </a:lnTo>
                  <a:lnTo>
                    <a:pt x="1101" y="1550"/>
                  </a:lnTo>
                  <a:lnTo>
                    <a:pt x="1092" y="1552"/>
                  </a:lnTo>
                  <a:lnTo>
                    <a:pt x="1088" y="1553"/>
                  </a:lnTo>
                  <a:lnTo>
                    <a:pt x="1085" y="1555"/>
                  </a:lnTo>
                  <a:lnTo>
                    <a:pt x="1078" y="1559"/>
                  </a:lnTo>
                  <a:lnTo>
                    <a:pt x="1075" y="1561"/>
                  </a:lnTo>
                  <a:lnTo>
                    <a:pt x="1073" y="1564"/>
                  </a:lnTo>
                  <a:lnTo>
                    <a:pt x="1071" y="1567"/>
                  </a:lnTo>
                  <a:lnTo>
                    <a:pt x="1069" y="1570"/>
                  </a:lnTo>
                  <a:lnTo>
                    <a:pt x="1068" y="1573"/>
                  </a:lnTo>
                  <a:lnTo>
                    <a:pt x="1067" y="1576"/>
                  </a:lnTo>
                  <a:lnTo>
                    <a:pt x="1067" y="1580"/>
                  </a:lnTo>
                  <a:lnTo>
                    <a:pt x="1067" y="1583"/>
                  </a:lnTo>
                  <a:lnTo>
                    <a:pt x="1067" y="1587"/>
                  </a:lnTo>
                  <a:lnTo>
                    <a:pt x="1067" y="1590"/>
                  </a:lnTo>
                  <a:lnTo>
                    <a:pt x="1069" y="1597"/>
                  </a:lnTo>
                  <a:lnTo>
                    <a:pt x="1073" y="1602"/>
                  </a:lnTo>
                  <a:lnTo>
                    <a:pt x="1075" y="1605"/>
                  </a:lnTo>
                  <a:lnTo>
                    <a:pt x="1077" y="1608"/>
                  </a:lnTo>
                  <a:lnTo>
                    <a:pt x="1080" y="1610"/>
                  </a:lnTo>
                  <a:lnTo>
                    <a:pt x="1083" y="1612"/>
                  </a:lnTo>
                  <a:lnTo>
                    <a:pt x="1090" y="1617"/>
                  </a:lnTo>
                  <a:lnTo>
                    <a:pt x="1098" y="1621"/>
                  </a:lnTo>
                  <a:lnTo>
                    <a:pt x="1108" y="1626"/>
                  </a:lnTo>
                  <a:lnTo>
                    <a:pt x="1170" y="1655"/>
                  </a:lnTo>
                  <a:lnTo>
                    <a:pt x="1178" y="1659"/>
                  </a:lnTo>
                  <a:lnTo>
                    <a:pt x="1185" y="1663"/>
                  </a:lnTo>
                  <a:lnTo>
                    <a:pt x="1193" y="1667"/>
                  </a:lnTo>
                  <a:lnTo>
                    <a:pt x="1199" y="1672"/>
                  </a:lnTo>
                  <a:lnTo>
                    <a:pt x="1206" y="1678"/>
                  </a:lnTo>
                  <a:lnTo>
                    <a:pt x="1212" y="1684"/>
                  </a:lnTo>
                  <a:lnTo>
                    <a:pt x="1217" y="1690"/>
                  </a:lnTo>
                  <a:lnTo>
                    <a:pt x="1222" y="1696"/>
                  </a:lnTo>
                  <a:lnTo>
                    <a:pt x="1225" y="1700"/>
                  </a:lnTo>
                  <a:lnTo>
                    <a:pt x="1227" y="1703"/>
                  </a:lnTo>
                  <a:lnTo>
                    <a:pt x="1231" y="1711"/>
                  </a:lnTo>
                  <a:lnTo>
                    <a:pt x="1234" y="1719"/>
                  </a:lnTo>
                  <a:lnTo>
                    <a:pt x="1237" y="1727"/>
                  </a:lnTo>
                  <a:lnTo>
                    <a:pt x="1239" y="1731"/>
                  </a:lnTo>
                  <a:lnTo>
                    <a:pt x="1240" y="1736"/>
                  </a:lnTo>
                  <a:lnTo>
                    <a:pt x="1241" y="1745"/>
                  </a:lnTo>
                  <a:lnTo>
                    <a:pt x="1242" y="1755"/>
                  </a:lnTo>
                  <a:lnTo>
                    <a:pt x="1243" y="1766"/>
                  </a:lnTo>
                  <a:lnTo>
                    <a:pt x="1243" y="1773"/>
                  </a:lnTo>
                  <a:lnTo>
                    <a:pt x="1242" y="1780"/>
                  </a:lnTo>
                  <a:lnTo>
                    <a:pt x="1240" y="1793"/>
                  </a:lnTo>
                  <a:lnTo>
                    <a:pt x="1238" y="1799"/>
                  </a:lnTo>
                  <a:lnTo>
                    <a:pt x="1236" y="1806"/>
                  </a:lnTo>
                  <a:lnTo>
                    <a:pt x="1232" y="1818"/>
                  </a:lnTo>
                  <a:lnTo>
                    <a:pt x="1229" y="1824"/>
                  </a:lnTo>
                  <a:lnTo>
                    <a:pt x="1226" y="1829"/>
                  </a:lnTo>
                  <a:lnTo>
                    <a:pt x="1222" y="1835"/>
                  </a:lnTo>
                  <a:lnTo>
                    <a:pt x="1218" y="1840"/>
                  </a:lnTo>
                  <a:lnTo>
                    <a:pt x="1214" y="1845"/>
                  </a:lnTo>
                  <a:lnTo>
                    <a:pt x="1210" y="1850"/>
                  </a:lnTo>
                  <a:lnTo>
                    <a:pt x="1206" y="1855"/>
                  </a:lnTo>
                  <a:lnTo>
                    <a:pt x="1201" y="1859"/>
                  </a:lnTo>
                  <a:lnTo>
                    <a:pt x="1196" y="1863"/>
                  </a:lnTo>
                  <a:lnTo>
                    <a:pt x="1190" y="1867"/>
                  </a:lnTo>
                  <a:lnTo>
                    <a:pt x="1179" y="1875"/>
                  </a:lnTo>
                  <a:lnTo>
                    <a:pt x="1173" y="1878"/>
                  </a:lnTo>
                  <a:lnTo>
                    <a:pt x="1166" y="1881"/>
                  </a:lnTo>
                  <a:lnTo>
                    <a:pt x="1160" y="1884"/>
                  </a:lnTo>
                  <a:lnTo>
                    <a:pt x="1153" y="1886"/>
                  </a:lnTo>
                  <a:lnTo>
                    <a:pt x="1139" y="1890"/>
                  </a:lnTo>
                  <a:lnTo>
                    <a:pt x="1132" y="1892"/>
                  </a:lnTo>
                  <a:lnTo>
                    <a:pt x="1124" y="1893"/>
                  </a:lnTo>
                  <a:lnTo>
                    <a:pt x="1117" y="1895"/>
                  </a:lnTo>
                  <a:lnTo>
                    <a:pt x="1109" y="1895"/>
                  </a:lnTo>
                  <a:lnTo>
                    <a:pt x="1093" y="1896"/>
                  </a:lnTo>
                  <a:lnTo>
                    <a:pt x="1075" y="1895"/>
                  </a:lnTo>
                  <a:lnTo>
                    <a:pt x="1066" y="1894"/>
                  </a:lnTo>
                  <a:lnTo>
                    <a:pt x="1057" y="1893"/>
                  </a:lnTo>
                  <a:lnTo>
                    <a:pt x="1048" y="1891"/>
                  </a:lnTo>
                  <a:lnTo>
                    <a:pt x="1040" y="1890"/>
                  </a:lnTo>
                  <a:lnTo>
                    <a:pt x="1031" y="1887"/>
                  </a:lnTo>
                  <a:lnTo>
                    <a:pt x="1023" y="1885"/>
                  </a:lnTo>
                  <a:lnTo>
                    <a:pt x="1007" y="1880"/>
                  </a:lnTo>
                  <a:lnTo>
                    <a:pt x="992" y="1873"/>
                  </a:lnTo>
                  <a:lnTo>
                    <a:pt x="977" y="1866"/>
                  </a:lnTo>
                  <a:lnTo>
                    <a:pt x="964" y="1859"/>
                  </a:lnTo>
                  <a:lnTo>
                    <a:pt x="961" y="1857"/>
                  </a:lnTo>
                  <a:lnTo>
                    <a:pt x="959" y="1854"/>
                  </a:lnTo>
                  <a:lnTo>
                    <a:pt x="958" y="1852"/>
                  </a:lnTo>
                  <a:lnTo>
                    <a:pt x="957" y="1850"/>
                  </a:lnTo>
                  <a:lnTo>
                    <a:pt x="958" y="1846"/>
                  </a:lnTo>
                  <a:lnTo>
                    <a:pt x="960" y="1842"/>
                  </a:lnTo>
                  <a:lnTo>
                    <a:pt x="984" y="1787"/>
                  </a:lnTo>
                  <a:lnTo>
                    <a:pt x="987" y="1782"/>
                  </a:lnTo>
                  <a:lnTo>
                    <a:pt x="989" y="1780"/>
                  </a:lnTo>
                  <a:lnTo>
                    <a:pt x="990" y="1779"/>
                  </a:lnTo>
                  <a:lnTo>
                    <a:pt x="993" y="1778"/>
                  </a:lnTo>
                  <a:lnTo>
                    <a:pt x="995" y="1778"/>
                  </a:lnTo>
                  <a:lnTo>
                    <a:pt x="997" y="1779"/>
                  </a:lnTo>
                  <a:lnTo>
                    <a:pt x="1000" y="1780"/>
                  </a:lnTo>
                  <a:lnTo>
                    <a:pt x="1012" y="1787"/>
                  </a:lnTo>
                  <a:lnTo>
                    <a:pt x="1023" y="1792"/>
                  </a:lnTo>
                  <a:lnTo>
                    <a:pt x="1034" y="1797"/>
                  </a:lnTo>
                  <a:lnTo>
                    <a:pt x="1045" y="1802"/>
                  </a:lnTo>
                  <a:lnTo>
                    <a:pt x="1056" y="1805"/>
                  </a:lnTo>
                  <a:lnTo>
                    <a:pt x="1067" y="1808"/>
                  </a:lnTo>
                  <a:lnTo>
                    <a:pt x="1079" y="1809"/>
                  </a:lnTo>
                  <a:lnTo>
                    <a:pt x="1090" y="1810"/>
                  </a:lnTo>
                  <a:close/>
                  <a:moveTo>
                    <a:pt x="512" y="1480"/>
                  </a:moveTo>
                  <a:lnTo>
                    <a:pt x="512" y="1478"/>
                  </a:lnTo>
                  <a:lnTo>
                    <a:pt x="513" y="1476"/>
                  </a:lnTo>
                  <a:lnTo>
                    <a:pt x="515" y="1473"/>
                  </a:lnTo>
                  <a:lnTo>
                    <a:pt x="516" y="1472"/>
                  </a:lnTo>
                  <a:lnTo>
                    <a:pt x="518" y="1471"/>
                  </a:lnTo>
                  <a:lnTo>
                    <a:pt x="522" y="1470"/>
                  </a:lnTo>
                  <a:lnTo>
                    <a:pt x="606" y="1470"/>
                  </a:lnTo>
                  <a:lnTo>
                    <a:pt x="609" y="1471"/>
                  </a:lnTo>
                  <a:lnTo>
                    <a:pt x="612" y="1473"/>
                  </a:lnTo>
                  <a:lnTo>
                    <a:pt x="613" y="1474"/>
                  </a:lnTo>
                  <a:lnTo>
                    <a:pt x="614" y="1476"/>
                  </a:lnTo>
                  <a:lnTo>
                    <a:pt x="614" y="1478"/>
                  </a:lnTo>
                  <a:lnTo>
                    <a:pt x="615" y="1480"/>
                  </a:lnTo>
                  <a:lnTo>
                    <a:pt x="615" y="1797"/>
                  </a:lnTo>
                  <a:lnTo>
                    <a:pt x="689" y="1797"/>
                  </a:lnTo>
                  <a:lnTo>
                    <a:pt x="693" y="1797"/>
                  </a:lnTo>
                  <a:lnTo>
                    <a:pt x="696" y="1799"/>
                  </a:lnTo>
                  <a:lnTo>
                    <a:pt x="697" y="1801"/>
                  </a:lnTo>
                  <a:lnTo>
                    <a:pt x="697" y="1803"/>
                  </a:lnTo>
                  <a:lnTo>
                    <a:pt x="698" y="1804"/>
                  </a:lnTo>
                  <a:lnTo>
                    <a:pt x="698" y="1807"/>
                  </a:lnTo>
                  <a:lnTo>
                    <a:pt x="698" y="1879"/>
                  </a:lnTo>
                  <a:lnTo>
                    <a:pt x="698" y="1881"/>
                  </a:lnTo>
                  <a:lnTo>
                    <a:pt x="697" y="1883"/>
                  </a:lnTo>
                  <a:lnTo>
                    <a:pt x="696" y="1886"/>
                  </a:lnTo>
                  <a:lnTo>
                    <a:pt x="694" y="1887"/>
                  </a:lnTo>
                  <a:lnTo>
                    <a:pt x="693" y="1888"/>
                  </a:lnTo>
                  <a:lnTo>
                    <a:pt x="691" y="1889"/>
                  </a:lnTo>
                  <a:lnTo>
                    <a:pt x="689" y="1889"/>
                  </a:lnTo>
                  <a:lnTo>
                    <a:pt x="522" y="1889"/>
                  </a:lnTo>
                  <a:lnTo>
                    <a:pt x="518" y="1888"/>
                  </a:lnTo>
                  <a:lnTo>
                    <a:pt x="515" y="1886"/>
                  </a:lnTo>
                  <a:lnTo>
                    <a:pt x="513" y="1883"/>
                  </a:lnTo>
                  <a:lnTo>
                    <a:pt x="512" y="1881"/>
                  </a:lnTo>
                  <a:lnTo>
                    <a:pt x="512" y="1879"/>
                  </a:lnTo>
                  <a:lnTo>
                    <a:pt x="512" y="1480"/>
                  </a:lnTo>
                  <a:close/>
                  <a:moveTo>
                    <a:pt x="777" y="1480"/>
                  </a:moveTo>
                  <a:lnTo>
                    <a:pt x="777" y="1478"/>
                  </a:lnTo>
                  <a:lnTo>
                    <a:pt x="778" y="1476"/>
                  </a:lnTo>
                  <a:lnTo>
                    <a:pt x="780" y="1473"/>
                  </a:lnTo>
                  <a:lnTo>
                    <a:pt x="781" y="1472"/>
                  </a:lnTo>
                  <a:lnTo>
                    <a:pt x="783" y="1471"/>
                  </a:lnTo>
                  <a:lnTo>
                    <a:pt x="787" y="1470"/>
                  </a:lnTo>
                  <a:lnTo>
                    <a:pt x="869" y="1470"/>
                  </a:lnTo>
                  <a:lnTo>
                    <a:pt x="873" y="1471"/>
                  </a:lnTo>
                  <a:lnTo>
                    <a:pt x="876" y="1473"/>
                  </a:lnTo>
                  <a:lnTo>
                    <a:pt x="878" y="1474"/>
                  </a:lnTo>
                  <a:lnTo>
                    <a:pt x="879" y="1476"/>
                  </a:lnTo>
                  <a:lnTo>
                    <a:pt x="879" y="1478"/>
                  </a:lnTo>
                  <a:lnTo>
                    <a:pt x="879" y="1480"/>
                  </a:lnTo>
                  <a:lnTo>
                    <a:pt x="879" y="1879"/>
                  </a:lnTo>
                  <a:lnTo>
                    <a:pt x="879" y="1881"/>
                  </a:lnTo>
                  <a:lnTo>
                    <a:pt x="879" y="1883"/>
                  </a:lnTo>
                  <a:lnTo>
                    <a:pt x="876" y="1886"/>
                  </a:lnTo>
                  <a:lnTo>
                    <a:pt x="875" y="1887"/>
                  </a:lnTo>
                  <a:lnTo>
                    <a:pt x="873" y="1888"/>
                  </a:lnTo>
                  <a:lnTo>
                    <a:pt x="869" y="1889"/>
                  </a:lnTo>
                  <a:lnTo>
                    <a:pt x="787" y="1889"/>
                  </a:lnTo>
                  <a:lnTo>
                    <a:pt x="783" y="1888"/>
                  </a:lnTo>
                  <a:lnTo>
                    <a:pt x="780" y="1886"/>
                  </a:lnTo>
                  <a:lnTo>
                    <a:pt x="779" y="1885"/>
                  </a:lnTo>
                  <a:lnTo>
                    <a:pt x="778" y="1883"/>
                  </a:lnTo>
                  <a:lnTo>
                    <a:pt x="777" y="1881"/>
                  </a:lnTo>
                  <a:lnTo>
                    <a:pt x="777" y="1879"/>
                  </a:lnTo>
                  <a:lnTo>
                    <a:pt x="777" y="14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038435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-log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170F58C-BD6F-4FD4-8C5B-E901260B87B4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RIA - RKL yrittäjäpäivä 1.11.202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7"/>
          <p:cNvSpPr>
            <a:spLocks noChangeAspect="1" noEditPoints="1"/>
          </p:cNvSpPr>
          <p:nvPr userDrawn="1"/>
        </p:nvSpPr>
        <p:spPr bwMode="black">
          <a:xfrm>
            <a:off x="1649971" y="2564904"/>
            <a:ext cx="1548284" cy="1728192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  <p:sp>
        <p:nvSpPr>
          <p:cNvPr id="10" name="Freeform 6"/>
          <p:cNvSpPr>
            <a:spLocks noEditPoints="1"/>
          </p:cNvSpPr>
          <p:nvPr userDrawn="1"/>
        </p:nvSpPr>
        <p:spPr bwMode="auto">
          <a:xfrm>
            <a:off x="3575720" y="2852936"/>
            <a:ext cx="1346458" cy="1146805"/>
          </a:xfrm>
          <a:custGeom>
            <a:avLst/>
            <a:gdLst>
              <a:gd name="T0" fmla="*/ 2264 w 3082"/>
              <a:gd name="T1" fmla="*/ 744 h 2625"/>
              <a:gd name="T2" fmla="*/ 2266 w 3082"/>
              <a:gd name="T3" fmla="*/ 977 h 2625"/>
              <a:gd name="T4" fmla="*/ 2059 w 3082"/>
              <a:gd name="T5" fmla="*/ 1141 h 2625"/>
              <a:gd name="T6" fmla="*/ 2128 w 3082"/>
              <a:gd name="T7" fmla="*/ 961 h 2625"/>
              <a:gd name="T8" fmla="*/ 2534 w 3082"/>
              <a:gd name="T9" fmla="*/ 737 h 2625"/>
              <a:gd name="T10" fmla="*/ 2516 w 3082"/>
              <a:gd name="T11" fmla="*/ 927 h 2625"/>
              <a:gd name="T12" fmla="*/ 2383 w 3082"/>
              <a:gd name="T13" fmla="*/ 1154 h 2625"/>
              <a:gd name="T14" fmla="*/ 2470 w 3082"/>
              <a:gd name="T15" fmla="*/ 1025 h 2625"/>
              <a:gd name="T16" fmla="*/ 733 w 3082"/>
              <a:gd name="T17" fmla="*/ 1006 h 2625"/>
              <a:gd name="T18" fmla="*/ 885 w 3082"/>
              <a:gd name="T19" fmla="*/ 1154 h 2625"/>
              <a:gd name="T20" fmla="*/ 60 w 3082"/>
              <a:gd name="T21" fmla="*/ 1150 h 2625"/>
              <a:gd name="T22" fmla="*/ 1819 w 3082"/>
              <a:gd name="T23" fmla="*/ 1010 h 2625"/>
              <a:gd name="T24" fmla="*/ 1910 w 3082"/>
              <a:gd name="T25" fmla="*/ 1155 h 2625"/>
              <a:gd name="T26" fmla="*/ 1110 w 3082"/>
              <a:gd name="T27" fmla="*/ 1070 h 2625"/>
              <a:gd name="T28" fmla="*/ 1273 w 3082"/>
              <a:gd name="T29" fmla="*/ 1060 h 2625"/>
              <a:gd name="T30" fmla="*/ 962 w 3082"/>
              <a:gd name="T31" fmla="*/ 1091 h 2625"/>
              <a:gd name="T32" fmla="*/ 1547 w 3082"/>
              <a:gd name="T33" fmla="*/ 832 h 2625"/>
              <a:gd name="T34" fmla="*/ 1673 w 3082"/>
              <a:gd name="T35" fmla="*/ 911 h 2625"/>
              <a:gd name="T36" fmla="*/ 1380 w 3082"/>
              <a:gd name="T37" fmla="*/ 739 h 2625"/>
              <a:gd name="T38" fmla="*/ 3022 w 3082"/>
              <a:gd name="T39" fmla="*/ 1141 h 2625"/>
              <a:gd name="T40" fmla="*/ 706 w 3082"/>
              <a:gd name="T41" fmla="*/ 2392 h 2625"/>
              <a:gd name="T42" fmla="*/ 702 w 3082"/>
              <a:gd name="T43" fmla="*/ 2624 h 2625"/>
              <a:gd name="T44" fmla="*/ 1320 w 3082"/>
              <a:gd name="T45" fmla="*/ 2090 h 2625"/>
              <a:gd name="T46" fmla="*/ 1026 w 3082"/>
              <a:gd name="T47" fmla="*/ 2625 h 2625"/>
              <a:gd name="T48" fmla="*/ 1151 w 3082"/>
              <a:gd name="T49" fmla="*/ 2177 h 2625"/>
              <a:gd name="T50" fmla="*/ 1200 w 3082"/>
              <a:gd name="T51" fmla="*/ 2104 h 2625"/>
              <a:gd name="T52" fmla="*/ 1429 w 3082"/>
              <a:gd name="T53" fmla="*/ 2214 h 2625"/>
              <a:gd name="T54" fmla="*/ 1980 w 3082"/>
              <a:gd name="T55" fmla="*/ 2526 h 2625"/>
              <a:gd name="T56" fmla="*/ 1928 w 3082"/>
              <a:gd name="T57" fmla="*/ 2207 h 2625"/>
              <a:gd name="T58" fmla="*/ 2141 w 3082"/>
              <a:gd name="T59" fmla="*/ 2491 h 2625"/>
              <a:gd name="T60" fmla="*/ 1928 w 3082"/>
              <a:gd name="T61" fmla="*/ 2207 h 2625"/>
              <a:gd name="T62" fmla="*/ 2436 w 3082"/>
              <a:gd name="T63" fmla="*/ 2096 h 2625"/>
              <a:gd name="T64" fmla="*/ 2188 w 3082"/>
              <a:gd name="T65" fmla="*/ 2624 h 2625"/>
              <a:gd name="T66" fmla="*/ 2236 w 3082"/>
              <a:gd name="T67" fmla="*/ 2169 h 2625"/>
              <a:gd name="T68" fmla="*/ 2314 w 3082"/>
              <a:gd name="T69" fmla="*/ 2123 h 2625"/>
              <a:gd name="T70" fmla="*/ 1320 w 3082"/>
              <a:gd name="T71" fmla="*/ 177 h 2625"/>
              <a:gd name="T72" fmla="*/ 1094 w 3082"/>
              <a:gd name="T73" fmla="*/ 230 h 2625"/>
              <a:gd name="T74" fmla="*/ 1361 w 3082"/>
              <a:gd name="T75" fmla="*/ 54 h 2625"/>
              <a:gd name="T76" fmla="*/ 1345 w 3082"/>
              <a:gd name="T77" fmla="*/ 391 h 2625"/>
              <a:gd name="T78" fmla="*/ 1007 w 3082"/>
              <a:gd name="T79" fmla="*/ 313 h 2625"/>
              <a:gd name="T80" fmla="*/ 1174 w 3082"/>
              <a:gd name="T81" fmla="*/ 2 h 2625"/>
              <a:gd name="T82" fmla="*/ 1786 w 3082"/>
              <a:gd name="T83" fmla="*/ 89 h 2625"/>
              <a:gd name="T84" fmla="*/ 1490 w 3082"/>
              <a:gd name="T85" fmla="*/ 99 h 2625"/>
              <a:gd name="T86" fmla="*/ 2149 w 3082"/>
              <a:gd name="T87" fmla="*/ 9 h 2625"/>
              <a:gd name="T88" fmla="*/ 908 w 3082"/>
              <a:gd name="T89" fmla="*/ 365 h 2625"/>
              <a:gd name="T90" fmla="*/ 816 w 3082"/>
              <a:gd name="T91" fmla="*/ 336 h 2625"/>
              <a:gd name="T92" fmla="*/ 2672 w 3082"/>
              <a:gd name="T93" fmla="*/ 1878 h 2625"/>
              <a:gd name="T94" fmla="*/ 1737 w 3082"/>
              <a:gd name="T95" fmla="*/ 1879 h 2625"/>
              <a:gd name="T96" fmla="*/ 2104 w 3082"/>
              <a:gd name="T97" fmla="*/ 1888 h 2625"/>
              <a:gd name="T98" fmla="*/ 2174 w 3082"/>
              <a:gd name="T99" fmla="*/ 1888 h 2625"/>
              <a:gd name="T100" fmla="*/ 2719 w 3082"/>
              <a:gd name="T101" fmla="*/ 1481 h 2625"/>
              <a:gd name="T102" fmla="*/ 333 w 3082"/>
              <a:gd name="T103" fmla="*/ 1634 h 2625"/>
              <a:gd name="T104" fmla="*/ 110 w 3082"/>
              <a:gd name="T105" fmla="*/ 1707 h 2625"/>
              <a:gd name="T106" fmla="*/ 383 w 3082"/>
              <a:gd name="T107" fmla="*/ 1524 h 2625"/>
              <a:gd name="T108" fmla="*/ 351 w 3082"/>
              <a:gd name="T109" fmla="*/ 1860 h 2625"/>
              <a:gd name="T110" fmla="*/ 17 w 3082"/>
              <a:gd name="T111" fmla="*/ 1766 h 2625"/>
              <a:gd name="T112" fmla="*/ 200 w 3082"/>
              <a:gd name="T113" fmla="*/ 1464 h 2625"/>
              <a:gd name="T114" fmla="*/ 974 w 3082"/>
              <a:gd name="T115" fmla="*/ 1638 h 2625"/>
              <a:gd name="T116" fmla="*/ 1221 w 3082"/>
              <a:gd name="T117" fmla="*/ 1494 h 2625"/>
              <a:gd name="T118" fmla="*/ 1083 w 3082"/>
              <a:gd name="T119" fmla="*/ 1612 h 2625"/>
              <a:gd name="T120" fmla="*/ 1173 w 3082"/>
              <a:gd name="T121" fmla="*/ 1878 h 2625"/>
              <a:gd name="T122" fmla="*/ 1067 w 3082"/>
              <a:gd name="T123" fmla="*/ 1808 h 2625"/>
              <a:gd name="T124" fmla="*/ 777 w 3082"/>
              <a:gd name="T125" fmla="*/ 1480 h 26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082" h="2625">
                <a:moveTo>
                  <a:pt x="1319" y="1480"/>
                </a:moveTo>
                <a:lnTo>
                  <a:pt x="1319" y="1478"/>
                </a:lnTo>
                <a:lnTo>
                  <a:pt x="1320" y="1476"/>
                </a:lnTo>
                <a:lnTo>
                  <a:pt x="1322" y="1473"/>
                </a:lnTo>
                <a:lnTo>
                  <a:pt x="1323" y="1472"/>
                </a:lnTo>
                <a:lnTo>
                  <a:pt x="1325" y="1471"/>
                </a:lnTo>
                <a:lnTo>
                  <a:pt x="1329" y="1470"/>
                </a:lnTo>
                <a:lnTo>
                  <a:pt x="1411" y="1470"/>
                </a:lnTo>
                <a:lnTo>
                  <a:pt x="1415" y="1471"/>
                </a:lnTo>
                <a:lnTo>
                  <a:pt x="1419" y="1473"/>
                </a:lnTo>
                <a:lnTo>
                  <a:pt x="1420" y="1474"/>
                </a:lnTo>
                <a:lnTo>
                  <a:pt x="1421" y="1476"/>
                </a:lnTo>
                <a:lnTo>
                  <a:pt x="1421" y="1478"/>
                </a:lnTo>
                <a:lnTo>
                  <a:pt x="1421" y="1480"/>
                </a:lnTo>
                <a:lnTo>
                  <a:pt x="1421" y="1879"/>
                </a:lnTo>
                <a:lnTo>
                  <a:pt x="1421" y="1881"/>
                </a:lnTo>
                <a:lnTo>
                  <a:pt x="1421" y="1883"/>
                </a:lnTo>
                <a:lnTo>
                  <a:pt x="1419" y="1886"/>
                </a:lnTo>
                <a:lnTo>
                  <a:pt x="1417" y="1887"/>
                </a:lnTo>
                <a:lnTo>
                  <a:pt x="1415" y="1888"/>
                </a:lnTo>
                <a:lnTo>
                  <a:pt x="1411" y="1889"/>
                </a:lnTo>
                <a:lnTo>
                  <a:pt x="1329" y="1889"/>
                </a:lnTo>
                <a:lnTo>
                  <a:pt x="1325" y="1888"/>
                </a:lnTo>
                <a:lnTo>
                  <a:pt x="1322" y="1886"/>
                </a:lnTo>
                <a:lnTo>
                  <a:pt x="1321" y="1885"/>
                </a:lnTo>
                <a:lnTo>
                  <a:pt x="1320" y="1883"/>
                </a:lnTo>
                <a:lnTo>
                  <a:pt x="1319" y="1881"/>
                </a:lnTo>
                <a:lnTo>
                  <a:pt x="1319" y="1879"/>
                </a:lnTo>
                <a:lnTo>
                  <a:pt x="1319" y="1480"/>
                </a:lnTo>
                <a:close/>
                <a:moveTo>
                  <a:pt x="2184" y="729"/>
                </a:moveTo>
                <a:lnTo>
                  <a:pt x="2195" y="729"/>
                </a:lnTo>
                <a:lnTo>
                  <a:pt x="2206" y="730"/>
                </a:lnTo>
                <a:lnTo>
                  <a:pt x="2217" y="731"/>
                </a:lnTo>
                <a:lnTo>
                  <a:pt x="2227" y="733"/>
                </a:lnTo>
                <a:lnTo>
                  <a:pt x="2237" y="735"/>
                </a:lnTo>
                <a:lnTo>
                  <a:pt x="2246" y="737"/>
                </a:lnTo>
                <a:lnTo>
                  <a:pt x="2253" y="739"/>
                </a:lnTo>
                <a:lnTo>
                  <a:pt x="2259" y="741"/>
                </a:lnTo>
                <a:lnTo>
                  <a:pt x="2262" y="742"/>
                </a:lnTo>
                <a:lnTo>
                  <a:pt x="2264" y="744"/>
                </a:lnTo>
                <a:lnTo>
                  <a:pt x="2265" y="745"/>
                </a:lnTo>
                <a:lnTo>
                  <a:pt x="2266" y="747"/>
                </a:lnTo>
                <a:lnTo>
                  <a:pt x="2267" y="749"/>
                </a:lnTo>
                <a:lnTo>
                  <a:pt x="2267" y="752"/>
                </a:lnTo>
                <a:lnTo>
                  <a:pt x="2267" y="757"/>
                </a:lnTo>
                <a:lnTo>
                  <a:pt x="2248" y="818"/>
                </a:lnTo>
                <a:lnTo>
                  <a:pt x="2247" y="821"/>
                </a:lnTo>
                <a:lnTo>
                  <a:pt x="2246" y="823"/>
                </a:lnTo>
                <a:lnTo>
                  <a:pt x="2245" y="825"/>
                </a:lnTo>
                <a:lnTo>
                  <a:pt x="2243" y="826"/>
                </a:lnTo>
                <a:lnTo>
                  <a:pt x="2241" y="827"/>
                </a:lnTo>
                <a:lnTo>
                  <a:pt x="2239" y="827"/>
                </a:lnTo>
                <a:lnTo>
                  <a:pt x="2233" y="827"/>
                </a:lnTo>
                <a:lnTo>
                  <a:pt x="2223" y="823"/>
                </a:lnTo>
                <a:lnTo>
                  <a:pt x="2213" y="821"/>
                </a:lnTo>
                <a:lnTo>
                  <a:pt x="2204" y="819"/>
                </a:lnTo>
                <a:lnTo>
                  <a:pt x="2194" y="818"/>
                </a:lnTo>
                <a:lnTo>
                  <a:pt x="2188" y="819"/>
                </a:lnTo>
                <a:lnTo>
                  <a:pt x="2185" y="819"/>
                </a:lnTo>
                <a:lnTo>
                  <a:pt x="2182" y="820"/>
                </a:lnTo>
                <a:lnTo>
                  <a:pt x="2180" y="821"/>
                </a:lnTo>
                <a:lnTo>
                  <a:pt x="2177" y="823"/>
                </a:lnTo>
                <a:lnTo>
                  <a:pt x="2173" y="826"/>
                </a:lnTo>
                <a:lnTo>
                  <a:pt x="2170" y="829"/>
                </a:lnTo>
                <a:lnTo>
                  <a:pt x="2169" y="831"/>
                </a:lnTo>
                <a:lnTo>
                  <a:pt x="2168" y="834"/>
                </a:lnTo>
                <a:lnTo>
                  <a:pt x="2166" y="839"/>
                </a:lnTo>
                <a:lnTo>
                  <a:pt x="2166" y="844"/>
                </a:lnTo>
                <a:lnTo>
                  <a:pt x="2167" y="850"/>
                </a:lnTo>
                <a:lnTo>
                  <a:pt x="2168" y="856"/>
                </a:lnTo>
                <a:lnTo>
                  <a:pt x="2171" y="862"/>
                </a:lnTo>
                <a:lnTo>
                  <a:pt x="2175" y="867"/>
                </a:lnTo>
                <a:lnTo>
                  <a:pt x="2179" y="872"/>
                </a:lnTo>
                <a:lnTo>
                  <a:pt x="2184" y="878"/>
                </a:lnTo>
                <a:lnTo>
                  <a:pt x="2195" y="890"/>
                </a:lnTo>
                <a:lnTo>
                  <a:pt x="2228" y="927"/>
                </a:lnTo>
                <a:lnTo>
                  <a:pt x="2238" y="938"/>
                </a:lnTo>
                <a:lnTo>
                  <a:pt x="2248" y="950"/>
                </a:lnTo>
                <a:lnTo>
                  <a:pt x="2257" y="963"/>
                </a:lnTo>
                <a:lnTo>
                  <a:pt x="2266" y="977"/>
                </a:lnTo>
                <a:lnTo>
                  <a:pt x="2270" y="985"/>
                </a:lnTo>
                <a:lnTo>
                  <a:pt x="2273" y="992"/>
                </a:lnTo>
                <a:lnTo>
                  <a:pt x="2276" y="1000"/>
                </a:lnTo>
                <a:lnTo>
                  <a:pt x="2279" y="1007"/>
                </a:lnTo>
                <a:lnTo>
                  <a:pt x="2281" y="1015"/>
                </a:lnTo>
                <a:lnTo>
                  <a:pt x="2282" y="1023"/>
                </a:lnTo>
                <a:lnTo>
                  <a:pt x="2283" y="1031"/>
                </a:lnTo>
                <a:lnTo>
                  <a:pt x="2284" y="1039"/>
                </a:lnTo>
                <a:lnTo>
                  <a:pt x="2284" y="1047"/>
                </a:lnTo>
                <a:lnTo>
                  <a:pt x="2283" y="1054"/>
                </a:lnTo>
                <a:lnTo>
                  <a:pt x="2282" y="1061"/>
                </a:lnTo>
                <a:lnTo>
                  <a:pt x="2281" y="1068"/>
                </a:lnTo>
                <a:lnTo>
                  <a:pt x="2280" y="1075"/>
                </a:lnTo>
                <a:lnTo>
                  <a:pt x="2278" y="1081"/>
                </a:lnTo>
                <a:lnTo>
                  <a:pt x="2274" y="1093"/>
                </a:lnTo>
                <a:lnTo>
                  <a:pt x="2268" y="1104"/>
                </a:lnTo>
                <a:lnTo>
                  <a:pt x="2265" y="1109"/>
                </a:lnTo>
                <a:lnTo>
                  <a:pt x="2262" y="1114"/>
                </a:lnTo>
                <a:lnTo>
                  <a:pt x="2258" y="1119"/>
                </a:lnTo>
                <a:lnTo>
                  <a:pt x="2255" y="1123"/>
                </a:lnTo>
                <a:lnTo>
                  <a:pt x="2246" y="1131"/>
                </a:lnTo>
                <a:lnTo>
                  <a:pt x="2237" y="1139"/>
                </a:lnTo>
                <a:lnTo>
                  <a:pt x="2227" y="1145"/>
                </a:lnTo>
                <a:lnTo>
                  <a:pt x="2217" y="1150"/>
                </a:lnTo>
                <a:lnTo>
                  <a:pt x="2205" y="1154"/>
                </a:lnTo>
                <a:lnTo>
                  <a:pt x="2193" y="1158"/>
                </a:lnTo>
                <a:lnTo>
                  <a:pt x="2187" y="1159"/>
                </a:lnTo>
                <a:lnTo>
                  <a:pt x="2181" y="1160"/>
                </a:lnTo>
                <a:lnTo>
                  <a:pt x="2168" y="1161"/>
                </a:lnTo>
                <a:lnTo>
                  <a:pt x="2155" y="1162"/>
                </a:lnTo>
                <a:lnTo>
                  <a:pt x="2143" y="1162"/>
                </a:lnTo>
                <a:lnTo>
                  <a:pt x="2131" y="1161"/>
                </a:lnTo>
                <a:lnTo>
                  <a:pt x="2118" y="1159"/>
                </a:lnTo>
                <a:lnTo>
                  <a:pt x="2106" y="1157"/>
                </a:lnTo>
                <a:lnTo>
                  <a:pt x="2094" y="1154"/>
                </a:lnTo>
                <a:lnTo>
                  <a:pt x="2083" y="1151"/>
                </a:lnTo>
                <a:lnTo>
                  <a:pt x="2073" y="1148"/>
                </a:lnTo>
                <a:lnTo>
                  <a:pt x="2064" y="1144"/>
                </a:lnTo>
                <a:lnTo>
                  <a:pt x="2062" y="1143"/>
                </a:lnTo>
                <a:lnTo>
                  <a:pt x="2059" y="1141"/>
                </a:lnTo>
                <a:lnTo>
                  <a:pt x="2058" y="1140"/>
                </a:lnTo>
                <a:lnTo>
                  <a:pt x="2057" y="1138"/>
                </a:lnTo>
                <a:lnTo>
                  <a:pt x="2057" y="1136"/>
                </a:lnTo>
                <a:lnTo>
                  <a:pt x="2056" y="1134"/>
                </a:lnTo>
                <a:lnTo>
                  <a:pt x="2057" y="1131"/>
                </a:lnTo>
                <a:lnTo>
                  <a:pt x="2077" y="1065"/>
                </a:lnTo>
                <a:lnTo>
                  <a:pt x="2078" y="1062"/>
                </a:lnTo>
                <a:lnTo>
                  <a:pt x="2079" y="1060"/>
                </a:lnTo>
                <a:lnTo>
                  <a:pt x="2080" y="1058"/>
                </a:lnTo>
                <a:lnTo>
                  <a:pt x="2082" y="1057"/>
                </a:lnTo>
                <a:lnTo>
                  <a:pt x="2084" y="1057"/>
                </a:lnTo>
                <a:lnTo>
                  <a:pt x="2086" y="1057"/>
                </a:lnTo>
                <a:lnTo>
                  <a:pt x="2088" y="1057"/>
                </a:lnTo>
                <a:lnTo>
                  <a:pt x="2091" y="1058"/>
                </a:lnTo>
                <a:lnTo>
                  <a:pt x="2098" y="1062"/>
                </a:lnTo>
                <a:lnTo>
                  <a:pt x="2106" y="1064"/>
                </a:lnTo>
                <a:lnTo>
                  <a:pt x="2113" y="1067"/>
                </a:lnTo>
                <a:lnTo>
                  <a:pt x="2120" y="1069"/>
                </a:lnTo>
                <a:lnTo>
                  <a:pt x="2128" y="1070"/>
                </a:lnTo>
                <a:lnTo>
                  <a:pt x="2135" y="1071"/>
                </a:lnTo>
                <a:lnTo>
                  <a:pt x="2142" y="1072"/>
                </a:lnTo>
                <a:lnTo>
                  <a:pt x="2148" y="1072"/>
                </a:lnTo>
                <a:lnTo>
                  <a:pt x="2157" y="1071"/>
                </a:lnTo>
                <a:lnTo>
                  <a:pt x="2161" y="1071"/>
                </a:lnTo>
                <a:lnTo>
                  <a:pt x="2165" y="1070"/>
                </a:lnTo>
                <a:lnTo>
                  <a:pt x="2171" y="1067"/>
                </a:lnTo>
                <a:lnTo>
                  <a:pt x="2176" y="1064"/>
                </a:lnTo>
                <a:lnTo>
                  <a:pt x="2180" y="1060"/>
                </a:lnTo>
                <a:lnTo>
                  <a:pt x="2182" y="1057"/>
                </a:lnTo>
                <a:lnTo>
                  <a:pt x="2183" y="1055"/>
                </a:lnTo>
                <a:lnTo>
                  <a:pt x="2185" y="1049"/>
                </a:lnTo>
                <a:lnTo>
                  <a:pt x="2186" y="1042"/>
                </a:lnTo>
                <a:lnTo>
                  <a:pt x="2185" y="1037"/>
                </a:lnTo>
                <a:lnTo>
                  <a:pt x="2184" y="1031"/>
                </a:lnTo>
                <a:lnTo>
                  <a:pt x="2181" y="1025"/>
                </a:lnTo>
                <a:lnTo>
                  <a:pt x="2178" y="1020"/>
                </a:lnTo>
                <a:lnTo>
                  <a:pt x="2175" y="1014"/>
                </a:lnTo>
                <a:lnTo>
                  <a:pt x="2170" y="1008"/>
                </a:lnTo>
                <a:lnTo>
                  <a:pt x="2161" y="997"/>
                </a:lnTo>
                <a:lnTo>
                  <a:pt x="2128" y="961"/>
                </a:lnTo>
                <a:lnTo>
                  <a:pt x="2116" y="948"/>
                </a:lnTo>
                <a:lnTo>
                  <a:pt x="2106" y="935"/>
                </a:lnTo>
                <a:lnTo>
                  <a:pt x="2095" y="922"/>
                </a:lnTo>
                <a:lnTo>
                  <a:pt x="2091" y="915"/>
                </a:lnTo>
                <a:lnTo>
                  <a:pt x="2086" y="908"/>
                </a:lnTo>
                <a:lnTo>
                  <a:pt x="2082" y="900"/>
                </a:lnTo>
                <a:lnTo>
                  <a:pt x="2079" y="893"/>
                </a:lnTo>
                <a:lnTo>
                  <a:pt x="2076" y="885"/>
                </a:lnTo>
                <a:lnTo>
                  <a:pt x="2073" y="877"/>
                </a:lnTo>
                <a:lnTo>
                  <a:pt x="2071" y="868"/>
                </a:lnTo>
                <a:lnTo>
                  <a:pt x="2070" y="864"/>
                </a:lnTo>
                <a:lnTo>
                  <a:pt x="2069" y="859"/>
                </a:lnTo>
                <a:lnTo>
                  <a:pt x="2068" y="850"/>
                </a:lnTo>
                <a:lnTo>
                  <a:pt x="2068" y="841"/>
                </a:lnTo>
                <a:lnTo>
                  <a:pt x="2068" y="829"/>
                </a:lnTo>
                <a:lnTo>
                  <a:pt x="2070" y="817"/>
                </a:lnTo>
                <a:lnTo>
                  <a:pt x="2073" y="806"/>
                </a:lnTo>
                <a:lnTo>
                  <a:pt x="2077" y="795"/>
                </a:lnTo>
                <a:lnTo>
                  <a:pt x="2081" y="785"/>
                </a:lnTo>
                <a:lnTo>
                  <a:pt x="2087" y="776"/>
                </a:lnTo>
                <a:lnTo>
                  <a:pt x="2094" y="768"/>
                </a:lnTo>
                <a:lnTo>
                  <a:pt x="2101" y="760"/>
                </a:lnTo>
                <a:lnTo>
                  <a:pt x="2105" y="756"/>
                </a:lnTo>
                <a:lnTo>
                  <a:pt x="2109" y="753"/>
                </a:lnTo>
                <a:lnTo>
                  <a:pt x="2118" y="747"/>
                </a:lnTo>
                <a:lnTo>
                  <a:pt x="2123" y="744"/>
                </a:lnTo>
                <a:lnTo>
                  <a:pt x="2128" y="741"/>
                </a:lnTo>
                <a:lnTo>
                  <a:pt x="2138" y="737"/>
                </a:lnTo>
                <a:lnTo>
                  <a:pt x="2148" y="734"/>
                </a:lnTo>
                <a:lnTo>
                  <a:pt x="2160" y="731"/>
                </a:lnTo>
                <a:lnTo>
                  <a:pt x="2166" y="730"/>
                </a:lnTo>
                <a:lnTo>
                  <a:pt x="2172" y="730"/>
                </a:lnTo>
                <a:lnTo>
                  <a:pt x="2184" y="729"/>
                </a:lnTo>
                <a:close/>
                <a:moveTo>
                  <a:pt x="2472" y="729"/>
                </a:moveTo>
                <a:lnTo>
                  <a:pt x="2483" y="729"/>
                </a:lnTo>
                <a:lnTo>
                  <a:pt x="2495" y="730"/>
                </a:lnTo>
                <a:lnTo>
                  <a:pt x="2505" y="731"/>
                </a:lnTo>
                <a:lnTo>
                  <a:pt x="2516" y="733"/>
                </a:lnTo>
                <a:lnTo>
                  <a:pt x="2525" y="735"/>
                </a:lnTo>
                <a:lnTo>
                  <a:pt x="2534" y="737"/>
                </a:lnTo>
                <a:lnTo>
                  <a:pt x="2542" y="739"/>
                </a:lnTo>
                <a:lnTo>
                  <a:pt x="2548" y="741"/>
                </a:lnTo>
                <a:lnTo>
                  <a:pt x="2550" y="742"/>
                </a:lnTo>
                <a:lnTo>
                  <a:pt x="2552" y="744"/>
                </a:lnTo>
                <a:lnTo>
                  <a:pt x="2554" y="745"/>
                </a:lnTo>
                <a:lnTo>
                  <a:pt x="2555" y="747"/>
                </a:lnTo>
                <a:lnTo>
                  <a:pt x="2555" y="749"/>
                </a:lnTo>
                <a:lnTo>
                  <a:pt x="2556" y="752"/>
                </a:lnTo>
                <a:lnTo>
                  <a:pt x="2555" y="757"/>
                </a:lnTo>
                <a:lnTo>
                  <a:pt x="2537" y="818"/>
                </a:lnTo>
                <a:lnTo>
                  <a:pt x="2536" y="821"/>
                </a:lnTo>
                <a:lnTo>
                  <a:pt x="2534" y="823"/>
                </a:lnTo>
                <a:lnTo>
                  <a:pt x="2533" y="825"/>
                </a:lnTo>
                <a:lnTo>
                  <a:pt x="2531" y="826"/>
                </a:lnTo>
                <a:lnTo>
                  <a:pt x="2529" y="827"/>
                </a:lnTo>
                <a:lnTo>
                  <a:pt x="2527" y="827"/>
                </a:lnTo>
                <a:lnTo>
                  <a:pt x="2522" y="827"/>
                </a:lnTo>
                <a:lnTo>
                  <a:pt x="2511" y="823"/>
                </a:lnTo>
                <a:lnTo>
                  <a:pt x="2501" y="821"/>
                </a:lnTo>
                <a:lnTo>
                  <a:pt x="2492" y="819"/>
                </a:lnTo>
                <a:lnTo>
                  <a:pt x="2483" y="818"/>
                </a:lnTo>
                <a:lnTo>
                  <a:pt x="2476" y="819"/>
                </a:lnTo>
                <a:lnTo>
                  <a:pt x="2473" y="819"/>
                </a:lnTo>
                <a:lnTo>
                  <a:pt x="2471" y="820"/>
                </a:lnTo>
                <a:lnTo>
                  <a:pt x="2468" y="821"/>
                </a:lnTo>
                <a:lnTo>
                  <a:pt x="2466" y="823"/>
                </a:lnTo>
                <a:lnTo>
                  <a:pt x="2462" y="826"/>
                </a:lnTo>
                <a:lnTo>
                  <a:pt x="2459" y="829"/>
                </a:lnTo>
                <a:lnTo>
                  <a:pt x="2457" y="831"/>
                </a:lnTo>
                <a:lnTo>
                  <a:pt x="2456" y="834"/>
                </a:lnTo>
                <a:lnTo>
                  <a:pt x="2455" y="839"/>
                </a:lnTo>
                <a:lnTo>
                  <a:pt x="2454" y="844"/>
                </a:lnTo>
                <a:lnTo>
                  <a:pt x="2455" y="850"/>
                </a:lnTo>
                <a:lnTo>
                  <a:pt x="2457" y="856"/>
                </a:lnTo>
                <a:lnTo>
                  <a:pt x="2459" y="862"/>
                </a:lnTo>
                <a:lnTo>
                  <a:pt x="2463" y="867"/>
                </a:lnTo>
                <a:lnTo>
                  <a:pt x="2467" y="872"/>
                </a:lnTo>
                <a:lnTo>
                  <a:pt x="2472" y="878"/>
                </a:lnTo>
                <a:lnTo>
                  <a:pt x="2483" y="890"/>
                </a:lnTo>
                <a:lnTo>
                  <a:pt x="2516" y="927"/>
                </a:lnTo>
                <a:lnTo>
                  <a:pt x="2526" y="938"/>
                </a:lnTo>
                <a:lnTo>
                  <a:pt x="2536" y="950"/>
                </a:lnTo>
                <a:lnTo>
                  <a:pt x="2546" y="963"/>
                </a:lnTo>
                <a:lnTo>
                  <a:pt x="2554" y="977"/>
                </a:lnTo>
                <a:lnTo>
                  <a:pt x="2558" y="985"/>
                </a:lnTo>
                <a:lnTo>
                  <a:pt x="2561" y="992"/>
                </a:lnTo>
                <a:lnTo>
                  <a:pt x="2564" y="1000"/>
                </a:lnTo>
                <a:lnTo>
                  <a:pt x="2567" y="1007"/>
                </a:lnTo>
                <a:lnTo>
                  <a:pt x="2569" y="1015"/>
                </a:lnTo>
                <a:lnTo>
                  <a:pt x="2571" y="1023"/>
                </a:lnTo>
                <a:lnTo>
                  <a:pt x="2572" y="1031"/>
                </a:lnTo>
                <a:lnTo>
                  <a:pt x="2572" y="1039"/>
                </a:lnTo>
                <a:lnTo>
                  <a:pt x="2572" y="1047"/>
                </a:lnTo>
                <a:lnTo>
                  <a:pt x="2571" y="1054"/>
                </a:lnTo>
                <a:lnTo>
                  <a:pt x="2571" y="1061"/>
                </a:lnTo>
                <a:lnTo>
                  <a:pt x="2569" y="1068"/>
                </a:lnTo>
                <a:lnTo>
                  <a:pt x="2568" y="1075"/>
                </a:lnTo>
                <a:lnTo>
                  <a:pt x="2566" y="1081"/>
                </a:lnTo>
                <a:lnTo>
                  <a:pt x="2562" y="1093"/>
                </a:lnTo>
                <a:lnTo>
                  <a:pt x="2557" y="1104"/>
                </a:lnTo>
                <a:lnTo>
                  <a:pt x="2554" y="1109"/>
                </a:lnTo>
                <a:lnTo>
                  <a:pt x="2550" y="1114"/>
                </a:lnTo>
                <a:lnTo>
                  <a:pt x="2547" y="1119"/>
                </a:lnTo>
                <a:lnTo>
                  <a:pt x="2543" y="1123"/>
                </a:lnTo>
                <a:lnTo>
                  <a:pt x="2535" y="1131"/>
                </a:lnTo>
                <a:lnTo>
                  <a:pt x="2526" y="1139"/>
                </a:lnTo>
                <a:lnTo>
                  <a:pt x="2516" y="1145"/>
                </a:lnTo>
                <a:lnTo>
                  <a:pt x="2510" y="1148"/>
                </a:lnTo>
                <a:lnTo>
                  <a:pt x="2505" y="1150"/>
                </a:lnTo>
                <a:lnTo>
                  <a:pt x="2494" y="1154"/>
                </a:lnTo>
                <a:lnTo>
                  <a:pt x="2482" y="1158"/>
                </a:lnTo>
                <a:lnTo>
                  <a:pt x="2476" y="1159"/>
                </a:lnTo>
                <a:lnTo>
                  <a:pt x="2469" y="1160"/>
                </a:lnTo>
                <a:lnTo>
                  <a:pt x="2456" y="1161"/>
                </a:lnTo>
                <a:lnTo>
                  <a:pt x="2443" y="1162"/>
                </a:lnTo>
                <a:lnTo>
                  <a:pt x="2431" y="1162"/>
                </a:lnTo>
                <a:lnTo>
                  <a:pt x="2419" y="1161"/>
                </a:lnTo>
                <a:lnTo>
                  <a:pt x="2407" y="1159"/>
                </a:lnTo>
                <a:lnTo>
                  <a:pt x="2395" y="1157"/>
                </a:lnTo>
                <a:lnTo>
                  <a:pt x="2383" y="1154"/>
                </a:lnTo>
                <a:lnTo>
                  <a:pt x="2372" y="1151"/>
                </a:lnTo>
                <a:lnTo>
                  <a:pt x="2362" y="1148"/>
                </a:lnTo>
                <a:lnTo>
                  <a:pt x="2353" y="1144"/>
                </a:lnTo>
                <a:lnTo>
                  <a:pt x="2350" y="1143"/>
                </a:lnTo>
                <a:lnTo>
                  <a:pt x="2348" y="1141"/>
                </a:lnTo>
                <a:lnTo>
                  <a:pt x="2346" y="1140"/>
                </a:lnTo>
                <a:lnTo>
                  <a:pt x="2345" y="1138"/>
                </a:lnTo>
                <a:lnTo>
                  <a:pt x="2345" y="1136"/>
                </a:lnTo>
                <a:lnTo>
                  <a:pt x="2345" y="1134"/>
                </a:lnTo>
                <a:lnTo>
                  <a:pt x="2346" y="1131"/>
                </a:lnTo>
                <a:lnTo>
                  <a:pt x="2365" y="1065"/>
                </a:lnTo>
                <a:lnTo>
                  <a:pt x="2366" y="1062"/>
                </a:lnTo>
                <a:lnTo>
                  <a:pt x="2367" y="1060"/>
                </a:lnTo>
                <a:lnTo>
                  <a:pt x="2369" y="1058"/>
                </a:lnTo>
                <a:lnTo>
                  <a:pt x="2370" y="1057"/>
                </a:lnTo>
                <a:lnTo>
                  <a:pt x="2372" y="1057"/>
                </a:lnTo>
                <a:lnTo>
                  <a:pt x="2374" y="1057"/>
                </a:lnTo>
                <a:lnTo>
                  <a:pt x="2377" y="1057"/>
                </a:lnTo>
                <a:lnTo>
                  <a:pt x="2379" y="1058"/>
                </a:lnTo>
                <a:lnTo>
                  <a:pt x="2387" y="1062"/>
                </a:lnTo>
                <a:lnTo>
                  <a:pt x="2394" y="1064"/>
                </a:lnTo>
                <a:lnTo>
                  <a:pt x="2401" y="1067"/>
                </a:lnTo>
                <a:lnTo>
                  <a:pt x="2409" y="1069"/>
                </a:lnTo>
                <a:lnTo>
                  <a:pt x="2416" y="1070"/>
                </a:lnTo>
                <a:lnTo>
                  <a:pt x="2423" y="1071"/>
                </a:lnTo>
                <a:lnTo>
                  <a:pt x="2430" y="1072"/>
                </a:lnTo>
                <a:lnTo>
                  <a:pt x="2437" y="1072"/>
                </a:lnTo>
                <a:lnTo>
                  <a:pt x="2446" y="1071"/>
                </a:lnTo>
                <a:lnTo>
                  <a:pt x="2449" y="1071"/>
                </a:lnTo>
                <a:lnTo>
                  <a:pt x="2453" y="1070"/>
                </a:lnTo>
                <a:lnTo>
                  <a:pt x="2460" y="1067"/>
                </a:lnTo>
                <a:lnTo>
                  <a:pt x="2465" y="1064"/>
                </a:lnTo>
                <a:lnTo>
                  <a:pt x="2469" y="1060"/>
                </a:lnTo>
                <a:lnTo>
                  <a:pt x="2470" y="1057"/>
                </a:lnTo>
                <a:lnTo>
                  <a:pt x="2472" y="1055"/>
                </a:lnTo>
                <a:lnTo>
                  <a:pt x="2473" y="1049"/>
                </a:lnTo>
                <a:lnTo>
                  <a:pt x="2474" y="1042"/>
                </a:lnTo>
                <a:lnTo>
                  <a:pt x="2473" y="1037"/>
                </a:lnTo>
                <a:lnTo>
                  <a:pt x="2472" y="1031"/>
                </a:lnTo>
                <a:lnTo>
                  <a:pt x="2470" y="1025"/>
                </a:lnTo>
                <a:lnTo>
                  <a:pt x="2467" y="1020"/>
                </a:lnTo>
                <a:lnTo>
                  <a:pt x="2463" y="1014"/>
                </a:lnTo>
                <a:lnTo>
                  <a:pt x="2459" y="1008"/>
                </a:lnTo>
                <a:lnTo>
                  <a:pt x="2449" y="997"/>
                </a:lnTo>
                <a:lnTo>
                  <a:pt x="2416" y="961"/>
                </a:lnTo>
                <a:lnTo>
                  <a:pt x="2405" y="948"/>
                </a:lnTo>
                <a:lnTo>
                  <a:pt x="2394" y="935"/>
                </a:lnTo>
                <a:lnTo>
                  <a:pt x="2384" y="922"/>
                </a:lnTo>
                <a:lnTo>
                  <a:pt x="2379" y="915"/>
                </a:lnTo>
                <a:lnTo>
                  <a:pt x="2375" y="908"/>
                </a:lnTo>
                <a:lnTo>
                  <a:pt x="2371" y="900"/>
                </a:lnTo>
                <a:lnTo>
                  <a:pt x="2367" y="893"/>
                </a:lnTo>
                <a:lnTo>
                  <a:pt x="2364" y="885"/>
                </a:lnTo>
                <a:lnTo>
                  <a:pt x="2361" y="877"/>
                </a:lnTo>
                <a:lnTo>
                  <a:pt x="2359" y="868"/>
                </a:lnTo>
                <a:lnTo>
                  <a:pt x="2358" y="864"/>
                </a:lnTo>
                <a:lnTo>
                  <a:pt x="2358" y="859"/>
                </a:lnTo>
                <a:lnTo>
                  <a:pt x="2357" y="850"/>
                </a:lnTo>
                <a:lnTo>
                  <a:pt x="2356" y="841"/>
                </a:lnTo>
                <a:lnTo>
                  <a:pt x="2357" y="829"/>
                </a:lnTo>
                <a:lnTo>
                  <a:pt x="2358" y="817"/>
                </a:lnTo>
                <a:lnTo>
                  <a:pt x="2361" y="806"/>
                </a:lnTo>
                <a:lnTo>
                  <a:pt x="2365" y="795"/>
                </a:lnTo>
                <a:lnTo>
                  <a:pt x="2370" y="785"/>
                </a:lnTo>
                <a:lnTo>
                  <a:pt x="2375" y="776"/>
                </a:lnTo>
                <a:lnTo>
                  <a:pt x="2382" y="768"/>
                </a:lnTo>
                <a:lnTo>
                  <a:pt x="2389" y="760"/>
                </a:lnTo>
                <a:lnTo>
                  <a:pt x="2393" y="756"/>
                </a:lnTo>
                <a:lnTo>
                  <a:pt x="2397" y="753"/>
                </a:lnTo>
                <a:lnTo>
                  <a:pt x="2406" y="747"/>
                </a:lnTo>
                <a:lnTo>
                  <a:pt x="2411" y="744"/>
                </a:lnTo>
                <a:lnTo>
                  <a:pt x="2416" y="741"/>
                </a:lnTo>
                <a:lnTo>
                  <a:pt x="2426" y="737"/>
                </a:lnTo>
                <a:lnTo>
                  <a:pt x="2437" y="734"/>
                </a:lnTo>
                <a:lnTo>
                  <a:pt x="2448" y="731"/>
                </a:lnTo>
                <a:lnTo>
                  <a:pt x="2454" y="730"/>
                </a:lnTo>
                <a:lnTo>
                  <a:pt x="2460" y="730"/>
                </a:lnTo>
                <a:lnTo>
                  <a:pt x="2472" y="729"/>
                </a:lnTo>
                <a:close/>
                <a:moveTo>
                  <a:pt x="633" y="1006"/>
                </a:moveTo>
                <a:lnTo>
                  <a:pt x="733" y="1006"/>
                </a:lnTo>
                <a:lnTo>
                  <a:pt x="683" y="875"/>
                </a:lnTo>
                <a:lnTo>
                  <a:pt x="633" y="1006"/>
                </a:lnTo>
                <a:close/>
                <a:moveTo>
                  <a:pt x="763" y="1088"/>
                </a:moveTo>
                <a:lnTo>
                  <a:pt x="603" y="1088"/>
                </a:lnTo>
                <a:lnTo>
                  <a:pt x="581" y="1145"/>
                </a:lnTo>
                <a:lnTo>
                  <a:pt x="580" y="1148"/>
                </a:lnTo>
                <a:lnTo>
                  <a:pt x="579" y="1150"/>
                </a:lnTo>
                <a:lnTo>
                  <a:pt x="577" y="1151"/>
                </a:lnTo>
                <a:lnTo>
                  <a:pt x="576" y="1153"/>
                </a:lnTo>
                <a:lnTo>
                  <a:pt x="572" y="1154"/>
                </a:lnTo>
                <a:lnTo>
                  <a:pt x="568" y="1155"/>
                </a:lnTo>
                <a:lnTo>
                  <a:pt x="489" y="1155"/>
                </a:lnTo>
                <a:lnTo>
                  <a:pt x="486" y="1155"/>
                </a:lnTo>
                <a:lnTo>
                  <a:pt x="484" y="1154"/>
                </a:lnTo>
                <a:lnTo>
                  <a:pt x="482" y="1153"/>
                </a:lnTo>
                <a:lnTo>
                  <a:pt x="481" y="1151"/>
                </a:lnTo>
                <a:lnTo>
                  <a:pt x="479" y="1149"/>
                </a:lnTo>
                <a:lnTo>
                  <a:pt x="479" y="1147"/>
                </a:lnTo>
                <a:lnTo>
                  <a:pt x="479" y="1144"/>
                </a:lnTo>
                <a:lnTo>
                  <a:pt x="480" y="1141"/>
                </a:lnTo>
                <a:lnTo>
                  <a:pt x="636" y="746"/>
                </a:lnTo>
                <a:lnTo>
                  <a:pt x="637" y="743"/>
                </a:lnTo>
                <a:lnTo>
                  <a:pt x="638" y="741"/>
                </a:lnTo>
                <a:lnTo>
                  <a:pt x="641" y="738"/>
                </a:lnTo>
                <a:lnTo>
                  <a:pt x="645" y="737"/>
                </a:lnTo>
                <a:lnTo>
                  <a:pt x="647" y="736"/>
                </a:lnTo>
                <a:lnTo>
                  <a:pt x="649" y="736"/>
                </a:lnTo>
                <a:lnTo>
                  <a:pt x="719" y="736"/>
                </a:lnTo>
                <a:lnTo>
                  <a:pt x="724" y="737"/>
                </a:lnTo>
                <a:lnTo>
                  <a:pt x="728" y="738"/>
                </a:lnTo>
                <a:lnTo>
                  <a:pt x="730" y="741"/>
                </a:lnTo>
                <a:lnTo>
                  <a:pt x="732" y="743"/>
                </a:lnTo>
                <a:lnTo>
                  <a:pt x="733" y="746"/>
                </a:lnTo>
                <a:lnTo>
                  <a:pt x="889" y="1141"/>
                </a:lnTo>
                <a:lnTo>
                  <a:pt x="890" y="1144"/>
                </a:lnTo>
                <a:lnTo>
                  <a:pt x="890" y="1147"/>
                </a:lnTo>
                <a:lnTo>
                  <a:pt x="890" y="1149"/>
                </a:lnTo>
                <a:lnTo>
                  <a:pt x="889" y="1151"/>
                </a:lnTo>
                <a:lnTo>
                  <a:pt x="887" y="1153"/>
                </a:lnTo>
                <a:lnTo>
                  <a:pt x="885" y="1154"/>
                </a:lnTo>
                <a:lnTo>
                  <a:pt x="883" y="1155"/>
                </a:lnTo>
                <a:lnTo>
                  <a:pt x="880" y="1155"/>
                </a:lnTo>
                <a:lnTo>
                  <a:pt x="800" y="1155"/>
                </a:lnTo>
                <a:lnTo>
                  <a:pt x="796" y="1154"/>
                </a:lnTo>
                <a:lnTo>
                  <a:pt x="794" y="1154"/>
                </a:lnTo>
                <a:lnTo>
                  <a:pt x="792" y="1153"/>
                </a:lnTo>
                <a:lnTo>
                  <a:pt x="790" y="1151"/>
                </a:lnTo>
                <a:lnTo>
                  <a:pt x="788" y="1150"/>
                </a:lnTo>
                <a:lnTo>
                  <a:pt x="787" y="1148"/>
                </a:lnTo>
                <a:lnTo>
                  <a:pt x="786" y="1145"/>
                </a:lnTo>
                <a:lnTo>
                  <a:pt x="763" y="1088"/>
                </a:lnTo>
                <a:close/>
                <a:moveTo>
                  <a:pt x="292" y="912"/>
                </a:moveTo>
                <a:lnTo>
                  <a:pt x="428" y="1142"/>
                </a:lnTo>
                <a:lnTo>
                  <a:pt x="429" y="1144"/>
                </a:lnTo>
                <a:lnTo>
                  <a:pt x="429" y="1146"/>
                </a:lnTo>
                <a:lnTo>
                  <a:pt x="429" y="1148"/>
                </a:lnTo>
                <a:lnTo>
                  <a:pt x="429" y="1150"/>
                </a:lnTo>
                <a:lnTo>
                  <a:pt x="428" y="1152"/>
                </a:lnTo>
                <a:lnTo>
                  <a:pt x="426" y="1154"/>
                </a:lnTo>
                <a:lnTo>
                  <a:pt x="424" y="1154"/>
                </a:lnTo>
                <a:lnTo>
                  <a:pt x="421" y="1155"/>
                </a:lnTo>
                <a:lnTo>
                  <a:pt x="325" y="1155"/>
                </a:lnTo>
                <a:lnTo>
                  <a:pt x="321" y="1154"/>
                </a:lnTo>
                <a:lnTo>
                  <a:pt x="316" y="1152"/>
                </a:lnTo>
                <a:lnTo>
                  <a:pt x="315" y="1151"/>
                </a:lnTo>
                <a:lnTo>
                  <a:pt x="313" y="1150"/>
                </a:lnTo>
                <a:lnTo>
                  <a:pt x="310" y="1145"/>
                </a:lnTo>
                <a:lnTo>
                  <a:pt x="214" y="979"/>
                </a:lnTo>
                <a:lnTo>
                  <a:pt x="161" y="1044"/>
                </a:lnTo>
                <a:lnTo>
                  <a:pt x="161" y="1145"/>
                </a:lnTo>
                <a:lnTo>
                  <a:pt x="161" y="1147"/>
                </a:lnTo>
                <a:lnTo>
                  <a:pt x="160" y="1149"/>
                </a:lnTo>
                <a:lnTo>
                  <a:pt x="158" y="1152"/>
                </a:lnTo>
                <a:lnTo>
                  <a:pt x="157" y="1153"/>
                </a:lnTo>
                <a:lnTo>
                  <a:pt x="155" y="1154"/>
                </a:lnTo>
                <a:lnTo>
                  <a:pt x="151" y="1155"/>
                </a:lnTo>
                <a:lnTo>
                  <a:pt x="69" y="1155"/>
                </a:lnTo>
                <a:lnTo>
                  <a:pt x="65" y="1154"/>
                </a:lnTo>
                <a:lnTo>
                  <a:pt x="62" y="1152"/>
                </a:lnTo>
                <a:lnTo>
                  <a:pt x="60" y="1150"/>
                </a:lnTo>
                <a:lnTo>
                  <a:pt x="60" y="1149"/>
                </a:lnTo>
                <a:lnTo>
                  <a:pt x="59" y="1147"/>
                </a:lnTo>
                <a:lnTo>
                  <a:pt x="59" y="1145"/>
                </a:lnTo>
                <a:lnTo>
                  <a:pt x="59" y="746"/>
                </a:lnTo>
                <a:lnTo>
                  <a:pt x="59" y="744"/>
                </a:lnTo>
                <a:lnTo>
                  <a:pt x="60" y="742"/>
                </a:lnTo>
                <a:lnTo>
                  <a:pt x="62" y="739"/>
                </a:lnTo>
                <a:lnTo>
                  <a:pt x="63" y="738"/>
                </a:lnTo>
                <a:lnTo>
                  <a:pt x="65" y="737"/>
                </a:lnTo>
                <a:lnTo>
                  <a:pt x="69" y="736"/>
                </a:lnTo>
                <a:lnTo>
                  <a:pt x="151" y="736"/>
                </a:lnTo>
                <a:lnTo>
                  <a:pt x="155" y="737"/>
                </a:lnTo>
                <a:lnTo>
                  <a:pt x="158" y="739"/>
                </a:lnTo>
                <a:lnTo>
                  <a:pt x="159" y="740"/>
                </a:lnTo>
                <a:lnTo>
                  <a:pt x="160" y="742"/>
                </a:lnTo>
                <a:lnTo>
                  <a:pt x="161" y="744"/>
                </a:lnTo>
                <a:lnTo>
                  <a:pt x="161" y="746"/>
                </a:lnTo>
                <a:lnTo>
                  <a:pt x="161" y="921"/>
                </a:lnTo>
                <a:lnTo>
                  <a:pt x="304" y="746"/>
                </a:lnTo>
                <a:lnTo>
                  <a:pt x="308" y="742"/>
                </a:lnTo>
                <a:lnTo>
                  <a:pt x="310" y="740"/>
                </a:lnTo>
                <a:lnTo>
                  <a:pt x="312" y="739"/>
                </a:lnTo>
                <a:lnTo>
                  <a:pt x="314" y="738"/>
                </a:lnTo>
                <a:lnTo>
                  <a:pt x="317" y="737"/>
                </a:lnTo>
                <a:lnTo>
                  <a:pt x="319" y="736"/>
                </a:lnTo>
                <a:lnTo>
                  <a:pt x="322" y="736"/>
                </a:lnTo>
                <a:lnTo>
                  <a:pt x="418" y="736"/>
                </a:lnTo>
                <a:lnTo>
                  <a:pt x="421" y="737"/>
                </a:lnTo>
                <a:lnTo>
                  <a:pt x="423" y="738"/>
                </a:lnTo>
                <a:lnTo>
                  <a:pt x="425" y="739"/>
                </a:lnTo>
                <a:lnTo>
                  <a:pt x="426" y="741"/>
                </a:lnTo>
                <a:lnTo>
                  <a:pt x="426" y="744"/>
                </a:lnTo>
                <a:lnTo>
                  <a:pt x="426" y="746"/>
                </a:lnTo>
                <a:lnTo>
                  <a:pt x="425" y="749"/>
                </a:lnTo>
                <a:lnTo>
                  <a:pt x="424" y="751"/>
                </a:lnTo>
                <a:lnTo>
                  <a:pt x="292" y="912"/>
                </a:lnTo>
                <a:close/>
                <a:moveTo>
                  <a:pt x="1819" y="1010"/>
                </a:moveTo>
                <a:lnTo>
                  <a:pt x="1872" y="1010"/>
                </a:lnTo>
                <a:lnTo>
                  <a:pt x="1845" y="883"/>
                </a:lnTo>
                <a:lnTo>
                  <a:pt x="1819" y="1010"/>
                </a:lnTo>
                <a:close/>
                <a:moveTo>
                  <a:pt x="1887" y="1088"/>
                </a:moveTo>
                <a:lnTo>
                  <a:pt x="1805" y="1088"/>
                </a:lnTo>
                <a:lnTo>
                  <a:pt x="1793" y="1145"/>
                </a:lnTo>
                <a:lnTo>
                  <a:pt x="1792" y="1147"/>
                </a:lnTo>
                <a:lnTo>
                  <a:pt x="1791" y="1149"/>
                </a:lnTo>
                <a:lnTo>
                  <a:pt x="1788" y="1152"/>
                </a:lnTo>
                <a:lnTo>
                  <a:pt x="1787" y="1153"/>
                </a:lnTo>
                <a:lnTo>
                  <a:pt x="1785" y="1154"/>
                </a:lnTo>
                <a:lnTo>
                  <a:pt x="1783" y="1155"/>
                </a:lnTo>
                <a:lnTo>
                  <a:pt x="1781" y="1155"/>
                </a:lnTo>
                <a:lnTo>
                  <a:pt x="1708" y="1155"/>
                </a:lnTo>
                <a:lnTo>
                  <a:pt x="1706" y="1155"/>
                </a:lnTo>
                <a:lnTo>
                  <a:pt x="1704" y="1154"/>
                </a:lnTo>
                <a:lnTo>
                  <a:pt x="1702" y="1153"/>
                </a:lnTo>
                <a:lnTo>
                  <a:pt x="1701" y="1152"/>
                </a:lnTo>
                <a:lnTo>
                  <a:pt x="1700" y="1150"/>
                </a:lnTo>
                <a:lnTo>
                  <a:pt x="1700" y="1147"/>
                </a:lnTo>
                <a:lnTo>
                  <a:pt x="1701" y="1141"/>
                </a:lnTo>
                <a:lnTo>
                  <a:pt x="1793" y="746"/>
                </a:lnTo>
                <a:lnTo>
                  <a:pt x="1793" y="744"/>
                </a:lnTo>
                <a:lnTo>
                  <a:pt x="1794" y="742"/>
                </a:lnTo>
                <a:lnTo>
                  <a:pt x="1797" y="739"/>
                </a:lnTo>
                <a:lnTo>
                  <a:pt x="1799" y="738"/>
                </a:lnTo>
                <a:lnTo>
                  <a:pt x="1801" y="737"/>
                </a:lnTo>
                <a:lnTo>
                  <a:pt x="1806" y="736"/>
                </a:lnTo>
                <a:lnTo>
                  <a:pt x="1887" y="736"/>
                </a:lnTo>
                <a:lnTo>
                  <a:pt x="1889" y="736"/>
                </a:lnTo>
                <a:lnTo>
                  <a:pt x="1892" y="737"/>
                </a:lnTo>
                <a:lnTo>
                  <a:pt x="1896" y="739"/>
                </a:lnTo>
                <a:lnTo>
                  <a:pt x="1898" y="742"/>
                </a:lnTo>
                <a:lnTo>
                  <a:pt x="1899" y="744"/>
                </a:lnTo>
                <a:lnTo>
                  <a:pt x="1900" y="746"/>
                </a:lnTo>
                <a:lnTo>
                  <a:pt x="1992" y="1141"/>
                </a:lnTo>
                <a:lnTo>
                  <a:pt x="1993" y="1147"/>
                </a:lnTo>
                <a:lnTo>
                  <a:pt x="1992" y="1150"/>
                </a:lnTo>
                <a:lnTo>
                  <a:pt x="1992" y="1152"/>
                </a:lnTo>
                <a:lnTo>
                  <a:pt x="1990" y="1153"/>
                </a:lnTo>
                <a:lnTo>
                  <a:pt x="1989" y="1154"/>
                </a:lnTo>
                <a:lnTo>
                  <a:pt x="1984" y="1155"/>
                </a:lnTo>
                <a:lnTo>
                  <a:pt x="1910" y="1155"/>
                </a:lnTo>
                <a:lnTo>
                  <a:pt x="1906" y="1154"/>
                </a:lnTo>
                <a:lnTo>
                  <a:pt x="1902" y="1152"/>
                </a:lnTo>
                <a:lnTo>
                  <a:pt x="1901" y="1151"/>
                </a:lnTo>
                <a:lnTo>
                  <a:pt x="1900" y="1149"/>
                </a:lnTo>
                <a:lnTo>
                  <a:pt x="1899" y="1147"/>
                </a:lnTo>
                <a:lnTo>
                  <a:pt x="1898" y="1145"/>
                </a:lnTo>
                <a:lnTo>
                  <a:pt x="1887" y="1088"/>
                </a:lnTo>
                <a:close/>
                <a:moveTo>
                  <a:pt x="937" y="991"/>
                </a:moveTo>
                <a:lnTo>
                  <a:pt x="937" y="746"/>
                </a:lnTo>
                <a:lnTo>
                  <a:pt x="937" y="744"/>
                </a:lnTo>
                <a:lnTo>
                  <a:pt x="938" y="742"/>
                </a:lnTo>
                <a:lnTo>
                  <a:pt x="940" y="739"/>
                </a:lnTo>
                <a:lnTo>
                  <a:pt x="941" y="738"/>
                </a:lnTo>
                <a:lnTo>
                  <a:pt x="943" y="737"/>
                </a:lnTo>
                <a:lnTo>
                  <a:pt x="947" y="736"/>
                </a:lnTo>
                <a:lnTo>
                  <a:pt x="1029" y="736"/>
                </a:lnTo>
                <a:lnTo>
                  <a:pt x="1033" y="737"/>
                </a:lnTo>
                <a:lnTo>
                  <a:pt x="1037" y="739"/>
                </a:lnTo>
                <a:lnTo>
                  <a:pt x="1038" y="740"/>
                </a:lnTo>
                <a:lnTo>
                  <a:pt x="1039" y="742"/>
                </a:lnTo>
                <a:lnTo>
                  <a:pt x="1039" y="744"/>
                </a:lnTo>
                <a:lnTo>
                  <a:pt x="1039" y="746"/>
                </a:lnTo>
                <a:lnTo>
                  <a:pt x="1039" y="986"/>
                </a:lnTo>
                <a:lnTo>
                  <a:pt x="1040" y="996"/>
                </a:lnTo>
                <a:lnTo>
                  <a:pt x="1041" y="1005"/>
                </a:lnTo>
                <a:lnTo>
                  <a:pt x="1042" y="1014"/>
                </a:lnTo>
                <a:lnTo>
                  <a:pt x="1044" y="1022"/>
                </a:lnTo>
                <a:lnTo>
                  <a:pt x="1047" y="1030"/>
                </a:lnTo>
                <a:lnTo>
                  <a:pt x="1050" y="1037"/>
                </a:lnTo>
                <a:lnTo>
                  <a:pt x="1054" y="1043"/>
                </a:lnTo>
                <a:lnTo>
                  <a:pt x="1058" y="1049"/>
                </a:lnTo>
                <a:lnTo>
                  <a:pt x="1063" y="1054"/>
                </a:lnTo>
                <a:lnTo>
                  <a:pt x="1068" y="1058"/>
                </a:lnTo>
                <a:lnTo>
                  <a:pt x="1074" y="1062"/>
                </a:lnTo>
                <a:lnTo>
                  <a:pt x="1077" y="1063"/>
                </a:lnTo>
                <a:lnTo>
                  <a:pt x="1080" y="1065"/>
                </a:lnTo>
                <a:lnTo>
                  <a:pt x="1087" y="1067"/>
                </a:lnTo>
                <a:lnTo>
                  <a:pt x="1094" y="1069"/>
                </a:lnTo>
                <a:lnTo>
                  <a:pt x="1102" y="1070"/>
                </a:lnTo>
                <a:lnTo>
                  <a:pt x="1110" y="1070"/>
                </a:lnTo>
                <a:lnTo>
                  <a:pt x="1118" y="1070"/>
                </a:lnTo>
                <a:lnTo>
                  <a:pt x="1126" y="1069"/>
                </a:lnTo>
                <a:lnTo>
                  <a:pt x="1133" y="1067"/>
                </a:lnTo>
                <a:lnTo>
                  <a:pt x="1140" y="1065"/>
                </a:lnTo>
                <a:lnTo>
                  <a:pt x="1146" y="1062"/>
                </a:lnTo>
                <a:lnTo>
                  <a:pt x="1149" y="1060"/>
                </a:lnTo>
                <a:lnTo>
                  <a:pt x="1152" y="1058"/>
                </a:lnTo>
                <a:lnTo>
                  <a:pt x="1157" y="1054"/>
                </a:lnTo>
                <a:lnTo>
                  <a:pt x="1162" y="1049"/>
                </a:lnTo>
                <a:lnTo>
                  <a:pt x="1166" y="1043"/>
                </a:lnTo>
                <a:lnTo>
                  <a:pt x="1170" y="1037"/>
                </a:lnTo>
                <a:lnTo>
                  <a:pt x="1173" y="1030"/>
                </a:lnTo>
                <a:lnTo>
                  <a:pt x="1176" y="1022"/>
                </a:lnTo>
                <a:lnTo>
                  <a:pt x="1178" y="1014"/>
                </a:lnTo>
                <a:lnTo>
                  <a:pt x="1180" y="1005"/>
                </a:lnTo>
                <a:lnTo>
                  <a:pt x="1180" y="996"/>
                </a:lnTo>
                <a:lnTo>
                  <a:pt x="1181" y="986"/>
                </a:lnTo>
                <a:lnTo>
                  <a:pt x="1181" y="746"/>
                </a:lnTo>
                <a:lnTo>
                  <a:pt x="1181" y="744"/>
                </a:lnTo>
                <a:lnTo>
                  <a:pt x="1182" y="742"/>
                </a:lnTo>
                <a:lnTo>
                  <a:pt x="1184" y="739"/>
                </a:lnTo>
                <a:lnTo>
                  <a:pt x="1185" y="738"/>
                </a:lnTo>
                <a:lnTo>
                  <a:pt x="1187" y="737"/>
                </a:lnTo>
                <a:lnTo>
                  <a:pt x="1191" y="736"/>
                </a:lnTo>
                <a:lnTo>
                  <a:pt x="1273" y="736"/>
                </a:lnTo>
                <a:lnTo>
                  <a:pt x="1277" y="737"/>
                </a:lnTo>
                <a:lnTo>
                  <a:pt x="1280" y="739"/>
                </a:lnTo>
                <a:lnTo>
                  <a:pt x="1281" y="740"/>
                </a:lnTo>
                <a:lnTo>
                  <a:pt x="1282" y="742"/>
                </a:lnTo>
                <a:lnTo>
                  <a:pt x="1283" y="744"/>
                </a:lnTo>
                <a:lnTo>
                  <a:pt x="1283" y="746"/>
                </a:lnTo>
                <a:lnTo>
                  <a:pt x="1283" y="991"/>
                </a:lnTo>
                <a:lnTo>
                  <a:pt x="1283" y="1002"/>
                </a:lnTo>
                <a:lnTo>
                  <a:pt x="1283" y="1007"/>
                </a:lnTo>
                <a:lnTo>
                  <a:pt x="1282" y="1013"/>
                </a:lnTo>
                <a:lnTo>
                  <a:pt x="1281" y="1023"/>
                </a:lnTo>
                <a:lnTo>
                  <a:pt x="1280" y="1033"/>
                </a:lnTo>
                <a:lnTo>
                  <a:pt x="1278" y="1042"/>
                </a:lnTo>
                <a:lnTo>
                  <a:pt x="1275" y="1051"/>
                </a:lnTo>
                <a:lnTo>
                  <a:pt x="1273" y="1060"/>
                </a:lnTo>
                <a:lnTo>
                  <a:pt x="1270" y="1068"/>
                </a:lnTo>
                <a:lnTo>
                  <a:pt x="1266" y="1076"/>
                </a:lnTo>
                <a:lnTo>
                  <a:pt x="1262" y="1084"/>
                </a:lnTo>
                <a:lnTo>
                  <a:pt x="1254" y="1098"/>
                </a:lnTo>
                <a:lnTo>
                  <a:pt x="1249" y="1104"/>
                </a:lnTo>
                <a:lnTo>
                  <a:pt x="1244" y="1110"/>
                </a:lnTo>
                <a:lnTo>
                  <a:pt x="1239" y="1116"/>
                </a:lnTo>
                <a:lnTo>
                  <a:pt x="1233" y="1121"/>
                </a:lnTo>
                <a:lnTo>
                  <a:pt x="1227" y="1126"/>
                </a:lnTo>
                <a:lnTo>
                  <a:pt x="1221" y="1131"/>
                </a:lnTo>
                <a:lnTo>
                  <a:pt x="1214" y="1135"/>
                </a:lnTo>
                <a:lnTo>
                  <a:pt x="1207" y="1139"/>
                </a:lnTo>
                <a:lnTo>
                  <a:pt x="1200" y="1143"/>
                </a:lnTo>
                <a:lnTo>
                  <a:pt x="1193" y="1146"/>
                </a:lnTo>
                <a:lnTo>
                  <a:pt x="1178" y="1152"/>
                </a:lnTo>
                <a:lnTo>
                  <a:pt x="1170" y="1154"/>
                </a:lnTo>
                <a:lnTo>
                  <a:pt x="1162" y="1156"/>
                </a:lnTo>
                <a:lnTo>
                  <a:pt x="1154" y="1158"/>
                </a:lnTo>
                <a:lnTo>
                  <a:pt x="1145" y="1159"/>
                </a:lnTo>
                <a:lnTo>
                  <a:pt x="1137" y="1160"/>
                </a:lnTo>
                <a:lnTo>
                  <a:pt x="1128" y="1161"/>
                </a:lnTo>
                <a:lnTo>
                  <a:pt x="1119" y="1162"/>
                </a:lnTo>
                <a:lnTo>
                  <a:pt x="1110" y="1162"/>
                </a:lnTo>
                <a:lnTo>
                  <a:pt x="1092" y="1161"/>
                </a:lnTo>
                <a:lnTo>
                  <a:pt x="1075" y="1159"/>
                </a:lnTo>
                <a:lnTo>
                  <a:pt x="1066" y="1158"/>
                </a:lnTo>
                <a:lnTo>
                  <a:pt x="1058" y="1156"/>
                </a:lnTo>
                <a:lnTo>
                  <a:pt x="1042" y="1152"/>
                </a:lnTo>
                <a:lnTo>
                  <a:pt x="1035" y="1149"/>
                </a:lnTo>
                <a:lnTo>
                  <a:pt x="1027" y="1146"/>
                </a:lnTo>
                <a:lnTo>
                  <a:pt x="1020" y="1143"/>
                </a:lnTo>
                <a:lnTo>
                  <a:pt x="1013" y="1139"/>
                </a:lnTo>
                <a:lnTo>
                  <a:pt x="1006" y="1135"/>
                </a:lnTo>
                <a:lnTo>
                  <a:pt x="1000" y="1131"/>
                </a:lnTo>
                <a:lnTo>
                  <a:pt x="993" y="1126"/>
                </a:lnTo>
                <a:lnTo>
                  <a:pt x="987" y="1121"/>
                </a:lnTo>
                <a:lnTo>
                  <a:pt x="982" y="1116"/>
                </a:lnTo>
                <a:lnTo>
                  <a:pt x="976" y="1110"/>
                </a:lnTo>
                <a:lnTo>
                  <a:pt x="966" y="1098"/>
                </a:lnTo>
                <a:lnTo>
                  <a:pt x="962" y="1091"/>
                </a:lnTo>
                <a:lnTo>
                  <a:pt x="958" y="1084"/>
                </a:lnTo>
                <a:lnTo>
                  <a:pt x="954" y="1076"/>
                </a:lnTo>
                <a:lnTo>
                  <a:pt x="951" y="1068"/>
                </a:lnTo>
                <a:lnTo>
                  <a:pt x="948" y="1060"/>
                </a:lnTo>
                <a:lnTo>
                  <a:pt x="945" y="1051"/>
                </a:lnTo>
                <a:lnTo>
                  <a:pt x="943" y="1042"/>
                </a:lnTo>
                <a:lnTo>
                  <a:pt x="941" y="1033"/>
                </a:lnTo>
                <a:lnTo>
                  <a:pt x="939" y="1023"/>
                </a:lnTo>
                <a:lnTo>
                  <a:pt x="938" y="1013"/>
                </a:lnTo>
                <a:lnTo>
                  <a:pt x="937" y="1002"/>
                </a:lnTo>
                <a:lnTo>
                  <a:pt x="937" y="991"/>
                </a:lnTo>
                <a:close/>
                <a:moveTo>
                  <a:pt x="1479" y="824"/>
                </a:moveTo>
                <a:lnTo>
                  <a:pt x="1479" y="934"/>
                </a:lnTo>
                <a:lnTo>
                  <a:pt x="1514" y="934"/>
                </a:lnTo>
                <a:lnTo>
                  <a:pt x="1520" y="933"/>
                </a:lnTo>
                <a:lnTo>
                  <a:pt x="1526" y="933"/>
                </a:lnTo>
                <a:lnTo>
                  <a:pt x="1532" y="932"/>
                </a:lnTo>
                <a:lnTo>
                  <a:pt x="1538" y="930"/>
                </a:lnTo>
                <a:lnTo>
                  <a:pt x="1543" y="928"/>
                </a:lnTo>
                <a:lnTo>
                  <a:pt x="1547" y="926"/>
                </a:lnTo>
                <a:lnTo>
                  <a:pt x="1551" y="923"/>
                </a:lnTo>
                <a:lnTo>
                  <a:pt x="1555" y="919"/>
                </a:lnTo>
                <a:lnTo>
                  <a:pt x="1559" y="916"/>
                </a:lnTo>
                <a:lnTo>
                  <a:pt x="1562" y="912"/>
                </a:lnTo>
                <a:lnTo>
                  <a:pt x="1564" y="907"/>
                </a:lnTo>
                <a:lnTo>
                  <a:pt x="1566" y="902"/>
                </a:lnTo>
                <a:lnTo>
                  <a:pt x="1568" y="897"/>
                </a:lnTo>
                <a:lnTo>
                  <a:pt x="1569" y="891"/>
                </a:lnTo>
                <a:lnTo>
                  <a:pt x="1570" y="885"/>
                </a:lnTo>
                <a:lnTo>
                  <a:pt x="1570" y="879"/>
                </a:lnTo>
                <a:lnTo>
                  <a:pt x="1570" y="872"/>
                </a:lnTo>
                <a:lnTo>
                  <a:pt x="1569" y="866"/>
                </a:lnTo>
                <a:lnTo>
                  <a:pt x="1568" y="861"/>
                </a:lnTo>
                <a:lnTo>
                  <a:pt x="1566" y="855"/>
                </a:lnTo>
                <a:lnTo>
                  <a:pt x="1564" y="850"/>
                </a:lnTo>
                <a:lnTo>
                  <a:pt x="1562" y="846"/>
                </a:lnTo>
                <a:lnTo>
                  <a:pt x="1559" y="842"/>
                </a:lnTo>
                <a:lnTo>
                  <a:pt x="1555" y="838"/>
                </a:lnTo>
                <a:lnTo>
                  <a:pt x="1551" y="835"/>
                </a:lnTo>
                <a:lnTo>
                  <a:pt x="1547" y="832"/>
                </a:lnTo>
                <a:lnTo>
                  <a:pt x="1543" y="829"/>
                </a:lnTo>
                <a:lnTo>
                  <a:pt x="1538" y="827"/>
                </a:lnTo>
                <a:lnTo>
                  <a:pt x="1535" y="826"/>
                </a:lnTo>
                <a:lnTo>
                  <a:pt x="1532" y="826"/>
                </a:lnTo>
                <a:lnTo>
                  <a:pt x="1526" y="825"/>
                </a:lnTo>
                <a:lnTo>
                  <a:pt x="1520" y="824"/>
                </a:lnTo>
                <a:lnTo>
                  <a:pt x="1514" y="824"/>
                </a:lnTo>
                <a:lnTo>
                  <a:pt x="1479" y="824"/>
                </a:lnTo>
                <a:close/>
                <a:moveTo>
                  <a:pt x="1514" y="736"/>
                </a:moveTo>
                <a:lnTo>
                  <a:pt x="1532" y="737"/>
                </a:lnTo>
                <a:lnTo>
                  <a:pt x="1549" y="738"/>
                </a:lnTo>
                <a:lnTo>
                  <a:pt x="1557" y="740"/>
                </a:lnTo>
                <a:lnTo>
                  <a:pt x="1565" y="741"/>
                </a:lnTo>
                <a:lnTo>
                  <a:pt x="1580" y="745"/>
                </a:lnTo>
                <a:lnTo>
                  <a:pt x="1588" y="748"/>
                </a:lnTo>
                <a:lnTo>
                  <a:pt x="1595" y="750"/>
                </a:lnTo>
                <a:lnTo>
                  <a:pt x="1608" y="757"/>
                </a:lnTo>
                <a:lnTo>
                  <a:pt x="1620" y="764"/>
                </a:lnTo>
                <a:lnTo>
                  <a:pt x="1626" y="768"/>
                </a:lnTo>
                <a:lnTo>
                  <a:pt x="1631" y="773"/>
                </a:lnTo>
                <a:lnTo>
                  <a:pt x="1637" y="777"/>
                </a:lnTo>
                <a:lnTo>
                  <a:pt x="1641" y="782"/>
                </a:lnTo>
                <a:lnTo>
                  <a:pt x="1646" y="787"/>
                </a:lnTo>
                <a:lnTo>
                  <a:pt x="1650" y="793"/>
                </a:lnTo>
                <a:lnTo>
                  <a:pt x="1654" y="798"/>
                </a:lnTo>
                <a:lnTo>
                  <a:pt x="1658" y="804"/>
                </a:lnTo>
                <a:lnTo>
                  <a:pt x="1661" y="811"/>
                </a:lnTo>
                <a:lnTo>
                  <a:pt x="1664" y="817"/>
                </a:lnTo>
                <a:lnTo>
                  <a:pt x="1667" y="824"/>
                </a:lnTo>
                <a:lnTo>
                  <a:pt x="1669" y="831"/>
                </a:lnTo>
                <a:lnTo>
                  <a:pt x="1671" y="838"/>
                </a:lnTo>
                <a:lnTo>
                  <a:pt x="1673" y="846"/>
                </a:lnTo>
                <a:lnTo>
                  <a:pt x="1674" y="854"/>
                </a:lnTo>
                <a:lnTo>
                  <a:pt x="1675" y="862"/>
                </a:lnTo>
                <a:lnTo>
                  <a:pt x="1676" y="870"/>
                </a:lnTo>
                <a:lnTo>
                  <a:pt x="1676" y="879"/>
                </a:lnTo>
                <a:lnTo>
                  <a:pt x="1676" y="887"/>
                </a:lnTo>
                <a:lnTo>
                  <a:pt x="1675" y="896"/>
                </a:lnTo>
                <a:lnTo>
                  <a:pt x="1674" y="904"/>
                </a:lnTo>
                <a:lnTo>
                  <a:pt x="1673" y="911"/>
                </a:lnTo>
                <a:lnTo>
                  <a:pt x="1669" y="926"/>
                </a:lnTo>
                <a:lnTo>
                  <a:pt x="1667" y="933"/>
                </a:lnTo>
                <a:lnTo>
                  <a:pt x="1664" y="940"/>
                </a:lnTo>
                <a:lnTo>
                  <a:pt x="1658" y="953"/>
                </a:lnTo>
                <a:lnTo>
                  <a:pt x="1654" y="959"/>
                </a:lnTo>
                <a:lnTo>
                  <a:pt x="1650" y="965"/>
                </a:lnTo>
                <a:lnTo>
                  <a:pt x="1642" y="975"/>
                </a:lnTo>
                <a:lnTo>
                  <a:pt x="1632" y="985"/>
                </a:lnTo>
                <a:lnTo>
                  <a:pt x="1626" y="989"/>
                </a:lnTo>
                <a:lnTo>
                  <a:pt x="1620" y="993"/>
                </a:lnTo>
                <a:lnTo>
                  <a:pt x="1614" y="997"/>
                </a:lnTo>
                <a:lnTo>
                  <a:pt x="1608" y="1001"/>
                </a:lnTo>
                <a:lnTo>
                  <a:pt x="1595" y="1007"/>
                </a:lnTo>
                <a:lnTo>
                  <a:pt x="1588" y="1009"/>
                </a:lnTo>
                <a:lnTo>
                  <a:pt x="1580" y="1012"/>
                </a:lnTo>
                <a:lnTo>
                  <a:pt x="1565" y="1016"/>
                </a:lnTo>
                <a:lnTo>
                  <a:pt x="1557" y="1018"/>
                </a:lnTo>
                <a:lnTo>
                  <a:pt x="1549" y="1019"/>
                </a:lnTo>
                <a:lnTo>
                  <a:pt x="1532" y="1021"/>
                </a:lnTo>
                <a:lnTo>
                  <a:pt x="1523" y="1021"/>
                </a:lnTo>
                <a:lnTo>
                  <a:pt x="1514" y="1021"/>
                </a:lnTo>
                <a:lnTo>
                  <a:pt x="1479" y="1021"/>
                </a:lnTo>
                <a:lnTo>
                  <a:pt x="1479" y="1145"/>
                </a:lnTo>
                <a:lnTo>
                  <a:pt x="1479" y="1147"/>
                </a:lnTo>
                <a:lnTo>
                  <a:pt x="1479" y="1149"/>
                </a:lnTo>
                <a:lnTo>
                  <a:pt x="1477" y="1152"/>
                </a:lnTo>
                <a:lnTo>
                  <a:pt x="1475" y="1153"/>
                </a:lnTo>
                <a:lnTo>
                  <a:pt x="1473" y="1154"/>
                </a:lnTo>
                <a:lnTo>
                  <a:pt x="1469" y="1155"/>
                </a:lnTo>
                <a:lnTo>
                  <a:pt x="1387" y="1155"/>
                </a:lnTo>
                <a:lnTo>
                  <a:pt x="1383" y="1154"/>
                </a:lnTo>
                <a:lnTo>
                  <a:pt x="1380" y="1152"/>
                </a:lnTo>
                <a:lnTo>
                  <a:pt x="1379" y="1150"/>
                </a:lnTo>
                <a:lnTo>
                  <a:pt x="1378" y="1149"/>
                </a:lnTo>
                <a:lnTo>
                  <a:pt x="1377" y="1147"/>
                </a:lnTo>
                <a:lnTo>
                  <a:pt x="1377" y="1145"/>
                </a:lnTo>
                <a:lnTo>
                  <a:pt x="1377" y="746"/>
                </a:lnTo>
                <a:lnTo>
                  <a:pt x="1377" y="744"/>
                </a:lnTo>
                <a:lnTo>
                  <a:pt x="1378" y="742"/>
                </a:lnTo>
                <a:lnTo>
                  <a:pt x="1380" y="739"/>
                </a:lnTo>
                <a:lnTo>
                  <a:pt x="1381" y="738"/>
                </a:lnTo>
                <a:lnTo>
                  <a:pt x="1383" y="737"/>
                </a:lnTo>
                <a:lnTo>
                  <a:pt x="1387" y="736"/>
                </a:lnTo>
                <a:lnTo>
                  <a:pt x="1514" y="736"/>
                </a:lnTo>
                <a:close/>
                <a:moveTo>
                  <a:pt x="2767" y="1006"/>
                </a:moveTo>
                <a:lnTo>
                  <a:pt x="2866" y="1006"/>
                </a:lnTo>
                <a:lnTo>
                  <a:pt x="2817" y="875"/>
                </a:lnTo>
                <a:lnTo>
                  <a:pt x="2767" y="1006"/>
                </a:lnTo>
                <a:close/>
                <a:moveTo>
                  <a:pt x="2897" y="1088"/>
                </a:moveTo>
                <a:lnTo>
                  <a:pt x="2737" y="1088"/>
                </a:lnTo>
                <a:lnTo>
                  <a:pt x="2715" y="1145"/>
                </a:lnTo>
                <a:lnTo>
                  <a:pt x="2714" y="1148"/>
                </a:lnTo>
                <a:lnTo>
                  <a:pt x="2713" y="1150"/>
                </a:lnTo>
                <a:lnTo>
                  <a:pt x="2711" y="1151"/>
                </a:lnTo>
                <a:lnTo>
                  <a:pt x="2710" y="1153"/>
                </a:lnTo>
                <a:lnTo>
                  <a:pt x="2706" y="1154"/>
                </a:lnTo>
                <a:lnTo>
                  <a:pt x="2701" y="1155"/>
                </a:lnTo>
                <a:lnTo>
                  <a:pt x="2623" y="1155"/>
                </a:lnTo>
                <a:lnTo>
                  <a:pt x="2620" y="1155"/>
                </a:lnTo>
                <a:lnTo>
                  <a:pt x="2618" y="1154"/>
                </a:lnTo>
                <a:lnTo>
                  <a:pt x="2616" y="1153"/>
                </a:lnTo>
                <a:lnTo>
                  <a:pt x="2614" y="1151"/>
                </a:lnTo>
                <a:lnTo>
                  <a:pt x="2613" y="1149"/>
                </a:lnTo>
                <a:lnTo>
                  <a:pt x="2613" y="1147"/>
                </a:lnTo>
                <a:lnTo>
                  <a:pt x="2613" y="1144"/>
                </a:lnTo>
                <a:lnTo>
                  <a:pt x="2614" y="1141"/>
                </a:lnTo>
                <a:lnTo>
                  <a:pt x="2769" y="746"/>
                </a:lnTo>
                <a:lnTo>
                  <a:pt x="2770" y="743"/>
                </a:lnTo>
                <a:lnTo>
                  <a:pt x="2772" y="741"/>
                </a:lnTo>
                <a:lnTo>
                  <a:pt x="2775" y="738"/>
                </a:lnTo>
                <a:lnTo>
                  <a:pt x="2779" y="737"/>
                </a:lnTo>
                <a:lnTo>
                  <a:pt x="2781" y="736"/>
                </a:lnTo>
                <a:lnTo>
                  <a:pt x="2783" y="736"/>
                </a:lnTo>
                <a:lnTo>
                  <a:pt x="2853" y="736"/>
                </a:lnTo>
                <a:lnTo>
                  <a:pt x="2858" y="737"/>
                </a:lnTo>
                <a:lnTo>
                  <a:pt x="2861" y="738"/>
                </a:lnTo>
                <a:lnTo>
                  <a:pt x="2864" y="741"/>
                </a:lnTo>
                <a:lnTo>
                  <a:pt x="2865" y="743"/>
                </a:lnTo>
                <a:lnTo>
                  <a:pt x="2866" y="746"/>
                </a:lnTo>
                <a:lnTo>
                  <a:pt x="3022" y="1141"/>
                </a:lnTo>
                <a:lnTo>
                  <a:pt x="3023" y="1144"/>
                </a:lnTo>
                <a:lnTo>
                  <a:pt x="3023" y="1147"/>
                </a:lnTo>
                <a:lnTo>
                  <a:pt x="3023" y="1149"/>
                </a:lnTo>
                <a:lnTo>
                  <a:pt x="3021" y="1151"/>
                </a:lnTo>
                <a:lnTo>
                  <a:pt x="3020" y="1153"/>
                </a:lnTo>
                <a:lnTo>
                  <a:pt x="3018" y="1154"/>
                </a:lnTo>
                <a:lnTo>
                  <a:pt x="3016" y="1155"/>
                </a:lnTo>
                <a:lnTo>
                  <a:pt x="3013" y="1155"/>
                </a:lnTo>
                <a:lnTo>
                  <a:pt x="2933" y="1155"/>
                </a:lnTo>
                <a:lnTo>
                  <a:pt x="2928" y="1154"/>
                </a:lnTo>
                <a:lnTo>
                  <a:pt x="2926" y="1154"/>
                </a:lnTo>
                <a:lnTo>
                  <a:pt x="2925" y="1153"/>
                </a:lnTo>
                <a:lnTo>
                  <a:pt x="2923" y="1151"/>
                </a:lnTo>
                <a:lnTo>
                  <a:pt x="2921" y="1150"/>
                </a:lnTo>
                <a:lnTo>
                  <a:pt x="2920" y="1148"/>
                </a:lnTo>
                <a:lnTo>
                  <a:pt x="2919" y="1145"/>
                </a:lnTo>
                <a:lnTo>
                  <a:pt x="2897" y="1088"/>
                </a:lnTo>
                <a:close/>
                <a:moveTo>
                  <a:pt x="696" y="2625"/>
                </a:moveTo>
                <a:lnTo>
                  <a:pt x="614" y="2625"/>
                </a:lnTo>
                <a:lnTo>
                  <a:pt x="610" y="2624"/>
                </a:lnTo>
                <a:lnTo>
                  <a:pt x="607" y="2622"/>
                </a:lnTo>
                <a:lnTo>
                  <a:pt x="605" y="2621"/>
                </a:lnTo>
                <a:lnTo>
                  <a:pt x="605" y="2619"/>
                </a:lnTo>
                <a:lnTo>
                  <a:pt x="604" y="2617"/>
                </a:lnTo>
                <a:lnTo>
                  <a:pt x="604" y="2615"/>
                </a:lnTo>
                <a:lnTo>
                  <a:pt x="604" y="2217"/>
                </a:lnTo>
                <a:lnTo>
                  <a:pt x="604" y="2214"/>
                </a:lnTo>
                <a:lnTo>
                  <a:pt x="605" y="2212"/>
                </a:lnTo>
                <a:lnTo>
                  <a:pt x="607" y="2209"/>
                </a:lnTo>
                <a:lnTo>
                  <a:pt x="608" y="2208"/>
                </a:lnTo>
                <a:lnTo>
                  <a:pt x="610" y="2207"/>
                </a:lnTo>
                <a:lnTo>
                  <a:pt x="614" y="2207"/>
                </a:lnTo>
                <a:lnTo>
                  <a:pt x="696" y="2207"/>
                </a:lnTo>
                <a:lnTo>
                  <a:pt x="700" y="2207"/>
                </a:lnTo>
                <a:lnTo>
                  <a:pt x="703" y="2209"/>
                </a:lnTo>
                <a:lnTo>
                  <a:pt x="704" y="2211"/>
                </a:lnTo>
                <a:lnTo>
                  <a:pt x="705" y="2212"/>
                </a:lnTo>
                <a:lnTo>
                  <a:pt x="706" y="2214"/>
                </a:lnTo>
                <a:lnTo>
                  <a:pt x="706" y="2217"/>
                </a:lnTo>
                <a:lnTo>
                  <a:pt x="706" y="2392"/>
                </a:lnTo>
                <a:lnTo>
                  <a:pt x="850" y="2216"/>
                </a:lnTo>
                <a:lnTo>
                  <a:pt x="854" y="2212"/>
                </a:lnTo>
                <a:lnTo>
                  <a:pt x="856" y="2210"/>
                </a:lnTo>
                <a:lnTo>
                  <a:pt x="858" y="2209"/>
                </a:lnTo>
                <a:lnTo>
                  <a:pt x="860" y="2208"/>
                </a:lnTo>
                <a:lnTo>
                  <a:pt x="863" y="2207"/>
                </a:lnTo>
                <a:lnTo>
                  <a:pt x="865" y="2207"/>
                </a:lnTo>
                <a:lnTo>
                  <a:pt x="868" y="2207"/>
                </a:lnTo>
                <a:lnTo>
                  <a:pt x="964" y="2207"/>
                </a:lnTo>
                <a:lnTo>
                  <a:pt x="967" y="2207"/>
                </a:lnTo>
                <a:lnTo>
                  <a:pt x="969" y="2208"/>
                </a:lnTo>
                <a:lnTo>
                  <a:pt x="971" y="2210"/>
                </a:lnTo>
                <a:lnTo>
                  <a:pt x="972" y="2212"/>
                </a:lnTo>
                <a:lnTo>
                  <a:pt x="972" y="2214"/>
                </a:lnTo>
                <a:lnTo>
                  <a:pt x="972" y="2216"/>
                </a:lnTo>
                <a:lnTo>
                  <a:pt x="971" y="2219"/>
                </a:lnTo>
                <a:lnTo>
                  <a:pt x="970" y="2221"/>
                </a:lnTo>
                <a:lnTo>
                  <a:pt x="838" y="2382"/>
                </a:lnTo>
                <a:lnTo>
                  <a:pt x="974" y="2612"/>
                </a:lnTo>
                <a:lnTo>
                  <a:pt x="975" y="2614"/>
                </a:lnTo>
                <a:lnTo>
                  <a:pt x="975" y="2617"/>
                </a:lnTo>
                <a:lnTo>
                  <a:pt x="975" y="2619"/>
                </a:lnTo>
                <a:lnTo>
                  <a:pt x="975" y="2621"/>
                </a:lnTo>
                <a:lnTo>
                  <a:pt x="974" y="2623"/>
                </a:lnTo>
                <a:lnTo>
                  <a:pt x="972" y="2624"/>
                </a:lnTo>
                <a:lnTo>
                  <a:pt x="970" y="2625"/>
                </a:lnTo>
                <a:lnTo>
                  <a:pt x="967" y="2625"/>
                </a:lnTo>
                <a:lnTo>
                  <a:pt x="871" y="2625"/>
                </a:lnTo>
                <a:lnTo>
                  <a:pt x="867" y="2625"/>
                </a:lnTo>
                <a:lnTo>
                  <a:pt x="862" y="2623"/>
                </a:lnTo>
                <a:lnTo>
                  <a:pt x="861" y="2622"/>
                </a:lnTo>
                <a:lnTo>
                  <a:pt x="859" y="2620"/>
                </a:lnTo>
                <a:lnTo>
                  <a:pt x="856" y="2616"/>
                </a:lnTo>
                <a:lnTo>
                  <a:pt x="759" y="2450"/>
                </a:lnTo>
                <a:lnTo>
                  <a:pt x="706" y="2514"/>
                </a:lnTo>
                <a:lnTo>
                  <a:pt x="706" y="2615"/>
                </a:lnTo>
                <a:lnTo>
                  <a:pt x="706" y="2617"/>
                </a:lnTo>
                <a:lnTo>
                  <a:pt x="705" y="2619"/>
                </a:lnTo>
                <a:lnTo>
                  <a:pt x="703" y="2622"/>
                </a:lnTo>
                <a:lnTo>
                  <a:pt x="702" y="2624"/>
                </a:lnTo>
                <a:lnTo>
                  <a:pt x="700" y="2624"/>
                </a:lnTo>
                <a:lnTo>
                  <a:pt x="696" y="2625"/>
                </a:lnTo>
                <a:close/>
                <a:moveTo>
                  <a:pt x="1288" y="2177"/>
                </a:moveTo>
                <a:lnTo>
                  <a:pt x="1283" y="2177"/>
                </a:lnTo>
                <a:lnTo>
                  <a:pt x="1278" y="2176"/>
                </a:lnTo>
                <a:lnTo>
                  <a:pt x="1273" y="2175"/>
                </a:lnTo>
                <a:lnTo>
                  <a:pt x="1268" y="2173"/>
                </a:lnTo>
                <a:lnTo>
                  <a:pt x="1260" y="2169"/>
                </a:lnTo>
                <a:lnTo>
                  <a:pt x="1256" y="2166"/>
                </a:lnTo>
                <a:lnTo>
                  <a:pt x="1253" y="2163"/>
                </a:lnTo>
                <a:lnTo>
                  <a:pt x="1249" y="2160"/>
                </a:lnTo>
                <a:lnTo>
                  <a:pt x="1247" y="2156"/>
                </a:lnTo>
                <a:lnTo>
                  <a:pt x="1244" y="2152"/>
                </a:lnTo>
                <a:lnTo>
                  <a:pt x="1242" y="2148"/>
                </a:lnTo>
                <a:lnTo>
                  <a:pt x="1241" y="2143"/>
                </a:lnTo>
                <a:lnTo>
                  <a:pt x="1240" y="2138"/>
                </a:lnTo>
                <a:lnTo>
                  <a:pt x="1239" y="2133"/>
                </a:lnTo>
                <a:lnTo>
                  <a:pt x="1239" y="2128"/>
                </a:lnTo>
                <a:lnTo>
                  <a:pt x="1239" y="2123"/>
                </a:lnTo>
                <a:lnTo>
                  <a:pt x="1240" y="2118"/>
                </a:lnTo>
                <a:lnTo>
                  <a:pt x="1241" y="2113"/>
                </a:lnTo>
                <a:lnTo>
                  <a:pt x="1242" y="2108"/>
                </a:lnTo>
                <a:lnTo>
                  <a:pt x="1244" y="2104"/>
                </a:lnTo>
                <a:lnTo>
                  <a:pt x="1247" y="2100"/>
                </a:lnTo>
                <a:lnTo>
                  <a:pt x="1249" y="2096"/>
                </a:lnTo>
                <a:lnTo>
                  <a:pt x="1253" y="2093"/>
                </a:lnTo>
                <a:lnTo>
                  <a:pt x="1256" y="2090"/>
                </a:lnTo>
                <a:lnTo>
                  <a:pt x="1260" y="2087"/>
                </a:lnTo>
                <a:lnTo>
                  <a:pt x="1264" y="2084"/>
                </a:lnTo>
                <a:lnTo>
                  <a:pt x="1268" y="2082"/>
                </a:lnTo>
                <a:lnTo>
                  <a:pt x="1273" y="2081"/>
                </a:lnTo>
                <a:lnTo>
                  <a:pt x="1278" y="2080"/>
                </a:lnTo>
                <a:lnTo>
                  <a:pt x="1283" y="2079"/>
                </a:lnTo>
                <a:lnTo>
                  <a:pt x="1288" y="2079"/>
                </a:lnTo>
                <a:lnTo>
                  <a:pt x="1294" y="2079"/>
                </a:lnTo>
                <a:lnTo>
                  <a:pt x="1299" y="2080"/>
                </a:lnTo>
                <a:lnTo>
                  <a:pt x="1304" y="2081"/>
                </a:lnTo>
                <a:lnTo>
                  <a:pt x="1308" y="2082"/>
                </a:lnTo>
                <a:lnTo>
                  <a:pt x="1317" y="2087"/>
                </a:lnTo>
                <a:lnTo>
                  <a:pt x="1320" y="2090"/>
                </a:lnTo>
                <a:lnTo>
                  <a:pt x="1324" y="2093"/>
                </a:lnTo>
                <a:lnTo>
                  <a:pt x="1327" y="2096"/>
                </a:lnTo>
                <a:lnTo>
                  <a:pt x="1330" y="2100"/>
                </a:lnTo>
                <a:lnTo>
                  <a:pt x="1332" y="2104"/>
                </a:lnTo>
                <a:lnTo>
                  <a:pt x="1334" y="2108"/>
                </a:lnTo>
                <a:lnTo>
                  <a:pt x="1336" y="2113"/>
                </a:lnTo>
                <a:lnTo>
                  <a:pt x="1337" y="2118"/>
                </a:lnTo>
                <a:lnTo>
                  <a:pt x="1338" y="2123"/>
                </a:lnTo>
                <a:lnTo>
                  <a:pt x="1338" y="2128"/>
                </a:lnTo>
                <a:lnTo>
                  <a:pt x="1338" y="2133"/>
                </a:lnTo>
                <a:lnTo>
                  <a:pt x="1337" y="2138"/>
                </a:lnTo>
                <a:lnTo>
                  <a:pt x="1336" y="2143"/>
                </a:lnTo>
                <a:lnTo>
                  <a:pt x="1334" y="2148"/>
                </a:lnTo>
                <a:lnTo>
                  <a:pt x="1332" y="2152"/>
                </a:lnTo>
                <a:lnTo>
                  <a:pt x="1330" y="2156"/>
                </a:lnTo>
                <a:lnTo>
                  <a:pt x="1327" y="2160"/>
                </a:lnTo>
                <a:lnTo>
                  <a:pt x="1324" y="2163"/>
                </a:lnTo>
                <a:lnTo>
                  <a:pt x="1320" y="2166"/>
                </a:lnTo>
                <a:lnTo>
                  <a:pt x="1317" y="2169"/>
                </a:lnTo>
                <a:lnTo>
                  <a:pt x="1313" y="2171"/>
                </a:lnTo>
                <a:lnTo>
                  <a:pt x="1308" y="2173"/>
                </a:lnTo>
                <a:lnTo>
                  <a:pt x="1304" y="2175"/>
                </a:lnTo>
                <a:lnTo>
                  <a:pt x="1299" y="2176"/>
                </a:lnTo>
                <a:lnTo>
                  <a:pt x="1294" y="2177"/>
                </a:lnTo>
                <a:lnTo>
                  <a:pt x="1288" y="2177"/>
                </a:lnTo>
                <a:close/>
                <a:moveTo>
                  <a:pt x="1173" y="2477"/>
                </a:moveTo>
                <a:lnTo>
                  <a:pt x="1272" y="2477"/>
                </a:lnTo>
                <a:lnTo>
                  <a:pt x="1223" y="2345"/>
                </a:lnTo>
                <a:lnTo>
                  <a:pt x="1173" y="2477"/>
                </a:lnTo>
                <a:close/>
                <a:moveTo>
                  <a:pt x="1303" y="2558"/>
                </a:moveTo>
                <a:lnTo>
                  <a:pt x="1143" y="2558"/>
                </a:lnTo>
                <a:lnTo>
                  <a:pt x="1121" y="2616"/>
                </a:lnTo>
                <a:lnTo>
                  <a:pt x="1120" y="2618"/>
                </a:lnTo>
                <a:lnTo>
                  <a:pt x="1119" y="2620"/>
                </a:lnTo>
                <a:lnTo>
                  <a:pt x="1117" y="2622"/>
                </a:lnTo>
                <a:lnTo>
                  <a:pt x="1115" y="2623"/>
                </a:lnTo>
                <a:lnTo>
                  <a:pt x="1112" y="2625"/>
                </a:lnTo>
                <a:lnTo>
                  <a:pt x="1107" y="2625"/>
                </a:lnTo>
                <a:lnTo>
                  <a:pt x="1029" y="2625"/>
                </a:lnTo>
                <a:lnTo>
                  <a:pt x="1026" y="2625"/>
                </a:lnTo>
                <a:lnTo>
                  <a:pt x="1024" y="2624"/>
                </a:lnTo>
                <a:lnTo>
                  <a:pt x="1022" y="2623"/>
                </a:lnTo>
                <a:lnTo>
                  <a:pt x="1020" y="2622"/>
                </a:lnTo>
                <a:lnTo>
                  <a:pt x="1019" y="2620"/>
                </a:lnTo>
                <a:lnTo>
                  <a:pt x="1019" y="2617"/>
                </a:lnTo>
                <a:lnTo>
                  <a:pt x="1019" y="2615"/>
                </a:lnTo>
                <a:lnTo>
                  <a:pt x="1020" y="2612"/>
                </a:lnTo>
                <a:lnTo>
                  <a:pt x="1175" y="2216"/>
                </a:lnTo>
                <a:lnTo>
                  <a:pt x="1176" y="2214"/>
                </a:lnTo>
                <a:lnTo>
                  <a:pt x="1178" y="2212"/>
                </a:lnTo>
                <a:lnTo>
                  <a:pt x="1181" y="2209"/>
                </a:lnTo>
                <a:lnTo>
                  <a:pt x="1184" y="2207"/>
                </a:lnTo>
                <a:lnTo>
                  <a:pt x="1187" y="2207"/>
                </a:lnTo>
                <a:lnTo>
                  <a:pt x="1189" y="2207"/>
                </a:lnTo>
                <a:lnTo>
                  <a:pt x="1259" y="2207"/>
                </a:lnTo>
                <a:lnTo>
                  <a:pt x="1263" y="2207"/>
                </a:lnTo>
                <a:lnTo>
                  <a:pt x="1267" y="2209"/>
                </a:lnTo>
                <a:lnTo>
                  <a:pt x="1270" y="2212"/>
                </a:lnTo>
                <a:lnTo>
                  <a:pt x="1271" y="2214"/>
                </a:lnTo>
                <a:lnTo>
                  <a:pt x="1272" y="2216"/>
                </a:lnTo>
                <a:lnTo>
                  <a:pt x="1428" y="2612"/>
                </a:lnTo>
                <a:lnTo>
                  <a:pt x="1429" y="2615"/>
                </a:lnTo>
                <a:lnTo>
                  <a:pt x="1429" y="2617"/>
                </a:lnTo>
                <a:lnTo>
                  <a:pt x="1428" y="2620"/>
                </a:lnTo>
                <a:lnTo>
                  <a:pt x="1427" y="2622"/>
                </a:lnTo>
                <a:lnTo>
                  <a:pt x="1426" y="2623"/>
                </a:lnTo>
                <a:lnTo>
                  <a:pt x="1424" y="2624"/>
                </a:lnTo>
                <a:lnTo>
                  <a:pt x="1421" y="2625"/>
                </a:lnTo>
                <a:lnTo>
                  <a:pt x="1419" y="2625"/>
                </a:lnTo>
                <a:lnTo>
                  <a:pt x="1339" y="2625"/>
                </a:lnTo>
                <a:lnTo>
                  <a:pt x="1334" y="2625"/>
                </a:lnTo>
                <a:lnTo>
                  <a:pt x="1332" y="2624"/>
                </a:lnTo>
                <a:lnTo>
                  <a:pt x="1330" y="2623"/>
                </a:lnTo>
                <a:lnTo>
                  <a:pt x="1329" y="2622"/>
                </a:lnTo>
                <a:lnTo>
                  <a:pt x="1327" y="2620"/>
                </a:lnTo>
                <a:lnTo>
                  <a:pt x="1326" y="2618"/>
                </a:lnTo>
                <a:lnTo>
                  <a:pt x="1325" y="2616"/>
                </a:lnTo>
                <a:lnTo>
                  <a:pt x="1303" y="2558"/>
                </a:lnTo>
                <a:close/>
                <a:moveTo>
                  <a:pt x="1156" y="2177"/>
                </a:moveTo>
                <a:lnTo>
                  <a:pt x="1151" y="2177"/>
                </a:lnTo>
                <a:lnTo>
                  <a:pt x="1146" y="2176"/>
                </a:lnTo>
                <a:lnTo>
                  <a:pt x="1141" y="2175"/>
                </a:lnTo>
                <a:lnTo>
                  <a:pt x="1136" y="2173"/>
                </a:lnTo>
                <a:lnTo>
                  <a:pt x="1128" y="2169"/>
                </a:lnTo>
                <a:lnTo>
                  <a:pt x="1124" y="2166"/>
                </a:lnTo>
                <a:lnTo>
                  <a:pt x="1121" y="2163"/>
                </a:lnTo>
                <a:lnTo>
                  <a:pt x="1118" y="2160"/>
                </a:lnTo>
                <a:lnTo>
                  <a:pt x="1115" y="2156"/>
                </a:lnTo>
                <a:lnTo>
                  <a:pt x="1112" y="2152"/>
                </a:lnTo>
                <a:lnTo>
                  <a:pt x="1110" y="2148"/>
                </a:lnTo>
                <a:lnTo>
                  <a:pt x="1109" y="2143"/>
                </a:lnTo>
                <a:lnTo>
                  <a:pt x="1108" y="2138"/>
                </a:lnTo>
                <a:lnTo>
                  <a:pt x="1107" y="2133"/>
                </a:lnTo>
                <a:lnTo>
                  <a:pt x="1107" y="2128"/>
                </a:lnTo>
                <a:lnTo>
                  <a:pt x="1107" y="2123"/>
                </a:lnTo>
                <a:lnTo>
                  <a:pt x="1108" y="2118"/>
                </a:lnTo>
                <a:lnTo>
                  <a:pt x="1109" y="2113"/>
                </a:lnTo>
                <a:lnTo>
                  <a:pt x="1110" y="2108"/>
                </a:lnTo>
                <a:lnTo>
                  <a:pt x="1112" y="2104"/>
                </a:lnTo>
                <a:lnTo>
                  <a:pt x="1115" y="2100"/>
                </a:lnTo>
                <a:lnTo>
                  <a:pt x="1118" y="2096"/>
                </a:lnTo>
                <a:lnTo>
                  <a:pt x="1121" y="2093"/>
                </a:lnTo>
                <a:lnTo>
                  <a:pt x="1124" y="2090"/>
                </a:lnTo>
                <a:lnTo>
                  <a:pt x="1128" y="2087"/>
                </a:lnTo>
                <a:lnTo>
                  <a:pt x="1132" y="2084"/>
                </a:lnTo>
                <a:lnTo>
                  <a:pt x="1136" y="2082"/>
                </a:lnTo>
                <a:lnTo>
                  <a:pt x="1141" y="2081"/>
                </a:lnTo>
                <a:lnTo>
                  <a:pt x="1146" y="2080"/>
                </a:lnTo>
                <a:lnTo>
                  <a:pt x="1151" y="2079"/>
                </a:lnTo>
                <a:lnTo>
                  <a:pt x="1156" y="2079"/>
                </a:lnTo>
                <a:lnTo>
                  <a:pt x="1162" y="2079"/>
                </a:lnTo>
                <a:lnTo>
                  <a:pt x="1167" y="2080"/>
                </a:lnTo>
                <a:lnTo>
                  <a:pt x="1172" y="2081"/>
                </a:lnTo>
                <a:lnTo>
                  <a:pt x="1176" y="2082"/>
                </a:lnTo>
                <a:lnTo>
                  <a:pt x="1185" y="2087"/>
                </a:lnTo>
                <a:lnTo>
                  <a:pt x="1189" y="2090"/>
                </a:lnTo>
                <a:lnTo>
                  <a:pt x="1192" y="2093"/>
                </a:lnTo>
                <a:lnTo>
                  <a:pt x="1195" y="2096"/>
                </a:lnTo>
                <a:lnTo>
                  <a:pt x="1198" y="2100"/>
                </a:lnTo>
                <a:lnTo>
                  <a:pt x="1200" y="2104"/>
                </a:lnTo>
                <a:lnTo>
                  <a:pt x="1202" y="2108"/>
                </a:lnTo>
                <a:lnTo>
                  <a:pt x="1204" y="2113"/>
                </a:lnTo>
                <a:lnTo>
                  <a:pt x="1205" y="2118"/>
                </a:lnTo>
                <a:lnTo>
                  <a:pt x="1206" y="2123"/>
                </a:lnTo>
                <a:lnTo>
                  <a:pt x="1206" y="2128"/>
                </a:lnTo>
                <a:lnTo>
                  <a:pt x="1206" y="2133"/>
                </a:lnTo>
                <a:lnTo>
                  <a:pt x="1205" y="2138"/>
                </a:lnTo>
                <a:lnTo>
                  <a:pt x="1204" y="2143"/>
                </a:lnTo>
                <a:lnTo>
                  <a:pt x="1202" y="2148"/>
                </a:lnTo>
                <a:lnTo>
                  <a:pt x="1200" y="2152"/>
                </a:lnTo>
                <a:lnTo>
                  <a:pt x="1198" y="2156"/>
                </a:lnTo>
                <a:lnTo>
                  <a:pt x="1195" y="2160"/>
                </a:lnTo>
                <a:lnTo>
                  <a:pt x="1192" y="2163"/>
                </a:lnTo>
                <a:lnTo>
                  <a:pt x="1189" y="2166"/>
                </a:lnTo>
                <a:lnTo>
                  <a:pt x="1185" y="2169"/>
                </a:lnTo>
                <a:lnTo>
                  <a:pt x="1181" y="2171"/>
                </a:lnTo>
                <a:lnTo>
                  <a:pt x="1176" y="2173"/>
                </a:lnTo>
                <a:lnTo>
                  <a:pt x="1172" y="2175"/>
                </a:lnTo>
                <a:lnTo>
                  <a:pt x="1167" y="2176"/>
                </a:lnTo>
                <a:lnTo>
                  <a:pt x="1162" y="2177"/>
                </a:lnTo>
                <a:lnTo>
                  <a:pt x="1156" y="2177"/>
                </a:lnTo>
                <a:close/>
                <a:moveTo>
                  <a:pt x="1624" y="2446"/>
                </a:moveTo>
                <a:lnTo>
                  <a:pt x="1624" y="2615"/>
                </a:lnTo>
                <a:lnTo>
                  <a:pt x="1624" y="2617"/>
                </a:lnTo>
                <a:lnTo>
                  <a:pt x="1623" y="2619"/>
                </a:lnTo>
                <a:lnTo>
                  <a:pt x="1622" y="2622"/>
                </a:lnTo>
                <a:lnTo>
                  <a:pt x="1620" y="2623"/>
                </a:lnTo>
                <a:lnTo>
                  <a:pt x="1619" y="2624"/>
                </a:lnTo>
                <a:lnTo>
                  <a:pt x="1617" y="2625"/>
                </a:lnTo>
                <a:lnTo>
                  <a:pt x="1615" y="2625"/>
                </a:lnTo>
                <a:lnTo>
                  <a:pt x="1536" y="2625"/>
                </a:lnTo>
                <a:lnTo>
                  <a:pt x="1532" y="2624"/>
                </a:lnTo>
                <a:lnTo>
                  <a:pt x="1529" y="2622"/>
                </a:lnTo>
                <a:lnTo>
                  <a:pt x="1527" y="2619"/>
                </a:lnTo>
                <a:lnTo>
                  <a:pt x="1527" y="2617"/>
                </a:lnTo>
                <a:lnTo>
                  <a:pt x="1526" y="2615"/>
                </a:lnTo>
                <a:lnTo>
                  <a:pt x="1526" y="2446"/>
                </a:lnTo>
                <a:lnTo>
                  <a:pt x="1430" y="2220"/>
                </a:lnTo>
                <a:lnTo>
                  <a:pt x="1429" y="2217"/>
                </a:lnTo>
                <a:lnTo>
                  <a:pt x="1429" y="2214"/>
                </a:lnTo>
                <a:lnTo>
                  <a:pt x="1429" y="2212"/>
                </a:lnTo>
                <a:lnTo>
                  <a:pt x="1430" y="2210"/>
                </a:lnTo>
                <a:lnTo>
                  <a:pt x="1431" y="2209"/>
                </a:lnTo>
                <a:lnTo>
                  <a:pt x="1432" y="2208"/>
                </a:lnTo>
                <a:lnTo>
                  <a:pt x="1434" y="2207"/>
                </a:lnTo>
                <a:lnTo>
                  <a:pt x="1437" y="2207"/>
                </a:lnTo>
                <a:lnTo>
                  <a:pt x="1516" y="2207"/>
                </a:lnTo>
                <a:lnTo>
                  <a:pt x="1520" y="2207"/>
                </a:lnTo>
                <a:lnTo>
                  <a:pt x="1523" y="2208"/>
                </a:lnTo>
                <a:lnTo>
                  <a:pt x="1524" y="2209"/>
                </a:lnTo>
                <a:lnTo>
                  <a:pt x="1526" y="2210"/>
                </a:lnTo>
                <a:lnTo>
                  <a:pt x="1528" y="2211"/>
                </a:lnTo>
                <a:lnTo>
                  <a:pt x="1529" y="2213"/>
                </a:lnTo>
                <a:lnTo>
                  <a:pt x="1530" y="2215"/>
                </a:lnTo>
                <a:lnTo>
                  <a:pt x="1577" y="2342"/>
                </a:lnTo>
                <a:lnTo>
                  <a:pt x="1621" y="2215"/>
                </a:lnTo>
                <a:lnTo>
                  <a:pt x="1622" y="2213"/>
                </a:lnTo>
                <a:lnTo>
                  <a:pt x="1623" y="2211"/>
                </a:lnTo>
                <a:lnTo>
                  <a:pt x="1625" y="2210"/>
                </a:lnTo>
                <a:lnTo>
                  <a:pt x="1627" y="2209"/>
                </a:lnTo>
                <a:lnTo>
                  <a:pt x="1629" y="2208"/>
                </a:lnTo>
                <a:lnTo>
                  <a:pt x="1631" y="2207"/>
                </a:lnTo>
                <a:lnTo>
                  <a:pt x="1635" y="2207"/>
                </a:lnTo>
                <a:lnTo>
                  <a:pt x="1712" y="2207"/>
                </a:lnTo>
                <a:lnTo>
                  <a:pt x="1714" y="2207"/>
                </a:lnTo>
                <a:lnTo>
                  <a:pt x="1716" y="2208"/>
                </a:lnTo>
                <a:lnTo>
                  <a:pt x="1717" y="2209"/>
                </a:lnTo>
                <a:lnTo>
                  <a:pt x="1718" y="2210"/>
                </a:lnTo>
                <a:lnTo>
                  <a:pt x="1719" y="2212"/>
                </a:lnTo>
                <a:lnTo>
                  <a:pt x="1719" y="2214"/>
                </a:lnTo>
                <a:lnTo>
                  <a:pt x="1719" y="2217"/>
                </a:lnTo>
                <a:lnTo>
                  <a:pt x="1718" y="2220"/>
                </a:lnTo>
                <a:lnTo>
                  <a:pt x="1624" y="2446"/>
                </a:lnTo>
                <a:close/>
                <a:moveTo>
                  <a:pt x="1929" y="2536"/>
                </a:moveTo>
                <a:lnTo>
                  <a:pt x="1941" y="2536"/>
                </a:lnTo>
                <a:lnTo>
                  <a:pt x="1947" y="2535"/>
                </a:lnTo>
                <a:lnTo>
                  <a:pt x="1953" y="2534"/>
                </a:lnTo>
                <a:lnTo>
                  <a:pt x="1964" y="2532"/>
                </a:lnTo>
                <a:lnTo>
                  <a:pt x="1975" y="2528"/>
                </a:lnTo>
                <a:lnTo>
                  <a:pt x="1980" y="2526"/>
                </a:lnTo>
                <a:lnTo>
                  <a:pt x="1985" y="2524"/>
                </a:lnTo>
                <a:lnTo>
                  <a:pt x="1995" y="2519"/>
                </a:lnTo>
                <a:lnTo>
                  <a:pt x="2004" y="2512"/>
                </a:lnTo>
                <a:lnTo>
                  <a:pt x="2012" y="2505"/>
                </a:lnTo>
                <a:lnTo>
                  <a:pt x="2019" y="2497"/>
                </a:lnTo>
                <a:lnTo>
                  <a:pt x="2026" y="2488"/>
                </a:lnTo>
                <a:lnTo>
                  <a:pt x="2032" y="2478"/>
                </a:lnTo>
                <a:lnTo>
                  <a:pt x="2034" y="2473"/>
                </a:lnTo>
                <a:lnTo>
                  <a:pt x="2036" y="2467"/>
                </a:lnTo>
                <a:lnTo>
                  <a:pt x="2038" y="2461"/>
                </a:lnTo>
                <a:lnTo>
                  <a:pt x="2040" y="2455"/>
                </a:lnTo>
                <a:lnTo>
                  <a:pt x="2043" y="2443"/>
                </a:lnTo>
                <a:lnTo>
                  <a:pt x="2045" y="2430"/>
                </a:lnTo>
                <a:lnTo>
                  <a:pt x="2045" y="2423"/>
                </a:lnTo>
                <a:lnTo>
                  <a:pt x="2045" y="2416"/>
                </a:lnTo>
                <a:lnTo>
                  <a:pt x="2045" y="2402"/>
                </a:lnTo>
                <a:lnTo>
                  <a:pt x="2043" y="2388"/>
                </a:lnTo>
                <a:lnTo>
                  <a:pt x="2040" y="2376"/>
                </a:lnTo>
                <a:lnTo>
                  <a:pt x="2036" y="2364"/>
                </a:lnTo>
                <a:lnTo>
                  <a:pt x="2032" y="2354"/>
                </a:lnTo>
                <a:lnTo>
                  <a:pt x="2026" y="2344"/>
                </a:lnTo>
                <a:lnTo>
                  <a:pt x="2023" y="2339"/>
                </a:lnTo>
                <a:lnTo>
                  <a:pt x="2019" y="2335"/>
                </a:lnTo>
                <a:lnTo>
                  <a:pt x="2012" y="2326"/>
                </a:lnTo>
                <a:lnTo>
                  <a:pt x="2008" y="2323"/>
                </a:lnTo>
                <a:lnTo>
                  <a:pt x="2004" y="2319"/>
                </a:lnTo>
                <a:lnTo>
                  <a:pt x="1995" y="2313"/>
                </a:lnTo>
                <a:lnTo>
                  <a:pt x="1990" y="2310"/>
                </a:lnTo>
                <a:lnTo>
                  <a:pt x="1985" y="2308"/>
                </a:lnTo>
                <a:lnTo>
                  <a:pt x="1980" y="2305"/>
                </a:lnTo>
                <a:lnTo>
                  <a:pt x="1975" y="2303"/>
                </a:lnTo>
                <a:lnTo>
                  <a:pt x="1964" y="2300"/>
                </a:lnTo>
                <a:lnTo>
                  <a:pt x="1953" y="2297"/>
                </a:lnTo>
                <a:lnTo>
                  <a:pt x="1947" y="2296"/>
                </a:lnTo>
                <a:lnTo>
                  <a:pt x="1941" y="2296"/>
                </a:lnTo>
                <a:lnTo>
                  <a:pt x="1929" y="2295"/>
                </a:lnTo>
                <a:lnTo>
                  <a:pt x="1888" y="2295"/>
                </a:lnTo>
                <a:lnTo>
                  <a:pt x="1888" y="2536"/>
                </a:lnTo>
                <a:lnTo>
                  <a:pt x="1929" y="2536"/>
                </a:lnTo>
                <a:close/>
                <a:moveTo>
                  <a:pt x="1928" y="2207"/>
                </a:moveTo>
                <a:lnTo>
                  <a:pt x="1941" y="2207"/>
                </a:lnTo>
                <a:lnTo>
                  <a:pt x="1953" y="2207"/>
                </a:lnTo>
                <a:lnTo>
                  <a:pt x="1966" y="2209"/>
                </a:lnTo>
                <a:lnTo>
                  <a:pt x="1978" y="2210"/>
                </a:lnTo>
                <a:lnTo>
                  <a:pt x="1989" y="2212"/>
                </a:lnTo>
                <a:lnTo>
                  <a:pt x="2001" y="2215"/>
                </a:lnTo>
                <a:lnTo>
                  <a:pt x="2011" y="2218"/>
                </a:lnTo>
                <a:lnTo>
                  <a:pt x="2022" y="2222"/>
                </a:lnTo>
                <a:lnTo>
                  <a:pt x="2032" y="2225"/>
                </a:lnTo>
                <a:lnTo>
                  <a:pt x="2042" y="2230"/>
                </a:lnTo>
                <a:lnTo>
                  <a:pt x="2051" y="2235"/>
                </a:lnTo>
                <a:lnTo>
                  <a:pt x="2061" y="2240"/>
                </a:lnTo>
                <a:lnTo>
                  <a:pt x="2069" y="2245"/>
                </a:lnTo>
                <a:lnTo>
                  <a:pt x="2078" y="2251"/>
                </a:lnTo>
                <a:lnTo>
                  <a:pt x="2085" y="2257"/>
                </a:lnTo>
                <a:lnTo>
                  <a:pt x="2093" y="2264"/>
                </a:lnTo>
                <a:lnTo>
                  <a:pt x="2100" y="2271"/>
                </a:lnTo>
                <a:lnTo>
                  <a:pt x="2107" y="2279"/>
                </a:lnTo>
                <a:lnTo>
                  <a:pt x="2113" y="2286"/>
                </a:lnTo>
                <a:lnTo>
                  <a:pt x="2119" y="2294"/>
                </a:lnTo>
                <a:lnTo>
                  <a:pt x="2121" y="2299"/>
                </a:lnTo>
                <a:lnTo>
                  <a:pt x="2124" y="2303"/>
                </a:lnTo>
                <a:lnTo>
                  <a:pt x="2129" y="2312"/>
                </a:lnTo>
                <a:lnTo>
                  <a:pt x="2133" y="2321"/>
                </a:lnTo>
                <a:lnTo>
                  <a:pt x="2137" y="2330"/>
                </a:lnTo>
                <a:lnTo>
                  <a:pt x="2141" y="2340"/>
                </a:lnTo>
                <a:lnTo>
                  <a:pt x="2144" y="2350"/>
                </a:lnTo>
                <a:lnTo>
                  <a:pt x="2147" y="2360"/>
                </a:lnTo>
                <a:lnTo>
                  <a:pt x="2149" y="2371"/>
                </a:lnTo>
                <a:lnTo>
                  <a:pt x="2151" y="2382"/>
                </a:lnTo>
                <a:lnTo>
                  <a:pt x="2152" y="2393"/>
                </a:lnTo>
                <a:lnTo>
                  <a:pt x="2153" y="2404"/>
                </a:lnTo>
                <a:lnTo>
                  <a:pt x="2153" y="2416"/>
                </a:lnTo>
                <a:lnTo>
                  <a:pt x="2153" y="2427"/>
                </a:lnTo>
                <a:lnTo>
                  <a:pt x="2152" y="2439"/>
                </a:lnTo>
                <a:lnTo>
                  <a:pt x="2151" y="2450"/>
                </a:lnTo>
                <a:lnTo>
                  <a:pt x="2149" y="2461"/>
                </a:lnTo>
                <a:lnTo>
                  <a:pt x="2147" y="2471"/>
                </a:lnTo>
                <a:lnTo>
                  <a:pt x="2144" y="2481"/>
                </a:lnTo>
                <a:lnTo>
                  <a:pt x="2141" y="2491"/>
                </a:lnTo>
                <a:lnTo>
                  <a:pt x="2137" y="2501"/>
                </a:lnTo>
                <a:lnTo>
                  <a:pt x="2133" y="2511"/>
                </a:lnTo>
                <a:lnTo>
                  <a:pt x="2129" y="2520"/>
                </a:lnTo>
                <a:lnTo>
                  <a:pt x="2124" y="2528"/>
                </a:lnTo>
                <a:lnTo>
                  <a:pt x="2119" y="2537"/>
                </a:lnTo>
                <a:lnTo>
                  <a:pt x="2113" y="2545"/>
                </a:lnTo>
                <a:lnTo>
                  <a:pt x="2107" y="2553"/>
                </a:lnTo>
                <a:lnTo>
                  <a:pt x="2100" y="2560"/>
                </a:lnTo>
                <a:lnTo>
                  <a:pt x="2093" y="2567"/>
                </a:lnTo>
                <a:lnTo>
                  <a:pt x="2085" y="2574"/>
                </a:lnTo>
                <a:lnTo>
                  <a:pt x="2078" y="2580"/>
                </a:lnTo>
                <a:lnTo>
                  <a:pt x="2069" y="2586"/>
                </a:lnTo>
                <a:lnTo>
                  <a:pt x="2061" y="2592"/>
                </a:lnTo>
                <a:lnTo>
                  <a:pt x="2051" y="2597"/>
                </a:lnTo>
                <a:lnTo>
                  <a:pt x="2042" y="2602"/>
                </a:lnTo>
                <a:lnTo>
                  <a:pt x="2032" y="2606"/>
                </a:lnTo>
                <a:lnTo>
                  <a:pt x="2022" y="2610"/>
                </a:lnTo>
                <a:lnTo>
                  <a:pt x="2011" y="2613"/>
                </a:lnTo>
                <a:lnTo>
                  <a:pt x="2001" y="2616"/>
                </a:lnTo>
                <a:lnTo>
                  <a:pt x="1989" y="2619"/>
                </a:lnTo>
                <a:lnTo>
                  <a:pt x="1978" y="2621"/>
                </a:lnTo>
                <a:lnTo>
                  <a:pt x="1966" y="2623"/>
                </a:lnTo>
                <a:lnTo>
                  <a:pt x="1953" y="2624"/>
                </a:lnTo>
                <a:lnTo>
                  <a:pt x="1941" y="2625"/>
                </a:lnTo>
                <a:lnTo>
                  <a:pt x="1928" y="2625"/>
                </a:lnTo>
                <a:lnTo>
                  <a:pt x="1795" y="2625"/>
                </a:lnTo>
                <a:lnTo>
                  <a:pt x="1791" y="2624"/>
                </a:lnTo>
                <a:lnTo>
                  <a:pt x="1788" y="2622"/>
                </a:lnTo>
                <a:lnTo>
                  <a:pt x="1787" y="2621"/>
                </a:lnTo>
                <a:lnTo>
                  <a:pt x="1786" y="2619"/>
                </a:lnTo>
                <a:lnTo>
                  <a:pt x="1785" y="2617"/>
                </a:lnTo>
                <a:lnTo>
                  <a:pt x="1785" y="2615"/>
                </a:lnTo>
                <a:lnTo>
                  <a:pt x="1785" y="2217"/>
                </a:lnTo>
                <a:lnTo>
                  <a:pt x="1785" y="2214"/>
                </a:lnTo>
                <a:lnTo>
                  <a:pt x="1786" y="2212"/>
                </a:lnTo>
                <a:lnTo>
                  <a:pt x="1788" y="2209"/>
                </a:lnTo>
                <a:lnTo>
                  <a:pt x="1789" y="2208"/>
                </a:lnTo>
                <a:lnTo>
                  <a:pt x="1791" y="2207"/>
                </a:lnTo>
                <a:lnTo>
                  <a:pt x="1795" y="2207"/>
                </a:lnTo>
                <a:lnTo>
                  <a:pt x="1928" y="2207"/>
                </a:lnTo>
                <a:close/>
                <a:moveTo>
                  <a:pt x="2397" y="2177"/>
                </a:moveTo>
                <a:lnTo>
                  <a:pt x="2392" y="2177"/>
                </a:lnTo>
                <a:lnTo>
                  <a:pt x="2386" y="2176"/>
                </a:lnTo>
                <a:lnTo>
                  <a:pt x="2382" y="2175"/>
                </a:lnTo>
                <a:lnTo>
                  <a:pt x="2377" y="2173"/>
                </a:lnTo>
                <a:lnTo>
                  <a:pt x="2368" y="2169"/>
                </a:lnTo>
                <a:lnTo>
                  <a:pt x="2365" y="2166"/>
                </a:lnTo>
                <a:lnTo>
                  <a:pt x="2361" y="2163"/>
                </a:lnTo>
                <a:lnTo>
                  <a:pt x="2358" y="2160"/>
                </a:lnTo>
                <a:lnTo>
                  <a:pt x="2355" y="2156"/>
                </a:lnTo>
                <a:lnTo>
                  <a:pt x="2353" y="2152"/>
                </a:lnTo>
                <a:lnTo>
                  <a:pt x="2351" y="2148"/>
                </a:lnTo>
                <a:lnTo>
                  <a:pt x="2349" y="2143"/>
                </a:lnTo>
                <a:lnTo>
                  <a:pt x="2348" y="2138"/>
                </a:lnTo>
                <a:lnTo>
                  <a:pt x="2347" y="2133"/>
                </a:lnTo>
                <a:lnTo>
                  <a:pt x="2347" y="2128"/>
                </a:lnTo>
                <a:lnTo>
                  <a:pt x="2347" y="2123"/>
                </a:lnTo>
                <a:lnTo>
                  <a:pt x="2348" y="2118"/>
                </a:lnTo>
                <a:lnTo>
                  <a:pt x="2349" y="2113"/>
                </a:lnTo>
                <a:lnTo>
                  <a:pt x="2351" y="2108"/>
                </a:lnTo>
                <a:lnTo>
                  <a:pt x="2353" y="2104"/>
                </a:lnTo>
                <a:lnTo>
                  <a:pt x="2355" y="2100"/>
                </a:lnTo>
                <a:lnTo>
                  <a:pt x="2358" y="2096"/>
                </a:lnTo>
                <a:lnTo>
                  <a:pt x="2361" y="2093"/>
                </a:lnTo>
                <a:lnTo>
                  <a:pt x="2365" y="2090"/>
                </a:lnTo>
                <a:lnTo>
                  <a:pt x="2368" y="2087"/>
                </a:lnTo>
                <a:lnTo>
                  <a:pt x="2373" y="2084"/>
                </a:lnTo>
                <a:lnTo>
                  <a:pt x="2377" y="2082"/>
                </a:lnTo>
                <a:lnTo>
                  <a:pt x="2382" y="2081"/>
                </a:lnTo>
                <a:lnTo>
                  <a:pt x="2386" y="2080"/>
                </a:lnTo>
                <a:lnTo>
                  <a:pt x="2392" y="2079"/>
                </a:lnTo>
                <a:lnTo>
                  <a:pt x="2397" y="2079"/>
                </a:lnTo>
                <a:lnTo>
                  <a:pt x="2402" y="2079"/>
                </a:lnTo>
                <a:lnTo>
                  <a:pt x="2407" y="2080"/>
                </a:lnTo>
                <a:lnTo>
                  <a:pt x="2412" y="2081"/>
                </a:lnTo>
                <a:lnTo>
                  <a:pt x="2417" y="2082"/>
                </a:lnTo>
                <a:lnTo>
                  <a:pt x="2425" y="2087"/>
                </a:lnTo>
                <a:lnTo>
                  <a:pt x="2429" y="2090"/>
                </a:lnTo>
                <a:lnTo>
                  <a:pt x="2433" y="2093"/>
                </a:lnTo>
                <a:lnTo>
                  <a:pt x="2436" y="2096"/>
                </a:lnTo>
                <a:lnTo>
                  <a:pt x="2438" y="2100"/>
                </a:lnTo>
                <a:lnTo>
                  <a:pt x="2441" y="2104"/>
                </a:lnTo>
                <a:lnTo>
                  <a:pt x="2443" y="2108"/>
                </a:lnTo>
                <a:lnTo>
                  <a:pt x="2444" y="2113"/>
                </a:lnTo>
                <a:lnTo>
                  <a:pt x="2446" y="2118"/>
                </a:lnTo>
                <a:lnTo>
                  <a:pt x="2446" y="2123"/>
                </a:lnTo>
                <a:lnTo>
                  <a:pt x="2447" y="2128"/>
                </a:lnTo>
                <a:lnTo>
                  <a:pt x="2446" y="2133"/>
                </a:lnTo>
                <a:lnTo>
                  <a:pt x="2446" y="2138"/>
                </a:lnTo>
                <a:lnTo>
                  <a:pt x="2444" y="2143"/>
                </a:lnTo>
                <a:lnTo>
                  <a:pt x="2443" y="2148"/>
                </a:lnTo>
                <a:lnTo>
                  <a:pt x="2441" y="2152"/>
                </a:lnTo>
                <a:lnTo>
                  <a:pt x="2438" y="2156"/>
                </a:lnTo>
                <a:lnTo>
                  <a:pt x="2436" y="2160"/>
                </a:lnTo>
                <a:lnTo>
                  <a:pt x="2433" y="2163"/>
                </a:lnTo>
                <a:lnTo>
                  <a:pt x="2429" y="2166"/>
                </a:lnTo>
                <a:lnTo>
                  <a:pt x="2425" y="2169"/>
                </a:lnTo>
                <a:lnTo>
                  <a:pt x="2421" y="2171"/>
                </a:lnTo>
                <a:lnTo>
                  <a:pt x="2417" y="2173"/>
                </a:lnTo>
                <a:lnTo>
                  <a:pt x="2412" y="2175"/>
                </a:lnTo>
                <a:lnTo>
                  <a:pt x="2407" y="2176"/>
                </a:lnTo>
                <a:lnTo>
                  <a:pt x="2402" y="2177"/>
                </a:lnTo>
                <a:lnTo>
                  <a:pt x="2397" y="2177"/>
                </a:lnTo>
                <a:close/>
                <a:moveTo>
                  <a:pt x="2303" y="2480"/>
                </a:moveTo>
                <a:lnTo>
                  <a:pt x="2357" y="2480"/>
                </a:lnTo>
                <a:lnTo>
                  <a:pt x="2331" y="2354"/>
                </a:lnTo>
                <a:lnTo>
                  <a:pt x="2303" y="2480"/>
                </a:lnTo>
                <a:close/>
                <a:moveTo>
                  <a:pt x="2372" y="2558"/>
                </a:moveTo>
                <a:lnTo>
                  <a:pt x="2289" y="2558"/>
                </a:lnTo>
                <a:lnTo>
                  <a:pt x="2277" y="2615"/>
                </a:lnTo>
                <a:lnTo>
                  <a:pt x="2276" y="2618"/>
                </a:lnTo>
                <a:lnTo>
                  <a:pt x="2275" y="2620"/>
                </a:lnTo>
                <a:lnTo>
                  <a:pt x="2273" y="2623"/>
                </a:lnTo>
                <a:lnTo>
                  <a:pt x="2271" y="2624"/>
                </a:lnTo>
                <a:lnTo>
                  <a:pt x="2269" y="2625"/>
                </a:lnTo>
                <a:lnTo>
                  <a:pt x="2267" y="2625"/>
                </a:lnTo>
                <a:lnTo>
                  <a:pt x="2265" y="2625"/>
                </a:lnTo>
                <a:lnTo>
                  <a:pt x="2192" y="2625"/>
                </a:lnTo>
                <a:lnTo>
                  <a:pt x="2190" y="2625"/>
                </a:lnTo>
                <a:lnTo>
                  <a:pt x="2188" y="2624"/>
                </a:lnTo>
                <a:lnTo>
                  <a:pt x="2187" y="2623"/>
                </a:lnTo>
                <a:lnTo>
                  <a:pt x="2185" y="2622"/>
                </a:lnTo>
                <a:lnTo>
                  <a:pt x="2184" y="2620"/>
                </a:lnTo>
                <a:lnTo>
                  <a:pt x="2184" y="2618"/>
                </a:lnTo>
                <a:lnTo>
                  <a:pt x="2185" y="2612"/>
                </a:lnTo>
                <a:lnTo>
                  <a:pt x="2277" y="2217"/>
                </a:lnTo>
                <a:lnTo>
                  <a:pt x="2278" y="2214"/>
                </a:lnTo>
                <a:lnTo>
                  <a:pt x="2279" y="2212"/>
                </a:lnTo>
                <a:lnTo>
                  <a:pt x="2281" y="2209"/>
                </a:lnTo>
                <a:lnTo>
                  <a:pt x="2283" y="2208"/>
                </a:lnTo>
                <a:lnTo>
                  <a:pt x="2285" y="2207"/>
                </a:lnTo>
                <a:lnTo>
                  <a:pt x="2290" y="2207"/>
                </a:lnTo>
                <a:lnTo>
                  <a:pt x="2372" y="2207"/>
                </a:lnTo>
                <a:lnTo>
                  <a:pt x="2375" y="2207"/>
                </a:lnTo>
                <a:lnTo>
                  <a:pt x="2377" y="2207"/>
                </a:lnTo>
                <a:lnTo>
                  <a:pt x="2381" y="2209"/>
                </a:lnTo>
                <a:lnTo>
                  <a:pt x="2384" y="2212"/>
                </a:lnTo>
                <a:lnTo>
                  <a:pt x="2384" y="2214"/>
                </a:lnTo>
                <a:lnTo>
                  <a:pt x="2385" y="2217"/>
                </a:lnTo>
                <a:lnTo>
                  <a:pt x="2477" y="2612"/>
                </a:lnTo>
                <a:lnTo>
                  <a:pt x="2478" y="2618"/>
                </a:lnTo>
                <a:lnTo>
                  <a:pt x="2478" y="2620"/>
                </a:lnTo>
                <a:lnTo>
                  <a:pt x="2477" y="2622"/>
                </a:lnTo>
                <a:lnTo>
                  <a:pt x="2476" y="2623"/>
                </a:lnTo>
                <a:lnTo>
                  <a:pt x="2474" y="2624"/>
                </a:lnTo>
                <a:lnTo>
                  <a:pt x="2470" y="2625"/>
                </a:lnTo>
                <a:lnTo>
                  <a:pt x="2395" y="2625"/>
                </a:lnTo>
                <a:lnTo>
                  <a:pt x="2391" y="2625"/>
                </a:lnTo>
                <a:lnTo>
                  <a:pt x="2388" y="2623"/>
                </a:lnTo>
                <a:lnTo>
                  <a:pt x="2386" y="2621"/>
                </a:lnTo>
                <a:lnTo>
                  <a:pt x="2385" y="2620"/>
                </a:lnTo>
                <a:lnTo>
                  <a:pt x="2384" y="2618"/>
                </a:lnTo>
                <a:lnTo>
                  <a:pt x="2383" y="2615"/>
                </a:lnTo>
                <a:lnTo>
                  <a:pt x="2372" y="2558"/>
                </a:lnTo>
                <a:close/>
                <a:moveTo>
                  <a:pt x="2264" y="2177"/>
                </a:moveTo>
                <a:lnTo>
                  <a:pt x="2259" y="2177"/>
                </a:lnTo>
                <a:lnTo>
                  <a:pt x="2254" y="2176"/>
                </a:lnTo>
                <a:lnTo>
                  <a:pt x="2249" y="2175"/>
                </a:lnTo>
                <a:lnTo>
                  <a:pt x="2244" y="2173"/>
                </a:lnTo>
                <a:lnTo>
                  <a:pt x="2236" y="2169"/>
                </a:lnTo>
                <a:lnTo>
                  <a:pt x="2232" y="2166"/>
                </a:lnTo>
                <a:lnTo>
                  <a:pt x="2228" y="2163"/>
                </a:lnTo>
                <a:lnTo>
                  <a:pt x="2225" y="2160"/>
                </a:lnTo>
                <a:lnTo>
                  <a:pt x="2222" y="2156"/>
                </a:lnTo>
                <a:lnTo>
                  <a:pt x="2220" y="2152"/>
                </a:lnTo>
                <a:lnTo>
                  <a:pt x="2218" y="2148"/>
                </a:lnTo>
                <a:lnTo>
                  <a:pt x="2216" y="2143"/>
                </a:lnTo>
                <a:lnTo>
                  <a:pt x="2215" y="2138"/>
                </a:lnTo>
                <a:lnTo>
                  <a:pt x="2215" y="2133"/>
                </a:lnTo>
                <a:lnTo>
                  <a:pt x="2214" y="2128"/>
                </a:lnTo>
                <a:lnTo>
                  <a:pt x="2215" y="2123"/>
                </a:lnTo>
                <a:lnTo>
                  <a:pt x="2215" y="2118"/>
                </a:lnTo>
                <a:lnTo>
                  <a:pt x="2216" y="2113"/>
                </a:lnTo>
                <a:lnTo>
                  <a:pt x="2218" y="2108"/>
                </a:lnTo>
                <a:lnTo>
                  <a:pt x="2220" y="2104"/>
                </a:lnTo>
                <a:lnTo>
                  <a:pt x="2222" y="2100"/>
                </a:lnTo>
                <a:lnTo>
                  <a:pt x="2225" y="2096"/>
                </a:lnTo>
                <a:lnTo>
                  <a:pt x="2228" y="2093"/>
                </a:lnTo>
                <a:lnTo>
                  <a:pt x="2232" y="2090"/>
                </a:lnTo>
                <a:lnTo>
                  <a:pt x="2236" y="2087"/>
                </a:lnTo>
                <a:lnTo>
                  <a:pt x="2240" y="2084"/>
                </a:lnTo>
                <a:lnTo>
                  <a:pt x="2244" y="2082"/>
                </a:lnTo>
                <a:lnTo>
                  <a:pt x="2249" y="2081"/>
                </a:lnTo>
                <a:lnTo>
                  <a:pt x="2254" y="2080"/>
                </a:lnTo>
                <a:lnTo>
                  <a:pt x="2259" y="2079"/>
                </a:lnTo>
                <a:lnTo>
                  <a:pt x="2264" y="2079"/>
                </a:lnTo>
                <a:lnTo>
                  <a:pt x="2269" y="2079"/>
                </a:lnTo>
                <a:lnTo>
                  <a:pt x="2274" y="2080"/>
                </a:lnTo>
                <a:lnTo>
                  <a:pt x="2279" y="2081"/>
                </a:lnTo>
                <a:lnTo>
                  <a:pt x="2284" y="2082"/>
                </a:lnTo>
                <a:lnTo>
                  <a:pt x="2292" y="2087"/>
                </a:lnTo>
                <a:lnTo>
                  <a:pt x="2296" y="2090"/>
                </a:lnTo>
                <a:lnTo>
                  <a:pt x="2300" y="2093"/>
                </a:lnTo>
                <a:lnTo>
                  <a:pt x="2303" y="2096"/>
                </a:lnTo>
                <a:lnTo>
                  <a:pt x="2306" y="2100"/>
                </a:lnTo>
                <a:lnTo>
                  <a:pt x="2308" y="2104"/>
                </a:lnTo>
                <a:lnTo>
                  <a:pt x="2310" y="2108"/>
                </a:lnTo>
                <a:lnTo>
                  <a:pt x="2313" y="2113"/>
                </a:lnTo>
                <a:lnTo>
                  <a:pt x="2314" y="2118"/>
                </a:lnTo>
                <a:lnTo>
                  <a:pt x="2314" y="2123"/>
                </a:lnTo>
                <a:lnTo>
                  <a:pt x="2315" y="2128"/>
                </a:lnTo>
                <a:lnTo>
                  <a:pt x="2314" y="2133"/>
                </a:lnTo>
                <a:lnTo>
                  <a:pt x="2314" y="2138"/>
                </a:lnTo>
                <a:lnTo>
                  <a:pt x="2313" y="2143"/>
                </a:lnTo>
                <a:lnTo>
                  <a:pt x="2310" y="2148"/>
                </a:lnTo>
                <a:lnTo>
                  <a:pt x="2308" y="2152"/>
                </a:lnTo>
                <a:lnTo>
                  <a:pt x="2306" y="2156"/>
                </a:lnTo>
                <a:lnTo>
                  <a:pt x="2303" y="2160"/>
                </a:lnTo>
                <a:lnTo>
                  <a:pt x="2300" y="2163"/>
                </a:lnTo>
                <a:lnTo>
                  <a:pt x="2296" y="2166"/>
                </a:lnTo>
                <a:lnTo>
                  <a:pt x="2292" y="2169"/>
                </a:lnTo>
                <a:lnTo>
                  <a:pt x="2288" y="2171"/>
                </a:lnTo>
                <a:lnTo>
                  <a:pt x="2284" y="2173"/>
                </a:lnTo>
                <a:lnTo>
                  <a:pt x="2279" y="2175"/>
                </a:lnTo>
                <a:lnTo>
                  <a:pt x="2274" y="2176"/>
                </a:lnTo>
                <a:lnTo>
                  <a:pt x="2269" y="2177"/>
                </a:lnTo>
                <a:lnTo>
                  <a:pt x="2264" y="2177"/>
                </a:lnTo>
                <a:close/>
                <a:moveTo>
                  <a:pt x="1209" y="341"/>
                </a:moveTo>
                <a:lnTo>
                  <a:pt x="1221" y="341"/>
                </a:lnTo>
                <a:lnTo>
                  <a:pt x="1233" y="339"/>
                </a:lnTo>
                <a:lnTo>
                  <a:pt x="1244" y="336"/>
                </a:lnTo>
                <a:lnTo>
                  <a:pt x="1250" y="334"/>
                </a:lnTo>
                <a:lnTo>
                  <a:pt x="1255" y="332"/>
                </a:lnTo>
                <a:lnTo>
                  <a:pt x="1265" y="327"/>
                </a:lnTo>
                <a:lnTo>
                  <a:pt x="1275" y="322"/>
                </a:lnTo>
                <a:lnTo>
                  <a:pt x="1284" y="315"/>
                </a:lnTo>
                <a:lnTo>
                  <a:pt x="1292" y="307"/>
                </a:lnTo>
                <a:lnTo>
                  <a:pt x="1299" y="299"/>
                </a:lnTo>
                <a:lnTo>
                  <a:pt x="1306" y="289"/>
                </a:lnTo>
                <a:lnTo>
                  <a:pt x="1311" y="279"/>
                </a:lnTo>
                <a:lnTo>
                  <a:pt x="1316" y="268"/>
                </a:lnTo>
                <a:lnTo>
                  <a:pt x="1318" y="262"/>
                </a:lnTo>
                <a:lnTo>
                  <a:pt x="1320" y="256"/>
                </a:lnTo>
                <a:lnTo>
                  <a:pt x="1323" y="243"/>
                </a:lnTo>
                <a:lnTo>
                  <a:pt x="1324" y="230"/>
                </a:lnTo>
                <a:lnTo>
                  <a:pt x="1325" y="223"/>
                </a:lnTo>
                <a:lnTo>
                  <a:pt x="1325" y="216"/>
                </a:lnTo>
                <a:lnTo>
                  <a:pt x="1324" y="202"/>
                </a:lnTo>
                <a:lnTo>
                  <a:pt x="1323" y="189"/>
                </a:lnTo>
                <a:lnTo>
                  <a:pt x="1320" y="177"/>
                </a:lnTo>
                <a:lnTo>
                  <a:pt x="1318" y="171"/>
                </a:lnTo>
                <a:lnTo>
                  <a:pt x="1316" y="165"/>
                </a:lnTo>
                <a:lnTo>
                  <a:pt x="1311" y="154"/>
                </a:lnTo>
                <a:lnTo>
                  <a:pt x="1306" y="144"/>
                </a:lnTo>
                <a:lnTo>
                  <a:pt x="1299" y="134"/>
                </a:lnTo>
                <a:lnTo>
                  <a:pt x="1296" y="130"/>
                </a:lnTo>
                <a:lnTo>
                  <a:pt x="1292" y="126"/>
                </a:lnTo>
                <a:lnTo>
                  <a:pt x="1288" y="122"/>
                </a:lnTo>
                <a:lnTo>
                  <a:pt x="1284" y="118"/>
                </a:lnTo>
                <a:lnTo>
                  <a:pt x="1279" y="114"/>
                </a:lnTo>
                <a:lnTo>
                  <a:pt x="1275" y="111"/>
                </a:lnTo>
                <a:lnTo>
                  <a:pt x="1265" y="105"/>
                </a:lnTo>
                <a:lnTo>
                  <a:pt x="1260" y="103"/>
                </a:lnTo>
                <a:lnTo>
                  <a:pt x="1255" y="100"/>
                </a:lnTo>
                <a:lnTo>
                  <a:pt x="1250" y="98"/>
                </a:lnTo>
                <a:lnTo>
                  <a:pt x="1244" y="97"/>
                </a:lnTo>
                <a:lnTo>
                  <a:pt x="1233" y="94"/>
                </a:lnTo>
                <a:lnTo>
                  <a:pt x="1221" y="92"/>
                </a:lnTo>
                <a:lnTo>
                  <a:pt x="1215" y="92"/>
                </a:lnTo>
                <a:lnTo>
                  <a:pt x="1209" y="92"/>
                </a:lnTo>
                <a:lnTo>
                  <a:pt x="1197" y="92"/>
                </a:lnTo>
                <a:lnTo>
                  <a:pt x="1185" y="94"/>
                </a:lnTo>
                <a:lnTo>
                  <a:pt x="1174" y="97"/>
                </a:lnTo>
                <a:lnTo>
                  <a:pt x="1169" y="98"/>
                </a:lnTo>
                <a:lnTo>
                  <a:pt x="1163" y="100"/>
                </a:lnTo>
                <a:lnTo>
                  <a:pt x="1153" y="105"/>
                </a:lnTo>
                <a:lnTo>
                  <a:pt x="1144" y="111"/>
                </a:lnTo>
                <a:lnTo>
                  <a:pt x="1135" y="118"/>
                </a:lnTo>
                <a:lnTo>
                  <a:pt x="1127" y="126"/>
                </a:lnTo>
                <a:lnTo>
                  <a:pt x="1119" y="134"/>
                </a:lnTo>
                <a:lnTo>
                  <a:pt x="1113" y="144"/>
                </a:lnTo>
                <a:lnTo>
                  <a:pt x="1107" y="154"/>
                </a:lnTo>
                <a:lnTo>
                  <a:pt x="1102" y="165"/>
                </a:lnTo>
                <a:lnTo>
                  <a:pt x="1100" y="171"/>
                </a:lnTo>
                <a:lnTo>
                  <a:pt x="1098" y="177"/>
                </a:lnTo>
                <a:lnTo>
                  <a:pt x="1096" y="189"/>
                </a:lnTo>
                <a:lnTo>
                  <a:pt x="1094" y="202"/>
                </a:lnTo>
                <a:lnTo>
                  <a:pt x="1093" y="209"/>
                </a:lnTo>
                <a:lnTo>
                  <a:pt x="1093" y="216"/>
                </a:lnTo>
                <a:lnTo>
                  <a:pt x="1094" y="230"/>
                </a:lnTo>
                <a:lnTo>
                  <a:pt x="1096" y="243"/>
                </a:lnTo>
                <a:lnTo>
                  <a:pt x="1098" y="256"/>
                </a:lnTo>
                <a:lnTo>
                  <a:pt x="1100" y="262"/>
                </a:lnTo>
                <a:lnTo>
                  <a:pt x="1102" y="268"/>
                </a:lnTo>
                <a:lnTo>
                  <a:pt x="1107" y="279"/>
                </a:lnTo>
                <a:lnTo>
                  <a:pt x="1113" y="289"/>
                </a:lnTo>
                <a:lnTo>
                  <a:pt x="1119" y="299"/>
                </a:lnTo>
                <a:lnTo>
                  <a:pt x="1123" y="303"/>
                </a:lnTo>
                <a:lnTo>
                  <a:pt x="1127" y="307"/>
                </a:lnTo>
                <a:lnTo>
                  <a:pt x="1131" y="311"/>
                </a:lnTo>
                <a:lnTo>
                  <a:pt x="1135" y="315"/>
                </a:lnTo>
                <a:lnTo>
                  <a:pt x="1139" y="318"/>
                </a:lnTo>
                <a:lnTo>
                  <a:pt x="1144" y="322"/>
                </a:lnTo>
                <a:lnTo>
                  <a:pt x="1153" y="327"/>
                </a:lnTo>
                <a:lnTo>
                  <a:pt x="1158" y="330"/>
                </a:lnTo>
                <a:lnTo>
                  <a:pt x="1163" y="332"/>
                </a:lnTo>
                <a:lnTo>
                  <a:pt x="1169" y="334"/>
                </a:lnTo>
                <a:lnTo>
                  <a:pt x="1174" y="336"/>
                </a:lnTo>
                <a:lnTo>
                  <a:pt x="1185" y="339"/>
                </a:lnTo>
                <a:lnTo>
                  <a:pt x="1197" y="341"/>
                </a:lnTo>
                <a:lnTo>
                  <a:pt x="1203" y="341"/>
                </a:lnTo>
                <a:lnTo>
                  <a:pt x="1209" y="341"/>
                </a:lnTo>
                <a:close/>
                <a:moveTo>
                  <a:pt x="1209" y="0"/>
                </a:moveTo>
                <a:lnTo>
                  <a:pt x="1221" y="0"/>
                </a:lnTo>
                <a:lnTo>
                  <a:pt x="1233" y="1"/>
                </a:lnTo>
                <a:lnTo>
                  <a:pt x="1244" y="2"/>
                </a:lnTo>
                <a:lnTo>
                  <a:pt x="1256" y="4"/>
                </a:lnTo>
                <a:lnTo>
                  <a:pt x="1267" y="6"/>
                </a:lnTo>
                <a:lnTo>
                  <a:pt x="1277" y="9"/>
                </a:lnTo>
                <a:lnTo>
                  <a:pt x="1288" y="12"/>
                </a:lnTo>
                <a:lnTo>
                  <a:pt x="1298" y="16"/>
                </a:lnTo>
                <a:lnTo>
                  <a:pt x="1308" y="20"/>
                </a:lnTo>
                <a:lnTo>
                  <a:pt x="1318" y="25"/>
                </a:lnTo>
                <a:lnTo>
                  <a:pt x="1327" y="30"/>
                </a:lnTo>
                <a:lnTo>
                  <a:pt x="1336" y="35"/>
                </a:lnTo>
                <a:lnTo>
                  <a:pt x="1345" y="41"/>
                </a:lnTo>
                <a:lnTo>
                  <a:pt x="1349" y="44"/>
                </a:lnTo>
                <a:lnTo>
                  <a:pt x="1353" y="47"/>
                </a:lnTo>
                <a:lnTo>
                  <a:pt x="1357" y="51"/>
                </a:lnTo>
                <a:lnTo>
                  <a:pt x="1361" y="54"/>
                </a:lnTo>
                <a:lnTo>
                  <a:pt x="1369" y="61"/>
                </a:lnTo>
                <a:lnTo>
                  <a:pt x="1373" y="65"/>
                </a:lnTo>
                <a:lnTo>
                  <a:pt x="1376" y="69"/>
                </a:lnTo>
                <a:lnTo>
                  <a:pt x="1383" y="76"/>
                </a:lnTo>
                <a:lnTo>
                  <a:pt x="1390" y="84"/>
                </a:lnTo>
                <a:lnTo>
                  <a:pt x="1393" y="89"/>
                </a:lnTo>
                <a:lnTo>
                  <a:pt x="1396" y="93"/>
                </a:lnTo>
                <a:lnTo>
                  <a:pt x="1401" y="102"/>
                </a:lnTo>
                <a:lnTo>
                  <a:pt x="1407" y="111"/>
                </a:lnTo>
                <a:lnTo>
                  <a:pt x="1411" y="120"/>
                </a:lnTo>
                <a:lnTo>
                  <a:pt x="1416" y="130"/>
                </a:lnTo>
                <a:lnTo>
                  <a:pt x="1418" y="135"/>
                </a:lnTo>
                <a:lnTo>
                  <a:pt x="1420" y="140"/>
                </a:lnTo>
                <a:lnTo>
                  <a:pt x="1423" y="150"/>
                </a:lnTo>
                <a:lnTo>
                  <a:pt x="1426" y="160"/>
                </a:lnTo>
                <a:lnTo>
                  <a:pt x="1428" y="171"/>
                </a:lnTo>
                <a:lnTo>
                  <a:pt x="1430" y="182"/>
                </a:lnTo>
                <a:lnTo>
                  <a:pt x="1432" y="193"/>
                </a:lnTo>
                <a:lnTo>
                  <a:pt x="1432" y="199"/>
                </a:lnTo>
                <a:lnTo>
                  <a:pt x="1432" y="205"/>
                </a:lnTo>
                <a:lnTo>
                  <a:pt x="1433" y="216"/>
                </a:lnTo>
                <a:lnTo>
                  <a:pt x="1432" y="228"/>
                </a:lnTo>
                <a:lnTo>
                  <a:pt x="1432" y="239"/>
                </a:lnTo>
                <a:lnTo>
                  <a:pt x="1430" y="251"/>
                </a:lnTo>
                <a:lnTo>
                  <a:pt x="1428" y="262"/>
                </a:lnTo>
                <a:lnTo>
                  <a:pt x="1426" y="272"/>
                </a:lnTo>
                <a:lnTo>
                  <a:pt x="1423" y="283"/>
                </a:lnTo>
                <a:lnTo>
                  <a:pt x="1420" y="293"/>
                </a:lnTo>
                <a:lnTo>
                  <a:pt x="1416" y="303"/>
                </a:lnTo>
                <a:lnTo>
                  <a:pt x="1411" y="313"/>
                </a:lnTo>
                <a:lnTo>
                  <a:pt x="1407" y="322"/>
                </a:lnTo>
                <a:lnTo>
                  <a:pt x="1401" y="331"/>
                </a:lnTo>
                <a:lnTo>
                  <a:pt x="1396" y="340"/>
                </a:lnTo>
                <a:lnTo>
                  <a:pt x="1390" y="348"/>
                </a:lnTo>
                <a:lnTo>
                  <a:pt x="1383" y="356"/>
                </a:lnTo>
                <a:lnTo>
                  <a:pt x="1376" y="364"/>
                </a:lnTo>
                <a:lnTo>
                  <a:pt x="1369" y="372"/>
                </a:lnTo>
                <a:lnTo>
                  <a:pt x="1361" y="379"/>
                </a:lnTo>
                <a:lnTo>
                  <a:pt x="1353" y="385"/>
                </a:lnTo>
                <a:lnTo>
                  <a:pt x="1345" y="391"/>
                </a:lnTo>
                <a:lnTo>
                  <a:pt x="1336" y="397"/>
                </a:lnTo>
                <a:lnTo>
                  <a:pt x="1327" y="403"/>
                </a:lnTo>
                <a:lnTo>
                  <a:pt x="1318" y="408"/>
                </a:lnTo>
                <a:lnTo>
                  <a:pt x="1308" y="412"/>
                </a:lnTo>
                <a:lnTo>
                  <a:pt x="1298" y="417"/>
                </a:lnTo>
                <a:lnTo>
                  <a:pt x="1288" y="420"/>
                </a:lnTo>
                <a:lnTo>
                  <a:pt x="1277" y="424"/>
                </a:lnTo>
                <a:lnTo>
                  <a:pt x="1267" y="426"/>
                </a:lnTo>
                <a:lnTo>
                  <a:pt x="1256" y="429"/>
                </a:lnTo>
                <a:lnTo>
                  <a:pt x="1244" y="430"/>
                </a:lnTo>
                <a:lnTo>
                  <a:pt x="1233" y="432"/>
                </a:lnTo>
                <a:lnTo>
                  <a:pt x="1221" y="433"/>
                </a:lnTo>
                <a:lnTo>
                  <a:pt x="1209" y="433"/>
                </a:lnTo>
                <a:lnTo>
                  <a:pt x="1197" y="433"/>
                </a:lnTo>
                <a:lnTo>
                  <a:pt x="1186" y="432"/>
                </a:lnTo>
                <a:lnTo>
                  <a:pt x="1174" y="430"/>
                </a:lnTo>
                <a:lnTo>
                  <a:pt x="1163" y="429"/>
                </a:lnTo>
                <a:lnTo>
                  <a:pt x="1152" y="426"/>
                </a:lnTo>
                <a:lnTo>
                  <a:pt x="1141" y="424"/>
                </a:lnTo>
                <a:lnTo>
                  <a:pt x="1130" y="420"/>
                </a:lnTo>
                <a:lnTo>
                  <a:pt x="1120" y="417"/>
                </a:lnTo>
                <a:lnTo>
                  <a:pt x="1110" y="412"/>
                </a:lnTo>
                <a:lnTo>
                  <a:pt x="1100" y="408"/>
                </a:lnTo>
                <a:lnTo>
                  <a:pt x="1091" y="403"/>
                </a:lnTo>
                <a:lnTo>
                  <a:pt x="1082" y="397"/>
                </a:lnTo>
                <a:lnTo>
                  <a:pt x="1073" y="391"/>
                </a:lnTo>
                <a:lnTo>
                  <a:pt x="1069" y="388"/>
                </a:lnTo>
                <a:lnTo>
                  <a:pt x="1065" y="385"/>
                </a:lnTo>
                <a:lnTo>
                  <a:pt x="1061" y="382"/>
                </a:lnTo>
                <a:lnTo>
                  <a:pt x="1057" y="379"/>
                </a:lnTo>
                <a:lnTo>
                  <a:pt x="1049" y="372"/>
                </a:lnTo>
                <a:lnTo>
                  <a:pt x="1046" y="368"/>
                </a:lnTo>
                <a:lnTo>
                  <a:pt x="1042" y="364"/>
                </a:lnTo>
                <a:lnTo>
                  <a:pt x="1035" y="356"/>
                </a:lnTo>
                <a:lnTo>
                  <a:pt x="1029" y="348"/>
                </a:lnTo>
                <a:lnTo>
                  <a:pt x="1026" y="344"/>
                </a:lnTo>
                <a:lnTo>
                  <a:pt x="1023" y="340"/>
                </a:lnTo>
                <a:lnTo>
                  <a:pt x="1017" y="331"/>
                </a:lnTo>
                <a:lnTo>
                  <a:pt x="1012" y="322"/>
                </a:lnTo>
                <a:lnTo>
                  <a:pt x="1007" y="313"/>
                </a:lnTo>
                <a:lnTo>
                  <a:pt x="1003" y="303"/>
                </a:lnTo>
                <a:lnTo>
                  <a:pt x="1001" y="298"/>
                </a:lnTo>
                <a:lnTo>
                  <a:pt x="999" y="293"/>
                </a:lnTo>
                <a:lnTo>
                  <a:pt x="995" y="283"/>
                </a:lnTo>
                <a:lnTo>
                  <a:pt x="992" y="272"/>
                </a:lnTo>
                <a:lnTo>
                  <a:pt x="990" y="262"/>
                </a:lnTo>
                <a:lnTo>
                  <a:pt x="988" y="251"/>
                </a:lnTo>
                <a:lnTo>
                  <a:pt x="987" y="239"/>
                </a:lnTo>
                <a:lnTo>
                  <a:pt x="986" y="234"/>
                </a:lnTo>
                <a:lnTo>
                  <a:pt x="986" y="228"/>
                </a:lnTo>
                <a:lnTo>
                  <a:pt x="986" y="216"/>
                </a:lnTo>
                <a:lnTo>
                  <a:pt x="986" y="205"/>
                </a:lnTo>
                <a:lnTo>
                  <a:pt x="987" y="193"/>
                </a:lnTo>
                <a:lnTo>
                  <a:pt x="988" y="182"/>
                </a:lnTo>
                <a:lnTo>
                  <a:pt x="990" y="171"/>
                </a:lnTo>
                <a:lnTo>
                  <a:pt x="992" y="160"/>
                </a:lnTo>
                <a:lnTo>
                  <a:pt x="995" y="150"/>
                </a:lnTo>
                <a:lnTo>
                  <a:pt x="999" y="140"/>
                </a:lnTo>
                <a:lnTo>
                  <a:pt x="1003" y="130"/>
                </a:lnTo>
                <a:lnTo>
                  <a:pt x="1007" y="120"/>
                </a:lnTo>
                <a:lnTo>
                  <a:pt x="1012" y="111"/>
                </a:lnTo>
                <a:lnTo>
                  <a:pt x="1017" y="102"/>
                </a:lnTo>
                <a:lnTo>
                  <a:pt x="1023" y="93"/>
                </a:lnTo>
                <a:lnTo>
                  <a:pt x="1029" y="84"/>
                </a:lnTo>
                <a:lnTo>
                  <a:pt x="1035" y="76"/>
                </a:lnTo>
                <a:lnTo>
                  <a:pt x="1042" y="69"/>
                </a:lnTo>
                <a:lnTo>
                  <a:pt x="1049" y="61"/>
                </a:lnTo>
                <a:lnTo>
                  <a:pt x="1057" y="54"/>
                </a:lnTo>
                <a:lnTo>
                  <a:pt x="1065" y="47"/>
                </a:lnTo>
                <a:lnTo>
                  <a:pt x="1073" y="41"/>
                </a:lnTo>
                <a:lnTo>
                  <a:pt x="1082" y="35"/>
                </a:lnTo>
                <a:lnTo>
                  <a:pt x="1091" y="30"/>
                </a:lnTo>
                <a:lnTo>
                  <a:pt x="1100" y="25"/>
                </a:lnTo>
                <a:lnTo>
                  <a:pt x="1110" y="20"/>
                </a:lnTo>
                <a:lnTo>
                  <a:pt x="1120" y="16"/>
                </a:lnTo>
                <a:lnTo>
                  <a:pt x="1130" y="12"/>
                </a:lnTo>
                <a:lnTo>
                  <a:pt x="1141" y="9"/>
                </a:lnTo>
                <a:lnTo>
                  <a:pt x="1152" y="6"/>
                </a:lnTo>
                <a:lnTo>
                  <a:pt x="1163" y="4"/>
                </a:lnTo>
                <a:lnTo>
                  <a:pt x="1174" y="2"/>
                </a:lnTo>
                <a:lnTo>
                  <a:pt x="1186" y="1"/>
                </a:lnTo>
                <a:lnTo>
                  <a:pt x="1197" y="0"/>
                </a:lnTo>
                <a:lnTo>
                  <a:pt x="1209" y="0"/>
                </a:lnTo>
                <a:close/>
                <a:moveTo>
                  <a:pt x="2022" y="7"/>
                </a:moveTo>
                <a:lnTo>
                  <a:pt x="2026" y="8"/>
                </a:lnTo>
                <a:lnTo>
                  <a:pt x="2028" y="8"/>
                </a:lnTo>
                <a:lnTo>
                  <a:pt x="2029" y="10"/>
                </a:lnTo>
                <a:lnTo>
                  <a:pt x="2030" y="11"/>
                </a:lnTo>
                <a:lnTo>
                  <a:pt x="2031" y="13"/>
                </a:lnTo>
                <a:lnTo>
                  <a:pt x="2031" y="16"/>
                </a:lnTo>
                <a:lnTo>
                  <a:pt x="2031" y="19"/>
                </a:lnTo>
                <a:lnTo>
                  <a:pt x="2017" y="88"/>
                </a:lnTo>
                <a:lnTo>
                  <a:pt x="2015" y="93"/>
                </a:lnTo>
                <a:lnTo>
                  <a:pt x="2013" y="96"/>
                </a:lnTo>
                <a:lnTo>
                  <a:pt x="2012" y="97"/>
                </a:lnTo>
                <a:lnTo>
                  <a:pt x="2010" y="98"/>
                </a:lnTo>
                <a:lnTo>
                  <a:pt x="2008" y="99"/>
                </a:lnTo>
                <a:lnTo>
                  <a:pt x="2005" y="99"/>
                </a:lnTo>
                <a:lnTo>
                  <a:pt x="1950" y="99"/>
                </a:lnTo>
                <a:lnTo>
                  <a:pt x="1950" y="416"/>
                </a:lnTo>
                <a:lnTo>
                  <a:pt x="1949" y="418"/>
                </a:lnTo>
                <a:lnTo>
                  <a:pt x="1949" y="420"/>
                </a:lnTo>
                <a:lnTo>
                  <a:pt x="1947" y="423"/>
                </a:lnTo>
                <a:lnTo>
                  <a:pt x="1945" y="424"/>
                </a:lnTo>
                <a:lnTo>
                  <a:pt x="1944" y="425"/>
                </a:lnTo>
                <a:lnTo>
                  <a:pt x="1940" y="426"/>
                </a:lnTo>
                <a:lnTo>
                  <a:pt x="1861" y="426"/>
                </a:lnTo>
                <a:lnTo>
                  <a:pt x="1858" y="425"/>
                </a:lnTo>
                <a:lnTo>
                  <a:pt x="1855" y="423"/>
                </a:lnTo>
                <a:lnTo>
                  <a:pt x="1854" y="421"/>
                </a:lnTo>
                <a:lnTo>
                  <a:pt x="1853" y="420"/>
                </a:lnTo>
                <a:lnTo>
                  <a:pt x="1853" y="418"/>
                </a:lnTo>
                <a:lnTo>
                  <a:pt x="1853" y="416"/>
                </a:lnTo>
                <a:lnTo>
                  <a:pt x="1853" y="99"/>
                </a:lnTo>
                <a:lnTo>
                  <a:pt x="1796" y="99"/>
                </a:lnTo>
                <a:lnTo>
                  <a:pt x="1792" y="98"/>
                </a:lnTo>
                <a:lnTo>
                  <a:pt x="1789" y="96"/>
                </a:lnTo>
                <a:lnTo>
                  <a:pt x="1787" y="93"/>
                </a:lnTo>
                <a:lnTo>
                  <a:pt x="1786" y="91"/>
                </a:lnTo>
                <a:lnTo>
                  <a:pt x="1786" y="89"/>
                </a:lnTo>
                <a:lnTo>
                  <a:pt x="1786" y="17"/>
                </a:lnTo>
                <a:lnTo>
                  <a:pt x="1786" y="15"/>
                </a:lnTo>
                <a:lnTo>
                  <a:pt x="1787" y="13"/>
                </a:lnTo>
                <a:lnTo>
                  <a:pt x="1789" y="10"/>
                </a:lnTo>
                <a:lnTo>
                  <a:pt x="1790" y="9"/>
                </a:lnTo>
                <a:lnTo>
                  <a:pt x="1792" y="8"/>
                </a:lnTo>
                <a:lnTo>
                  <a:pt x="1796" y="7"/>
                </a:lnTo>
                <a:lnTo>
                  <a:pt x="2022" y="7"/>
                </a:lnTo>
                <a:close/>
                <a:moveTo>
                  <a:pt x="1716" y="7"/>
                </a:moveTo>
                <a:lnTo>
                  <a:pt x="1720" y="8"/>
                </a:lnTo>
                <a:lnTo>
                  <a:pt x="1722" y="8"/>
                </a:lnTo>
                <a:lnTo>
                  <a:pt x="1723" y="10"/>
                </a:lnTo>
                <a:lnTo>
                  <a:pt x="1724" y="11"/>
                </a:lnTo>
                <a:lnTo>
                  <a:pt x="1725" y="13"/>
                </a:lnTo>
                <a:lnTo>
                  <a:pt x="1725" y="16"/>
                </a:lnTo>
                <a:lnTo>
                  <a:pt x="1725" y="19"/>
                </a:lnTo>
                <a:lnTo>
                  <a:pt x="1711" y="88"/>
                </a:lnTo>
                <a:lnTo>
                  <a:pt x="1710" y="93"/>
                </a:lnTo>
                <a:lnTo>
                  <a:pt x="1707" y="96"/>
                </a:lnTo>
                <a:lnTo>
                  <a:pt x="1706" y="97"/>
                </a:lnTo>
                <a:lnTo>
                  <a:pt x="1704" y="98"/>
                </a:lnTo>
                <a:lnTo>
                  <a:pt x="1702" y="99"/>
                </a:lnTo>
                <a:lnTo>
                  <a:pt x="1699" y="99"/>
                </a:lnTo>
                <a:lnTo>
                  <a:pt x="1653" y="99"/>
                </a:lnTo>
                <a:lnTo>
                  <a:pt x="1653" y="416"/>
                </a:lnTo>
                <a:lnTo>
                  <a:pt x="1653" y="418"/>
                </a:lnTo>
                <a:lnTo>
                  <a:pt x="1652" y="420"/>
                </a:lnTo>
                <a:lnTo>
                  <a:pt x="1650" y="423"/>
                </a:lnTo>
                <a:lnTo>
                  <a:pt x="1649" y="424"/>
                </a:lnTo>
                <a:lnTo>
                  <a:pt x="1647" y="425"/>
                </a:lnTo>
                <a:lnTo>
                  <a:pt x="1644" y="426"/>
                </a:lnTo>
                <a:lnTo>
                  <a:pt x="1565" y="426"/>
                </a:lnTo>
                <a:lnTo>
                  <a:pt x="1561" y="425"/>
                </a:lnTo>
                <a:lnTo>
                  <a:pt x="1558" y="423"/>
                </a:lnTo>
                <a:lnTo>
                  <a:pt x="1557" y="421"/>
                </a:lnTo>
                <a:lnTo>
                  <a:pt x="1557" y="420"/>
                </a:lnTo>
                <a:lnTo>
                  <a:pt x="1556" y="418"/>
                </a:lnTo>
                <a:lnTo>
                  <a:pt x="1556" y="416"/>
                </a:lnTo>
                <a:lnTo>
                  <a:pt x="1556" y="99"/>
                </a:lnTo>
                <a:lnTo>
                  <a:pt x="1490" y="99"/>
                </a:lnTo>
                <a:lnTo>
                  <a:pt x="1486" y="98"/>
                </a:lnTo>
                <a:lnTo>
                  <a:pt x="1483" y="96"/>
                </a:lnTo>
                <a:lnTo>
                  <a:pt x="1481" y="93"/>
                </a:lnTo>
                <a:lnTo>
                  <a:pt x="1481" y="91"/>
                </a:lnTo>
                <a:lnTo>
                  <a:pt x="1480" y="89"/>
                </a:lnTo>
                <a:lnTo>
                  <a:pt x="1480" y="17"/>
                </a:lnTo>
                <a:lnTo>
                  <a:pt x="1481" y="15"/>
                </a:lnTo>
                <a:lnTo>
                  <a:pt x="1481" y="13"/>
                </a:lnTo>
                <a:lnTo>
                  <a:pt x="1483" y="10"/>
                </a:lnTo>
                <a:lnTo>
                  <a:pt x="1484" y="9"/>
                </a:lnTo>
                <a:lnTo>
                  <a:pt x="1486" y="8"/>
                </a:lnTo>
                <a:lnTo>
                  <a:pt x="1490" y="7"/>
                </a:lnTo>
                <a:lnTo>
                  <a:pt x="1716" y="7"/>
                </a:lnTo>
                <a:close/>
                <a:moveTo>
                  <a:pt x="2168" y="281"/>
                </a:moveTo>
                <a:lnTo>
                  <a:pt x="2222" y="281"/>
                </a:lnTo>
                <a:lnTo>
                  <a:pt x="2195" y="154"/>
                </a:lnTo>
                <a:lnTo>
                  <a:pt x="2168" y="281"/>
                </a:lnTo>
                <a:close/>
                <a:moveTo>
                  <a:pt x="2236" y="359"/>
                </a:moveTo>
                <a:lnTo>
                  <a:pt x="2154" y="359"/>
                </a:lnTo>
                <a:lnTo>
                  <a:pt x="2142" y="416"/>
                </a:lnTo>
                <a:lnTo>
                  <a:pt x="2142" y="418"/>
                </a:lnTo>
                <a:lnTo>
                  <a:pt x="2141" y="420"/>
                </a:lnTo>
                <a:lnTo>
                  <a:pt x="2138" y="423"/>
                </a:lnTo>
                <a:lnTo>
                  <a:pt x="2136" y="424"/>
                </a:lnTo>
                <a:lnTo>
                  <a:pt x="2135" y="425"/>
                </a:lnTo>
                <a:lnTo>
                  <a:pt x="2133" y="426"/>
                </a:lnTo>
                <a:lnTo>
                  <a:pt x="2131" y="426"/>
                </a:lnTo>
                <a:lnTo>
                  <a:pt x="2058" y="426"/>
                </a:lnTo>
                <a:lnTo>
                  <a:pt x="2056" y="425"/>
                </a:lnTo>
                <a:lnTo>
                  <a:pt x="2054" y="425"/>
                </a:lnTo>
                <a:lnTo>
                  <a:pt x="2052" y="424"/>
                </a:lnTo>
                <a:lnTo>
                  <a:pt x="2051" y="422"/>
                </a:lnTo>
                <a:lnTo>
                  <a:pt x="2050" y="421"/>
                </a:lnTo>
                <a:lnTo>
                  <a:pt x="2049" y="418"/>
                </a:lnTo>
                <a:lnTo>
                  <a:pt x="2050" y="412"/>
                </a:lnTo>
                <a:lnTo>
                  <a:pt x="2142" y="17"/>
                </a:lnTo>
                <a:lnTo>
                  <a:pt x="2143" y="15"/>
                </a:lnTo>
                <a:lnTo>
                  <a:pt x="2144" y="13"/>
                </a:lnTo>
                <a:lnTo>
                  <a:pt x="2147" y="10"/>
                </a:lnTo>
                <a:lnTo>
                  <a:pt x="2149" y="9"/>
                </a:lnTo>
                <a:lnTo>
                  <a:pt x="2151" y="8"/>
                </a:lnTo>
                <a:lnTo>
                  <a:pt x="2155" y="7"/>
                </a:lnTo>
                <a:lnTo>
                  <a:pt x="2236" y="7"/>
                </a:lnTo>
                <a:lnTo>
                  <a:pt x="2239" y="7"/>
                </a:lnTo>
                <a:lnTo>
                  <a:pt x="2241" y="8"/>
                </a:lnTo>
                <a:lnTo>
                  <a:pt x="2245" y="10"/>
                </a:lnTo>
                <a:lnTo>
                  <a:pt x="2248" y="13"/>
                </a:lnTo>
                <a:lnTo>
                  <a:pt x="2249" y="15"/>
                </a:lnTo>
                <a:lnTo>
                  <a:pt x="2249" y="17"/>
                </a:lnTo>
                <a:lnTo>
                  <a:pt x="2343" y="412"/>
                </a:lnTo>
                <a:lnTo>
                  <a:pt x="2343" y="418"/>
                </a:lnTo>
                <a:lnTo>
                  <a:pt x="2343" y="421"/>
                </a:lnTo>
                <a:lnTo>
                  <a:pt x="2342" y="422"/>
                </a:lnTo>
                <a:lnTo>
                  <a:pt x="2341" y="424"/>
                </a:lnTo>
                <a:lnTo>
                  <a:pt x="2339" y="425"/>
                </a:lnTo>
                <a:lnTo>
                  <a:pt x="2335" y="426"/>
                </a:lnTo>
                <a:lnTo>
                  <a:pt x="2260" y="426"/>
                </a:lnTo>
                <a:lnTo>
                  <a:pt x="2256" y="425"/>
                </a:lnTo>
                <a:lnTo>
                  <a:pt x="2252" y="423"/>
                </a:lnTo>
                <a:lnTo>
                  <a:pt x="2251" y="422"/>
                </a:lnTo>
                <a:lnTo>
                  <a:pt x="2249" y="420"/>
                </a:lnTo>
                <a:lnTo>
                  <a:pt x="2248" y="418"/>
                </a:lnTo>
                <a:lnTo>
                  <a:pt x="2248" y="416"/>
                </a:lnTo>
                <a:lnTo>
                  <a:pt x="2236" y="359"/>
                </a:lnTo>
                <a:close/>
                <a:moveTo>
                  <a:pt x="912" y="4"/>
                </a:moveTo>
                <a:lnTo>
                  <a:pt x="915" y="5"/>
                </a:lnTo>
                <a:lnTo>
                  <a:pt x="918" y="7"/>
                </a:lnTo>
                <a:lnTo>
                  <a:pt x="919" y="9"/>
                </a:lnTo>
                <a:lnTo>
                  <a:pt x="920" y="10"/>
                </a:lnTo>
                <a:lnTo>
                  <a:pt x="921" y="12"/>
                </a:lnTo>
                <a:lnTo>
                  <a:pt x="921" y="14"/>
                </a:lnTo>
                <a:lnTo>
                  <a:pt x="921" y="291"/>
                </a:lnTo>
                <a:lnTo>
                  <a:pt x="921" y="301"/>
                </a:lnTo>
                <a:lnTo>
                  <a:pt x="920" y="310"/>
                </a:lnTo>
                <a:lnTo>
                  <a:pt x="919" y="320"/>
                </a:lnTo>
                <a:lnTo>
                  <a:pt x="918" y="328"/>
                </a:lnTo>
                <a:lnTo>
                  <a:pt x="917" y="336"/>
                </a:lnTo>
                <a:lnTo>
                  <a:pt x="915" y="344"/>
                </a:lnTo>
                <a:lnTo>
                  <a:pt x="911" y="359"/>
                </a:lnTo>
                <a:lnTo>
                  <a:pt x="908" y="365"/>
                </a:lnTo>
                <a:lnTo>
                  <a:pt x="906" y="372"/>
                </a:lnTo>
                <a:lnTo>
                  <a:pt x="899" y="383"/>
                </a:lnTo>
                <a:lnTo>
                  <a:pt x="896" y="388"/>
                </a:lnTo>
                <a:lnTo>
                  <a:pt x="893" y="393"/>
                </a:lnTo>
                <a:lnTo>
                  <a:pt x="885" y="401"/>
                </a:lnTo>
                <a:lnTo>
                  <a:pt x="877" y="408"/>
                </a:lnTo>
                <a:lnTo>
                  <a:pt x="872" y="411"/>
                </a:lnTo>
                <a:lnTo>
                  <a:pt x="868" y="414"/>
                </a:lnTo>
                <a:lnTo>
                  <a:pt x="858" y="419"/>
                </a:lnTo>
                <a:lnTo>
                  <a:pt x="849" y="422"/>
                </a:lnTo>
                <a:lnTo>
                  <a:pt x="839" y="425"/>
                </a:lnTo>
                <a:lnTo>
                  <a:pt x="829" y="427"/>
                </a:lnTo>
                <a:lnTo>
                  <a:pt x="819" y="428"/>
                </a:lnTo>
                <a:lnTo>
                  <a:pt x="808" y="428"/>
                </a:lnTo>
                <a:lnTo>
                  <a:pt x="796" y="428"/>
                </a:lnTo>
                <a:lnTo>
                  <a:pt x="784" y="427"/>
                </a:lnTo>
                <a:lnTo>
                  <a:pt x="774" y="425"/>
                </a:lnTo>
                <a:lnTo>
                  <a:pt x="764" y="423"/>
                </a:lnTo>
                <a:lnTo>
                  <a:pt x="759" y="421"/>
                </a:lnTo>
                <a:lnTo>
                  <a:pt x="756" y="419"/>
                </a:lnTo>
                <a:lnTo>
                  <a:pt x="753" y="415"/>
                </a:lnTo>
                <a:lnTo>
                  <a:pt x="752" y="411"/>
                </a:lnTo>
                <a:lnTo>
                  <a:pt x="739" y="353"/>
                </a:lnTo>
                <a:lnTo>
                  <a:pt x="738" y="350"/>
                </a:lnTo>
                <a:lnTo>
                  <a:pt x="739" y="347"/>
                </a:lnTo>
                <a:lnTo>
                  <a:pt x="739" y="345"/>
                </a:lnTo>
                <a:lnTo>
                  <a:pt x="741" y="344"/>
                </a:lnTo>
                <a:lnTo>
                  <a:pt x="742" y="342"/>
                </a:lnTo>
                <a:lnTo>
                  <a:pt x="744" y="341"/>
                </a:lnTo>
                <a:lnTo>
                  <a:pt x="746" y="341"/>
                </a:lnTo>
                <a:lnTo>
                  <a:pt x="749" y="341"/>
                </a:lnTo>
                <a:lnTo>
                  <a:pt x="763" y="344"/>
                </a:lnTo>
                <a:lnTo>
                  <a:pt x="773" y="346"/>
                </a:lnTo>
                <a:lnTo>
                  <a:pt x="785" y="346"/>
                </a:lnTo>
                <a:lnTo>
                  <a:pt x="791" y="346"/>
                </a:lnTo>
                <a:lnTo>
                  <a:pt x="797" y="345"/>
                </a:lnTo>
                <a:lnTo>
                  <a:pt x="803" y="344"/>
                </a:lnTo>
                <a:lnTo>
                  <a:pt x="808" y="342"/>
                </a:lnTo>
                <a:lnTo>
                  <a:pt x="812" y="339"/>
                </a:lnTo>
                <a:lnTo>
                  <a:pt x="816" y="336"/>
                </a:lnTo>
                <a:lnTo>
                  <a:pt x="817" y="335"/>
                </a:lnTo>
                <a:lnTo>
                  <a:pt x="819" y="333"/>
                </a:lnTo>
                <a:lnTo>
                  <a:pt x="821" y="328"/>
                </a:lnTo>
                <a:lnTo>
                  <a:pt x="824" y="323"/>
                </a:lnTo>
                <a:lnTo>
                  <a:pt x="825" y="318"/>
                </a:lnTo>
                <a:lnTo>
                  <a:pt x="827" y="311"/>
                </a:lnTo>
                <a:lnTo>
                  <a:pt x="828" y="304"/>
                </a:lnTo>
                <a:lnTo>
                  <a:pt x="829" y="297"/>
                </a:lnTo>
                <a:lnTo>
                  <a:pt x="829" y="288"/>
                </a:lnTo>
                <a:lnTo>
                  <a:pt x="830" y="269"/>
                </a:lnTo>
                <a:lnTo>
                  <a:pt x="830" y="14"/>
                </a:lnTo>
                <a:lnTo>
                  <a:pt x="830" y="12"/>
                </a:lnTo>
                <a:lnTo>
                  <a:pt x="830" y="10"/>
                </a:lnTo>
                <a:lnTo>
                  <a:pt x="832" y="7"/>
                </a:lnTo>
                <a:lnTo>
                  <a:pt x="833" y="6"/>
                </a:lnTo>
                <a:lnTo>
                  <a:pt x="835" y="5"/>
                </a:lnTo>
                <a:lnTo>
                  <a:pt x="837" y="5"/>
                </a:lnTo>
                <a:lnTo>
                  <a:pt x="838" y="4"/>
                </a:lnTo>
                <a:lnTo>
                  <a:pt x="912" y="4"/>
                </a:lnTo>
                <a:close/>
                <a:moveTo>
                  <a:pt x="2826" y="1740"/>
                </a:moveTo>
                <a:lnTo>
                  <a:pt x="2925" y="1740"/>
                </a:lnTo>
                <a:lnTo>
                  <a:pt x="2875" y="1609"/>
                </a:lnTo>
                <a:lnTo>
                  <a:pt x="2826" y="1740"/>
                </a:lnTo>
                <a:close/>
                <a:moveTo>
                  <a:pt x="2956" y="1822"/>
                </a:moveTo>
                <a:lnTo>
                  <a:pt x="2796" y="1822"/>
                </a:lnTo>
                <a:lnTo>
                  <a:pt x="2774" y="1879"/>
                </a:lnTo>
                <a:lnTo>
                  <a:pt x="2773" y="1882"/>
                </a:lnTo>
                <a:lnTo>
                  <a:pt x="2771" y="1884"/>
                </a:lnTo>
                <a:lnTo>
                  <a:pt x="2770" y="1885"/>
                </a:lnTo>
                <a:lnTo>
                  <a:pt x="2768" y="1887"/>
                </a:lnTo>
                <a:lnTo>
                  <a:pt x="2764" y="1888"/>
                </a:lnTo>
                <a:lnTo>
                  <a:pt x="2760" y="1889"/>
                </a:lnTo>
                <a:lnTo>
                  <a:pt x="2681" y="1889"/>
                </a:lnTo>
                <a:lnTo>
                  <a:pt x="2679" y="1889"/>
                </a:lnTo>
                <a:lnTo>
                  <a:pt x="2677" y="1888"/>
                </a:lnTo>
                <a:lnTo>
                  <a:pt x="2675" y="1887"/>
                </a:lnTo>
                <a:lnTo>
                  <a:pt x="2673" y="1885"/>
                </a:lnTo>
                <a:lnTo>
                  <a:pt x="2672" y="1883"/>
                </a:lnTo>
                <a:lnTo>
                  <a:pt x="2671" y="1881"/>
                </a:lnTo>
                <a:lnTo>
                  <a:pt x="2672" y="1878"/>
                </a:lnTo>
                <a:lnTo>
                  <a:pt x="2673" y="1875"/>
                </a:lnTo>
                <a:lnTo>
                  <a:pt x="2828" y="1480"/>
                </a:lnTo>
                <a:lnTo>
                  <a:pt x="2829" y="1477"/>
                </a:lnTo>
                <a:lnTo>
                  <a:pt x="2830" y="1475"/>
                </a:lnTo>
                <a:lnTo>
                  <a:pt x="2833" y="1472"/>
                </a:lnTo>
                <a:lnTo>
                  <a:pt x="2837" y="1471"/>
                </a:lnTo>
                <a:lnTo>
                  <a:pt x="2839" y="1470"/>
                </a:lnTo>
                <a:lnTo>
                  <a:pt x="2842" y="1470"/>
                </a:lnTo>
                <a:lnTo>
                  <a:pt x="2911" y="1470"/>
                </a:lnTo>
                <a:lnTo>
                  <a:pt x="2916" y="1471"/>
                </a:lnTo>
                <a:lnTo>
                  <a:pt x="2920" y="1472"/>
                </a:lnTo>
                <a:lnTo>
                  <a:pt x="2923" y="1475"/>
                </a:lnTo>
                <a:lnTo>
                  <a:pt x="2924" y="1477"/>
                </a:lnTo>
                <a:lnTo>
                  <a:pt x="2925" y="1480"/>
                </a:lnTo>
                <a:lnTo>
                  <a:pt x="3081" y="1875"/>
                </a:lnTo>
                <a:lnTo>
                  <a:pt x="3082" y="1878"/>
                </a:lnTo>
                <a:lnTo>
                  <a:pt x="3082" y="1881"/>
                </a:lnTo>
                <a:lnTo>
                  <a:pt x="3081" y="1883"/>
                </a:lnTo>
                <a:lnTo>
                  <a:pt x="3080" y="1885"/>
                </a:lnTo>
                <a:lnTo>
                  <a:pt x="3079" y="1887"/>
                </a:lnTo>
                <a:lnTo>
                  <a:pt x="3077" y="1888"/>
                </a:lnTo>
                <a:lnTo>
                  <a:pt x="3074" y="1889"/>
                </a:lnTo>
                <a:lnTo>
                  <a:pt x="3072" y="1889"/>
                </a:lnTo>
                <a:lnTo>
                  <a:pt x="2991" y="1889"/>
                </a:lnTo>
                <a:lnTo>
                  <a:pt x="2987" y="1888"/>
                </a:lnTo>
                <a:lnTo>
                  <a:pt x="2985" y="1888"/>
                </a:lnTo>
                <a:lnTo>
                  <a:pt x="2983" y="1887"/>
                </a:lnTo>
                <a:lnTo>
                  <a:pt x="2981" y="1885"/>
                </a:lnTo>
                <a:lnTo>
                  <a:pt x="2980" y="1884"/>
                </a:lnTo>
                <a:lnTo>
                  <a:pt x="2979" y="1882"/>
                </a:lnTo>
                <a:lnTo>
                  <a:pt x="2978" y="1879"/>
                </a:lnTo>
                <a:lnTo>
                  <a:pt x="2956" y="1822"/>
                </a:lnTo>
                <a:close/>
                <a:moveTo>
                  <a:pt x="1829" y="1889"/>
                </a:moveTo>
                <a:lnTo>
                  <a:pt x="1747" y="1889"/>
                </a:lnTo>
                <a:lnTo>
                  <a:pt x="1743" y="1888"/>
                </a:lnTo>
                <a:lnTo>
                  <a:pt x="1739" y="1886"/>
                </a:lnTo>
                <a:lnTo>
                  <a:pt x="1738" y="1885"/>
                </a:lnTo>
                <a:lnTo>
                  <a:pt x="1737" y="1883"/>
                </a:lnTo>
                <a:lnTo>
                  <a:pt x="1737" y="1881"/>
                </a:lnTo>
                <a:lnTo>
                  <a:pt x="1737" y="1879"/>
                </a:lnTo>
                <a:lnTo>
                  <a:pt x="1737" y="1480"/>
                </a:lnTo>
                <a:lnTo>
                  <a:pt x="1737" y="1478"/>
                </a:lnTo>
                <a:lnTo>
                  <a:pt x="1737" y="1476"/>
                </a:lnTo>
                <a:lnTo>
                  <a:pt x="1739" y="1473"/>
                </a:lnTo>
                <a:lnTo>
                  <a:pt x="1741" y="1472"/>
                </a:lnTo>
                <a:lnTo>
                  <a:pt x="1743" y="1471"/>
                </a:lnTo>
                <a:lnTo>
                  <a:pt x="1747" y="1470"/>
                </a:lnTo>
                <a:lnTo>
                  <a:pt x="1829" y="1470"/>
                </a:lnTo>
                <a:lnTo>
                  <a:pt x="1833" y="1471"/>
                </a:lnTo>
                <a:lnTo>
                  <a:pt x="1836" y="1473"/>
                </a:lnTo>
                <a:lnTo>
                  <a:pt x="1837" y="1474"/>
                </a:lnTo>
                <a:lnTo>
                  <a:pt x="1838" y="1476"/>
                </a:lnTo>
                <a:lnTo>
                  <a:pt x="1839" y="1478"/>
                </a:lnTo>
                <a:lnTo>
                  <a:pt x="1839" y="1480"/>
                </a:lnTo>
                <a:lnTo>
                  <a:pt x="1839" y="1655"/>
                </a:lnTo>
                <a:lnTo>
                  <a:pt x="1982" y="1480"/>
                </a:lnTo>
                <a:lnTo>
                  <a:pt x="1986" y="1476"/>
                </a:lnTo>
                <a:lnTo>
                  <a:pt x="1987" y="1474"/>
                </a:lnTo>
                <a:lnTo>
                  <a:pt x="1990" y="1473"/>
                </a:lnTo>
                <a:lnTo>
                  <a:pt x="1992" y="1472"/>
                </a:lnTo>
                <a:lnTo>
                  <a:pt x="1994" y="1471"/>
                </a:lnTo>
                <a:lnTo>
                  <a:pt x="1997" y="1470"/>
                </a:lnTo>
                <a:lnTo>
                  <a:pt x="2000" y="1470"/>
                </a:lnTo>
                <a:lnTo>
                  <a:pt x="2095" y="1470"/>
                </a:lnTo>
                <a:lnTo>
                  <a:pt x="2098" y="1471"/>
                </a:lnTo>
                <a:lnTo>
                  <a:pt x="2101" y="1472"/>
                </a:lnTo>
                <a:lnTo>
                  <a:pt x="2102" y="1473"/>
                </a:lnTo>
                <a:lnTo>
                  <a:pt x="2103" y="1475"/>
                </a:lnTo>
                <a:lnTo>
                  <a:pt x="2104" y="1478"/>
                </a:lnTo>
                <a:lnTo>
                  <a:pt x="2104" y="1480"/>
                </a:lnTo>
                <a:lnTo>
                  <a:pt x="2103" y="1483"/>
                </a:lnTo>
                <a:lnTo>
                  <a:pt x="2101" y="1485"/>
                </a:lnTo>
                <a:lnTo>
                  <a:pt x="1970" y="1646"/>
                </a:lnTo>
                <a:lnTo>
                  <a:pt x="2105" y="1876"/>
                </a:lnTo>
                <a:lnTo>
                  <a:pt x="2107" y="1878"/>
                </a:lnTo>
                <a:lnTo>
                  <a:pt x="2107" y="1880"/>
                </a:lnTo>
                <a:lnTo>
                  <a:pt x="2107" y="1883"/>
                </a:lnTo>
                <a:lnTo>
                  <a:pt x="2106" y="1885"/>
                </a:lnTo>
                <a:lnTo>
                  <a:pt x="2105" y="1886"/>
                </a:lnTo>
                <a:lnTo>
                  <a:pt x="2104" y="1888"/>
                </a:lnTo>
                <a:lnTo>
                  <a:pt x="2102" y="1888"/>
                </a:lnTo>
                <a:lnTo>
                  <a:pt x="2099" y="1889"/>
                </a:lnTo>
                <a:lnTo>
                  <a:pt x="2003" y="1889"/>
                </a:lnTo>
                <a:lnTo>
                  <a:pt x="1998" y="1888"/>
                </a:lnTo>
                <a:lnTo>
                  <a:pt x="1994" y="1887"/>
                </a:lnTo>
                <a:lnTo>
                  <a:pt x="1992" y="1885"/>
                </a:lnTo>
                <a:lnTo>
                  <a:pt x="1991" y="1884"/>
                </a:lnTo>
                <a:lnTo>
                  <a:pt x="1988" y="1879"/>
                </a:lnTo>
                <a:lnTo>
                  <a:pt x="1892" y="1713"/>
                </a:lnTo>
                <a:lnTo>
                  <a:pt x="1839" y="1778"/>
                </a:lnTo>
                <a:lnTo>
                  <a:pt x="1839" y="1879"/>
                </a:lnTo>
                <a:lnTo>
                  <a:pt x="1839" y="1881"/>
                </a:lnTo>
                <a:lnTo>
                  <a:pt x="1838" y="1883"/>
                </a:lnTo>
                <a:lnTo>
                  <a:pt x="1836" y="1886"/>
                </a:lnTo>
                <a:lnTo>
                  <a:pt x="1835" y="1887"/>
                </a:lnTo>
                <a:lnTo>
                  <a:pt x="1833" y="1888"/>
                </a:lnTo>
                <a:lnTo>
                  <a:pt x="1829" y="1889"/>
                </a:lnTo>
                <a:close/>
                <a:moveTo>
                  <a:pt x="2168" y="1480"/>
                </a:moveTo>
                <a:lnTo>
                  <a:pt x="2168" y="1478"/>
                </a:lnTo>
                <a:lnTo>
                  <a:pt x="2168" y="1476"/>
                </a:lnTo>
                <a:lnTo>
                  <a:pt x="2171" y="1473"/>
                </a:lnTo>
                <a:lnTo>
                  <a:pt x="2172" y="1472"/>
                </a:lnTo>
                <a:lnTo>
                  <a:pt x="2174" y="1471"/>
                </a:lnTo>
                <a:lnTo>
                  <a:pt x="2178" y="1470"/>
                </a:lnTo>
                <a:lnTo>
                  <a:pt x="2260" y="1470"/>
                </a:lnTo>
                <a:lnTo>
                  <a:pt x="2264" y="1471"/>
                </a:lnTo>
                <a:lnTo>
                  <a:pt x="2267" y="1473"/>
                </a:lnTo>
                <a:lnTo>
                  <a:pt x="2268" y="1474"/>
                </a:lnTo>
                <a:lnTo>
                  <a:pt x="2269" y="1476"/>
                </a:lnTo>
                <a:lnTo>
                  <a:pt x="2270" y="1478"/>
                </a:lnTo>
                <a:lnTo>
                  <a:pt x="2270" y="1480"/>
                </a:lnTo>
                <a:lnTo>
                  <a:pt x="2270" y="1879"/>
                </a:lnTo>
                <a:lnTo>
                  <a:pt x="2270" y="1881"/>
                </a:lnTo>
                <a:lnTo>
                  <a:pt x="2269" y="1883"/>
                </a:lnTo>
                <a:lnTo>
                  <a:pt x="2267" y="1886"/>
                </a:lnTo>
                <a:lnTo>
                  <a:pt x="2266" y="1887"/>
                </a:lnTo>
                <a:lnTo>
                  <a:pt x="2264" y="1888"/>
                </a:lnTo>
                <a:lnTo>
                  <a:pt x="2260" y="1889"/>
                </a:lnTo>
                <a:lnTo>
                  <a:pt x="2178" y="1889"/>
                </a:lnTo>
                <a:lnTo>
                  <a:pt x="2174" y="1888"/>
                </a:lnTo>
                <a:lnTo>
                  <a:pt x="2171" y="1886"/>
                </a:lnTo>
                <a:lnTo>
                  <a:pt x="2169" y="1885"/>
                </a:lnTo>
                <a:lnTo>
                  <a:pt x="2168" y="1883"/>
                </a:lnTo>
                <a:lnTo>
                  <a:pt x="2168" y="1881"/>
                </a:lnTo>
                <a:lnTo>
                  <a:pt x="2168" y="1879"/>
                </a:lnTo>
                <a:lnTo>
                  <a:pt x="2168" y="1480"/>
                </a:lnTo>
                <a:close/>
                <a:moveTo>
                  <a:pt x="2470" y="1879"/>
                </a:moveTo>
                <a:lnTo>
                  <a:pt x="2323" y="1484"/>
                </a:lnTo>
                <a:lnTo>
                  <a:pt x="2322" y="1481"/>
                </a:lnTo>
                <a:lnTo>
                  <a:pt x="2322" y="1478"/>
                </a:lnTo>
                <a:lnTo>
                  <a:pt x="2322" y="1476"/>
                </a:lnTo>
                <a:lnTo>
                  <a:pt x="2323" y="1474"/>
                </a:lnTo>
                <a:lnTo>
                  <a:pt x="2325" y="1472"/>
                </a:lnTo>
                <a:lnTo>
                  <a:pt x="2327" y="1471"/>
                </a:lnTo>
                <a:lnTo>
                  <a:pt x="2329" y="1470"/>
                </a:lnTo>
                <a:lnTo>
                  <a:pt x="2332" y="1470"/>
                </a:lnTo>
                <a:lnTo>
                  <a:pt x="2415" y="1470"/>
                </a:lnTo>
                <a:lnTo>
                  <a:pt x="2419" y="1471"/>
                </a:lnTo>
                <a:lnTo>
                  <a:pt x="2421" y="1471"/>
                </a:lnTo>
                <a:lnTo>
                  <a:pt x="2423" y="1472"/>
                </a:lnTo>
                <a:lnTo>
                  <a:pt x="2425" y="1474"/>
                </a:lnTo>
                <a:lnTo>
                  <a:pt x="2426" y="1475"/>
                </a:lnTo>
                <a:lnTo>
                  <a:pt x="2428" y="1477"/>
                </a:lnTo>
                <a:lnTo>
                  <a:pt x="2429" y="1480"/>
                </a:lnTo>
                <a:lnTo>
                  <a:pt x="2521" y="1734"/>
                </a:lnTo>
                <a:lnTo>
                  <a:pt x="2614" y="1480"/>
                </a:lnTo>
                <a:lnTo>
                  <a:pt x="2615" y="1477"/>
                </a:lnTo>
                <a:lnTo>
                  <a:pt x="2616" y="1475"/>
                </a:lnTo>
                <a:lnTo>
                  <a:pt x="2618" y="1474"/>
                </a:lnTo>
                <a:lnTo>
                  <a:pt x="2619" y="1472"/>
                </a:lnTo>
                <a:lnTo>
                  <a:pt x="2623" y="1471"/>
                </a:lnTo>
                <a:lnTo>
                  <a:pt x="2627" y="1470"/>
                </a:lnTo>
                <a:lnTo>
                  <a:pt x="2709" y="1470"/>
                </a:lnTo>
                <a:lnTo>
                  <a:pt x="2711" y="1470"/>
                </a:lnTo>
                <a:lnTo>
                  <a:pt x="2714" y="1471"/>
                </a:lnTo>
                <a:lnTo>
                  <a:pt x="2716" y="1472"/>
                </a:lnTo>
                <a:lnTo>
                  <a:pt x="2717" y="1474"/>
                </a:lnTo>
                <a:lnTo>
                  <a:pt x="2718" y="1476"/>
                </a:lnTo>
                <a:lnTo>
                  <a:pt x="2719" y="1478"/>
                </a:lnTo>
                <a:lnTo>
                  <a:pt x="2719" y="1481"/>
                </a:lnTo>
                <a:lnTo>
                  <a:pt x="2718" y="1484"/>
                </a:lnTo>
                <a:lnTo>
                  <a:pt x="2571" y="1879"/>
                </a:lnTo>
                <a:lnTo>
                  <a:pt x="2569" y="1883"/>
                </a:lnTo>
                <a:lnTo>
                  <a:pt x="2567" y="1885"/>
                </a:lnTo>
                <a:lnTo>
                  <a:pt x="2566" y="1886"/>
                </a:lnTo>
                <a:lnTo>
                  <a:pt x="2564" y="1887"/>
                </a:lnTo>
                <a:lnTo>
                  <a:pt x="2562" y="1888"/>
                </a:lnTo>
                <a:lnTo>
                  <a:pt x="2560" y="1889"/>
                </a:lnTo>
                <a:lnTo>
                  <a:pt x="2557" y="1889"/>
                </a:lnTo>
                <a:lnTo>
                  <a:pt x="2484" y="1889"/>
                </a:lnTo>
                <a:lnTo>
                  <a:pt x="2481" y="1889"/>
                </a:lnTo>
                <a:lnTo>
                  <a:pt x="2479" y="1888"/>
                </a:lnTo>
                <a:lnTo>
                  <a:pt x="2475" y="1886"/>
                </a:lnTo>
                <a:lnTo>
                  <a:pt x="2473" y="1885"/>
                </a:lnTo>
                <a:lnTo>
                  <a:pt x="2472" y="1883"/>
                </a:lnTo>
                <a:lnTo>
                  <a:pt x="2470" y="1879"/>
                </a:lnTo>
                <a:close/>
                <a:moveTo>
                  <a:pt x="224" y="1804"/>
                </a:moveTo>
                <a:lnTo>
                  <a:pt x="236" y="1804"/>
                </a:lnTo>
                <a:lnTo>
                  <a:pt x="247" y="1802"/>
                </a:lnTo>
                <a:lnTo>
                  <a:pt x="259" y="1799"/>
                </a:lnTo>
                <a:lnTo>
                  <a:pt x="264" y="1797"/>
                </a:lnTo>
                <a:lnTo>
                  <a:pt x="269" y="1795"/>
                </a:lnTo>
                <a:lnTo>
                  <a:pt x="280" y="1791"/>
                </a:lnTo>
                <a:lnTo>
                  <a:pt x="289" y="1785"/>
                </a:lnTo>
                <a:lnTo>
                  <a:pt x="298" y="1778"/>
                </a:lnTo>
                <a:lnTo>
                  <a:pt x="306" y="1770"/>
                </a:lnTo>
                <a:lnTo>
                  <a:pt x="314" y="1762"/>
                </a:lnTo>
                <a:lnTo>
                  <a:pt x="320" y="1752"/>
                </a:lnTo>
                <a:lnTo>
                  <a:pt x="326" y="1742"/>
                </a:lnTo>
                <a:lnTo>
                  <a:pt x="331" y="1731"/>
                </a:lnTo>
                <a:lnTo>
                  <a:pt x="333" y="1725"/>
                </a:lnTo>
                <a:lnTo>
                  <a:pt x="334" y="1719"/>
                </a:lnTo>
                <a:lnTo>
                  <a:pt x="337" y="1707"/>
                </a:lnTo>
                <a:lnTo>
                  <a:pt x="339" y="1693"/>
                </a:lnTo>
                <a:lnTo>
                  <a:pt x="339" y="1687"/>
                </a:lnTo>
                <a:lnTo>
                  <a:pt x="340" y="1680"/>
                </a:lnTo>
                <a:lnTo>
                  <a:pt x="339" y="1666"/>
                </a:lnTo>
                <a:lnTo>
                  <a:pt x="337" y="1652"/>
                </a:lnTo>
                <a:lnTo>
                  <a:pt x="334" y="1640"/>
                </a:lnTo>
                <a:lnTo>
                  <a:pt x="333" y="1634"/>
                </a:lnTo>
                <a:lnTo>
                  <a:pt x="331" y="1628"/>
                </a:lnTo>
                <a:lnTo>
                  <a:pt x="326" y="1617"/>
                </a:lnTo>
                <a:lnTo>
                  <a:pt x="320" y="1607"/>
                </a:lnTo>
                <a:lnTo>
                  <a:pt x="314" y="1597"/>
                </a:lnTo>
                <a:lnTo>
                  <a:pt x="310" y="1593"/>
                </a:lnTo>
                <a:lnTo>
                  <a:pt x="306" y="1589"/>
                </a:lnTo>
                <a:lnTo>
                  <a:pt x="302" y="1585"/>
                </a:lnTo>
                <a:lnTo>
                  <a:pt x="298" y="1581"/>
                </a:lnTo>
                <a:lnTo>
                  <a:pt x="294" y="1578"/>
                </a:lnTo>
                <a:lnTo>
                  <a:pt x="289" y="1574"/>
                </a:lnTo>
                <a:lnTo>
                  <a:pt x="280" y="1568"/>
                </a:lnTo>
                <a:lnTo>
                  <a:pt x="275" y="1566"/>
                </a:lnTo>
                <a:lnTo>
                  <a:pt x="269" y="1564"/>
                </a:lnTo>
                <a:lnTo>
                  <a:pt x="264" y="1562"/>
                </a:lnTo>
                <a:lnTo>
                  <a:pt x="259" y="1560"/>
                </a:lnTo>
                <a:lnTo>
                  <a:pt x="247" y="1557"/>
                </a:lnTo>
                <a:lnTo>
                  <a:pt x="236" y="1555"/>
                </a:lnTo>
                <a:lnTo>
                  <a:pt x="230" y="1555"/>
                </a:lnTo>
                <a:lnTo>
                  <a:pt x="224" y="1555"/>
                </a:lnTo>
                <a:lnTo>
                  <a:pt x="212" y="1555"/>
                </a:lnTo>
                <a:lnTo>
                  <a:pt x="200" y="1557"/>
                </a:lnTo>
                <a:lnTo>
                  <a:pt x="189" y="1560"/>
                </a:lnTo>
                <a:lnTo>
                  <a:pt x="183" y="1562"/>
                </a:lnTo>
                <a:lnTo>
                  <a:pt x="178" y="1564"/>
                </a:lnTo>
                <a:lnTo>
                  <a:pt x="168" y="1568"/>
                </a:lnTo>
                <a:lnTo>
                  <a:pt x="158" y="1574"/>
                </a:lnTo>
                <a:lnTo>
                  <a:pt x="149" y="1581"/>
                </a:lnTo>
                <a:lnTo>
                  <a:pt x="141" y="1589"/>
                </a:lnTo>
                <a:lnTo>
                  <a:pt x="134" y="1597"/>
                </a:lnTo>
                <a:lnTo>
                  <a:pt x="127" y="1607"/>
                </a:lnTo>
                <a:lnTo>
                  <a:pt x="121" y="1617"/>
                </a:lnTo>
                <a:lnTo>
                  <a:pt x="117" y="1628"/>
                </a:lnTo>
                <a:lnTo>
                  <a:pt x="115" y="1634"/>
                </a:lnTo>
                <a:lnTo>
                  <a:pt x="113" y="1640"/>
                </a:lnTo>
                <a:lnTo>
                  <a:pt x="110" y="1652"/>
                </a:lnTo>
                <a:lnTo>
                  <a:pt x="108" y="1666"/>
                </a:lnTo>
                <a:lnTo>
                  <a:pt x="108" y="1672"/>
                </a:lnTo>
                <a:lnTo>
                  <a:pt x="108" y="1680"/>
                </a:lnTo>
                <a:lnTo>
                  <a:pt x="108" y="1693"/>
                </a:lnTo>
                <a:lnTo>
                  <a:pt x="110" y="1707"/>
                </a:lnTo>
                <a:lnTo>
                  <a:pt x="113" y="1719"/>
                </a:lnTo>
                <a:lnTo>
                  <a:pt x="115" y="1725"/>
                </a:lnTo>
                <a:lnTo>
                  <a:pt x="117" y="1731"/>
                </a:lnTo>
                <a:lnTo>
                  <a:pt x="121" y="1742"/>
                </a:lnTo>
                <a:lnTo>
                  <a:pt x="127" y="1752"/>
                </a:lnTo>
                <a:lnTo>
                  <a:pt x="134" y="1762"/>
                </a:lnTo>
                <a:lnTo>
                  <a:pt x="137" y="1766"/>
                </a:lnTo>
                <a:lnTo>
                  <a:pt x="141" y="1770"/>
                </a:lnTo>
                <a:lnTo>
                  <a:pt x="145" y="1774"/>
                </a:lnTo>
                <a:lnTo>
                  <a:pt x="149" y="1778"/>
                </a:lnTo>
                <a:lnTo>
                  <a:pt x="154" y="1781"/>
                </a:lnTo>
                <a:lnTo>
                  <a:pt x="158" y="1785"/>
                </a:lnTo>
                <a:lnTo>
                  <a:pt x="168" y="1791"/>
                </a:lnTo>
                <a:lnTo>
                  <a:pt x="173" y="1793"/>
                </a:lnTo>
                <a:lnTo>
                  <a:pt x="178" y="1795"/>
                </a:lnTo>
                <a:lnTo>
                  <a:pt x="183" y="1797"/>
                </a:lnTo>
                <a:lnTo>
                  <a:pt x="189" y="1799"/>
                </a:lnTo>
                <a:lnTo>
                  <a:pt x="200" y="1802"/>
                </a:lnTo>
                <a:lnTo>
                  <a:pt x="212" y="1804"/>
                </a:lnTo>
                <a:lnTo>
                  <a:pt x="218" y="1804"/>
                </a:lnTo>
                <a:lnTo>
                  <a:pt x="224" y="1804"/>
                </a:lnTo>
                <a:close/>
                <a:moveTo>
                  <a:pt x="224" y="1463"/>
                </a:moveTo>
                <a:lnTo>
                  <a:pt x="236" y="1463"/>
                </a:lnTo>
                <a:lnTo>
                  <a:pt x="247" y="1464"/>
                </a:lnTo>
                <a:lnTo>
                  <a:pt x="259" y="1465"/>
                </a:lnTo>
                <a:lnTo>
                  <a:pt x="270" y="1467"/>
                </a:lnTo>
                <a:lnTo>
                  <a:pt x="281" y="1470"/>
                </a:lnTo>
                <a:lnTo>
                  <a:pt x="292" y="1472"/>
                </a:lnTo>
                <a:lnTo>
                  <a:pt x="302" y="1476"/>
                </a:lnTo>
                <a:lnTo>
                  <a:pt x="313" y="1479"/>
                </a:lnTo>
                <a:lnTo>
                  <a:pt x="323" y="1483"/>
                </a:lnTo>
                <a:lnTo>
                  <a:pt x="332" y="1488"/>
                </a:lnTo>
                <a:lnTo>
                  <a:pt x="342" y="1493"/>
                </a:lnTo>
                <a:lnTo>
                  <a:pt x="351" y="1499"/>
                </a:lnTo>
                <a:lnTo>
                  <a:pt x="359" y="1504"/>
                </a:lnTo>
                <a:lnTo>
                  <a:pt x="364" y="1507"/>
                </a:lnTo>
                <a:lnTo>
                  <a:pt x="368" y="1511"/>
                </a:lnTo>
                <a:lnTo>
                  <a:pt x="372" y="1514"/>
                </a:lnTo>
                <a:lnTo>
                  <a:pt x="376" y="1517"/>
                </a:lnTo>
                <a:lnTo>
                  <a:pt x="383" y="1524"/>
                </a:lnTo>
                <a:lnTo>
                  <a:pt x="387" y="1528"/>
                </a:lnTo>
                <a:lnTo>
                  <a:pt x="391" y="1532"/>
                </a:lnTo>
                <a:lnTo>
                  <a:pt x="398" y="1539"/>
                </a:lnTo>
                <a:lnTo>
                  <a:pt x="404" y="1548"/>
                </a:lnTo>
                <a:lnTo>
                  <a:pt x="407" y="1552"/>
                </a:lnTo>
                <a:lnTo>
                  <a:pt x="410" y="1556"/>
                </a:lnTo>
                <a:lnTo>
                  <a:pt x="416" y="1565"/>
                </a:lnTo>
                <a:lnTo>
                  <a:pt x="421" y="1574"/>
                </a:lnTo>
                <a:lnTo>
                  <a:pt x="426" y="1583"/>
                </a:lnTo>
                <a:lnTo>
                  <a:pt x="430" y="1593"/>
                </a:lnTo>
                <a:lnTo>
                  <a:pt x="432" y="1598"/>
                </a:lnTo>
                <a:lnTo>
                  <a:pt x="434" y="1603"/>
                </a:lnTo>
                <a:lnTo>
                  <a:pt x="437" y="1613"/>
                </a:lnTo>
                <a:lnTo>
                  <a:pt x="440" y="1623"/>
                </a:lnTo>
                <a:lnTo>
                  <a:pt x="443" y="1634"/>
                </a:lnTo>
                <a:lnTo>
                  <a:pt x="445" y="1645"/>
                </a:lnTo>
                <a:lnTo>
                  <a:pt x="446" y="1656"/>
                </a:lnTo>
                <a:lnTo>
                  <a:pt x="446" y="1662"/>
                </a:lnTo>
                <a:lnTo>
                  <a:pt x="447" y="1668"/>
                </a:lnTo>
                <a:lnTo>
                  <a:pt x="447" y="1680"/>
                </a:lnTo>
                <a:lnTo>
                  <a:pt x="447" y="1691"/>
                </a:lnTo>
                <a:lnTo>
                  <a:pt x="446" y="1703"/>
                </a:lnTo>
                <a:lnTo>
                  <a:pt x="445" y="1714"/>
                </a:lnTo>
                <a:lnTo>
                  <a:pt x="443" y="1725"/>
                </a:lnTo>
                <a:lnTo>
                  <a:pt x="440" y="1736"/>
                </a:lnTo>
                <a:lnTo>
                  <a:pt x="437" y="1746"/>
                </a:lnTo>
                <a:lnTo>
                  <a:pt x="434" y="1756"/>
                </a:lnTo>
                <a:lnTo>
                  <a:pt x="430" y="1766"/>
                </a:lnTo>
                <a:lnTo>
                  <a:pt x="426" y="1776"/>
                </a:lnTo>
                <a:lnTo>
                  <a:pt x="421" y="1785"/>
                </a:lnTo>
                <a:lnTo>
                  <a:pt x="416" y="1794"/>
                </a:lnTo>
                <a:lnTo>
                  <a:pt x="410" y="1803"/>
                </a:lnTo>
                <a:lnTo>
                  <a:pt x="404" y="1811"/>
                </a:lnTo>
                <a:lnTo>
                  <a:pt x="398" y="1820"/>
                </a:lnTo>
                <a:lnTo>
                  <a:pt x="391" y="1827"/>
                </a:lnTo>
                <a:lnTo>
                  <a:pt x="383" y="1835"/>
                </a:lnTo>
                <a:lnTo>
                  <a:pt x="376" y="1842"/>
                </a:lnTo>
                <a:lnTo>
                  <a:pt x="368" y="1848"/>
                </a:lnTo>
                <a:lnTo>
                  <a:pt x="359" y="1855"/>
                </a:lnTo>
                <a:lnTo>
                  <a:pt x="351" y="1860"/>
                </a:lnTo>
                <a:lnTo>
                  <a:pt x="342" y="1866"/>
                </a:lnTo>
                <a:lnTo>
                  <a:pt x="332" y="1871"/>
                </a:lnTo>
                <a:lnTo>
                  <a:pt x="323" y="1876"/>
                </a:lnTo>
                <a:lnTo>
                  <a:pt x="313" y="1880"/>
                </a:lnTo>
                <a:lnTo>
                  <a:pt x="302" y="1883"/>
                </a:lnTo>
                <a:lnTo>
                  <a:pt x="292" y="1887"/>
                </a:lnTo>
                <a:lnTo>
                  <a:pt x="281" y="1889"/>
                </a:lnTo>
                <a:lnTo>
                  <a:pt x="270" y="1892"/>
                </a:lnTo>
                <a:lnTo>
                  <a:pt x="259" y="1894"/>
                </a:lnTo>
                <a:lnTo>
                  <a:pt x="247" y="1895"/>
                </a:lnTo>
                <a:lnTo>
                  <a:pt x="236" y="1896"/>
                </a:lnTo>
                <a:lnTo>
                  <a:pt x="224" y="1896"/>
                </a:lnTo>
                <a:lnTo>
                  <a:pt x="212" y="1896"/>
                </a:lnTo>
                <a:lnTo>
                  <a:pt x="200" y="1895"/>
                </a:lnTo>
                <a:lnTo>
                  <a:pt x="188" y="1894"/>
                </a:lnTo>
                <a:lnTo>
                  <a:pt x="177" y="1892"/>
                </a:lnTo>
                <a:lnTo>
                  <a:pt x="166" y="1889"/>
                </a:lnTo>
                <a:lnTo>
                  <a:pt x="155" y="1887"/>
                </a:lnTo>
                <a:lnTo>
                  <a:pt x="145" y="1883"/>
                </a:lnTo>
                <a:lnTo>
                  <a:pt x="135" y="1880"/>
                </a:lnTo>
                <a:lnTo>
                  <a:pt x="125" y="1876"/>
                </a:lnTo>
                <a:lnTo>
                  <a:pt x="115" y="1871"/>
                </a:lnTo>
                <a:lnTo>
                  <a:pt x="106" y="1866"/>
                </a:lnTo>
                <a:lnTo>
                  <a:pt x="97" y="1860"/>
                </a:lnTo>
                <a:lnTo>
                  <a:pt x="88" y="1855"/>
                </a:lnTo>
                <a:lnTo>
                  <a:pt x="84" y="1852"/>
                </a:lnTo>
                <a:lnTo>
                  <a:pt x="79" y="1848"/>
                </a:lnTo>
                <a:lnTo>
                  <a:pt x="75" y="1845"/>
                </a:lnTo>
                <a:lnTo>
                  <a:pt x="71" y="1842"/>
                </a:lnTo>
                <a:lnTo>
                  <a:pt x="64" y="1835"/>
                </a:lnTo>
                <a:lnTo>
                  <a:pt x="60" y="1831"/>
                </a:lnTo>
                <a:lnTo>
                  <a:pt x="56" y="1827"/>
                </a:lnTo>
                <a:lnTo>
                  <a:pt x="50" y="1820"/>
                </a:lnTo>
                <a:lnTo>
                  <a:pt x="43" y="1811"/>
                </a:lnTo>
                <a:lnTo>
                  <a:pt x="40" y="1807"/>
                </a:lnTo>
                <a:lnTo>
                  <a:pt x="37" y="1803"/>
                </a:lnTo>
                <a:lnTo>
                  <a:pt x="31" y="1794"/>
                </a:lnTo>
                <a:lnTo>
                  <a:pt x="26" y="1785"/>
                </a:lnTo>
                <a:lnTo>
                  <a:pt x="21" y="1776"/>
                </a:lnTo>
                <a:lnTo>
                  <a:pt x="17" y="1766"/>
                </a:lnTo>
                <a:lnTo>
                  <a:pt x="15" y="1761"/>
                </a:lnTo>
                <a:lnTo>
                  <a:pt x="13" y="1756"/>
                </a:lnTo>
                <a:lnTo>
                  <a:pt x="10" y="1746"/>
                </a:lnTo>
                <a:lnTo>
                  <a:pt x="7" y="1736"/>
                </a:lnTo>
                <a:lnTo>
                  <a:pt x="4" y="1725"/>
                </a:lnTo>
                <a:lnTo>
                  <a:pt x="3" y="1714"/>
                </a:lnTo>
                <a:lnTo>
                  <a:pt x="1" y="1703"/>
                </a:lnTo>
                <a:lnTo>
                  <a:pt x="1" y="1697"/>
                </a:lnTo>
                <a:lnTo>
                  <a:pt x="0" y="1691"/>
                </a:lnTo>
                <a:lnTo>
                  <a:pt x="0" y="1680"/>
                </a:lnTo>
                <a:lnTo>
                  <a:pt x="0" y="1668"/>
                </a:lnTo>
                <a:lnTo>
                  <a:pt x="1" y="1656"/>
                </a:lnTo>
                <a:lnTo>
                  <a:pt x="3" y="1645"/>
                </a:lnTo>
                <a:lnTo>
                  <a:pt x="4" y="1634"/>
                </a:lnTo>
                <a:lnTo>
                  <a:pt x="7" y="1623"/>
                </a:lnTo>
                <a:lnTo>
                  <a:pt x="10" y="1613"/>
                </a:lnTo>
                <a:lnTo>
                  <a:pt x="13" y="1603"/>
                </a:lnTo>
                <a:lnTo>
                  <a:pt x="17" y="1593"/>
                </a:lnTo>
                <a:lnTo>
                  <a:pt x="21" y="1583"/>
                </a:lnTo>
                <a:lnTo>
                  <a:pt x="26" y="1574"/>
                </a:lnTo>
                <a:lnTo>
                  <a:pt x="31" y="1565"/>
                </a:lnTo>
                <a:lnTo>
                  <a:pt x="37" y="1556"/>
                </a:lnTo>
                <a:lnTo>
                  <a:pt x="43" y="1548"/>
                </a:lnTo>
                <a:lnTo>
                  <a:pt x="50" y="1539"/>
                </a:lnTo>
                <a:lnTo>
                  <a:pt x="56" y="1532"/>
                </a:lnTo>
                <a:lnTo>
                  <a:pt x="64" y="1524"/>
                </a:lnTo>
                <a:lnTo>
                  <a:pt x="71" y="1517"/>
                </a:lnTo>
                <a:lnTo>
                  <a:pt x="79" y="1511"/>
                </a:lnTo>
                <a:lnTo>
                  <a:pt x="88" y="1504"/>
                </a:lnTo>
                <a:lnTo>
                  <a:pt x="97" y="1499"/>
                </a:lnTo>
                <a:lnTo>
                  <a:pt x="106" y="1493"/>
                </a:lnTo>
                <a:lnTo>
                  <a:pt x="115" y="1488"/>
                </a:lnTo>
                <a:lnTo>
                  <a:pt x="125" y="1483"/>
                </a:lnTo>
                <a:lnTo>
                  <a:pt x="135" y="1479"/>
                </a:lnTo>
                <a:lnTo>
                  <a:pt x="145" y="1476"/>
                </a:lnTo>
                <a:lnTo>
                  <a:pt x="155" y="1472"/>
                </a:lnTo>
                <a:lnTo>
                  <a:pt x="166" y="1470"/>
                </a:lnTo>
                <a:lnTo>
                  <a:pt x="177" y="1467"/>
                </a:lnTo>
                <a:lnTo>
                  <a:pt x="188" y="1465"/>
                </a:lnTo>
                <a:lnTo>
                  <a:pt x="200" y="1464"/>
                </a:lnTo>
                <a:lnTo>
                  <a:pt x="212" y="1463"/>
                </a:lnTo>
                <a:lnTo>
                  <a:pt x="224" y="1463"/>
                </a:lnTo>
                <a:close/>
                <a:moveTo>
                  <a:pt x="1090" y="1810"/>
                </a:moveTo>
                <a:lnTo>
                  <a:pt x="1096" y="1809"/>
                </a:lnTo>
                <a:lnTo>
                  <a:pt x="1102" y="1809"/>
                </a:lnTo>
                <a:lnTo>
                  <a:pt x="1112" y="1807"/>
                </a:lnTo>
                <a:lnTo>
                  <a:pt x="1116" y="1806"/>
                </a:lnTo>
                <a:lnTo>
                  <a:pt x="1120" y="1804"/>
                </a:lnTo>
                <a:lnTo>
                  <a:pt x="1128" y="1800"/>
                </a:lnTo>
                <a:lnTo>
                  <a:pt x="1131" y="1798"/>
                </a:lnTo>
                <a:lnTo>
                  <a:pt x="1133" y="1795"/>
                </a:lnTo>
                <a:lnTo>
                  <a:pt x="1136" y="1792"/>
                </a:lnTo>
                <a:lnTo>
                  <a:pt x="1138" y="1789"/>
                </a:lnTo>
                <a:lnTo>
                  <a:pt x="1139" y="1786"/>
                </a:lnTo>
                <a:lnTo>
                  <a:pt x="1140" y="1782"/>
                </a:lnTo>
                <a:lnTo>
                  <a:pt x="1141" y="1779"/>
                </a:lnTo>
                <a:lnTo>
                  <a:pt x="1141" y="1775"/>
                </a:lnTo>
                <a:lnTo>
                  <a:pt x="1141" y="1771"/>
                </a:lnTo>
                <a:lnTo>
                  <a:pt x="1140" y="1767"/>
                </a:lnTo>
                <a:lnTo>
                  <a:pt x="1139" y="1763"/>
                </a:lnTo>
                <a:lnTo>
                  <a:pt x="1138" y="1760"/>
                </a:lnTo>
                <a:lnTo>
                  <a:pt x="1134" y="1754"/>
                </a:lnTo>
                <a:lnTo>
                  <a:pt x="1130" y="1749"/>
                </a:lnTo>
                <a:lnTo>
                  <a:pt x="1127" y="1747"/>
                </a:lnTo>
                <a:lnTo>
                  <a:pt x="1124" y="1744"/>
                </a:lnTo>
                <a:lnTo>
                  <a:pt x="1120" y="1742"/>
                </a:lnTo>
                <a:lnTo>
                  <a:pt x="1116" y="1740"/>
                </a:lnTo>
                <a:lnTo>
                  <a:pt x="1099" y="1732"/>
                </a:lnTo>
                <a:lnTo>
                  <a:pt x="1038" y="1703"/>
                </a:lnTo>
                <a:lnTo>
                  <a:pt x="1031" y="1699"/>
                </a:lnTo>
                <a:lnTo>
                  <a:pt x="1023" y="1695"/>
                </a:lnTo>
                <a:lnTo>
                  <a:pt x="1016" y="1691"/>
                </a:lnTo>
                <a:lnTo>
                  <a:pt x="1010" y="1686"/>
                </a:lnTo>
                <a:lnTo>
                  <a:pt x="1003" y="1680"/>
                </a:lnTo>
                <a:lnTo>
                  <a:pt x="997" y="1674"/>
                </a:lnTo>
                <a:lnTo>
                  <a:pt x="992" y="1668"/>
                </a:lnTo>
                <a:lnTo>
                  <a:pt x="986" y="1661"/>
                </a:lnTo>
                <a:lnTo>
                  <a:pt x="982" y="1654"/>
                </a:lnTo>
                <a:lnTo>
                  <a:pt x="978" y="1646"/>
                </a:lnTo>
                <a:lnTo>
                  <a:pt x="974" y="1638"/>
                </a:lnTo>
                <a:lnTo>
                  <a:pt x="971" y="1629"/>
                </a:lnTo>
                <a:lnTo>
                  <a:pt x="969" y="1620"/>
                </a:lnTo>
                <a:lnTo>
                  <a:pt x="967" y="1610"/>
                </a:lnTo>
                <a:lnTo>
                  <a:pt x="966" y="1600"/>
                </a:lnTo>
                <a:lnTo>
                  <a:pt x="965" y="1590"/>
                </a:lnTo>
                <a:lnTo>
                  <a:pt x="966" y="1583"/>
                </a:lnTo>
                <a:lnTo>
                  <a:pt x="966" y="1576"/>
                </a:lnTo>
                <a:lnTo>
                  <a:pt x="967" y="1570"/>
                </a:lnTo>
                <a:lnTo>
                  <a:pt x="968" y="1563"/>
                </a:lnTo>
                <a:lnTo>
                  <a:pt x="971" y="1551"/>
                </a:lnTo>
                <a:lnTo>
                  <a:pt x="973" y="1545"/>
                </a:lnTo>
                <a:lnTo>
                  <a:pt x="976" y="1539"/>
                </a:lnTo>
                <a:lnTo>
                  <a:pt x="979" y="1534"/>
                </a:lnTo>
                <a:lnTo>
                  <a:pt x="982" y="1528"/>
                </a:lnTo>
                <a:lnTo>
                  <a:pt x="988" y="1518"/>
                </a:lnTo>
                <a:lnTo>
                  <a:pt x="996" y="1508"/>
                </a:lnTo>
                <a:lnTo>
                  <a:pt x="1005" y="1499"/>
                </a:lnTo>
                <a:lnTo>
                  <a:pt x="1015" y="1491"/>
                </a:lnTo>
                <a:lnTo>
                  <a:pt x="1026" y="1484"/>
                </a:lnTo>
                <a:lnTo>
                  <a:pt x="1037" y="1478"/>
                </a:lnTo>
                <a:lnTo>
                  <a:pt x="1044" y="1475"/>
                </a:lnTo>
                <a:lnTo>
                  <a:pt x="1050" y="1473"/>
                </a:lnTo>
                <a:lnTo>
                  <a:pt x="1063" y="1469"/>
                </a:lnTo>
                <a:lnTo>
                  <a:pt x="1070" y="1467"/>
                </a:lnTo>
                <a:lnTo>
                  <a:pt x="1077" y="1466"/>
                </a:lnTo>
                <a:lnTo>
                  <a:pt x="1085" y="1464"/>
                </a:lnTo>
                <a:lnTo>
                  <a:pt x="1092" y="1464"/>
                </a:lnTo>
                <a:lnTo>
                  <a:pt x="1107" y="1463"/>
                </a:lnTo>
                <a:lnTo>
                  <a:pt x="1122" y="1464"/>
                </a:lnTo>
                <a:lnTo>
                  <a:pt x="1137" y="1465"/>
                </a:lnTo>
                <a:lnTo>
                  <a:pt x="1145" y="1466"/>
                </a:lnTo>
                <a:lnTo>
                  <a:pt x="1152" y="1467"/>
                </a:lnTo>
                <a:lnTo>
                  <a:pt x="1159" y="1468"/>
                </a:lnTo>
                <a:lnTo>
                  <a:pt x="1166" y="1470"/>
                </a:lnTo>
                <a:lnTo>
                  <a:pt x="1180" y="1474"/>
                </a:lnTo>
                <a:lnTo>
                  <a:pt x="1193" y="1479"/>
                </a:lnTo>
                <a:lnTo>
                  <a:pt x="1206" y="1484"/>
                </a:lnTo>
                <a:lnTo>
                  <a:pt x="1217" y="1490"/>
                </a:lnTo>
                <a:lnTo>
                  <a:pt x="1219" y="1492"/>
                </a:lnTo>
                <a:lnTo>
                  <a:pt x="1221" y="1494"/>
                </a:lnTo>
                <a:lnTo>
                  <a:pt x="1222" y="1496"/>
                </a:lnTo>
                <a:lnTo>
                  <a:pt x="1223" y="1498"/>
                </a:lnTo>
                <a:lnTo>
                  <a:pt x="1223" y="1502"/>
                </a:lnTo>
                <a:lnTo>
                  <a:pt x="1221" y="1507"/>
                </a:lnTo>
                <a:lnTo>
                  <a:pt x="1197" y="1562"/>
                </a:lnTo>
                <a:lnTo>
                  <a:pt x="1194" y="1567"/>
                </a:lnTo>
                <a:lnTo>
                  <a:pt x="1192" y="1569"/>
                </a:lnTo>
                <a:lnTo>
                  <a:pt x="1191" y="1570"/>
                </a:lnTo>
                <a:lnTo>
                  <a:pt x="1186" y="1570"/>
                </a:lnTo>
                <a:lnTo>
                  <a:pt x="1184" y="1570"/>
                </a:lnTo>
                <a:lnTo>
                  <a:pt x="1181" y="1569"/>
                </a:lnTo>
                <a:lnTo>
                  <a:pt x="1172" y="1565"/>
                </a:lnTo>
                <a:lnTo>
                  <a:pt x="1164" y="1561"/>
                </a:lnTo>
                <a:lnTo>
                  <a:pt x="1156" y="1558"/>
                </a:lnTo>
                <a:lnTo>
                  <a:pt x="1147" y="1555"/>
                </a:lnTo>
                <a:lnTo>
                  <a:pt x="1139" y="1552"/>
                </a:lnTo>
                <a:lnTo>
                  <a:pt x="1130" y="1551"/>
                </a:lnTo>
                <a:lnTo>
                  <a:pt x="1121" y="1550"/>
                </a:lnTo>
                <a:lnTo>
                  <a:pt x="1111" y="1549"/>
                </a:lnTo>
                <a:lnTo>
                  <a:pt x="1101" y="1550"/>
                </a:lnTo>
                <a:lnTo>
                  <a:pt x="1092" y="1552"/>
                </a:lnTo>
                <a:lnTo>
                  <a:pt x="1088" y="1553"/>
                </a:lnTo>
                <a:lnTo>
                  <a:pt x="1085" y="1555"/>
                </a:lnTo>
                <a:lnTo>
                  <a:pt x="1078" y="1559"/>
                </a:lnTo>
                <a:lnTo>
                  <a:pt x="1075" y="1561"/>
                </a:lnTo>
                <a:lnTo>
                  <a:pt x="1073" y="1564"/>
                </a:lnTo>
                <a:lnTo>
                  <a:pt x="1071" y="1567"/>
                </a:lnTo>
                <a:lnTo>
                  <a:pt x="1069" y="1570"/>
                </a:lnTo>
                <a:lnTo>
                  <a:pt x="1068" y="1573"/>
                </a:lnTo>
                <a:lnTo>
                  <a:pt x="1067" y="1576"/>
                </a:lnTo>
                <a:lnTo>
                  <a:pt x="1067" y="1580"/>
                </a:lnTo>
                <a:lnTo>
                  <a:pt x="1067" y="1583"/>
                </a:lnTo>
                <a:lnTo>
                  <a:pt x="1067" y="1587"/>
                </a:lnTo>
                <a:lnTo>
                  <a:pt x="1067" y="1590"/>
                </a:lnTo>
                <a:lnTo>
                  <a:pt x="1069" y="1597"/>
                </a:lnTo>
                <a:lnTo>
                  <a:pt x="1073" y="1602"/>
                </a:lnTo>
                <a:lnTo>
                  <a:pt x="1075" y="1605"/>
                </a:lnTo>
                <a:lnTo>
                  <a:pt x="1077" y="1608"/>
                </a:lnTo>
                <a:lnTo>
                  <a:pt x="1080" y="1610"/>
                </a:lnTo>
                <a:lnTo>
                  <a:pt x="1083" y="1612"/>
                </a:lnTo>
                <a:lnTo>
                  <a:pt x="1090" y="1617"/>
                </a:lnTo>
                <a:lnTo>
                  <a:pt x="1098" y="1621"/>
                </a:lnTo>
                <a:lnTo>
                  <a:pt x="1108" y="1626"/>
                </a:lnTo>
                <a:lnTo>
                  <a:pt x="1170" y="1655"/>
                </a:lnTo>
                <a:lnTo>
                  <a:pt x="1178" y="1659"/>
                </a:lnTo>
                <a:lnTo>
                  <a:pt x="1185" y="1663"/>
                </a:lnTo>
                <a:lnTo>
                  <a:pt x="1193" y="1667"/>
                </a:lnTo>
                <a:lnTo>
                  <a:pt x="1199" y="1672"/>
                </a:lnTo>
                <a:lnTo>
                  <a:pt x="1206" y="1678"/>
                </a:lnTo>
                <a:lnTo>
                  <a:pt x="1212" y="1684"/>
                </a:lnTo>
                <a:lnTo>
                  <a:pt x="1217" y="1690"/>
                </a:lnTo>
                <a:lnTo>
                  <a:pt x="1222" y="1696"/>
                </a:lnTo>
                <a:lnTo>
                  <a:pt x="1225" y="1700"/>
                </a:lnTo>
                <a:lnTo>
                  <a:pt x="1227" y="1703"/>
                </a:lnTo>
                <a:lnTo>
                  <a:pt x="1231" y="1711"/>
                </a:lnTo>
                <a:lnTo>
                  <a:pt x="1234" y="1719"/>
                </a:lnTo>
                <a:lnTo>
                  <a:pt x="1237" y="1727"/>
                </a:lnTo>
                <a:lnTo>
                  <a:pt x="1239" y="1731"/>
                </a:lnTo>
                <a:lnTo>
                  <a:pt x="1240" y="1736"/>
                </a:lnTo>
                <a:lnTo>
                  <a:pt x="1241" y="1745"/>
                </a:lnTo>
                <a:lnTo>
                  <a:pt x="1242" y="1755"/>
                </a:lnTo>
                <a:lnTo>
                  <a:pt x="1243" y="1766"/>
                </a:lnTo>
                <a:lnTo>
                  <a:pt x="1243" y="1773"/>
                </a:lnTo>
                <a:lnTo>
                  <a:pt x="1242" y="1780"/>
                </a:lnTo>
                <a:lnTo>
                  <a:pt x="1240" y="1793"/>
                </a:lnTo>
                <a:lnTo>
                  <a:pt x="1238" y="1799"/>
                </a:lnTo>
                <a:lnTo>
                  <a:pt x="1236" y="1806"/>
                </a:lnTo>
                <a:lnTo>
                  <a:pt x="1232" y="1818"/>
                </a:lnTo>
                <a:lnTo>
                  <a:pt x="1229" y="1824"/>
                </a:lnTo>
                <a:lnTo>
                  <a:pt x="1226" y="1829"/>
                </a:lnTo>
                <a:lnTo>
                  <a:pt x="1222" y="1835"/>
                </a:lnTo>
                <a:lnTo>
                  <a:pt x="1218" y="1840"/>
                </a:lnTo>
                <a:lnTo>
                  <a:pt x="1214" y="1845"/>
                </a:lnTo>
                <a:lnTo>
                  <a:pt x="1210" y="1850"/>
                </a:lnTo>
                <a:lnTo>
                  <a:pt x="1206" y="1855"/>
                </a:lnTo>
                <a:lnTo>
                  <a:pt x="1201" y="1859"/>
                </a:lnTo>
                <a:lnTo>
                  <a:pt x="1196" y="1863"/>
                </a:lnTo>
                <a:lnTo>
                  <a:pt x="1190" y="1867"/>
                </a:lnTo>
                <a:lnTo>
                  <a:pt x="1179" y="1875"/>
                </a:lnTo>
                <a:lnTo>
                  <a:pt x="1173" y="1878"/>
                </a:lnTo>
                <a:lnTo>
                  <a:pt x="1166" y="1881"/>
                </a:lnTo>
                <a:lnTo>
                  <a:pt x="1160" y="1884"/>
                </a:lnTo>
                <a:lnTo>
                  <a:pt x="1153" y="1886"/>
                </a:lnTo>
                <a:lnTo>
                  <a:pt x="1139" y="1890"/>
                </a:lnTo>
                <a:lnTo>
                  <a:pt x="1132" y="1892"/>
                </a:lnTo>
                <a:lnTo>
                  <a:pt x="1124" y="1893"/>
                </a:lnTo>
                <a:lnTo>
                  <a:pt x="1117" y="1895"/>
                </a:lnTo>
                <a:lnTo>
                  <a:pt x="1109" y="1895"/>
                </a:lnTo>
                <a:lnTo>
                  <a:pt x="1093" y="1896"/>
                </a:lnTo>
                <a:lnTo>
                  <a:pt x="1075" y="1895"/>
                </a:lnTo>
                <a:lnTo>
                  <a:pt x="1066" y="1894"/>
                </a:lnTo>
                <a:lnTo>
                  <a:pt x="1057" y="1893"/>
                </a:lnTo>
                <a:lnTo>
                  <a:pt x="1048" y="1891"/>
                </a:lnTo>
                <a:lnTo>
                  <a:pt x="1040" y="1890"/>
                </a:lnTo>
                <a:lnTo>
                  <a:pt x="1031" y="1887"/>
                </a:lnTo>
                <a:lnTo>
                  <a:pt x="1023" y="1885"/>
                </a:lnTo>
                <a:lnTo>
                  <a:pt x="1007" y="1880"/>
                </a:lnTo>
                <a:lnTo>
                  <a:pt x="992" y="1873"/>
                </a:lnTo>
                <a:lnTo>
                  <a:pt x="977" y="1866"/>
                </a:lnTo>
                <a:lnTo>
                  <a:pt x="964" y="1859"/>
                </a:lnTo>
                <a:lnTo>
                  <a:pt x="961" y="1857"/>
                </a:lnTo>
                <a:lnTo>
                  <a:pt x="959" y="1854"/>
                </a:lnTo>
                <a:lnTo>
                  <a:pt x="958" y="1852"/>
                </a:lnTo>
                <a:lnTo>
                  <a:pt x="957" y="1850"/>
                </a:lnTo>
                <a:lnTo>
                  <a:pt x="958" y="1846"/>
                </a:lnTo>
                <a:lnTo>
                  <a:pt x="960" y="1842"/>
                </a:lnTo>
                <a:lnTo>
                  <a:pt x="984" y="1787"/>
                </a:lnTo>
                <a:lnTo>
                  <a:pt x="987" y="1782"/>
                </a:lnTo>
                <a:lnTo>
                  <a:pt x="989" y="1780"/>
                </a:lnTo>
                <a:lnTo>
                  <a:pt x="990" y="1779"/>
                </a:lnTo>
                <a:lnTo>
                  <a:pt x="993" y="1778"/>
                </a:lnTo>
                <a:lnTo>
                  <a:pt x="995" y="1778"/>
                </a:lnTo>
                <a:lnTo>
                  <a:pt x="997" y="1779"/>
                </a:lnTo>
                <a:lnTo>
                  <a:pt x="1000" y="1780"/>
                </a:lnTo>
                <a:lnTo>
                  <a:pt x="1012" y="1787"/>
                </a:lnTo>
                <a:lnTo>
                  <a:pt x="1023" y="1792"/>
                </a:lnTo>
                <a:lnTo>
                  <a:pt x="1034" y="1797"/>
                </a:lnTo>
                <a:lnTo>
                  <a:pt x="1045" y="1802"/>
                </a:lnTo>
                <a:lnTo>
                  <a:pt x="1056" y="1805"/>
                </a:lnTo>
                <a:lnTo>
                  <a:pt x="1067" y="1808"/>
                </a:lnTo>
                <a:lnTo>
                  <a:pt x="1079" y="1809"/>
                </a:lnTo>
                <a:lnTo>
                  <a:pt x="1090" y="1810"/>
                </a:lnTo>
                <a:close/>
                <a:moveTo>
                  <a:pt x="512" y="1480"/>
                </a:moveTo>
                <a:lnTo>
                  <a:pt x="512" y="1478"/>
                </a:lnTo>
                <a:lnTo>
                  <a:pt x="513" y="1476"/>
                </a:lnTo>
                <a:lnTo>
                  <a:pt x="515" y="1473"/>
                </a:lnTo>
                <a:lnTo>
                  <a:pt x="516" y="1472"/>
                </a:lnTo>
                <a:lnTo>
                  <a:pt x="518" y="1471"/>
                </a:lnTo>
                <a:lnTo>
                  <a:pt x="522" y="1470"/>
                </a:lnTo>
                <a:lnTo>
                  <a:pt x="606" y="1470"/>
                </a:lnTo>
                <a:lnTo>
                  <a:pt x="609" y="1471"/>
                </a:lnTo>
                <a:lnTo>
                  <a:pt x="612" y="1473"/>
                </a:lnTo>
                <a:lnTo>
                  <a:pt x="613" y="1474"/>
                </a:lnTo>
                <a:lnTo>
                  <a:pt x="614" y="1476"/>
                </a:lnTo>
                <a:lnTo>
                  <a:pt x="614" y="1478"/>
                </a:lnTo>
                <a:lnTo>
                  <a:pt x="615" y="1480"/>
                </a:lnTo>
                <a:lnTo>
                  <a:pt x="615" y="1797"/>
                </a:lnTo>
                <a:lnTo>
                  <a:pt x="689" y="1797"/>
                </a:lnTo>
                <a:lnTo>
                  <a:pt x="693" y="1797"/>
                </a:lnTo>
                <a:lnTo>
                  <a:pt x="696" y="1799"/>
                </a:lnTo>
                <a:lnTo>
                  <a:pt x="697" y="1801"/>
                </a:lnTo>
                <a:lnTo>
                  <a:pt x="697" y="1803"/>
                </a:lnTo>
                <a:lnTo>
                  <a:pt x="698" y="1804"/>
                </a:lnTo>
                <a:lnTo>
                  <a:pt x="698" y="1807"/>
                </a:lnTo>
                <a:lnTo>
                  <a:pt x="698" y="1879"/>
                </a:lnTo>
                <a:lnTo>
                  <a:pt x="698" y="1881"/>
                </a:lnTo>
                <a:lnTo>
                  <a:pt x="697" y="1883"/>
                </a:lnTo>
                <a:lnTo>
                  <a:pt x="696" y="1886"/>
                </a:lnTo>
                <a:lnTo>
                  <a:pt x="694" y="1887"/>
                </a:lnTo>
                <a:lnTo>
                  <a:pt x="693" y="1888"/>
                </a:lnTo>
                <a:lnTo>
                  <a:pt x="691" y="1889"/>
                </a:lnTo>
                <a:lnTo>
                  <a:pt x="689" y="1889"/>
                </a:lnTo>
                <a:lnTo>
                  <a:pt x="522" y="1889"/>
                </a:lnTo>
                <a:lnTo>
                  <a:pt x="518" y="1888"/>
                </a:lnTo>
                <a:lnTo>
                  <a:pt x="515" y="1886"/>
                </a:lnTo>
                <a:lnTo>
                  <a:pt x="513" y="1883"/>
                </a:lnTo>
                <a:lnTo>
                  <a:pt x="512" y="1881"/>
                </a:lnTo>
                <a:lnTo>
                  <a:pt x="512" y="1879"/>
                </a:lnTo>
                <a:lnTo>
                  <a:pt x="512" y="1480"/>
                </a:lnTo>
                <a:close/>
                <a:moveTo>
                  <a:pt x="777" y="1480"/>
                </a:moveTo>
                <a:lnTo>
                  <a:pt x="777" y="1478"/>
                </a:lnTo>
                <a:lnTo>
                  <a:pt x="778" y="1476"/>
                </a:lnTo>
                <a:lnTo>
                  <a:pt x="780" y="1473"/>
                </a:lnTo>
                <a:lnTo>
                  <a:pt x="781" y="1472"/>
                </a:lnTo>
                <a:lnTo>
                  <a:pt x="783" y="1471"/>
                </a:lnTo>
                <a:lnTo>
                  <a:pt x="787" y="1470"/>
                </a:lnTo>
                <a:lnTo>
                  <a:pt x="869" y="1470"/>
                </a:lnTo>
                <a:lnTo>
                  <a:pt x="873" y="1471"/>
                </a:lnTo>
                <a:lnTo>
                  <a:pt x="876" y="1473"/>
                </a:lnTo>
                <a:lnTo>
                  <a:pt x="878" y="1474"/>
                </a:lnTo>
                <a:lnTo>
                  <a:pt x="879" y="1476"/>
                </a:lnTo>
                <a:lnTo>
                  <a:pt x="879" y="1478"/>
                </a:lnTo>
                <a:lnTo>
                  <a:pt x="879" y="1480"/>
                </a:lnTo>
                <a:lnTo>
                  <a:pt x="879" y="1879"/>
                </a:lnTo>
                <a:lnTo>
                  <a:pt x="879" y="1881"/>
                </a:lnTo>
                <a:lnTo>
                  <a:pt x="879" y="1883"/>
                </a:lnTo>
                <a:lnTo>
                  <a:pt x="876" y="1886"/>
                </a:lnTo>
                <a:lnTo>
                  <a:pt x="875" y="1887"/>
                </a:lnTo>
                <a:lnTo>
                  <a:pt x="873" y="1888"/>
                </a:lnTo>
                <a:lnTo>
                  <a:pt x="869" y="1889"/>
                </a:lnTo>
                <a:lnTo>
                  <a:pt x="787" y="1889"/>
                </a:lnTo>
                <a:lnTo>
                  <a:pt x="783" y="1888"/>
                </a:lnTo>
                <a:lnTo>
                  <a:pt x="780" y="1886"/>
                </a:lnTo>
                <a:lnTo>
                  <a:pt x="779" y="1885"/>
                </a:lnTo>
                <a:lnTo>
                  <a:pt x="778" y="1883"/>
                </a:lnTo>
                <a:lnTo>
                  <a:pt x="777" y="1881"/>
                </a:lnTo>
                <a:lnTo>
                  <a:pt x="777" y="1879"/>
                </a:lnTo>
                <a:lnTo>
                  <a:pt x="777" y="148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4DE6EB03-ADE0-4B24-9A55-03D1EB203501}"/>
              </a:ext>
            </a:extLst>
          </p:cNvPr>
          <p:cNvSpPr>
            <a:spLocks noEditPoints="1"/>
          </p:cNvSpPr>
          <p:nvPr userDrawn="1"/>
        </p:nvSpPr>
        <p:spPr bwMode="auto">
          <a:xfrm flipH="1">
            <a:off x="5519494" y="0"/>
            <a:ext cx="6409154" cy="6858000"/>
          </a:xfrm>
          <a:custGeom>
            <a:avLst/>
            <a:gdLst>
              <a:gd name="T0" fmla="*/ 2381 w 4041"/>
              <a:gd name="T1" fmla="*/ 2204 h 4324"/>
              <a:gd name="T2" fmla="*/ 2381 w 4041"/>
              <a:gd name="T3" fmla="*/ 3804 h 4324"/>
              <a:gd name="T4" fmla="*/ 2300 w 4041"/>
              <a:gd name="T5" fmla="*/ 3816 h 4324"/>
              <a:gd name="T6" fmla="*/ 2276 w 4041"/>
              <a:gd name="T7" fmla="*/ 3788 h 4324"/>
              <a:gd name="T8" fmla="*/ 2294 w 4041"/>
              <a:gd name="T9" fmla="*/ 2192 h 4324"/>
              <a:gd name="T10" fmla="*/ 1573 w 4041"/>
              <a:gd name="T11" fmla="*/ 2196 h 4324"/>
              <a:gd name="T12" fmla="*/ 1587 w 4041"/>
              <a:gd name="T13" fmla="*/ 3794 h 4324"/>
              <a:gd name="T14" fmla="*/ 1557 w 4041"/>
              <a:gd name="T15" fmla="*/ 3818 h 4324"/>
              <a:gd name="T16" fmla="*/ 1434 w 4041"/>
              <a:gd name="T17" fmla="*/ 3798 h 4324"/>
              <a:gd name="T18" fmla="*/ 1440 w 4041"/>
              <a:gd name="T19" fmla="*/ 2200 h 4324"/>
              <a:gd name="T20" fmla="*/ 444 w 4041"/>
              <a:gd name="T21" fmla="*/ 2190 h 4324"/>
              <a:gd name="T22" fmla="*/ 469 w 4041"/>
              <a:gd name="T23" fmla="*/ 2220 h 4324"/>
              <a:gd name="T24" fmla="*/ 450 w 4041"/>
              <a:gd name="T25" fmla="*/ 3814 h 4324"/>
              <a:gd name="T26" fmla="*/ 408 w 4041"/>
              <a:gd name="T27" fmla="*/ 3808 h 4324"/>
              <a:gd name="T28" fmla="*/ 400 w 4041"/>
              <a:gd name="T29" fmla="*/ 2208 h 4324"/>
              <a:gd name="T30" fmla="*/ 685 w 4041"/>
              <a:gd name="T31" fmla="*/ 510 h 4324"/>
              <a:gd name="T32" fmla="*/ 808 w 4041"/>
              <a:gd name="T33" fmla="*/ 528 h 4324"/>
              <a:gd name="T34" fmla="*/ 802 w 4041"/>
              <a:gd name="T35" fmla="*/ 2128 h 4324"/>
              <a:gd name="T36" fmla="*/ 672 w 4041"/>
              <a:gd name="T37" fmla="*/ 2134 h 4324"/>
              <a:gd name="T38" fmla="*/ 654 w 4041"/>
              <a:gd name="T39" fmla="*/ 540 h 4324"/>
              <a:gd name="T40" fmla="*/ 679 w 4041"/>
              <a:gd name="T41" fmla="*/ 510 h 4324"/>
              <a:gd name="T42" fmla="*/ 3375 w 4041"/>
              <a:gd name="T43" fmla="*/ 518 h 4324"/>
              <a:gd name="T44" fmla="*/ 3381 w 4041"/>
              <a:gd name="T45" fmla="*/ 2118 h 4324"/>
              <a:gd name="T46" fmla="*/ 3342 w 4041"/>
              <a:gd name="T47" fmla="*/ 2136 h 4324"/>
              <a:gd name="T48" fmla="*/ 3314 w 4041"/>
              <a:gd name="T49" fmla="*/ 2112 h 4324"/>
              <a:gd name="T50" fmla="*/ 3326 w 4041"/>
              <a:gd name="T51" fmla="*/ 514 h 4324"/>
              <a:gd name="T52" fmla="*/ 1862 w 4041"/>
              <a:gd name="T53" fmla="*/ 512 h 4324"/>
              <a:gd name="T54" fmla="*/ 1880 w 4041"/>
              <a:gd name="T55" fmla="*/ 2106 h 4324"/>
              <a:gd name="T56" fmla="*/ 1856 w 4041"/>
              <a:gd name="T57" fmla="*/ 2136 h 4324"/>
              <a:gd name="T58" fmla="*/ 1816 w 4041"/>
              <a:gd name="T59" fmla="*/ 2124 h 4324"/>
              <a:gd name="T60" fmla="*/ 1816 w 4041"/>
              <a:gd name="T61" fmla="*/ 522 h 4324"/>
              <a:gd name="T62" fmla="*/ 30 w 4041"/>
              <a:gd name="T63" fmla="*/ 2136 h 4324"/>
              <a:gd name="T64" fmla="*/ 0 w 4041"/>
              <a:gd name="T65" fmla="*/ 2112 h 4324"/>
              <a:gd name="T66" fmla="*/ 14 w 4041"/>
              <a:gd name="T67" fmla="*/ 514 h 4324"/>
              <a:gd name="T68" fmla="*/ 57 w 4041"/>
              <a:gd name="T69" fmla="*/ 514 h 4324"/>
              <a:gd name="T70" fmla="*/ 71 w 4041"/>
              <a:gd name="T71" fmla="*/ 2112 h 4324"/>
              <a:gd name="T72" fmla="*/ 40 w 4041"/>
              <a:gd name="T73" fmla="*/ 2136 h 4324"/>
              <a:gd name="T74" fmla="*/ 79 w 4041"/>
              <a:gd name="T75" fmla="*/ 3881 h 4324"/>
              <a:gd name="T76" fmla="*/ 208 w 4041"/>
              <a:gd name="T77" fmla="*/ 3873 h 4324"/>
              <a:gd name="T78" fmla="*/ 226 w 4041"/>
              <a:gd name="T79" fmla="*/ 4324 h 4324"/>
              <a:gd name="T80" fmla="*/ 881 w 4041"/>
              <a:gd name="T81" fmla="*/ 3881 h 4324"/>
              <a:gd name="T82" fmla="*/ 927 w 4041"/>
              <a:gd name="T83" fmla="*/ 3873 h 4324"/>
              <a:gd name="T84" fmla="*/ 959 w 4041"/>
              <a:gd name="T85" fmla="*/ 4324 h 4324"/>
              <a:gd name="T86" fmla="*/ 2874 w 4041"/>
              <a:gd name="T87" fmla="*/ 3881 h 4324"/>
              <a:gd name="T88" fmla="*/ 2916 w 4041"/>
              <a:gd name="T89" fmla="*/ 3873 h 4324"/>
              <a:gd name="T90" fmla="*/ 2934 w 4041"/>
              <a:gd name="T91" fmla="*/ 4324 h 4324"/>
              <a:gd name="T92" fmla="*/ 3894 w 4041"/>
              <a:gd name="T93" fmla="*/ 3881 h 4324"/>
              <a:gd name="T94" fmla="*/ 4023 w 4041"/>
              <a:gd name="T95" fmla="*/ 3875 h 4324"/>
              <a:gd name="T96" fmla="*/ 4041 w 4041"/>
              <a:gd name="T97" fmla="*/ 4324 h 4324"/>
              <a:gd name="T98" fmla="*/ 2777 w 4041"/>
              <a:gd name="T99" fmla="*/ 443 h 4324"/>
              <a:gd name="T100" fmla="*/ 2648 w 4041"/>
              <a:gd name="T101" fmla="*/ 449 h 4324"/>
              <a:gd name="T102" fmla="*/ 2629 w 4041"/>
              <a:gd name="T103" fmla="*/ 0 h 4324"/>
              <a:gd name="T104" fmla="*/ 418 w 4041"/>
              <a:gd name="T105" fmla="*/ 449 h 4324"/>
              <a:gd name="T106" fmla="*/ 291 w 4041"/>
              <a:gd name="T107" fmla="*/ 455 h 4324"/>
              <a:gd name="T108" fmla="*/ 271 w 4041"/>
              <a:gd name="T109" fmla="*/ 0 h 4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041" h="4324">
                <a:moveTo>
                  <a:pt x="2306" y="2190"/>
                </a:moveTo>
                <a:lnTo>
                  <a:pt x="2355" y="2190"/>
                </a:lnTo>
                <a:lnTo>
                  <a:pt x="2361" y="2190"/>
                </a:lnTo>
                <a:lnTo>
                  <a:pt x="2367" y="2192"/>
                </a:lnTo>
                <a:lnTo>
                  <a:pt x="2373" y="2196"/>
                </a:lnTo>
                <a:lnTo>
                  <a:pt x="2377" y="2200"/>
                </a:lnTo>
                <a:lnTo>
                  <a:pt x="2381" y="2204"/>
                </a:lnTo>
                <a:lnTo>
                  <a:pt x="2383" y="2208"/>
                </a:lnTo>
                <a:lnTo>
                  <a:pt x="2385" y="2214"/>
                </a:lnTo>
                <a:lnTo>
                  <a:pt x="2385" y="2220"/>
                </a:lnTo>
                <a:lnTo>
                  <a:pt x="2385" y="3788"/>
                </a:lnTo>
                <a:lnTo>
                  <a:pt x="2385" y="3794"/>
                </a:lnTo>
                <a:lnTo>
                  <a:pt x="2383" y="3798"/>
                </a:lnTo>
                <a:lnTo>
                  <a:pt x="2381" y="3804"/>
                </a:lnTo>
                <a:lnTo>
                  <a:pt x="2377" y="3808"/>
                </a:lnTo>
                <a:lnTo>
                  <a:pt x="2373" y="3812"/>
                </a:lnTo>
                <a:lnTo>
                  <a:pt x="2367" y="3814"/>
                </a:lnTo>
                <a:lnTo>
                  <a:pt x="2361" y="3816"/>
                </a:lnTo>
                <a:lnTo>
                  <a:pt x="2355" y="3818"/>
                </a:lnTo>
                <a:lnTo>
                  <a:pt x="2306" y="3818"/>
                </a:lnTo>
                <a:lnTo>
                  <a:pt x="2300" y="3816"/>
                </a:lnTo>
                <a:lnTo>
                  <a:pt x="2294" y="3814"/>
                </a:lnTo>
                <a:lnTo>
                  <a:pt x="2290" y="3812"/>
                </a:lnTo>
                <a:lnTo>
                  <a:pt x="2286" y="3808"/>
                </a:lnTo>
                <a:lnTo>
                  <a:pt x="2282" y="3804"/>
                </a:lnTo>
                <a:lnTo>
                  <a:pt x="2278" y="3798"/>
                </a:lnTo>
                <a:lnTo>
                  <a:pt x="2276" y="3794"/>
                </a:lnTo>
                <a:lnTo>
                  <a:pt x="2276" y="3788"/>
                </a:lnTo>
                <a:lnTo>
                  <a:pt x="2276" y="2220"/>
                </a:lnTo>
                <a:lnTo>
                  <a:pt x="2276" y="2214"/>
                </a:lnTo>
                <a:lnTo>
                  <a:pt x="2278" y="2208"/>
                </a:lnTo>
                <a:lnTo>
                  <a:pt x="2282" y="2204"/>
                </a:lnTo>
                <a:lnTo>
                  <a:pt x="2286" y="2200"/>
                </a:lnTo>
                <a:lnTo>
                  <a:pt x="2290" y="2196"/>
                </a:lnTo>
                <a:lnTo>
                  <a:pt x="2294" y="2192"/>
                </a:lnTo>
                <a:lnTo>
                  <a:pt x="2300" y="2190"/>
                </a:lnTo>
                <a:lnTo>
                  <a:pt x="2306" y="2190"/>
                </a:lnTo>
                <a:close/>
                <a:moveTo>
                  <a:pt x="1462" y="2190"/>
                </a:moveTo>
                <a:lnTo>
                  <a:pt x="1557" y="2190"/>
                </a:lnTo>
                <a:lnTo>
                  <a:pt x="1563" y="2190"/>
                </a:lnTo>
                <a:lnTo>
                  <a:pt x="1569" y="2192"/>
                </a:lnTo>
                <a:lnTo>
                  <a:pt x="1573" y="2196"/>
                </a:lnTo>
                <a:lnTo>
                  <a:pt x="1579" y="2200"/>
                </a:lnTo>
                <a:lnTo>
                  <a:pt x="1581" y="2204"/>
                </a:lnTo>
                <a:lnTo>
                  <a:pt x="1585" y="2208"/>
                </a:lnTo>
                <a:lnTo>
                  <a:pt x="1587" y="2214"/>
                </a:lnTo>
                <a:lnTo>
                  <a:pt x="1587" y="2220"/>
                </a:lnTo>
                <a:lnTo>
                  <a:pt x="1587" y="3788"/>
                </a:lnTo>
                <a:lnTo>
                  <a:pt x="1587" y="3794"/>
                </a:lnTo>
                <a:lnTo>
                  <a:pt x="1585" y="3798"/>
                </a:lnTo>
                <a:lnTo>
                  <a:pt x="1581" y="3804"/>
                </a:lnTo>
                <a:lnTo>
                  <a:pt x="1579" y="3808"/>
                </a:lnTo>
                <a:lnTo>
                  <a:pt x="1573" y="3812"/>
                </a:lnTo>
                <a:lnTo>
                  <a:pt x="1569" y="3814"/>
                </a:lnTo>
                <a:lnTo>
                  <a:pt x="1563" y="3816"/>
                </a:lnTo>
                <a:lnTo>
                  <a:pt x="1557" y="3818"/>
                </a:lnTo>
                <a:lnTo>
                  <a:pt x="1462" y="3818"/>
                </a:lnTo>
                <a:lnTo>
                  <a:pt x="1456" y="3816"/>
                </a:lnTo>
                <a:lnTo>
                  <a:pt x="1450" y="3814"/>
                </a:lnTo>
                <a:lnTo>
                  <a:pt x="1446" y="3812"/>
                </a:lnTo>
                <a:lnTo>
                  <a:pt x="1440" y="3808"/>
                </a:lnTo>
                <a:lnTo>
                  <a:pt x="1436" y="3804"/>
                </a:lnTo>
                <a:lnTo>
                  <a:pt x="1434" y="3798"/>
                </a:lnTo>
                <a:lnTo>
                  <a:pt x="1432" y="3794"/>
                </a:lnTo>
                <a:lnTo>
                  <a:pt x="1432" y="3788"/>
                </a:lnTo>
                <a:lnTo>
                  <a:pt x="1432" y="2220"/>
                </a:lnTo>
                <a:lnTo>
                  <a:pt x="1432" y="2214"/>
                </a:lnTo>
                <a:lnTo>
                  <a:pt x="1434" y="2208"/>
                </a:lnTo>
                <a:lnTo>
                  <a:pt x="1436" y="2204"/>
                </a:lnTo>
                <a:lnTo>
                  <a:pt x="1440" y="2200"/>
                </a:lnTo>
                <a:lnTo>
                  <a:pt x="1446" y="2196"/>
                </a:lnTo>
                <a:lnTo>
                  <a:pt x="1450" y="2192"/>
                </a:lnTo>
                <a:lnTo>
                  <a:pt x="1456" y="2190"/>
                </a:lnTo>
                <a:lnTo>
                  <a:pt x="1462" y="2190"/>
                </a:lnTo>
                <a:close/>
                <a:moveTo>
                  <a:pt x="428" y="2190"/>
                </a:moveTo>
                <a:lnTo>
                  <a:pt x="438" y="2190"/>
                </a:lnTo>
                <a:lnTo>
                  <a:pt x="444" y="2190"/>
                </a:lnTo>
                <a:lnTo>
                  <a:pt x="450" y="2192"/>
                </a:lnTo>
                <a:lnTo>
                  <a:pt x="454" y="2196"/>
                </a:lnTo>
                <a:lnTo>
                  <a:pt x="460" y="2200"/>
                </a:lnTo>
                <a:lnTo>
                  <a:pt x="462" y="2204"/>
                </a:lnTo>
                <a:lnTo>
                  <a:pt x="467" y="2208"/>
                </a:lnTo>
                <a:lnTo>
                  <a:pt x="469" y="2214"/>
                </a:lnTo>
                <a:lnTo>
                  <a:pt x="469" y="2220"/>
                </a:lnTo>
                <a:lnTo>
                  <a:pt x="469" y="3788"/>
                </a:lnTo>
                <a:lnTo>
                  <a:pt x="469" y="3794"/>
                </a:lnTo>
                <a:lnTo>
                  <a:pt x="467" y="3798"/>
                </a:lnTo>
                <a:lnTo>
                  <a:pt x="462" y="3804"/>
                </a:lnTo>
                <a:lnTo>
                  <a:pt x="460" y="3808"/>
                </a:lnTo>
                <a:lnTo>
                  <a:pt x="454" y="3812"/>
                </a:lnTo>
                <a:lnTo>
                  <a:pt x="450" y="3814"/>
                </a:lnTo>
                <a:lnTo>
                  <a:pt x="444" y="3816"/>
                </a:lnTo>
                <a:lnTo>
                  <a:pt x="438" y="3818"/>
                </a:lnTo>
                <a:lnTo>
                  <a:pt x="428" y="3818"/>
                </a:lnTo>
                <a:lnTo>
                  <a:pt x="422" y="3816"/>
                </a:lnTo>
                <a:lnTo>
                  <a:pt x="416" y="3814"/>
                </a:lnTo>
                <a:lnTo>
                  <a:pt x="412" y="3812"/>
                </a:lnTo>
                <a:lnTo>
                  <a:pt x="408" y="3808"/>
                </a:lnTo>
                <a:lnTo>
                  <a:pt x="404" y="3804"/>
                </a:lnTo>
                <a:lnTo>
                  <a:pt x="400" y="3798"/>
                </a:lnTo>
                <a:lnTo>
                  <a:pt x="400" y="3794"/>
                </a:lnTo>
                <a:lnTo>
                  <a:pt x="398" y="3788"/>
                </a:lnTo>
                <a:lnTo>
                  <a:pt x="398" y="2220"/>
                </a:lnTo>
                <a:lnTo>
                  <a:pt x="400" y="2214"/>
                </a:lnTo>
                <a:lnTo>
                  <a:pt x="400" y="2208"/>
                </a:lnTo>
                <a:lnTo>
                  <a:pt x="404" y="2204"/>
                </a:lnTo>
                <a:lnTo>
                  <a:pt x="408" y="2200"/>
                </a:lnTo>
                <a:lnTo>
                  <a:pt x="412" y="2196"/>
                </a:lnTo>
                <a:lnTo>
                  <a:pt x="416" y="2192"/>
                </a:lnTo>
                <a:lnTo>
                  <a:pt x="422" y="2190"/>
                </a:lnTo>
                <a:lnTo>
                  <a:pt x="428" y="2190"/>
                </a:lnTo>
                <a:close/>
                <a:moveTo>
                  <a:pt x="685" y="510"/>
                </a:moveTo>
                <a:lnTo>
                  <a:pt x="780" y="510"/>
                </a:lnTo>
                <a:lnTo>
                  <a:pt x="786" y="510"/>
                </a:lnTo>
                <a:lnTo>
                  <a:pt x="792" y="512"/>
                </a:lnTo>
                <a:lnTo>
                  <a:pt x="796" y="514"/>
                </a:lnTo>
                <a:lnTo>
                  <a:pt x="802" y="518"/>
                </a:lnTo>
                <a:lnTo>
                  <a:pt x="804" y="522"/>
                </a:lnTo>
                <a:lnTo>
                  <a:pt x="808" y="528"/>
                </a:lnTo>
                <a:lnTo>
                  <a:pt x="810" y="534"/>
                </a:lnTo>
                <a:lnTo>
                  <a:pt x="810" y="540"/>
                </a:lnTo>
                <a:lnTo>
                  <a:pt x="810" y="2106"/>
                </a:lnTo>
                <a:lnTo>
                  <a:pt x="810" y="2112"/>
                </a:lnTo>
                <a:lnTo>
                  <a:pt x="808" y="2118"/>
                </a:lnTo>
                <a:lnTo>
                  <a:pt x="804" y="2124"/>
                </a:lnTo>
                <a:lnTo>
                  <a:pt x="802" y="2128"/>
                </a:lnTo>
                <a:lnTo>
                  <a:pt x="796" y="2132"/>
                </a:lnTo>
                <a:lnTo>
                  <a:pt x="792" y="2134"/>
                </a:lnTo>
                <a:lnTo>
                  <a:pt x="786" y="2136"/>
                </a:lnTo>
                <a:lnTo>
                  <a:pt x="780" y="2136"/>
                </a:lnTo>
                <a:lnTo>
                  <a:pt x="685" y="2136"/>
                </a:lnTo>
                <a:lnTo>
                  <a:pt x="679" y="2136"/>
                </a:lnTo>
                <a:lnTo>
                  <a:pt x="672" y="2134"/>
                </a:lnTo>
                <a:lnTo>
                  <a:pt x="668" y="2132"/>
                </a:lnTo>
                <a:lnTo>
                  <a:pt x="662" y="2128"/>
                </a:lnTo>
                <a:lnTo>
                  <a:pt x="660" y="2124"/>
                </a:lnTo>
                <a:lnTo>
                  <a:pt x="656" y="2118"/>
                </a:lnTo>
                <a:lnTo>
                  <a:pt x="654" y="2112"/>
                </a:lnTo>
                <a:lnTo>
                  <a:pt x="654" y="2106"/>
                </a:lnTo>
                <a:lnTo>
                  <a:pt x="654" y="540"/>
                </a:lnTo>
                <a:lnTo>
                  <a:pt x="654" y="534"/>
                </a:lnTo>
                <a:lnTo>
                  <a:pt x="656" y="528"/>
                </a:lnTo>
                <a:lnTo>
                  <a:pt x="660" y="522"/>
                </a:lnTo>
                <a:lnTo>
                  <a:pt x="662" y="518"/>
                </a:lnTo>
                <a:lnTo>
                  <a:pt x="668" y="514"/>
                </a:lnTo>
                <a:lnTo>
                  <a:pt x="672" y="512"/>
                </a:lnTo>
                <a:lnTo>
                  <a:pt x="679" y="510"/>
                </a:lnTo>
                <a:lnTo>
                  <a:pt x="685" y="510"/>
                </a:lnTo>
                <a:close/>
                <a:moveTo>
                  <a:pt x="3342" y="510"/>
                </a:moveTo>
                <a:lnTo>
                  <a:pt x="3352" y="510"/>
                </a:lnTo>
                <a:lnTo>
                  <a:pt x="3358" y="510"/>
                </a:lnTo>
                <a:lnTo>
                  <a:pt x="3364" y="512"/>
                </a:lnTo>
                <a:lnTo>
                  <a:pt x="3369" y="514"/>
                </a:lnTo>
                <a:lnTo>
                  <a:pt x="3375" y="518"/>
                </a:lnTo>
                <a:lnTo>
                  <a:pt x="3377" y="522"/>
                </a:lnTo>
                <a:lnTo>
                  <a:pt x="3381" y="528"/>
                </a:lnTo>
                <a:lnTo>
                  <a:pt x="3383" y="534"/>
                </a:lnTo>
                <a:lnTo>
                  <a:pt x="3383" y="540"/>
                </a:lnTo>
                <a:lnTo>
                  <a:pt x="3383" y="2106"/>
                </a:lnTo>
                <a:lnTo>
                  <a:pt x="3383" y="2112"/>
                </a:lnTo>
                <a:lnTo>
                  <a:pt x="3381" y="2118"/>
                </a:lnTo>
                <a:lnTo>
                  <a:pt x="3377" y="2124"/>
                </a:lnTo>
                <a:lnTo>
                  <a:pt x="3375" y="2128"/>
                </a:lnTo>
                <a:lnTo>
                  <a:pt x="3369" y="2132"/>
                </a:lnTo>
                <a:lnTo>
                  <a:pt x="3364" y="2134"/>
                </a:lnTo>
                <a:lnTo>
                  <a:pt x="3358" y="2136"/>
                </a:lnTo>
                <a:lnTo>
                  <a:pt x="3352" y="2136"/>
                </a:lnTo>
                <a:lnTo>
                  <a:pt x="3342" y="2136"/>
                </a:lnTo>
                <a:lnTo>
                  <a:pt x="3336" y="2136"/>
                </a:lnTo>
                <a:lnTo>
                  <a:pt x="3330" y="2134"/>
                </a:lnTo>
                <a:lnTo>
                  <a:pt x="3326" y="2132"/>
                </a:lnTo>
                <a:lnTo>
                  <a:pt x="3322" y="2128"/>
                </a:lnTo>
                <a:lnTo>
                  <a:pt x="3318" y="2124"/>
                </a:lnTo>
                <a:lnTo>
                  <a:pt x="3314" y="2118"/>
                </a:lnTo>
                <a:lnTo>
                  <a:pt x="3314" y="2112"/>
                </a:lnTo>
                <a:lnTo>
                  <a:pt x="3312" y="2106"/>
                </a:lnTo>
                <a:lnTo>
                  <a:pt x="3312" y="540"/>
                </a:lnTo>
                <a:lnTo>
                  <a:pt x="3314" y="534"/>
                </a:lnTo>
                <a:lnTo>
                  <a:pt x="3314" y="528"/>
                </a:lnTo>
                <a:lnTo>
                  <a:pt x="3318" y="522"/>
                </a:lnTo>
                <a:lnTo>
                  <a:pt x="3322" y="518"/>
                </a:lnTo>
                <a:lnTo>
                  <a:pt x="3326" y="514"/>
                </a:lnTo>
                <a:lnTo>
                  <a:pt x="3330" y="512"/>
                </a:lnTo>
                <a:lnTo>
                  <a:pt x="3336" y="510"/>
                </a:lnTo>
                <a:lnTo>
                  <a:pt x="3342" y="510"/>
                </a:lnTo>
                <a:close/>
                <a:moveTo>
                  <a:pt x="1842" y="510"/>
                </a:moveTo>
                <a:lnTo>
                  <a:pt x="1850" y="510"/>
                </a:lnTo>
                <a:lnTo>
                  <a:pt x="1856" y="510"/>
                </a:lnTo>
                <a:lnTo>
                  <a:pt x="1862" y="512"/>
                </a:lnTo>
                <a:lnTo>
                  <a:pt x="1868" y="514"/>
                </a:lnTo>
                <a:lnTo>
                  <a:pt x="1872" y="518"/>
                </a:lnTo>
                <a:lnTo>
                  <a:pt x="1876" y="522"/>
                </a:lnTo>
                <a:lnTo>
                  <a:pt x="1878" y="528"/>
                </a:lnTo>
                <a:lnTo>
                  <a:pt x="1880" y="534"/>
                </a:lnTo>
                <a:lnTo>
                  <a:pt x="1880" y="540"/>
                </a:lnTo>
                <a:lnTo>
                  <a:pt x="1880" y="2106"/>
                </a:lnTo>
                <a:lnTo>
                  <a:pt x="1880" y="2112"/>
                </a:lnTo>
                <a:lnTo>
                  <a:pt x="1878" y="2118"/>
                </a:lnTo>
                <a:lnTo>
                  <a:pt x="1876" y="2124"/>
                </a:lnTo>
                <a:lnTo>
                  <a:pt x="1872" y="2128"/>
                </a:lnTo>
                <a:lnTo>
                  <a:pt x="1868" y="2132"/>
                </a:lnTo>
                <a:lnTo>
                  <a:pt x="1862" y="2134"/>
                </a:lnTo>
                <a:lnTo>
                  <a:pt x="1856" y="2136"/>
                </a:lnTo>
                <a:lnTo>
                  <a:pt x="1850" y="2136"/>
                </a:lnTo>
                <a:lnTo>
                  <a:pt x="1842" y="2136"/>
                </a:lnTo>
                <a:lnTo>
                  <a:pt x="1836" y="2136"/>
                </a:lnTo>
                <a:lnTo>
                  <a:pt x="1830" y="2134"/>
                </a:lnTo>
                <a:lnTo>
                  <a:pt x="1824" y="2132"/>
                </a:lnTo>
                <a:lnTo>
                  <a:pt x="1820" y="2128"/>
                </a:lnTo>
                <a:lnTo>
                  <a:pt x="1816" y="2124"/>
                </a:lnTo>
                <a:lnTo>
                  <a:pt x="1814" y="2118"/>
                </a:lnTo>
                <a:lnTo>
                  <a:pt x="1811" y="2112"/>
                </a:lnTo>
                <a:lnTo>
                  <a:pt x="1811" y="2106"/>
                </a:lnTo>
                <a:lnTo>
                  <a:pt x="1811" y="540"/>
                </a:lnTo>
                <a:lnTo>
                  <a:pt x="1811" y="534"/>
                </a:lnTo>
                <a:lnTo>
                  <a:pt x="1814" y="528"/>
                </a:lnTo>
                <a:lnTo>
                  <a:pt x="1816" y="522"/>
                </a:lnTo>
                <a:lnTo>
                  <a:pt x="1820" y="518"/>
                </a:lnTo>
                <a:lnTo>
                  <a:pt x="1824" y="514"/>
                </a:lnTo>
                <a:lnTo>
                  <a:pt x="1830" y="512"/>
                </a:lnTo>
                <a:lnTo>
                  <a:pt x="1836" y="510"/>
                </a:lnTo>
                <a:lnTo>
                  <a:pt x="1842" y="510"/>
                </a:lnTo>
                <a:close/>
                <a:moveTo>
                  <a:pt x="40" y="2136"/>
                </a:moveTo>
                <a:lnTo>
                  <a:pt x="30" y="2136"/>
                </a:lnTo>
                <a:lnTo>
                  <a:pt x="24" y="2136"/>
                </a:lnTo>
                <a:lnTo>
                  <a:pt x="18" y="2134"/>
                </a:lnTo>
                <a:lnTo>
                  <a:pt x="14" y="2132"/>
                </a:lnTo>
                <a:lnTo>
                  <a:pt x="10" y="2128"/>
                </a:lnTo>
                <a:lnTo>
                  <a:pt x="6" y="2124"/>
                </a:lnTo>
                <a:lnTo>
                  <a:pt x="2" y="2118"/>
                </a:lnTo>
                <a:lnTo>
                  <a:pt x="0" y="2112"/>
                </a:lnTo>
                <a:lnTo>
                  <a:pt x="0" y="2106"/>
                </a:lnTo>
                <a:lnTo>
                  <a:pt x="0" y="540"/>
                </a:lnTo>
                <a:lnTo>
                  <a:pt x="0" y="534"/>
                </a:lnTo>
                <a:lnTo>
                  <a:pt x="2" y="528"/>
                </a:lnTo>
                <a:lnTo>
                  <a:pt x="6" y="522"/>
                </a:lnTo>
                <a:lnTo>
                  <a:pt x="10" y="518"/>
                </a:lnTo>
                <a:lnTo>
                  <a:pt x="14" y="514"/>
                </a:lnTo>
                <a:lnTo>
                  <a:pt x="18" y="512"/>
                </a:lnTo>
                <a:lnTo>
                  <a:pt x="24" y="510"/>
                </a:lnTo>
                <a:lnTo>
                  <a:pt x="30" y="510"/>
                </a:lnTo>
                <a:lnTo>
                  <a:pt x="40" y="510"/>
                </a:lnTo>
                <a:lnTo>
                  <a:pt x="46" y="510"/>
                </a:lnTo>
                <a:lnTo>
                  <a:pt x="53" y="512"/>
                </a:lnTo>
                <a:lnTo>
                  <a:pt x="57" y="514"/>
                </a:lnTo>
                <a:lnTo>
                  <a:pt x="61" y="518"/>
                </a:lnTo>
                <a:lnTo>
                  <a:pt x="65" y="522"/>
                </a:lnTo>
                <a:lnTo>
                  <a:pt x="69" y="528"/>
                </a:lnTo>
                <a:lnTo>
                  <a:pt x="71" y="534"/>
                </a:lnTo>
                <a:lnTo>
                  <a:pt x="71" y="540"/>
                </a:lnTo>
                <a:lnTo>
                  <a:pt x="71" y="2106"/>
                </a:lnTo>
                <a:lnTo>
                  <a:pt x="71" y="2112"/>
                </a:lnTo>
                <a:lnTo>
                  <a:pt x="69" y="2118"/>
                </a:lnTo>
                <a:lnTo>
                  <a:pt x="65" y="2124"/>
                </a:lnTo>
                <a:lnTo>
                  <a:pt x="61" y="2128"/>
                </a:lnTo>
                <a:lnTo>
                  <a:pt x="57" y="2132"/>
                </a:lnTo>
                <a:lnTo>
                  <a:pt x="53" y="2134"/>
                </a:lnTo>
                <a:lnTo>
                  <a:pt x="46" y="2136"/>
                </a:lnTo>
                <a:lnTo>
                  <a:pt x="40" y="2136"/>
                </a:lnTo>
                <a:close/>
                <a:moveTo>
                  <a:pt x="226" y="4324"/>
                </a:moveTo>
                <a:lnTo>
                  <a:pt x="71" y="4324"/>
                </a:lnTo>
                <a:lnTo>
                  <a:pt x="71" y="3901"/>
                </a:lnTo>
                <a:lnTo>
                  <a:pt x="71" y="3895"/>
                </a:lnTo>
                <a:lnTo>
                  <a:pt x="73" y="3889"/>
                </a:lnTo>
                <a:lnTo>
                  <a:pt x="75" y="3885"/>
                </a:lnTo>
                <a:lnTo>
                  <a:pt x="79" y="3881"/>
                </a:lnTo>
                <a:lnTo>
                  <a:pt x="83" y="3877"/>
                </a:lnTo>
                <a:lnTo>
                  <a:pt x="89" y="3873"/>
                </a:lnTo>
                <a:lnTo>
                  <a:pt x="95" y="3873"/>
                </a:lnTo>
                <a:lnTo>
                  <a:pt x="101" y="3871"/>
                </a:lnTo>
                <a:lnTo>
                  <a:pt x="196" y="3871"/>
                </a:lnTo>
                <a:lnTo>
                  <a:pt x="202" y="3873"/>
                </a:lnTo>
                <a:lnTo>
                  <a:pt x="208" y="3873"/>
                </a:lnTo>
                <a:lnTo>
                  <a:pt x="212" y="3877"/>
                </a:lnTo>
                <a:lnTo>
                  <a:pt x="216" y="3881"/>
                </a:lnTo>
                <a:lnTo>
                  <a:pt x="220" y="3885"/>
                </a:lnTo>
                <a:lnTo>
                  <a:pt x="224" y="3889"/>
                </a:lnTo>
                <a:lnTo>
                  <a:pt x="226" y="3895"/>
                </a:lnTo>
                <a:lnTo>
                  <a:pt x="226" y="3901"/>
                </a:lnTo>
                <a:lnTo>
                  <a:pt x="226" y="4324"/>
                </a:lnTo>
                <a:close/>
                <a:moveTo>
                  <a:pt x="959" y="4324"/>
                </a:moveTo>
                <a:lnTo>
                  <a:pt x="872" y="4324"/>
                </a:lnTo>
                <a:lnTo>
                  <a:pt x="872" y="3901"/>
                </a:lnTo>
                <a:lnTo>
                  <a:pt x="872" y="3895"/>
                </a:lnTo>
                <a:lnTo>
                  <a:pt x="874" y="3889"/>
                </a:lnTo>
                <a:lnTo>
                  <a:pt x="878" y="3885"/>
                </a:lnTo>
                <a:lnTo>
                  <a:pt x="881" y="3881"/>
                </a:lnTo>
                <a:lnTo>
                  <a:pt x="887" y="3877"/>
                </a:lnTo>
                <a:lnTo>
                  <a:pt x="891" y="3873"/>
                </a:lnTo>
                <a:lnTo>
                  <a:pt x="897" y="3873"/>
                </a:lnTo>
                <a:lnTo>
                  <a:pt x="903" y="3871"/>
                </a:lnTo>
                <a:lnTo>
                  <a:pt x="913" y="3871"/>
                </a:lnTo>
                <a:lnTo>
                  <a:pt x="919" y="3873"/>
                </a:lnTo>
                <a:lnTo>
                  <a:pt x="927" y="3873"/>
                </a:lnTo>
                <a:lnTo>
                  <a:pt x="935" y="3877"/>
                </a:lnTo>
                <a:lnTo>
                  <a:pt x="941" y="3881"/>
                </a:lnTo>
                <a:lnTo>
                  <a:pt x="949" y="3885"/>
                </a:lnTo>
                <a:lnTo>
                  <a:pt x="953" y="3889"/>
                </a:lnTo>
                <a:lnTo>
                  <a:pt x="957" y="3895"/>
                </a:lnTo>
                <a:lnTo>
                  <a:pt x="959" y="3901"/>
                </a:lnTo>
                <a:lnTo>
                  <a:pt x="959" y="4324"/>
                </a:lnTo>
                <a:close/>
                <a:moveTo>
                  <a:pt x="2934" y="4324"/>
                </a:moveTo>
                <a:lnTo>
                  <a:pt x="2866" y="4324"/>
                </a:lnTo>
                <a:lnTo>
                  <a:pt x="2866" y="3901"/>
                </a:lnTo>
                <a:lnTo>
                  <a:pt x="2866" y="3895"/>
                </a:lnTo>
                <a:lnTo>
                  <a:pt x="2868" y="3889"/>
                </a:lnTo>
                <a:lnTo>
                  <a:pt x="2870" y="3885"/>
                </a:lnTo>
                <a:lnTo>
                  <a:pt x="2874" y="3881"/>
                </a:lnTo>
                <a:lnTo>
                  <a:pt x="2878" y="3877"/>
                </a:lnTo>
                <a:lnTo>
                  <a:pt x="2884" y="3873"/>
                </a:lnTo>
                <a:lnTo>
                  <a:pt x="2890" y="3873"/>
                </a:lnTo>
                <a:lnTo>
                  <a:pt x="2896" y="3871"/>
                </a:lnTo>
                <a:lnTo>
                  <a:pt x="2904" y="3871"/>
                </a:lnTo>
                <a:lnTo>
                  <a:pt x="2910" y="3873"/>
                </a:lnTo>
                <a:lnTo>
                  <a:pt x="2916" y="3873"/>
                </a:lnTo>
                <a:lnTo>
                  <a:pt x="2922" y="3877"/>
                </a:lnTo>
                <a:lnTo>
                  <a:pt x="2926" y="3881"/>
                </a:lnTo>
                <a:lnTo>
                  <a:pt x="2930" y="3885"/>
                </a:lnTo>
                <a:lnTo>
                  <a:pt x="2932" y="3889"/>
                </a:lnTo>
                <a:lnTo>
                  <a:pt x="2934" y="3895"/>
                </a:lnTo>
                <a:lnTo>
                  <a:pt x="2934" y="3901"/>
                </a:lnTo>
                <a:lnTo>
                  <a:pt x="2934" y="4324"/>
                </a:lnTo>
                <a:close/>
                <a:moveTo>
                  <a:pt x="4041" y="4324"/>
                </a:moveTo>
                <a:lnTo>
                  <a:pt x="3886" y="4324"/>
                </a:lnTo>
                <a:lnTo>
                  <a:pt x="3886" y="3903"/>
                </a:lnTo>
                <a:lnTo>
                  <a:pt x="3886" y="3897"/>
                </a:lnTo>
                <a:lnTo>
                  <a:pt x="3888" y="3891"/>
                </a:lnTo>
                <a:lnTo>
                  <a:pt x="3890" y="3887"/>
                </a:lnTo>
                <a:lnTo>
                  <a:pt x="3894" y="3881"/>
                </a:lnTo>
                <a:lnTo>
                  <a:pt x="3898" y="3879"/>
                </a:lnTo>
                <a:lnTo>
                  <a:pt x="3904" y="3875"/>
                </a:lnTo>
                <a:lnTo>
                  <a:pt x="3910" y="3873"/>
                </a:lnTo>
                <a:lnTo>
                  <a:pt x="3916" y="3873"/>
                </a:lnTo>
                <a:lnTo>
                  <a:pt x="4011" y="3873"/>
                </a:lnTo>
                <a:lnTo>
                  <a:pt x="4017" y="3873"/>
                </a:lnTo>
                <a:lnTo>
                  <a:pt x="4023" y="3875"/>
                </a:lnTo>
                <a:lnTo>
                  <a:pt x="4027" y="3879"/>
                </a:lnTo>
                <a:lnTo>
                  <a:pt x="4031" y="3881"/>
                </a:lnTo>
                <a:lnTo>
                  <a:pt x="4035" y="3887"/>
                </a:lnTo>
                <a:lnTo>
                  <a:pt x="4039" y="3891"/>
                </a:lnTo>
                <a:lnTo>
                  <a:pt x="4039" y="3897"/>
                </a:lnTo>
                <a:lnTo>
                  <a:pt x="4041" y="3903"/>
                </a:lnTo>
                <a:lnTo>
                  <a:pt x="4041" y="4324"/>
                </a:lnTo>
                <a:close/>
                <a:moveTo>
                  <a:pt x="2629" y="0"/>
                </a:moveTo>
                <a:lnTo>
                  <a:pt x="2785" y="0"/>
                </a:lnTo>
                <a:lnTo>
                  <a:pt x="2785" y="421"/>
                </a:lnTo>
                <a:lnTo>
                  <a:pt x="2785" y="427"/>
                </a:lnTo>
                <a:lnTo>
                  <a:pt x="2783" y="433"/>
                </a:lnTo>
                <a:lnTo>
                  <a:pt x="2781" y="437"/>
                </a:lnTo>
                <a:lnTo>
                  <a:pt x="2777" y="443"/>
                </a:lnTo>
                <a:lnTo>
                  <a:pt x="2773" y="445"/>
                </a:lnTo>
                <a:lnTo>
                  <a:pt x="2767" y="449"/>
                </a:lnTo>
                <a:lnTo>
                  <a:pt x="2761" y="451"/>
                </a:lnTo>
                <a:lnTo>
                  <a:pt x="2755" y="451"/>
                </a:lnTo>
                <a:lnTo>
                  <a:pt x="2660" y="451"/>
                </a:lnTo>
                <a:lnTo>
                  <a:pt x="2654" y="451"/>
                </a:lnTo>
                <a:lnTo>
                  <a:pt x="2648" y="449"/>
                </a:lnTo>
                <a:lnTo>
                  <a:pt x="2644" y="445"/>
                </a:lnTo>
                <a:lnTo>
                  <a:pt x="2639" y="443"/>
                </a:lnTo>
                <a:lnTo>
                  <a:pt x="2635" y="437"/>
                </a:lnTo>
                <a:lnTo>
                  <a:pt x="2631" y="433"/>
                </a:lnTo>
                <a:lnTo>
                  <a:pt x="2631" y="427"/>
                </a:lnTo>
                <a:lnTo>
                  <a:pt x="2629" y="421"/>
                </a:lnTo>
                <a:lnTo>
                  <a:pt x="2629" y="0"/>
                </a:lnTo>
                <a:close/>
                <a:moveTo>
                  <a:pt x="271" y="0"/>
                </a:moveTo>
                <a:lnTo>
                  <a:pt x="426" y="0"/>
                </a:lnTo>
                <a:lnTo>
                  <a:pt x="426" y="427"/>
                </a:lnTo>
                <a:lnTo>
                  <a:pt x="426" y="433"/>
                </a:lnTo>
                <a:lnTo>
                  <a:pt x="424" y="439"/>
                </a:lnTo>
                <a:lnTo>
                  <a:pt x="422" y="445"/>
                </a:lnTo>
                <a:lnTo>
                  <a:pt x="418" y="449"/>
                </a:lnTo>
                <a:lnTo>
                  <a:pt x="414" y="453"/>
                </a:lnTo>
                <a:lnTo>
                  <a:pt x="408" y="455"/>
                </a:lnTo>
                <a:lnTo>
                  <a:pt x="402" y="457"/>
                </a:lnTo>
                <a:lnTo>
                  <a:pt x="396" y="457"/>
                </a:lnTo>
                <a:lnTo>
                  <a:pt x="301" y="457"/>
                </a:lnTo>
                <a:lnTo>
                  <a:pt x="295" y="457"/>
                </a:lnTo>
                <a:lnTo>
                  <a:pt x="291" y="455"/>
                </a:lnTo>
                <a:lnTo>
                  <a:pt x="285" y="453"/>
                </a:lnTo>
                <a:lnTo>
                  <a:pt x="281" y="449"/>
                </a:lnTo>
                <a:lnTo>
                  <a:pt x="277" y="445"/>
                </a:lnTo>
                <a:lnTo>
                  <a:pt x="275" y="439"/>
                </a:lnTo>
                <a:lnTo>
                  <a:pt x="273" y="433"/>
                </a:lnTo>
                <a:lnTo>
                  <a:pt x="271" y="427"/>
                </a:lnTo>
                <a:lnTo>
                  <a:pt x="271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635423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-logo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FD9C00C-21DA-4EE6-86B8-385DC3DE0A5F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RIA - RKL yrittäjäpäivä 1.11.202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7"/>
          <p:cNvSpPr>
            <a:spLocks noChangeAspect="1" noEditPoints="1"/>
          </p:cNvSpPr>
          <p:nvPr userDrawn="1"/>
        </p:nvSpPr>
        <p:spPr bwMode="black">
          <a:xfrm>
            <a:off x="1649971" y="2564904"/>
            <a:ext cx="1548284" cy="1728192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  <p:sp>
        <p:nvSpPr>
          <p:cNvPr id="10" name="Freeform 6"/>
          <p:cNvSpPr>
            <a:spLocks noEditPoints="1"/>
          </p:cNvSpPr>
          <p:nvPr userDrawn="1"/>
        </p:nvSpPr>
        <p:spPr bwMode="auto">
          <a:xfrm>
            <a:off x="3575720" y="2852936"/>
            <a:ext cx="1346458" cy="1146805"/>
          </a:xfrm>
          <a:custGeom>
            <a:avLst/>
            <a:gdLst>
              <a:gd name="T0" fmla="*/ 2264 w 3082"/>
              <a:gd name="T1" fmla="*/ 744 h 2625"/>
              <a:gd name="T2" fmla="*/ 2266 w 3082"/>
              <a:gd name="T3" fmla="*/ 977 h 2625"/>
              <a:gd name="T4" fmla="*/ 2059 w 3082"/>
              <a:gd name="T5" fmla="*/ 1141 h 2625"/>
              <a:gd name="T6" fmla="*/ 2128 w 3082"/>
              <a:gd name="T7" fmla="*/ 961 h 2625"/>
              <a:gd name="T8" fmla="*/ 2534 w 3082"/>
              <a:gd name="T9" fmla="*/ 737 h 2625"/>
              <a:gd name="T10" fmla="*/ 2516 w 3082"/>
              <a:gd name="T11" fmla="*/ 927 h 2625"/>
              <a:gd name="T12" fmla="*/ 2383 w 3082"/>
              <a:gd name="T13" fmla="*/ 1154 h 2625"/>
              <a:gd name="T14" fmla="*/ 2470 w 3082"/>
              <a:gd name="T15" fmla="*/ 1025 h 2625"/>
              <a:gd name="T16" fmla="*/ 733 w 3082"/>
              <a:gd name="T17" fmla="*/ 1006 h 2625"/>
              <a:gd name="T18" fmla="*/ 885 w 3082"/>
              <a:gd name="T19" fmla="*/ 1154 h 2625"/>
              <a:gd name="T20" fmla="*/ 60 w 3082"/>
              <a:gd name="T21" fmla="*/ 1150 h 2625"/>
              <a:gd name="T22" fmla="*/ 1819 w 3082"/>
              <a:gd name="T23" fmla="*/ 1010 h 2625"/>
              <a:gd name="T24" fmla="*/ 1910 w 3082"/>
              <a:gd name="T25" fmla="*/ 1155 h 2625"/>
              <a:gd name="T26" fmla="*/ 1110 w 3082"/>
              <a:gd name="T27" fmla="*/ 1070 h 2625"/>
              <a:gd name="T28" fmla="*/ 1273 w 3082"/>
              <a:gd name="T29" fmla="*/ 1060 h 2625"/>
              <a:gd name="T30" fmla="*/ 962 w 3082"/>
              <a:gd name="T31" fmla="*/ 1091 h 2625"/>
              <a:gd name="T32" fmla="*/ 1547 w 3082"/>
              <a:gd name="T33" fmla="*/ 832 h 2625"/>
              <a:gd name="T34" fmla="*/ 1673 w 3082"/>
              <a:gd name="T35" fmla="*/ 911 h 2625"/>
              <a:gd name="T36" fmla="*/ 1380 w 3082"/>
              <a:gd name="T37" fmla="*/ 739 h 2625"/>
              <a:gd name="T38" fmla="*/ 3022 w 3082"/>
              <a:gd name="T39" fmla="*/ 1141 h 2625"/>
              <a:gd name="T40" fmla="*/ 706 w 3082"/>
              <a:gd name="T41" fmla="*/ 2392 h 2625"/>
              <a:gd name="T42" fmla="*/ 702 w 3082"/>
              <a:gd name="T43" fmla="*/ 2624 h 2625"/>
              <a:gd name="T44" fmla="*/ 1320 w 3082"/>
              <a:gd name="T45" fmla="*/ 2090 h 2625"/>
              <a:gd name="T46" fmla="*/ 1026 w 3082"/>
              <a:gd name="T47" fmla="*/ 2625 h 2625"/>
              <a:gd name="T48" fmla="*/ 1151 w 3082"/>
              <a:gd name="T49" fmla="*/ 2177 h 2625"/>
              <a:gd name="T50" fmla="*/ 1200 w 3082"/>
              <a:gd name="T51" fmla="*/ 2104 h 2625"/>
              <a:gd name="T52" fmla="*/ 1429 w 3082"/>
              <a:gd name="T53" fmla="*/ 2214 h 2625"/>
              <a:gd name="T54" fmla="*/ 1980 w 3082"/>
              <a:gd name="T55" fmla="*/ 2526 h 2625"/>
              <a:gd name="T56" fmla="*/ 1928 w 3082"/>
              <a:gd name="T57" fmla="*/ 2207 h 2625"/>
              <a:gd name="T58" fmla="*/ 2141 w 3082"/>
              <a:gd name="T59" fmla="*/ 2491 h 2625"/>
              <a:gd name="T60" fmla="*/ 1928 w 3082"/>
              <a:gd name="T61" fmla="*/ 2207 h 2625"/>
              <a:gd name="T62" fmla="*/ 2436 w 3082"/>
              <a:gd name="T63" fmla="*/ 2096 h 2625"/>
              <a:gd name="T64" fmla="*/ 2188 w 3082"/>
              <a:gd name="T65" fmla="*/ 2624 h 2625"/>
              <a:gd name="T66" fmla="*/ 2236 w 3082"/>
              <a:gd name="T67" fmla="*/ 2169 h 2625"/>
              <a:gd name="T68" fmla="*/ 2314 w 3082"/>
              <a:gd name="T69" fmla="*/ 2123 h 2625"/>
              <a:gd name="T70" fmla="*/ 1320 w 3082"/>
              <a:gd name="T71" fmla="*/ 177 h 2625"/>
              <a:gd name="T72" fmla="*/ 1094 w 3082"/>
              <a:gd name="T73" fmla="*/ 230 h 2625"/>
              <a:gd name="T74" fmla="*/ 1361 w 3082"/>
              <a:gd name="T75" fmla="*/ 54 h 2625"/>
              <a:gd name="T76" fmla="*/ 1345 w 3082"/>
              <a:gd name="T77" fmla="*/ 391 h 2625"/>
              <a:gd name="T78" fmla="*/ 1007 w 3082"/>
              <a:gd name="T79" fmla="*/ 313 h 2625"/>
              <a:gd name="T80" fmla="*/ 1174 w 3082"/>
              <a:gd name="T81" fmla="*/ 2 h 2625"/>
              <a:gd name="T82" fmla="*/ 1786 w 3082"/>
              <a:gd name="T83" fmla="*/ 89 h 2625"/>
              <a:gd name="T84" fmla="*/ 1490 w 3082"/>
              <a:gd name="T85" fmla="*/ 99 h 2625"/>
              <a:gd name="T86" fmla="*/ 2149 w 3082"/>
              <a:gd name="T87" fmla="*/ 9 h 2625"/>
              <a:gd name="T88" fmla="*/ 908 w 3082"/>
              <a:gd name="T89" fmla="*/ 365 h 2625"/>
              <a:gd name="T90" fmla="*/ 816 w 3082"/>
              <a:gd name="T91" fmla="*/ 336 h 2625"/>
              <a:gd name="T92" fmla="*/ 2672 w 3082"/>
              <a:gd name="T93" fmla="*/ 1878 h 2625"/>
              <a:gd name="T94" fmla="*/ 1737 w 3082"/>
              <a:gd name="T95" fmla="*/ 1879 h 2625"/>
              <a:gd name="T96" fmla="*/ 2104 w 3082"/>
              <a:gd name="T97" fmla="*/ 1888 h 2625"/>
              <a:gd name="T98" fmla="*/ 2174 w 3082"/>
              <a:gd name="T99" fmla="*/ 1888 h 2625"/>
              <a:gd name="T100" fmla="*/ 2719 w 3082"/>
              <a:gd name="T101" fmla="*/ 1481 h 2625"/>
              <a:gd name="T102" fmla="*/ 333 w 3082"/>
              <a:gd name="T103" fmla="*/ 1634 h 2625"/>
              <a:gd name="T104" fmla="*/ 110 w 3082"/>
              <a:gd name="T105" fmla="*/ 1707 h 2625"/>
              <a:gd name="T106" fmla="*/ 383 w 3082"/>
              <a:gd name="T107" fmla="*/ 1524 h 2625"/>
              <a:gd name="T108" fmla="*/ 351 w 3082"/>
              <a:gd name="T109" fmla="*/ 1860 h 2625"/>
              <a:gd name="T110" fmla="*/ 17 w 3082"/>
              <a:gd name="T111" fmla="*/ 1766 h 2625"/>
              <a:gd name="T112" fmla="*/ 200 w 3082"/>
              <a:gd name="T113" fmla="*/ 1464 h 2625"/>
              <a:gd name="T114" fmla="*/ 974 w 3082"/>
              <a:gd name="T115" fmla="*/ 1638 h 2625"/>
              <a:gd name="T116" fmla="*/ 1221 w 3082"/>
              <a:gd name="T117" fmla="*/ 1494 h 2625"/>
              <a:gd name="T118" fmla="*/ 1083 w 3082"/>
              <a:gd name="T119" fmla="*/ 1612 h 2625"/>
              <a:gd name="T120" fmla="*/ 1173 w 3082"/>
              <a:gd name="T121" fmla="*/ 1878 h 2625"/>
              <a:gd name="T122" fmla="*/ 1067 w 3082"/>
              <a:gd name="T123" fmla="*/ 1808 h 2625"/>
              <a:gd name="T124" fmla="*/ 777 w 3082"/>
              <a:gd name="T125" fmla="*/ 1480 h 26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082" h="2625">
                <a:moveTo>
                  <a:pt x="1319" y="1480"/>
                </a:moveTo>
                <a:lnTo>
                  <a:pt x="1319" y="1478"/>
                </a:lnTo>
                <a:lnTo>
                  <a:pt x="1320" y="1476"/>
                </a:lnTo>
                <a:lnTo>
                  <a:pt x="1322" y="1473"/>
                </a:lnTo>
                <a:lnTo>
                  <a:pt x="1323" y="1472"/>
                </a:lnTo>
                <a:lnTo>
                  <a:pt x="1325" y="1471"/>
                </a:lnTo>
                <a:lnTo>
                  <a:pt x="1329" y="1470"/>
                </a:lnTo>
                <a:lnTo>
                  <a:pt x="1411" y="1470"/>
                </a:lnTo>
                <a:lnTo>
                  <a:pt x="1415" y="1471"/>
                </a:lnTo>
                <a:lnTo>
                  <a:pt x="1419" y="1473"/>
                </a:lnTo>
                <a:lnTo>
                  <a:pt x="1420" y="1474"/>
                </a:lnTo>
                <a:lnTo>
                  <a:pt x="1421" y="1476"/>
                </a:lnTo>
                <a:lnTo>
                  <a:pt x="1421" y="1478"/>
                </a:lnTo>
                <a:lnTo>
                  <a:pt x="1421" y="1480"/>
                </a:lnTo>
                <a:lnTo>
                  <a:pt x="1421" y="1879"/>
                </a:lnTo>
                <a:lnTo>
                  <a:pt x="1421" y="1881"/>
                </a:lnTo>
                <a:lnTo>
                  <a:pt x="1421" y="1883"/>
                </a:lnTo>
                <a:lnTo>
                  <a:pt x="1419" y="1886"/>
                </a:lnTo>
                <a:lnTo>
                  <a:pt x="1417" y="1887"/>
                </a:lnTo>
                <a:lnTo>
                  <a:pt x="1415" y="1888"/>
                </a:lnTo>
                <a:lnTo>
                  <a:pt x="1411" y="1889"/>
                </a:lnTo>
                <a:lnTo>
                  <a:pt x="1329" y="1889"/>
                </a:lnTo>
                <a:lnTo>
                  <a:pt x="1325" y="1888"/>
                </a:lnTo>
                <a:lnTo>
                  <a:pt x="1322" y="1886"/>
                </a:lnTo>
                <a:lnTo>
                  <a:pt x="1321" y="1885"/>
                </a:lnTo>
                <a:lnTo>
                  <a:pt x="1320" y="1883"/>
                </a:lnTo>
                <a:lnTo>
                  <a:pt x="1319" y="1881"/>
                </a:lnTo>
                <a:lnTo>
                  <a:pt x="1319" y="1879"/>
                </a:lnTo>
                <a:lnTo>
                  <a:pt x="1319" y="1480"/>
                </a:lnTo>
                <a:close/>
                <a:moveTo>
                  <a:pt x="2184" y="729"/>
                </a:moveTo>
                <a:lnTo>
                  <a:pt x="2195" y="729"/>
                </a:lnTo>
                <a:lnTo>
                  <a:pt x="2206" y="730"/>
                </a:lnTo>
                <a:lnTo>
                  <a:pt x="2217" y="731"/>
                </a:lnTo>
                <a:lnTo>
                  <a:pt x="2227" y="733"/>
                </a:lnTo>
                <a:lnTo>
                  <a:pt x="2237" y="735"/>
                </a:lnTo>
                <a:lnTo>
                  <a:pt x="2246" y="737"/>
                </a:lnTo>
                <a:lnTo>
                  <a:pt x="2253" y="739"/>
                </a:lnTo>
                <a:lnTo>
                  <a:pt x="2259" y="741"/>
                </a:lnTo>
                <a:lnTo>
                  <a:pt x="2262" y="742"/>
                </a:lnTo>
                <a:lnTo>
                  <a:pt x="2264" y="744"/>
                </a:lnTo>
                <a:lnTo>
                  <a:pt x="2265" y="745"/>
                </a:lnTo>
                <a:lnTo>
                  <a:pt x="2266" y="747"/>
                </a:lnTo>
                <a:lnTo>
                  <a:pt x="2267" y="749"/>
                </a:lnTo>
                <a:lnTo>
                  <a:pt x="2267" y="752"/>
                </a:lnTo>
                <a:lnTo>
                  <a:pt x="2267" y="757"/>
                </a:lnTo>
                <a:lnTo>
                  <a:pt x="2248" y="818"/>
                </a:lnTo>
                <a:lnTo>
                  <a:pt x="2247" y="821"/>
                </a:lnTo>
                <a:lnTo>
                  <a:pt x="2246" y="823"/>
                </a:lnTo>
                <a:lnTo>
                  <a:pt x="2245" y="825"/>
                </a:lnTo>
                <a:lnTo>
                  <a:pt x="2243" y="826"/>
                </a:lnTo>
                <a:lnTo>
                  <a:pt x="2241" y="827"/>
                </a:lnTo>
                <a:lnTo>
                  <a:pt x="2239" y="827"/>
                </a:lnTo>
                <a:lnTo>
                  <a:pt x="2233" y="827"/>
                </a:lnTo>
                <a:lnTo>
                  <a:pt x="2223" y="823"/>
                </a:lnTo>
                <a:lnTo>
                  <a:pt x="2213" y="821"/>
                </a:lnTo>
                <a:lnTo>
                  <a:pt x="2204" y="819"/>
                </a:lnTo>
                <a:lnTo>
                  <a:pt x="2194" y="818"/>
                </a:lnTo>
                <a:lnTo>
                  <a:pt x="2188" y="819"/>
                </a:lnTo>
                <a:lnTo>
                  <a:pt x="2185" y="819"/>
                </a:lnTo>
                <a:lnTo>
                  <a:pt x="2182" y="820"/>
                </a:lnTo>
                <a:lnTo>
                  <a:pt x="2180" y="821"/>
                </a:lnTo>
                <a:lnTo>
                  <a:pt x="2177" y="823"/>
                </a:lnTo>
                <a:lnTo>
                  <a:pt x="2173" y="826"/>
                </a:lnTo>
                <a:lnTo>
                  <a:pt x="2170" y="829"/>
                </a:lnTo>
                <a:lnTo>
                  <a:pt x="2169" y="831"/>
                </a:lnTo>
                <a:lnTo>
                  <a:pt x="2168" y="834"/>
                </a:lnTo>
                <a:lnTo>
                  <a:pt x="2166" y="839"/>
                </a:lnTo>
                <a:lnTo>
                  <a:pt x="2166" y="844"/>
                </a:lnTo>
                <a:lnTo>
                  <a:pt x="2167" y="850"/>
                </a:lnTo>
                <a:lnTo>
                  <a:pt x="2168" y="856"/>
                </a:lnTo>
                <a:lnTo>
                  <a:pt x="2171" y="862"/>
                </a:lnTo>
                <a:lnTo>
                  <a:pt x="2175" y="867"/>
                </a:lnTo>
                <a:lnTo>
                  <a:pt x="2179" y="872"/>
                </a:lnTo>
                <a:lnTo>
                  <a:pt x="2184" y="878"/>
                </a:lnTo>
                <a:lnTo>
                  <a:pt x="2195" y="890"/>
                </a:lnTo>
                <a:lnTo>
                  <a:pt x="2228" y="927"/>
                </a:lnTo>
                <a:lnTo>
                  <a:pt x="2238" y="938"/>
                </a:lnTo>
                <a:lnTo>
                  <a:pt x="2248" y="950"/>
                </a:lnTo>
                <a:lnTo>
                  <a:pt x="2257" y="963"/>
                </a:lnTo>
                <a:lnTo>
                  <a:pt x="2266" y="977"/>
                </a:lnTo>
                <a:lnTo>
                  <a:pt x="2270" y="985"/>
                </a:lnTo>
                <a:lnTo>
                  <a:pt x="2273" y="992"/>
                </a:lnTo>
                <a:lnTo>
                  <a:pt x="2276" y="1000"/>
                </a:lnTo>
                <a:lnTo>
                  <a:pt x="2279" y="1007"/>
                </a:lnTo>
                <a:lnTo>
                  <a:pt x="2281" y="1015"/>
                </a:lnTo>
                <a:lnTo>
                  <a:pt x="2282" y="1023"/>
                </a:lnTo>
                <a:lnTo>
                  <a:pt x="2283" y="1031"/>
                </a:lnTo>
                <a:lnTo>
                  <a:pt x="2284" y="1039"/>
                </a:lnTo>
                <a:lnTo>
                  <a:pt x="2284" y="1047"/>
                </a:lnTo>
                <a:lnTo>
                  <a:pt x="2283" y="1054"/>
                </a:lnTo>
                <a:lnTo>
                  <a:pt x="2282" y="1061"/>
                </a:lnTo>
                <a:lnTo>
                  <a:pt x="2281" y="1068"/>
                </a:lnTo>
                <a:lnTo>
                  <a:pt x="2280" y="1075"/>
                </a:lnTo>
                <a:lnTo>
                  <a:pt x="2278" y="1081"/>
                </a:lnTo>
                <a:lnTo>
                  <a:pt x="2274" y="1093"/>
                </a:lnTo>
                <a:lnTo>
                  <a:pt x="2268" y="1104"/>
                </a:lnTo>
                <a:lnTo>
                  <a:pt x="2265" y="1109"/>
                </a:lnTo>
                <a:lnTo>
                  <a:pt x="2262" y="1114"/>
                </a:lnTo>
                <a:lnTo>
                  <a:pt x="2258" y="1119"/>
                </a:lnTo>
                <a:lnTo>
                  <a:pt x="2255" y="1123"/>
                </a:lnTo>
                <a:lnTo>
                  <a:pt x="2246" y="1131"/>
                </a:lnTo>
                <a:lnTo>
                  <a:pt x="2237" y="1139"/>
                </a:lnTo>
                <a:lnTo>
                  <a:pt x="2227" y="1145"/>
                </a:lnTo>
                <a:lnTo>
                  <a:pt x="2217" y="1150"/>
                </a:lnTo>
                <a:lnTo>
                  <a:pt x="2205" y="1154"/>
                </a:lnTo>
                <a:lnTo>
                  <a:pt x="2193" y="1158"/>
                </a:lnTo>
                <a:lnTo>
                  <a:pt x="2187" y="1159"/>
                </a:lnTo>
                <a:lnTo>
                  <a:pt x="2181" y="1160"/>
                </a:lnTo>
                <a:lnTo>
                  <a:pt x="2168" y="1161"/>
                </a:lnTo>
                <a:lnTo>
                  <a:pt x="2155" y="1162"/>
                </a:lnTo>
                <a:lnTo>
                  <a:pt x="2143" y="1162"/>
                </a:lnTo>
                <a:lnTo>
                  <a:pt x="2131" y="1161"/>
                </a:lnTo>
                <a:lnTo>
                  <a:pt x="2118" y="1159"/>
                </a:lnTo>
                <a:lnTo>
                  <a:pt x="2106" y="1157"/>
                </a:lnTo>
                <a:lnTo>
                  <a:pt x="2094" y="1154"/>
                </a:lnTo>
                <a:lnTo>
                  <a:pt x="2083" y="1151"/>
                </a:lnTo>
                <a:lnTo>
                  <a:pt x="2073" y="1148"/>
                </a:lnTo>
                <a:lnTo>
                  <a:pt x="2064" y="1144"/>
                </a:lnTo>
                <a:lnTo>
                  <a:pt x="2062" y="1143"/>
                </a:lnTo>
                <a:lnTo>
                  <a:pt x="2059" y="1141"/>
                </a:lnTo>
                <a:lnTo>
                  <a:pt x="2058" y="1140"/>
                </a:lnTo>
                <a:lnTo>
                  <a:pt x="2057" y="1138"/>
                </a:lnTo>
                <a:lnTo>
                  <a:pt x="2057" y="1136"/>
                </a:lnTo>
                <a:lnTo>
                  <a:pt x="2056" y="1134"/>
                </a:lnTo>
                <a:lnTo>
                  <a:pt x="2057" y="1131"/>
                </a:lnTo>
                <a:lnTo>
                  <a:pt x="2077" y="1065"/>
                </a:lnTo>
                <a:lnTo>
                  <a:pt x="2078" y="1062"/>
                </a:lnTo>
                <a:lnTo>
                  <a:pt x="2079" y="1060"/>
                </a:lnTo>
                <a:lnTo>
                  <a:pt x="2080" y="1058"/>
                </a:lnTo>
                <a:lnTo>
                  <a:pt x="2082" y="1057"/>
                </a:lnTo>
                <a:lnTo>
                  <a:pt x="2084" y="1057"/>
                </a:lnTo>
                <a:lnTo>
                  <a:pt x="2086" y="1057"/>
                </a:lnTo>
                <a:lnTo>
                  <a:pt x="2088" y="1057"/>
                </a:lnTo>
                <a:lnTo>
                  <a:pt x="2091" y="1058"/>
                </a:lnTo>
                <a:lnTo>
                  <a:pt x="2098" y="1062"/>
                </a:lnTo>
                <a:lnTo>
                  <a:pt x="2106" y="1064"/>
                </a:lnTo>
                <a:lnTo>
                  <a:pt x="2113" y="1067"/>
                </a:lnTo>
                <a:lnTo>
                  <a:pt x="2120" y="1069"/>
                </a:lnTo>
                <a:lnTo>
                  <a:pt x="2128" y="1070"/>
                </a:lnTo>
                <a:lnTo>
                  <a:pt x="2135" y="1071"/>
                </a:lnTo>
                <a:lnTo>
                  <a:pt x="2142" y="1072"/>
                </a:lnTo>
                <a:lnTo>
                  <a:pt x="2148" y="1072"/>
                </a:lnTo>
                <a:lnTo>
                  <a:pt x="2157" y="1071"/>
                </a:lnTo>
                <a:lnTo>
                  <a:pt x="2161" y="1071"/>
                </a:lnTo>
                <a:lnTo>
                  <a:pt x="2165" y="1070"/>
                </a:lnTo>
                <a:lnTo>
                  <a:pt x="2171" y="1067"/>
                </a:lnTo>
                <a:lnTo>
                  <a:pt x="2176" y="1064"/>
                </a:lnTo>
                <a:lnTo>
                  <a:pt x="2180" y="1060"/>
                </a:lnTo>
                <a:lnTo>
                  <a:pt x="2182" y="1057"/>
                </a:lnTo>
                <a:lnTo>
                  <a:pt x="2183" y="1055"/>
                </a:lnTo>
                <a:lnTo>
                  <a:pt x="2185" y="1049"/>
                </a:lnTo>
                <a:lnTo>
                  <a:pt x="2186" y="1042"/>
                </a:lnTo>
                <a:lnTo>
                  <a:pt x="2185" y="1037"/>
                </a:lnTo>
                <a:lnTo>
                  <a:pt x="2184" y="1031"/>
                </a:lnTo>
                <a:lnTo>
                  <a:pt x="2181" y="1025"/>
                </a:lnTo>
                <a:lnTo>
                  <a:pt x="2178" y="1020"/>
                </a:lnTo>
                <a:lnTo>
                  <a:pt x="2175" y="1014"/>
                </a:lnTo>
                <a:lnTo>
                  <a:pt x="2170" y="1008"/>
                </a:lnTo>
                <a:lnTo>
                  <a:pt x="2161" y="997"/>
                </a:lnTo>
                <a:lnTo>
                  <a:pt x="2128" y="961"/>
                </a:lnTo>
                <a:lnTo>
                  <a:pt x="2116" y="948"/>
                </a:lnTo>
                <a:lnTo>
                  <a:pt x="2106" y="935"/>
                </a:lnTo>
                <a:lnTo>
                  <a:pt x="2095" y="922"/>
                </a:lnTo>
                <a:lnTo>
                  <a:pt x="2091" y="915"/>
                </a:lnTo>
                <a:lnTo>
                  <a:pt x="2086" y="908"/>
                </a:lnTo>
                <a:lnTo>
                  <a:pt x="2082" y="900"/>
                </a:lnTo>
                <a:lnTo>
                  <a:pt x="2079" y="893"/>
                </a:lnTo>
                <a:lnTo>
                  <a:pt x="2076" y="885"/>
                </a:lnTo>
                <a:lnTo>
                  <a:pt x="2073" y="877"/>
                </a:lnTo>
                <a:lnTo>
                  <a:pt x="2071" y="868"/>
                </a:lnTo>
                <a:lnTo>
                  <a:pt x="2070" y="864"/>
                </a:lnTo>
                <a:lnTo>
                  <a:pt x="2069" y="859"/>
                </a:lnTo>
                <a:lnTo>
                  <a:pt x="2068" y="850"/>
                </a:lnTo>
                <a:lnTo>
                  <a:pt x="2068" y="841"/>
                </a:lnTo>
                <a:lnTo>
                  <a:pt x="2068" y="829"/>
                </a:lnTo>
                <a:lnTo>
                  <a:pt x="2070" y="817"/>
                </a:lnTo>
                <a:lnTo>
                  <a:pt x="2073" y="806"/>
                </a:lnTo>
                <a:lnTo>
                  <a:pt x="2077" y="795"/>
                </a:lnTo>
                <a:lnTo>
                  <a:pt x="2081" y="785"/>
                </a:lnTo>
                <a:lnTo>
                  <a:pt x="2087" y="776"/>
                </a:lnTo>
                <a:lnTo>
                  <a:pt x="2094" y="768"/>
                </a:lnTo>
                <a:lnTo>
                  <a:pt x="2101" y="760"/>
                </a:lnTo>
                <a:lnTo>
                  <a:pt x="2105" y="756"/>
                </a:lnTo>
                <a:lnTo>
                  <a:pt x="2109" y="753"/>
                </a:lnTo>
                <a:lnTo>
                  <a:pt x="2118" y="747"/>
                </a:lnTo>
                <a:lnTo>
                  <a:pt x="2123" y="744"/>
                </a:lnTo>
                <a:lnTo>
                  <a:pt x="2128" y="741"/>
                </a:lnTo>
                <a:lnTo>
                  <a:pt x="2138" y="737"/>
                </a:lnTo>
                <a:lnTo>
                  <a:pt x="2148" y="734"/>
                </a:lnTo>
                <a:lnTo>
                  <a:pt x="2160" y="731"/>
                </a:lnTo>
                <a:lnTo>
                  <a:pt x="2166" y="730"/>
                </a:lnTo>
                <a:lnTo>
                  <a:pt x="2172" y="730"/>
                </a:lnTo>
                <a:lnTo>
                  <a:pt x="2184" y="729"/>
                </a:lnTo>
                <a:close/>
                <a:moveTo>
                  <a:pt x="2472" y="729"/>
                </a:moveTo>
                <a:lnTo>
                  <a:pt x="2483" y="729"/>
                </a:lnTo>
                <a:lnTo>
                  <a:pt x="2495" y="730"/>
                </a:lnTo>
                <a:lnTo>
                  <a:pt x="2505" y="731"/>
                </a:lnTo>
                <a:lnTo>
                  <a:pt x="2516" y="733"/>
                </a:lnTo>
                <a:lnTo>
                  <a:pt x="2525" y="735"/>
                </a:lnTo>
                <a:lnTo>
                  <a:pt x="2534" y="737"/>
                </a:lnTo>
                <a:lnTo>
                  <a:pt x="2542" y="739"/>
                </a:lnTo>
                <a:lnTo>
                  <a:pt x="2548" y="741"/>
                </a:lnTo>
                <a:lnTo>
                  <a:pt x="2550" y="742"/>
                </a:lnTo>
                <a:lnTo>
                  <a:pt x="2552" y="744"/>
                </a:lnTo>
                <a:lnTo>
                  <a:pt x="2554" y="745"/>
                </a:lnTo>
                <a:lnTo>
                  <a:pt x="2555" y="747"/>
                </a:lnTo>
                <a:lnTo>
                  <a:pt x="2555" y="749"/>
                </a:lnTo>
                <a:lnTo>
                  <a:pt x="2556" y="752"/>
                </a:lnTo>
                <a:lnTo>
                  <a:pt x="2555" y="757"/>
                </a:lnTo>
                <a:lnTo>
                  <a:pt x="2537" y="818"/>
                </a:lnTo>
                <a:lnTo>
                  <a:pt x="2536" y="821"/>
                </a:lnTo>
                <a:lnTo>
                  <a:pt x="2534" y="823"/>
                </a:lnTo>
                <a:lnTo>
                  <a:pt x="2533" y="825"/>
                </a:lnTo>
                <a:lnTo>
                  <a:pt x="2531" y="826"/>
                </a:lnTo>
                <a:lnTo>
                  <a:pt x="2529" y="827"/>
                </a:lnTo>
                <a:lnTo>
                  <a:pt x="2527" y="827"/>
                </a:lnTo>
                <a:lnTo>
                  <a:pt x="2522" y="827"/>
                </a:lnTo>
                <a:lnTo>
                  <a:pt x="2511" y="823"/>
                </a:lnTo>
                <a:lnTo>
                  <a:pt x="2501" y="821"/>
                </a:lnTo>
                <a:lnTo>
                  <a:pt x="2492" y="819"/>
                </a:lnTo>
                <a:lnTo>
                  <a:pt x="2483" y="818"/>
                </a:lnTo>
                <a:lnTo>
                  <a:pt x="2476" y="819"/>
                </a:lnTo>
                <a:lnTo>
                  <a:pt x="2473" y="819"/>
                </a:lnTo>
                <a:lnTo>
                  <a:pt x="2471" y="820"/>
                </a:lnTo>
                <a:lnTo>
                  <a:pt x="2468" y="821"/>
                </a:lnTo>
                <a:lnTo>
                  <a:pt x="2466" y="823"/>
                </a:lnTo>
                <a:lnTo>
                  <a:pt x="2462" y="826"/>
                </a:lnTo>
                <a:lnTo>
                  <a:pt x="2459" y="829"/>
                </a:lnTo>
                <a:lnTo>
                  <a:pt x="2457" y="831"/>
                </a:lnTo>
                <a:lnTo>
                  <a:pt x="2456" y="834"/>
                </a:lnTo>
                <a:lnTo>
                  <a:pt x="2455" y="839"/>
                </a:lnTo>
                <a:lnTo>
                  <a:pt x="2454" y="844"/>
                </a:lnTo>
                <a:lnTo>
                  <a:pt x="2455" y="850"/>
                </a:lnTo>
                <a:lnTo>
                  <a:pt x="2457" y="856"/>
                </a:lnTo>
                <a:lnTo>
                  <a:pt x="2459" y="862"/>
                </a:lnTo>
                <a:lnTo>
                  <a:pt x="2463" y="867"/>
                </a:lnTo>
                <a:lnTo>
                  <a:pt x="2467" y="872"/>
                </a:lnTo>
                <a:lnTo>
                  <a:pt x="2472" y="878"/>
                </a:lnTo>
                <a:lnTo>
                  <a:pt x="2483" y="890"/>
                </a:lnTo>
                <a:lnTo>
                  <a:pt x="2516" y="927"/>
                </a:lnTo>
                <a:lnTo>
                  <a:pt x="2526" y="938"/>
                </a:lnTo>
                <a:lnTo>
                  <a:pt x="2536" y="950"/>
                </a:lnTo>
                <a:lnTo>
                  <a:pt x="2546" y="963"/>
                </a:lnTo>
                <a:lnTo>
                  <a:pt x="2554" y="977"/>
                </a:lnTo>
                <a:lnTo>
                  <a:pt x="2558" y="985"/>
                </a:lnTo>
                <a:lnTo>
                  <a:pt x="2561" y="992"/>
                </a:lnTo>
                <a:lnTo>
                  <a:pt x="2564" y="1000"/>
                </a:lnTo>
                <a:lnTo>
                  <a:pt x="2567" y="1007"/>
                </a:lnTo>
                <a:lnTo>
                  <a:pt x="2569" y="1015"/>
                </a:lnTo>
                <a:lnTo>
                  <a:pt x="2571" y="1023"/>
                </a:lnTo>
                <a:lnTo>
                  <a:pt x="2572" y="1031"/>
                </a:lnTo>
                <a:lnTo>
                  <a:pt x="2572" y="1039"/>
                </a:lnTo>
                <a:lnTo>
                  <a:pt x="2572" y="1047"/>
                </a:lnTo>
                <a:lnTo>
                  <a:pt x="2571" y="1054"/>
                </a:lnTo>
                <a:lnTo>
                  <a:pt x="2571" y="1061"/>
                </a:lnTo>
                <a:lnTo>
                  <a:pt x="2569" y="1068"/>
                </a:lnTo>
                <a:lnTo>
                  <a:pt x="2568" y="1075"/>
                </a:lnTo>
                <a:lnTo>
                  <a:pt x="2566" y="1081"/>
                </a:lnTo>
                <a:lnTo>
                  <a:pt x="2562" y="1093"/>
                </a:lnTo>
                <a:lnTo>
                  <a:pt x="2557" y="1104"/>
                </a:lnTo>
                <a:lnTo>
                  <a:pt x="2554" y="1109"/>
                </a:lnTo>
                <a:lnTo>
                  <a:pt x="2550" y="1114"/>
                </a:lnTo>
                <a:lnTo>
                  <a:pt x="2547" y="1119"/>
                </a:lnTo>
                <a:lnTo>
                  <a:pt x="2543" y="1123"/>
                </a:lnTo>
                <a:lnTo>
                  <a:pt x="2535" y="1131"/>
                </a:lnTo>
                <a:lnTo>
                  <a:pt x="2526" y="1139"/>
                </a:lnTo>
                <a:lnTo>
                  <a:pt x="2516" y="1145"/>
                </a:lnTo>
                <a:lnTo>
                  <a:pt x="2510" y="1148"/>
                </a:lnTo>
                <a:lnTo>
                  <a:pt x="2505" y="1150"/>
                </a:lnTo>
                <a:lnTo>
                  <a:pt x="2494" y="1154"/>
                </a:lnTo>
                <a:lnTo>
                  <a:pt x="2482" y="1158"/>
                </a:lnTo>
                <a:lnTo>
                  <a:pt x="2476" y="1159"/>
                </a:lnTo>
                <a:lnTo>
                  <a:pt x="2469" y="1160"/>
                </a:lnTo>
                <a:lnTo>
                  <a:pt x="2456" y="1161"/>
                </a:lnTo>
                <a:lnTo>
                  <a:pt x="2443" y="1162"/>
                </a:lnTo>
                <a:lnTo>
                  <a:pt x="2431" y="1162"/>
                </a:lnTo>
                <a:lnTo>
                  <a:pt x="2419" y="1161"/>
                </a:lnTo>
                <a:lnTo>
                  <a:pt x="2407" y="1159"/>
                </a:lnTo>
                <a:lnTo>
                  <a:pt x="2395" y="1157"/>
                </a:lnTo>
                <a:lnTo>
                  <a:pt x="2383" y="1154"/>
                </a:lnTo>
                <a:lnTo>
                  <a:pt x="2372" y="1151"/>
                </a:lnTo>
                <a:lnTo>
                  <a:pt x="2362" y="1148"/>
                </a:lnTo>
                <a:lnTo>
                  <a:pt x="2353" y="1144"/>
                </a:lnTo>
                <a:lnTo>
                  <a:pt x="2350" y="1143"/>
                </a:lnTo>
                <a:lnTo>
                  <a:pt x="2348" y="1141"/>
                </a:lnTo>
                <a:lnTo>
                  <a:pt x="2346" y="1140"/>
                </a:lnTo>
                <a:lnTo>
                  <a:pt x="2345" y="1138"/>
                </a:lnTo>
                <a:lnTo>
                  <a:pt x="2345" y="1136"/>
                </a:lnTo>
                <a:lnTo>
                  <a:pt x="2345" y="1134"/>
                </a:lnTo>
                <a:lnTo>
                  <a:pt x="2346" y="1131"/>
                </a:lnTo>
                <a:lnTo>
                  <a:pt x="2365" y="1065"/>
                </a:lnTo>
                <a:lnTo>
                  <a:pt x="2366" y="1062"/>
                </a:lnTo>
                <a:lnTo>
                  <a:pt x="2367" y="1060"/>
                </a:lnTo>
                <a:lnTo>
                  <a:pt x="2369" y="1058"/>
                </a:lnTo>
                <a:lnTo>
                  <a:pt x="2370" y="1057"/>
                </a:lnTo>
                <a:lnTo>
                  <a:pt x="2372" y="1057"/>
                </a:lnTo>
                <a:lnTo>
                  <a:pt x="2374" y="1057"/>
                </a:lnTo>
                <a:lnTo>
                  <a:pt x="2377" y="1057"/>
                </a:lnTo>
                <a:lnTo>
                  <a:pt x="2379" y="1058"/>
                </a:lnTo>
                <a:lnTo>
                  <a:pt x="2387" y="1062"/>
                </a:lnTo>
                <a:lnTo>
                  <a:pt x="2394" y="1064"/>
                </a:lnTo>
                <a:lnTo>
                  <a:pt x="2401" y="1067"/>
                </a:lnTo>
                <a:lnTo>
                  <a:pt x="2409" y="1069"/>
                </a:lnTo>
                <a:lnTo>
                  <a:pt x="2416" y="1070"/>
                </a:lnTo>
                <a:lnTo>
                  <a:pt x="2423" y="1071"/>
                </a:lnTo>
                <a:lnTo>
                  <a:pt x="2430" y="1072"/>
                </a:lnTo>
                <a:lnTo>
                  <a:pt x="2437" y="1072"/>
                </a:lnTo>
                <a:lnTo>
                  <a:pt x="2446" y="1071"/>
                </a:lnTo>
                <a:lnTo>
                  <a:pt x="2449" y="1071"/>
                </a:lnTo>
                <a:lnTo>
                  <a:pt x="2453" y="1070"/>
                </a:lnTo>
                <a:lnTo>
                  <a:pt x="2460" y="1067"/>
                </a:lnTo>
                <a:lnTo>
                  <a:pt x="2465" y="1064"/>
                </a:lnTo>
                <a:lnTo>
                  <a:pt x="2469" y="1060"/>
                </a:lnTo>
                <a:lnTo>
                  <a:pt x="2470" y="1057"/>
                </a:lnTo>
                <a:lnTo>
                  <a:pt x="2472" y="1055"/>
                </a:lnTo>
                <a:lnTo>
                  <a:pt x="2473" y="1049"/>
                </a:lnTo>
                <a:lnTo>
                  <a:pt x="2474" y="1042"/>
                </a:lnTo>
                <a:lnTo>
                  <a:pt x="2473" y="1037"/>
                </a:lnTo>
                <a:lnTo>
                  <a:pt x="2472" y="1031"/>
                </a:lnTo>
                <a:lnTo>
                  <a:pt x="2470" y="1025"/>
                </a:lnTo>
                <a:lnTo>
                  <a:pt x="2467" y="1020"/>
                </a:lnTo>
                <a:lnTo>
                  <a:pt x="2463" y="1014"/>
                </a:lnTo>
                <a:lnTo>
                  <a:pt x="2459" y="1008"/>
                </a:lnTo>
                <a:lnTo>
                  <a:pt x="2449" y="997"/>
                </a:lnTo>
                <a:lnTo>
                  <a:pt x="2416" y="961"/>
                </a:lnTo>
                <a:lnTo>
                  <a:pt x="2405" y="948"/>
                </a:lnTo>
                <a:lnTo>
                  <a:pt x="2394" y="935"/>
                </a:lnTo>
                <a:lnTo>
                  <a:pt x="2384" y="922"/>
                </a:lnTo>
                <a:lnTo>
                  <a:pt x="2379" y="915"/>
                </a:lnTo>
                <a:lnTo>
                  <a:pt x="2375" y="908"/>
                </a:lnTo>
                <a:lnTo>
                  <a:pt x="2371" y="900"/>
                </a:lnTo>
                <a:lnTo>
                  <a:pt x="2367" y="893"/>
                </a:lnTo>
                <a:lnTo>
                  <a:pt x="2364" y="885"/>
                </a:lnTo>
                <a:lnTo>
                  <a:pt x="2361" y="877"/>
                </a:lnTo>
                <a:lnTo>
                  <a:pt x="2359" y="868"/>
                </a:lnTo>
                <a:lnTo>
                  <a:pt x="2358" y="864"/>
                </a:lnTo>
                <a:lnTo>
                  <a:pt x="2358" y="859"/>
                </a:lnTo>
                <a:lnTo>
                  <a:pt x="2357" y="850"/>
                </a:lnTo>
                <a:lnTo>
                  <a:pt x="2356" y="841"/>
                </a:lnTo>
                <a:lnTo>
                  <a:pt x="2357" y="829"/>
                </a:lnTo>
                <a:lnTo>
                  <a:pt x="2358" y="817"/>
                </a:lnTo>
                <a:lnTo>
                  <a:pt x="2361" y="806"/>
                </a:lnTo>
                <a:lnTo>
                  <a:pt x="2365" y="795"/>
                </a:lnTo>
                <a:lnTo>
                  <a:pt x="2370" y="785"/>
                </a:lnTo>
                <a:lnTo>
                  <a:pt x="2375" y="776"/>
                </a:lnTo>
                <a:lnTo>
                  <a:pt x="2382" y="768"/>
                </a:lnTo>
                <a:lnTo>
                  <a:pt x="2389" y="760"/>
                </a:lnTo>
                <a:lnTo>
                  <a:pt x="2393" y="756"/>
                </a:lnTo>
                <a:lnTo>
                  <a:pt x="2397" y="753"/>
                </a:lnTo>
                <a:lnTo>
                  <a:pt x="2406" y="747"/>
                </a:lnTo>
                <a:lnTo>
                  <a:pt x="2411" y="744"/>
                </a:lnTo>
                <a:lnTo>
                  <a:pt x="2416" y="741"/>
                </a:lnTo>
                <a:lnTo>
                  <a:pt x="2426" y="737"/>
                </a:lnTo>
                <a:lnTo>
                  <a:pt x="2437" y="734"/>
                </a:lnTo>
                <a:lnTo>
                  <a:pt x="2448" y="731"/>
                </a:lnTo>
                <a:lnTo>
                  <a:pt x="2454" y="730"/>
                </a:lnTo>
                <a:lnTo>
                  <a:pt x="2460" y="730"/>
                </a:lnTo>
                <a:lnTo>
                  <a:pt x="2472" y="729"/>
                </a:lnTo>
                <a:close/>
                <a:moveTo>
                  <a:pt x="633" y="1006"/>
                </a:moveTo>
                <a:lnTo>
                  <a:pt x="733" y="1006"/>
                </a:lnTo>
                <a:lnTo>
                  <a:pt x="683" y="875"/>
                </a:lnTo>
                <a:lnTo>
                  <a:pt x="633" y="1006"/>
                </a:lnTo>
                <a:close/>
                <a:moveTo>
                  <a:pt x="763" y="1088"/>
                </a:moveTo>
                <a:lnTo>
                  <a:pt x="603" y="1088"/>
                </a:lnTo>
                <a:lnTo>
                  <a:pt x="581" y="1145"/>
                </a:lnTo>
                <a:lnTo>
                  <a:pt x="580" y="1148"/>
                </a:lnTo>
                <a:lnTo>
                  <a:pt x="579" y="1150"/>
                </a:lnTo>
                <a:lnTo>
                  <a:pt x="577" y="1151"/>
                </a:lnTo>
                <a:lnTo>
                  <a:pt x="576" y="1153"/>
                </a:lnTo>
                <a:lnTo>
                  <a:pt x="572" y="1154"/>
                </a:lnTo>
                <a:lnTo>
                  <a:pt x="568" y="1155"/>
                </a:lnTo>
                <a:lnTo>
                  <a:pt x="489" y="1155"/>
                </a:lnTo>
                <a:lnTo>
                  <a:pt x="486" y="1155"/>
                </a:lnTo>
                <a:lnTo>
                  <a:pt x="484" y="1154"/>
                </a:lnTo>
                <a:lnTo>
                  <a:pt x="482" y="1153"/>
                </a:lnTo>
                <a:lnTo>
                  <a:pt x="481" y="1151"/>
                </a:lnTo>
                <a:lnTo>
                  <a:pt x="479" y="1149"/>
                </a:lnTo>
                <a:lnTo>
                  <a:pt x="479" y="1147"/>
                </a:lnTo>
                <a:lnTo>
                  <a:pt x="479" y="1144"/>
                </a:lnTo>
                <a:lnTo>
                  <a:pt x="480" y="1141"/>
                </a:lnTo>
                <a:lnTo>
                  <a:pt x="636" y="746"/>
                </a:lnTo>
                <a:lnTo>
                  <a:pt x="637" y="743"/>
                </a:lnTo>
                <a:lnTo>
                  <a:pt x="638" y="741"/>
                </a:lnTo>
                <a:lnTo>
                  <a:pt x="641" y="738"/>
                </a:lnTo>
                <a:lnTo>
                  <a:pt x="645" y="737"/>
                </a:lnTo>
                <a:lnTo>
                  <a:pt x="647" y="736"/>
                </a:lnTo>
                <a:lnTo>
                  <a:pt x="649" y="736"/>
                </a:lnTo>
                <a:lnTo>
                  <a:pt x="719" y="736"/>
                </a:lnTo>
                <a:lnTo>
                  <a:pt x="724" y="737"/>
                </a:lnTo>
                <a:lnTo>
                  <a:pt x="728" y="738"/>
                </a:lnTo>
                <a:lnTo>
                  <a:pt x="730" y="741"/>
                </a:lnTo>
                <a:lnTo>
                  <a:pt x="732" y="743"/>
                </a:lnTo>
                <a:lnTo>
                  <a:pt x="733" y="746"/>
                </a:lnTo>
                <a:lnTo>
                  <a:pt x="889" y="1141"/>
                </a:lnTo>
                <a:lnTo>
                  <a:pt x="890" y="1144"/>
                </a:lnTo>
                <a:lnTo>
                  <a:pt x="890" y="1147"/>
                </a:lnTo>
                <a:lnTo>
                  <a:pt x="890" y="1149"/>
                </a:lnTo>
                <a:lnTo>
                  <a:pt x="889" y="1151"/>
                </a:lnTo>
                <a:lnTo>
                  <a:pt x="887" y="1153"/>
                </a:lnTo>
                <a:lnTo>
                  <a:pt x="885" y="1154"/>
                </a:lnTo>
                <a:lnTo>
                  <a:pt x="883" y="1155"/>
                </a:lnTo>
                <a:lnTo>
                  <a:pt x="880" y="1155"/>
                </a:lnTo>
                <a:lnTo>
                  <a:pt x="800" y="1155"/>
                </a:lnTo>
                <a:lnTo>
                  <a:pt x="796" y="1154"/>
                </a:lnTo>
                <a:lnTo>
                  <a:pt x="794" y="1154"/>
                </a:lnTo>
                <a:lnTo>
                  <a:pt x="792" y="1153"/>
                </a:lnTo>
                <a:lnTo>
                  <a:pt x="790" y="1151"/>
                </a:lnTo>
                <a:lnTo>
                  <a:pt x="788" y="1150"/>
                </a:lnTo>
                <a:lnTo>
                  <a:pt x="787" y="1148"/>
                </a:lnTo>
                <a:lnTo>
                  <a:pt x="786" y="1145"/>
                </a:lnTo>
                <a:lnTo>
                  <a:pt x="763" y="1088"/>
                </a:lnTo>
                <a:close/>
                <a:moveTo>
                  <a:pt x="292" y="912"/>
                </a:moveTo>
                <a:lnTo>
                  <a:pt x="428" y="1142"/>
                </a:lnTo>
                <a:lnTo>
                  <a:pt x="429" y="1144"/>
                </a:lnTo>
                <a:lnTo>
                  <a:pt x="429" y="1146"/>
                </a:lnTo>
                <a:lnTo>
                  <a:pt x="429" y="1148"/>
                </a:lnTo>
                <a:lnTo>
                  <a:pt x="429" y="1150"/>
                </a:lnTo>
                <a:lnTo>
                  <a:pt x="428" y="1152"/>
                </a:lnTo>
                <a:lnTo>
                  <a:pt x="426" y="1154"/>
                </a:lnTo>
                <a:lnTo>
                  <a:pt x="424" y="1154"/>
                </a:lnTo>
                <a:lnTo>
                  <a:pt x="421" y="1155"/>
                </a:lnTo>
                <a:lnTo>
                  <a:pt x="325" y="1155"/>
                </a:lnTo>
                <a:lnTo>
                  <a:pt x="321" y="1154"/>
                </a:lnTo>
                <a:lnTo>
                  <a:pt x="316" y="1152"/>
                </a:lnTo>
                <a:lnTo>
                  <a:pt x="315" y="1151"/>
                </a:lnTo>
                <a:lnTo>
                  <a:pt x="313" y="1150"/>
                </a:lnTo>
                <a:lnTo>
                  <a:pt x="310" y="1145"/>
                </a:lnTo>
                <a:lnTo>
                  <a:pt x="214" y="979"/>
                </a:lnTo>
                <a:lnTo>
                  <a:pt x="161" y="1044"/>
                </a:lnTo>
                <a:lnTo>
                  <a:pt x="161" y="1145"/>
                </a:lnTo>
                <a:lnTo>
                  <a:pt x="161" y="1147"/>
                </a:lnTo>
                <a:lnTo>
                  <a:pt x="160" y="1149"/>
                </a:lnTo>
                <a:lnTo>
                  <a:pt x="158" y="1152"/>
                </a:lnTo>
                <a:lnTo>
                  <a:pt x="157" y="1153"/>
                </a:lnTo>
                <a:lnTo>
                  <a:pt x="155" y="1154"/>
                </a:lnTo>
                <a:lnTo>
                  <a:pt x="151" y="1155"/>
                </a:lnTo>
                <a:lnTo>
                  <a:pt x="69" y="1155"/>
                </a:lnTo>
                <a:lnTo>
                  <a:pt x="65" y="1154"/>
                </a:lnTo>
                <a:lnTo>
                  <a:pt x="62" y="1152"/>
                </a:lnTo>
                <a:lnTo>
                  <a:pt x="60" y="1150"/>
                </a:lnTo>
                <a:lnTo>
                  <a:pt x="60" y="1149"/>
                </a:lnTo>
                <a:lnTo>
                  <a:pt x="59" y="1147"/>
                </a:lnTo>
                <a:lnTo>
                  <a:pt x="59" y="1145"/>
                </a:lnTo>
                <a:lnTo>
                  <a:pt x="59" y="746"/>
                </a:lnTo>
                <a:lnTo>
                  <a:pt x="59" y="744"/>
                </a:lnTo>
                <a:lnTo>
                  <a:pt x="60" y="742"/>
                </a:lnTo>
                <a:lnTo>
                  <a:pt x="62" y="739"/>
                </a:lnTo>
                <a:lnTo>
                  <a:pt x="63" y="738"/>
                </a:lnTo>
                <a:lnTo>
                  <a:pt x="65" y="737"/>
                </a:lnTo>
                <a:lnTo>
                  <a:pt x="69" y="736"/>
                </a:lnTo>
                <a:lnTo>
                  <a:pt x="151" y="736"/>
                </a:lnTo>
                <a:lnTo>
                  <a:pt x="155" y="737"/>
                </a:lnTo>
                <a:lnTo>
                  <a:pt x="158" y="739"/>
                </a:lnTo>
                <a:lnTo>
                  <a:pt x="159" y="740"/>
                </a:lnTo>
                <a:lnTo>
                  <a:pt x="160" y="742"/>
                </a:lnTo>
                <a:lnTo>
                  <a:pt x="161" y="744"/>
                </a:lnTo>
                <a:lnTo>
                  <a:pt x="161" y="746"/>
                </a:lnTo>
                <a:lnTo>
                  <a:pt x="161" y="921"/>
                </a:lnTo>
                <a:lnTo>
                  <a:pt x="304" y="746"/>
                </a:lnTo>
                <a:lnTo>
                  <a:pt x="308" y="742"/>
                </a:lnTo>
                <a:lnTo>
                  <a:pt x="310" y="740"/>
                </a:lnTo>
                <a:lnTo>
                  <a:pt x="312" y="739"/>
                </a:lnTo>
                <a:lnTo>
                  <a:pt x="314" y="738"/>
                </a:lnTo>
                <a:lnTo>
                  <a:pt x="317" y="737"/>
                </a:lnTo>
                <a:lnTo>
                  <a:pt x="319" y="736"/>
                </a:lnTo>
                <a:lnTo>
                  <a:pt x="322" y="736"/>
                </a:lnTo>
                <a:lnTo>
                  <a:pt x="418" y="736"/>
                </a:lnTo>
                <a:lnTo>
                  <a:pt x="421" y="737"/>
                </a:lnTo>
                <a:lnTo>
                  <a:pt x="423" y="738"/>
                </a:lnTo>
                <a:lnTo>
                  <a:pt x="425" y="739"/>
                </a:lnTo>
                <a:lnTo>
                  <a:pt x="426" y="741"/>
                </a:lnTo>
                <a:lnTo>
                  <a:pt x="426" y="744"/>
                </a:lnTo>
                <a:lnTo>
                  <a:pt x="426" y="746"/>
                </a:lnTo>
                <a:lnTo>
                  <a:pt x="425" y="749"/>
                </a:lnTo>
                <a:lnTo>
                  <a:pt x="424" y="751"/>
                </a:lnTo>
                <a:lnTo>
                  <a:pt x="292" y="912"/>
                </a:lnTo>
                <a:close/>
                <a:moveTo>
                  <a:pt x="1819" y="1010"/>
                </a:moveTo>
                <a:lnTo>
                  <a:pt x="1872" y="1010"/>
                </a:lnTo>
                <a:lnTo>
                  <a:pt x="1845" y="883"/>
                </a:lnTo>
                <a:lnTo>
                  <a:pt x="1819" y="1010"/>
                </a:lnTo>
                <a:close/>
                <a:moveTo>
                  <a:pt x="1887" y="1088"/>
                </a:moveTo>
                <a:lnTo>
                  <a:pt x="1805" y="1088"/>
                </a:lnTo>
                <a:lnTo>
                  <a:pt x="1793" y="1145"/>
                </a:lnTo>
                <a:lnTo>
                  <a:pt x="1792" y="1147"/>
                </a:lnTo>
                <a:lnTo>
                  <a:pt x="1791" y="1149"/>
                </a:lnTo>
                <a:lnTo>
                  <a:pt x="1788" y="1152"/>
                </a:lnTo>
                <a:lnTo>
                  <a:pt x="1787" y="1153"/>
                </a:lnTo>
                <a:lnTo>
                  <a:pt x="1785" y="1154"/>
                </a:lnTo>
                <a:lnTo>
                  <a:pt x="1783" y="1155"/>
                </a:lnTo>
                <a:lnTo>
                  <a:pt x="1781" y="1155"/>
                </a:lnTo>
                <a:lnTo>
                  <a:pt x="1708" y="1155"/>
                </a:lnTo>
                <a:lnTo>
                  <a:pt x="1706" y="1155"/>
                </a:lnTo>
                <a:lnTo>
                  <a:pt x="1704" y="1154"/>
                </a:lnTo>
                <a:lnTo>
                  <a:pt x="1702" y="1153"/>
                </a:lnTo>
                <a:lnTo>
                  <a:pt x="1701" y="1152"/>
                </a:lnTo>
                <a:lnTo>
                  <a:pt x="1700" y="1150"/>
                </a:lnTo>
                <a:lnTo>
                  <a:pt x="1700" y="1147"/>
                </a:lnTo>
                <a:lnTo>
                  <a:pt x="1701" y="1141"/>
                </a:lnTo>
                <a:lnTo>
                  <a:pt x="1793" y="746"/>
                </a:lnTo>
                <a:lnTo>
                  <a:pt x="1793" y="744"/>
                </a:lnTo>
                <a:lnTo>
                  <a:pt x="1794" y="742"/>
                </a:lnTo>
                <a:lnTo>
                  <a:pt x="1797" y="739"/>
                </a:lnTo>
                <a:lnTo>
                  <a:pt x="1799" y="738"/>
                </a:lnTo>
                <a:lnTo>
                  <a:pt x="1801" y="737"/>
                </a:lnTo>
                <a:lnTo>
                  <a:pt x="1806" y="736"/>
                </a:lnTo>
                <a:lnTo>
                  <a:pt x="1887" y="736"/>
                </a:lnTo>
                <a:lnTo>
                  <a:pt x="1889" y="736"/>
                </a:lnTo>
                <a:lnTo>
                  <a:pt x="1892" y="737"/>
                </a:lnTo>
                <a:lnTo>
                  <a:pt x="1896" y="739"/>
                </a:lnTo>
                <a:lnTo>
                  <a:pt x="1898" y="742"/>
                </a:lnTo>
                <a:lnTo>
                  <a:pt x="1899" y="744"/>
                </a:lnTo>
                <a:lnTo>
                  <a:pt x="1900" y="746"/>
                </a:lnTo>
                <a:lnTo>
                  <a:pt x="1992" y="1141"/>
                </a:lnTo>
                <a:lnTo>
                  <a:pt x="1993" y="1147"/>
                </a:lnTo>
                <a:lnTo>
                  <a:pt x="1992" y="1150"/>
                </a:lnTo>
                <a:lnTo>
                  <a:pt x="1992" y="1152"/>
                </a:lnTo>
                <a:lnTo>
                  <a:pt x="1990" y="1153"/>
                </a:lnTo>
                <a:lnTo>
                  <a:pt x="1989" y="1154"/>
                </a:lnTo>
                <a:lnTo>
                  <a:pt x="1984" y="1155"/>
                </a:lnTo>
                <a:lnTo>
                  <a:pt x="1910" y="1155"/>
                </a:lnTo>
                <a:lnTo>
                  <a:pt x="1906" y="1154"/>
                </a:lnTo>
                <a:lnTo>
                  <a:pt x="1902" y="1152"/>
                </a:lnTo>
                <a:lnTo>
                  <a:pt x="1901" y="1151"/>
                </a:lnTo>
                <a:lnTo>
                  <a:pt x="1900" y="1149"/>
                </a:lnTo>
                <a:lnTo>
                  <a:pt x="1899" y="1147"/>
                </a:lnTo>
                <a:lnTo>
                  <a:pt x="1898" y="1145"/>
                </a:lnTo>
                <a:lnTo>
                  <a:pt x="1887" y="1088"/>
                </a:lnTo>
                <a:close/>
                <a:moveTo>
                  <a:pt x="937" y="991"/>
                </a:moveTo>
                <a:lnTo>
                  <a:pt x="937" y="746"/>
                </a:lnTo>
                <a:lnTo>
                  <a:pt x="937" y="744"/>
                </a:lnTo>
                <a:lnTo>
                  <a:pt x="938" y="742"/>
                </a:lnTo>
                <a:lnTo>
                  <a:pt x="940" y="739"/>
                </a:lnTo>
                <a:lnTo>
                  <a:pt x="941" y="738"/>
                </a:lnTo>
                <a:lnTo>
                  <a:pt x="943" y="737"/>
                </a:lnTo>
                <a:lnTo>
                  <a:pt x="947" y="736"/>
                </a:lnTo>
                <a:lnTo>
                  <a:pt x="1029" y="736"/>
                </a:lnTo>
                <a:lnTo>
                  <a:pt x="1033" y="737"/>
                </a:lnTo>
                <a:lnTo>
                  <a:pt x="1037" y="739"/>
                </a:lnTo>
                <a:lnTo>
                  <a:pt x="1038" y="740"/>
                </a:lnTo>
                <a:lnTo>
                  <a:pt x="1039" y="742"/>
                </a:lnTo>
                <a:lnTo>
                  <a:pt x="1039" y="744"/>
                </a:lnTo>
                <a:lnTo>
                  <a:pt x="1039" y="746"/>
                </a:lnTo>
                <a:lnTo>
                  <a:pt x="1039" y="986"/>
                </a:lnTo>
                <a:lnTo>
                  <a:pt x="1040" y="996"/>
                </a:lnTo>
                <a:lnTo>
                  <a:pt x="1041" y="1005"/>
                </a:lnTo>
                <a:lnTo>
                  <a:pt x="1042" y="1014"/>
                </a:lnTo>
                <a:lnTo>
                  <a:pt x="1044" y="1022"/>
                </a:lnTo>
                <a:lnTo>
                  <a:pt x="1047" y="1030"/>
                </a:lnTo>
                <a:lnTo>
                  <a:pt x="1050" y="1037"/>
                </a:lnTo>
                <a:lnTo>
                  <a:pt x="1054" y="1043"/>
                </a:lnTo>
                <a:lnTo>
                  <a:pt x="1058" y="1049"/>
                </a:lnTo>
                <a:lnTo>
                  <a:pt x="1063" y="1054"/>
                </a:lnTo>
                <a:lnTo>
                  <a:pt x="1068" y="1058"/>
                </a:lnTo>
                <a:lnTo>
                  <a:pt x="1074" y="1062"/>
                </a:lnTo>
                <a:lnTo>
                  <a:pt x="1077" y="1063"/>
                </a:lnTo>
                <a:lnTo>
                  <a:pt x="1080" y="1065"/>
                </a:lnTo>
                <a:lnTo>
                  <a:pt x="1087" y="1067"/>
                </a:lnTo>
                <a:lnTo>
                  <a:pt x="1094" y="1069"/>
                </a:lnTo>
                <a:lnTo>
                  <a:pt x="1102" y="1070"/>
                </a:lnTo>
                <a:lnTo>
                  <a:pt x="1110" y="1070"/>
                </a:lnTo>
                <a:lnTo>
                  <a:pt x="1118" y="1070"/>
                </a:lnTo>
                <a:lnTo>
                  <a:pt x="1126" y="1069"/>
                </a:lnTo>
                <a:lnTo>
                  <a:pt x="1133" y="1067"/>
                </a:lnTo>
                <a:lnTo>
                  <a:pt x="1140" y="1065"/>
                </a:lnTo>
                <a:lnTo>
                  <a:pt x="1146" y="1062"/>
                </a:lnTo>
                <a:lnTo>
                  <a:pt x="1149" y="1060"/>
                </a:lnTo>
                <a:lnTo>
                  <a:pt x="1152" y="1058"/>
                </a:lnTo>
                <a:lnTo>
                  <a:pt x="1157" y="1054"/>
                </a:lnTo>
                <a:lnTo>
                  <a:pt x="1162" y="1049"/>
                </a:lnTo>
                <a:lnTo>
                  <a:pt x="1166" y="1043"/>
                </a:lnTo>
                <a:lnTo>
                  <a:pt x="1170" y="1037"/>
                </a:lnTo>
                <a:lnTo>
                  <a:pt x="1173" y="1030"/>
                </a:lnTo>
                <a:lnTo>
                  <a:pt x="1176" y="1022"/>
                </a:lnTo>
                <a:lnTo>
                  <a:pt x="1178" y="1014"/>
                </a:lnTo>
                <a:lnTo>
                  <a:pt x="1180" y="1005"/>
                </a:lnTo>
                <a:lnTo>
                  <a:pt x="1180" y="996"/>
                </a:lnTo>
                <a:lnTo>
                  <a:pt x="1181" y="986"/>
                </a:lnTo>
                <a:lnTo>
                  <a:pt x="1181" y="746"/>
                </a:lnTo>
                <a:lnTo>
                  <a:pt x="1181" y="744"/>
                </a:lnTo>
                <a:lnTo>
                  <a:pt x="1182" y="742"/>
                </a:lnTo>
                <a:lnTo>
                  <a:pt x="1184" y="739"/>
                </a:lnTo>
                <a:lnTo>
                  <a:pt x="1185" y="738"/>
                </a:lnTo>
                <a:lnTo>
                  <a:pt x="1187" y="737"/>
                </a:lnTo>
                <a:lnTo>
                  <a:pt x="1191" y="736"/>
                </a:lnTo>
                <a:lnTo>
                  <a:pt x="1273" y="736"/>
                </a:lnTo>
                <a:lnTo>
                  <a:pt x="1277" y="737"/>
                </a:lnTo>
                <a:lnTo>
                  <a:pt x="1280" y="739"/>
                </a:lnTo>
                <a:lnTo>
                  <a:pt x="1281" y="740"/>
                </a:lnTo>
                <a:lnTo>
                  <a:pt x="1282" y="742"/>
                </a:lnTo>
                <a:lnTo>
                  <a:pt x="1283" y="744"/>
                </a:lnTo>
                <a:lnTo>
                  <a:pt x="1283" y="746"/>
                </a:lnTo>
                <a:lnTo>
                  <a:pt x="1283" y="991"/>
                </a:lnTo>
                <a:lnTo>
                  <a:pt x="1283" y="1002"/>
                </a:lnTo>
                <a:lnTo>
                  <a:pt x="1283" y="1007"/>
                </a:lnTo>
                <a:lnTo>
                  <a:pt x="1282" y="1013"/>
                </a:lnTo>
                <a:lnTo>
                  <a:pt x="1281" y="1023"/>
                </a:lnTo>
                <a:lnTo>
                  <a:pt x="1280" y="1033"/>
                </a:lnTo>
                <a:lnTo>
                  <a:pt x="1278" y="1042"/>
                </a:lnTo>
                <a:lnTo>
                  <a:pt x="1275" y="1051"/>
                </a:lnTo>
                <a:lnTo>
                  <a:pt x="1273" y="1060"/>
                </a:lnTo>
                <a:lnTo>
                  <a:pt x="1270" y="1068"/>
                </a:lnTo>
                <a:lnTo>
                  <a:pt x="1266" y="1076"/>
                </a:lnTo>
                <a:lnTo>
                  <a:pt x="1262" y="1084"/>
                </a:lnTo>
                <a:lnTo>
                  <a:pt x="1254" y="1098"/>
                </a:lnTo>
                <a:lnTo>
                  <a:pt x="1249" y="1104"/>
                </a:lnTo>
                <a:lnTo>
                  <a:pt x="1244" y="1110"/>
                </a:lnTo>
                <a:lnTo>
                  <a:pt x="1239" y="1116"/>
                </a:lnTo>
                <a:lnTo>
                  <a:pt x="1233" y="1121"/>
                </a:lnTo>
                <a:lnTo>
                  <a:pt x="1227" y="1126"/>
                </a:lnTo>
                <a:lnTo>
                  <a:pt x="1221" y="1131"/>
                </a:lnTo>
                <a:lnTo>
                  <a:pt x="1214" y="1135"/>
                </a:lnTo>
                <a:lnTo>
                  <a:pt x="1207" y="1139"/>
                </a:lnTo>
                <a:lnTo>
                  <a:pt x="1200" y="1143"/>
                </a:lnTo>
                <a:lnTo>
                  <a:pt x="1193" y="1146"/>
                </a:lnTo>
                <a:lnTo>
                  <a:pt x="1178" y="1152"/>
                </a:lnTo>
                <a:lnTo>
                  <a:pt x="1170" y="1154"/>
                </a:lnTo>
                <a:lnTo>
                  <a:pt x="1162" y="1156"/>
                </a:lnTo>
                <a:lnTo>
                  <a:pt x="1154" y="1158"/>
                </a:lnTo>
                <a:lnTo>
                  <a:pt x="1145" y="1159"/>
                </a:lnTo>
                <a:lnTo>
                  <a:pt x="1137" y="1160"/>
                </a:lnTo>
                <a:lnTo>
                  <a:pt x="1128" y="1161"/>
                </a:lnTo>
                <a:lnTo>
                  <a:pt x="1119" y="1162"/>
                </a:lnTo>
                <a:lnTo>
                  <a:pt x="1110" y="1162"/>
                </a:lnTo>
                <a:lnTo>
                  <a:pt x="1092" y="1161"/>
                </a:lnTo>
                <a:lnTo>
                  <a:pt x="1075" y="1159"/>
                </a:lnTo>
                <a:lnTo>
                  <a:pt x="1066" y="1158"/>
                </a:lnTo>
                <a:lnTo>
                  <a:pt x="1058" y="1156"/>
                </a:lnTo>
                <a:lnTo>
                  <a:pt x="1042" y="1152"/>
                </a:lnTo>
                <a:lnTo>
                  <a:pt x="1035" y="1149"/>
                </a:lnTo>
                <a:lnTo>
                  <a:pt x="1027" y="1146"/>
                </a:lnTo>
                <a:lnTo>
                  <a:pt x="1020" y="1143"/>
                </a:lnTo>
                <a:lnTo>
                  <a:pt x="1013" y="1139"/>
                </a:lnTo>
                <a:lnTo>
                  <a:pt x="1006" y="1135"/>
                </a:lnTo>
                <a:lnTo>
                  <a:pt x="1000" y="1131"/>
                </a:lnTo>
                <a:lnTo>
                  <a:pt x="993" y="1126"/>
                </a:lnTo>
                <a:lnTo>
                  <a:pt x="987" y="1121"/>
                </a:lnTo>
                <a:lnTo>
                  <a:pt x="982" y="1116"/>
                </a:lnTo>
                <a:lnTo>
                  <a:pt x="976" y="1110"/>
                </a:lnTo>
                <a:lnTo>
                  <a:pt x="966" y="1098"/>
                </a:lnTo>
                <a:lnTo>
                  <a:pt x="962" y="1091"/>
                </a:lnTo>
                <a:lnTo>
                  <a:pt x="958" y="1084"/>
                </a:lnTo>
                <a:lnTo>
                  <a:pt x="954" y="1076"/>
                </a:lnTo>
                <a:lnTo>
                  <a:pt x="951" y="1068"/>
                </a:lnTo>
                <a:lnTo>
                  <a:pt x="948" y="1060"/>
                </a:lnTo>
                <a:lnTo>
                  <a:pt x="945" y="1051"/>
                </a:lnTo>
                <a:lnTo>
                  <a:pt x="943" y="1042"/>
                </a:lnTo>
                <a:lnTo>
                  <a:pt x="941" y="1033"/>
                </a:lnTo>
                <a:lnTo>
                  <a:pt x="939" y="1023"/>
                </a:lnTo>
                <a:lnTo>
                  <a:pt x="938" y="1013"/>
                </a:lnTo>
                <a:lnTo>
                  <a:pt x="937" y="1002"/>
                </a:lnTo>
                <a:lnTo>
                  <a:pt x="937" y="991"/>
                </a:lnTo>
                <a:close/>
                <a:moveTo>
                  <a:pt x="1479" y="824"/>
                </a:moveTo>
                <a:lnTo>
                  <a:pt x="1479" y="934"/>
                </a:lnTo>
                <a:lnTo>
                  <a:pt x="1514" y="934"/>
                </a:lnTo>
                <a:lnTo>
                  <a:pt x="1520" y="933"/>
                </a:lnTo>
                <a:lnTo>
                  <a:pt x="1526" y="933"/>
                </a:lnTo>
                <a:lnTo>
                  <a:pt x="1532" y="932"/>
                </a:lnTo>
                <a:lnTo>
                  <a:pt x="1538" y="930"/>
                </a:lnTo>
                <a:lnTo>
                  <a:pt x="1543" y="928"/>
                </a:lnTo>
                <a:lnTo>
                  <a:pt x="1547" y="926"/>
                </a:lnTo>
                <a:lnTo>
                  <a:pt x="1551" y="923"/>
                </a:lnTo>
                <a:lnTo>
                  <a:pt x="1555" y="919"/>
                </a:lnTo>
                <a:lnTo>
                  <a:pt x="1559" y="916"/>
                </a:lnTo>
                <a:lnTo>
                  <a:pt x="1562" y="912"/>
                </a:lnTo>
                <a:lnTo>
                  <a:pt x="1564" y="907"/>
                </a:lnTo>
                <a:lnTo>
                  <a:pt x="1566" y="902"/>
                </a:lnTo>
                <a:lnTo>
                  <a:pt x="1568" y="897"/>
                </a:lnTo>
                <a:lnTo>
                  <a:pt x="1569" y="891"/>
                </a:lnTo>
                <a:lnTo>
                  <a:pt x="1570" y="885"/>
                </a:lnTo>
                <a:lnTo>
                  <a:pt x="1570" y="879"/>
                </a:lnTo>
                <a:lnTo>
                  <a:pt x="1570" y="872"/>
                </a:lnTo>
                <a:lnTo>
                  <a:pt x="1569" y="866"/>
                </a:lnTo>
                <a:lnTo>
                  <a:pt x="1568" y="861"/>
                </a:lnTo>
                <a:lnTo>
                  <a:pt x="1566" y="855"/>
                </a:lnTo>
                <a:lnTo>
                  <a:pt x="1564" y="850"/>
                </a:lnTo>
                <a:lnTo>
                  <a:pt x="1562" y="846"/>
                </a:lnTo>
                <a:lnTo>
                  <a:pt x="1559" y="842"/>
                </a:lnTo>
                <a:lnTo>
                  <a:pt x="1555" y="838"/>
                </a:lnTo>
                <a:lnTo>
                  <a:pt x="1551" y="835"/>
                </a:lnTo>
                <a:lnTo>
                  <a:pt x="1547" y="832"/>
                </a:lnTo>
                <a:lnTo>
                  <a:pt x="1543" y="829"/>
                </a:lnTo>
                <a:lnTo>
                  <a:pt x="1538" y="827"/>
                </a:lnTo>
                <a:lnTo>
                  <a:pt x="1535" y="826"/>
                </a:lnTo>
                <a:lnTo>
                  <a:pt x="1532" y="826"/>
                </a:lnTo>
                <a:lnTo>
                  <a:pt x="1526" y="825"/>
                </a:lnTo>
                <a:lnTo>
                  <a:pt x="1520" y="824"/>
                </a:lnTo>
                <a:lnTo>
                  <a:pt x="1514" y="824"/>
                </a:lnTo>
                <a:lnTo>
                  <a:pt x="1479" y="824"/>
                </a:lnTo>
                <a:close/>
                <a:moveTo>
                  <a:pt x="1514" y="736"/>
                </a:moveTo>
                <a:lnTo>
                  <a:pt x="1532" y="737"/>
                </a:lnTo>
                <a:lnTo>
                  <a:pt x="1549" y="738"/>
                </a:lnTo>
                <a:lnTo>
                  <a:pt x="1557" y="740"/>
                </a:lnTo>
                <a:lnTo>
                  <a:pt x="1565" y="741"/>
                </a:lnTo>
                <a:lnTo>
                  <a:pt x="1580" y="745"/>
                </a:lnTo>
                <a:lnTo>
                  <a:pt x="1588" y="748"/>
                </a:lnTo>
                <a:lnTo>
                  <a:pt x="1595" y="750"/>
                </a:lnTo>
                <a:lnTo>
                  <a:pt x="1608" y="757"/>
                </a:lnTo>
                <a:lnTo>
                  <a:pt x="1620" y="764"/>
                </a:lnTo>
                <a:lnTo>
                  <a:pt x="1626" y="768"/>
                </a:lnTo>
                <a:lnTo>
                  <a:pt x="1631" y="773"/>
                </a:lnTo>
                <a:lnTo>
                  <a:pt x="1637" y="777"/>
                </a:lnTo>
                <a:lnTo>
                  <a:pt x="1641" y="782"/>
                </a:lnTo>
                <a:lnTo>
                  <a:pt x="1646" y="787"/>
                </a:lnTo>
                <a:lnTo>
                  <a:pt x="1650" y="793"/>
                </a:lnTo>
                <a:lnTo>
                  <a:pt x="1654" y="798"/>
                </a:lnTo>
                <a:lnTo>
                  <a:pt x="1658" y="804"/>
                </a:lnTo>
                <a:lnTo>
                  <a:pt x="1661" y="811"/>
                </a:lnTo>
                <a:lnTo>
                  <a:pt x="1664" y="817"/>
                </a:lnTo>
                <a:lnTo>
                  <a:pt x="1667" y="824"/>
                </a:lnTo>
                <a:lnTo>
                  <a:pt x="1669" y="831"/>
                </a:lnTo>
                <a:lnTo>
                  <a:pt x="1671" y="838"/>
                </a:lnTo>
                <a:lnTo>
                  <a:pt x="1673" y="846"/>
                </a:lnTo>
                <a:lnTo>
                  <a:pt x="1674" y="854"/>
                </a:lnTo>
                <a:lnTo>
                  <a:pt x="1675" y="862"/>
                </a:lnTo>
                <a:lnTo>
                  <a:pt x="1676" y="870"/>
                </a:lnTo>
                <a:lnTo>
                  <a:pt x="1676" y="879"/>
                </a:lnTo>
                <a:lnTo>
                  <a:pt x="1676" y="887"/>
                </a:lnTo>
                <a:lnTo>
                  <a:pt x="1675" y="896"/>
                </a:lnTo>
                <a:lnTo>
                  <a:pt x="1674" y="904"/>
                </a:lnTo>
                <a:lnTo>
                  <a:pt x="1673" y="911"/>
                </a:lnTo>
                <a:lnTo>
                  <a:pt x="1669" y="926"/>
                </a:lnTo>
                <a:lnTo>
                  <a:pt x="1667" y="933"/>
                </a:lnTo>
                <a:lnTo>
                  <a:pt x="1664" y="940"/>
                </a:lnTo>
                <a:lnTo>
                  <a:pt x="1658" y="953"/>
                </a:lnTo>
                <a:lnTo>
                  <a:pt x="1654" y="959"/>
                </a:lnTo>
                <a:lnTo>
                  <a:pt x="1650" y="965"/>
                </a:lnTo>
                <a:lnTo>
                  <a:pt x="1642" y="975"/>
                </a:lnTo>
                <a:lnTo>
                  <a:pt x="1632" y="985"/>
                </a:lnTo>
                <a:lnTo>
                  <a:pt x="1626" y="989"/>
                </a:lnTo>
                <a:lnTo>
                  <a:pt x="1620" y="993"/>
                </a:lnTo>
                <a:lnTo>
                  <a:pt x="1614" y="997"/>
                </a:lnTo>
                <a:lnTo>
                  <a:pt x="1608" y="1001"/>
                </a:lnTo>
                <a:lnTo>
                  <a:pt x="1595" y="1007"/>
                </a:lnTo>
                <a:lnTo>
                  <a:pt x="1588" y="1009"/>
                </a:lnTo>
                <a:lnTo>
                  <a:pt x="1580" y="1012"/>
                </a:lnTo>
                <a:lnTo>
                  <a:pt x="1565" y="1016"/>
                </a:lnTo>
                <a:lnTo>
                  <a:pt x="1557" y="1018"/>
                </a:lnTo>
                <a:lnTo>
                  <a:pt x="1549" y="1019"/>
                </a:lnTo>
                <a:lnTo>
                  <a:pt x="1532" y="1021"/>
                </a:lnTo>
                <a:lnTo>
                  <a:pt x="1523" y="1021"/>
                </a:lnTo>
                <a:lnTo>
                  <a:pt x="1514" y="1021"/>
                </a:lnTo>
                <a:lnTo>
                  <a:pt x="1479" y="1021"/>
                </a:lnTo>
                <a:lnTo>
                  <a:pt x="1479" y="1145"/>
                </a:lnTo>
                <a:lnTo>
                  <a:pt x="1479" y="1147"/>
                </a:lnTo>
                <a:lnTo>
                  <a:pt x="1479" y="1149"/>
                </a:lnTo>
                <a:lnTo>
                  <a:pt x="1477" y="1152"/>
                </a:lnTo>
                <a:lnTo>
                  <a:pt x="1475" y="1153"/>
                </a:lnTo>
                <a:lnTo>
                  <a:pt x="1473" y="1154"/>
                </a:lnTo>
                <a:lnTo>
                  <a:pt x="1469" y="1155"/>
                </a:lnTo>
                <a:lnTo>
                  <a:pt x="1387" y="1155"/>
                </a:lnTo>
                <a:lnTo>
                  <a:pt x="1383" y="1154"/>
                </a:lnTo>
                <a:lnTo>
                  <a:pt x="1380" y="1152"/>
                </a:lnTo>
                <a:lnTo>
                  <a:pt x="1379" y="1150"/>
                </a:lnTo>
                <a:lnTo>
                  <a:pt x="1378" y="1149"/>
                </a:lnTo>
                <a:lnTo>
                  <a:pt x="1377" y="1147"/>
                </a:lnTo>
                <a:lnTo>
                  <a:pt x="1377" y="1145"/>
                </a:lnTo>
                <a:lnTo>
                  <a:pt x="1377" y="746"/>
                </a:lnTo>
                <a:lnTo>
                  <a:pt x="1377" y="744"/>
                </a:lnTo>
                <a:lnTo>
                  <a:pt x="1378" y="742"/>
                </a:lnTo>
                <a:lnTo>
                  <a:pt x="1380" y="739"/>
                </a:lnTo>
                <a:lnTo>
                  <a:pt x="1381" y="738"/>
                </a:lnTo>
                <a:lnTo>
                  <a:pt x="1383" y="737"/>
                </a:lnTo>
                <a:lnTo>
                  <a:pt x="1387" y="736"/>
                </a:lnTo>
                <a:lnTo>
                  <a:pt x="1514" y="736"/>
                </a:lnTo>
                <a:close/>
                <a:moveTo>
                  <a:pt x="2767" y="1006"/>
                </a:moveTo>
                <a:lnTo>
                  <a:pt x="2866" y="1006"/>
                </a:lnTo>
                <a:lnTo>
                  <a:pt x="2817" y="875"/>
                </a:lnTo>
                <a:lnTo>
                  <a:pt x="2767" y="1006"/>
                </a:lnTo>
                <a:close/>
                <a:moveTo>
                  <a:pt x="2897" y="1088"/>
                </a:moveTo>
                <a:lnTo>
                  <a:pt x="2737" y="1088"/>
                </a:lnTo>
                <a:lnTo>
                  <a:pt x="2715" y="1145"/>
                </a:lnTo>
                <a:lnTo>
                  <a:pt x="2714" y="1148"/>
                </a:lnTo>
                <a:lnTo>
                  <a:pt x="2713" y="1150"/>
                </a:lnTo>
                <a:lnTo>
                  <a:pt x="2711" y="1151"/>
                </a:lnTo>
                <a:lnTo>
                  <a:pt x="2710" y="1153"/>
                </a:lnTo>
                <a:lnTo>
                  <a:pt x="2706" y="1154"/>
                </a:lnTo>
                <a:lnTo>
                  <a:pt x="2701" y="1155"/>
                </a:lnTo>
                <a:lnTo>
                  <a:pt x="2623" y="1155"/>
                </a:lnTo>
                <a:lnTo>
                  <a:pt x="2620" y="1155"/>
                </a:lnTo>
                <a:lnTo>
                  <a:pt x="2618" y="1154"/>
                </a:lnTo>
                <a:lnTo>
                  <a:pt x="2616" y="1153"/>
                </a:lnTo>
                <a:lnTo>
                  <a:pt x="2614" y="1151"/>
                </a:lnTo>
                <a:lnTo>
                  <a:pt x="2613" y="1149"/>
                </a:lnTo>
                <a:lnTo>
                  <a:pt x="2613" y="1147"/>
                </a:lnTo>
                <a:lnTo>
                  <a:pt x="2613" y="1144"/>
                </a:lnTo>
                <a:lnTo>
                  <a:pt x="2614" y="1141"/>
                </a:lnTo>
                <a:lnTo>
                  <a:pt x="2769" y="746"/>
                </a:lnTo>
                <a:lnTo>
                  <a:pt x="2770" y="743"/>
                </a:lnTo>
                <a:lnTo>
                  <a:pt x="2772" y="741"/>
                </a:lnTo>
                <a:lnTo>
                  <a:pt x="2775" y="738"/>
                </a:lnTo>
                <a:lnTo>
                  <a:pt x="2779" y="737"/>
                </a:lnTo>
                <a:lnTo>
                  <a:pt x="2781" y="736"/>
                </a:lnTo>
                <a:lnTo>
                  <a:pt x="2783" y="736"/>
                </a:lnTo>
                <a:lnTo>
                  <a:pt x="2853" y="736"/>
                </a:lnTo>
                <a:lnTo>
                  <a:pt x="2858" y="737"/>
                </a:lnTo>
                <a:lnTo>
                  <a:pt x="2861" y="738"/>
                </a:lnTo>
                <a:lnTo>
                  <a:pt x="2864" y="741"/>
                </a:lnTo>
                <a:lnTo>
                  <a:pt x="2865" y="743"/>
                </a:lnTo>
                <a:lnTo>
                  <a:pt x="2866" y="746"/>
                </a:lnTo>
                <a:lnTo>
                  <a:pt x="3022" y="1141"/>
                </a:lnTo>
                <a:lnTo>
                  <a:pt x="3023" y="1144"/>
                </a:lnTo>
                <a:lnTo>
                  <a:pt x="3023" y="1147"/>
                </a:lnTo>
                <a:lnTo>
                  <a:pt x="3023" y="1149"/>
                </a:lnTo>
                <a:lnTo>
                  <a:pt x="3021" y="1151"/>
                </a:lnTo>
                <a:lnTo>
                  <a:pt x="3020" y="1153"/>
                </a:lnTo>
                <a:lnTo>
                  <a:pt x="3018" y="1154"/>
                </a:lnTo>
                <a:lnTo>
                  <a:pt x="3016" y="1155"/>
                </a:lnTo>
                <a:lnTo>
                  <a:pt x="3013" y="1155"/>
                </a:lnTo>
                <a:lnTo>
                  <a:pt x="2933" y="1155"/>
                </a:lnTo>
                <a:lnTo>
                  <a:pt x="2928" y="1154"/>
                </a:lnTo>
                <a:lnTo>
                  <a:pt x="2926" y="1154"/>
                </a:lnTo>
                <a:lnTo>
                  <a:pt x="2925" y="1153"/>
                </a:lnTo>
                <a:lnTo>
                  <a:pt x="2923" y="1151"/>
                </a:lnTo>
                <a:lnTo>
                  <a:pt x="2921" y="1150"/>
                </a:lnTo>
                <a:lnTo>
                  <a:pt x="2920" y="1148"/>
                </a:lnTo>
                <a:lnTo>
                  <a:pt x="2919" y="1145"/>
                </a:lnTo>
                <a:lnTo>
                  <a:pt x="2897" y="1088"/>
                </a:lnTo>
                <a:close/>
                <a:moveTo>
                  <a:pt x="696" y="2625"/>
                </a:moveTo>
                <a:lnTo>
                  <a:pt x="614" y="2625"/>
                </a:lnTo>
                <a:lnTo>
                  <a:pt x="610" y="2624"/>
                </a:lnTo>
                <a:lnTo>
                  <a:pt x="607" y="2622"/>
                </a:lnTo>
                <a:lnTo>
                  <a:pt x="605" y="2621"/>
                </a:lnTo>
                <a:lnTo>
                  <a:pt x="605" y="2619"/>
                </a:lnTo>
                <a:lnTo>
                  <a:pt x="604" y="2617"/>
                </a:lnTo>
                <a:lnTo>
                  <a:pt x="604" y="2615"/>
                </a:lnTo>
                <a:lnTo>
                  <a:pt x="604" y="2217"/>
                </a:lnTo>
                <a:lnTo>
                  <a:pt x="604" y="2214"/>
                </a:lnTo>
                <a:lnTo>
                  <a:pt x="605" y="2212"/>
                </a:lnTo>
                <a:lnTo>
                  <a:pt x="607" y="2209"/>
                </a:lnTo>
                <a:lnTo>
                  <a:pt x="608" y="2208"/>
                </a:lnTo>
                <a:lnTo>
                  <a:pt x="610" y="2207"/>
                </a:lnTo>
                <a:lnTo>
                  <a:pt x="614" y="2207"/>
                </a:lnTo>
                <a:lnTo>
                  <a:pt x="696" y="2207"/>
                </a:lnTo>
                <a:lnTo>
                  <a:pt x="700" y="2207"/>
                </a:lnTo>
                <a:lnTo>
                  <a:pt x="703" y="2209"/>
                </a:lnTo>
                <a:lnTo>
                  <a:pt x="704" y="2211"/>
                </a:lnTo>
                <a:lnTo>
                  <a:pt x="705" y="2212"/>
                </a:lnTo>
                <a:lnTo>
                  <a:pt x="706" y="2214"/>
                </a:lnTo>
                <a:lnTo>
                  <a:pt x="706" y="2217"/>
                </a:lnTo>
                <a:lnTo>
                  <a:pt x="706" y="2392"/>
                </a:lnTo>
                <a:lnTo>
                  <a:pt x="850" y="2216"/>
                </a:lnTo>
                <a:lnTo>
                  <a:pt x="854" y="2212"/>
                </a:lnTo>
                <a:lnTo>
                  <a:pt x="856" y="2210"/>
                </a:lnTo>
                <a:lnTo>
                  <a:pt x="858" y="2209"/>
                </a:lnTo>
                <a:lnTo>
                  <a:pt x="860" y="2208"/>
                </a:lnTo>
                <a:lnTo>
                  <a:pt x="863" y="2207"/>
                </a:lnTo>
                <a:lnTo>
                  <a:pt x="865" y="2207"/>
                </a:lnTo>
                <a:lnTo>
                  <a:pt x="868" y="2207"/>
                </a:lnTo>
                <a:lnTo>
                  <a:pt x="964" y="2207"/>
                </a:lnTo>
                <a:lnTo>
                  <a:pt x="967" y="2207"/>
                </a:lnTo>
                <a:lnTo>
                  <a:pt x="969" y="2208"/>
                </a:lnTo>
                <a:lnTo>
                  <a:pt x="971" y="2210"/>
                </a:lnTo>
                <a:lnTo>
                  <a:pt x="972" y="2212"/>
                </a:lnTo>
                <a:lnTo>
                  <a:pt x="972" y="2214"/>
                </a:lnTo>
                <a:lnTo>
                  <a:pt x="972" y="2216"/>
                </a:lnTo>
                <a:lnTo>
                  <a:pt x="971" y="2219"/>
                </a:lnTo>
                <a:lnTo>
                  <a:pt x="970" y="2221"/>
                </a:lnTo>
                <a:lnTo>
                  <a:pt x="838" y="2382"/>
                </a:lnTo>
                <a:lnTo>
                  <a:pt x="974" y="2612"/>
                </a:lnTo>
                <a:lnTo>
                  <a:pt x="975" y="2614"/>
                </a:lnTo>
                <a:lnTo>
                  <a:pt x="975" y="2617"/>
                </a:lnTo>
                <a:lnTo>
                  <a:pt x="975" y="2619"/>
                </a:lnTo>
                <a:lnTo>
                  <a:pt x="975" y="2621"/>
                </a:lnTo>
                <a:lnTo>
                  <a:pt x="974" y="2623"/>
                </a:lnTo>
                <a:lnTo>
                  <a:pt x="972" y="2624"/>
                </a:lnTo>
                <a:lnTo>
                  <a:pt x="970" y="2625"/>
                </a:lnTo>
                <a:lnTo>
                  <a:pt x="967" y="2625"/>
                </a:lnTo>
                <a:lnTo>
                  <a:pt x="871" y="2625"/>
                </a:lnTo>
                <a:lnTo>
                  <a:pt x="867" y="2625"/>
                </a:lnTo>
                <a:lnTo>
                  <a:pt x="862" y="2623"/>
                </a:lnTo>
                <a:lnTo>
                  <a:pt x="861" y="2622"/>
                </a:lnTo>
                <a:lnTo>
                  <a:pt x="859" y="2620"/>
                </a:lnTo>
                <a:lnTo>
                  <a:pt x="856" y="2616"/>
                </a:lnTo>
                <a:lnTo>
                  <a:pt x="759" y="2450"/>
                </a:lnTo>
                <a:lnTo>
                  <a:pt x="706" y="2514"/>
                </a:lnTo>
                <a:lnTo>
                  <a:pt x="706" y="2615"/>
                </a:lnTo>
                <a:lnTo>
                  <a:pt x="706" y="2617"/>
                </a:lnTo>
                <a:lnTo>
                  <a:pt x="705" y="2619"/>
                </a:lnTo>
                <a:lnTo>
                  <a:pt x="703" y="2622"/>
                </a:lnTo>
                <a:lnTo>
                  <a:pt x="702" y="2624"/>
                </a:lnTo>
                <a:lnTo>
                  <a:pt x="700" y="2624"/>
                </a:lnTo>
                <a:lnTo>
                  <a:pt x="696" y="2625"/>
                </a:lnTo>
                <a:close/>
                <a:moveTo>
                  <a:pt x="1288" y="2177"/>
                </a:moveTo>
                <a:lnTo>
                  <a:pt x="1283" y="2177"/>
                </a:lnTo>
                <a:lnTo>
                  <a:pt x="1278" y="2176"/>
                </a:lnTo>
                <a:lnTo>
                  <a:pt x="1273" y="2175"/>
                </a:lnTo>
                <a:lnTo>
                  <a:pt x="1268" y="2173"/>
                </a:lnTo>
                <a:lnTo>
                  <a:pt x="1260" y="2169"/>
                </a:lnTo>
                <a:lnTo>
                  <a:pt x="1256" y="2166"/>
                </a:lnTo>
                <a:lnTo>
                  <a:pt x="1253" y="2163"/>
                </a:lnTo>
                <a:lnTo>
                  <a:pt x="1249" y="2160"/>
                </a:lnTo>
                <a:lnTo>
                  <a:pt x="1247" y="2156"/>
                </a:lnTo>
                <a:lnTo>
                  <a:pt x="1244" y="2152"/>
                </a:lnTo>
                <a:lnTo>
                  <a:pt x="1242" y="2148"/>
                </a:lnTo>
                <a:lnTo>
                  <a:pt x="1241" y="2143"/>
                </a:lnTo>
                <a:lnTo>
                  <a:pt x="1240" y="2138"/>
                </a:lnTo>
                <a:lnTo>
                  <a:pt x="1239" y="2133"/>
                </a:lnTo>
                <a:lnTo>
                  <a:pt x="1239" y="2128"/>
                </a:lnTo>
                <a:lnTo>
                  <a:pt x="1239" y="2123"/>
                </a:lnTo>
                <a:lnTo>
                  <a:pt x="1240" y="2118"/>
                </a:lnTo>
                <a:lnTo>
                  <a:pt x="1241" y="2113"/>
                </a:lnTo>
                <a:lnTo>
                  <a:pt x="1242" y="2108"/>
                </a:lnTo>
                <a:lnTo>
                  <a:pt x="1244" y="2104"/>
                </a:lnTo>
                <a:lnTo>
                  <a:pt x="1247" y="2100"/>
                </a:lnTo>
                <a:lnTo>
                  <a:pt x="1249" y="2096"/>
                </a:lnTo>
                <a:lnTo>
                  <a:pt x="1253" y="2093"/>
                </a:lnTo>
                <a:lnTo>
                  <a:pt x="1256" y="2090"/>
                </a:lnTo>
                <a:lnTo>
                  <a:pt x="1260" y="2087"/>
                </a:lnTo>
                <a:lnTo>
                  <a:pt x="1264" y="2084"/>
                </a:lnTo>
                <a:lnTo>
                  <a:pt x="1268" y="2082"/>
                </a:lnTo>
                <a:lnTo>
                  <a:pt x="1273" y="2081"/>
                </a:lnTo>
                <a:lnTo>
                  <a:pt x="1278" y="2080"/>
                </a:lnTo>
                <a:lnTo>
                  <a:pt x="1283" y="2079"/>
                </a:lnTo>
                <a:lnTo>
                  <a:pt x="1288" y="2079"/>
                </a:lnTo>
                <a:lnTo>
                  <a:pt x="1294" y="2079"/>
                </a:lnTo>
                <a:lnTo>
                  <a:pt x="1299" y="2080"/>
                </a:lnTo>
                <a:lnTo>
                  <a:pt x="1304" y="2081"/>
                </a:lnTo>
                <a:lnTo>
                  <a:pt x="1308" y="2082"/>
                </a:lnTo>
                <a:lnTo>
                  <a:pt x="1317" y="2087"/>
                </a:lnTo>
                <a:lnTo>
                  <a:pt x="1320" y="2090"/>
                </a:lnTo>
                <a:lnTo>
                  <a:pt x="1324" y="2093"/>
                </a:lnTo>
                <a:lnTo>
                  <a:pt x="1327" y="2096"/>
                </a:lnTo>
                <a:lnTo>
                  <a:pt x="1330" y="2100"/>
                </a:lnTo>
                <a:lnTo>
                  <a:pt x="1332" y="2104"/>
                </a:lnTo>
                <a:lnTo>
                  <a:pt x="1334" y="2108"/>
                </a:lnTo>
                <a:lnTo>
                  <a:pt x="1336" y="2113"/>
                </a:lnTo>
                <a:lnTo>
                  <a:pt x="1337" y="2118"/>
                </a:lnTo>
                <a:lnTo>
                  <a:pt x="1338" y="2123"/>
                </a:lnTo>
                <a:lnTo>
                  <a:pt x="1338" y="2128"/>
                </a:lnTo>
                <a:lnTo>
                  <a:pt x="1338" y="2133"/>
                </a:lnTo>
                <a:lnTo>
                  <a:pt x="1337" y="2138"/>
                </a:lnTo>
                <a:lnTo>
                  <a:pt x="1336" y="2143"/>
                </a:lnTo>
                <a:lnTo>
                  <a:pt x="1334" y="2148"/>
                </a:lnTo>
                <a:lnTo>
                  <a:pt x="1332" y="2152"/>
                </a:lnTo>
                <a:lnTo>
                  <a:pt x="1330" y="2156"/>
                </a:lnTo>
                <a:lnTo>
                  <a:pt x="1327" y="2160"/>
                </a:lnTo>
                <a:lnTo>
                  <a:pt x="1324" y="2163"/>
                </a:lnTo>
                <a:lnTo>
                  <a:pt x="1320" y="2166"/>
                </a:lnTo>
                <a:lnTo>
                  <a:pt x="1317" y="2169"/>
                </a:lnTo>
                <a:lnTo>
                  <a:pt x="1313" y="2171"/>
                </a:lnTo>
                <a:lnTo>
                  <a:pt x="1308" y="2173"/>
                </a:lnTo>
                <a:lnTo>
                  <a:pt x="1304" y="2175"/>
                </a:lnTo>
                <a:lnTo>
                  <a:pt x="1299" y="2176"/>
                </a:lnTo>
                <a:lnTo>
                  <a:pt x="1294" y="2177"/>
                </a:lnTo>
                <a:lnTo>
                  <a:pt x="1288" y="2177"/>
                </a:lnTo>
                <a:close/>
                <a:moveTo>
                  <a:pt x="1173" y="2477"/>
                </a:moveTo>
                <a:lnTo>
                  <a:pt x="1272" y="2477"/>
                </a:lnTo>
                <a:lnTo>
                  <a:pt x="1223" y="2345"/>
                </a:lnTo>
                <a:lnTo>
                  <a:pt x="1173" y="2477"/>
                </a:lnTo>
                <a:close/>
                <a:moveTo>
                  <a:pt x="1303" y="2558"/>
                </a:moveTo>
                <a:lnTo>
                  <a:pt x="1143" y="2558"/>
                </a:lnTo>
                <a:lnTo>
                  <a:pt x="1121" y="2616"/>
                </a:lnTo>
                <a:lnTo>
                  <a:pt x="1120" y="2618"/>
                </a:lnTo>
                <a:lnTo>
                  <a:pt x="1119" y="2620"/>
                </a:lnTo>
                <a:lnTo>
                  <a:pt x="1117" y="2622"/>
                </a:lnTo>
                <a:lnTo>
                  <a:pt x="1115" y="2623"/>
                </a:lnTo>
                <a:lnTo>
                  <a:pt x="1112" y="2625"/>
                </a:lnTo>
                <a:lnTo>
                  <a:pt x="1107" y="2625"/>
                </a:lnTo>
                <a:lnTo>
                  <a:pt x="1029" y="2625"/>
                </a:lnTo>
                <a:lnTo>
                  <a:pt x="1026" y="2625"/>
                </a:lnTo>
                <a:lnTo>
                  <a:pt x="1024" y="2624"/>
                </a:lnTo>
                <a:lnTo>
                  <a:pt x="1022" y="2623"/>
                </a:lnTo>
                <a:lnTo>
                  <a:pt x="1020" y="2622"/>
                </a:lnTo>
                <a:lnTo>
                  <a:pt x="1019" y="2620"/>
                </a:lnTo>
                <a:lnTo>
                  <a:pt x="1019" y="2617"/>
                </a:lnTo>
                <a:lnTo>
                  <a:pt x="1019" y="2615"/>
                </a:lnTo>
                <a:lnTo>
                  <a:pt x="1020" y="2612"/>
                </a:lnTo>
                <a:lnTo>
                  <a:pt x="1175" y="2216"/>
                </a:lnTo>
                <a:lnTo>
                  <a:pt x="1176" y="2214"/>
                </a:lnTo>
                <a:lnTo>
                  <a:pt x="1178" y="2212"/>
                </a:lnTo>
                <a:lnTo>
                  <a:pt x="1181" y="2209"/>
                </a:lnTo>
                <a:lnTo>
                  <a:pt x="1184" y="2207"/>
                </a:lnTo>
                <a:lnTo>
                  <a:pt x="1187" y="2207"/>
                </a:lnTo>
                <a:lnTo>
                  <a:pt x="1189" y="2207"/>
                </a:lnTo>
                <a:lnTo>
                  <a:pt x="1259" y="2207"/>
                </a:lnTo>
                <a:lnTo>
                  <a:pt x="1263" y="2207"/>
                </a:lnTo>
                <a:lnTo>
                  <a:pt x="1267" y="2209"/>
                </a:lnTo>
                <a:lnTo>
                  <a:pt x="1270" y="2212"/>
                </a:lnTo>
                <a:lnTo>
                  <a:pt x="1271" y="2214"/>
                </a:lnTo>
                <a:lnTo>
                  <a:pt x="1272" y="2216"/>
                </a:lnTo>
                <a:lnTo>
                  <a:pt x="1428" y="2612"/>
                </a:lnTo>
                <a:lnTo>
                  <a:pt x="1429" y="2615"/>
                </a:lnTo>
                <a:lnTo>
                  <a:pt x="1429" y="2617"/>
                </a:lnTo>
                <a:lnTo>
                  <a:pt x="1428" y="2620"/>
                </a:lnTo>
                <a:lnTo>
                  <a:pt x="1427" y="2622"/>
                </a:lnTo>
                <a:lnTo>
                  <a:pt x="1426" y="2623"/>
                </a:lnTo>
                <a:lnTo>
                  <a:pt x="1424" y="2624"/>
                </a:lnTo>
                <a:lnTo>
                  <a:pt x="1421" y="2625"/>
                </a:lnTo>
                <a:lnTo>
                  <a:pt x="1419" y="2625"/>
                </a:lnTo>
                <a:lnTo>
                  <a:pt x="1339" y="2625"/>
                </a:lnTo>
                <a:lnTo>
                  <a:pt x="1334" y="2625"/>
                </a:lnTo>
                <a:lnTo>
                  <a:pt x="1332" y="2624"/>
                </a:lnTo>
                <a:lnTo>
                  <a:pt x="1330" y="2623"/>
                </a:lnTo>
                <a:lnTo>
                  <a:pt x="1329" y="2622"/>
                </a:lnTo>
                <a:lnTo>
                  <a:pt x="1327" y="2620"/>
                </a:lnTo>
                <a:lnTo>
                  <a:pt x="1326" y="2618"/>
                </a:lnTo>
                <a:lnTo>
                  <a:pt x="1325" y="2616"/>
                </a:lnTo>
                <a:lnTo>
                  <a:pt x="1303" y="2558"/>
                </a:lnTo>
                <a:close/>
                <a:moveTo>
                  <a:pt x="1156" y="2177"/>
                </a:moveTo>
                <a:lnTo>
                  <a:pt x="1151" y="2177"/>
                </a:lnTo>
                <a:lnTo>
                  <a:pt x="1146" y="2176"/>
                </a:lnTo>
                <a:lnTo>
                  <a:pt x="1141" y="2175"/>
                </a:lnTo>
                <a:lnTo>
                  <a:pt x="1136" y="2173"/>
                </a:lnTo>
                <a:lnTo>
                  <a:pt x="1128" y="2169"/>
                </a:lnTo>
                <a:lnTo>
                  <a:pt x="1124" y="2166"/>
                </a:lnTo>
                <a:lnTo>
                  <a:pt x="1121" y="2163"/>
                </a:lnTo>
                <a:lnTo>
                  <a:pt x="1118" y="2160"/>
                </a:lnTo>
                <a:lnTo>
                  <a:pt x="1115" y="2156"/>
                </a:lnTo>
                <a:lnTo>
                  <a:pt x="1112" y="2152"/>
                </a:lnTo>
                <a:lnTo>
                  <a:pt x="1110" y="2148"/>
                </a:lnTo>
                <a:lnTo>
                  <a:pt x="1109" y="2143"/>
                </a:lnTo>
                <a:lnTo>
                  <a:pt x="1108" y="2138"/>
                </a:lnTo>
                <a:lnTo>
                  <a:pt x="1107" y="2133"/>
                </a:lnTo>
                <a:lnTo>
                  <a:pt x="1107" y="2128"/>
                </a:lnTo>
                <a:lnTo>
                  <a:pt x="1107" y="2123"/>
                </a:lnTo>
                <a:lnTo>
                  <a:pt x="1108" y="2118"/>
                </a:lnTo>
                <a:lnTo>
                  <a:pt x="1109" y="2113"/>
                </a:lnTo>
                <a:lnTo>
                  <a:pt x="1110" y="2108"/>
                </a:lnTo>
                <a:lnTo>
                  <a:pt x="1112" y="2104"/>
                </a:lnTo>
                <a:lnTo>
                  <a:pt x="1115" y="2100"/>
                </a:lnTo>
                <a:lnTo>
                  <a:pt x="1118" y="2096"/>
                </a:lnTo>
                <a:lnTo>
                  <a:pt x="1121" y="2093"/>
                </a:lnTo>
                <a:lnTo>
                  <a:pt x="1124" y="2090"/>
                </a:lnTo>
                <a:lnTo>
                  <a:pt x="1128" y="2087"/>
                </a:lnTo>
                <a:lnTo>
                  <a:pt x="1132" y="2084"/>
                </a:lnTo>
                <a:lnTo>
                  <a:pt x="1136" y="2082"/>
                </a:lnTo>
                <a:lnTo>
                  <a:pt x="1141" y="2081"/>
                </a:lnTo>
                <a:lnTo>
                  <a:pt x="1146" y="2080"/>
                </a:lnTo>
                <a:lnTo>
                  <a:pt x="1151" y="2079"/>
                </a:lnTo>
                <a:lnTo>
                  <a:pt x="1156" y="2079"/>
                </a:lnTo>
                <a:lnTo>
                  <a:pt x="1162" y="2079"/>
                </a:lnTo>
                <a:lnTo>
                  <a:pt x="1167" y="2080"/>
                </a:lnTo>
                <a:lnTo>
                  <a:pt x="1172" y="2081"/>
                </a:lnTo>
                <a:lnTo>
                  <a:pt x="1176" y="2082"/>
                </a:lnTo>
                <a:lnTo>
                  <a:pt x="1185" y="2087"/>
                </a:lnTo>
                <a:lnTo>
                  <a:pt x="1189" y="2090"/>
                </a:lnTo>
                <a:lnTo>
                  <a:pt x="1192" y="2093"/>
                </a:lnTo>
                <a:lnTo>
                  <a:pt x="1195" y="2096"/>
                </a:lnTo>
                <a:lnTo>
                  <a:pt x="1198" y="2100"/>
                </a:lnTo>
                <a:lnTo>
                  <a:pt x="1200" y="2104"/>
                </a:lnTo>
                <a:lnTo>
                  <a:pt x="1202" y="2108"/>
                </a:lnTo>
                <a:lnTo>
                  <a:pt x="1204" y="2113"/>
                </a:lnTo>
                <a:lnTo>
                  <a:pt x="1205" y="2118"/>
                </a:lnTo>
                <a:lnTo>
                  <a:pt x="1206" y="2123"/>
                </a:lnTo>
                <a:lnTo>
                  <a:pt x="1206" y="2128"/>
                </a:lnTo>
                <a:lnTo>
                  <a:pt x="1206" y="2133"/>
                </a:lnTo>
                <a:lnTo>
                  <a:pt x="1205" y="2138"/>
                </a:lnTo>
                <a:lnTo>
                  <a:pt x="1204" y="2143"/>
                </a:lnTo>
                <a:lnTo>
                  <a:pt x="1202" y="2148"/>
                </a:lnTo>
                <a:lnTo>
                  <a:pt x="1200" y="2152"/>
                </a:lnTo>
                <a:lnTo>
                  <a:pt x="1198" y="2156"/>
                </a:lnTo>
                <a:lnTo>
                  <a:pt x="1195" y="2160"/>
                </a:lnTo>
                <a:lnTo>
                  <a:pt x="1192" y="2163"/>
                </a:lnTo>
                <a:lnTo>
                  <a:pt x="1189" y="2166"/>
                </a:lnTo>
                <a:lnTo>
                  <a:pt x="1185" y="2169"/>
                </a:lnTo>
                <a:lnTo>
                  <a:pt x="1181" y="2171"/>
                </a:lnTo>
                <a:lnTo>
                  <a:pt x="1176" y="2173"/>
                </a:lnTo>
                <a:lnTo>
                  <a:pt x="1172" y="2175"/>
                </a:lnTo>
                <a:lnTo>
                  <a:pt x="1167" y="2176"/>
                </a:lnTo>
                <a:lnTo>
                  <a:pt x="1162" y="2177"/>
                </a:lnTo>
                <a:lnTo>
                  <a:pt x="1156" y="2177"/>
                </a:lnTo>
                <a:close/>
                <a:moveTo>
                  <a:pt x="1624" y="2446"/>
                </a:moveTo>
                <a:lnTo>
                  <a:pt x="1624" y="2615"/>
                </a:lnTo>
                <a:lnTo>
                  <a:pt x="1624" y="2617"/>
                </a:lnTo>
                <a:lnTo>
                  <a:pt x="1623" y="2619"/>
                </a:lnTo>
                <a:lnTo>
                  <a:pt x="1622" y="2622"/>
                </a:lnTo>
                <a:lnTo>
                  <a:pt x="1620" y="2623"/>
                </a:lnTo>
                <a:lnTo>
                  <a:pt x="1619" y="2624"/>
                </a:lnTo>
                <a:lnTo>
                  <a:pt x="1617" y="2625"/>
                </a:lnTo>
                <a:lnTo>
                  <a:pt x="1615" y="2625"/>
                </a:lnTo>
                <a:lnTo>
                  <a:pt x="1536" y="2625"/>
                </a:lnTo>
                <a:lnTo>
                  <a:pt x="1532" y="2624"/>
                </a:lnTo>
                <a:lnTo>
                  <a:pt x="1529" y="2622"/>
                </a:lnTo>
                <a:lnTo>
                  <a:pt x="1527" y="2619"/>
                </a:lnTo>
                <a:lnTo>
                  <a:pt x="1527" y="2617"/>
                </a:lnTo>
                <a:lnTo>
                  <a:pt x="1526" y="2615"/>
                </a:lnTo>
                <a:lnTo>
                  <a:pt x="1526" y="2446"/>
                </a:lnTo>
                <a:lnTo>
                  <a:pt x="1430" y="2220"/>
                </a:lnTo>
                <a:lnTo>
                  <a:pt x="1429" y="2217"/>
                </a:lnTo>
                <a:lnTo>
                  <a:pt x="1429" y="2214"/>
                </a:lnTo>
                <a:lnTo>
                  <a:pt x="1429" y="2212"/>
                </a:lnTo>
                <a:lnTo>
                  <a:pt x="1430" y="2210"/>
                </a:lnTo>
                <a:lnTo>
                  <a:pt x="1431" y="2209"/>
                </a:lnTo>
                <a:lnTo>
                  <a:pt x="1432" y="2208"/>
                </a:lnTo>
                <a:lnTo>
                  <a:pt x="1434" y="2207"/>
                </a:lnTo>
                <a:lnTo>
                  <a:pt x="1437" y="2207"/>
                </a:lnTo>
                <a:lnTo>
                  <a:pt x="1516" y="2207"/>
                </a:lnTo>
                <a:lnTo>
                  <a:pt x="1520" y="2207"/>
                </a:lnTo>
                <a:lnTo>
                  <a:pt x="1523" y="2208"/>
                </a:lnTo>
                <a:lnTo>
                  <a:pt x="1524" y="2209"/>
                </a:lnTo>
                <a:lnTo>
                  <a:pt x="1526" y="2210"/>
                </a:lnTo>
                <a:lnTo>
                  <a:pt x="1528" y="2211"/>
                </a:lnTo>
                <a:lnTo>
                  <a:pt x="1529" y="2213"/>
                </a:lnTo>
                <a:lnTo>
                  <a:pt x="1530" y="2215"/>
                </a:lnTo>
                <a:lnTo>
                  <a:pt x="1577" y="2342"/>
                </a:lnTo>
                <a:lnTo>
                  <a:pt x="1621" y="2215"/>
                </a:lnTo>
                <a:lnTo>
                  <a:pt x="1622" y="2213"/>
                </a:lnTo>
                <a:lnTo>
                  <a:pt x="1623" y="2211"/>
                </a:lnTo>
                <a:lnTo>
                  <a:pt x="1625" y="2210"/>
                </a:lnTo>
                <a:lnTo>
                  <a:pt x="1627" y="2209"/>
                </a:lnTo>
                <a:lnTo>
                  <a:pt x="1629" y="2208"/>
                </a:lnTo>
                <a:lnTo>
                  <a:pt x="1631" y="2207"/>
                </a:lnTo>
                <a:lnTo>
                  <a:pt x="1635" y="2207"/>
                </a:lnTo>
                <a:lnTo>
                  <a:pt x="1712" y="2207"/>
                </a:lnTo>
                <a:lnTo>
                  <a:pt x="1714" y="2207"/>
                </a:lnTo>
                <a:lnTo>
                  <a:pt x="1716" y="2208"/>
                </a:lnTo>
                <a:lnTo>
                  <a:pt x="1717" y="2209"/>
                </a:lnTo>
                <a:lnTo>
                  <a:pt x="1718" y="2210"/>
                </a:lnTo>
                <a:lnTo>
                  <a:pt x="1719" y="2212"/>
                </a:lnTo>
                <a:lnTo>
                  <a:pt x="1719" y="2214"/>
                </a:lnTo>
                <a:lnTo>
                  <a:pt x="1719" y="2217"/>
                </a:lnTo>
                <a:lnTo>
                  <a:pt x="1718" y="2220"/>
                </a:lnTo>
                <a:lnTo>
                  <a:pt x="1624" y="2446"/>
                </a:lnTo>
                <a:close/>
                <a:moveTo>
                  <a:pt x="1929" y="2536"/>
                </a:moveTo>
                <a:lnTo>
                  <a:pt x="1941" y="2536"/>
                </a:lnTo>
                <a:lnTo>
                  <a:pt x="1947" y="2535"/>
                </a:lnTo>
                <a:lnTo>
                  <a:pt x="1953" y="2534"/>
                </a:lnTo>
                <a:lnTo>
                  <a:pt x="1964" y="2532"/>
                </a:lnTo>
                <a:lnTo>
                  <a:pt x="1975" y="2528"/>
                </a:lnTo>
                <a:lnTo>
                  <a:pt x="1980" y="2526"/>
                </a:lnTo>
                <a:lnTo>
                  <a:pt x="1985" y="2524"/>
                </a:lnTo>
                <a:lnTo>
                  <a:pt x="1995" y="2519"/>
                </a:lnTo>
                <a:lnTo>
                  <a:pt x="2004" y="2512"/>
                </a:lnTo>
                <a:lnTo>
                  <a:pt x="2012" y="2505"/>
                </a:lnTo>
                <a:lnTo>
                  <a:pt x="2019" y="2497"/>
                </a:lnTo>
                <a:lnTo>
                  <a:pt x="2026" y="2488"/>
                </a:lnTo>
                <a:lnTo>
                  <a:pt x="2032" y="2478"/>
                </a:lnTo>
                <a:lnTo>
                  <a:pt x="2034" y="2473"/>
                </a:lnTo>
                <a:lnTo>
                  <a:pt x="2036" y="2467"/>
                </a:lnTo>
                <a:lnTo>
                  <a:pt x="2038" y="2461"/>
                </a:lnTo>
                <a:lnTo>
                  <a:pt x="2040" y="2455"/>
                </a:lnTo>
                <a:lnTo>
                  <a:pt x="2043" y="2443"/>
                </a:lnTo>
                <a:lnTo>
                  <a:pt x="2045" y="2430"/>
                </a:lnTo>
                <a:lnTo>
                  <a:pt x="2045" y="2423"/>
                </a:lnTo>
                <a:lnTo>
                  <a:pt x="2045" y="2416"/>
                </a:lnTo>
                <a:lnTo>
                  <a:pt x="2045" y="2402"/>
                </a:lnTo>
                <a:lnTo>
                  <a:pt x="2043" y="2388"/>
                </a:lnTo>
                <a:lnTo>
                  <a:pt x="2040" y="2376"/>
                </a:lnTo>
                <a:lnTo>
                  <a:pt x="2036" y="2364"/>
                </a:lnTo>
                <a:lnTo>
                  <a:pt x="2032" y="2354"/>
                </a:lnTo>
                <a:lnTo>
                  <a:pt x="2026" y="2344"/>
                </a:lnTo>
                <a:lnTo>
                  <a:pt x="2023" y="2339"/>
                </a:lnTo>
                <a:lnTo>
                  <a:pt x="2019" y="2335"/>
                </a:lnTo>
                <a:lnTo>
                  <a:pt x="2012" y="2326"/>
                </a:lnTo>
                <a:lnTo>
                  <a:pt x="2008" y="2323"/>
                </a:lnTo>
                <a:lnTo>
                  <a:pt x="2004" y="2319"/>
                </a:lnTo>
                <a:lnTo>
                  <a:pt x="1995" y="2313"/>
                </a:lnTo>
                <a:lnTo>
                  <a:pt x="1990" y="2310"/>
                </a:lnTo>
                <a:lnTo>
                  <a:pt x="1985" y="2308"/>
                </a:lnTo>
                <a:lnTo>
                  <a:pt x="1980" y="2305"/>
                </a:lnTo>
                <a:lnTo>
                  <a:pt x="1975" y="2303"/>
                </a:lnTo>
                <a:lnTo>
                  <a:pt x="1964" y="2300"/>
                </a:lnTo>
                <a:lnTo>
                  <a:pt x="1953" y="2297"/>
                </a:lnTo>
                <a:lnTo>
                  <a:pt x="1947" y="2296"/>
                </a:lnTo>
                <a:lnTo>
                  <a:pt x="1941" y="2296"/>
                </a:lnTo>
                <a:lnTo>
                  <a:pt x="1929" y="2295"/>
                </a:lnTo>
                <a:lnTo>
                  <a:pt x="1888" y="2295"/>
                </a:lnTo>
                <a:lnTo>
                  <a:pt x="1888" y="2536"/>
                </a:lnTo>
                <a:lnTo>
                  <a:pt x="1929" y="2536"/>
                </a:lnTo>
                <a:close/>
                <a:moveTo>
                  <a:pt x="1928" y="2207"/>
                </a:moveTo>
                <a:lnTo>
                  <a:pt x="1941" y="2207"/>
                </a:lnTo>
                <a:lnTo>
                  <a:pt x="1953" y="2207"/>
                </a:lnTo>
                <a:lnTo>
                  <a:pt x="1966" y="2209"/>
                </a:lnTo>
                <a:lnTo>
                  <a:pt x="1978" y="2210"/>
                </a:lnTo>
                <a:lnTo>
                  <a:pt x="1989" y="2212"/>
                </a:lnTo>
                <a:lnTo>
                  <a:pt x="2001" y="2215"/>
                </a:lnTo>
                <a:lnTo>
                  <a:pt x="2011" y="2218"/>
                </a:lnTo>
                <a:lnTo>
                  <a:pt x="2022" y="2222"/>
                </a:lnTo>
                <a:lnTo>
                  <a:pt x="2032" y="2225"/>
                </a:lnTo>
                <a:lnTo>
                  <a:pt x="2042" y="2230"/>
                </a:lnTo>
                <a:lnTo>
                  <a:pt x="2051" y="2235"/>
                </a:lnTo>
                <a:lnTo>
                  <a:pt x="2061" y="2240"/>
                </a:lnTo>
                <a:lnTo>
                  <a:pt x="2069" y="2245"/>
                </a:lnTo>
                <a:lnTo>
                  <a:pt x="2078" y="2251"/>
                </a:lnTo>
                <a:lnTo>
                  <a:pt x="2085" y="2257"/>
                </a:lnTo>
                <a:lnTo>
                  <a:pt x="2093" y="2264"/>
                </a:lnTo>
                <a:lnTo>
                  <a:pt x="2100" y="2271"/>
                </a:lnTo>
                <a:lnTo>
                  <a:pt x="2107" y="2279"/>
                </a:lnTo>
                <a:lnTo>
                  <a:pt x="2113" y="2286"/>
                </a:lnTo>
                <a:lnTo>
                  <a:pt x="2119" y="2294"/>
                </a:lnTo>
                <a:lnTo>
                  <a:pt x="2121" y="2299"/>
                </a:lnTo>
                <a:lnTo>
                  <a:pt x="2124" y="2303"/>
                </a:lnTo>
                <a:lnTo>
                  <a:pt x="2129" y="2312"/>
                </a:lnTo>
                <a:lnTo>
                  <a:pt x="2133" y="2321"/>
                </a:lnTo>
                <a:lnTo>
                  <a:pt x="2137" y="2330"/>
                </a:lnTo>
                <a:lnTo>
                  <a:pt x="2141" y="2340"/>
                </a:lnTo>
                <a:lnTo>
                  <a:pt x="2144" y="2350"/>
                </a:lnTo>
                <a:lnTo>
                  <a:pt x="2147" y="2360"/>
                </a:lnTo>
                <a:lnTo>
                  <a:pt x="2149" y="2371"/>
                </a:lnTo>
                <a:lnTo>
                  <a:pt x="2151" y="2382"/>
                </a:lnTo>
                <a:lnTo>
                  <a:pt x="2152" y="2393"/>
                </a:lnTo>
                <a:lnTo>
                  <a:pt x="2153" y="2404"/>
                </a:lnTo>
                <a:lnTo>
                  <a:pt x="2153" y="2416"/>
                </a:lnTo>
                <a:lnTo>
                  <a:pt x="2153" y="2427"/>
                </a:lnTo>
                <a:lnTo>
                  <a:pt x="2152" y="2439"/>
                </a:lnTo>
                <a:lnTo>
                  <a:pt x="2151" y="2450"/>
                </a:lnTo>
                <a:lnTo>
                  <a:pt x="2149" y="2461"/>
                </a:lnTo>
                <a:lnTo>
                  <a:pt x="2147" y="2471"/>
                </a:lnTo>
                <a:lnTo>
                  <a:pt x="2144" y="2481"/>
                </a:lnTo>
                <a:lnTo>
                  <a:pt x="2141" y="2491"/>
                </a:lnTo>
                <a:lnTo>
                  <a:pt x="2137" y="2501"/>
                </a:lnTo>
                <a:lnTo>
                  <a:pt x="2133" y="2511"/>
                </a:lnTo>
                <a:lnTo>
                  <a:pt x="2129" y="2520"/>
                </a:lnTo>
                <a:lnTo>
                  <a:pt x="2124" y="2528"/>
                </a:lnTo>
                <a:lnTo>
                  <a:pt x="2119" y="2537"/>
                </a:lnTo>
                <a:lnTo>
                  <a:pt x="2113" y="2545"/>
                </a:lnTo>
                <a:lnTo>
                  <a:pt x="2107" y="2553"/>
                </a:lnTo>
                <a:lnTo>
                  <a:pt x="2100" y="2560"/>
                </a:lnTo>
                <a:lnTo>
                  <a:pt x="2093" y="2567"/>
                </a:lnTo>
                <a:lnTo>
                  <a:pt x="2085" y="2574"/>
                </a:lnTo>
                <a:lnTo>
                  <a:pt x="2078" y="2580"/>
                </a:lnTo>
                <a:lnTo>
                  <a:pt x="2069" y="2586"/>
                </a:lnTo>
                <a:lnTo>
                  <a:pt x="2061" y="2592"/>
                </a:lnTo>
                <a:lnTo>
                  <a:pt x="2051" y="2597"/>
                </a:lnTo>
                <a:lnTo>
                  <a:pt x="2042" y="2602"/>
                </a:lnTo>
                <a:lnTo>
                  <a:pt x="2032" y="2606"/>
                </a:lnTo>
                <a:lnTo>
                  <a:pt x="2022" y="2610"/>
                </a:lnTo>
                <a:lnTo>
                  <a:pt x="2011" y="2613"/>
                </a:lnTo>
                <a:lnTo>
                  <a:pt x="2001" y="2616"/>
                </a:lnTo>
                <a:lnTo>
                  <a:pt x="1989" y="2619"/>
                </a:lnTo>
                <a:lnTo>
                  <a:pt x="1978" y="2621"/>
                </a:lnTo>
                <a:lnTo>
                  <a:pt x="1966" y="2623"/>
                </a:lnTo>
                <a:lnTo>
                  <a:pt x="1953" y="2624"/>
                </a:lnTo>
                <a:lnTo>
                  <a:pt x="1941" y="2625"/>
                </a:lnTo>
                <a:lnTo>
                  <a:pt x="1928" y="2625"/>
                </a:lnTo>
                <a:lnTo>
                  <a:pt x="1795" y="2625"/>
                </a:lnTo>
                <a:lnTo>
                  <a:pt x="1791" y="2624"/>
                </a:lnTo>
                <a:lnTo>
                  <a:pt x="1788" y="2622"/>
                </a:lnTo>
                <a:lnTo>
                  <a:pt x="1787" y="2621"/>
                </a:lnTo>
                <a:lnTo>
                  <a:pt x="1786" y="2619"/>
                </a:lnTo>
                <a:lnTo>
                  <a:pt x="1785" y="2617"/>
                </a:lnTo>
                <a:lnTo>
                  <a:pt x="1785" y="2615"/>
                </a:lnTo>
                <a:lnTo>
                  <a:pt x="1785" y="2217"/>
                </a:lnTo>
                <a:lnTo>
                  <a:pt x="1785" y="2214"/>
                </a:lnTo>
                <a:lnTo>
                  <a:pt x="1786" y="2212"/>
                </a:lnTo>
                <a:lnTo>
                  <a:pt x="1788" y="2209"/>
                </a:lnTo>
                <a:lnTo>
                  <a:pt x="1789" y="2208"/>
                </a:lnTo>
                <a:lnTo>
                  <a:pt x="1791" y="2207"/>
                </a:lnTo>
                <a:lnTo>
                  <a:pt x="1795" y="2207"/>
                </a:lnTo>
                <a:lnTo>
                  <a:pt x="1928" y="2207"/>
                </a:lnTo>
                <a:close/>
                <a:moveTo>
                  <a:pt x="2397" y="2177"/>
                </a:moveTo>
                <a:lnTo>
                  <a:pt x="2392" y="2177"/>
                </a:lnTo>
                <a:lnTo>
                  <a:pt x="2386" y="2176"/>
                </a:lnTo>
                <a:lnTo>
                  <a:pt x="2382" y="2175"/>
                </a:lnTo>
                <a:lnTo>
                  <a:pt x="2377" y="2173"/>
                </a:lnTo>
                <a:lnTo>
                  <a:pt x="2368" y="2169"/>
                </a:lnTo>
                <a:lnTo>
                  <a:pt x="2365" y="2166"/>
                </a:lnTo>
                <a:lnTo>
                  <a:pt x="2361" y="2163"/>
                </a:lnTo>
                <a:lnTo>
                  <a:pt x="2358" y="2160"/>
                </a:lnTo>
                <a:lnTo>
                  <a:pt x="2355" y="2156"/>
                </a:lnTo>
                <a:lnTo>
                  <a:pt x="2353" y="2152"/>
                </a:lnTo>
                <a:lnTo>
                  <a:pt x="2351" y="2148"/>
                </a:lnTo>
                <a:lnTo>
                  <a:pt x="2349" y="2143"/>
                </a:lnTo>
                <a:lnTo>
                  <a:pt x="2348" y="2138"/>
                </a:lnTo>
                <a:lnTo>
                  <a:pt x="2347" y="2133"/>
                </a:lnTo>
                <a:lnTo>
                  <a:pt x="2347" y="2128"/>
                </a:lnTo>
                <a:lnTo>
                  <a:pt x="2347" y="2123"/>
                </a:lnTo>
                <a:lnTo>
                  <a:pt x="2348" y="2118"/>
                </a:lnTo>
                <a:lnTo>
                  <a:pt x="2349" y="2113"/>
                </a:lnTo>
                <a:lnTo>
                  <a:pt x="2351" y="2108"/>
                </a:lnTo>
                <a:lnTo>
                  <a:pt x="2353" y="2104"/>
                </a:lnTo>
                <a:lnTo>
                  <a:pt x="2355" y="2100"/>
                </a:lnTo>
                <a:lnTo>
                  <a:pt x="2358" y="2096"/>
                </a:lnTo>
                <a:lnTo>
                  <a:pt x="2361" y="2093"/>
                </a:lnTo>
                <a:lnTo>
                  <a:pt x="2365" y="2090"/>
                </a:lnTo>
                <a:lnTo>
                  <a:pt x="2368" y="2087"/>
                </a:lnTo>
                <a:lnTo>
                  <a:pt x="2373" y="2084"/>
                </a:lnTo>
                <a:lnTo>
                  <a:pt x="2377" y="2082"/>
                </a:lnTo>
                <a:lnTo>
                  <a:pt x="2382" y="2081"/>
                </a:lnTo>
                <a:lnTo>
                  <a:pt x="2386" y="2080"/>
                </a:lnTo>
                <a:lnTo>
                  <a:pt x="2392" y="2079"/>
                </a:lnTo>
                <a:lnTo>
                  <a:pt x="2397" y="2079"/>
                </a:lnTo>
                <a:lnTo>
                  <a:pt x="2402" y="2079"/>
                </a:lnTo>
                <a:lnTo>
                  <a:pt x="2407" y="2080"/>
                </a:lnTo>
                <a:lnTo>
                  <a:pt x="2412" y="2081"/>
                </a:lnTo>
                <a:lnTo>
                  <a:pt x="2417" y="2082"/>
                </a:lnTo>
                <a:lnTo>
                  <a:pt x="2425" y="2087"/>
                </a:lnTo>
                <a:lnTo>
                  <a:pt x="2429" y="2090"/>
                </a:lnTo>
                <a:lnTo>
                  <a:pt x="2433" y="2093"/>
                </a:lnTo>
                <a:lnTo>
                  <a:pt x="2436" y="2096"/>
                </a:lnTo>
                <a:lnTo>
                  <a:pt x="2438" y="2100"/>
                </a:lnTo>
                <a:lnTo>
                  <a:pt x="2441" y="2104"/>
                </a:lnTo>
                <a:lnTo>
                  <a:pt x="2443" y="2108"/>
                </a:lnTo>
                <a:lnTo>
                  <a:pt x="2444" y="2113"/>
                </a:lnTo>
                <a:lnTo>
                  <a:pt x="2446" y="2118"/>
                </a:lnTo>
                <a:lnTo>
                  <a:pt x="2446" y="2123"/>
                </a:lnTo>
                <a:lnTo>
                  <a:pt x="2447" y="2128"/>
                </a:lnTo>
                <a:lnTo>
                  <a:pt x="2446" y="2133"/>
                </a:lnTo>
                <a:lnTo>
                  <a:pt x="2446" y="2138"/>
                </a:lnTo>
                <a:lnTo>
                  <a:pt x="2444" y="2143"/>
                </a:lnTo>
                <a:lnTo>
                  <a:pt x="2443" y="2148"/>
                </a:lnTo>
                <a:lnTo>
                  <a:pt x="2441" y="2152"/>
                </a:lnTo>
                <a:lnTo>
                  <a:pt x="2438" y="2156"/>
                </a:lnTo>
                <a:lnTo>
                  <a:pt x="2436" y="2160"/>
                </a:lnTo>
                <a:lnTo>
                  <a:pt x="2433" y="2163"/>
                </a:lnTo>
                <a:lnTo>
                  <a:pt x="2429" y="2166"/>
                </a:lnTo>
                <a:lnTo>
                  <a:pt x="2425" y="2169"/>
                </a:lnTo>
                <a:lnTo>
                  <a:pt x="2421" y="2171"/>
                </a:lnTo>
                <a:lnTo>
                  <a:pt x="2417" y="2173"/>
                </a:lnTo>
                <a:lnTo>
                  <a:pt x="2412" y="2175"/>
                </a:lnTo>
                <a:lnTo>
                  <a:pt x="2407" y="2176"/>
                </a:lnTo>
                <a:lnTo>
                  <a:pt x="2402" y="2177"/>
                </a:lnTo>
                <a:lnTo>
                  <a:pt x="2397" y="2177"/>
                </a:lnTo>
                <a:close/>
                <a:moveTo>
                  <a:pt x="2303" y="2480"/>
                </a:moveTo>
                <a:lnTo>
                  <a:pt x="2357" y="2480"/>
                </a:lnTo>
                <a:lnTo>
                  <a:pt x="2331" y="2354"/>
                </a:lnTo>
                <a:lnTo>
                  <a:pt x="2303" y="2480"/>
                </a:lnTo>
                <a:close/>
                <a:moveTo>
                  <a:pt x="2372" y="2558"/>
                </a:moveTo>
                <a:lnTo>
                  <a:pt x="2289" y="2558"/>
                </a:lnTo>
                <a:lnTo>
                  <a:pt x="2277" y="2615"/>
                </a:lnTo>
                <a:lnTo>
                  <a:pt x="2276" y="2618"/>
                </a:lnTo>
                <a:lnTo>
                  <a:pt x="2275" y="2620"/>
                </a:lnTo>
                <a:lnTo>
                  <a:pt x="2273" y="2623"/>
                </a:lnTo>
                <a:lnTo>
                  <a:pt x="2271" y="2624"/>
                </a:lnTo>
                <a:lnTo>
                  <a:pt x="2269" y="2625"/>
                </a:lnTo>
                <a:lnTo>
                  <a:pt x="2267" y="2625"/>
                </a:lnTo>
                <a:lnTo>
                  <a:pt x="2265" y="2625"/>
                </a:lnTo>
                <a:lnTo>
                  <a:pt x="2192" y="2625"/>
                </a:lnTo>
                <a:lnTo>
                  <a:pt x="2190" y="2625"/>
                </a:lnTo>
                <a:lnTo>
                  <a:pt x="2188" y="2624"/>
                </a:lnTo>
                <a:lnTo>
                  <a:pt x="2187" y="2623"/>
                </a:lnTo>
                <a:lnTo>
                  <a:pt x="2185" y="2622"/>
                </a:lnTo>
                <a:lnTo>
                  <a:pt x="2184" y="2620"/>
                </a:lnTo>
                <a:lnTo>
                  <a:pt x="2184" y="2618"/>
                </a:lnTo>
                <a:lnTo>
                  <a:pt x="2185" y="2612"/>
                </a:lnTo>
                <a:lnTo>
                  <a:pt x="2277" y="2217"/>
                </a:lnTo>
                <a:lnTo>
                  <a:pt x="2278" y="2214"/>
                </a:lnTo>
                <a:lnTo>
                  <a:pt x="2279" y="2212"/>
                </a:lnTo>
                <a:lnTo>
                  <a:pt x="2281" y="2209"/>
                </a:lnTo>
                <a:lnTo>
                  <a:pt x="2283" y="2208"/>
                </a:lnTo>
                <a:lnTo>
                  <a:pt x="2285" y="2207"/>
                </a:lnTo>
                <a:lnTo>
                  <a:pt x="2290" y="2207"/>
                </a:lnTo>
                <a:lnTo>
                  <a:pt x="2372" y="2207"/>
                </a:lnTo>
                <a:lnTo>
                  <a:pt x="2375" y="2207"/>
                </a:lnTo>
                <a:lnTo>
                  <a:pt x="2377" y="2207"/>
                </a:lnTo>
                <a:lnTo>
                  <a:pt x="2381" y="2209"/>
                </a:lnTo>
                <a:lnTo>
                  <a:pt x="2384" y="2212"/>
                </a:lnTo>
                <a:lnTo>
                  <a:pt x="2384" y="2214"/>
                </a:lnTo>
                <a:lnTo>
                  <a:pt x="2385" y="2217"/>
                </a:lnTo>
                <a:lnTo>
                  <a:pt x="2477" y="2612"/>
                </a:lnTo>
                <a:lnTo>
                  <a:pt x="2478" y="2618"/>
                </a:lnTo>
                <a:lnTo>
                  <a:pt x="2478" y="2620"/>
                </a:lnTo>
                <a:lnTo>
                  <a:pt x="2477" y="2622"/>
                </a:lnTo>
                <a:lnTo>
                  <a:pt x="2476" y="2623"/>
                </a:lnTo>
                <a:lnTo>
                  <a:pt x="2474" y="2624"/>
                </a:lnTo>
                <a:lnTo>
                  <a:pt x="2470" y="2625"/>
                </a:lnTo>
                <a:lnTo>
                  <a:pt x="2395" y="2625"/>
                </a:lnTo>
                <a:lnTo>
                  <a:pt x="2391" y="2625"/>
                </a:lnTo>
                <a:lnTo>
                  <a:pt x="2388" y="2623"/>
                </a:lnTo>
                <a:lnTo>
                  <a:pt x="2386" y="2621"/>
                </a:lnTo>
                <a:lnTo>
                  <a:pt x="2385" y="2620"/>
                </a:lnTo>
                <a:lnTo>
                  <a:pt x="2384" y="2618"/>
                </a:lnTo>
                <a:lnTo>
                  <a:pt x="2383" y="2615"/>
                </a:lnTo>
                <a:lnTo>
                  <a:pt x="2372" y="2558"/>
                </a:lnTo>
                <a:close/>
                <a:moveTo>
                  <a:pt x="2264" y="2177"/>
                </a:moveTo>
                <a:lnTo>
                  <a:pt x="2259" y="2177"/>
                </a:lnTo>
                <a:lnTo>
                  <a:pt x="2254" y="2176"/>
                </a:lnTo>
                <a:lnTo>
                  <a:pt x="2249" y="2175"/>
                </a:lnTo>
                <a:lnTo>
                  <a:pt x="2244" y="2173"/>
                </a:lnTo>
                <a:lnTo>
                  <a:pt x="2236" y="2169"/>
                </a:lnTo>
                <a:lnTo>
                  <a:pt x="2232" y="2166"/>
                </a:lnTo>
                <a:lnTo>
                  <a:pt x="2228" y="2163"/>
                </a:lnTo>
                <a:lnTo>
                  <a:pt x="2225" y="2160"/>
                </a:lnTo>
                <a:lnTo>
                  <a:pt x="2222" y="2156"/>
                </a:lnTo>
                <a:lnTo>
                  <a:pt x="2220" y="2152"/>
                </a:lnTo>
                <a:lnTo>
                  <a:pt x="2218" y="2148"/>
                </a:lnTo>
                <a:lnTo>
                  <a:pt x="2216" y="2143"/>
                </a:lnTo>
                <a:lnTo>
                  <a:pt x="2215" y="2138"/>
                </a:lnTo>
                <a:lnTo>
                  <a:pt x="2215" y="2133"/>
                </a:lnTo>
                <a:lnTo>
                  <a:pt x="2214" y="2128"/>
                </a:lnTo>
                <a:lnTo>
                  <a:pt x="2215" y="2123"/>
                </a:lnTo>
                <a:lnTo>
                  <a:pt x="2215" y="2118"/>
                </a:lnTo>
                <a:lnTo>
                  <a:pt x="2216" y="2113"/>
                </a:lnTo>
                <a:lnTo>
                  <a:pt x="2218" y="2108"/>
                </a:lnTo>
                <a:lnTo>
                  <a:pt x="2220" y="2104"/>
                </a:lnTo>
                <a:lnTo>
                  <a:pt x="2222" y="2100"/>
                </a:lnTo>
                <a:lnTo>
                  <a:pt x="2225" y="2096"/>
                </a:lnTo>
                <a:lnTo>
                  <a:pt x="2228" y="2093"/>
                </a:lnTo>
                <a:lnTo>
                  <a:pt x="2232" y="2090"/>
                </a:lnTo>
                <a:lnTo>
                  <a:pt x="2236" y="2087"/>
                </a:lnTo>
                <a:lnTo>
                  <a:pt x="2240" y="2084"/>
                </a:lnTo>
                <a:lnTo>
                  <a:pt x="2244" y="2082"/>
                </a:lnTo>
                <a:lnTo>
                  <a:pt x="2249" y="2081"/>
                </a:lnTo>
                <a:lnTo>
                  <a:pt x="2254" y="2080"/>
                </a:lnTo>
                <a:lnTo>
                  <a:pt x="2259" y="2079"/>
                </a:lnTo>
                <a:lnTo>
                  <a:pt x="2264" y="2079"/>
                </a:lnTo>
                <a:lnTo>
                  <a:pt x="2269" y="2079"/>
                </a:lnTo>
                <a:lnTo>
                  <a:pt x="2274" y="2080"/>
                </a:lnTo>
                <a:lnTo>
                  <a:pt x="2279" y="2081"/>
                </a:lnTo>
                <a:lnTo>
                  <a:pt x="2284" y="2082"/>
                </a:lnTo>
                <a:lnTo>
                  <a:pt x="2292" y="2087"/>
                </a:lnTo>
                <a:lnTo>
                  <a:pt x="2296" y="2090"/>
                </a:lnTo>
                <a:lnTo>
                  <a:pt x="2300" y="2093"/>
                </a:lnTo>
                <a:lnTo>
                  <a:pt x="2303" y="2096"/>
                </a:lnTo>
                <a:lnTo>
                  <a:pt x="2306" y="2100"/>
                </a:lnTo>
                <a:lnTo>
                  <a:pt x="2308" y="2104"/>
                </a:lnTo>
                <a:lnTo>
                  <a:pt x="2310" y="2108"/>
                </a:lnTo>
                <a:lnTo>
                  <a:pt x="2313" y="2113"/>
                </a:lnTo>
                <a:lnTo>
                  <a:pt x="2314" y="2118"/>
                </a:lnTo>
                <a:lnTo>
                  <a:pt x="2314" y="2123"/>
                </a:lnTo>
                <a:lnTo>
                  <a:pt x="2315" y="2128"/>
                </a:lnTo>
                <a:lnTo>
                  <a:pt x="2314" y="2133"/>
                </a:lnTo>
                <a:lnTo>
                  <a:pt x="2314" y="2138"/>
                </a:lnTo>
                <a:lnTo>
                  <a:pt x="2313" y="2143"/>
                </a:lnTo>
                <a:lnTo>
                  <a:pt x="2310" y="2148"/>
                </a:lnTo>
                <a:lnTo>
                  <a:pt x="2308" y="2152"/>
                </a:lnTo>
                <a:lnTo>
                  <a:pt x="2306" y="2156"/>
                </a:lnTo>
                <a:lnTo>
                  <a:pt x="2303" y="2160"/>
                </a:lnTo>
                <a:lnTo>
                  <a:pt x="2300" y="2163"/>
                </a:lnTo>
                <a:lnTo>
                  <a:pt x="2296" y="2166"/>
                </a:lnTo>
                <a:lnTo>
                  <a:pt x="2292" y="2169"/>
                </a:lnTo>
                <a:lnTo>
                  <a:pt x="2288" y="2171"/>
                </a:lnTo>
                <a:lnTo>
                  <a:pt x="2284" y="2173"/>
                </a:lnTo>
                <a:lnTo>
                  <a:pt x="2279" y="2175"/>
                </a:lnTo>
                <a:lnTo>
                  <a:pt x="2274" y="2176"/>
                </a:lnTo>
                <a:lnTo>
                  <a:pt x="2269" y="2177"/>
                </a:lnTo>
                <a:lnTo>
                  <a:pt x="2264" y="2177"/>
                </a:lnTo>
                <a:close/>
                <a:moveTo>
                  <a:pt x="1209" y="341"/>
                </a:moveTo>
                <a:lnTo>
                  <a:pt x="1221" y="341"/>
                </a:lnTo>
                <a:lnTo>
                  <a:pt x="1233" y="339"/>
                </a:lnTo>
                <a:lnTo>
                  <a:pt x="1244" y="336"/>
                </a:lnTo>
                <a:lnTo>
                  <a:pt x="1250" y="334"/>
                </a:lnTo>
                <a:lnTo>
                  <a:pt x="1255" y="332"/>
                </a:lnTo>
                <a:lnTo>
                  <a:pt x="1265" y="327"/>
                </a:lnTo>
                <a:lnTo>
                  <a:pt x="1275" y="322"/>
                </a:lnTo>
                <a:lnTo>
                  <a:pt x="1284" y="315"/>
                </a:lnTo>
                <a:lnTo>
                  <a:pt x="1292" y="307"/>
                </a:lnTo>
                <a:lnTo>
                  <a:pt x="1299" y="299"/>
                </a:lnTo>
                <a:lnTo>
                  <a:pt x="1306" y="289"/>
                </a:lnTo>
                <a:lnTo>
                  <a:pt x="1311" y="279"/>
                </a:lnTo>
                <a:lnTo>
                  <a:pt x="1316" y="268"/>
                </a:lnTo>
                <a:lnTo>
                  <a:pt x="1318" y="262"/>
                </a:lnTo>
                <a:lnTo>
                  <a:pt x="1320" y="256"/>
                </a:lnTo>
                <a:lnTo>
                  <a:pt x="1323" y="243"/>
                </a:lnTo>
                <a:lnTo>
                  <a:pt x="1324" y="230"/>
                </a:lnTo>
                <a:lnTo>
                  <a:pt x="1325" y="223"/>
                </a:lnTo>
                <a:lnTo>
                  <a:pt x="1325" y="216"/>
                </a:lnTo>
                <a:lnTo>
                  <a:pt x="1324" y="202"/>
                </a:lnTo>
                <a:lnTo>
                  <a:pt x="1323" y="189"/>
                </a:lnTo>
                <a:lnTo>
                  <a:pt x="1320" y="177"/>
                </a:lnTo>
                <a:lnTo>
                  <a:pt x="1318" y="171"/>
                </a:lnTo>
                <a:lnTo>
                  <a:pt x="1316" y="165"/>
                </a:lnTo>
                <a:lnTo>
                  <a:pt x="1311" y="154"/>
                </a:lnTo>
                <a:lnTo>
                  <a:pt x="1306" y="144"/>
                </a:lnTo>
                <a:lnTo>
                  <a:pt x="1299" y="134"/>
                </a:lnTo>
                <a:lnTo>
                  <a:pt x="1296" y="130"/>
                </a:lnTo>
                <a:lnTo>
                  <a:pt x="1292" y="126"/>
                </a:lnTo>
                <a:lnTo>
                  <a:pt x="1288" y="122"/>
                </a:lnTo>
                <a:lnTo>
                  <a:pt x="1284" y="118"/>
                </a:lnTo>
                <a:lnTo>
                  <a:pt x="1279" y="114"/>
                </a:lnTo>
                <a:lnTo>
                  <a:pt x="1275" y="111"/>
                </a:lnTo>
                <a:lnTo>
                  <a:pt x="1265" y="105"/>
                </a:lnTo>
                <a:lnTo>
                  <a:pt x="1260" y="103"/>
                </a:lnTo>
                <a:lnTo>
                  <a:pt x="1255" y="100"/>
                </a:lnTo>
                <a:lnTo>
                  <a:pt x="1250" y="98"/>
                </a:lnTo>
                <a:lnTo>
                  <a:pt x="1244" y="97"/>
                </a:lnTo>
                <a:lnTo>
                  <a:pt x="1233" y="94"/>
                </a:lnTo>
                <a:lnTo>
                  <a:pt x="1221" y="92"/>
                </a:lnTo>
                <a:lnTo>
                  <a:pt x="1215" y="92"/>
                </a:lnTo>
                <a:lnTo>
                  <a:pt x="1209" y="92"/>
                </a:lnTo>
                <a:lnTo>
                  <a:pt x="1197" y="92"/>
                </a:lnTo>
                <a:lnTo>
                  <a:pt x="1185" y="94"/>
                </a:lnTo>
                <a:lnTo>
                  <a:pt x="1174" y="97"/>
                </a:lnTo>
                <a:lnTo>
                  <a:pt x="1169" y="98"/>
                </a:lnTo>
                <a:lnTo>
                  <a:pt x="1163" y="100"/>
                </a:lnTo>
                <a:lnTo>
                  <a:pt x="1153" y="105"/>
                </a:lnTo>
                <a:lnTo>
                  <a:pt x="1144" y="111"/>
                </a:lnTo>
                <a:lnTo>
                  <a:pt x="1135" y="118"/>
                </a:lnTo>
                <a:lnTo>
                  <a:pt x="1127" y="126"/>
                </a:lnTo>
                <a:lnTo>
                  <a:pt x="1119" y="134"/>
                </a:lnTo>
                <a:lnTo>
                  <a:pt x="1113" y="144"/>
                </a:lnTo>
                <a:lnTo>
                  <a:pt x="1107" y="154"/>
                </a:lnTo>
                <a:lnTo>
                  <a:pt x="1102" y="165"/>
                </a:lnTo>
                <a:lnTo>
                  <a:pt x="1100" y="171"/>
                </a:lnTo>
                <a:lnTo>
                  <a:pt x="1098" y="177"/>
                </a:lnTo>
                <a:lnTo>
                  <a:pt x="1096" y="189"/>
                </a:lnTo>
                <a:lnTo>
                  <a:pt x="1094" y="202"/>
                </a:lnTo>
                <a:lnTo>
                  <a:pt x="1093" y="209"/>
                </a:lnTo>
                <a:lnTo>
                  <a:pt x="1093" y="216"/>
                </a:lnTo>
                <a:lnTo>
                  <a:pt x="1094" y="230"/>
                </a:lnTo>
                <a:lnTo>
                  <a:pt x="1096" y="243"/>
                </a:lnTo>
                <a:lnTo>
                  <a:pt x="1098" y="256"/>
                </a:lnTo>
                <a:lnTo>
                  <a:pt x="1100" y="262"/>
                </a:lnTo>
                <a:lnTo>
                  <a:pt x="1102" y="268"/>
                </a:lnTo>
                <a:lnTo>
                  <a:pt x="1107" y="279"/>
                </a:lnTo>
                <a:lnTo>
                  <a:pt x="1113" y="289"/>
                </a:lnTo>
                <a:lnTo>
                  <a:pt x="1119" y="299"/>
                </a:lnTo>
                <a:lnTo>
                  <a:pt x="1123" y="303"/>
                </a:lnTo>
                <a:lnTo>
                  <a:pt x="1127" y="307"/>
                </a:lnTo>
                <a:lnTo>
                  <a:pt x="1131" y="311"/>
                </a:lnTo>
                <a:lnTo>
                  <a:pt x="1135" y="315"/>
                </a:lnTo>
                <a:lnTo>
                  <a:pt x="1139" y="318"/>
                </a:lnTo>
                <a:lnTo>
                  <a:pt x="1144" y="322"/>
                </a:lnTo>
                <a:lnTo>
                  <a:pt x="1153" y="327"/>
                </a:lnTo>
                <a:lnTo>
                  <a:pt x="1158" y="330"/>
                </a:lnTo>
                <a:lnTo>
                  <a:pt x="1163" y="332"/>
                </a:lnTo>
                <a:lnTo>
                  <a:pt x="1169" y="334"/>
                </a:lnTo>
                <a:lnTo>
                  <a:pt x="1174" y="336"/>
                </a:lnTo>
                <a:lnTo>
                  <a:pt x="1185" y="339"/>
                </a:lnTo>
                <a:lnTo>
                  <a:pt x="1197" y="341"/>
                </a:lnTo>
                <a:lnTo>
                  <a:pt x="1203" y="341"/>
                </a:lnTo>
                <a:lnTo>
                  <a:pt x="1209" y="341"/>
                </a:lnTo>
                <a:close/>
                <a:moveTo>
                  <a:pt x="1209" y="0"/>
                </a:moveTo>
                <a:lnTo>
                  <a:pt x="1221" y="0"/>
                </a:lnTo>
                <a:lnTo>
                  <a:pt x="1233" y="1"/>
                </a:lnTo>
                <a:lnTo>
                  <a:pt x="1244" y="2"/>
                </a:lnTo>
                <a:lnTo>
                  <a:pt x="1256" y="4"/>
                </a:lnTo>
                <a:lnTo>
                  <a:pt x="1267" y="6"/>
                </a:lnTo>
                <a:lnTo>
                  <a:pt x="1277" y="9"/>
                </a:lnTo>
                <a:lnTo>
                  <a:pt x="1288" y="12"/>
                </a:lnTo>
                <a:lnTo>
                  <a:pt x="1298" y="16"/>
                </a:lnTo>
                <a:lnTo>
                  <a:pt x="1308" y="20"/>
                </a:lnTo>
                <a:lnTo>
                  <a:pt x="1318" y="25"/>
                </a:lnTo>
                <a:lnTo>
                  <a:pt x="1327" y="30"/>
                </a:lnTo>
                <a:lnTo>
                  <a:pt x="1336" y="35"/>
                </a:lnTo>
                <a:lnTo>
                  <a:pt x="1345" y="41"/>
                </a:lnTo>
                <a:lnTo>
                  <a:pt x="1349" y="44"/>
                </a:lnTo>
                <a:lnTo>
                  <a:pt x="1353" y="47"/>
                </a:lnTo>
                <a:lnTo>
                  <a:pt x="1357" y="51"/>
                </a:lnTo>
                <a:lnTo>
                  <a:pt x="1361" y="54"/>
                </a:lnTo>
                <a:lnTo>
                  <a:pt x="1369" y="61"/>
                </a:lnTo>
                <a:lnTo>
                  <a:pt x="1373" y="65"/>
                </a:lnTo>
                <a:lnTo>
                  <a:pt x="1376" y="69"/>
                </a:lnTo>
                <a:lnTo>
                  <a:pt x="1383" y="76"/>
                </a:lnTo>
                <a:lnTo>
                  <a:pt x="1390" y="84"/>
                </a:lnTo>
                <a:lnTo>
                  <a:pt x="1393" y="89"/>
                </a:lnTo>
                <a:lnTo>
                  <a:pt x="1396" y="93"/>
                </a:lnTo>
                <a:lnTo>
                  <a:pt x="1401" y="102"/>
                </a:lnTo>
                <a:lnTo>
                  <a:pt x="1407" y="111"/>
                </a:lnTo>
                <a:lnTo>
                  <a:pt x="1411" y="120"/>
                </a:lnTo>
                <a:lnTo>
                  <a:pt x="1416" y="130"/>
                </a:lnTo>
                <a:lnTo>
                  <a:pt x="1418" y="135"/>
                </a:lnTo>
                <a:lnTo>
                  <a:pt x="1420" y="140"/>
                </a:lnTo>
                <a:lnTo>
                  <a:pt x="1423" y="150"/>
                </a:lnTo>
                <a:lnTo>
                  <a:pt x="1426" y="160"/>
                </a:lnTo>
                <a:lnTo>
                  <a:pt x="1428" y="171"/>
                </a:lnTo>
                <a:lnTo>
                  <a:pt x="1430" y="182"/>
                </a:lnTo>
                <a:lnTo>
                  <a:pt x="1432" y="193"/>
                </a:lnTo>
                <a:lnTo>
                  <a:pt x="1432" y="199"/>
                </a:lnTo>
                <a:lnTo>
                  <a:pt x="1432" y="205"/>
                </a:lnTo>
                <a:lnTo>
                  <a:pt x="1433" y="216"/>
                </a:lnTo>
                <a:lnTo>
                  <a:pt x="1432" y="228"/>
                </a:lnTo>
                <a:lnTo>
                  <a:pt x="1432" y="239"/>
                </a:lnTo>
                <a:lnTo>
                  <a:pt x="1430" y="251"/>
                </a:lnTo>
                <a:lnTo>
                  <a:pt x="1428" y="262"/>
                </a:lnTo>
                <a:lnTo>
                  <a:pt x="1426" y="272"/>
                </a:lnTo>
                <a:lnTo>
                  <a:pt x="1423" y="283"/>
                </a:lnTo>
                <a:lnTo>
                  <a:pt x="1420" y="293"/>
                </a:lnTo>
                <a:lnTo>
                  <a:pt x="1416" y="303"/>
                </a:lnTo>
                <a:lnTo>
                  <a:pt x="1411" y="313"/>
                </a:lnTo>
                <a:lnTo>
                  <a:pt x="1407" y="322"/>
                </a:lnTo>
                <a:lnTo>
                  <a:pt x="1401" y="331"/>
                </a:lnTo>
                <a:lnTo>
                  <a:pt x="1396" y="340"/>
                </a:lnTo>
                <a:lnTo>
                  <a:pt x="1390" y="348"/>
                </a:lnTo>
                <a:lnTo>
                  <a:pt x="1383" y="356"/>
                </a:lnTo>
                <a:lnTo>
                  <a:pt x="1376" y="364"/>
                </a:lnTo>
                <a:lnTo>
                  <a:pt x="1369" y="372"/>
                </a:lnTo>
                <a:lnTo>
                  <a:pt x="1361" y="379"/>
                </a:lnTo>
                <a:lnTo>
                  <a:pt x="1353" y="385"/>
                </a:lnTo>
                <a:lnTo>
                  <a:pt x="1345" y="391"/>
                </a:lnTo>
                <a:lnTo>
                  <a:pt x="1336" y="397"/>
                </a:lnTo>
                <a:lnTo>
                  <a:pt x="1327" y="403"/>
                </a:lnTo>
                <a:lnTo>
                  <a:pt x="1318" y="408"/>
                </a:lnTo>
                <a:lnTo>
                  <a:pt x="1308" y="412"/>
                </a:lnTo>
                <a:lnTo>
                  <a:pt x="1298" y="417"/>
                </a:lnTo>
                <a:lnTo>
                  <a:pt x="1288" y="420"/>
                </a:lnTo>
                <a:lnTo>
                  <a:pt x="1277" y="424"/>
                </a:lnTo>
                <a:lnTo>
                  <a:pt x="1267" y="426"/>
                </a:lnTo>
                <a:lnTo>
                  <a:pt x="1256" y="429"/>
                </a:lnTo>
                <a:lnTo>
                  <a:pt x="1244" y="430"/>
                </a:lnTo>
                <a:lnTo>
                  <a:pt x="1233" y="432"/>
                </a:lnTo>
                <a:lnTo>
                  <a:pt x="1221" y="433"/>
                </a:lnTo>
                <a:lnTo>
                  <a:pt x="1209" y="433"/>
                </a:lnTo>
                <a:lnTo>
                  <a:pt x="1197" y="433"/>
                </a:lnTo>
                <a:lnTo>
                  <a:pt x="1186" y="432"/>
                </a:lnTo>
                <a:lnTo>
                  <a:pt x="1174" y="430"/>
                </a:lnTo>
                <a:lnTo>
                  <a:pt x="1163" y="429"/>
                </a:lnTo>
                <a:lnTo>
                  <a:pt x="1152" y="426"/>
                </a:lnTo>
                <a:lnTo>
                  <a:pt x="1141" y="424"/>
                </a:lnTo>
                <a:lnTo>
                  <a:pt x="1130" y="420"/>
                </a:lnTo>
                <a:lnTo>
                  <a:pt x="1120" y="417"/>
                </a:lnTo>
                <a:lnTo>
                  <a:pt x="1110" y="412"/>
                </a:lnTo>
                <a:lnTo>
                  <a:pt x="1100" y="408"/>
                </a:lnTo>
                <a:lnTo>
                  <a:pt x="1091" y="403"/>
                </a:lnTo>
                <a:lnTo>
                  <a:pt x="1082" y="397"/>
                </a:lnTo>
                <a:lnTo>
                  <a:pt x="1073" y="391"/>
                </a:lnTo>
                <a:lnTo>
                  <a:pt x="1069" y="388"/>
                </a:lnTo>
                <a:lnTo>
                  <a:pt x="1065" y="385"/>
                </a:lnTo>
                <a:lnTo>
                  <a:pt x="1061" y="382"/>
                </a:lnTo>
                <a:lnTo>
                  <a:pt x="1057" y="379"/>
                </a:lnTo>
                <a:lnTo>
                  <a:pt x="1049" y="372"/>
                </a:lnTo>
                <a:lnTo>
                  <a:pt x="1046" y="368"/>
                </a:lnTo>
                <a:lnTo>
                  <a:pt x="1042" y="364"/>
                </a:lnTo>
                <a:lnTo>
                  <a:pt x="1035" y="356"/>
                </a:lnTo>
                <a:lnTo>
                  <a:pt x="1029" y="348"/>
                </a:lnTo>
                <a:lnTo>
                  <a:pt x="1026" y="344"/>
                </a:lnTo>
                <a:lnTo>
                  <a:pt x="1023" y="340"/>
                </a:lnTo>
                <a:lnTo>
                  <a:pt x="1017" y="331"/>
                </a:lnTo>
                <a:lnTo>
                  <a:pt x="1012" y="322"/>
                </a:lnTo>
                <a:lnTo>
                  <a:pt x="1007" y="313"/>
                </a:lnTo>
                <a:lnTo>
                  <a:pt x="1003" y="303"/>
                </a:lnTo>
                <a:lnTo>
                  <a:pt x="1001" y="298"/>
                </a:lnTo>
                <a:lnTo>
                  <a:pt x="999" y="293"/>
                </a:lnTo>
                <a:lnTo>
                  <a:pt x="995" y="283"/>
                </a:lnTo>
                <a:lnTo>
                  <a:pt x="992" y="272"/>
                </a:lnTo>
                <a:lnTo>
                  <a:pt x="990" y="262"/>
                </a:lnTo>
                <a:lnTo>
                  <a:pt x="988" y="251"/>
                </a:lnTo>
                <a:lnTo>
                  <a:pt x="987" y="239"/>
                </a:lnTo>
                <a:lnTo>
                  <a:pt x="986" y="234"/>
                </a:lnTo>
                <a:lnTo>
                  <a:pt x="986" y="228"/>
                </a:lnTo>
                <a:lnTo>
                  <a:pt x="986" y="216"/>
                </a:lnTo>
                <a:lnTo>
                  <a:pt x="986" y="205"/>
                </a:lnTo>
                <a:lnTo>
                  <a:pt x="987" y="193"/>
                </a:lnTo>
                <a:lnTo>
                  <a:pt x="988" y="182"/>
                </a:lnTo>
                <a:lnTo>
                  <a:pt x="990" y="171"/>
                </a:lnTo>
                <a:lnTo>
                  <a:pt x="992" y="160"/>
                </a:lnTo>
                <a:lnTo>
                  <a:pt x="995" y="150"/>
                </a:lnTo>
                <a:lnTo>
                  <a:pt x="999" y="140"/>
                </a:lnTo>
                <a:lnTo>
                  <a:pt x="1003" y="130"/>
                </a:lnTo>
                <a:lnTo>
                  <a:pt x="1007" y="120"/>
                </a:lnTo>
                <a:lnTo>
                  <a:pt x="1012" y="111"/>
                </a:lnTo>
                <a:lnTo>
                  <a:pt x="1017" y="102"/>
                </a:lnTo>
                <a:lnTo>
                  <a:pt x="1023" y="93"/>
                </a:lnTo>
                <a:lnTo>
                  <a:pt x="1029" y="84"/>
                </a:lnTo>
                <a:lnTo>
                  <a:pt x="1035" y="76"/>
                </a:lnTo>
                <a:lnTo>
                  <a:pt x="1042" y="69"/>
                </a:lnTo>
                <a:lnTo>
                  <a:pt x="1049" y="61"/>
                </a:lnTo>
                <a:lnTo>
                  <a:pt x="1057" y="54"/>
                </a:lnTo>
                <a:lnTo>
                  <a:pt x="1065" y="47"/>
                </a:lnTo>
                <a:lnTo>
                  <a:pt x="1073" y="41"/>
                </a:lnTo>
                <a:lnTo>
                  <a:pt x="1082" y="35"/>
                </a:lnTo>
                <a:lnTo>
                  <a:pt x="1091" y="30"/>
                </a:lnTo>
                <a:lnTo>
                  <a:pt x="1100" y="25"/>
                </a:lnTo>
                <a:lnTo>
                  <a:pt x="1110" y="20"/>
                </a:lnTo>
                <a:lnTo>
                  <a:pt x="1120" y="16"/>
                </a:lnTo>
                <a:lnTo>
                  <a:pt x="1130" y="12"/>
                </a:lnTo>
                <a:lnTo>
                  <a:pt x="1141" y="9"/>
                </a:lnTo>
                <a:lnTo>
                  <a:pt x="1152" y="6"/>
                </a:lnTo>
                <a:lnTo>
                  <a:pt x="1163" y="4"/>
                </a:lnTo>
                <a:lnTo>
                  <a:pt x="1174" y="2"/>
                </a:lnTo>
                <a:lnTo>
                  <a:pt x="1186" y="1"/>
                </a:lnTo>
                <a:lnTo>
                  <a:pt x="1197" y="0"/>
                </a:lnTo>
                <a:lnTo>
                  <a:pt x="1209" y="0"/>
                </a:lnTo>
                <a:close/>
                <a:moveTo>
                  <a:pt x="2022" y="7"/>
                </a:moveTo>
                <a:lnTo>
                  <a:pt x="2026" y="8"/>
                </a:lnTo>
                <a:lnTo>
                  <a:pt x="2028" y="8"/>
                </a:lnTo>
                <a:lnTo>
                  <a:pt x="2029" y="10"/>
                </a:lnTo>
                <a:lnTo>
                  <a:pt x="2030" y="11"/>
                </a:lnTo>
                <a:lnTo>
                  <a:pt x="2031" y="13"/>
                </a:lnTo>
                <a:lnTo>
                  <a:pt x="2031" y="16"/>
                </a:lnTo>
                <a:lnTo>
                  <a:pt x="2031" y="19"/>
                </a:lnTo>
                <a:lnTo>
                  <a:pt x="2017" y="88"/>
                </a:lnTo>
                <a:lnTo>
                  <a:pt x="2015" y="93"/>
                </a:lnTo>
                <a:lnTo>
                  <a:pt x="2013" y="96"/>
                </a:lnTo>
                <a:lnTo>
                  <a:pt x="2012" y="97"/>
                </a:lnTo>
                <a:lnTo>
                  <a:pt x="2010" y="98"/>
                </a:lnTo>
                <a:lnTo>
                  <a:pt x="2008" y="99"/>
                </a:lnTo>
                <a:lnTo>
                  <a:pt x="2005" y="99"/>
                </a:lnTo>
                <a:lnTo>
                  <a:pt x="1950" y="99"/>
                </a:lnTo>
                <a:lnTo>
                  <a:pt x="1950" y="416"/>
                </a:lnTo>
                <a:lnTo>
                  <a:pt x="1949" y="418"/>
                </a:lnTo>
                <a:lnTo>
                  <a:pt x="1949" y="420"/>
                </a:lnTo>
                <a:lnTo>
                  <a:pt x="1947" y="423"/>
                </a:lnTo>
                <a:lnTo>
                  <a:pt x="1945" y="424"/>
                </a:lnTo>
                <a:lnTo>
                  <a:pt x="1944" y="425"/>
                </a:lnTo>
                <a:lnTo>
                  <a:pt x="1940" y="426"/>
                </a:lnTo>
                <a:lnTo>
                  <a:pt x="1861" y="426"/>
                </a:lnTo>
                <a:lnTo>
                  <a:pt x="1858" y="425"/>
                </a:lnTo>
                <a:lnTo>
                  <a:pt x="1855" y="423"/>
                </a:lnTo>
                <a:lnTo>
                  <a:pt x="1854" y="421"/>
                </a:lnTo>
                <a:lnTo>
                  <a:pt x="1853" y="420"/>
                </a:lnTo>
                <a:lnTo>
                  <a:pt x="1853" y="418"/>
                </a:lnTo>
                <a:lnTo>
                  <a:pt x="1853" y="416"/>
                </a:lnTo>
                <a:lnTo>
                  <a:pt x="1853" y="99"/>
                </a:lnTo>
                <a:lnTo>
                  <a:pt x="1796" y="99"/>
                </a:lnTo>
                <a:lnTo>
                  <a:pt x="1792" y="98"/>
                </a:lnTo>
                <a:lnTo>
                  <a:pt x="1789" y="96"/>
                </a:lnTo>
                <a:lnTo>
                  <a:pt x="1787" y="93"/>
                </a:lnTo>
                <a:lnTo>
                  <a:pt x="1786" y="91"/>
                </a:lnTo>
                <a:lnTo>
                  <a:pt x="1786" y="89"/>
                </a:lnTo>
                <a:lnTo>
                  <a:pt x="1786" y="17"/>
                </a:lnTo>
                <a:lnTo>
                  <a:pt x="1786" y="15"/>
                </a:lnTo>
                <a:lnTo>
                  <a:pt x="1787" y="13"/>
                </a:lnTo>
                <a:lnTo>
                  <a:pt x="1789" y="10"/>
                </a:lnTo>
                <a:lnTo>
                  <a:pt x="1790" y="9"/>
                </a:lnTo>
                <a:lnTo>
                  <a:pt x="1792" y="8"/>
                </a:lnTo>
                <a:lnTo>
                  <a:pt x="1796" y="7"/>
                </a:lnTo>
                <a:lnTo>
                  <a:pt x="2022" y="7"/>
                </a:lnTo>
                <a:close/>
                <a:moveTo>
                  <a:pt x="1716" y="7"/>
                </a:moveTo>
                <a:lnTo>
                  <a:pt x="1720" y="8"/>
                </a:lnTo>
                <a:lnTo>
                  <a:pt x="1722" y="8"/>
                </a:lnTo>
                <a:lnTo>
                  <a:pt x="1723" y="10"/>
                </a:lnTo>
                <a:lnTo>
                  <a:pt x="1724" y="11"/>
                </a:lnTo>
                <a:lnTo>
                  <a:pt x="1725" y="13"/>
                </a:lnTo>
                <a:lnTo>
                  <a:pt x="1725" y="16"/>
                </a:lnTo>
                <a:lnTo>
                  <a:pt x="1725" y="19"/>
                </a:lnTo>
                <a:lnTo>
                  <a:pt x="1711" y="88"/>
                </a:lnTo>
                <a:lnTo>
                  <a:pt x="1710" y="93"/>
                </a:lnTo>
                <a:lnTo>
                  <a:pt x="1707" y="96"/>
                </a:lnTo>
                <a:lnTo>
                  <a:pt x="1706" y="97"/>
                </a:lnTo>
                <a:lnTo>
                  <a:pt x="1704" y="98"/>
                </a:lnTo>
                <a:lnTo>
                  <a:pt x="1702" y="99"/>
                </a:lnTo>
                <a:lnTo>
                  <a:pt x="1699" y="99"/>
                </a:lnTo>
                <a:lnTo>
                  <a:pt x="1653" y="99"/>
                </a:lnTo>
                <a:lnTo>
                  <a:pt x="1653" y="416"/>
                </a:lnTo>
                <a:lnTo>
                  <a:pt x="1653" y="418"/>
                </a:lnTo>
                <a:lnTo>
                  <a:pt x="1652" y="420"/>
                </a:lnTo>
                <a:lnTo>
                  <a:pt x="1650" y="423"/>
                </a:lnTo>
                <a:lnTo>
                  <a:pt x="1649" y="424"/>
                </a:lnTo>
                <a:lnTo>
                  <a:pt x="1647" y="425"/>
                </a:lnTo>
                <a:lnTo>
                  <a:pt x="1644" y="426"/>
                </a:lnTo>
                <a:lnTo>
                  <a:pt x="1565" y="426"/>
                </a:lnTo>
                <a:lnTo>
                  <a:pt x="1561" y="425"/>
                </a:lnTo>
                <a:lnTo>
                  <a:pt x="1558" y="423"/>
                </a:lnTo>
                <a:lnTo>
                  <a:pt x="1557" y="421"/>
                </a:lnTo>
                <a:lnTo>
                  <a:pt x="1557" y="420"/>
                </a:lnTo>
                <a:lnTo>
                  <a:pt x="1556" y="418"/>
                </a:lnTo>
                <a:lnTo>
                  <a:pt x="1556" y="416"/>
                </a:lnTo>
                <a:lnTo>
                  <a:pt x="1556" y="99"/>
                </a:lnTo>
                <a:lnTo>
                  <a:pt x="1490" y="99"/>
                </a:lnTo>
                <a:lnTo>
                  <a:pt x="1486" y="98"/>
                </a:lnTo>
                <a:lnTo>
                  <a:pt x="1483" y="96"/>
                </a:lnTo>
                <a:lnTo>
                  <a:pt x="1481" y="93"/>
                </a:lnTo>
                <a:lnTo>
                  <a:pt x="1481" y="91"/>
                </a:lnTo>
                <a:lnTo>
                  <a:pt x="1480" y="89"/>
                </a:lnTo>
                <a:lnTo>
                  <a:pt x="1480" y="17"/>
                </a:lnTo>
                <a:lnTo>
                  <a:pt x="1481" y="15"/>
                </a:lnTo>
                <a:lnTo>
                  <a:pt x="1481" y="13"/>
                </a:lnTo>
                <a:lnTo>
                  <a:pt x="1483" y="10"/>
                </a:lnTo>
                <a:lnTo>
                  <a:pt x="1484" y="9"/>
                </a:lnTo>
                <a:lnTo>
                  <a:pt x="1486" y="8"/>
                </a:lnTo>
                <a:lnTo>
                  <a:pt x="1490" y="7"/>
                </a:lnTo>
                <a:lnTo>
                  <a:pt x="1716" y="7"/>
                </a:lnTo>
                <a:close/>
                <a:moveTo>
                  <a:pt x="2168" y="281"/>
                </a:moveTo>
                <a:lnTo>
                  <a:pt x="2222" y="281"/>
                </a:lnTo>
                <a:lnTo>
                  <a:pt x="2195" y="154"/>
                </a:lnTo>
                <a:lnTo>
                  <a:pt x="2168" y="281"/>
                </a:lnTo>
                <a:close/>
                <a:moveTo>
                  <a:pt x="2236" y="359"/>
                </a:moveTo>
                <a:lnTo>
                  <a:pt x="2154" y="359"/>
                </a:lnTo>
                <a:lnTo>
                  <a:pt x="2142" y="416"/>
                </a:lnTo>
                <a:lnTo>
                  <a:pt x="2142" y="418"/>
                </a:lnTo>
                <a:lnTo>
                  <a:pt x="2141" y="420"/>
                </a:lnTo>
                <a:lnTo>
                  <a:pt x="2138" y="423"/>
                </a:lnTo>
                <a:lnTo>
                  <a:pt x="2136" y="424"/>
                </a:lnTo>
                <a:lnTo>
                  <a:pt x="2135" y="425"/>
                </a:lnTo>
                <a:lnTo>
                  <a:pt x="2133" y="426"/>
                </a:lnTo>
                <a:lnTo>
                  <a:pt x="2131" y="426"/>
                </a:lnTo>
                <a:lnTo>
                  <a:pt x="2058" y="426"/>
                </a:lnTo>
                <a:lnTo>
                  <a:pt x="2056" y="425"/>
                </a:lnTo>
                <a:lnTo>
                  <a:pt x="2054" y="425"/>
                </a:lnTo>
                <a:lnTo>
                  <a:pt x="2052" y="424"/>
                </a:lnTo>
                <a:lnTo>
                  <a:pt x="2051" y="422"/>
                </a:lnTo>
                <a:lnTo>
                  <a:pt x="2050" y="421"/>
                </a:lnTo>
                <a:lnTo>
                  <a:pt x="2049" y="418"/>
                </a:lnTo>
                <a:lnTo>
                  <a:pt x="2050" y="412"/>
                </a:lnTo>
                <a:lnTo>
                  <a:pt x="2142" y="17"/>
                </a:lnTo>
                <a:lnTo>
                  <a:pt x="2143" y="15"/>
                </a:lnTo>
                <a:lnTo>
                  <a:pt x="2144" y="13"/>
                </a:lnTo>
                <a:lnTo>
                  <a:pt x="2147" y="10"/>
                </a:lnTo>
                <a:lnTo>
                  <a:pt x="2149" y="9"/>
                </a:lnTo>
                <a:lnTo>
                  <a:pt x="2151" y="8"/>
                </a:lnTo>
                <a:lnTo>
                  <a:pt x="2155" y="7"/>
                </a:lnTo>
                <a:lnTo>
                  <a:pt x="2236" y="7"/>
                </a:lnTo>
                <a:lnTo>
                  <a:pt x="2239" y="7"/>
                </a:lnTo>
                <a:lnTo>
                  <a:pt x="2241" y="8"/>
                </a:lnTo>
                <a:lnTo>
                  <a:pt x="2245" y="10"/>
                </a:lnTo>
                <a:lnTo>
                  <a:pt x="2248" y="13"/>
                </a:lnTo>
                <a:lnTo>
                  <a:pt x="2249" y="15"/>
                </a:lnTo>
                <a:lnTo>
                  <a:pt x="2249" y="17"/>
                </a:lnTo>
                <a:lnTo>
                  <a:pt x="2343" y="412"/>
                </a:lnTo>
                <a:lnTo>
                  <a:pt x="2343" y="418"/>
                </a:lnTo>
                <a:lnTo>
                  <a:pt x="2343" y="421"/>
                </a:lnTo>
                <a:lnTo>
                  <a:pt x="2342" y="422"/>
                </a:lnTo>
                <a:lnTo>
                  <a:pt x="2341" y="424"/>
                </a:lnTo>
                <a:lnTo>
                  <a:pt x="2339" y="425"/>
                </a:lnTo>
                <a:lnTo>
                  <a:pt x="2335" y="426"/>
                </a:lnTo>
                <a:lnTo>
                  <a:pt x="2260" y="426"/>
                </a:lnTo>
                <a:lnTo>
                  <a:pt x="2256" y="425"/>
                </a:lnTo>
                <a:lnTo>
                  <a:pt x="2252" y="423"/>
                </a:lnTo>
                <a:lnTo>
                  <a:pt x="2251" y="422"/>
                </a:lnTo>
                <a:lnTo>
                  <a:pt x="2249" y="420"/>
                </a:lnTo>
                <a:lnTo>
                  <a:pt x="2248" y="418"/>
                </a:lnTo>
                <a:lnTo>
                  <a:pt x="2248" y="416"/>
                </a:lnTo>
                <a:lnTo>
                  <a:pt x="2236" y="359"/>
                </a:lnTo>
                <a:close/>
                <a:moveTo>
                  <a:pt x="912" y="4"/>
                </a:moveTo>
                <a:lnTo>
                  <a:pt x="915" y="5"/>
                </a:lnTo>
                <a:lnTo>
                  <a:pt x="918" y="7"/>
                </a:lnTo>
                <a:lnTo>
                  <a:pt x="919" y="9"/>
                </a:lnTo>
                <a:lnTo>
                  <a:pt x="920" y="10"/>
                </a:lnTo>
                <a:lnTo>
                  <a:pt x="921" y="12"/>
                </a:lnTo>
                <a:lnTo>
                  <a:pt x="921" y="14"/>
                </a:lnTo>
                <a:lnTo>
                  <a:pt x="921" y="291"/>
                </a:lnTo>
                <a:lnTo>
                  <a:pt x="921" y="301"/>
                </a:lnTo>
                <a:lnTo>
                  <a:pt x="920" y="310"/>
                </a:lnTo>
                <a:lnTo>
                  <a:pt x="919" y="320"/>
                </a:lnTo>
                <a:lnTo>
                  <a:pt x="918" y="328"/>
                </a:lnTo>
                <a:lnTo>
                  <a:pt x="917" y="336"/>
                </a:lnTo>
                <a:lnTo>
                  <a:pt x="915" y="344"/>
                </a:lnTo>
                <a:lnTo>
                  <a:pt x="911" y="359"/>
                </a:lnTo>
                <a:lnTo>
                  <a:pt x="908" y="365"/>
                </a:lnTo>
                <a:lnTo>
                  <a:pt x="906" y="372"/>
                </a:lnTo>
                <a:lnTo>
                  <a:pt x="899" y="383"/>
                </a:lnTo>
                <a:lnTo>
                  <a:pt x="896" y="388"/>
                </a:lnTo>
                <a:lnTo>
                  <a:pt x="893" y="393"/>
                </a:lnTo>
                <a:lnTo>
                  <a:pt x="885" y="401"/>
                </a:lnTo>
                <a:lnTo>
                  <a:pt x="877" y="408"/>
                </a:lnTo>
                <a:lnTo>
                  <a:pt x="872" y="411"/>
                </a:lnTo>
                <a:lnTo>
                  <a:pt x="868" y="414"/>
                </a:lnTo>
                <a:lnTo>
                  <a:pt x="858" y="419"/>
                </a:lnTo>
                <a:lnTo>
                  <a:pt x="849" y="422"/>
                </a:lnTo>
                <a:lnTo>
                  <a:pt x="839" y="425"/>
                </a:lnTo>
                <a:lnTo>
                  <a:pt x="829" y="427"/>
                </a:lnTo>
                <a:lnTo>
                  <a:pt x="819" y="428"/>
                </a:lnTo>
                <a:lnTo>
                  <a:pt x="808" y="428"/>
                </a:lnTo>
                <a:lnTo>
                  <a:pt x="796" y="428"/>
                </a:lnTo>
                <a:lnTo>
                  <a:pt x="784" y="427"/>
                </a:lnTo>
                <a:lnTo>
                  <a:pt x="774" y="425"/>
                </a:lnTo>
                <a:lnTo>
                  <a:pt x="764" y="423"/>
                </a:lnTo>
                <a:lnTo>
                  <a:pt x="759" y="421"/>
                </a:lnTo>
                <a:lnTo>
                  <a:pt x="756" y="419"/>
                </a:lnTo>
                <a:lnTo>
                  <a:pt x="753" y="415"/>
                </a:lnTo>
                <a:lnTo>
                  <a:pt x="752" y="411"/>
                </a:lnTo>
                <a:lnTo>
                  <a:pt x="739" y="353"/>
                </a:lnTo>
                <a:lnTo>
                  <a:pt x="738" y="350"/>
                </a:lnTo>
                <a:lnTo>
                  <a:pt x="739" y="347"/>
                </a:lnTo>
                <a:lnTo>
                  <a:pt x="739" y="345"/>
                </a:lnTo>
                <a:lnTo>
                  <a:pt x="741" y="344"/>
                </a:lnTo>
                <a:lnTo>
                  <a:pt x="742" y="342"/>
                </a:lnTo>
                <a:lnTo>
                  <a:pt x="744" y="341"/>
                </a:lnTo>
                <a:lnTo>
                  <a:pt x="746" y="341"/>
                </a:lnTo>
                <a:lnTo>
                  <a:pt x="749" y="341"/>
                </a:lnTo>
                <a:lnTo>
                  <a:pt x="763" y="344"/>
                </a:lnTo>
                <a:lnTo>
                  <a:pt x="773" y="346"/>
                </a:lnTo>
                <a:lnTo>
                  <a:pt x="785" y="346"/>
                </a:lnTo>
                <a:lnTo>
                  <a:pt x="791" y="346"/>
                </a:lnTo>
                <a:lnTo>
                  <a:pt x="797" y="345"/>
                </a:lnTo>
                <a:lnTo>
                  <a:pt x="803" y="344"/>
                </a:lnTo>
                <a:lnTo>
                  <a:pt x="808" y="342"/>
                </a:lnTo>
                <a:lnTo>
                  <a:pt x="812" y="339"/>
                </a:lnTo>
                <a:lnTo>
                  <a:pt x="816" y="336"/>
                </a:lnTo>
                <a:lnTo>
                  <a:pt x="817" y="335"/>
                </a:lnTo>
                <a:lnTo>
                  <a:pt x="819" y="333"/>
                </a:lnTo>
                <a:lnTo>
                  <a:pt x="821" y="328"/>
                </a:lnTo>
                <a:lnTo>
                  <a:pt x="824" y="323"/>
                </a:lnTo>
                <a:lnTo>
                  <a:pt x="825" y="318"/>
                </a:lnTo>
                <a:lnTo>
                  <a:pt x="827" y="311"/>
                </a:lnTo>
                <a:lnTo>
                  <a:pt x="828" y="304"/>
                </a:lnTo>
                <a:lnTo>
                  <a:pt x="829" y="297"/>
                </a:lnTo>
                <a:lnTo>
                  <a:pt x="829" y="288"/>
                </a:lnTo>
                <a:lnTo>
                  <a:pt x="830" y="269"/>
                </a:lnTo>
                <a:lnTo>
                  <a:pt x="830" y="14"/>
                </a:lnTo>
                <a:lnTo>
                  <a:pt x="830" y="12"/>
                </a:lnTo>
                <a:lnTo>
                  <a:pt x="830" y="10"/>
                </a:lnTo>
                <a:lnTo>
                  <a:pt x="832" y="7"/>
                </a:lnTo>
                <a:lnTo>
                  <a:pt x="833" y="6"/>
                </a:lnTo>
                <a:lnTo>
                  <a:pt x="835" y="5"/>
                </a:lnTo>
                <a:lnTo>
                  <a:pt x="837" y="5"/>
                </a:lnTo>
                <a:lnTo>
                  <a:pt x="838" y="4"/>
                </a:lnTo>
                <a:lnTo>
                  <a:pt x="912" y="4"/>
                </a:lnTo>
                <a:close/>
                <a:moveTo>
                  <a:pt x="2826" y="1740"/>
                </a:moveTo>
                <a:lnTo>
                  <a:pt x="2925" y="1740"/>
                </a:lnTo>
                <a:lnTo>
                  <a:pt x="2875" y="1609"/>
                </a:lnTo>
                <a:lnTo>
                  <a:pt x="2826" y="1740"/>
                </a:lnTo>
                <a:close/>
                <a:moveTo>
                  <a:pt x="2956" y="1822"/>
                </a:moveTo>
                <a:lnTo>
                  <a:pt x="2796" y="1822"/>
                </a:lnTo>
                <a:lnTo>
                  <a:pt x="2774" y="1879"/>
                </a:lnTo>
                <a:lnTo>
                  <a:pt x="2773" y="1882"/>
                </a:lnTo>
                <a:lnTo>
                  <a:pt x="2771" y="1884"/>
                </a:lnTo>
                <a:lnTo>
                  <a:pt x="2770" y="1885"/>
                </a:lnTo>
                <a:lnTo>
                  <a:pt x="2768" y="1887"/>
                </a:lnTo>
                <a:lnTo>
                  <a:pt x="2764" y="1888"/>
                </a:lnTo>
                <a:lnTo>
                  <a:pt x="2760" y="1889"/>
                </a:lnTo>
                <a:lnTo>
                  <a:pt x="2681" y="1889"/>
                </a:lnTo>
                <a:lnTo>
                  <a:pt x="2679" y="1889"/>
                </a:lnTo>
                <a:lnTo>
                  <a:pt x="2677" y="1888"/>
                </a:lnTo>
                <a:lnTo>
                  <a:pt x="2675" y="1887"/>
                </a:lnTo>
                <a:lnTo>
                  <a:pt x="2673" y="1885"/>
                </a:lnTo>
                <a:lnTo>
                  <a:pt x="2672" y="1883"/>
                </a:lnTo>
                <a:lnTo>
                  <a:pt x="2671" y="1881"/>
                </a:lnTo>
                <a:lnTo>
                  <a:pt x="2672" y="1878"/>
                </a:lnTo>
                <a:lnTo>
                  <a:pt x="2673" y="1875"/>
                </a:lnTo>
                <a:lnTo>
                  <a:pt x="2828" y="1480"/>
                </a:lnTo>
                <a:lnTo>
                  <a:pt x="2829" y="1477"/>
                </a:lnTo>
                <a:lnTo>
                  <a:pt x="2830" y="1475"/>
                </a:lnTo>
                <a:lnTo>
                  <a:pt x="2833" y="1472"/>
                </a:lnTo>
                <a:lnTo>
                  <a:pt x="2837" y="1471"/>
                </a:lnTo>
                <a:lnTo>
                  <a:pt x="2839" y="1470"/>
                </a:lnTo>
                <a:lnTo>
                  <a:pt x="2842" y="1470"/>
                </a:lnTo>
                <a:lnTo>
                  <a:pt x="2911" y="1470"/>
                </a:lnTo>
                <a:lnTo>
                  <a:pt x="2916" y="1471"/>
                </a:lnTo>
                <a:lnTo>
                  <a:pt x="2920" y="1472"/>
                </a:lnTo>
                <a:lnTo>
                  <a:pt x="2923" y="1475"/>
                </a:lnTo>
                <a:lnTo>
                  <a:pt x="2924" y="1477"/>
                </a:lnTo>
                <a:lnTo>
                  <a:pt x="2925" y="1480"/>
                </a:lnTo>
                <a:lnTo>
                  <a:pt x="3081" y="1875"/>
                </a:lnTo>
                <a:lnTo>
                  <a:pt x="3082" y="1878"/>
                </a:lnTo>
                <a:lnTo>
                  <a:pt x="3082" y="1881"/>
                </a:lnTo>
                <a:lnTo>
                  <a:pt x="3081" y="1883"/>
                </a:lnTo>
                <a:lnTo>
                  <a:pt x="3080" y="1885"/>
                </a:lnTo>
                <a:lnTo>
                  <a:pt x="3079" y="1887"/>
                </a:lnTo>
                <a:lnTo>
                  <a:pt x="3077" y="1888"/>
                </a:lnTo>
                <a:lnTo>
                  <a:pt x="3074" y="1889"/>
                </a:lnTo>
                <a:lnTo>
                  <a:pt x="3072" y="1889"/>
                </a:lnTo>
                <a:lnTo>
                  <a:pt x="2991" y="1889"/>
                </a:lnTo>
                <a:lnTo>
                  <a:pt x="2987" y="1888"/>
                </a:lnTo>
                <a:lnTo>
                  <a:pt x="2985" y="1888"/>
                </a:lnTo>
                <a:lnTo>
                  <a:pt x="2983" y="1887"/>
                </a:lnTo>
                <a:lnTo>
                  <a:pt x="2981" y="1885"/>
                </a:lnTo>
                <a:lnTo>
                  <a:pt x="2980" y="1884"/>
                </a:lnTo>
                <a:lnTo>
                  <a:pt x="2979" y="1882"/>
                </a:lnTo>
                <a:lnTo>
                  <a:pt x="2978" y="1879"/>
                </a:lnTo>
                <a:lnTo>
                  <a:pt x="2956" y="1822"/>
                </a:lnTo>
                <a:close/>
                <a:moveTo>
                  <a:pt x="1829" y="1889"/>
                </a:moveTo>
                <a:lnTo>
                  <a:pt x="1747" y="1889"/>
                </a:lnTo>
                <a:lnTo>
                  <a:pt x="1743" y="1888"/>
                </a:lnTo>
                <a:lnTo>
                  <a:pt x="1739" y="1886"/>
                </a:lnTo>
                <a:lnTo>
                  <a:pt x="1738" y="1885"/>
                </a:lnTo>
                <a:lnTo>
                  <a:pt x="1737" y="1883"/>
                </a:lnTo>
                <a:lnTo>
                  <a:pt x="1737" y="1881"/>
                </a:lnTo>
                <a:lnTo>
                  <a:pt x="1737" y="1879"/>
                </a:lnTo>
                <a:lnTo>
                  <a:pt x="1737" y="1480"/>
                </a:lnTo>
                <a:lnTo>
                  <a:pt x="1737" y="1478"/>
                </a:lnTo>
                <a:lnTo>
                  <a:pt x="1737" y="1476"/>
                </a:lnTo>
                <a:lnTo>
                  <a:pt x="1739" y="1473"/>
                </a:lnTo>
                <a:lnTo>
                  <a:pt x="1741" y="1472"/>
                </a:lnTo>
                <a:lnTo>
                  <a:pt x="1743" y="1471"/>
                </a:lnTo>
                <a:lnTo>
                  <a:pt x="1747" y="1470"/>
                </a:lnTo>
                <a:lnTo>
                  <a:pt x="1829" y="1470"/>
                </a:lnTo>
                <a:lnTo>
                  <a:pt x="1833" y="1471"/>
                </a:lnTo>
                <a:lnTo>
                  <a:pt x="1836" y="1473"/>
                </a:lnTo>
                <a:lnTo>
                  <a:pt x="1837" y="1474"/>
                </a:lnTo>
                <a:lnTo>
                  <a:pt x="1838" y="1476"/>
                </a:lnTo>
                <a:lnTo>
                  <a:pt x="1839" y="1478"/>
                </a:lnTo>
                <a:lnTo>
                  <a:pt x="1839" y="1480"/>
                </a:lnTo>
                <a:lnTo>
                  <a:pt x="1839" y="1655"/>
                </a:lnTo>
                <a:lnTo>
                  <a:pt x="1982" y="1480"/>
                </a:lnTo>
                <a:lnTo>
                  <a:pt x="1986" y="1476"/>
                </a:lnTo>
                <a:lnTo>
                  <a:pt x="1987" y="1474"/>
                </a:lnTo>
                <a:lnTo>
                  <a:pt x="1990" y="1473"/>
                </a:lnTo>
                <a:lnTo>
                  <a:pt x="1992" y="1472"/>
                </a:lnTo>
                <a:lnTo>
                  <a:pt x="1994" y="1471"/>
                </a:lnTo>
                <a:lnTo>
                  <a:pt x="1997" y="1470"/>
                </a:lnTo>
                <a:lnTo>
                  <a:pt x="2000" y="1470"/>
                </a:lnTo>
                <a:lnTo>
                  <a:pt x="2095" y="1470"/>
                </a:lnTo>
                <a:lnTo>
                  <a:pt x="2098" y="1471"/>
                </a:lnTo>
                <a:lnTo>
                  <a:pt x="2101" y="1472"/>
                </a:lnTo>
                <a:lnTo>
                  <a:pt x="2102" y="1473"/>
                </a:lnTo>
                <a:lnTo>
                  <a:pt x="2103" y="1475"/>
                </a:lnTo>
                <a:lnTo>
                  <a:pt x="2104" y="1478"/>
                </a:lnTo>
                <a:lnTo>
                  <a:pt x="2104" y="1480"/>
                </a:lnTo>
                <a:lnTo>
                  <a:pt x="2103" y="1483"/>
                </a:lnTo>
                <a:lnTo>
                  <a:pt x="2101" y="1485"/>
                </a:lnTo>
                <a:lnTo>
                  <a:pt x="1970" y="1646"/>
                </a:lnTo>
                <a:lnTo>
                  <a:pt x="2105" y="1876"/>
                </a:lnTo>
                <a:lnTo>
                  <a:pt x="2107" y="1878"/>
                </a:lnTo>
                <a:lnTo>
                  <a:pt x="2107" y="1880"/>
                </a:lnTo>
                <a:lnTo>
                  <a:pt x="2107" y="1883"/>
                </a:lnTo>
                <a:lnTo>
                  <a:pt x="2106" y="1885"/>
                </a:lnTo>
                <a:lnTo>
                  <a:pt x="2105" y="1886"/>
                </a:lnTo>
                <a:lnTo>
                  <a:pt x="2104" y="1888"/>
                </a:lnTo>
                <a:lnTo>
                  <a:pt x="2102" y="1888"/>
                </a:lnTo>
                <a:lnTo>
                  <a:pt x="2099" y="1889"/>
                </a:lnTo>
                <a:lnTo>
                  <a:pt x="2003" y="1889"/>
                </a:lnTo>
                <a:lnTo>
                  <a:pt x="1998" y="1888"/>
                </a:lnTo>
                <a:lnTo>
                  <a:pt x="1994" y="1887"/>
                </a:lnTo>
                <a:lnTo>
                  <a:pt x="1992" y="1885"/>
                </a:lnTo>
                <a:lnTo>
                  <a:pt x="1991" y="1884"/>
                </a:lnTo>
                <a:lnTo>
                  <a:pt x="1988" y="1879"/>
                </a:lnTo>
                <a:lnTo>
                  <a:pt x="1892" y="1713"/>
                </a:lnTo>
                <a:lnTo>
                  <a:pt x="1839" y="1778"/>
                </a:lnTo>
                <a:lnTo>
                  <a:pt x="1839" y="1879"/>
                </a:lnTo>
                <a:lnTo>
                  <a:pt x="1839" y="1881"/>
                </a:lnTo>
                <a:lnTo>
                  <a:pt x="1838" y="1883"/>
                </a:lnTo>
                <a:lnTo>
                  <a:pt x="1836" y="1886"/>
                </a:lnTo>
                <a:lnTo>
                  <a:pt x="1835" y="1887"/>
                </a:lnTo>
                <a:lnTo>
                  <a:pt x="1833" y="1888"/>
                </a:lnTo>
                <a:lnTo>
                  <a:pt x="1829" y="1889"/>
                </a:lnTo>
                <a:close/>
                <a:moveTo>
                  <a:pt x="2168" y="1480"/>
                </a:moveTo>
                <a:lnTo>
                  <a:pt x="2168" y="1478"/>
                </a:lnTo>
                <a:lnTo>
                  <a:pt x="2168" y="1476"/>
                </a:lnTo>
                <a:lnTo>
                  <a:pt x="2171" y="1473"/>
                </a:lnTo>
                <a:lnTo>
                  <a:pt x="2172" y="1472"/>
                </a:lnTo>
                <a:lnTo>
                  <a:pt x="2174" y="1471"/>
                </a:lnTo>
                <a:lnTo>
                  <a:pt x="2178" y="1470"/>
                </a:lnTo>
                <a:lnTo>
                  <a:pt x="2260" y="1470"/>
                </a:lnTo>
                <a:lnTo>
                  <a:pt x="2264" y="1471"/>
                </a:lnTo>
                <a:lnTo>
                  <a:pt x="2267" y="1473"/>
                </a:lnTo>
                <a:lnTo>
                  <a:pt x="2268" y="1474"/>
                </a:lnTo>
                <a:lnTo>
                  <a:pt x="2269" y="1476"/>
                </a:lnTo>
                <a:lnTo>
                  <a:pt x="2270" y="1478"/>
                </a:lnTo>
                <a:lnTo>
                  <a:pt x="2270" y="1480"/>
                </a:lnTo>
                <a:lnTo>
                  <a:pt x="2270" y="1879"/>
                </a:lnTo>
                <a:lnTo>
                  <a:pt x="2270" y="1881"/>
                </a:lnTo>
                <a:lnTo>
                  <a:pt x="2269" y="1883"/>
                </a:lnTo>
                <a:lnTo>
                  <a:pt x="2267" y="1886"/>
                </a:lnTo>
                <a:lnTo>
                  <a:pt x="2266" y="1887"/>
                </a:lnTo>
                <a:lnTo>
                  <a:pt x="2264" y="1888"/>
                </a:lnTo>
                <a:lnTo>
                  <a:pt x="2260" y="1889"/>
                </a:lnTo>
                <a:lnTo>
                  <a:pt x="2178" y="1889"/>
                </a:lnTo>
                <a:lnTo>
                  <a:pt x="2174" y="1888"/>
                </a:lnTo>
                <a:lnTo>
                  <a:pt x="2171" y="1886"/>
                </a:lnTo>
                <a:lnTo>
                  <a:pt x="2169" y="1885"/>
                </a:lnTo>
                <a:lnTo>
                  <a:pt x="2168" y="1883"/>
                </a:lnTo>
                <a:lnTo>
                  <a:pt x="2168" y="1881"/>
                </a:lnTo>
                <a:lnTo>
                  <a:pt x="2168" y="1879"/>
                </a:lnTo>
                <a:lnTo>
                  <a:pt x="2168" y="1480"/>
                </a:lnTo>
                <a:close/>
                <a:moveTo>
                  <a:pt x="2470" y="1879"/>
                </a:moveTo>
                <a:lnTo>
                  <a:pt x="2323" y="1484"/>
                </a:lnTo>
                <a:lnTo>
                  <a:pt x="2322" y="1481"/>
                </a:lnTo>
                <a:lnTo>
                  <a:pt x="2322" y="1478"/>
                </a:lnTo>
                <a:lnTo>
                  <a:pt x="2322" y="1476"/>
                </a:lnTo>
                <a:lnTo>
                  <a:pt x="2323" y="1474"/>
                </a:lnTo>
                <a:lnTo>
                  <a:pt x="2325" y="1472"/>
                </a:lnTo>
                <a:lnTo>
                  <a:pt x="2327" y="1471"/>
                </a:lnTo>
                <a:lnTo>
                  <a:pt x="2329" y="1470"/>
                </a:lnTo>
                <a:lnTo>
                  <a:pt x="2332" y="1470"/>
                </a:lnTo>
                <a:lnTo>
                  <a:pt x="2415" y="1470"/>
                </a:lnTo>
                <a:lnTo>
                  <a:pt x="2419" y="1471"/>
                </a:lnTo>
                <a:lnTo>
                  <a:pt x="2421" y="1471"/>
                </a:lnTo>
                <a:lnTo>
                  <a:pt x="2423" y="1472"/>
                </a:lnTo>
                <a:lnTo>
                  <a:pt x="2425" y="1474"/>
                </a:lnTo>
                <a:lnTo>
                  <a:pt x="2426" y="1475"/>
                </a:lnTo>
                <a:lnTo>
                  <a:pt x="2428" y="1477"/>
                </a:lnTo>
                <a:lnTo>
                  <a:pt x="2429" y="1480"/>
                </a:lnTo>
                <a:lnTo>
                  <a:pt x="2521" y="1734"/>
                </a:lnTo>
                <a:lnTo>
                  <a:pt x="2614" y="1480"/>
                </a:lnTo>
                <a:lnTo>
                  <a:pt x="2615" y="1477"/>
                </a:lnTo>
                <a:lnTo>
                  <a:pt x="2616" y="1475"/>
                </a:lnTo>
                <a:lnTo>
                  <a:pt x="2618" y="1474"/>
                </a:lnTo>
                <a:lnTo>
                  <a:pt x="2619" y="1472"/>
                </a:lnTo>
                <a:lnTo>
                  <a:pt x="2623" y="1471"/>
                </a:lnTo>
                <a:lnTo>
                  <a:pt x="2627" y="1470"/>
                </a:lnTo>
                <a:lnTo>
                  <a:pt x="2709" y="1470"/>
                </a:lnTo>
                <a:lnTo>
                  <a:pt x="2711" y="1470"/>
                </a:lnTo>
                <a:lnTo>
                  <a:pt x="2714" y="1471"/>
                </a:lnTo>
                <a:lnTo>
                  <a:pt x="2716" y="1472"/>
                </a:lnTo>
                <a:lnTo>
                  <a:pt x="2717" y="1474"/>
                </a:lnTo>
                <a:lnTo>
                  <a:pt x="2718" y="1476"/>
                </a:lnTo>
                <a:lnTo>
                  <a:pt x="2719" y="1478"/>
                </a:lnTo>
                <a:lnTo>
                  <a:pt x="2719" y="1481"/>
                </a:lnTo>
                <a:lnTo>
                  <a:pt x="2718" y="1484"/>
                </a:lnTo>
                <a:lnTo>
                  <a:pt x="2571" y="1879"/>
                </a:lnTo>
                <a:lnTo>
                  <a:pt x="2569" y="1883"/>
                </a:lnTo>
                <a:lnTo>
                  <a:pt x="2567" y="1885"/>
                </a:lnTo>
                <a:lnTo>
                  <a:pt x="2566" y="1886"/>
                </a:lnTo>
                <a:lnTo>
                  <a:pt x="2564" y="1887"/>
                </a:lnTo>
                <a:lnTo>
                  <a:pt x="2562" y="1888"/>
                </a:lnTo>
                <a:lnTo>
                  <a:pt x="2560" y="1889"/>
                </a:lnTo>
                <a:lnTo>
                  <a:pt x="2557" y="1889"/>
                </a:lnTo>
                <a:lnTo>
                  <a:pt x="2484" y="1889"/>
                </a:lnTo>
                <a:lnTo>
                  <a:pt x="2481" y="1889"/>
                </a:lnTo>
                <a:lnTo>
                  <a:pt x="2479" y="1888"/>
                </a:lnTo>
                <a:lnTo>
                  <a:pt x="2475" y="1886"/>
                </a:lnTo>
                <a:lnTo>
                  <a:pt x="2473" y="1885"/>
                </a:lnTo>
                <a:lnTo>
                  <a:pt x="2472" y="1883"/>
                </a:lnTo>
                <a:lnTo>
                  <a:pt x="2470" y="1879"/>
                </a:lnTo>
                <a:close/>
                <a:moveTo>
                  <a:pt x="224" y="1804"/>
                </a:moveTo>
                <a:lnTo>
                  <a:pt x="236" y="1804"/>
                </a:lnTo>
                <a:lnTo>
                  <a:pt x="247" y="1802"/>
                </a:lnTo>
                <a:lnTo>
                  <a:pt x="259" y="1799"/>
                </a:lnTo>
                <a:lnTo>
                  <a:pt x="264" y="1797"/>
                </a:lnTo>
                <a:lnTo>
                  <a:pt x="269" y="1795"/>
                </a:lnTo>
                <a:lnTo>
                  <a:pt x="280" y="1791"/>
                </a:lnTo>
                <a:lnTo>
                  <a:pt x="289" y="1785"/>
                </a:lnTo>
                <a:lnTo>
                  <a:pt x="298" y="1778"/>
                </a:lnTo>
                <a:lnTo>
                  <a:pt x="306" y="1770"/>
                </a:lnTo>
                <a:lnTo>
                  <a:pt x="314" y="1762"/>
                </a:lnTo>
                <a:lnTo>
                  <a:pt x="320" y="1752"/>
                </a:lnTo>
                <a:lnTo>
                  <a:pt x="326" y="1742"/>
                </a:lnTo>
                <a:lnTo>
                  <a:pt x="331" y="1731"/>
                </a:lnTo>
                <a:lnTo>
                  <a:pt x="333" y="1725"/>
                </a:lnTo>
                <a:lnTo>
                  <a:pt x="334" y="1719"/>
                </a:lnTo>
                <a:lnTo>
                  <a:pt x="337" y="1707"/>
                </a:lnTo>
                <a:lnTo>
                  <a:pt x="339" y="1693"/>
                </a:lnTo>
                <a:lnTo>
                  <a:pt x="339" y="1687"/>
                </a:lnTo>
                <a:lnTo>
                  <a:pt x="340" y="1680"/>
                </a:lnTo>
                <a:lnTo>
                  <a:pt x="339" y="1666"/>
                </a:lnTo>
                <a:lnTo>
                  <a:pt x="337" y="1652"/>
                </a:lnTo>
                <a:lnTo>
                  <a:pt x="334" y="1640"/>
                </a:lnTo>
                <a:lnTo>
                  <a:pt x="333" y="1634"/>
                </a:lnTo>
                <a:lnTo>
                  <a:pt x="331" y="1628"/>
                </a:lnTo>
                <a:lnTo>
                  <a:pt x="326" y="1617"/>
                </a:lnTo>
                <a:lnTo>
                  <a:pt x="320" y="1607"/>
                </a:lnTo>
                <a:lnTo>
                  <a:pt x="314" y="1597"/>
                </a:lnTo>
                <a:lnTo>
                  <a:pt x="310" y="1593"/>
                </a:lnTo>
                <a:lnTo>
                  <a:pt x="306" y="1589"/>
                </a:lnTo>
                <a:lnTo>
                  <a:pt x="302" y="1585"/>
                </a:lnTo>
                <a:lnTo>
                  <a:pt x="298" y="1581"/>
                </a:lnTo>
                <a:lnTo>
                  <a:pt x="294" y="1578"/>
                </a:lnTo>
                <a:lnTo>
                  <a:pt x="289" y="1574"/>
                </a:lnTo>
                <a:lnTo>
                  <a:pt x="280" y="1568"/>
                </a:lnTo>
                <a:lnTo>
                  <a:pt x="275" y="1566"/>
                </a:lnTo>
                <a:lnTo>
                  <a:pt x="269" y="1564"/>
                </a:lnTo>
                <a:lnTo>
                  <a:pt x="264" y="1562"/>
                </a:lnTo>
                <a:lnTo>
                  <a:pt x="259" y="1560"/>
                </a:lnTo>
                <a:lnTo>
                  <a:pt x="247" y="1557"/>
                </a:lnTo>
                <a:lnTo>
                  <a:pt x="236" y="1555"/>
                </a:lnTo>
                <a:lnTo>
                  <a:pt x="230" y="1555"/>
                </a:lnTo>
                <a:lnTo>
                  <a:pt x="224" y="1555"/>
                </a:lnTo>
                <a:lnTo>
                  <a:pt x="212" y="1555"/>
                </a:lnTo>
                <a:lnTo>
                  <a:pt x="200" y="1557"/>
                </a:lnTo>
                <a:lnTo>
                  <a:pt x="189" y="1560"/>
                </a:lnTo>
                <a:lnTo>
                  <a:pt x="183" y="1562"/>
                </a:lnTo>
                <a:lnTo>
                  <a:pt x="178" y="1564"/>
                </a:lnTo>
                <a:lnTo>
                  <a:pt x="168" y="1568"/>
                </a:lnTo>
                <a:lnTo>
                  <a:pt x="158" y="1574"/>
                </a:lnTo>
                <a:lnTo>
                  <a:pt x="149" y="1581"/>
                </a:lnTo>
                <a:lnTo>
                  <a:pt x="141" y="1589"/>
                </a:lnTo>
                <a:lnTo>
                  <a:pt x="134" y="1597"/>
                </a:lnTo>
                <a:lnTo>
                  <a:pt x="127" y="1607"/>
                </a:lnTo>
                <a:lnTo>
                  <a:pt x="121" y="1617"/>
                </a:lnTo>
                <a:lnTo>
                  <a:pt x="117" y="1628"/>
                </a:lnTo>
                <a:lnTo>
                  <a:pt x="115" y="1634"/>
                </a:lnTo>
                <a:lnTo>
                  <a:pt x="113" y="1640"/>
                </a:lnTo>
                <a:lnTo>
                  <a:pt x="110" y="1652"/>
                </a:lnTo>
                <a:lnTo>
                  <a:pt x="108" y="1666"/>
                </a:lnTo>
                <a:lnTo>
                  <a:pt x="108" y="1672"/>
                </a:lnTo>
                <a:lnTo>
                  <a:pt x="108" y="1680"/>
                </a:lnTo>
                <a:lnTo>
                  <a:pt x="108" y="1693"/>
                </a:lnTo>
                <a:lnTo>
                  <a:pt x="110" y="1707"/>
                </a:lnTo>
                <a:lnTo>
                  <a:pt x="113" y="1719"/>
                </a:lnTo>
                <a:lnTo>
                  <a:pt x="115" y="1725"/>
                </a:lnTo>
                <a:lnTo>
                  <a:pt x="117" y="1731"/>
                </a:lnTo>
                <a:lnTo>
                  <a:pt x="121" y="1742"/>
                </a:lnTo>
                <a:lnTo>
                  <a:pt x="127" y="1752"/>
                </a:lnTo>
                <a:lnTo>
                  <a:pt x="134" y="1762"/>
                </a:lnTo>
                <a:lnTo>
                  <a:pt x="137" y="1766"/>
                </a:lnTo>
                <a:lnTo>
                  <a:pt x="141" y="1770"/>
                </a:lnTo>
                <a:lnTo>
                  <a:pt x="145" y="1774"/>
                </a:lnTo>
                <a:lnTo>
                  <a:pt x="149" y="1778"/>
                </a:lnTo>
                <a:lnTo>
                  <a:pt x="154" y="1781"/>
                </a:lnTo>
                <a:lnTo>
                  <a:pt x="158" y="1785"/>
                </a:lnTo>
                <a:lnTo>
                  <a:pt x="168" y="1791"/>
                </a:lnTo>
                <a:lnTo>
                  <a:pt x="173" y="1793"/>
                </a:lnTo>
                <a:lnTo>
                  <a:pt x="178" y="1795"/>
                </a:lnTo>
                <a:lnTo>
                  <a:pt x="183" y="1797"/>
                </a:lnTo>
                <a:lnTo>
                  <a:pt x="189" y="1799"/>
                </a:lnTo>
                <a:lnTo>
                  <a:pt x="200" y="1802"/>
                </a:lnTo>
                <a:lnTo>
                  <a:pt x="212" y="1804"/>
                </a:lnTo>
                <a:lnTo>
                  <a:pt x="218" y="1804"/>
                </a:lnTo>
                <a:lnTo>
                  <a:pt x="224" y="1804"/>
                </a:lnTo>
                <a:close/>
                <a:moveTo>
                  <a:pt x="224" y="1463"/>
                </a:moveTo>
                <a:lnTo>
                  <a:pt x="236" y="1463"/>
                </a:lnTo>
                <a:lnTo>
                  <a:pt x="247" y="1464"/>
                </a:lnTo>
                <a:lnTo>
                  <a:pt x="259" y="1465"/>
                </a:lnTo>
                <a:lnTo>
                  <a:pt x="270" y="1467"/>
                </a:lnTo>
                <a:lnTo>
                  <a:pt x="281" y="1470"/>
                </a:lnTo>
                <a:lnTo>
                  <a:pt x="292" y="1472"/>
                </a:lnTo>
                <a:lnTo>
                  <a:pt x="302" y="1476"/>
                </a:lnTo>
                <a:lnTo>
                  <a:pt x="313" y="1479"/>
                </a:lnTo>
                <a:lnTo>
                  <a:pt x="323" y="1483"/>
                </a:lnTo>
                <a:lnTo>
                  <a:pt x="332" y="1488"/>
                </a:lnTo>
                <a:lnTo>
                  <a:pt x="342" y="1493"/>
                </a:lnTo>
                <a:lnTo>
                  <a:pt x="351" y="1499"/>
                </a:lnTo>
                <a:lnTo>
                  <a:pt x="359" y="1504"/>
                </a:lnTo>
                <a:lnTo>
                  <a:pt x="364" y="1507"/>
                </a:lnTo>
                <a:lnTo>
                  <a:pt x="368" y="1511"/>
                </a:lnTo>
                <a:lnTo>
                  <a:pt x="372" y="1514"/>
                </a:lnTo>
                <a:lnTo>
                  <a:pt x="376" y="1517"/>
                </a:lnTo>
                <a:lnTo>
                  <a:pt x="383" y="1524"/>
                </a:lnTo>
                <a:lnTo>
                  <a:pt x="387" y="1528"/>
                </a:lnTo>
                <a:lnTo>
                  <a:pt x="391" y="1532"/>
                </a:lnTo>
                <a:lnTo>
                  <a:pt x="398" y="1539"/>
                </a:lnTo>
                <a:lnTo>
                  <a:pt x="404" y="1548"/>
                </a:lnTo>
                <a:lnTo>
                  <a:pt x="407" y="1552"/>
                </a:lnTo>
                <a:lnTo>
                  <a:pt x="410" y="1556"/>
                </a:lnTo>
                <a:lnTo>
                  <a:pt x="416" y="1565"/>
                </a:lnTo>
                <a:lnTo>
                  <a:pt x="421" y="1574"/>
                </a:lnTo>
                <a:lnTo>
                  <a:pt x="426" y="1583"/>
                </a:lnTo>
                <a:lnTo>
                  <a:pt x="430" y="1593"/>
                </a:lnTo>
                <a:lnTo>
                  <a:pt x="432" y="1598"/>
                </a:lnTo>
                <a:lnTo>
                  <a:pt x="434" y="1603"/>
                </a:lnTo>
                <a:lnTo>
                  <a:pt x="437" y="1613"/>
                </a:lnTo>
                <a:lnTo>
                  <a:pt x="440" y="1623"/>
                </a:lnTo>
                <a:lnTo>
                  <a:pt x="443" y="1634"/>
                </a:lnTo>
                <a:lnTo>
                  <a:pt x="445" y="1645"/>
                </a:lnTo>
                <a:lnTo>
                  <a:pt x="446" y="1656"/>
                </a:lnTo>
                <a:lnTo>
                  <a:pt x="446" y="1662"/>
                </a:lnTo>
                <a:lnTo>
                  <a:pt x="447" y="1668"/>
                </a:lnTo>
                <a:lnTo>
                  <a:pt x="447" y="1680"/>
                </a:lnTo>
                <a:lnTo>
                  <a:pt x="447" y="1691"/>
                </a:lnTo>
                <a:lnTo>
                  <a:pt x="446" y="1703"/>
                </a:lnTo>
                <a:lnTo>
                  <a:pt x="445" y="1714"/>
                </a:lnTo>
                <a:lnTo>
                  <a:pt x="443" y="1725"/>
                </a:lnTo>
                <a:lnTo>
                  <a:pt x="440" y="1736"/>
                </a:lnTo>
                <a:lnTo>
                  <a:pt x="437" y="1746"/>
                </a:lnTo>
                <a:lnTo>
                  <a:pt x="434" y="1756"/>
                </a:lnTo>
                <a:lnTo>
                  <a:pt x="430" y="1766"/>
                </a:lnTo>
                <a:lnTo>
                  <a:pt x="426" y="1776"/>
                </a:lnTo>
                <a:lnTo>
                  <a:pt x="421" y="1785"/>
                </a:lnTo>
                <a:lnTo>
                  <a:pt x="416" y="1794"/>
                </a:lnTo>
                <a:lnTo>
                  <a:pt x="410" y="1803"/>
                </a:lnTo>
                <a:lnTo>
                  <a:pt x="404" y="1811"/>
                </a:lnTo>
                <a:lnTo>
                  <a:pt x="398" y="1820"/>
                </a:lnTo>
                <a:lnTo>
                  <a:pt x="391" y="1827"/>
                </a:lnTo>
                <a:lnTo>
                  <a:pt x="383" y="1835"/>
                </a:lnTo>
                <a:lnTo>
                  <a:pt x="376" y="1842"/>
                </a:lnTo>
                <a:lnTo>
                  <a:pt x="368" y="1848"/>
                </a:lnTo>
                <a:lnTo>
                  <a:pt x="359" y="1855"/>
                </a:lnTo>
                <a:lnTo>
                  <a:pt x="351" y="1860"/>
                </a:lnTo>
                <a:lnTo>
                  <a:pt x="342" y="1866"/>
                </a:lnTo>
                <a:lnTo>
                  <a:pt x="332" y="1871"/>
                </a:lnTo>
                <a:lnTo>
                  <a:pt x="323" y="1876"/>
                </a:lnTo>
                <a:lnTo>
                  <a:pt x="313" y="1880"/>
                </a:lnTo>
                <a:lnTo>
                  <a:pt x="302" y="1883"/>
                </a:lnTo>
                <a:lnTo>
                  <a:pt x="292" y="1887"/>
                </a:lnTo>
                <a:lnTo>
                  <a:pt x="281" y="1889"/>
                </a:lnTo>
                <a:lnTo>
                  <a:pt x="270" y="1892"/>
                </a:lnTo>
                <a:lnTo>
                  <a:pt x="259" y="1894"/>
                </a:lnTo>
                <a:lnTo>
                  <a:pt x="247" y="1895"/>
                </a:lnTo>
                <a:lnTo>
                  <a:pt x="236" y="1896"/>
                </a:lnTo>
                <a:lnTo>
                  <a:pt x="224" y="1896"/>
                </a:lnTo>
                <a:lnTo>
                  <a:pt x="212" y="1896"/>
                </a:lnTo>
                <a:lnTo>
                  <a:pt x="200" y="1895"/>
                </a:lnTo>
                <a:lnTo>
                  <a:pt x="188" y="1894"/>
                </a:lnTo>
                <a:lnTo>
                  <a:pt x="177" y="1892"/>
                </a:lnTo>
                <a:lnTo>
                  <a:pt x="166" y="1889"/>
                </a:lnTo>
                <a:lnTo>
                  <a:pt x="155" y="1887"/>
                </a:lnTo>
                <a:lnTo>
                  <a:pt x="145" y="1883"/>
                </a:lnTo>
                <a:lnTo>
                  <a:pt x="135" y="1880"/>
                </a:lnTo>
                <a:lnTo>
                  <a:pt x="125" y="1876"/>
                </a:lnTo>
                <a:lnTo>
                  <a:pt x="115" y="1871"/>
                </a:lnTo>
                <a:lnTo>
                  <a:pt x="106" y="1866"/>
                </a:lnTo>
                <a:lnTo>
                  <a:pt x="97" y="1860"/>
                </a:lnTo>
                <a:lnTo>
                  <a:pt x="88" y="1855"/>
                </a:lnTo>
                <a:lnTo>
                  <a:pt x="84" y="1852"/>
                </a:lnTo>
                <a:lnTo>
                  <a:pt x="79" y="1848"/>
                </a:lnTo>
                <a:lnTo>
                  <a:pt x="75" y="1845"/>
                </a:lnTo>
                <a:lnTo>
                  <a:pt x="71" y="1842"/>
                </a:lnTo>
                <a:lnTo>
                  <a:pt x="64" y="1835"/>
                </a:lnTo>
                <a:lnTo>
                  <a:pt x="60" y="1831"/>
                </a:lnTo>
                <a:lnTo>
                  <a:pt x="56" y="1827"/>
                </a:lnTo>
                <a:lnTo>
                  <a:pt x="50" y="1820"/>
                </a:lnTo>
                <a:lnTo>
                  <a:pt x="43" y="1811"/>
                </a:lnTo>
                <a:lnTo>
                  <a:pt x="40" y="1807"/>
                </a:lnTo>
                <a:lnTo>
                  <a:pt x="37" y="1803"/>
                </a:lnTo>
                <a:lnTo>
                  <a:pt x="31" y="1794"/>
                </a:lnTo>
                <a:lnTo>
                  <a:pt x="26" y="1785"/>
                </a:lnTo>
                <a:lnTo>
                  <a:pt x="21" y="1776"/>
                </a:lnTo>
                <a:lnTo>
                  <a:pt x="17" y="1766"/>
                </a:lnTo>
                <a:lnTo>
                  <a:pt x="15" y="1761"/>
                </a:lnTo>
                <a:lnTo>
                  <a:pt x="13" y="1756"/>
                </a:lnTo>
                <a:lnTo>
                  <a:pt x="10" y="1746"/>
                </a:lnTo>
                <a:lnTo>
                  <a:pt x="7" y="1736"/>
                </a:lnTo>
                <a:lnTo>
                  <a:pt x="4" y="1725"/>
                </a:lnTo>
                <a:lnTo>
                  <a:pt x="3" y="1714"/>
                </a:lnTo>
                <a:lnTo>
                  <a:pt x="1" y="1703"/>
                </a:lnTo>
                <a:lnTo>
                  <a:pt x="1" y="1697"/>
                </a:lnTo>
                <a:lnTo>
                  <a:pt x="0" y="1691"/>
                </a:lnTo>
                <a:lnTo>
                  <a:pt x="0" y="1680"/>
                </a:lnTo>
                <a:lnTo>
                  <a:pt x="0" y="1668"/>
                </a:lnTo>
                <a:lnTo>
                  <a:pt x="1" y="1656"/>
                </a:lnTo>
                <a:lnTo>
                  <a:pt x="3" y="1645"/>
                </a:lnTo>
                <a:lnTo>
                  <a:pt x="4" y="1634"/>
                </a:lnTo>
                <a:lnTo>
                  <a:pt x="7" y="1623"/>
                </a:lnTo>
                <a:lnTo>
                  <a:pt x="10" y="1613"/>
                </a:lnTo>
                <a:lnTo>
                  <a:pt x="13" y="1603"/>
                </a:lnTo>
                <a:lnTo>
                  <a:pt x="17" y="1593"/>
                </a:lnTo>
                <a:lnTo>
                  <a:pt x="21" y="1583"/>
                </a:lnTo>
                <a:lnTo>
                  <a:pt x="26" y="1574"/>
                </a:lnTo>
                <a:lnTo>
                  <a:pt x="31" y="1565"/>
                </a:lnTo>
                <a:lnTo>
                  <a:pt x="37" y="1556"/>
                </a:lnTo>
                <a:lnTo>
                  <a:pt x="43" y="1548"/>
                </a:lnTo>
                <a:lnTo>
                  <a:pt x="50" y="1539"/>
                </a:lnTo>
                <a:lnTo>
                  <a:pt x="56" y="1532"/>
                </a:lnTo>
                <a:lnTo>
                  <a:pt x="64" y="1524"/>
                </a:lnTo>
                <a:lnTo>
                  <a:pt x="71" y="1517"/>
                </a:lnTo>
                <a:lnTo>
                  <a:pt x="79" y="1511"/>
                </a:lnTo>
                <a:lnTo>
                  <a:pt x="88" y="1504"/>
                </a:lnTo>
                <a:lnTo>
                  <a:pt x="97" y="1499"/>
                </a:lnTo>
                <a:lnTo>
                  <a:pt x="106" y="1493"/>
                </a:lnTo>
                <a:lnTo>
                  <a:pt x="115" y="1488"/>
                </a:lnTo>
                <a:lnTo>
                  <a:pt x="125" y="1483"/>
                </a:lnTo>
                <a:lnTo>
                  <a:pt x="135" y="1479"/>
                </a:lnTo>
                <a:lnTo>
                  <a:pt x="145" y="1476"/>
                </a:lnTo>
                <a:lnTo>
                  <a:pt x="155" y="1472"/>
                </a:lnTo>
                <a:lnTo>
                  <a:pt x="166" y="1470"/>
                </a:lnTo>
                <a:lnTo>
                  <a:pt x="177" y="1467"/>
                </a:lnTo>
                <a:lnTo>
                  <a:pt x="188" y="1465"/>
                </a:lnTo>
                <a:lnTo>
                  <a:pt x="200" y="1464"/>
                </a:lnTo>
                <a:lnTo>
                  <a:pt x="212" y="1463"/>
                </a:lnTo>
                <a:lnTo>
                  <a:pt x="224" y="1463"/>
                </a:lnTo>
                <a:close/>
                <a:moveTo>
                  <a:pt x="1090" y="1810"/>
                </a:moveTo>
                <a:lnTo>
                  <a:pt x="1096" y="1809"/>
                </a:lnTo>
                <a:lnTo>
                  <a:pt x="1102" y="1809"/>
                </a:lnTo>
                <a:lnTo>
                  <a:pt x="1112" y="1807"/>
                </a:lnTo>
                <a:lnTo>
                  <a:pt x="1116" y="1806"/>
                </a:lnTo>
                <a:lnTo>
                  <a:pt x="1120" y="1804"/>
                </a:lnTo>
                <a:lnTo>
                  <a:pt x="1128" y="1800"/>
                </a:lnTo>
                <a:lnTo>
                  <a:pt x="1131" y="1798"/>
                </a:lnTo>
                <a:lnTo>
                  <a:pt x="1133" y="1795"/>
                </a:lnTo>
                <a:lnTo>
                  <a:pt x="1136" y="1792"/>
                </a:lnTo>
                <a:lnTo>
                  <a:pt x="1138" y="1789"/>
                </a:lnTo>
                <a:lnTo>
                  <a:pt x="1139" y="1786"/>
                </a:lnTo>
                <a:lnTo>
                  <a:pt x="1140" y="1782"/>
                </a:lnTo>
                <a:lnTo>
                  <a:pt x="1141" y="1779"/>
                </a:lnTo>
                <a:lnTo>
                  <a:pt x="1141" y="1775"/>
                </a:lnTo>
                <a:lnTo>
                  <a:pt x="1141" y="1771"/>
                </a:lnTo>
                <a:lnTo>
                  <a:pt x="1140" y="1767"/>
                </a:lnTo>
                <a:lnTo>
                  <a:pt x="1139" y="1763"/>
                </a:lnTo>
                <a:lnTo>
                  <a:pt x="1138" y="1760"/>
                </a:lnTo>
                <a:lnTo>
                  <a:pt x="1134" y="1754"/>
                </a:lnTo>
                <a:lnTo>
                  <a:pt x="1130" y="1749"/>
                </a:lnTo>
                <a:lnTo>
                  <a:pt x="1127" y="1747"/>
                </a:lnTo>
                <a:lnTo>
                  <a:pt x="1124" y="1744"/>
                </a:lnTo>
                <a:lnTo>
                  <a:pt x="1120" y="1742"/>
                </a:lnTo>
                <a:lnTo>
                  <a:pt x="1116" y="1740"/>
                </a:lnTo>
                <a:lnTo>
                  <a:pt x="1099" y="1732"/>
                </a:lnTo>
                <a:lnTo>
                  <a:pt x="1038" y="1703"/>
                </a:lnTo>
                <a:lnTo>
                  <a:pt x="1031" y="1699"/>
                </a:lnTo>
                <a:lnTo>
                  <a:pt x="1023" y="1695"/>
                </a:lnTo>
                <a:lnTo>
                  <a:pt x="1016" y="1691"/>
                </a:lnTo>
                <a:lnTo>
                  <a:pt x="1010" y="1686"/>
                </a:lnTo>
                <a:lnTo>
                  <a:pt x="1003" y="1680"/>
                </a:lnTo>
                <a:lnTo>
                  <a:pt x="997" y="1674"/>
                </a:lnTo>
                <a:lnTo>
                  <a:pt x="992" y="1668"/>
                </a:lnTo>
                <a:lnTo>
                  <a:pt x="986" y="1661"/>
                </a:lnTo>
                <a:lnTo>
                  <a:pt x="982" y="1654"/>
                </a:lnTo>
                <a:lnTo>
                  <a:pt x="978" y="1646"/>
                </a:lnTo>
                <a:lnTo>
                  <a:pt x="974" y="1638"/>
                </a:lnTo>
                <a:lnTo>
                  <a:pt x="971" y="1629"/>
                </a:lnTo>
                <a:lnTo>
                  <a:pt x="969" y="1620"/>
                </a:lnTo>
                <a:lnTo>
                  <a:pt x="967" y="1610"/>
                </a:lnTo>
                <a:lnTo>
                  <a:pt x="966" y="1600"/>
                </a:lnTo>
                <a:lnTo>
                  <a:pt x="965" y="1590"/>
                </a:lnTo>
                <a:lnTo>
                  <a:pt x="966" y="1583"/>
                </a:lnTo>
                <a:lnTo>
                  <a:pt x="966" y="1576"/>
                </a:lnTo>
                <a:lnTo>
                  <a:pt x="967" y="1570"/>
                </a:lnTo>
                <a:lnTo>
                  <a:pt x="968" y="1563"/>
                </a:lnTo>
                <a:lnTo>
                  <a:pt x="971" y="1551"/>
                </a:lnTo>
                <a:lnTo>
                  <a:pt x="973" y="1545"/>
                </a:lnTo>
                <a:lnTo>
                  <a:pt x="976" y="1539"/>
                </a:lnTo>
                <a:lnTo>
                  <a:pt x="979" y="1534"/>
                </a:lnTo>
                <a:lnTo>
                  <a:pt x="982" y="1528"/>
                </a:lnTo>
                <a:lnTo>
                  <a:pt x="988" y="1518"/>
                </a:lnTo>
                <a:lnTo>
                  <a:pt x="996" y="1508"/>
                </a:lnTo>
                <a:lnTo>
                  <a:pt x="1005" y="1499"/>
                </a:lnTo>
                <a:lnTo>
                  <a:pt x="1015" y="1491"/>
                </a:lnTo>
                <a:lnTo>
                  <a:pt x="1026" y="1484"/>
                </a:lnTo>
                <a:lnTo>
                  <a:pt x="1037" y="1478"/>
                </a:lnTo>
                <a:lnTo>
                  <a:pt x="1044" y="1475"/>
                </a:lnTo>
                <a:lnTo>
                  <a:pt x="1050" y="1473"/>
                </a:lnTo>
                <a:lnTo>
                  <a:pt x="1063" y="1469"/>
                </a:lnTo>
                <a:lnTo>
                  <a:pt x="1070" y="1467"/>
                </a:lnTo>
                <a:lnTo>
                  <a:pt x="1077" y="1466"/>
                </a:lnTo>
                <a:lnTo>
                  <a:pt x="1085" y="1464"/>
                </a:lnTo>
                <a:lnTo>
                  <a:pt x="1092" y="1464"/>
                </a:lnTo>
                <a:lnTo>
                  <a:pt x="1107" y="1463"/>
                </a:lnTo>
                <a:lnTo>
                  <a:pt x="1122" y="1464"/>
                </a:lnTo>
                <a:lnTo>
                  <a:pt x="1137" y="1465"/>
                </a:lnTo>
                <a:lnTo>
                  <a:pt x="1145" y="1466"/>
                </a:lnTo>
                <a:lnTo>
                  <a:pt x="1152" y="1467"/>
                </a:lnTo>
                <a:lnTo>
                  <a:pt x="1159" y="1468"/>
                </a:lnTo>
                <a:lnTo>
                  <a:pt x="1166" y="1470"/>
                </a:lnTo>
                <a:lnTo>
                  <a:pt x="1180" y="1474"/>
                </a:lnTo>
                <a:lnTo>
                  <a:pt x="1193" y="1479"/>
                </a:lnTo>
                <a:lnTo>
                  <a:pt x="1206" y="1484"/>
                </a:lnTo>
                <a:lnTo>
                  <a:pt x="1217" y="1490"/>
                </a:lnTo>
                <a:lnTo>
                  <a:pt x="1219" y="1492"/>
                </a:lnTo>
                <a:lnTo>
                  <a:pt x="1221" y="1494"/>
                </a:lnTo>
                <a:lnTo>
                  <a:pt x="1222" y="1496"/>
                </a:lnTo>
                <a:lnTo>
                  <a:pt x="1223" y="1498"/>
                </a:lnTo>
                <a:lnTo>
                  <a:pt x="1223" y="1502"/>
                </a:lnTo>
                <a:lnTo>
                  <a:pt x="1221" y="1507"/>
                </a:lnTo>
                <a:lnTo>
                  <a:pt x="1197" y="1562"/>
                </a:lnTo>
                <a:lnTo>
                  <a:pt x="1194" y="1567"/>
                </a:lnTo>
                <a:lnTo>
                  <a:pt x="1192" y="1569"/>
                </a:lnTo>
                <a:lnTo>
                  <a:pt x="1191" y="1570"/>
                </a:lnTo>
                <a:lnTo>
                  <a:pt x="1186" y="1570"/>
                </a:lnTo>
                <a:lnTo>
                  <a:pt x="1184" y="1570"/>
                </a:lnTo>
                <a:lnTo>
                  <a:pt x="1181" y="1569"/>
                </a:lnTo>
                <a:lnTo>
                  <a:pt x="1172" y="1565"/>
                </a:lnTo>
                <a:lnTo>
                  <a:pt x="1164" y="1561"/>
                </a:lnTo>
                <a:lnTo>
                  <a:pt x="1156" y="1558"/>
                </a:lnTo>
                <a:lnTo>
                  <a:pt x="1147" y="1555"/>
                </a:lnTo>
                <a:lnTo>
                  <a:pt x="1139" y="1552"/>
                </a:lnTo>
                <a:lnTo>
                  <a:pt x="1130" y="1551"/>
                </a:lnTo>
                <a:lnTo>
                  <a:pt x="1121" y="1550"/>
                </a:lnTo>
                <a:lnTo>
                  <a:pt x="1111" y="1549"/>
                </a:lnTo>
                <a:lnTo>
                  <a:pt x="1101" y="1550"/>
                </a:lnTo>
                <a:lnTo>
                  <a:pt x="1092" y="1552"/>
                </a:lnTo>
                <a:lnTo>
                  <a:pt x="1088" y="1553"/>
                </a:lnTo>
                <a:lnTo>
                  <a:pt x="1085" y="1555"/>
                </a:lnTo>
                <a:lnTo>
                  <a:pt x="1078" y="1559"/>
                </a:lnTo>
                <a:lnTo>
                  <a:pt x="1075" y="1561"/>
                </a:lnTo>
                <a:lnTo>
                  <a:pt x="1073" y="1564"/>
                </a:lnTo>
                <a:lnTo>
                  <a:pt x="1071" y="1567"/>
                </a:lnTo>
                <a:lnTo>
                  <a:pt x="1069" y="1570"/>
                </a:lnTo>
                <a:lnTo>
                  <a:pt x="1068" y="1573"/>
                </a:lnTo>
                <a:lnTo>
                  <a:pt x="1067" y="1576"/>
                </a:lnTo>
                <a:lnTo>
                  <a:pt x="1067" y="1580"/>
                </a:lnTo>
                <a:lnTo>
                  <a:pt x="1067" y="1583"/>
                </a:lnTo>
                <a:lnTo>
                  <a:pt x="1067" y="1587"/>
                </a:lnTo>
                <a:lnTo>
                  <a:pt x="1067" y="1590"/>
                </a:lnTo>
                <a:lnTo>
                  <a:pt x="1069" y="1597"/>
                </a:lnTo>
                <a:lnTo>
                  <a:pt x="1073" y="1602"/>
                </a:lnTo>
                <a:lnTo>
                  <a:pt x="1075" y="1605"/>
                </a:lnTo>
                <a:lnTo>
                  <a:pt x="1077" y="1608"/>
                </a:lnTo>
                <a:lnTo>
                  <a:pt x="1080" y="1610"/>
                </a:lnTo>
                <a:lnTo>
                  <a:pt x="1083" y="1612"/>
                </a:lnTo>
                <a:lnTo>
                  <a:pt x="1090" y="1617"/>
                </a:lnTo>
                <a:lnTo>
                  <a:pt x="1098" y="1621"/>
                </a:lnTo>
                <a:lnTo>
                  <a:pt x="1108" y="1626"/>
                </a:lnTo>
                <a:lnTo>
                  <a:pt x="1170" y="1655"/>
                </a:lnTo>
                <a:lnTo>
                  <a:pt x="1178" y="1659"/>
                </a:lnTo>
                <a:lnTo>
                  <a:pt x="1185" y="1663"/>
                </a:lnTo>
                <a:lnTo>
                  <a:pt x="1193" y="1667"/>
                </a:lnTo>
                <a:lnTo>
                  <a:pt x="1199" y="1672"/>
                </a:lnTo>
                <a:lnTo>
                  <a:pt x="1206" y="1678"/>
                </a:lnTo>
                <a:lnTo>
                  <a:pt x="1212" y="1684"/>
                </a:lnTo>
                <a:lnTo>
                  <a:pt x="1217" y="1690"/>
                </a:lnTo>
                <a:lnTo>
                  <a:pt x="1222" y="1696"/>
                </a:lnTo>
                <a:lnTo>
                  <a:pt x="1225" y="1700"/>
                </a:lnTo>
                <a:lnTo>
                  <a:pt x="1227" y="1703"/>
                </a:lnTo>
                <a:lnTo>
                  <a:pt x="1231" y="1711"/>
                </a:lnTo>
                <a:lnTo>
                  <a:pt x="1234" y="1719"/>
                </a:lnTo>
                <a:lnTo>
                  <a:pt x="1237" y="1727"/>
                </a:lnTo>
                <a:lnTo>
                  <a:pt x="1239" y="1731"/>
                </a:lnTo>
                <a:lnTo>
                  <a:pt x="1240" y="1736"/>
                </a:lnTo>
                <a:lnTo>
                  <a:pt x="1241" y="1745"/>
                </a:lnTo>
                <a:lnTo>
                  <a:pt x="1242" y="1755"/>
                </a:lnTo>
                <a:lnTo>
                  <a:pt x="1243" y="1766"/>
                </a:lnTo>
                <a:lnTo>
                  <a:pt x="1243" y="1773"/>
                </a:lnTo>
                <a:lnTo>
                  <a:pt x="1242" y="1780"/>
                </a:lnTo>
                <a:lnTo>
                  <a:pt x="1240" y="1793"/>
                </a:lnTo>
                <a:lnTo>
                  <a:pt x="1238" y="1799"/>
                </a:lnTo>
                <a:lnTo>
                  <a:pt x="1236" y="1806"/>
                </a:lnTo>
                <a:lnTo>
                  <a:pt x="1232" y="1818"/>
                </a:lnTo>
                <a:lnTo>
                  <a:pt x="1229" y="1824"/>
                </a:lnTo>
                <a:lnTo>
                  <a:pt x="1226" y="1829"/>
                </a:lnTo>
                <a:lnTo>
                  <a:pt x="1222" y="1835"/>
                </a:lnTo>
                <a:lnTo>
                  <a:pt x="1218" y="1840"/>
                </a:lnTo>
                <a:lnTo>
                  <a:pt x="1214" y="1845"/>
                </a:lnTo>
                <a:lnTo>
                  <a:pt x="1210" y="1850"/>
                </a:lnTo>
                <a:lnTo>
                  <a:pt x="1206" y="1855"/>
                </a:lnTo>
                <a:lnTo>
                  <a:pt x="1201" y="1859"/>
                </a:lnTo>
                <a:lnTo>
                  <a:pt x="1196" y="1863"/>
                </a:lnTo>
                <a:lnTo>
                  <a:pt x="1190" y="1867"/>
                </a:lnTo>
                <a:lnTo>
                  <a:pt x="1179" y="1875"/>
                </a:lnTo>
                <a:lnTo>
                  <a:pt x="1173" y="1878"/>
                </a:lnTo>
                <a:lnTo>
                  <a:pt x="1166" y="1881"/>
                </a:lnTo>
                <a:lnTo>
                  <a:pt x="1160" y="1884"/>
                </a:lnTo>
                <a:lnTo>
                  <a:pt x="1153" y="1886"/>
                </a:lnTo>
                <a:lnTo>
                  <a:pt x="1139" y="1890"/>
                </a:lnTo>
                <a:lnTo>
                  <a:pt x="1132" y="1892"/>
                </a:lnTo>
                <a:lnTo>
                  <a:pt x="1124" y="1893"/>
                </a:lnTo>
                <a:lnTo>
                  <a:pt x="1117" y="1895"/>
                </a:lnTo>
                <a:lnTo>
                  <a:pt x="1109" y="1895"/>
                </a:lnTo>
                <a:lnTo>
                  <a:pt x="1093" y="1896"/>
                </a:lnTo>
                <a:lnTo>
                  <a:pt x="1075" y="1895"/>
                </a:lnTo>
                <a:lnTo>
                  <a:pt x="1066" y="1894"/>
                </a:lnTo>
                <a:lnTo>
                  <a:pt x="1057" y="1893"/>
                </a:lnTo>
                <a:lnTo>
                  <a:pt x="1048" y="1891"/>
                </a:lnTo>
                <a:lnTo>
                  <a:pt x="1040" y="1890"/>
                </a:lnTo>
                <a:lnTo>
                  <a:pt x="1031" y="1887"/>
                </a:lnTo>
                <a:lnTo>
                  <a:pt x="1023" y="1885"/>
                </a:lnTo>
                <a:lnTo>
                  <a:pt x="1007" y="1880"/>
                </a:lnTo>
                <a:lnTo>
                  <a:pt x="992" y="1873"/>
                </a:lnTo>
                <a:lnTo>
                  <a:pt x="977" y="1866"/>
                </a:lnTo>
                <a:lnTo>
                  <a:pt x="964" y="1859"/>
                </a:lnTo>
                <a:lnTo>
                  <a:pt x="961" y="1857"/>
                </a:lnTo>
                <a:lnTo>
                  <a:pt x="959" y="1854"/>
                </a:lnTo>
                <a:lnTo>
                  <a:pt x="958" y="1852"/>
                </a:lnTo>
                <a:lnTo>
                  <a:pt x="957" y="1850"/>
                </a:lnTo>
                <a:lnTo>
                  <a:pt x="958" y="1846"/>
                </a:lnTo>
                <a:lnTo>
                  <a:pt x="960" y="1842"/>
                </a:lnTo>
                <a:lnTo>
                  <a:pt x="984" y="1787"/>
                </a:lnTo>
                <a:lnTo>
                  <a:pt x="987" y="1782"/>
                </a:lnTo>
                <a:lnTo>
                  <a:pt x="989" y="1780"/>
                </a:lnTo>
                <a:lnTo>
                  <a:pt x="990" y="1779"/>
                </a:lnTo>
                <a:lnTo>
                  <a:pt x="993" y="1778"/>
                </a:lnTo>
                <a:lnTo>
                  <a:pt x="995" y="1778"/>
                </a:lnTo>
                <a:lnTo>
                  <a:pt x="997" y="1779"/>
                </a:lnTo>
                <a:lnTo>
                  <a:pt x="1000" y="1780"/>
                </a:lnTo>
                <a:lnTo>
                  <a:pt x="1012" y="1787"/>
                </a:lnTo>
                <a:lnTo>
                  <a:pt x="1023" y="1792"/>
                </a:lnTo>
                <a:lnTo>
                  <a:pt x="1034" y="1797"/>
                </a:lnTo>
                <a:lnTo>
                  <a:pt x="1045" y="1802"/>
                </a:lnTo>
                <a:lnTo>
                  <a:pt x="1056" y="1805"/>
                </a:lnTo>
                <a:lnTo>
                  <a:pt x="1067" y="1808"/>
                </a:lnTo>
                <a:lnTo>
                  <a:pt x="1079" y="1809"/>
                </a:lnTo>
                <a:lnTo>
                  <a:pt x="1090" y="1810"/>
                </a:lnTo>
                <a:close/>
                <a:moveTo>
                  <a:pt x="512" y="1480"/>
                </a:moveTo>
                <a:lnTo>
                  <a:pt x="512" y="1478"/>
                </a:lnTo>
                <a:lnTo>
                  <a:pt x="513" y="1476"/>
                </a:lnTo>
                <a:lnTo>
                  <a:pt x="515" y="1473"/>
                </a:lnTo>
                <a:lnTo>
                  <a:pt x="516" y="1472"/>
                </a:lnTo>
                <a:lnTo>
                  <a:pt x="518" y="1471"/>
                </a:lnTo>
                <a:lnTo>
                  <a:pt x="522" y="1470"/>
                </a:lnTo>
                <a:lnTo>
                  <a:pt x="606" y="1470"/>
                </a:lnTo>
                <a:lnTo>
                  <a:pt x="609" y="1471"/>
                </a:lnTo>
                <a:lnTo>
                  <a:pt x="612" y="1473"/>
                </a:lnTo>
                <a:lnTo>
                  <a:pt x="613" y="1474"/>
                </a:lnTo>
                <a:lnTo>
                  <a:pt x="614" y="1476"/>
                </a:lnTo>
                <a:lnTo>
                  <a:pt x="614" y="1478"/>
                </a:lnTo>
                <a:lnTo>
                  <a:pt x="615" y="1480"/>
                </a:lnTo>
                <a:lnTo>
                  <a:pt x="615" y="1797"/>
                </a:lnTo>
                <a:lnTo>
                  <a:pt x="689" y="1797"/>
                </a:lnTo>
                <a:lnTo>
                  <a:pt x="693" y="1797"/>
                </a:lnTo>
                <a:lnTo>
                  <a:pt x="696" y="1799"/>
                </a:lnTo>
                <a:lnTo>
                  <a:pt x="697" y="1801"/>
                </a:lnTo>
                <a:lnTo>
                  <a:pt x="697" y="1803"/>
                </a:lnTo>
                <a:lnTo>
                  <a:pt x="698" y="1804"/>
                </a:lnTo>
                <a:lnTo>
                  <a:pt x="698" y="1807"/>
                </a:lnTo>
                <a:lnTo>
                  <a:pt x="698" y="1879"/>
                </a:lnTo>
                <a:lnTo>
                  <a:pt x="698" y="1881"/>
                </a:lnTo>
                <a:lnTo>
                  <a:pt x="697" y="1883"/>
                </a:lnTo>
                <a:lnTo>
                  <a:pt x="696" y="1886"/>
                </a:lnTo>
                <a:lnTo>
                  <a:pt x="694" y="1887"/>
                </a:lnTo>
                <a:lnTo>
                  <a:pt x="693" y="1888"/>
                </a:lnTo>
                <a:lnTo>
                  <a:pt x="691" y="1889"/>
                </a:lnTo>
                <a:lnTo>
                  <a:pt x="689" y="1889"/>
                </a:lnTo>
                <a:lnTo>
                  <a:pt x="522" y="1889"/>
                </a:lnTo>
                <a:lnTo>
                  <a:pt x="518" y="1888"/>
                </a:lnTo>
                <a:lnTo>
                  <a:pt x="515" y="1886"/>
                </a:lnTo>
                <a:lnTo>
                  <a:pt x="513" y="1883"/>
                </a:lnTo>
                <a:lnTo>
                  <a:pt x="512" y="1881"/>
                </a:lnTo>
                <a:lnTo>
                  <a:pt x="512" y="1879"/>
                </a:lnTo>
                <a:lnTo>
                  <a:pt x="512" y="1480"/>
                </a:lnTo>
                <a:close/>
                <a:moveTo>
                  <a:pt x="777" y="1480"/>
                </a:moveTo>
                <a:lnTo>
                  <a:pt x="777" y="1478"/>
                </a:lnTo>
                <a:lnTo>
                  <a:pt x="778" y="1476"/>
                </a:lnTo>
                <a:lnTo>
                  <a:pt x="780" y="1473"/>
                </a:lnTo>
                <a:lnTo>
                  <a:pt x="781" y="1472"/>
                </a:lnTo>
                <a:lnTo>
                  <a:pt x="783" y="1471"/>
                </a:lnTo>
                <a:lnTo>
                  <a:pt x="787" y="1470"/>
                </a:lnTo>
                <a:lnTo>
                  <a:pt x="869" y="1470"/>
                </a:lnTo>
                <a:lnTo>
                  <a:pt x="873" y="1471"/>
                </a:lnTo>
                <a:lnTo>
                  <a:pt x="876" y="1473"/>
                </a:lnTo>
                <a:lnTo>
                  <a:pt x="878" y="1474"/>
                </a:lnTo>
                <a:lnTo>
                  <a:pt x="879" y="1476"/>
                </a:lnTo>
                <a:lnTo>
                  <a:pt x="879" y="1478"/>
                </a:lnTo>
                <a:lnTo>
                  <a:pt x="879" y="1480"/>
                </a:lnTo>
                <a:lnTo>
                  <a:pt x="879" y="1879"/>
                </a:lnTo>
                <a:lnTo>
                  <a:pt x="879" y="1881"/>
                </a:lnTo>
                <a:lnTo>
                  <a:pt x="879" y="1883"/>
                </a:lnTo>
                <a:lnTo>
                  <a:pt x="876" y="1886"/>
                </a:lnTo>
                <a:lnTo>
                  <a:pt x="875" y="1887"/>
                </a:lnTo>
                <a:lnTo>
                  <a:pt x="873" y="1888"/>
                </a:lnTo>
                <a:lnTo>
                  <a:pt x="869" y="1889"/>
                </a:lnTo>
                <a:lnTo>
                  <a:pt x="787" y="1889"/>
                </a:lnTo>
                <a:lnTo>
                  <a:pt x="783" y="1888"/>
                </a:lnTo>
                <a:lnTo>
                  <a:pt x="780" y="1886"/>
                </a:lnTo>
                <a:lnTo>
                  <a:pt x="779" y="1885"/>
                </a:lnTo>
                <a:lnTo>
                  <a:pt x="778" y="1883"/>
                </a:lnTo>
                <a:lnTo>
                  <a:pt x="777" y="1881"/>
                </a:lnTo>
                <a:lnTo>
                  <a:pt x="777" y="1879"/>
                </a:lnTo>
                <a:lnTo>
                  <a:pt x="777" y="148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7F65F6B3-17BB-4725-B305-8FFA3A2754CD}"/>
              </a:ext>
            </a:extLst>
          </p:cNvPr>
          <p:cNvSpPr>
            <a:spLocks noEditPoints="1"/>
          </p:cNvSpPr>
          <p:nvPr userDrawn="1"/>
        </p:nvSpPr>
        <p:spPr bwMode="auto">
          <a:xfrm flipH="1">
            <a:off x="5519494" y="0"/>
            <a:ext cx="6409154" cy="6858000"/>
          </a:xfrm>
          <a:custGeom>
            <a:avLst/>
            <a:gdLst>
              <a:gd name="T0" fmla="*/ 2381 w 4041"/>
              <a:gd name="T1" fmla="*/ 2204 h 4324"/>
              <a:gd name="T2" fmla="*/ 2381 w 4041"/>
              <a:gd name="T3" fmla="*/ 3804 h 4324"/>
              <a:gd name="T4" fmla="*/ 2300 w 4041"/>
              <a:gd name="T5" fmla="*/ 3816 h 4324"/>
              <a:gd name="T6" fmla="*/ 2276 w 4041"/>
              <a:gd name="T7" fmla="*/ 3788 h 4324"/>
              <a:gd name="T8" fmla="*/ 2294 w 4041"/>
              <a:gd name="T9" fmla="*/ 2192 h 4324"/>
              <a:gd name="T10" fmla="*/ 1573 w 4041"/>
              <a:gd name="T11" fmla="*/ 2196 h 4324"/>
              <a:gd name="T12" fmla="*/ 1587 w 4041"/>
              <a:gd name="T13" fmla="*/ 3794 h 4324"/>
              <a:gd name="T14" fmla="*/ 1557 w 4041"/>
              <a:gd name="T15" fmla="*/ 3818 h 4324"/>
              <a:gd name="T16" fmla="*/ 1434 w 4041"/>
              <a:gd name="T17" fmla="*/ 3798 h 4324"/>
              <a:gd name="T18" fmla="*/ 1440 w 4041"/>
              <a:gd name="T19" fmla="*/ 2200 h 4324"/>
              <a:gd name="T20" fmla="*/ 444 w 4041"/>
              <a:gd name="T21" fmla="*/ 2190 h 4324"/>
              <a:gd name="T22" fmla="*/ 469 w 4041"/>
              <a:gd name="T23" fmla="*/ 2220 h 4324"/>
              <a:gd name="T24" fmla="*/ 450 w 4041"/>
              <a:gd name="T25" fmla="*/ 3814 h 4324"/>
              <a:gd name="T26" fmla="*/ 408 w 4041"/>
              <a:gd name="T27" fmla="*/ 3808 h 4324"/>
              <a:gd name="T28" fmla="*/ 400 w 4041"/>
              <a:gd name="T29" fmla="*/ 2208 h 4324"/>
              <a:gd name="T30" fmla="*/ 685 w 4041"/>
              <a:gd name="T31" fmla="*/ 510 h 4324"/>
              <a:gd name="T32" fmla="*/ 808 w 4041"/>
              <a:gd name="T33" fmla="*/ 528 h 4324"/>
              <a:gd name="T34" fmla="*/ 802 w 4041"/>
              <a:gd name="T35" fmla="*/ 2128 h 4324"/>
              <a:gd name="T36" fmla="*/ 672 w 4041"/>
              <a:gd name="T37" fmla="*/ 2134 h 4324"/>
              <a:gd name="T38" fmla="*/ 654 w 4041"/>
              <a:gd name="T39" fmla="*/ 540 h 4324"/>
              <a:gd name="T40" fmla="*/ 679 w 4041"/>
              <a:gd name="T41" fmla="*/ 510 h 4324"/>
              <a:gd name="T42" fmla="*/ 3375 w 4041"/>
              <a:gd name="T43" fmla="*/ 518 h 4324"/>
              <a:gd name="T44" fmla="*/ 3381 w 4041"/>
              <a:gd name="T45" fmla="*/ 2118 h 4324"/>
              <a:gd name="T46" fmla="*/ 3342 w 4041"/>
              <a:gd name="T47" fmla="*/ 2136 h 4324"/>
              <a:gd name="T48" fmla="*/ 3314 w 4041"/>
              <a:gd name="T49" fmla="*/ 2112 h 4324"/>
              <a:gd name="T50" fmla="*/ 3326 w 4041"/>
              <a:gd name="T51" fmla="*/ 514 h 4324"/>
              <a:gd name="T52" fmla="*/ 1862 w 4041"/>
              <a:gd name="T53" fmla="*/ 512 h 4324"/>
              <a:gd name="T54" fmla="*/ 1880 w 4041"/>
              <a:gd name="T55" fmla="*/ 2106 h 4324"/>
              <a:gd name="T56" fmla="*/ 1856 w 4041"/>
              <a:gd name="T57" fmla="*/ 2136 h 4324"/>
              <a:gd name="T58" fmla="*/ 1816 w 4041"/>
              <a:gd name="T59" fmla="*/ 2124 h 4324"/>
              <a:gd name="T60" fmla="*/ 1816 w 4041"/>
              <a:gd name="T61" fmla="*/ 522 h 4324"/>
              <a:gd name="T62" fmla="*/ 30 w 4041"/>
              <a:gd name="T63" fmla="*/ 2136 h 4324"/>
              <a:gd name="T64" fmla="*/ 0 w 4041"/>
              <a:gd name="T65" fmla="*/ 2112 h 4324"/>
              <a:gd name="T66" fmla="*/ 14 w 4041"/>
              <a:gd name="T67" fmla="*/ 514 h 4324"/>
              <a:gd name="T68" fmla="*/ 57 w 4041"/>
              <a:gd name="T69" fmla="*/ 514 h 4324"/>
              <a:gd name="T70" fmla="*/ 71 w 4041"/>
              <a:gd name="T71" fmla="*/ 2112 h 4324"/>
              <a:gd name="T72" fmla="*/ 40 w 4041"/>
              <a:gd name="T73" fmla="*/ 2136 h 4324"/>
              <a:gd name="T74" fmla="*/ 79 w 4041"/>
              <a:gd name="T75" fmla="*/ 3881 h 4324"/>
              <a:gd name="T76" fmla="*/ 208 w 4041"/>
              <a:gd name="T77" fmla="*/ 3873 h 4324"/>
              <a:gd name="T78" fmla="*/ 226 w 4041"/>
              <a:gd name="T79" fmla="*/ 4324 h 4324"/>
              <a:gd name="T80" fmla="*/ 881 w 4041"/>
              <a:gd name="T81" fmla="*/ 3881 h 4324"/>
              <a:gd name="T82" fmla="*/ 927 w 4041"/>
              <a:gd name="T83" fmla="*/ 3873 h 4324"/>
              <a:gd name="T84" fmla="*/ 959 w 4041"/>
              <a:gd name="T85" fmla="*/ 4324 h 4324"/>
              <a:gd name="T86" fmla="*/ 2874 w 4041"/>
              <a:gd name="T87" fmla="*/ 3881 h 4324"/>
              <a:gd name="T88" fmla="*/ 2916 w 4041"/>
              <a:gd name="T89" fmla="*/ 3873 h 4324"/>
              <a:gd name="T90" fmla="*/ 2934 w 4041"/>
              <a:gd name="T91" fmla="*/ 4324 h 4324"/>
              <a:gd name="T92" fmla="*/ 3894 w 4041"/>
              <a:gd name="T93" fmla="*/ 3881 h 4324"/>
              <a:gd name="T94" fmla="*/ 4023 w 4041"/>
              <a:gd name="T95" fmla="*/ 3875 h 4324"/>
              <a:gd name="T96" fmla="*/ 4041 w 4041"/>
              <a:gd name="T97" fmla="*/ 4324 h 4324"/>
              <a:gd name="T98" fmla="*/ 2777 w 4041"/>
              <a:gd name="T99" fmla="*/ 443 h 4324"/>
              <a:gd name="T100" fmla="*/ 2648 w 4041"/>
              <a:gd name="T101" fmla="*/ 449 h 4324"/>
              <a:gd name="T102" fmla="*/ 2629 w 4041"/>
              <a:gd name="T103" fmla="*/ 0 h 4324"/>
              <a:gd name="T104" fmla="*/ 418 w 4041"/>
              <a:gd name="T105" fmla="*/ 449 h 4324"/>
              <a:gd name="T106" fmla="*/ 291 w 4041"/>
              <a:gd name="T107" fmla="*/ 455 h 4324"/>
              <a:gd name="T108" fmla="*/ 271 w 4041"/>
              <a:gd name="T109" fmla="*/ 0 h 4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041" h="4324">
                <a:moveTo>
                  <a:pt x="2306" y="2190"/>
                </a:moveTo>
                <a:lnTo>
                  <a:pt x="2355" y="2190"/>
                </a:lnTo>
                <a:lnTo>
                  <a:pt x="2361" y="2190"/>
                </a:lnTo>
                <a:lnTo>
                  <a:pt x="2367" y="2192"/>
                </a:lnTo>
                <a:lnTo>
                  <a:pt x="2373" y="2196"/>
                </a:lnTo>
                <a:lnTo>
                  <a:pt x="2377" y="2200"/>
                </a:lnTo>
                <a:lnTo>
                  <a:pt x="2381" y="2204"/>
                </a:lnTo>
                <a:lnTo>
                  <a:pt x="2383" y="2208"/>
                </a:lnTo>
                <a:lnTo>
                  <a:pt x="2385" y="2214"/>
                </a:lnTo>
                <a:lnTo>
                  <a:pt x="2385" y="2220"/>
                </a:lnTo>
                <a:lnTo>
                  <a:pt x="2385" y="3788"/>
                </a:lnTo>
                <a:lnTo>
                  <a:pt x="2385" y="3794"/>
                </a:lnTo>
                <a:lnTo>
                  <a:pt x="2383" y="3798"/>
                </a:lnTo>
                <a:lnTo>
                  <a:pt x="2381" y="3804"/>
                </a:lnTo>
                <a:lnTo>
                  <a:pt x="2377" y="3808"/>
                </a:lnTo>
                <a:lnTo>
                  <a:pt x="2373" y="3812"/>
                </a:lnTo>
                <a:lnTo>
                  <a:pt x="2367" y="3814"/>
                </a:lnTo>
                <a:lnTo>
                  <a:pt x="2361" y="3816"/>
                </a:lnTo>
                <a:lnTo>
                  <a:pt x="2355" y="3818"/>
                </a:lnTo>
                <a:lnTo>
                  <a:pt x="2306" y="3818"/>
                </a:lnTo>
                <a:lnTo>
                  <a:pt x="2300" y="3816"/>
                </a:lnTo>
                <a:lnTo>
                  <a:pt x="2294" y="3814"/>
                </a:lnTo>
                <a:lnTo>
                  <a:pt x="2290" y="3812"/>
                </a:lnTo>
                <a:lnTo>
                  <a:pt x="2286" y="3808"/>
                </a:lnTo>
                <a:lnTo>
                  <a:pt x="2282" y="3804"/>
                </a:lnTo>
                <a:lnTo>
                  <a:pt x="2278" y="3798"/>
                </a:lnTo>
                <a:lnTo>
                  <a:pt x="2276" y="3794"/>
                </a:lnTo>
                <a:lnTo>
                  <a:pt x="2276" y="3788"/>
                </a:lnTo>
                <a:lnTo>
                  <a:pt x="2276" y="2220"/>
                </a:lnTo>
                <a:lnTo>
                  <a:pt x="2276" y="2214"/>
                </a:lnTo>
                <a:lnTo>
                  <a:pt x="2278" y="2208"/>
                </a:lnTo>
                <a:lnTo>
                  <a:pt x="2282" y="2204"/>
                </a:lnTo>
                <a:lnTo>
                  <a:pt x="2286" y="2200"/>
                </a:lnTo>
                <a:lnTo>
                  <a:pt x="2290" y="2196"/>
                </a:lnTo>
                <a:lnTo>
                  <a:pt x="2294" y="2192"/>
                </a:lnTo>
                <a:lnTo>
                  <a:pt x="2300" y="2190"/>
                </a:lnTo>
                <a:lnTo>
                  <a:pt x="2306" y="2190"/>
                </a:lnTo>
                <a:close/>
                <a:moveTo>
                  <a:pt x="1462" y="2190"/>
                </a:moveTo>
                <a:lnTo>
                  <a:pt x="1557" y="2190"/>
                </a:lnTo>
                <a:lnTo>
                  <a:pt x="1563" y="2190"/>
                </a:lnTo>
                <a:lnTo>
                  <a:pt x="1569" y="2192"/>
                </a:lnTo>
                <a:lnTo>
                  <a:pt x="1573" y="2196"/>
                </a:lnTo>
                <a:lnTo>
                  <a:pt x="1579" y="2200"/>
                </a:lnTo>
                <a:lnTo>
                  <a:pt x="1581" y="2204"/>
                </a:lnTo>
                <a:lnTo>
                  <a:pt x="1585" y="2208"/>
                </a:lnTo>
                <a:lnTo>
                  <a:pt x="1587" y="2214"/>
                </a:lnTo>
                <a:lnTo>
                  <a:pt x="1587" y="2220"/>
                </a:lnTo>
                <a:lnTo>
                  <a:pt x="1587" y="3788"/>
                </a:lnTo>
                <a:lnTo>
                  <a:pt x="1587" y="3794"/>
                </a:lnTo>
                <a:lnTo>
                  <a:pt x="1585" y="3798"/>
                </a:lnTo>
                <a:lnTo>
                  <a:pt x="1581" y="3804"/>
                </a:lnTo>
                <a:lnTo>
                  <a:pt x="1579" y="3808"/>
                </a:lnTo>
                <a:lnTo>
                  <a:pt x="1573" y="3812"/>
                </a:lnTo>
                <a:lnTo>
                  <a:pt x="1569" y="3814"/>
                </a:lnTo>
                <a:lnTo>
                  <a:pt x="1563" y="3816"/>
                </a:lnTo>
                <a:lnTo>
                  <a:pt x="1557" y="3818"/>
                </a:lnTo>
                <a:lnTo>
                  <a:pt x="1462" y="3818"/>
                </a:lnTo>
                <a:lnTo>
                  <a:pt x="1456" y="3816"/>
                </a:lnTo>
                <a:lnTo>
                  <a:pt x="1450" y="3814"/>
                </a:lnTo>
                <a:lnTo>
                  <a:pt x="1446" y="3812"/>
                </a:lnTo>
                <a:lnTo>
                  <a:pt x="1440" y="3808"/>
                </a:lnTo>
                <a:lnTo>
                  <a:pt x="1436" y="3804"/>
                </a:lnTo>
                <a:lnTo>
                  <a:pt x="1434" y="3798"/>
                </a:lnTo>
                <a:lnTo>
                  <a:pt x="1432" y="3794"/>
                </a:lnTo>
                <a:lnTo>
                  <a:pt x="1432" y="3788"/>
                </a:lnTo>
                <a:lnTo>
                  <a:pt x="1432" y="2220"/>
                </a:lnTo>
                <a:lnTo>
                  <a:pt x="1432" y="2214"/>
                </a:lnTo>
                <a:lnTo>
                  <a:pt x="1434" y="2208"/>
                </a:lnTo>
                <a:lnTo>
                  <a:pt x="1436" y="2204"/>
                </a:lnTo>
                <a:lnTo>
                  <a:pt x="1440" y="2200"/>
                </a:lnTo>
                <a:lnTo>
                  <a:pt x="1446" y="2196"/>
                </a:lnTo>
                <a:lnTo>
                  <a:pt x="1450" y="2192"/>
                </a:lnTo>
                <a:lnTo>
                  <a:pt x="1456" y="2190"/>
                </a:lnTo>
                <a:lnTo>
                  <a:pt x="1462" y="2190"/>
                </a:lnTo>
                <a:close/>
                <a:moveTo>
                  <a:pt x="428" y="2190"/>
                </a:moveTo>
                <a:lnTo>
                  <a:pt x="438" y="2190"/>
                </a:lnTo>
                <a:lnTo>
                  <a:pt x="444" y="2190"/>
                </a:lnTo>
                <a:lnTo>
                  <a:pt x="450" y="2192"/>
                </a:lnTo>
                <a:lnTo>
                  <a:pt x="454" y="2196"/>
                </a:lnTo>
                <a:lnTo>
                  <a:pt x="460" y="2200"/>
                </a:lnTo>
                <a:lnTo>
                  <a:pt x="462" y="2204"/>
                </a:lnTo>
                <a:lnTo>
                  <a:pt x="467" y="2208"/>
                </a:lnTo>
                <a:lnTo>
                  <a:pt x="469" y="2214"/>
                </a:lnTo>
                <a:lnTo>
                  <a:pt x="469" y="2220"/>
                </a:lnTo>
                <a:lnTo>
                  <a:pt x="469" y="3788"/>
                </a:lnTo>
                <a:lnTo>
                  <a:pt x="469" y="3794"/>
                </a:lnTo>
                <a:lnTo>
                  <a:pt x="467" y="3798"/>
                </a:lnTo>
                <a:lnTo>
                  <a:pt x="462" y="3804"/>
                </a:lnTo>
                <a:lnTo>
                  <a:pt x="460" y="3808"/>
                </a:lnTo>
                <a:lnTo>
                  <a:pt x="454" y="3812"/>
                </a:lnTo>
                <a:lnTo>
                  <a:pt x="450" y="3814"/>
                </a:lnTo>
                <a:lnTo>
                  <a:pt x="444" y="3816"/>
                </a:lnTo>
                <a:lnTo>
                  <a:pt x="438" y="3818"/>
                </a:lnTo>
                <a:lnTo>
                  <a:pt x="428" y="3818"/>
                </a:lnTo>
                <a:lnTo>
                  <a:pt x="422" y="3816"/>
                </a:lnTo>
                <a:lnTo>
                  <a:pt x="416" y="3814"/>
                </a:lnTo>
                <a:lnTo>
                  <a:pt x="412" y="3812"/>
                </a:lnTo>
                <a:lnTo>
                  <a:pt x="408" y="3808"/>
                </a:lnTo>
                <a:lnTo>
                  <a:pt x="404" y="3804"/>
                </a:lnTo>
                <a:lnTo>
                  <a:pt x="400" y="3798"/>
                </a:lnTo>
                <a:lnTo>
                  <a:pt x="400" y="3794"/>
                </a:lnTo>
                <a:lnTo>
                  <a:pt x="398" y="3788"/>
                </a:lnTo>
                <a:lnTo>
                  <a:pt x="398" y="2220"/>
                </a:lnTo>
                <a:lnTo>
                  <a:pt x="400" y="2214"/>
                </a:lnTo>
                <a:lnTo>
                  <a:pt x="400" y="2208"/>
                </a:lnTo>
                <a:lnTo>
                  <a:pt x="404" y="2204"/>
                </a:lnTo>
                <a:lnTo>
                  <a:pt x="408" y="2200"/>
                </a:lnTo>
                <a:lnTo>
                  <a:pt x="412" y="2196"/>
                </a:lnTo>
                <a:lnTo>
                  <a:pt x="416" y="2192"/>
                </a:lnTo>
                <a:lnTo>
                  <a:pt x="422" y="2190"/>
                </a:lnTo>
                <a:lnTo>
                  <a:pt x="428" y="2190"/>
                </a:lnTo>
                <a:close/>
                <a:moveTo>
                  <a:pt x="685" y="510"/>
                </a:moveTo>
                <a:lnTo>
                  <a:pt x="780" y="510"/>
                </a:lnTo>
                <a:lnTo>
                  <a:pt x="786" y="510"/>
                </a:lnTo>
                <a:lnTo>
                  <a:pt x="792" y="512"/>
                </a:lnTo>
                <a:lnTo>
                  <a:pt x="796" y="514"/>
                </a:lnTo>
                <a:lnTo>
                  <a:pt x="802" y="518"/>
                </a:lnTo>
                <a:lnTo>
                  <a:pt x="804" y="522"/>
                </a:lnTo>
                <a:lnTo>
                  <a:pt x="808" y="528"/>
                </a:lnTo>
                <a:lnTo>
                  <a:pt x="810" y="534"/>
                </a:lnTo>
                <a:lnTo>
                  <a:pt x="810" y="540"/>
                </a:lnTo>
                <a:lnTo>
                  <a:pt x="810" y="2106"/>
                </a:lnTo>
                <a:lnTo>
                  <a:pt x="810" y="2112"/>
                </a:lnTo>
                <a:lnTo>
                  <a:pt x="808" y="2118"/>
                </a:lnTo>
                <a:lnTo>
                  <a:pt x="804" y="2124"/>
                </a:lnTo>
                <a:lnTo>
                  <a:pt x="802" y="2128"/>
                </a:lnTo>
                <a:lnTo>
                  <a:pt x="796" y="2132"/>
                </a:lnTo>
                <a:lnTo>
                  <a:pt x="792" y="2134"/>
                </a:lnTo>
                <a:lnTo>
                  <a:pt x="786" y="2136"/>
                </a:lnTo>
                <a:lnTo>
                  <a:pt x="780" y="2136"/>
                </a:lnTo>
                <a:lnTo>
                  <a:pt x="685" y="2136"/>
                </a:lnTo>
                <a:lnTo>
                  <a:pt x="679" y="2136"/>
                </a:lnTo>
                <a:lnTo>
                  <a:pt x="672" y="2134"/>
                </a:lnTo>
                <a:lnTo>
                  <a:pt x="668" y="2132"/>
                </a:lnTo>
                <a:lnTo>
                  <a:pt x="662" y="2128"/>
                </a:lnTo>
                <a:lnTo>
                  <a:pt x="660" y="2124"/>
                </a:lnTo>
                <a:lnTo>
                  <a:pt x="656" y="2118"/>
                </a:lnTo>
                <a:lnTo>
                  <a:pt x="654" y="2112"/>
                </a:lnTo>
                <a:lnTo>
                  <a:pt x="654" y="2106"/>
                </a:lnTo>
                <a:lnTo>
                  <a:pt x="654" y="540"/>
                </a:lnTo>
                <a:lnTo>
                  <a:pt x="654" y="534"/>
                </a:lnTo>
                <a:lnTo>
                  <a:pt x="656" y="528"/>
                </a:lnTo>
                <a:lnTo>
                  <a:pt x="660" y="522"/>
                </a:lnTo>
                <a:lnTo>
                  <a:pt x="662" y="518"/>
                </a:lnTo>
                <a:lnTo>
                  <a:pt x="668" y="514"/>
                </a:lnTo>
                <a:lnTo>
                  <a:pt x="672" y="512"/>
                </a:lnTo>
                <a:lnTo>
                  <a:pt x="679" y="510"/>
                </a:lnTo>
                <a:lnTo>
                  <a:pt x="685" y="510"/>
                </a:lnTo>
                <a:close/>
                <a:moveTo>
                  <a:pt x="3342" y="510"/>
                </a:moveTo>
                <a:lnTo>
                  <a:pt x="3352" y="510"/>
                </a:lnTo>
                <a:lnTo>
                  <a:pt x="3358" y="510"/>
                </a:lnTo>
                <a:lnTo>
                  <a:pt x="3364" y="512"/>
                </a:lnTo>
                <a:lnTo>
                  <a:pt x="3369" y="514"/>
                </a:lnTo>
                <a:lnTo>
                  <a:pt x="3375" y="518"/>
                </a:lnTo>
                <a:lnTo>
                  <a:pt x="3377" y="522"/>
                </a:lnTo>
                <a:lnTo>
                  <a:pt x="3381" y="528"/>
                </a:lnTo>
                <a:lnTo>
                  <a:pt x="3383" y="534"/>
                </a:lnTo>
                <a:lnTo>
                  <a:pt x="3383" y="540"/>
                </a:lnTo>
                <a:lnTo>
                  <a:pt x="3383" y="2106"/>
                </a:lnTo>
                <a:lnTo>
                  <a:pt x="3383" y="2112"/>
                </a:lnTo>
                <a:lnTo>
                  <a:pt x="3381" y="2118"/>
                </a:lnTo>
                <a:lnTo>
                  <a:pt x="3377" y="2124"/>
                </a:lnTo>
                <a:lnTo>
                  <a:pt x="3375" y="2128"/>
                </a:lnTo>
                <a:lnTo>
                  <a:pt x="3369" y="2132"/>
                </a:lnTo>
                <a:lnTo>
                  <a:pt x="3364" y="2134"/>
                </a:lnTo>
                <a:lnTo>
                  <a:pt x="3358" y="2136"/>
                </a:lnTo>
                <a:lnTo>
                  <a:pt x="3352" y="2136"/>
                </a:lnTo>
                <a:lnTo>
                  <a:pt x="3342" y="2136"/>
                </a:lnTo>
                <a:lnTo>
                  <a:pt x="3336" y="2136"/>
                </a:lnTo>
                <a:lnTo>
                  <a:pt x="3330" y="2134"/>
                </a:lnTo>
                <a:lnTo>
                  <a:pt x="3326" y="2132"/>
                </a:lnTo>
                <a:lnTo>
                  <a:pt x="3322" y="2128"/>
                </a:lnTo>
                <a:lnTo>
                  <a:pt x="3318" y="2124"/>
                </a:lnTo>
                <a:lnTo>
                  <a:pt x="3314" y="2118"/>
                </a:lnTo>
                <a:lnTo>
                  <a:pt x="3314" y="2112"/>
                </a:lnTo>
                <a:lnTo>
                  <a:pt x="3312" y="2106"/>
                </a:lnTo>
                <a:lnTo>
                  <a:pt x="3312" y="540"/>
                </a:lnTo>
                <a:lnTo>
                  <a:pt x="3314" y="534"/>
                </a:lnTo>
                <a:lnTo>
                  <a:pt x="3314" y="528"/>
                </a:lnTo>
                <a:lnTo>
                  <a:pt x="3318" y="522"/>
                </a:lnTo>
                <a:lnTo>
                  <a:pt x="3322" y="518"/>
                </a:lnTo>
                <a:lnTo>
                  <a:pt x="3326" y="514"/>
                </a:lnTo>
                <a:lnTo>
                  <a:pt x="3330" y="512"/>
                </a:lnTo>
                <a:lnTo>
                  <a:pt x="3336" y="510"/>
                </a:lnTo>
                <a:lnTo>
                  <a:pt x="3342" y="510"/>
                </a:lnTo>
                <a:close/>
                <a:moveTo>
                  <a:pt x="1842" y="510"/>
                </a:moveTo>
                <a:lnTo>
                  <a:pt x="1850" y="510"/>
                </a:lnTo>
                <a:lnTo>
                  <a:pt x="1856" y="510"/>
                </a:lnTo>
                <a:lnTo>
                  <a:pt x="1862" y="512"/>
                </a:lnTo>
                <a:lnTo>
                  <a:pt x="1868" y="514"/>
                </a:lnTo>
                <a:lnTo>
                  <a:pt x="1872" y="518"/>
                </a:lnTo>
                <a:lnTo>
                  <a:pt x="1876" y="522"/>
                </a:lnTo>
                <a:lnTo>
                  <a:pt x="1878" y="528"/>
                </a:lnTo>
                <a:lnTo>
                  <a:pt x="1880" y="534"/>
                </a:lnTo>
                <a:lnTo>
                  <a:pt x="1880" y="540"/>
                </a:lnTo>
                <a:lnTo>
                  <a:pt x="1880" y="2106"/>
                </a:lnTo>
                <a:lnTo>
                  <a:pt x="1880" y="2112"/>
                </a:lnTo>
                <a:lnTo>
                  <a:pt x="1878" y="2118"/>
                </a:lnTo>
                <a:lnTo>
                  <a:pt x="1876" y="2124"/>
                </a:lnTo>
                <a:lnTo>
                  <a:pt x="1872" y="2128"/>
                </a:lnTo>
                <a:lnTo>
                  <a:pt x="1868" y="2132"/>
                </a:lnTo>
                <a:lnTo>
                  <a:pt x="1862" y="2134"/>
                </a:lnTo>
                <a:lnTo>
                  <a:pt x="1856" y="2136"/>
                </a:lnTo>
                <a:lnTo>
                  <a:pt x="1850" y="2136"/>
                </a:lnTo>
                <a:lnTo>
                  <a:pt x="1842" y="2136"/>
                </a:lnTo>
                <a:lnTo>
                  <a:pt x="1836" y="2136"/>
                </a:lnTo>
                <a:lnTo>
                  <a:pt x="1830" y="2134"/>
                </a:lnTo>
                <a:lnTo>
                  <a:pt x="1824" y="2132"/>
                </a:lnTo>
                <a:lnTo>
                  <a:pt x="1820" y="2128"/>
                </a:lnTo>
                <a:lnTo>
                  <a:pt x="1816" y="2124"/>
                </a:lnTo>
                <a:lnTo>
                  <a:pt x="1814" y="2118"/>
                </a:lnTo>
                <a:lnTo>
                  <a:pt x="1811" y="2112"/>
                </a:lnTo>
                <a:lnTo>
                  <a:pt x="1811" y="2106"/>
                </a:lnTo>
                <a:lnTo>
                  <a:pt x="1811" y="540"/>
                </a:lnTo>
                <a:lnTo>
                  <a:pt x="1811" y="534"/>
                </a:lnTo>
                <a:lnTo>
                  <a:pt x="1814" y="528"/>
                </a:lnTo>
                <a:lnTo>
                  <a:pt x="1816" y="522"/>
                </a:lnTo>
                <a:lnTo>
                  <a:pt x="1820" y="518"/>
                </a:lnTo>
                <a:lnTo>
                  <a:pt x="1824" y="514"/>
                </a:lnTo>
                <a:lnTo>
                  <a:pt x="1830" y="512"/>
                </a:lnTo>
                <a:lnTo>
                  <a:pt x="1836" y="510"/>
                </a:lnTo>
                <a:lnTo>
                  <a:pt x="1842" y="510"/>
                </a:lnTo>
                <a:close/>
                <a:moveTo>
                  <a:pt x="40" y="2136"/>
                </a:moveTo>
                <a:lnTo>
                  <a:pt x="30" y="2136"/>
                </a:lnTo>
                <a:lnTo>
                  <a:pt x="24" y="2136"/>
                </a:lnTo>
                <a:lnTo>
                  <a:pt x="18" y="2134"/>
                </a:lnTo>
                <a:lnTo>
                  <a:pt x="14" y="2132"/>
                </a:lnTo>
                <a:lnTo>
                  <a:pt x="10" y="2128"/>
                </a:lnTo>
                <a:lnTo>
                  <a:pt x="6" y="2124"/>
                </a:lnTo>
                <a:lnTo>
                  <a:pt x="2" y="2118"/>
                </a:lnTo>
                <a:lnTo>
                  <a:pt x="0" y="2112"/>
                </a:lnTo>
                <a:lnTo>
                  <a:pt x="0" y="2106"/>
                </a:lnTo>
                <a:lnTo>
                  <a:pt x="0" y="540"/>
                </a:lnTo>
                <a:lnTo>
                  <a:pt x="0" y="534"/>
                </a:lnTo>
                <a:lnTo>
                  <a:pt x="2" y="528"/>
                </a:lnTo>
                <a:lnTo>
                  <a:pt x="6" y="522"/>
                </a:lnTo>
                <a:lnTo>
                  <a:pt x="10" y="518"/>
                </a:lnTo>
                <a:lnTo>
                  <a:pt x="14" y="514"/>
                </a:lnTo>
                <a:lnTo>
                  <a:pt x="18" y="512"/>
                </a:lnTo>
                <a:lnTo>
                  <a:pt x="24" y="510"/>
                </a:lnTo>
                <a:lnTo>
                  <a:pt x="30" y="510"/>
                </a:lnTo>
                <a:lnTo>
                  <a:pt x="40" y="510"/>
                </a:lnTo>
                <a:lnTo>
                  <a:pt x="46" y="510"/>
                </a:lnTo>
                <a:lnTo>
                  <a:pt x="53" y="512"/>
                </a:lnTo>
                <a:lnTo>
                  <a:pt x="57" y="514"/>
                </a:lnTo>
                <a:lnTo>
                  <a:pt x="61" y="518"/>
                </a:lnTo>
                <a:lnTo>
                  <a:pt x="65" y="522"/>
                </a:lnTo>
                <a:lnTo>
                  <a:pt x="69" y="528"/>
                </a:lnTo>
                <a:lnTo>
                  <a:pt x="71" y="534"/>
                </a:lnTo>
                <a:lnTo>
                  <a:pt x="71" y="540"/>
                </a:lnTo>
                <a:lnTo>
                  <a:pt x="71" y="2106"/>
                </a:lnTo>
                <a:lnTo>
                  <a:pt x="71" y="2112"/>
                </a:lnTo>
                <a:lnTo>
                  <a:pt x="69" y="2118"/>
                </a:lnTo>
                <a:lnTo>
                  <a:pt x="65" y="2124"/>
                </a:lnTo>
                <a:lnTo>
                  <a:pt x="61" y="2128"/>
                </a:lnTo>
                <a:lnTo>
                  <a:pt x="57" y="2132"/>
                </a:lnTo>
                <a:lnTo>
                  <a:pt x="53" y="2134"/>
                </a:lnTo>
                <a:lnTo>
                  <a:pt x="46" y="2136"/>
                </a:lnTo>
                <a:lnTo>
                  <a:pt x="40" y="2136"/>
                </a:lnTo>
                <a:close/>
                <a:moveTo>
                  <a:pt x="226" y="4324"/>
                </a:moveTo>
                <a:lnTo>
                  <a:pt x="71" y="4324"/>
                </a:lnTo>
                <a:lnTo>
                  <a:pt x="71" y="3901"/>
                </a:lnTo>
                <a:lnTo>
                  <a:pt x="71" y="3895"/>
                </a:lnTo>
                <a:lnTo>
                  <a:pt x="73" y="3889"/>
                </a:lnTo>
                <a:lnTo>
                  <a:pt x="75" y="3885"/>
                </a:lnTo>
                <a:lnTo>
                  <a:pt x="79" y="3881"/>
                </a:lnTo>
                <a:lnTo>
                  <a:pt x="83" y="3877"/>
                </a:lnTo>
                <a:lnTo>
                  <a:pt x="89" y="3873"/>
                </a:lnTo>
                <a:lnTo>
                  <a:pt x="95" y="3873"/>
                </a:lnTo>
                <a:lnTo>
                  <a:pt x="101" y="3871"/>
                </a:lnTo>
                <a:lnTo>
                  <a:pt x="196" y="3871"/>
                </a:lnTo>
                <a:lnTo>
                  <a:pt x="202" y="3873"/>
                </a:lnTo>
                <a:lnTo>
                  <a:pt x="208" y="3873"/>
                </a:lnTo>
                <a:lnTo>
                  <a:pt x="212" y="3877"/>
                </a:lnTo>
                <a:lnTo>
                  <a:pt x="216" y="3881"/>
                </a:lnTo>
                <a:lnTo>
                  <a:pt x="220" y="3885"/>
                </a:lnTo>
                <a:lnTo>
                  <a:pt x="224" y="3889"/>
                </a:lnTo>
                <a:lnTo>
                  <a:pt x="226" y="3895"/>
                </a:lnTo>
                <a:lnTo>
                  <a:pt x="226" y="3901"/>
                </a:lnTo>
                <a:lnTo>
                  <a:pt x="226" y="4324"/>
                </a:lnTo>
                <a:close/>
                <a:moveTo>
                  <a:pt x="959" y="4324"/>
                </a:moveTo>
                <a:lnTo>
                  <a:pt x="872" y="4324"/>
                </a:lnTo>
                <a:lnTo>
                  <a:pt x="872" y="3901"/>
                </a:lnTo>
                <a:lnTo>
                  <a:pt x="872" y="3895"/>
                </a:lnTo>
                <a:lnTo>
                  <a:pt x="874" y="3889"/>
                </a:lnTo>
                <a:lnTo>
                  <a:pt x="878" y="3885"/>
                </a:lnTo>
                <a:lnTo>
                  <a:pt x="881" y="3881"/>
                </a:lnTo>
                <a:lnTo>
                  <a:pt x="887" y="3877"/>
                </a:lnTo>
                <a:lnTo>
                  <a:pt x="891" y="3873"/>
                </a:lnTo>
                <a:lnTo>
                  <a:pt x="897" y="3873"/>
                </a:lnTo>
                <a:lnTo>
                  <a:pt x="903" y="3871"/>
                </a:lnTo>
                <a:lnTo>
                  <a:pt x="913" y="3871"/>
                </a:lnTo>
                <a:lnTo>
                  <a:pt x="919" y="3873"/>
                </a:lnTo>
                <a:lnTo>
                  <a:pt x="927" y="3873"/>
                </a:lnTo>
                <a:lnTo>
                  <a:pt x="935" y="3877"/>
                </a:lnTo>
                <a:lnTo>
                  <a:pt x="941" y="3881"/>
                </a:lnTo>
                <a:lnTo>
                  <a:pt x="949" y="3885"/>
                </a:lnTo>
                <a:lnTo>
                  <a:pt x="953" y="3889"/>
                </a:lnTo>
                <a:lnTo>
                  <a:pt x="957" y="3895"/>
                </a:lnTo>
                <a:lnTo>
                  <a:pt x="959" y="3901"/>
                </a:lnTo>
                <a:lnTo>
                  <a:pt x="959" y="4324"/>
                </a:lnTo>
                <a:close/>
                <a:moveTo>
                  <a:pt x="2934" y="4324"/>
                </a:moveTo>
                <a:lnTo>
                  <a:pt x="2866" y="4324"/>
                </a:lnTo>
                <a:lnTo>
                  <a:pt x="2866" y="3901"/>
                </a:lnTo>
                <a:lnTo>
                  <a:pt x="2866" y="3895"/>
                </a:lnTo>
                <a:lnTo>
                  <a:pt x="2868" y="3889"/>
                </a:lnTo>
                <a:lnTo>
                  <a:pt x="2870" y="3885"/>
                </a:lnTo>
                <a:lnTo>
                  <a:pt x="2874" y="3881"/>
                </a:lnTo>
                <a:lnTo>
                  <a:pt x="2878" y="3877"/>
                </a:lnTo>
                <a:lnTo>
                  <a:pt x="2884" y="3873"/>
                </a:lnTo>
                <a:lnTo>
                  <a:pt x="2890" y="3873"/>
                </a:lnTo>
                <a:lnTo>
                  <a:pt x="2896" y="3871"/>
                </a:lnTo>
                <a:lnTo>
                  <a:pt x="2904" y="3871"/>
                </a:lnTo>
                <a:lnTo>
                  <a:pt x="2910" y="3873"/>
                </a:lnTo>
                <a:lnTo>
                  <a:pt x="2916" y="3873"/>
                </a:lnTo>
                <a:lnTo>
                  <a:pt x="2922" y="3877"/>
                </a:lnTo>
                <a:lnTo>
                  <a:pt x="2926" y="3881"/>
                </a:lnTo>
                <a:lnTo>
                  <a:pt x="2930" y="3885"/>
                </a:lnTo>
                <a:lnTo>
                  <a:pt x="2932" y="3889"/>
                </a:lnTo>
                <a:lnTo>
                  <a:pt x="2934" y="3895"/>
                </a:lnTo>
                <a:lnTo>
                  <a:pt x="2934" y="3901"/>
                </a:lnTo>
                <a:lnTo>
                  <a:pt x="2934" y="4324"/>
                </a:lnTo>
                <a:close/>
                <a:moveTo>
                  <a:pt x="4041" y="4324"/>
                </a:moveTo>
                <a:lnTo>
                  <a:pt x="3886" y="4324"/>
                </a:lnTo>
                <a:lnTo>
                  <a:pt x="3886" y="3903"/>
                </a:lnTo>
                <a:lnTo>
                  <a:pt x="3886" y="3897"/>
                </a:lnTo>
                <a:lnTo>
                  <a:pt x="3888" y="3891"/>
                </a:lnTo>
                <a:lnTo>
                  <a:pt x="3890" y="3887"/>
                </a:lnTo>
                <a:lnTo>
                  <a:pt x="3894" y="3881"/>
                </a:lnTo>
                <a:lnTo>
                  <a:pt x="3898" y="3879"/>
                </a:lnTo>
                <a:lnTo>
                  <a:pt x="3904" y="3875"/>
                </a:lnTo>
                <a:lnTo>
                  <a:pt x="3910" y="3873"/>
                </a:lnTo>
                <a:lnTo>
                  <a:pt x="3916" y="3873"/>
                </a:lnTo>
                <a:lnTo>
                  <a:pt x="4011" y="3873"/>
                </a:lnTo>
                <a:lnTo>
                  <a:pt x="4017" y="3873"/>
                </a:lnTo>
                <a:lnTo>
                  <a:pt x="4023" y="3875"/>
                </a:lnTo>
                <a:lnTo>
                  <a:pt x="4027" y="3879"/>
                </a:lnTo>
                <a:lnTo>
                  <a:pt x="4031" y="3881"/>
                </a:lnTo>
                <a:lnTo>
                  <a:pt x="4035" y="3887"/>
                </a:lnTo>
                <a:lnTo>
                  <a:pt x="4039" y="3891"/>
                </a:lnTo>
                <a:lnTo>
                  <a:pt x="4039" y="3897"/>
                </a:lnTo>
                <a:lnTo>
                  <a:pt x="4041" y="3903"/>
                </a:lnTo>
                <a:lnTo>
                  <a:pt x="4041" y="4324"/>
                </a:lnTo>
                <a:close/>
                <a:moveTo>
                  <a:pt x="2629" y="0"/>
                </a:moveTo>
                <a:lnTo>
                  <a:pt x="2785" y="0"/>
                </a:lnTo>
                <a:lnTo>
                  <a:pt x="2785" y="421"/>
                </a:lnTo>
                <a:lnTo>
                  <a:pt x="2785" y="427"/>
                </a:lnTo>
                <a:lnTo>
                  <a:pt x="2783" y="433"/>
                </a:lnTo>
                <a:lnTo>
                  <a:pt x="2781" y="437"/>
                </a:lnTo>
                <a:lnTo>
                  <a:pt x="2777" y="443"/>
                </a:lnTo>
                <a:lnTo>
                  <a:pt x="2773" y="445"/>
                </a:lnTo>
                <a:lnTo>
                  <a:pt x="2767" y="449"/>
                </a:lnTo>
                <a:lnTo>
                  <a:pt x="2761" y="451"/>
                </a:lnTo>
                <a:lnTo>
                  <a:pt x="2755" y="451"/>
                </a:lnTo>
                <a:lnTo>
                  <a:pt x="2660" y="451"/>
                </a:lnTo>
                <a:lnTo>
                  <a:pt x="2654" y="451"/>
                </a:lnTo>
                <a:lnTo>
                  <a:pt x="2648" y="449"/>
                </a:lnTo>
                <a:lnTo>
                  <a:pt x="2644" y="445"/>
                </a:lnTo>
                <a:lnTo>
                  <a:pt x="2639" y="443"/>
                </a:lnTo>
                <a:lnTo>
                  <a:pt x="2635" y="437"/>
                </a:lnTo>
                <a:lnTo>
                  <a:pt x="2631" y="433"/>
                </a:lnTo>
                <a:lnTo>
                  <a:pt x="2631" y="427"/>
                </a:lnTo>
                <a:lnTo>
                  <a:pt x="2629" y="421"/>
                </a:lnTo>
                <a:lnTo>
                  <a:pt x="2629" y="0"/>
                </a:lnTo>
                <a:close/>
                <a:moveTo>
                  <a:pt x="271" y="0"/>
                </a:moveTo>
                <a:lnTo>
                  <a:pt x="426" y="0"/>
                </a:lnTo>
                <a:lnTo>
                  <a:pt x="426" y="427"/>
                </a:lnTo>
                <a:lnTo>
                  <a:pt x="426" y="433"/>
                </a:lnTo>
                <a:lnTo>
                  <a:pt x="424" y="439"/>
                </a:lnTo>
                <a:lnTo>
                  <a:pt x="422" y="445"/>
                </a:lnTo>
                <a:lnTo>
                  <a:pt x="418" y="449"/>
                </a:lnTo>
                <a:lnTo>
                  <a:pt x="414" y="453"/>
                </a:lnTo>
                <a:lnTo>
                  <a:pt x="408" y="455"/>
                </a:lnTo>
                <a:lnTo>
                  <a:pt x="402" y="457"/>
                </a:lnTo>
                <a:lnTo>
                  <a:pt x="396" y="457"/>
                </a:lnTo>
                <a:lnTo>
                  <a:pt x="301" y="457"/>
                </a:lnTo>
                <a:lnTo>
                  <a:pt x="295" y="457"/>
                </a:lnTo>
                <a:lnTo>
                  <a:pt x="291" y="455"/>
                </a:lnTo>
                <a:lnTo>
                  <a:pt x="285" y="453"/>
                </a:lnTo>
                <a:lnTo>
                  <a:pt x="281" y="449"/>
                </a:lnTo>
                <a:lnTo>
                  <a:pt x="277" y="445"/>
                </a:lnTo>
                <a:lnTo>
                  <a:pt x="275" y="439"/>
                </a:lnTo>
                <a:lnTo>
                  <a:pt x="273" y="433"/>
                </a:lnTo>
                <a:lnTo>
                  <a:pt x="271" y="427"/>
                </a:lnTo>
                <a:lnTo>
                  <a:pt x="271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690550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AB06081-8A33-434B-ADE0-66FA64E88218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RIA - RKL yrittäjäpäivä 1.11.202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05F18AE-1651-40F7-AA67-43B0687F4AAA}"/>
              </a:ext>
            </a:extLst>
          </p:cNvPr>
          <p:cNvSpPr>
            <a:spLocks noEditPoints="1"/>
          </p:cNvSpPr>
          <p:nvPr userDrawn="1"/>
        </p:nvSpPr>
        <p:spPr bwMode="auto">
          <a:xfrm flipH="1">
            <a:off x="3739815" y="0"/>
            <a:ext cx="8452185" cy="6858000"/>
          </a:xfrm>
          <a:custGeom>
            <a:avLst/>
            <a:gdLst>
              <a:gd name="T0" fmla="*/ 3840 w 5339"/>
              <a:gd name="T1" fmla="*/ 2225 h 4332"/>
              <a:gd name="T2" fmla="*/ 3809 w 5339"/>
              <a:gd name="T3" fmla="*/ 3825 h 4332"/>
              <a:gd name="T4" fmla="*/ 3729 w 5339"/>
              <a:gd name="T5" fmla="*/ 3009 h 4332"/>
              <a:gd name="T6" fmla="*/ 31 w 5339"/>
              <a:gd name="T7" fmla="*/ 3825 h 4332"/>
              <a:gd name="T8" fmla="*/ 0 w 5339"/>
              <a:gd name="T9" fmla="*/ 2225 h 4332"/>
              <a:gd name="T10" fmla="*/ 46 w 5339"/>
              <a:gd name="T11" fmla="*/ 2196 h 4332"/>
              <a:gd name="T12" fmla="*/ 69 w 5339"/>
              <a:gd name="T13" fmla="*/ 3800 h 4332"/>
              <a:gd name="T14" fmla="*/ 2282 w 5339"/>
              <a:gd name="T15" fmla="*/ 2194 h 4332"/>
              <a:gd name="T16" fmla="*/ 2313 w 5339"/>
              <a:gd name="T17" fmla="*/ 3794 h 4332"/>
              <a:gd name="T18" fmla="*/ 2180 w 5339"/>
              <a:gd name="T19" fmla="*/ 3824 h 4332"/>
              <a:gd name="T20" fmla="*/ 2157 w 5339"/>
              <a:gd name="T21" fmla="*/ 2219 h 4332"/>
              <a:gd name="T22" fmla="*/ 812 w 5339"/>
              <a:gd name="T23" fmla="*/ 2196 h 4332"/>
              <a:gd name="T24" fmla="*/ 836 w 5339"/>
              <a:gd name="T25" fmla="*/ 3800 h 4332"/>
              <a:gd name="T26" fmla="*/ 698 w 5339"/>
              <a:gd name="T27" fmla="*/ 3822 h 4332"/>
              <a:gd name="T28" fmla="*/ 682 w 5339"/>
              <a:gd name="T29" fmla="*/ 2213 h 4332"/>
              <a:gd name="T30" fmla="*/ 1909 w 5339"/>
              <a:gd name="T31" fmla="*/ 2197 h 4332"/>
              <a:gd name="T32" fmla="*/ 1925 w 5339"/>
              <a:gd name="T33" fmla="*/ 3806 h 4332"/>
              <a:gd name="T34" fmla="*/ 1870 w 5339"/>
              <a:gd name="T35" fmla="*/ 3819 h 4332"/>
              <a:gd name="T36" fmla="*/ 1862 w 5339"/>
              <a:gd name="T37" fmla="*/ 2209 h 4332"/>
              <a:gd name="T38" fmla="*/ 3471 w 5339"/>
              <a:gd name="T39" fmla="*/ 516 h 4332"/>
              <a:gd name="T40" fmla="*/ 3479 w 5339"/>
              <a:gd name="T41" fmla="*/ 2128 h 4332"/>
              <a:gd name="T42" fmla="*/ 3338 w 5339"/>
              <a:gd name="T43" fmla="*/ 2132 h 4332"/>
              <a:gd name="T44" fmla="*/ 3338 w 5339"/>
              <a:gd name="T45" fmla="*/ 519 h 4332"/>
              <a:gd name="T46" fmla="*/ 4569 w 5339"/>
              <a:gd name="T47" fmla="*/ 519 h 4332"/>
              <a:gd name="T48" fmla="*/ 4569 w 5339"/>
              <a:gd name="T49" fmla="*/ 2132 h 4332"/>
              <a:gd name="T50" fmla="*/ 4513 w 5339"/>
              <a:gd name="T51" fmla="*/ 2128 h 4332"/>
              <a:gd name="T52" fmla="*/ 4520 w 5339"/>
              <a:gd name="T53" fmla="*/ 516 h 4332"/>
              <a:gd name="T54" fmla="*/ 2803 w 5339"/>
              <a:gd name="T55" fmla="*/ 523 h 4332"/>
              <a:gd name="T56" fmla="*/ 2796 w 5339"/>
              <a:gd name="T57" fmla="*/ 2135 h 4332"/>
              <a:gd name="T58" fmla="*/ 2741 w 5339"/>
              <a:gd name="T59" fmla="*/ 2122 h 4332"/>
              <a:gd name="T60" fmla="*/ 2758 w 5339"/>
              <a:gd name="T61" fmla="*/ 513 h 4332"/>
              <a:gd name="T62" fmla="*/ 400 w 5339"/>
              <a:gd name="T63" fmla="*/ 2122 h 4332"/>
              <a:gd name="T64" fmla="*/ 416 w 5339"/>
              <a:gd name="T65" fmla="*/ 513 h 4332"/>
              <a:gd name="T66" fmla="*/ 554 w 5339"/>
              <a:gd name="T67" fmla="*/ 535 h 4332"/>
              <a:gd name="T68" fmla="*/ 530 w 5339"/>
              <a:gd name="T69" fmla="*/ 2140 h 4332"/>
              <a:gd name="T70" fmla="*/ 1168 w 5339"/>
              <a:gd name="T71" fmla="*/ 2116 h 4332"/>
              <a:gd name="T72" fmla="*/ 1191 w 5339"/>
              <a:gd name="T73" fmla="*/ 511 h 4332"/>
              <a:gd name="T74" fmla="*/ 1237 w 5339"/>
              <a:gd name="T75" fmla="*/ 541 h 4332"/>
              <a:gd name="T76" fmla="*/ 1206 w 5339"/>
              <a:gd name="T77" fmla="*/ 2141 h 4332"/>
              <a:gd name="T78" fmla="*/ 354 w 5339"/>
              <a:gd name="T79" fmla="*/ 3872 h 4332"/>
              <a:gd name="T80" fmla="*/ 440 w 5339"/>
              <a:gd name="T81" fmla="*/ 3902 h 4332"/>
              <a:gd name="T82" fmla="*/ 1569 w 5339"/>
              <a:gd name="T83" fmla="*/ 3881 h 4332"/>
              <a:gd name="T84" fmla="*/ 1707 w 5339"/>
              <a:gd name="T85" fmla="*/ 3903 h 4332"/>
              <a:gd name="T86" fmla="*/ 2735 w 5339"/>
              <a:gd name="T87" fmla="*/ 3884 h 4332"/>
              <a:gd name="T88" fmla="*/ 2802 w 5339"/>
              <a:gd name="T89" fmla="*/ 3894 h 4332"/>
              <a:gd name="T90" fmla="*/ 4253 w 5339"/>
              <a:gd name="T91" fmla="*/ 3897 h 4332"/>
              <a:gd name="T92" fmla="*/ 4308 w 5339"/>
              <a:gd name="T93" fmla="*/ 3884 h 4332"/>
              <a:gd name="T94" fmla="*/ 5183 w 5339"/>
              <a:gd name="T95" fmla="*/ 3903 h 4332"/>
              <a:gd name="T96" fmla="*/ 5320 w 5339"/>
              <a:gd name="T97" fmla="*/ 3883 h 4332"/>
              <a:gd name="T98" fmla="*/ 4113 w 5339"/>
              <a:gd name="T99" fmla="*/ 423 h 4332"/>
              <a:gd name="T100" fmla="*/ 3981 w 5339"/>
              <a:gd name="T101" fmla="*/ 452 h 4332"/>
              <a:gd name="T102" fmla="*/ 2315 w 5339"/>
              <a:gd name="T103" fmla="*/ 0 h 4332"/>
              <a:gd name="T104" fmla="*/ 2275 w 5339"/>
              <a:gd name="T105" fmla="*/ 460 h 4332"/>
              <a:gd name="T106" fmla="*/ 1953 w 5339"/>
              <a:gd name="T107" fmla="*/ 0 h 4332"/>
              <a:gd name="T108" fmla="*/ 2079 w 5339"/>
              <a:gd name="T109" fmla="*/ 460 h 4332"/>
              <a:gd name="T110" fmla="*/ 1953 w 5339"/>
              <a:gd name="T111" fmla="*/ 0 h 4332"/>
              <a:gd name="T112" fmla="*/ 955 w 5339"/>
              <a:gd name="T113" fmla="*/ 458 h 4332"/>
              <a:gd name="T114" fmla="*/ 871 w 5339"/>
              <a:gd name="T115" fmla="*/ 429 h 4332"/>
              <a:gd name="T116" fmla="*/ 52 w 5339"/>
              <a:gd name="T117" fmla="*/ 457 h 4332"/>
              <a:gd name="T118" fmla="*/ 1 w 5339"/>
              <a:gd name="T119" fmla="*/ 435 h 43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339" h="4332">
                <a:moveTo>
                  <a:pt x="3760" y="2194"/>
                </a:moveTo>
                <a:lnTo>
                  <a:pt x="3809" y="2194"/>
                </a:lnTo>
                <a:lnTo>
                  <a:pt x="3815" y="2196"/>
                </a:lnTo>
                <a:lnTo>
                  <a:pt x="3820" y="2197"/>
                </a:lnTo>
                <a:lnTo>
                  <a:pt x="3825" y="2200"/>
                </a:lnTo>
                <a:lnTo>
                  <a:pt x="3831" y="2203"/>
                </a:lnTo>
                <a:lnTo>
                  <a:pt x="3834" y="2209"/>
                </a:lnTo>
                <a:lnTo>
                  <a:pt x="3837" y="2213"/>
                </a:lnTo>
                <a:lnTo>
                  <a:pt x="3838" y="2219"/>
                </a:lnTo>
                <a:lnTo>
                  <a:pt x="3840" y="2225"/>
                </a:lnTo>
                <a:lnTo>
                  <a:pt x="3840" y="3009"/>
                </a:lnTo>
                <a:lnTo>
                  <a:pt x="3840" y="3794"/>
                </a:lnTo>
                <a:lnTo>
                  <a:pt x="3838" y="3800"/>
                </a:lnTo>
                <a:lnTo>
                  <a:pt x="3837" y="3806"/>
                </a:lnTo>
                <a:lnTo>
                  <a:pt x="3834" y="3812"/>
                </a:lnTo>
                <a:lnTo>
                  <a:pt x="3831" y="3816"/>
                </a:lnTo>
                <a:lnTo>
                  <a:pt x="3825" y="3819"/>
                </a:lnTo>
                <a:lnTo>
                  <a:pt x="3820" y="3822"/>
                </a:lnTo>
                <a:lnTo>
                  <a:pt x="3815" y="3824"/>
                </a:lnTo>
                <a:lnTo>
                  <a:pt x="3809" y="3825"/>
                </a:lnTo>
                <a:lnTo>
                  <a:pt x="3760" y="3825"/>
                </a:lnTo>
                <a:lnTo>
                  <a:pt x="3754" y="3824"/>
                </a:lnTo>
                <a:lnTo>
                  <a:pt x="3748" y="3822"/>
                </a:lnTo>
                <a:lnTo>
                  <a:pt x="3742" y="3819"/>
                </a:lnTo>
                <a:lnTo>
                  <a:pt x="3738" y="3816"/>
                </a:lnTo>
                <a:lnTo>
                  <a:pt x="3735" y="3812"/>
                </a:lnTo>
                <a:lnTo>
                  <a:pt x="3732" y="3806"/>
                </a:lnTo>
                <a:lnTo>
                  <a:pt x="3730" y="3800"/>
                </a:lnTo>
                <a:lnTo>
                  <a:pt x="3729" y="3794"/>
                </a:lnTo>
                <a:lnTo>
                  <a:pt x="3729" y="3009"/>
                </a:lnTo>
                <a:lnTo>
                  <a:pt x="3729" y="2225"/>
                </a:lnTo>
                <a:lnTo>
                  <a:pt x="3730" y="2219"/>
                </a:lnTo>
                <a:lnTo>
                  <a:pt x="3732" y="2213"/>
                </a:lnTo>
                <a:lnTo>
                  <a:pt x="3735" y="2209"/>
                </a:lnTo>
                <a:lnTo>
                  <a:pt x="3738" y="2203"/>
                </a:lnTo>
                <a:lnTo>
                  <a:pt x="3742" y="2200"/>
                </a:lnTo>
                <a:lnTo>
                  <a:pt x="3748" y="2197"/>
                </a:lnTo>
                <a:lnTo>
                  <a:pt x="3754" y="2196"/>
                </a:lnTo>
                <a:lnTo>
                  <a:pt x="3760" y="2194"/>
                </a:lnTo>
                <a:close/>
                <a:moveTo>
                  <a:pt x="31" y="3825"/>
                </a:moveTo>
                <a:lnTo>
                  <a:pt x="25" y="3824"/>
                </a:lnTo>
                <a:lnTo>
                  <a:pt x="19" y="3822"/>
                </a:lnTo>
                <a:lnTo>
                  <a:pt x="13" y="3819"/>
                </a:lnTo>
                <a:lnTo>
                  <a:pt x="9" y="3816"/>
                </a:lnTo>
                <a:lnTo>
                  <a:pt x="6" y="3812"/>
                </a:lnTo>
                <a:lnTo>
                  <a:pt x="3" y="3806"/>
                </a:lnTo>
                <a:lnTo>
                  <a:pt x="1" y="3800"/>
                </a:lnTo>
                <a:lnTo>
                  <a:pt x="0" y="3794"/>
                </a:lnTo>
                <a:lnTo>
                  <a:pt x="0" y="3009"/>
                </a:lnTo>
                <a:lnTo>
                  <a:pt x="0" y="2225"/>
                </a:lnTo>
                <a:lnTo>
                  <a:pt x="1" y="2219"/>
                </a:lnTo>
                <a:lnTo>
                  <a:pt x="3" y="2213"/>
                </a:lnTo>
                <a:lnTo>
                  <a:pt x="6" y="2209"/>
                </a:lnTo>
                <a:lnTo>
                  <a:pt x="9" y="2203"/>
                </a:lnTo>
                <a:lnTo>
                  <a:pt x="13" y="2200"/>
                </a:lnTo>
                <a:lnTo>
                  <a:pt x="19" y="2197"/>
                </a:lnTo>
                <a:lnTo>
                  <a:pt x="25" y="2196"/>
                </a:lnTo>
                <a:lnTo>
                  <a:pt x="31" y="2194"/>
                </a:lnTo>
                <a:lnTo>
                  <a:pt x="40" y="2194"/>
                </a:lnTo>
                <a:lnTo>
                  <a:pt x="46" y="2196"/>
                </a:lnTo>
                <a:lnTo>
                  <a:pt x="52" y="2197"/>
                </a:lnTo>
                <a:lnTo>
                  <a:pt x="58" y="2200"/>
                </a:lnTo>
                <a:lnTo>
                  <a:pt x="62" y="2203"/>
                </a:lnTo>
                <a:lnTo>
                  <a:pt x="65" y="2209"/>
                </a:lnTo>
                <a:lnTo>
                  <a:pt x="68" y="2213"/>
                </a:lnTo>
                <a:lnTo>
                  <a:pt x="69" y="2219"/>
                </a:lnTo>
                <a:lnTo>
                  <a:pt x="71" y="2225"/>
                </a:lnTo>
                <a:lnTo>
                  <a:pt x="71" y="3009"/>
                </a:lnTo>
                <a:lnTo>
                  <a:pt x="71" y="3794"/>
                </a:lnTo>
                <a:lnTo>
                  <a:pt x="69" y="3800"/>
                </a:lnTo>
                <a:lnTo>
                  <a:pt x="68" y="3806"/>
                </a:lnTo>
                <a:lnTo>
                  <a:pt x="65" y="3812"/>
                </a:lnTo>
                <a:lnTo>
                  <a:pt x="62" y="3816"/>
                </a:lnTo>
                <a:lnTo>
                  <a:pt x="58" y="3819"/>
                </a:lnTo>
                <a:lnTo>
                  <a:pt x="52" y="3822"/>
                </a:lnTo>
                <a:lnTo>
                  <a:pt x="46" y="3824"/>
                </a:lnTo>
                <a:lnTo>
                  <a:pt x="40" y="3825"/>
                </a:lnTo>
                <a:lnTo>
                  <a:pt x="31" y="3825"/>
                </a:lnTo>
                <a:close/>
                <a:moveTo>
                  <a:pt x="2188" y="2194"/>
                </a:moveTo>
                <a:lnTo>
                  <a:pt x="2282" y="2194"/>
                </a:lnTo>
                <a:lnTo>
                  <a:pt x="2288" y="2196"/>
                </a:lnTo>
                <a:lnTo>
                  <a:pt x="2294" y="2197"/>
                </a:lnTo>
                <a:lnTo>
                  <a:pt x="2298" y="2200"/>
                </a:lnTo>
                <a:lnTo>
                  <a:pt x="2304" y="2203"/>
                </a:lnTo>
                <a:lnTo>
                  <a:pt x="2307" y="2209"/>
                </a:lnTo>
                <a:lnTo>
                  <a:pt x="2310" y="2213"/>
                </a:lnTo>
                <a:lnTo>
                  <a:pt x="2312" y="2219"/>
                </a:lnTo>
                <a:lnTo>
                  <a:pt x="2313" y="2225"/>
                </a:lnTo>
                <a:lnTo>
                  <a:pt x="2313" y="3009"/>
                </a:lnTo>
                <a:lnTo>
                  <a:pt x="2313" y="3794"/>
                </a:lnTo>
                <a:lnTo>
                  <a:pt x="2312" y="3800"/>
                </a:lnTo>
                <a:lnTo>
                  <a:pt x="2310" y="3806"/>
                </a:lnTo>
                <a:lnTo>
                  <a:pt x="2307" y="3812"/>
                </a:lnTo>
                <a:lnTo>
                  <a:pt x="2304" y="3816"/>
                </a:lnTo>
                <a:lnTo>
                  <a:pt x="2298" y="3819"/>
                </a:lnTo>
                <a:lnTo>
                  <a:pt x="2294" y="3822"/>
                </a:lnTo>
                <a:lnTo>
                  <a:pt x="2288" y="3824"/>
                </a:lnTo>
                <a:lnTo>
                  <a:pt x="2282" y="3825"/>
                </a:lnTo>
                <a:lnTo>
                  <a:pt x="2188" y="3825"/>
                </a:lnTo>
                <a:lnTo>
                  <a:pt x="2180" y="3824"/>
                </a:lnTo>
                <a:lnTo>
                  <a:pt x="2176" y="3822"/>
                </a:lnTo>
                <a:lnTo>
                  <a:pt x="2170" y="3819"/>
                </a:lnTo>
                <a:lnTo>
                  <a:pt x="2166" y="3816"/>
                </a:lnTo>
                <a:lnTo>
                  <a:pt x="2163" y="3812"/>
                </a:lnTo>
                <a:lnTo>
                  <a:pt x="2160" y="3806"/>
                </a:lnTo>
                <a:lnTo>
                  <a:pt x="2157" y="3800"/>
                </a:lnTo>
                <a:lnTo>
                  <a:pt x="2157" y="3794"/>
                </a:lnTo>
                <a:lnTo>
                  <a:pt x="2157" y="3009"/>
                </a:lnTo>
                <a:lnTo>
                  <a:pt x="2157" y="2225"/>
                </a:lnTo>
                <a:lnTo>
                  <a:pt x="2157" y="2219"/>
                </a:lnTo>
                <a:lnTo>
                  <a:pt x="2160" y="2213"/>
                </a:lnTo>
                <a:lnTo>
                  <a:pt x="2163" y="2209"/>
                </a:lnTo>
                <a:lnTo>
                  <a:pt x="2166" y="2203"/>
                </a:lnTo>
                <a:lnTo>
                  <a:pt x="2170" y="2200"/>
                </a:lnTo>
                <a:lnTo>
                  <a:pt x="2176" y="2197"/>
                </a:lnTo>
                <a:lnTo>
                  <a:pt x="2180" y="2196"/>
                </a:lnTo>
                <a:lnTo>
                  <a:pt x="2188" y="2194"/>
                </a:lnTo>
                <a:close/>
                <a:moveTo>
                  <a:pt x="710" y="2194"/>
                </a:moveTo>
                <a:lnTo>
                  <a:pt x="805" y="2194"/>
                </a:lnTo>
                <a:lnTo>
                  <a:pt x="812" y="2196"/>
                </a:lnTo>
                <a:lnTo>
                  <a:pt x="816" y="2197"/>
                </a:lnTo>
                <a:lnTo>
                  <a:pt x="822" y="2200"/>
                </a:lnTo>
                <a:lnTo>
                  <a:pt x="827" y="2203"/>
                </a:lnTo>
                <a:lnTo>
                  <a:pt x="830" y="2209"/>
                </a:lnTo>
                <a:lnTo>
                  <a:pt x="833" y="2213"/>
                </a:lnTo>
                <a:lnTo>
                  <a:pt x="836" y="2219"/>
                </a:lnTo>
                <a:lnTo>
                  <a:pt x="836" y="2225"/>
                </a:lnTo>
                <a:lnTo>
                  <a:pt x="836" y="3009"/>
                </a:lnTo>
                <a:lnTo>
                  <a:pt x="836" y="3794"/>
                </a:lnTo>
                <a:lnTo>
                  <a:pt x="836" y="3800"/>
                </a:lnTo>
                <a:lnTo>
                  <a:pt x="833" y="3806"/>
                </a:lnTo>
                <a:lnTo>
                  <a:pt x="830" y="3812"/>
                </a:lnTo>
                <a:lnTo>
                  <a:pt x="827" y="3816"/>
                </a:lnTo>
                <a:lnTo>
                  <a:pt x="822" y="3819"/>
                </a:lnTo>
                <a:lnTo>
                  <a:pt x="816" y="3822"/>
                </a:lnTo>
                <a:lnTo>
                  <a:pt x="812" y="3824"/>
                </a:lnTo>
                <a:lnTo>
                  <a:pt x="805" y="3825"/>
                </a:lnTo>
                <a:lnTo>
                  <a:pt x="710" y="3825"/>
                </a:lnTo>
                <a:lnTo>
                  <a:pt x="704" y="3824"/>
                </a:lnTo>
                <a:lnTo>
                  <a:pt x="698" y="3822"/>
                </a:lnTo>
                <a:lnTo>
                  <a:pt x="694" y="3819"/>
                </a:lnTo>
                <a:lnTo>
                  <a:pt x="688" y="3816"/>
                </a:lnTo>
                <a:lnTo>
                  <a:pt x="685" y="3812"/>
                </a:lnTo>
                <a:lnTo>
                  <a:pt x="682" y="3806"/>
                </a:lnTo>
                <a:lnTo>
                  <a:pt x="681" y="3800"/>
                </a:lnTo>
                <a:lnTo>
                  <a:pt x="679" y="3794"/>
                </a:lnTo>
                <a:lnTo>
                  <a:pt x="679" y="3009"/>
                </a:lnTo>
                <a:lnTo>
                  <a:pt x="679" y="2225"/>
                </a:lnTo>
                <a:lnTo>
                  <a:pt x="681" y="2219"/>
                </a:lnTo>
                <a:lnTo>
                  <a:pt x="682" y="2213"/>
                </a:lnTo>
                <a:lnTo>
                  <a:pt x="685" y="2209"/>
                </a:lnTo>
                <a:lnTo>
                  <a:pt x="688" y="2203"/>
                </a:lnTo>
                <a:lnTo>
                  <a:pt x="694" y="2200"/>
                </a:lnTo>
                <a:lnTo>
                  <a:pt x="698" y="2197"/>
                </a:lnTo>
                <a:lnTo>
                  <a:pt x="704" y="2196"/>
                </a:lnTo>
                <a:lnTo>
                  <a:pt x="710" y="2194"/>
                </a:lnTo>
                <a:close/>
                <a:moveTo>
                  <a:pt x="1887" y="2194"/>
                </a:moveTo>
                <a:lnTo>
                  <a:pt x="1897" y="2194"/>
                </a:lnTo>
                <a:lnTo>
                  <a:pt x="1903" y="2196"/>
                </a:lnTo>
                <a:lnTo>
                  <a:pt x="1909" y="2197"/>
                </a:lnTo>
                <a:lnTo>
                  <a:pt x="1913" y="2200"/>
                </a:lnTo>
                <a:lnTo>
                  <a:pt x="1918" y="2203"/>
                </a:lnTo>
                <a:lnTo>
                  <a:pt x="1922" y="2209"/>
                </a:lnTo>
                <a:lnTo>
                  <a:pt x="1925" y="2213"/>
                </a:lnTo>
                <a:lnTo>
                  <a:pt x="1926" y="2219"/>
                </a:lnTo>
                <a:lnTo>
                  <a:pt x="1926" y="2225"/>
                </a:lnTo>
                <a:lnTo>
                  <a:pt x="1926" y="3009"/>
                </a:lnTo>
                <a:lnTo>
                  <a:pt x="1926" y="3794"/>
                </a:lnTo>
                <a:lnTo>
                  <a:pt x="1926" y="3800"/>
                </a:lnTo>
                <a:lnTo>
                  <a:pt x="1925" y="3806"/>
                </a:lnTo>
                <a:lnTo>
                  <a:pt x="1922" y="3812"/>
                </a:lnTo>
                <a:lnTo>
                  <a:pt x="1918" y="3816"/>
                </a:lnTo>
                <a:lnTo>
                  <a:pt x="1913" y="3819"/>
                </a:lnTo>
                <a:lnTo>
                  <a:pt x="1909" y="3822"/>
                </a:lnTo>
                <a:lnTo>
                  <a:pt x="1903" y="3824"/>
                </a:lnTo>
                <a:lnTo>
                  <a:pt x="1897" y="3825"/>
                </a:lnTo>
                <a:lnTo>
                  <a:pt x="1887" y="3825"/>
                </a:lnTo>
                <a:lnTo>
                  <a:pt x="1881" y="3824"/>
                </a:lnTo>
                <a:lnTo>
                  <a:pt x="1875" y="3822"/>
                </a:lnTo>
                <a:lnTo>
                  <a:pt x="1870" y="3819"/>
                </a:lnTo>
                <a:lnTo>
                  <a:pt x="1866" y="3816"/>
                </a:lnTo>
                <a:lnTo>
                  <a:pt x="1862" y="3812"/>
                </a:lnTo>
                <a:lnTo>
                  <a:pt x="1860" y="3806"/>
                </a:lnTo>
                <a:lnTo>
                  <a:pt x="1857" y="3800"/>
                </a:lnTo>
                <a:lnTo>
                  <a:pt x="1857" y="3794"/>
                </a:lnTo>
                <a:lnTo>
                  <a:pt x="1857" y="3009"/>
                </a:lnTo>
                <a:lnTo>
                  <a:pt x="1857" y="2225"/>
                </a:lnTo>
                <a:lnTo>
                  <a:pt x="1857" y="2219"/>
                </a:lnTo>
                <a:lnTo>
                  <a:pt x="1860" y="2213"/>
                </a:lnTo>
                <a:lnTo>
                  <a:pt x="1862" y="2209"/>
                </a:lnTo>
                <a:lnTo>
                  <a:pt x="1866" y="2203"/>
                </a:lnTo>
                <a:lnTo>
                  <a:pt x="1870" y="2200"/>
                </a:lnTo>
                <a:lnTo>
                  <a:pt x="1875" y="2197"/>
                </a:lnTo>
                <a:lnTo>
                  <a:pt x="1881" y="2196"/>
                </a:lnTo>
                <a:lnTo>
                  <a:pt x="1887" y="2194"/>
                </a:lnTo>
                <a:close/>
                <a:moveTo>
                  <a:pt x="3358" y="510"/>
                </a:moveTo>
                <a:lnTo>
                  <a:pt x="3453" y="510"/>
                </a:lnTo>
                <a:lnTo>
                  <a:pt x="3460" y="511"/>
                </a:lnTo>
                <a:lnTo>
                  <a:pt x="3466" y="513"/>
                </a:lnTo>
                <a:lnTo>
                  <a:pt x="3471" y="516"/>
                </a:lnTo>
                <a:lnTo>
                  <a:pt x="3475" y="519"/>
                </a:lnTo>
                <a:lnTo>
                  <a:pt x="3479" y="523"/>
                </a:lnTo>
                <a:lnTo>
                  <a:pt x="3481" y="529"/>
                </a:lnTo>
                <a:lnTo>
                  <a:pt x="3484" y="535"/>
                </a:lnTo>
                <a:lnTo>
                  <a:pt x="3484" y="541"/>
                </a:lnTo>
                <a:lnTo>
                  <a:pt x="3484" y="1325"/>
                </a:lnTo>
                <a:lnTo>
                  <a:pt x="3484" y="2110"/>
                </a:lnTo>
                <a:lnTo>
                  <a:pt x="3484" y="2116"/>
                </a:lnTo>
                <a:lnTo>
                  <a:pt x="3481" y="2122"/>
                </a:lnTo>
                <a:lnTo>
                  <a:pt x="3479" y="2128"/>
                </a:lnTo>
                <a:lnTo>
                  <a:pt x="3475" y="2132"/>
                </a:lnTo>
                <a:lnTo>
                  <a:pt x="3471" y="2135"/>
                </a:lnTo>
                <a:lnTo>
                  <a:pt x="3466" y="2138"/>
                </a:lnTo>
                <a:lnTo>
                  <a:pt x="3460" y="2140"/>
                </a:lnTo>
                <a:lnTo>
                  <a:pt x="3453" y="2141"/>
                </a:lnTo>
                <a:lnTo>
                  <a:pt x="3358" y="2141"/>
                </a:lnTo>
                <a:lnTo>
                  <a:pt x="3352" y="2140"/>
                </a:lnTo>
                <a:lnTo>
                  <a:pt x="3347" y="2138"/>
                </a:lnTo>
                <a:lnTo>
                  <a:pt x="3342" y="2135"/>
                </a:lnTo>
                <a:lnTo>
                  <a:pt x="3338" y="2132"/>
                </a:lnTo>
                <a:lnTo>
                  <a:pt x="3333" y="2128"/>
                </a:lnTo>
                <a:lnTo>
                  <a:pt x="3330" y="2122"/>
                </a:lnTo>
                <a:lnTo>
                  <a:pt x="3329" y="2116"/>
                </a:lnTo>
                <a:lnTo>
                  <a:pt x="3329" y="2110"/>
                </a:lnTo>
                <a:lnTo>
                  <a:pt x="3329" y="1325"/>
                </a:lnTo>
                <a:lnTo>
                  <a:pt x="3329" y="541"/>
                </a:lnTo>
                <a:lnTo>
                  <a:pt x="3329" y="535"/>
                </a:lnTo>
                <a:lnTo>
                  <a:pt x="3330" y="529"/>
                </a:lnTo>
                <a:lnTo>
                  <a:pt x="3333" y="523"/>
                </a:lnTo>
                <a:lnTo>
                  <a:pt x="3338" y="519"/>
                </a:lnTo>
                <a:lnTo>
                  <a:pt x="3342" y="516"/>
                </a:lnTo>
                <a:lnTo>
                  <a:pt x="3347" y="513"/>
                </a:lnTo>
                <a:lnTo>
                  <a:pt x="3352" y="511"/>
                </a:lnTo>
                <a:lnTo>
                  <a:pt x="3358" y="510"/>
                </a:lnTo>
                <a:close/>
                <a:moveTo>
                  <a:pt x="4538" y="510"/>
                </a:moveTo>
                <a:lnTo>
                  <a:pt x="4547" y="510"/>
                </a:lnTo>
                <a:lnTo>
                  <a:pt x="4553" y="511"/>
                </a:lnTo>
                <a:lnTo>
                  <a:pt x="4559" y="513"/>
                </a:lnTo>
                <a:lnTo>
                  <a:pt x="4564" y="516"/>
                </a:lnTo>
                <a:lnTo>
                  <a:pt x="4569" y="519"/>
                </a:lnTo>
                <a:lnTo>
                  <a:pt x="4572" y="523"/>
                </a:lnTo>
                <a:lnTo>
                  <a:pt x="4575" y="529"/>
                </a:lnTo>
                <a:lnTo>
                  <a:pt x="4576" y="535"/>
                </a:lnTo>
                <a:lnTo>
                  <a:pt x="4578" y="541"/>
                </a:lnTo>
                <a:lnTo>
                  <a:pt x="4578" y="1325"/>
                </a:lnTo>
                <a:lnTo>
                  <a:pt x="4578" y="2110"/>
                </a:lnTo>
                <a:lnTo>
                  <a:pt x="4576" y="2116"/>
                </a:lnTo>
                <a:lnTo>
                  <a:pt x="4575" y="2122"/>
                </a:lnTo>
                <a:lnTo>
                  <a:pt x="4572" y="2128"/>
                </a:lnTo>
                <a:lnTo>
                  <a:pt x="4569" y="2132"/>
                </a:lnTo>
                <a:lnTo>
                  <a:pt x="4564" y="2135"/>
                </a:lnTo>
                <a:lnTo>
                  <a:pt x="4559" y="2138"/>
                </a:lnTo>
                <a:lnTo>
                  <a:pt x="4553" y="2140"/>
                </a:lnTo>
                <a:lnTo>
                  <a:pt x="4547" y="2141"/>
                </a:lnTo>
                <a:lnTo>
                  <a:pt x="4538" y="2141"/>
                </a:lnTo>
                <a:lnTo>
                  <a:pt x="4532" y="2140"/>
                </a:lnTo>
                <a:lnTo>
                  <a:pt x="4526" y="2138"/>
                </a:lnTo>
                <a:lnTo>
                  <a:pt x="4520" y="2135"/>
                </a:lnTo>
                <a:lnTo>
                  <a:pt x="4516" y="2132"/>
                </a:lnTo>
                <a:lnTo>
                  <a:pt x="4513" y="2128"/>
                </a:lnTo>
                <a:lnTo>
                  <a:pt x="4510" y="2122"/>
                </a:lnTo>
                <a:lnTo>
                  <a:pt x="4508" y="2116"/>
                </a:lnTo>
                <a:lnTo>
                  <a:pt x="4507" y="2110"/>
                </a:lnTo>
                <a:lnTo>
                  <a:pt x="4507" y="1325"/>
                </a:lnTo>
                <a:lnTo>
                  <a:pt x="4507" y="541"/>
                </a:lnTo>
                <a:lnTo>
                  <a:pt x="4508" y="535"/>
                </a:lnTo>
                <a:lnTo>
                  <a:pt x="4510" y="529"/>
                </a:lnTo>
                <a:lnTo>
                  <a:pt x="4513" y="523"/>
                </a:lnTo>
                <a:lnTo>
                  <a:pt x="4516" y="519"/>
                </a:lnTo>
                <a:lnTo>
                  <a:pt x="4520" y="516"/>
                </a:lnTo>
                <a:lnTo>
                  <a:pt x="4526" y="513"/>
                </a:lnTo>
                <a:lnTo>
                  <a:pt x="4532" y="511"/>
                </a:lnTo>
                <a:lnTo>
                  <a:pt x="4538" y="510"/>
                </a:lnTo>
                <a:close/>
                <a:moveTo>
                  <a:pt x="2769" y="510"/>
                </a:moveTo>
                <a:lnTo>
                  <a:pt x="2778" y="510"/>
                </a:lnTo>
                <a:lnTo>
                  <a:pt x="2784" y="511"/>
                </a:lnTo>
                <a:lnTo>
                  <a:pt x="2790" y="513"/>
                </a:lnTo>
                <a:lnTo>
                  <a:pt x="2796" y="516"/>
                </a:lnTo>
                <a:lnTo>
                  <a:pt x="2800" y="519"/>
                </a:lnTo>
                <a:lnTo>
                  <a:pt x="2803" y="523"/>
                </a:lnTo>
                <a:lnTo>
                  <a:pt x="2806" y="529"/>
                </a:lnTo>
                <a:lnTo>
                  <a:pt x="2808" y="535"/>
                </a:lnTo>
                <a:lnTo>
                  <a:pt x="2809" y="541"/>
                </a:lnTo>
                <a:lnTo>
                  <a:pt x="2809" y="1325"/>
                </a:lnTo>
                <a:lnTo>
                  <a:pt x="2809" y="2110"/>
                </a:lnTo>
                <a:lnTo>
                  <a:pt x="2808" y="2116"/>
                </a:lnTo>
                <a:lnTo>
                  <a:pt x="2806" y="2122"/>
                </a:lnTo>
                <a:lnTo>
                  <a:pt x="2803" y="2128"/>
                </a:lnTo>
                <a:lnTo>
                  <a:pt x="2800" y="2132"/>
                </a:lnTo>
                <a:lnTo>
                  <a:pt x="2796" y="2135"/>
                </a:lnTo>
                <a:lnTo>
                  <a:pt x="2790" y="2138"/>
                </a:lnTo>
                <a:lnTo>
                  <a:pt x="2784" y="2140"/>
                </a:lnTo>
                <a:lnTo>
                  <a:pt x="2778" y="2141"/>
                </a:lnTo>
                <a:lnTo>
                  <a:pt x="2769" y="2141"/>
                </a:lnTo>
                <a:lnTo>
                  <a:pt x="2763" y="2140"/>
                </a:lnTo>
                <a:lnTo>
                  <a:pt x="2758" y="2138"/>
                </a:lnTo>
                <a:lnTo>
                  <a:pt x="2752" y="2135"/>
                </a:lnTo>
                <a:lnTo>
                  <a:pt x="2747" y="2132"/>
                </a:lnTo>
                <a:lnTo>
                  <a:pt x="2744" y="2128"/>
                </a:lnTo>
                <a:lnTo>
                  <a:pt x="2741" y="2122"/>
                </a:lnTo>
                <a:lnTo>
                  <a:pt x="2740" y="2116"/>
                </a:lnTo>
                <a:lnTo>
                  <a:pt x="2738" y="2110"/>
                </a:lnTo>
                <a:lnTo>
                  <a:pt x="2738" y="1325"/>
                </a:lnTo>
                <a:lnTo>
                  <a:pt x="2738" y="541"/>
                </a:lnTo>
                <a:lnTo>
                  <a:pt x="2740" y="535"/>
                </a:lnTo>
                <a:lnTo>
                  <a:pt x="2741" y="529"/>
                </a:lnTo>
                <a:lnTo>
                  <a:pt x="2744" y="523"/>
                </a:lnTo>
                <a:lnTo>
                  <a:pt x="2747" y="519"/>
                </a:lnTo>
                <a:lnTo>
                  <a:pt x="2752" y="516"/>
                </a:lnTo>
                <a:lnTo>
                  <a:pt x="2758" y="513"/>
                </a:lnTo>
                <a:lnTo>
                  <a:pt x="2763" y="511"/>
                </a:lnTo>
                <a:lnTo>
                  <a:pt x="2769" y="510"/>
                </a:lnTo>
                <a:close/>
                <a:moveTo>
                  <a:pt x="523" y="2141"/>
                </a:moveTo>
                <a:lnTo>
                  <a:pt x="428" y="2141"/>
                </a:lnTo>
                <a:lnTo>
                  <a:pt x="422" y="2140"/>
                </a:lnTo>
                <a:lnTo>
                  <a:pt x="416" y="2138"/>
                </a:lnTo>
                <a:lnTo>
                  <a:pt x="412" y="2135"/>
                </a:lnTo>
                <a:lnTo>
                  <a:pt x="407" y="2132"/>
                </a:lnTo>
                <a:lnTo>
                  <a:pt x="403" y="2128"/>
                </a:lnTo>
                <a:lnTo>
                  <a:pt x="400" y="2122"/>
                </a:lnTo>
                <a:lnTo>
                  <a:pt x="399" y="2116"/>
                </a:lnTo>
                <a:lnTo>
                  <a:pt x="399" y="2110"/>
                </a:lnTo>
                <a:lnTo>
                  <a:pt x="399" y="1325"/>
                </a:lnTo>
                <a:lnTo>
                  <a:pt x="399" y="541"/>
                </a:lnTo>
                <a:lnTo>
                  <a:pt x="399" y="535"/>
                </a:lnTo>
                <a:lnTo>
                  <a:pt x="400" y="529"/>
                </a:lnTo>
                <a:lnTo>
                  <a:pt x="403" y="523"/>
                </a:lnTo>
                <a:lnTo>
                  <a:pt x="407" y="519"/>
                </a:lnTo>
                <a:lnTo>
                  <a:pt x="412" y="516"/>
                </a:lnTo>
                <a:lnTo>
                  <a:pt x="416" y="513"/>
                </a:lnTo>
                <a:lnTo>
                  <a:pt x="422" y="511"/>
                </a:lnTo>
                <a:lnTo>
                  <a:pt x="428" y="510"/>
                </a:lnTo>
                <a:lnTo>
                  <a:pt x="523" y="510"/>
                </a:lnTo>
                <a:lnTo>
                  <a:pt x="530" y="511"/>
                </a:lnTo>
                <a:lnTo>
                  <a:pt x="534" y="513"/>
                </a:lnTo>
                <a:lnTo>
                  <a:pt x="540" y="516"/>
                </a:lnTo>
                <a:lnTo>
                  <a:pt x="545" y="519"/>
                </a:lnTo>
                <a:lnTo>
                  <a:pt x="549" y="523"/>
                </a:lnTo>
                <a:lnTo>
                  <a:pt x="551" y="529"/>
                </a:lnTo>
                <a:lnTo>
                  <a:pt x="554" y="535"/>
                </a:lnTo>
                <a:lnTo>
                  <a:pt x="554" y="541"/>
                </a:lnTo>
                <a:lnTo>
                  <a:pt x="554" y="1325"/>
                </a:lnTo>
                <a:lnTo>
                  <a:pt x="554" y="2110"/>
                </a:lnTo>
                <a:lnTo>
                  <a:pt x="554" y="2116"/>
                </a:lnTo>
                <a:lnTo>
                  <a:pt x="551" y="2122"/>
                </a:lnTo>
                <a:lnTo>
                  <a:pt x="549" y="2128"/>
                </a:lnTo>
                <a:lnTo>
                  <a:pt x="545" y="2132"/>
                </a:lnTo>
                <a:lnTo>
                  <a:pt x="540" y="2135"/>
                </a:lnTo>
                <a:lnTo>
                  <a:pt x="534" y="2138"/>
                </a:lnTo>
                <a:lnTo>
                  <a:pt x="530" y="2140"/>
                </a:lnTo>
                <a:lnTo>
                  <a:pt x="523" y="2141"/>
                </a:lnTo>
                <a:close/>
                <a:moveTo>
                  <a:pt x="1206" y="2141"/>
                </a:moveTo>
                <a:lnTo>
                  <a:pt x="1197" y="2141"/>
                </a:lnTo>
                <a:lnTo>
                  <a:pt x="1191" y="2140"/>
                </a:lnTo>
                <a:lnTo>
                  <a:pt x="1185" y="2138"/>
                </a:lnTo>
                <a:lnTo>
                  <a:pt x="1179" y="2135"/>
                </a:lnTo>
                <a:lnTo>
                  <a:pt x="1175" y="2132"/>
                </a:lnTo>
                <a:lnTo>
                  <a:pt x="1172" y="2128"/>
                </a:lnTo>
                <a:lnTo>
                  <a:pt x="1169" y="2122"/>
                </a:lnTo>
                <a:lnTo>
                  <a:pt x="1168" y="2116"/>
                </a:lnTo>
                <a:lnTo>
                  <a:pt x="1166" y="2110"/>
                </a:lnTo>
                <a:lnTo>
                  <a:pt x="1166" y="1325"/>
                </a:lnTo>
                <a:lnTo>
                  <a:pt x="1166" y="541"/>
                </a:lnTo>
                <a:lnTo>
                  <a:pt x="1168" y="535"/>
                </a:lnTo>
                <a:lnTo>
                  <a:pt x="1169" y="529"/>
                </a:lnTo>
                <a:lnTo>
                  <a:pt x="1172" y="523"/>
                </a:lnTo>
                <a:lnTo>
                  <a:pt x="1175" y="519"/>
                </a:lnTo>
                <a:lnTo>
                  <a:pt x="1179" y="516"/>
                </a:lnTo>
                <a:lnTo>
                  <a:pt x="1185" y="513"/>
                </a:lnTo>
                <a:lnTo>
                  <a:pt x="1191" y="511"/>
                </a:lnTo>
                <a:lnTo>
                  <a:pt x="1197" y="510"/>
                </a:lnTo>
                <a:lnTo>
                  <a:pt x="1206" y="510"/>
                </a:lnTo>
                <a:lnTo>
                  <a:pt x="1212" y="511"/>
                </a:lnTo>
                <a:lnTo>
                  <a:pt x="1218" y="513"/>
                </a:lnTo>
                <a:lnTo>
                  <a:pt x="1224" y="516"/>
                </a:lnTo>
                <a:lnTo>
                  <a:pt x="1228" y="519"/>
                </a:lnTo>
                <a:lnTo>
                  <a:pt x="1231" y="523"/>
                </a:lnTo>
                <a:lnTo>
                  <a:pt x="1234" y="529"/>
                </a:lnTo>
                <a:lnTo>
                  <a:pt x="1237" y="535"/>
                </a:lnTo>
                <a:lnTo>
                  <a:pt x="1237" y="541"/>
                </a:lnTo>
                <a:lnTo>
                  <a:pt x="1237" y="1325"/>
                </a:lnTo>
                <a:lnTo>
                  <a:pt x="1237" y="2110"/>
                </a:lnTo>
                <a:lnTo>
                  <a:pt x="1237" y="2116"/>
                </a:lnTo>
                <a:lnTo>
                  <a:pt x="1234" y="2122"/>
                </a:lnTo>
                <a:lnTo>
                  <a:pt x="1231" y="2128"/>
                </a:lnTo>
                <a:lnTo>
                  <a:pt x="1228" y="2132"/>
                </a:lnTo>
                <a:lnTo>
                  <a:pt x="1224" y="2135"/>
                </a:lnTo>
                <a:lnTo>
                  <a:pt x="1218" y="2138"/>
                </a:lnTo>
                <a:lnTo>
                  <a:pt x="1212" y="2140"/>
                </a:lnTo>
                <a:lnTo>
                  <a:pt x="1206" y="2141"/>
                </a:lnTo>
                <a:close/>
                <a:moveTo>
                  <a:pt x="440" y="4332"/>
                </a:moveTo>
                <a:lnTo>
                  <a:pt x="331" y="4332"/>
                </a:lnTo>
                <a:lnTo>
                  <a:pt x="331" y="3902"/>
                </a:lnTo>
                <a:lnTo>
                  <a:pt x="331" y="3896"/>
                </a:lnTo>
                <a:lnTo>
                  <a:pt x="334" y="3890"/>
                </a:lnTo>
                <a:lnTo>
                  <a:pt x="335" y="3886"/>
                </a:lnTo>
                <a:lnTo>
                  <a:pt x="340" y="3881"/>
                </a:lnTo>
                <a:lnTo>
                  <a:pt x="344" y="3877"/>
                </a:lnTo>
                <a:lnTo>
                  <a:pt x="348" y="3874"/>
                </a:lnTo>
                <a:lnTo>
                  <a:pt x="354" y="3872"/>
                </a:lnTo>
                <a:lnTo>
                  <a:pt x="360" y="3872"/>
                </a:lnTo>
                <a:lnTo>
                  <a:pt x="409" y="3872"/>
                </a:lnTo>
                <a:lnTo>
                  <a:pt x="416" y="3872"/>
                </a:lnTo>
                <a:lnTo>
                  <a:pt x="421" y="3874"/>
                </a:lnTo>
                <a:lnTo>
                  <a:pt x="427" y="3877"/>
                </a:lnTo>
                <a:lnTo>
                  <a:pt x="431" y="3881"/>
                </a:lnTo>
                <a:lnTo>
                  <a:pt x="435" y="3886"/>
                </a:lnTo>
                <a:lnTo>
                  <a:pt x="437" y="3890"/>
                </a:lnTo>
                <a:lnTo>
                  <a:pt x="440" y="3896"/>
                </a:lnTo>
                <a:lnTo>
                  <a:pt x="440" y="3902"/>
                </a:lnTo>
                <a:lnTo>
                  <a:pt x="440" y="4332"/>
                </a:lnTo>
                <a:close/>
                <a:moveTo>
                  <a:pt x="1707" y="4332"/>
                </a:moveTo>
                <a:lnTo>
                  <a:pt x="1552" y="4332"/>
                </a:lnTo>
                <a:lnTo>
                  <a:pt x="1552" y="3909"/>
                </a:lnTo>
                <a:lnTo>
                  <a:pt x="1552" y="3903"/>
                </a:lnTo>
                <a:lnTo>
                  <a:pt x="1553" y="3897"/>
                </a:lnTo>
                <a:lnTo>
                  <a:pt x="1556" y="3891"/>
                </a:lnTo>
                <a:lnTo>
                  <a:pt x="1560" y="3887"/>
                </a:lnTo>
                <a:lnTo>
                  <a:pt x="1565" y="3884"/>
                </a:lnTo>
                <a:lnTo>
                  <a:pt x="1569" y="3881"/>
                </a:lnTo>
                <a:lnTo>
                  <a:pt x="1575" y="3878"/>
                </a:lnTo>
                <a:lnTo>
                  <a:pt x="1581" y="3878"/>
                </a:lnTo>
                <a:lnTo>
                  <a:pt x="1677" y="3878"/>
                </a:lnTo>
                <a:lnTo>
                  <a:pt x="1683" y="3878"/>
                </a:lnTo>
                <a:lnTo>
                  <a:pt x="1689" y="3881"/>
                </a:lnTo>
                <a:lnTo>
                  <a:pt x="1693" y="3884"/>
                </a:lnTo>
                <a:lnTo>
                  <a:pt x="1698" y="3887"/>
                </a:lnTo>
                <a:lnTo>
                  <a:pt x="1702" y="3891"/>
                </a:lnTo>
                <a:lnTo>
                  <a:pt x="1705" y="3897"/>
                </a:lnTo>
                <a:lnTo>
                  <a:pt x="1707" y="3903"/>
                </a:lnTo>
                <a:lnTo>
                  <a:pt x="1707" y="3909"/>
                </a:lnTo>
                <a:lnTo>
                  <a:pt x="1707" y="4332"/>
                </a:lnTo>
                <a:close/>
                <a:moveTo>
                  <a:pt x="2809" y="4332"/>
                </a:moveTo>
                <a:lnTo>
                  <a:pt x="2722" y="4332"/>
                </a:lnTo>
                <a:lnTo>
                  <a:pt x="2722" y="3909"/>
                </a:lnTo>
                <a:lnTo>
                  <a:pt x="2724" y="3903"/>
                </a:lnTo>
                <a:lnTo>
                  <a:pt x="2725" y="3897"/>
                </a:lnTo>
                <a:lnTo>
                  <a:pt x="2728" y="3891"/>
                </a:lnTo>
                <a:lnTo>
                  <a:pt x="2731" y="3887"/>
                </a:lnTo>
                <a:lnTo>
                  <a:pt x="2735" y="3884"/>
                </a:lnTo>
                <a:lnTo>
                  <a:pt x="2741" y="3881"/>
                </a:lnTo>
                <a:lnTo>
                  <a:pt x="2747" y="3878"/>
                </a:lnTo>
                <a:lnTo>
                  <a:pt x="2753" y="3878"/>
                </a:lnTo>
                <a:lnTo>
                  <a:pt x="2762" y="3878"/>
                </a:lnTo>
                <a:lnTo>
                  <a:pt x="2769" y="3878"/>
                </a:lnTo>
                <a:lnTo>
                  <a:pt x="2777" y="3881"/>
                </a:lnTo>
                <a:lnTo>
                  <a:pt x="2784" y="3884"/>
                </a:lnTo>
                <a:lnTo>
                  <a:pt x="2792" y="3887"/>
                </a:lnTo>
                <a:lnTo>
                  <a:pt x="2799" y="3891"/>
                </a:lnTo>
                <a:lnTo>
                  <a:pt x="2802" y="3894"/>
                </a:lnTo>
                <a:lnTo>
                  <a:pt x="2805" y="3897"/>
                </a:lnTo>
                <a:lnTo>
                  <a:pt x="2808" y="3903"/>
                </a:lnTo>
                <a:lnTo>
                  <a:pt x="2809" y="3906"/>
                </a:lnTo>
                <a:lnTo>
                  <a:pt x="2809" y="3909"/>
                </a:lnTo>
                <a:lnTo>
                  <a:pt x="2809" y="4332"/>
                </a:lnTo>
                <a:close/>
                <a:moveTo>
                  <a:pt x="4321" y="4332"/>
                </a:moveTo>
                <a:lnTo>
                  <a:pt x="4252" y="4332"/>
                </a:lnTo>
                <a:lnTo>
                  <a:pt x="4252" y="3909"/>
                </a:lnTo>
                <a:lnTo>
                  <a:pt x="4252" y="3903"/>
                </a:lnTo>
                <a:lnTo>
                  <a:pt x="4253" y="3897"/>
                </a:lnTo>
                <a:lnTo>
                  <a:pt x="4256" y="3891"/>
                </a:lnTo>
                <a:lnTo>
                  <a:pt x="4260" y="3887"/>
                </a:lnTo>
                <a:lnTo>
                  <a:pt x="4265" y="3884"/>
                </a:lnTo>
                <a:lnTo>
                  <a:pt x="4269" y="3881"/>
                </a:lnTo>
                <a:lnTo>
                  <a:pt x="4275" y="3878"/>
                </a:lnTo>
                <a:lnTo>
                  <a:pt x="4281" y="3878"/>
                </a:lnTo>
                <a:lnTo>
                  <a:pt x="4291" y="3878"/>
                </a:lnTo>
                <a:lnTo>
                  <a:pt x="4297" y="3878"/>
                </a:lnTo>
                <a:lnTo>
                  <a:pt x="4303" y="3881"/>
                </a:lnTo>
                <a:lnTo>
                  <a:pt x="4308" y="3884"/>
                </a:lnTo>
                <a:lnTo>
                  <a:pt x="4312" y="3887"/>
                </a:lnTo>
                <a:lnTo>
                  <a:pt x="4316" y="3891"/>
                </a:lnTo>
                <a:lnTo>
                  <a:pt x="4319" y="3897"/>
                </a:lnTo>
                <a:lnTo>
                  <a:pt x="4321" y="3903"/>
                </a:lnTo>
                <a:lnTo>
                  <a:pt x="4321" y="3909"/>
                </a:lnTo>
                <a:lnTo>
                  <a:pt x="4321" y="4332"/>
                </a:lnTo>
                <a:close/>
                <a:moveTo>
                  <a:pt x="5339" y="4332"/>
                </a:moveTo>
                <a:lnTo>
                  <a:pt x="5183" y="4332"/>
                </a:lnTo>
                <a:lnTo>
                  <a:pt x="5183" y="3911"/>
                </a:lnTo>
                <a:lnTo>
                  <a:pt x="5183" y="3903"/>
                </a:lnTo>
                <a:lnTo>
                  <a:pt x="5186" y="3899"/>
                </a:lnTo>
                <a:lnTo>
                  <a:pt x="5189" y="3893"/>
                </a:lnTo>
                <a:lnTo>
                  <a:pt x="5192" y="3888"/>
                </a:lnTo>
                <a:lnTo>
                  <a:pt x="5196" y="3886"/>
                </a:lnTo>
                <a:lnTo>
                  <a:pt x="5202" y="3883"/>
                </a:lnTo>
                <a:lnTo>
                  <a:pt x="5207" y="3880"/>
                </a:lnTo>
                <a:lnTo>
                  <a:pt x="5214" y="3880"/>
                </a:lnTo>
                <a:lnTo>
                  <a:pt x="5308" y="3880"/>
                </a:lnTo>
                <a:lnTo>
                  <a:pt x="5314" y="3880"/>
                </a:lnTo>
                <a:lnTo>
                  <a:pt x="5320" y="3883"/>
                </a:lnTo>
                <a:lnTo>
                  <a:pt x="5325" y="3886"/>
                </a:lnTo>
                <a:lnTo>
                  <a:pt x="5331" y="3888"/>
                </a:lnTo>
                <a:lnTo>
                  <a:pt x="5334" y="3893"/>
                </a:lnTo>
                <a:lnTo>
                  <a:pt x="5337" y="3899"/>
                </a:lnTo>
                <a:lnTo>
                  <a:pt x="5338" y="3903"/>
                </a:lnTo>
                <a:lnTo>
                  <a:pt x="5339" y="3911"/>
                </a:lnTo>
                <a:lnTo>
                  <a:pt x="5339" y="4332"/>
                </a:lnTo>
                <a:close/>
                <a:moveTo>
                  <a:pt x="3956" y="0"/>
                </a:moveTo>
                <a:lnTo>
                  <a:pt x="4113" y="0"/>
                </a:lnTo>
                <a:lnTo>
                  <a:pt x="4113" y="423"/>
                </a:lnTo>
                <a:lnTo>
                  <a:pt x="4111" y="429"/>
                </a:lnTo>
                <a:lnTo>
                  <a:pt x="4110" y="435"/>
                </a:lnTo>
                <a:lnTo>
                  <a:pt x="4107" y="439"/>
                </a:lnTo>
                <a:lnTo>
                  <a:pt x="4104" y="444"/>
                </a:lnTo>
                <a:lnTo>
                  <a:pt x="4099" y="448"/>
                </a:lnTo>
                <a:lnTo>
                  <a:pt x="4094" y="451"/>
                </a:lnTo>
                <a:lnTo>
                  <a:pt x="4088" y="452"/>
                </a:lnTo>
                <a:lnTo>
                  <a:pt x="4082" y="452"/>
                </a:lnTo>
                <a:lnTo>
                  <a:pt x="3987" y="452"/>
                </a:lnTo>
                <a:lnTo>
                  <a:pt x="3981" y="452"/>
                </a:lnTo>
                <a:lnTo>
                  <a:pt x="3975" y="451"/>
                </a:lnTo>
                <a:lnTo>
                  <a:pt x="3970" y="448"/>
                </a:lnTo>
                <a:lnTo>
                  <a:pt x="3965" y="444"/>
                </a:lnTo>
                <a:lnTo>
                  <a:pt x="3962" y="439"/>
                </a:lnTo>
                <a:lnTo>
                  <a:pt x="3959" y="435"/>
                </a:lnTo>
                <a:lnTo>
                  <a:pt x="3958" y="429"/>
                </a:lnTo>
                <a:lnTo>
                  <a:pt x="3956" y="423"/>
                </a:lnTo>
                <a:lnTo>
                  <a:pt x="3956" y="0"/>
                </a:lnTo>
                <a:close/>
                <a:moveTo>
                  <a:pt x="2244" y="0"/>
                </a:moveTo>
                <a:lnTo>
                  <a:pt x="2315" y="0"/>
                </a:lnTo>
                <a:lnTo>
                  <a:pt x="2315" y="429"/>
                </a:lnTo>
                <a:lnTo>
                  <a:pt x="2313" y="435"/>
                </a:lnTo>
                <a:lnTo>
                  <a:pt x="2312" y="441"/>
                </a:lnTo>
                <a:lnTo>
                  <a:pt x="2309" y="447"/>
                </a:lnTo>
                <a:lnTo>
                  <a:pt x="2306" y="451"/>
                </a:lnTo>
                <a:lnTo>
                  <a:pt x="2301" y="454"/>
                </a:lnTo>
                <a:lnTo>
                  <a:pt x="2296" y="457"/>
                </a:lnTo>
                <a:lnTo>
                  <a:pt x="2290" y="458"/>
                </a:lnTo>
                <a:lnTo>
                  <a:pt x="2284" y="460"/>
                </a:lnTo>
                <a:lnTo>
                  <a:pt x="2275" y="460"/>
                </a:lnTo>
                <a:lnTo>
                  <a:pt x="2269" y="458"/>
                </a:lnTo>
                <a:lnTo>
                  <a:pt x="2263" y="457"/>
                </a:lnTo>
                <a:lnTo>
                  <a:pt x="2257" y="454"/>
                </a:lnTo>
                <a:lnTo>
                  <a:pt x="2253" y="451"/>
                </a:lnTo>
                <a:lnTo>
                  <a:pt x="2250" y="447"/>
                </a:lnTo>
                <a:lnTo>
                  <a:pt x="2247" y="441"/>
                </a:lnTo>
                <a:lnTo>
                  <a:pt x="2245" y="435"/>
                </a:lnTo>
                <a:lnTo>
                  <a:pt x="2244" y="429"/>
                </a:lnTo>
                <a:lnTo>
                  <a:pt x="2244" y="0"/>
                </a:lnTo>
                <a:close/>
                <a:moveTo>
                  <a:pt x="1953" y="0"/>
                </a:moveTo>
                <a:lnTo>
                  <a:pt x="2110" y="0"/>
                </a:lnTo>
                <a:lnTo>
                  <a:pt x="2110" y="429"/>
                </a:lnTo>
                <a:lnTo>
                  <a:pt x="2110" y="435"/>
                </a:lnTo>
                <a:lnTo>
                  <a:pt x="2107" y="441"/>
                </a:lnTo>
                <a:lnTo>
                  <a:pt x="2104" y="447"/>
                </a:lnTo>
                <a:lnTo>
                  <a:pt x="2101" y="451"/>
                </a:lnTo>
                <a:lnTo>
                  <a:pt x="2096" y="454"/>
                </a:lnTo>
                <a:lnTo>
                  <a:pt x="2090" y="457"/>
                </a:lnTo>
                <a:lnTo>
                  <a:pt x="2086" y="458"/>
                </a:lnTo>
                <a:lnTo>
                  <a:pt x="2079" y="460"/>
                </a:lnTo>
                <a:lnTo>
                  <a:pt x="1984" y="460"/>
                </a:lnTo>
                <a:lnTo>
                  <a:pt x="1978" y="458"/>
                </a:lnTo>
                <a:lnTo>
                  <a:pt x="1972" y="457"/>
                </a:lnTo>
                <a:lnTo>
                  <a:pt x="1968" y="454"/>
                </a:lnTo>
                <a:lnTo>
                  <a:pt x="1963" y="451"/>
                </a:lnTo>
                <a:lnTo>
                  <a:pt x="1959" y="447"/>
                </a:lnTo>
                <a:lnTo>
                  <a:pt x="1956" y="441"/>
                </a:lnTo>
                <a:lnTo>
                  <a:pt x="1955" y="435"/>
                </a:lnTo>
                <a:lnTo>
                  <a:pt x="1953" y="429"/>
                </a:lnTo>
                <a:lnTo>
                  <a:pt x="1953" y="0"/>
                </a:lnTo>
                <a:close/>
                <a:moveTo>
                  <a:pt x="871" y="0"/>
                </a:moveTo>
                <a:lnTo>
                  <a:pt x="980" y="0"/>
                </a:lnTo>
                <a:lnTo>
                  <a:pt x="980" y="429"/>
                </a:lnTo>
                <a:lnTo>
                  <a:pt x="979" y="435"/>
                </a:lnTo>
                <a:lnTo>
                  <a:pt x="977" y="441"/>
                </a:lnTo>
                <a:lnTo>
                  <a:pt x="974" y="447"/>
                </a:lnTo>
                <a:lnTo>
                  <a:pt x="971" y="451"/>
                </a:lnTo>
                <a:lnTo>
                  <a:pt x="967" y="454"/>
                </a:lnTo>
                <a:lnTo>
                  <a:pt x="961" y="457"/>
                </a:lnTo>
                <a:lnTo>
                  <a:pt x="955" y="458"/>
                </a:lnTo>
                <a:lnTo>
                  <a:pt x="949" y="460"/>
                </a:lnTo>
                <a:lnTo>
                  <a:pt x="900" y="460"/>
                </a:lnTo>
                <a:lnTo>
                  <a:pt x="895" y="458"/>
                </a:lnTo>
                <a:lnTo>
                  <a:pt x="889" y="457"/>
                </a:lnTo>
                <a:lnTo>
                  <a:pt x="884" y="454"/>
                </a:lnTo>
                <a:lnTo>
                  <a:pt x="880" y="451"/>
                </a:lnTo>
                <a:lnTo>
                  <a:pt x="875" y="447"/>
                </a:lnTo>
                <a:lnTo>
                  <a:pt x="872" y="441"/>
                </a:lnTo>
                <a:lnTo>
                  <a:pt x="871" y="435"/>
                </a:lnTo>
                <a:lnTo>
                  <a:pt x="871" y="429"/>
                </a:lnTo>
                <a:lnTo>
                  <a:pt x="871" y="0"/>
                </a:lnTo>
                <a:close/>
                <a:moveTo>
                  <a:pt x="0" y="0"/>
                </a:moveTo>
                <a:lnTo>
                  <a:pt x="71" y="0"/>
                </a:lnTo>
                <a:lnTo>
                  <a:pt x="71" y="429"/>
                </a:lnTo>
                <a:lnTo>
                  <a:pt x="69" y="435"/>
                </a:lnTo>
                <a:lnTo>
                  <a:pt x="68" y="441"/>
                </a:lnTo>
                <a:lnTo>
                  <a:pt x="65" y="447"/>
                </a:lnTo>
                <a:lnTo>
                  <a:pt x="62" y="451"/>
                </a:lnTo>
                <a:lnTo>
                  <a:pt x="58" y="454"/>
                </a:lnTo>
                <a:lnTo>
                  <a:pt x="52" y="457"/>
                </a:lnTo>
                <a:lnTo>
                  <a:pt x="46" y="458"/>
                </a:lnTo>
                <a:lnTo>
                  <a:pt x="40" y="460"/>
                </a:lnTo>
                <a:lnTo>
                  <a:pt x="31" y="460"/>
                </a:lnTo>
                <a:lnTo>
                  <a:pt x="25" y="458"/>
                </a:lnTo>
                <a:lnTo>
                  <a:pt x="19" y="457"/>
                </a:lnTo>
                <a:lnTo>
                  <a:pt x="13" y="454"/>
                </a:lnTo>
                <a:lnTo>
                  <a:pt x="9" y="451"/>
                </a:lnTo>
                <a:lnTo>
                  <a:pt x="6" y="447"/>
                </a:lnTo>
                <a:lnTo>
                  <a:pt x="3" y="441"/>
                </a:lnTo>
                <a:lnTo>
                  <a:pt x="1" y="435"/>
                </a:lnTo>
                <a:lnTo>
                  <a:pt x="0" y="429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1" name="Freeform 9">
            <a:extLst>
              <a:ext uri="{FF2B5EF4-FFF2-40B4-BE49-F238E27FC236}">
                <a16:creationId xmlns:a16="http://schemas.microsoft.com/office/drawing/2014/main" id="{9DBC4F97-53B9-4D70-B9D4-FD87AA01DB16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07368" y="404664"/>
            <a:ext cx="648000" cy="723297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chemeClr val="accent2"/>
              </a:solidFill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5397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Blu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92720547-DF5A-452F-AF91-0505E2FAEEBE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RIA - RKL yrittäjäpäivä 1.11.202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E4F9C910-C7DF-4A1E-B118-79FC2962235C}"/>
              </a:ext>
            </a:extLst>
          </p:cNvPr>
          <p:cNvSpPr>
            <a:spLocks noEditPoints="1"/>
          </p:cNvSpPr>
          <p:nvPr userDrawn="1"/>
        </p:nvSpPr>
        <p:spPr bwMode="auto">
          <a:xfrm flipH="1">
            <a:off x="3739815" y="0"/>
            <a:ext cx="8452185" cy="6858000"/>
          </a:xfrm>
          <a:custGeom>
            <a:avLst/>
            <a:gdLst>
              <a:gd name="T0" fmla="*/ 3840 w 5339"/>
              <a:gd name="T1" fmla="*/ 2225 h 4332"/>
              <a:gd name="T2" fmla="*/ 3809 w 5339"/>
              <a:gd name="T3" fmla="*/ 3825 h 4332"/>
              <a:gd name="T4" fmla="*/ 3729 w 5339"/>
              <a:gd name="T5" fmla="*/ 3009 h 4332"/>
              <a:gd name="T6" fmla="*/ 31 w 5339"/>
              <a:gd name="T7" fmla="*/ 3825 h 4332"/>
              <a:gd name="T8" fmla="*/ 0 w 5339"/>
              <a:gd name="T9" fmla="*/ 2225 h 4332"/>
              <a:gd name="T10" fmla="*/ 46 w 5339"/>
              <a:gd name="T11" fmla="*/ 2196 h 4332"/>
              <a:gd name="T12" fmla="*/ 69 w 5339"/>
              <a:gd name="T13" fmla="*/ 3800 h 4332"/>
              <a:gd name="T14" fmla="*/ 2282 w 5339"/>
              <a:gd name="T15" fmla="*/ 2194 h 4332"/>
              <a:gd name="T16" fmla="*/ 2313 w 5339"/>
              <a:gd name="T17" fmla="*/ 3794 h 4332"/>
              <a:gd name="T18" fmla="*/ 2180 w 5339"/>
              <a:gd name="T19" fmla="*/ 3824 h 4332"/>
              <a:gd name="T20" fmla="*/ 2157 w 5339"/>
              <a:gd name="T21" fmla="*/ 2219 h 4332"/>
              <a:gd name="T22" fmla="*/ 812 w 5339"/>
              <a:gd name="T23" fmla="*/ 2196 h 4332"/>
              <a:gd name="T24" fmla="*/ 836 w 5339"/>
              <a:gd name="T25" fmla="*/ 3800 h 4332"/>
              <a:gd name="T26" fmla="*/ 698 w 5339"/>
              <a:gd name="T27" fmla="*/ 3822 h 4332"/>
              <a:gd name="T28" fmla="*/ 682 w 5339"/>
              <a:gd name="T29" fmla="*/ 2213 h 4332"/>
              <a:gd name="T30" fmla="*/ 1909 w 5339"/>
              <a:gd name="T31" fmla="*/ 2197 h 4332"/>
              <a:gd name="T32" fmla="*/ 1925 w 5339"/>
              <a:gd name="T33" fmla="*/ 3806 h 4332"/>
              <a:gd name="T34" fmla="*/ 1870 w 5339"/>
              <a:gd name="T35" fmla="*/ 3819 h 4332"/>
              <a:gd name="T36" fmla="*/ 1862 w 5339"/>
              <a:gd name="T37" fmla="*/ 2209 h 4332"/>
              <a:gd name="T38" fmla="*/ 3471 w 5339"/>
              <a:gd name="T39" fmla="*/ 516 h 4332"/>
              <a:gd name="T40" fmla="*/ 3479 w 5339"/>
              <a:gd name="T41" fmla="*/ 2128 h 4332"/>
              <a:gd name="T42" fmla="*/ 3338 w 5339"/>
              <a:gd name="T43" fmla="*/ 2132 h 4332"/>
              <a:gd name="T44" fmla="*/ 3338 w 5339"/>
              <a:gd name="T45" fmla="*/ 519 h 4332"/>
              <a:gd name="T46" fmla="*/ 4569 w 5339"/>
              <a:gd name="T47" fmla="*/ 519 h 4332"/>
              <a:gd name="T48" fmla="*/ 4569 w 5339"/>
              <a:gd name="T49" fmla="*/ 2132 h 4332"/>
              <a:gd name="T50" fmla="*/ 4513 w 5339"/>
              <a:gd name="T51" fmla="*/ 2128 h 4332"/>
              <a:gd name="T52" fmla="*/ 4520 w 5339"/>
              <a:gd name="T53" fmla="*/ 516 h 4332"/>
              <a:gd name="T54" fmla="*/ 2803 w 5339"/>
              <a:gd name="T55" fmla="*/ 523 h 4332"/>
              <a:gd name="T56" fmla="*/ 2796 w 5339"/>
              <a:gd name="T57" fmla="*/ 2135 h 4332"/>
              <a:gd name="T58" fmla="*/ 2741 w 5339"/>
              <a:gd name="T59" fmla="*/ 2122 h 4332"/>
              <a:gd name="T60" fmla="*/ 2758 w 5339"/>
              <a:gd name="T61" fmla="*/ 513 h 4332"/>
              <a:gd name="T62" fmla="*/ 400 w 5339"/>
              <a:gd name="T63" fmla="*/ 2122 h 4332"/>
              <a:gd name="T64" fmla="*/ 416 w 5339"/>
              <a:gd name="T65" fmla="*/ 513 h 4332"/>
              <a:gd name="T66" fmla="*/ 554 w 5339"/>
              <a:gd name="T67" fmla="*/ 535 h 4332"/>
              <a:gd name="T68" fmla="*/ 530 w 5339"/>
              <a:gd name="T69" fmla="*/ 2140 h 4332"/>
              <a:gd name="T70" fmla="*/ 1168 w 5339"/>
              <a:gd name="T71" fmla="*/ 2116 h 4332"/>
              <a:gd name="T72" fmla="*/ 1191 w 5339"/>
              <a:gd name="T73" fmla="*/ 511 h 4332"/>
              <a:gd name="T74" fmla="*/ 1237 w 5339"/>
              <a:gd name="T75" fmla="*/ 541 h 4332"/>
              <a:gd name="T76" fmla="*/ 1206 w 5339"/>
              <a:gd name="T77" fmla="*/ 2141 h 4332"/>
              <a:gd name="T78" fmla="*/ 354 w 5339"/>
              <a:gd name="T79" fmla="*/ 3872 h 4332"/>
              <a:gd name="T80" fmla="*/ 440 w 5339"/>
              <a:gd name="T81" fmla="*/ 3902 h 4332"/>
              <a:gd name="T82" fmla="*/ 1569 w 5339"/>
              <a:gd name="T83" fmla="*/ 3881 h 4332"/>
              <a:gd name="T84" fmla="*/ 1707 w 5339"/>
              <a:gd name="T85" fmla="*/ 3903 h 4332"/>
              <a:gd name="T86" fmla="*/ 2735 w 5339"/>
              <a:gd name="T87" fmla="*/ 3884 h 4332"/>
              <a:gd name="T88" fmla="*/ 2802 w 5339"/>
              <a:gd name="T89" fmla="*/ 3894 h 4332"/>
              <a:gd name="T90" fmla="*/ 4253 w 5339"/>
              <a:gd name="T91" fmla="*/ 3897 h 4332"/>
              <a:gd name="T92" fmla="*/ 4308 w 5339"/>
              <a:gd name="T93" fmla="*/ 3884 h 4332"/>
              <a:gd name="T94" fmla="*/ 5183 w 5339"/>
              <a:gd name="T95" fmla="*/ 3903 h 4332"/>
              <a:gd name="T96" fmla="*/ 5320 w 5339"/>
              <a:gd name="T97" fmla="*/ 3883 h 4332"/>
              <a:gd name="T98" fmla="*/ 4113 w 5339"/>
              <a:gd name="T99" fmla="*/ 423 h 4332"/>
              <a:gd name="T100" fmla="*/ 3981 w 5339"/>
              <a:gd name="T101" fmla="*/ 452 h 4332"/>
              <a:gd name="T102" fmla="*/ 2315 w 5339"/>
              <a:gd name="T103" fmla="*/ 0 h 4332"/>
              <a:gd name="T104" fmla="*/ 2275 w 5339"/>
              <a:gd name="T105" fmla="*/ 460 h 4332"/>
              <a:gd name="T106" fmla="*/ 1953 w 5339"/>
              <a:gd name="T107" fmla="*/ 0 h 4332"/>
              <a:gd name="T108" fmla="*/ 2079 w 5339"/>
              <a:gd name="T109" fmla="*/ 460 h 4332"/>
              <a:gd name="T110" fmla="*/ 1953 w 5339"/>
              <a:gd name="T111" fmla="*/ 0 h 4332"/>
              <a:gd name="T112" fmla="*/ 955 w 5339"/>
              <a:gd name="T113" fmla="*/ 458 h 4332"/>
              <a:gd name="T114" fmla="*/ 871 w 5339"/>
              <a:gd name="T115" fmla="*/ 429 h 4332"/>
              <a:gd name="T116" fmla="*/ 52 w 5339"/>
              <a:gd name="T117" fmla="*/ 457 h 4332"/>
              <a:gd name="T118" fmla="*/ 1 w 5339"/>
              <a:gd name="T119" fmla="*/ 435 h 43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339" h="4332">
                <a:moveTo>
                  <a:pt x="3760" y="2194"/>
                </a:moveTo>
                <a:lnTo>
                  <a:pt x="3809" y="2194"/>
                </a:lnTo>
                <a:lnTo>
                  <a:pt x="3815" y="2196"/>
                </a:lnTo>
                <a:lnTo>
                  <a:pt x="3820" y="2197"/>
                </a:lnTo>
                <a:lnTo>
                  <a:pt x="3825" y="2200"/>
                </a:lnTo>
                <a:lnTo>
                  <a:pt x="3831" y="2203"/>
                </a:lnTo>
                <a:lnTo>
                  <a:pt x="3834" y="2209"/>
                </a:lnTo>
                <a:lnTo>
                  <a:pt x="3837" y="2213"/>
                </a:lnTo>
                <a:lnTo>
                  <a:pt x="3838" y="2219"/>
                </a:lnTo>
                <a:lnTo>
                  <a:pt x="3840" y="2225"/>
                </a:lnTo>
                <a:lnTo>
                  <a:pt x="3840" y="3009"/>
                </a:lnTo>
                <a:lnTo>
                  <a:pt x="3840" y="3794"/>
                </a:lnTo>
                <a:lnTo>
                  <a:pt x="3838" y="3800"/>
                </a:lnTo>
                <a:lnTo>
                  <a:pt x="3837" y="3806"/>
                </a:lnTo>
                <a:lnTo>
                  <a:pt x="3834" y="3812"/>
                </a:lnTo>
                <a:lnTo>
                  <a:pt x="3831" y="3816"/>
                </a:lnTo>
                <a:lnTo>
                  <a:pt x="3825" y="3819"/>
                </a:lnTo>
                <a:lnTo>
                  <a:pt x="3820" y="3822"/>
                </a:lnTo>
                <a:lnTo>
                  <a:pt x="3815" y="3824"/>
                </a:lnTo>
                <a:lnTo>
                  <a:pt x="3809" y="3825"/>
                </a:lnTo>
                <a:lnTo>
                  <a:pt x="3760" y="3825"/>
                </a:lnTo>
                <a:lnTo>
                  <a:pt x="3754" y="3824"/>
                </a:lnTo>
                <a:lnTo>
                  <a:pt x="3748" y="3822"/>
                </a:lnTo>
                <a:lnTo>
                  <a:pt x="3742" y="3819"/>
                </a:lnTo>
                <a:lnTo>
                  <a:pt x="3738" y="3816"/>
                </a:lnTo>
                <a:lnTo>
                  <a:pt x="3735" y="3812"/>
                </a:lnTo>
                <a:lnTo>
                  <a:pt x="3732" y="3806"/>
                </a:lnTo>
                <a:lnTo>
                  <a:pt x="3730" y="3800"/>
                </a:lnTo>
                <a:lnTo>
                  <a:pt x="3729" y="3794"/>
                </a:lnTo>
                <a:lnTo>
                  <a:pt x="3729" y="3009"/>
                </a:lnTo>
                <a:lnTo>
                  <a:pt x="3729" y="2225"/>
                </a:lnTo>
                <a:lnTo>
                  <a:pt x="3730" y="2219"/>
                </a:lnTo>
                <a:lnTo>
                  <a:pt x="3732" y="2213"/>
                </a:lnTo>
                <a:lnTo>
                  <a:pt x="3735" y="2209"/>
                </a:lnTo>
                <a:lnTo>
                  <a:pt x="3738" y="2203"/>
                </a:lnTo>
                <a:lnTo>
                  <a:pt x="3742" y="2200"/>
                </a:lnTo>
                <a:lnTo>
                  <a:pt x="3748" y="2197"/>
                </a:lnTo>
                <a:lnTo>
                  <a:pt x="3754" y="2196"/>
                </a:lnTo>
                <a:lnTo>
                  <a:pt x="3760" y="2194"/>
                </a:lnTo>
                <a:close/>
                <a:moveTo>
                  <a:pt x="31" y="3825"/>
                </a:moveTo>
                <a:lnTo>
                  <a:pt x="25" y="3824"/>
                </a:lnTo>
                <a:lnTo>
                  <a:pt x="19" y="3822"/>
                </a:lnTo>
                <a:lnTo>
                  <a:pt x="13" y="3819"/>
                </a:lnTo>
                <a:lnTo>
                  <a:pt x="9" y="3816"/>
                </a:lnTo>
                <a:lnTo>
                  <a:pt x="6" y="3812"/>
                </a:lnTo>
                <a:lnTo>
                  <a:pt x="3" y="3806"/>
                </a:lnTo>
                <a:lnTo>
                  <a:pt x="1" y="3800"/>
                </a:lnTo>
                <a:lnTo>
                  <a:pt x="0" y="3794"/>
                </a:lnTo>
                <a:lnTo>
                  <a:pt x="0" y="3009"/>
                </a:lnTo>
                <a:lnTo>
                  <a:pt x="0" y="2225"/>
                </a:lnTo>
                <a:lnTo>
                  <a:pt x="1" y="2219"/>
                </a:lnTo>
                <a:lnTo>
                  <a:pt x="3" y="2213"/>
                </a:lnTo>
                <a:lnTo>
                  <a:pt x="6" y="2209"/>
                </a:lnTo>
                <a:lnTo>
                  <a:pt x="9" y="2203"/>
                </a:lnTo>
                <a:lnTo>
                  <a:pt x="13" y="2200"/>
                </a:lnTo>
                <a:lnTo>
                  <a:pt x="19" y="2197"/>
                </a:lnTo>
                <a:lnTo>
                  <a:pt x="25" y="2196"/>
                </a:lnTo>
                <a:lnTo>
                  <a:pt x="31" y="2194"/>
                </a:lnTo>
                <a:lnTo>
                  <a:pt x="40" y="2194"/>
                </a:lnTo>
                <a:lnTo>
                  <a:pt x="46" y="2196"/>
                </a:lnTo>
                <a:lnTo>
                  <a:pt x="52" y="2197"/>
                </a:lnTo>
                <a:lnTo>
                  <a:pt x="58" y="2200"/>
                </a:lnTo>
                <a:lnTo>
                  <a:pt x="62" y="2203"/>
                </a:lnTo>
                <a:lnTo>
                  <a:pt x="65" y="2209"/>
                </a:lnTo>
                <a:lnTo>
                  <a:pt x="68" y="2213"/>
                </a:lnTo>
                <a:lnTo>
                  <a:pt x="69" y="2219"/>
                </a:lnTo>
                <a:lnTo>
                  <a:pt x="71" y="2225"/>
                </a:lnTo>
                <a:lnTo>
                  <a:pt x="71" y="3009"/>
                </a:lnTo>
                <a:lnTo>
                  <a:pt x="71" y="3794"/>
                </a:lnTo>
                <a:lnTo>
                  <a:pt x="69" y="3800"/>
                </a:lnTo>
                <a:lnTo>
                  <a:pt x="68" y="3806"/>
                </a:lnTo>
                <a:lnTo>
                  <a:pt x="65" y="3812"/>
                </a:lnTo>
                <a:lnTo>
                  <a:pt x="62" y="3816"/>
                </a:lnTo>
                <a:lnTo>
                  <a:pt x="58" y="3819"/>
                </a:lnTo>
                <a:lnTo>
                  <a:pt x="52" y="3822"/>
                </a:lnTo>
                <a:lnTo>
                  <a:pt x="46" y="3824"/>
                </a:lnTo>
                <a:lnTo>
                  <a:pt x="40" y="3825"/>
                </a:lnTo>
                <a:lnTo>
                  <a:pt x="31" y="3825"/>
                </a:lnTo>
                <a:close/>
                <a:moveTo>
                  <a:pt x="2188" y="2194"/>
                </a:moveTo>
                <a:lnTo>
                  <a:pt x="2282" y="2194"/>
                </a:lnTo>
                <a:lnTo>
                  <a:pt x="2288" y="2196"/>
                </a:lnTo>
                <a:lnTo>
                  <a:pt x="2294" y="2197"/>
                </a:lnTo>
                <a:lnTo>
                  <a:pt x="2298" y="2200"/>
                </a:lnTo>
                <a:lnTo>
                  <a:pt x="2304" y="2203"/>
                </a:lnTo>
                <a:lnTo>
                  <a:pt x="2307" y="2209"/>
                </a:lnTo>
                <a:lnTo>
                  <a:pt x="2310" y="2213"/>
                </a:lnTo>
                <a:lnTo>
                  <a:pt x="2312" y="2219"/>
                </a:lnTo>
                <a:lnTo>
                  <a:pt x="2313" y="2225"/>
                </a:lnTo>
                <a:lnTo>
                  <a:pt x="2313" y="3009"/>
                </a:lnTo>
                <a:lnTo>
                  <a:pt x="2313" y="3794"/>
                </a:lnTo>
                <a:lnTo>
                  <a:pt x="2312" y="3800"/>
                </a:lnTo>
                <a:lnTo>
                  <a:pt x="2310" y="3806"/>
                </a:lnTo>
                <a:lnTo>
                  <a:pt x="2307" y="3812"/>
                </a:lnTo>
                <a:lnTo>
                  <a:pt x="2304" y="3816"/>
                </a:lnTo>
                <a:lnTo>
                  <a:pt x="2298" y="3819"/>
                </a:lnTo>
                <a:lnTo>
                  <a:pt x="2294" y="3822"/>
                </a:lnTo>
                <a:lnTo>
                  <a:pt x="2288" y="3824"/>
                </a:lnTo>
                <a:lnTo>
                  <a:pt x="2282" y="3825"/>
                </a:lnTo>
                <a:lnTo>
                  <a:pt x="2188" y="3825"/>
                </a:lnTo>
                <a:lnTo>
                  <a:pt x="2180" y="3824"/>
                </a:lnTo>
                <a:lnTo>
                  <a:pt x="2176" y="3822"/>
                </a:lnTo>
                <a:lnTo>
                  <a:pt x="2170" y="3819"/>
                </a:lnTo>
                <a:lnTo>
                  <a:pt x="2166" y="3816"/>
                </a:lnTo>
                <a:lnTo>
                  <a:pt x="2163" y="3812"/>
                </a:lnTo>
                <a:lnTo>
                  <a:pt x="2160" y="3806"/>
                </a:lnTo>
                <a:lnTo>
                  <a:pt x="2157" y="3800"/>
                </a:lnTo>
                <a:lnTo>
                  <a:pt x="2157" y="3794"/>
                </a:lnTo>
                <a:lnTo>
                  <a:pt x="2157" y="3009"/>
                </a:lnTo>
                <a:lnTo>
                  <a:pt x="2157" y="2225"/>
                </a:lnTo>
                <a:lnTo>
                  <a:pt x="2157" y="2219"/>
                </a:lnTo>
                <a:lnTo>
                  <a:pt x="2160" y="2213"/>
                </a:lnTo>
                <a:lnTo>
                  <a:pt x="2163" y="2209"/>
                </a:lnTo>
                <a:lnTo>
                  <a:pt x="2166" y="2203"/>
                </a:lnTo>
                <a:lnTo>
                  <a:pt x="2170" y="2200"/>
                </a:lnTo>
                <a:lnTo>
                  <a:pt x="2176" y="2197"/>
                </a:lnTo>
                <a:lnTo>
                  <a:pt x="2180" y="2196"/>
                </a:lnTo>
                <a:lnTo>
                  <a:pt x="2188" y="2194"/>
                </a:lnTo>
                <a:close/>
                <a:moveTo>
                  <a:pt x="710" y="2194"/>
                </a:moveTo>
                <a:lnTo>
                  <a:pt x="805" y="2194"/>
                </a:lnTo>
                <a:lnTo>
                  <a:pt x="812" y="2196"/>
                </a:lnTo>
                <a:lnTo>
                  <a:pt x="816" y="2197"/>
                </a:lnTo>
                <a:lnTo>
                  <a:pt x="822" y="2200"/>
                </a:lnTo>
                <a:lnTo>
                  <a:pt x="827" y="2203"/>
                </a:lnTo>
                <a:lnTo>
                  <a:pt x="830" y="2209"/>
                </a:lnTo>
                <a:lnTo>
                  <a:pt x="833" y="2213"/>
                </a:lnTo>
                <a:lnTo>
                  <a:pt x="836" y="2219"/>
                </a:lnTo>
                <a:lnTo>
                  <a:pt x="836" y="2225"/>
                </a:lnTo>
                <a:lnTo>
                  <a:pt x="836" y="3009"/>
                </a:lnTo>
                <a:lnTo>
                  <a:pt x="836" y="3794"/>
                </a:lnTo>
                <a:lnTo>
                  <a:pt x="836" y="3800"/>
                </a:lnTo>
                <a:lnTo>
                  <a:pt x="833" y="3806"/>
                </a:lnTo>
                <a:lnTo>
                  <a:pt x="830" y="3812"/>
                </a:lnTo>
                <a:lnTo>
                  <a:pt x="827" y="3816"/>
                </a:lnTo>
                <a:lnTo>
                  <a:pt x="822" y="3819"/>
                </a:lnTo>
                <a:lnTo>
                  <a:pt x="816" y="3822"/>
                </a:lnTo>
                <a:lnTo>
                  <a:pt x="812" y="3824"/>
                </a:lnTo>
                <a:lnTo>
                  <a:pt x="805" y="3825"/>
                </a:lnTo>
                <a:lnTo>
                  <a:pt x="710" y="3825"/>
                </a:lnTo>
                <a:lnTo>
                  <a:pt x="704" y="3824"/>
                </a:lnTo>
                <a:lnTo>
                  <a:pt x="698" y="3822"/>
                </a:lnTo>
                <a:lnTo>
                  <a:pt x="694" y="3819"/>
                </a:lnTo>
                <a:lnTo>
                  <a:pt x="688" y="3816"/>
                </a:lnTo>
                <a:lnTo>
                  <a:pt x="685" y="3812"/>
                </a:lnTo>
                <a:lnTo>
                  <a:pt x="682" y="3806"/>
                </a:lnTo>
                <a:lnTo>
                  <a:pt x="681" y="3800"/>
                </a:lnTo>
                <a:lnTo>
                  <a:pt x="679" y="3794"/>
                </a:lnTo>
                <a:lnTo>
                  <a:pt x="679" y="3009"/>
                </a:lnTo>
                <a:lnTo>
                  <a:pt x="679" y="2225"/>
                </a:lnTo>
                <a:lnTo>
                  <a:pt x="681" y="2219"/>
                </a:lnTo>
                <a:lnTo>
                  <a:pt x="682" y="2213"/>
                </a:lnTo>
                <a:lnTo>
                  <a:pt x="685" y="2209"/>
                </a:lnTo>
                <a:lnTo>
                  <a:pt x="688" y="2203"/>
                </a:lnTo>
                <a:lnTo>
                  <a:pt x="694" y="2200"/>
                </a:lnTo>
                <a:lnTo>
                  <a:pt x="698" y="2197"/>
                </a:lnTo>
                <a:lnTo>
                  <a:pt x="704" y="2196"/>
                </a:lnTo>
                <a:lnTo>
                  <a:pt x="710" y="2194"/>
                </a:lnTo>
                <a:close/>
                <a:moveTo>
                  <a:pt x="1887" y="2194"/>
                </a:moveTo>
                <a:lnTo>
                  <a:pt x="1897" y="2194"/>
                </a:lnTo>
                <a:lnTo>
                  <a:pt x="1903" y="2196"/>
                </a:lnTo>
                <a:lnTo>
                  <a:pt x="1909" y="2197"/>
                </a:lnTo>
                <a:lnTo>
                  <a:pt x="1913" y="2200"/>
                </a:lnTo>
                <a:lnTo>
                  <a:pt x="1918" y="2203"/>
                </a:lnTo>
                <a:lnTo>
                  <a:pt x="1922" y="2209"/>
                </a:lnTo>
                <a:lnTo>
                  <a:pt x="1925" y="2213"/>
                </a:lnTo>
                <a:lnTo>
                  <a:pt x="1926" y="2219"/>
                </a:lnTo>
                <a:lnTo>
                  <a:pt x="1926" y="2225"/>
                </a:lnTo>
                <a:lnTo>
                  <a:pt x="1926" y="3009"/>
                </a:lnTo>
                <a:lnTo>
                  <a:pt x="1926" y="3794"/>
                </a:lnTo>
                <a:lnTo>
                  <a:pt x="1926" y="3800"/>
                </a:lnTo>
                <a:lnTo>
                  <a:pt x="1925" y="3806"/>
                </a:lnTo>
                <a:lnTo>
                  <a:pt x="1922" y="3812"/>
                </a:lnTo>
                <a:lnTo>
                  <a:pt x="1918" y="3816"/>
                </a:lnTo>
                <a:lnTo>
                  <a:pt x="1913" y="3819"/>
                </a:lnTo>
                <a:lnTo>
                  <a:pt x="1909" y="3822"/>
                </a:lnTo>
                <a:lnTo>
                  <a:pt x="1903" y="3824"/>
                </a:lnTo>
                <a:lnTo>
                  <a:pt x="1897" y="3825"/>
                </a:lnTo>
                <a:lnTo>
                  <a:pt x="1887" y="3825"/>
                </a:lnTo>
                <a:lnTo>
                  <a:pt x="1881" y="3824"/>
                </a:lnTo>
                <a:lnTo>
                  <a:pt x="1875" y="3822"/>
                </a:lnTo>
                <a:lnTo>
                  <a:pt x="1870" y="3819"/>
                </a:lnTo>
                <a:lnTo>
                  <a:pt x="1866" y="3816"/>
                </a:lnTo>
                <a:lnTo>
                  <a:pt x="1862" y="3812"/>
                </a:lnTo>
                <a:lnTo>
                  <a:pt x="1860" y="3806"/>
                </a:lnTo>
                <a:lnTo>
                  <a:pt x="1857" y="3800"/>
                </a:lnTo>
                <a:lnTo>
                  <a:pt x="1857" y="3794"/>
                </a:lnTo>
                <a:lnTo>
                  <a:pt x="1857" y="3009"/>
                </a:lnTo>
                <a:lnTo>
                  <a:pt x="1857" y="2225"/>
                </a:lnTo>
                <a:lnTo>
                  <a:pt x="1857" y="2219"/>
                </a:lnTo>
                <a:lnTo>
                  <a:pt x="1860" y="2213"/>
                </a:lnTo>
                <a:lnTo>
                  <a:pt x="1862" y="2209"/>
                </a:lnTo>
                <a:lnTo>
                  <a:pt x="1866" y="2203"/>
                </a:lnTo>
                <a:lnTo>
                  <a:pt x="1870" y="2200"/>
                </a:lnTo>
                <a:lnTo>
                  <a:pt x="1875" y="2197"/>
                </a:lnTo>
                <a:lnTo>
                  <a:pt x="1881" y="2196"/>
                </a:lnTo>
                <a:lnTo>
                  <a:pt x="1887" y="2194"/>
                </a:lnTo>
                <a:close/>
                <a:moveTo>
                  <a:pt x="3358" y="510"/>
                </a:moveTo>
                <a:lnTo>
                  <a:pt x="3453" y="510"/>
                </a:lnTo>
                <a:lnTo>
                  <a:pt x="3460" y="511"/>
                </a:lnTo>
                <a:lnTo>
                  <a:pt x="3466" y="513"/>
                </a:lnTo>
                <a:lnTo>
                  <a:pt x="3471" y="516"/>
                </a:lnTo>
                <a:lnTo>
                  <a:pt x="3475" y="519"/>
                </a:lnTo>
                <a:lnTo>
                  <a:pt x="3479" y="523"/>
                </a:lnTo>
                <a:lnTo>
                  <a:pt x="3481" y="529"/>
                </a:lnTo>
                <a:lnTo>
                  <a:pt x="3484" y="535"/>
                </a:lnTo>
                <a:lnTo>
                  <a:pt x="3484" y="541"/>
                </a:lnTo>
                <a:lnTo>
                  <a:pt x="3484" y="1325"/>
                </a:lnTo>
                <a:lnTo>
                  <a:pt x="3484" y="2110"/>
                </a:lnTo>
                <a:lnTo>
                  <a:pt x="3484" y="2116"/>
                </a:lnTo>
                <a:lnTo>
                  <a:pt x="3481" y="2122"/>
                </a:lnTo>
                <a:lnTo>
                  <a:pt x="3479" y="2128"/>
                </a:lnTo>
                <a:lnTo>
                  <a:pt x="3475" y="2132"/>
                </a:lnTo>
                <a:lnTo>
                  <a:pt x="3471" y="2135"/>
                </a:lnTo>
                <a:lnTo>
                  <a:pt x="3466" y="2138"/>
                </a:lnTo>
                <a:lnTo>
                  <a:pt x="3460" y="2140"/>
                </a:lnTo>
                <a:lnTo>
                  <a:pt x="3453" y="2141"/>
                </a:lnTo>
                <a:lnTo>
                  <a:pt x="3358" y="2141"/>
                </a:lnTo>
                <a:lnTo>
                  <a:pt x="3352" y="2140"/>
                </a:lnTo>
                <a:lnTo>
                  <a:pt x="3347" y="2138"/>
                </a:lnTo>
                <a:lnTo>
                  <a:pt x="3342" y="2135"/>
                </a:lnTo>
                <a:lnTo>
                  <a:pt x="3338" y="2132"/>
                </a:lnTo>
                <a:lnTo>
                  <a:pt x="3333" y="2128"/>
                </a:lnTo>
                <a:lnTo>
                  <a:pt x="3330" y="2122"/>
                </a:lnTo>
                <a:lnTo>
                  <a:pt x="3329" y="2116"/>
                </a:lnTo>
                <a:lnTo>
                  <a:pt x="3329" y="2110"/>
                </a:lnTo>
                <a:lnTo>
                  <a:pt x="3329" y="1325"/>
                </a:lnTo>
                <a:lnTo>
                  <a:pt x="3329" y="541"/>
                </a:lnTo>
                <a:lnTo>
                  <a:pt x="3329" y="535"/>
                </a:lnTo>
                <a:lnTo>
                  <a:pt x="3330" y="529"/>
                </a:lnTo>
                <a:lnTo>
                  <a:pt x="3333" y="523"/>
                </a:lnTo>
                <a:lnTo>
                  <a:pt x="3338" y="519"/>
                </a:lnTo>
                <a:lnTo>
                  <a:pt x="3342" y="516"/>
                </a:lnTo>
                <a:lnTo>
                  <a:pt x="3347" y="513"/>
                </a:lnTo>
                <a:lnTo>
                  <a:pt x="3352" y="511"/>
                </a:lnTo>
                <a:lnTo>
                  <a:pt x="3358" y="510"/>
                </a:lnTo>
                <a:close/>
                <a:moveTo>
                  <a:pt x="4538" y="510"/>
                </a:moveTo>
                <a:lnTo>
                  <a:pt x="4547" y="510"/>
                </a:lnTo>
                <a:lnTo>
                  <a:pt x="4553" y="511"/>
                </a:lnTo>
                <a:lnTo>
                  <a:pt x="4559" y="513"/>
                </a:lnTo>
                <a:lnTo>
                  <a:pt x="4564" y="516"/>
                </a:lnTo>
                <a:lnTo>
                  <a:pt x="4569" y="519"/>
                </a:lnTo>
                <a:lnTo>
                  <a:pt x="4572" y="523"/>
                </a:lnTo>
                <a:lnTo>
                  <a:pt x="4575" y="529"/>
                </a:lnTo>
                <a:lnTo>
                  <a:pt x="4576" y="535"/>
                </a:lnTo>
                <a:lnTo>
                  <a:pt x="4578" y="541"/>
                </a:lnTo>
                <a:lnTo>
                  <a:pt x="4578" y="1325"/>
                </a:lnTo>
                <a:lnTo>
                  <a:pt x="4578" y="2110"/>
                </a:lnTo>
                <a:lnTo>
                  <a:pt x="4576" y="2116"/>
                </a:lnTo>
                <a:lnTo>
                  <a:pt x="4575" y="2122"/>
                </a:lnTo>
                <a:lnTo>
                  <a:pt x="4572" y="2128"/>
                </a:lnTo>
                <a:lnTo>
                  <a:pt x="4569" y="2132"/>
                </a:lnTo>
                <a:lnTo>
                  <a:pt x="4564" y="2135"/>
                </a:lnTo>
                <a:lnTo>
                  <a:pt x="4559" y="2138"/>
                </a:lnTo>
                <a:lnTo>
                  <a:pt x="4553" y="2140"/>
                </a:lnTo>
                <a:lnTo>
                  <a:pt x="4547" y="2141"/>
                </a:lnTo>
                <a:lnTo>
                  <a:pt x="4538" y="2141"/>
                </a:lnTo>
                <a:lnTo>
                  <a:pt x="4532" y="2140"/>
                </a:lnTo>
                <a:lnTo>
                  <a:pt x="4526" y="2138"/>
                </a:lnTo>
                <a:lnTo>
                  <a:pt x="4520" y="2135"/>
                </a:lnTo>
                <a:lnTo>
                  <a:pt x="4516" y="2132"/>
                </a:lnTo>
                <a:lnTo>
                  <a:pt x="4513" y="2128"/>
                </a:lnTo>
                <a:lnTo>
                  <a:pt x="4510" y="2122"/>
                </a:lnTo>
                <a:lnTo>
                  <a:pt x="4508" y="2116"/>
                </a:lnTo>
                <a:lnTo>
                  <a:pt x="4507" y="2110"/>
                </a:lnTo>
                <a:lnTo>
                  <a:pt x="4507" y="1325"/>
                </a:lnTo>
                <a:lnTo>
                  <a:pt x="4507" y="541"/>
                </a:lnTo>
                <a:lnTo>
                  <a:pt x="4508" y="535"/>
                </a:lnTo>
                <a:lnTo>
                  <a:pt x="4510" y="529"/>
                </a:lnTo>
                <a:lnTo>
                  <a:pt x="4513" y="523"/>
                </a:lnTo>
                <a:lnTo>
                  <a:pt x="4516" y="519"/>
                </a:lnTo>
                <a:lnTo>
                  <a:pt x="4520" y="516"/>
                </a:lnTo>
                <a:lnTo>
                  <a:pt x="4526" y="513"/>
                </a:lnTo>
                <a:lnTo>
                  <a:pt x="4532" y="511"/>
                </a:lnTo>
                <a:lnTo>
                  <a:pt x="4538" y="510"/>
                </a:lnTo>
                <a:close/>
                <a:moveTo>
                  <a:pt x="2769" y="510"/>
                </a:moveTo>
                <a:lnTo>
                  <a:pt x="2778" y="510"/>
                </a:lnTo>
                <a:lnTo>
                  <a:pt x="2784" y="511"/>
                </a:lnTo>
                <a:lnTo>
                  <a:pt x="2790" y="513"/>
                </a:lnTo>
                <a:lnTo>
                  <a:pt x="2796" y="516"/>
                </a:lnTo>
                <a:lnTo>
                  <a:pt x="2800" y="519"/>
                </a:lnTo>
                <a:lnTo>
                  <a:pt x="2803" y="523"/>
                </a:lnTo>
                <a:lnTo>
                  <a:pt x="2806" y="529"/>
                </a:lnTo>
                <a:lnTo>
                  <a:pt x="2808" y="535"/>
                </a:lnTo>
                <a:lnTo>
                  <a:pt x="2809" y="541"/>
                </a:lnTo>
                <a:lnTo>
                  <a:pt x="2809" y="1325"/>
                </a:lnTo>
                <a:lnTo>
                  <a:pt x="2809" y="2110"/>
                </a:lnTo>
                <a:lnTo>
                  <a:pt x="2808" y="2116"/>
                </a:lnTo>
                <a:lnTo>
                  <a:pt x="2806" y="2122"/>
                </a:lnTo>
                <a:lnTo>
                  <a:pt x="2803" y="2128"/>
                </a:lnTo>
                <a:lnTo>
                  <a:pt x="2800" y="2132"/>
                </a:lnTo>
                <a:lnTo>
                  <a:pt x="2796" y="2135"/>
                </a:lnTo>
                <a:lnTo>
                  <a:pt x="2790" y="2138"/>
                </a:lnTo>
                <a:lnTo>
                  <a:pt x="2784" y="2140"/>
                </a:lnTo>
                <a:lnTo>
                  <a:pt x="2778" y="2141"/>
                </a:lnTo>
                <a:lnTo>
                  <a:pt x="2769" y="2141"/>
                </a:lnTo>
                <a:lnTo>
                  <a:pt x="2763" y="2140"/>
                </a:lnTo>
                <a:lnTo>
                  <a:pt x="2758" y="2138"/>
                </a:lnTo>
                <a:lnTo>
                  <a:pt x="2752" y="2135"/>
                </a:lnTo>
                <a:lnTo>
                  <a:pt x="2747" y="2132"/>
                </a:lnTo>
                <a:lnTo>
                  <a:pt x="2744" y="2128"/>
                </a:lnTo>
                <a:lnTo>
                  <a:pt x="2741" y="2122"/>
                </a:lnTo>
                <a:lnTo>
                  <a:pt x="2740" y="2116"/>
                </a:lnTo>
                <a:lnTo>
                  <a:pt x="2738" y="2110"/>
                </a:lnTo>
                <a:lnTo>
                  <a:pt x="2738" y="1325"/>
                </a:lnTo>
                <a:lnTo>
                  <a:pt x="2738" y="541"/>
                </a:lnTo>
                <a:lnTo>
                  <a:pt x="2740" y="535"/>
                </a:lnTo>
                <a:lnTo>
                  <a:pt x="2741" y="529"/>
                </a:lnTo>
                <a:lnTo>
                  <a:pt x="2744" y="523"/>
                </a:lnTo>
                <a:lnTo>
                  <a:pt x="2747" y="519"/>
                </a:lnTo>
                <a:lnTo>
                  <a:pt x="2752" y="516"/>
                </a:lnTo>
                <a:lnTo>
                  <a:pt x="2758" y="513"/>
                </a:lnTo>
                <a:lnTo>
                  <a:pt x="2763" y="511"/>
                </a:lnTo>
                <a:lnTo>
                  <a:pt x="2769" y="510"/>
                </a:lnTo>
                <a:close/>
                <a:moveTo>
                  <a:pt x="523" y="2141"/>
                </a:moveTo>
                <a:lnTo>
                  <a:pt x="428" y="2141"/>
                </a:lnTo>
                <a:lnTo>
                  <a:pt x="422" y="2140"/>
                </a:lnTo>
                <a:lnTo>
                  <a:pt x="416" y="2138"/>
                </a:lnTo>
                <a:lnTo>
                  <a:pt x="412" y="2135"/>
                </a:lnTo>
                <a:lnTo>
                  <a:pt x="407" y="2132"/>
                </a:lnTo>
                <a:lnTo>
                  <a:pt x="403" y="2128"/>
                </a:lnTo>
                <a:lnTo>
                  <a:pt x="400" y="2122"/>
                </a:lnTo>
                <a:lnTo>
                  <a:pt x="399" y="2116"/>
                </a:lnTo>
                <a:lnTo>
                  <a:pt x="399" y="2110"/>
                </a:lnTo>
                <a:lnTo>
                  <a:pt x="399" y="1325"/>
                </a:lnTo>
                <a:lnTo>
                  <a:pt x="399" y="541"/>
                </a:lnTo>
                <a:lnTo>
                  <a:pt x="399" y="535"/>
                </a:lnTo>
                <a:lnTo>
                  <a:pt x="400" y="529"/>
                </a:lnTo>
                <a:lnTo>
                  <a:pt x="403" y="523"/>
                </a:lnTo>
                <a:lnTo>
                  <a:pt x="407" y="519"/>
                </a:lnTo>
                <a:lnTo>
                  <a:pt x="412" y="516"/>
                </a:lnTo>
                <a:lnTo>
                  <a:pt x="416" y="513"/>
                </a:lnTo>
                <a:lnTo>
                  <a:pt x="422" y="511"/>
                </a:lnTo>
                <a:lnTo>
                  <a:pt x="428" y="510"/>
                </a:lnTo>
                <a:lnTo>
                  <a:pt x="523" y="510"/>
                </a:lnTo>
                <a:lnTo>
                  <a:pt x="530" y="511"/>
                </a:lnTo>
                <a:lnTo>
                  <a:pt x="534" y="513"/>
                </a:lnTo>
                <a:lnTo>
                  <a:pt x="540" y="516"/>
                </a:lnTo>
                <a:lnTo>
                  <a:pt x="545" y="519"/>
                </a:lnTo>
                <a:lnTo>
                  <a:pt x="549" y="523"/>
                </a:lnTo>
                <a:lnTo>
                  <a:pt x="551" y="529"/>
                </a:lnTo>
                <a:lnTo>
                  <a:pt x="554" y="535"/>
                </a:lnTo>
                <a:lnTo>
                  <a:pt x="554" y="541"/>
                </a:lnTo>
                <a:lnTo>
                  <a:pt x="554" y="1325"/>
                </a:lnTo>
                <a:lnTo>
                  <a:pt x="554" y="2110"/>
                </a:lnTo>
                <a:lnTo>
                  <a:pt x="554" y="2116"/>
                </a:lnTo>
                <a:lnTo>
                  <a:pt x="551" y="2122"/>
                </a:lnTo>
                <a:lnTo>
                  <a:pt x="549" y="2128"/>
                </a:lnTo>
                <a:lnTo>
                  <a:pt x="545" y="2132"/>
                </a:lnTo>
                <a:lnTo>
                  <a:pt x="540" y="2135"/>
                </a:lnTo>
                <a:lnTo>
                  <a:pt x="534" y="2138"/>
                </a:lnTo>
                <a:lnTo>
                  <a:pt x="530" y="2140"/>
                </a:lnTo>
                <a:lnTo>
                  <a:pt x="523" y="2141"/>
                </a:lnTo>
                <a:close/>
                <a:moveTo>
                  <a:pt x="1206" y="2141"/>
                </a:moveTo>
                <a:lnTo>
                  <a:pt x="1197" y="2141"/>
                </a:lnTo>
                <a:lnTo>
                  <a:pt x="1191" y="2140"/>
                </a:lnTo>
                <a:lnTo>
                  <a:pt x="1185" y="2138"/>
                </a:lnTo>
                <a:lnTo>
                  <a:pt x="1179" y="2135"/>
                </a:lnTo>
                <a:lnTo>
                  <a:pt x="1175" y="2132"/>
                </a:lnTo>
                <a:lnTo>
                  <a:pt x="1172" y="2128"/>
                </a:lnTo>
                <a:lnTo>
                  <a:pt x="1169" y="2122"/>
                </a:lnTo>
                <a:lnTo>
                  <a:pt x="1168" y="2116"/>
                </a:lnTo>
                <a:lnTo>
                  <a:pt x="1166" y="2110"/>
                </a:lnTo>
                <a:lnTo>
                  <a:pt x="1166" y="1325"/>
                </a:lnTo>
                <a:lnTo>
                  <a:pt x="1166" y="541"/>
                </a:lnTo>
                <a:lnTo>
                  <a:pt x="1168" y="535"/>
                </a:lnTo>
                <a:lnTo>
                  <a:pt x="1169" y="529"/>
                </a:lnTo>
                <a:lnTo>
                  <a:pt x="1172" y="523"/>
                </a:lnTo>
                <a:lnTo>
                  <a:pt x="1175" y="519"/>
                </a:lnTo>
                <a:lnTo>
                  <a:pt x="1179" y="516"/>
                </a:lnTo>
                <a:lnTo>
                  <a:pt x="1185" y="513"/>
                </a:lnTo>
                <a:lnTo>
                  <a:pt x="1191" y="511"/>
                </a:lnTo>
                <a:lnTo>
                  <a:pt x="1197" y="510"/>
                </a:lnTo>
                <a:lnTo>
                  <a:pt x="1206" y="510"/>
                </a:lnTo>
                <a:lnTo>
                  <a:pt x="1212" y="511"/>
                </a:lnTo>
                <a:lnTo>
                  <a:pt x="1218" y="513"/>
                </a:lnTo>
                <a:lnTo>
                  <a:pt x="1224" y="516"/>
                </a:lnTo>
                <a:lnTo>
                  <a:pt x="1228" y="519"/>
                </a:lnTo>
                <a:lnTo>
                  <a:pt x="1231" y="523"/>
                </a:lnTo>
                <a:lnTo>
                  <a:pt x="1234" y="529"/>
                </a:lnTo>
                <a:lnTo>
                  <a:pt x="1237" y="535"/>
                </a:lnTo>
                <a:lnTo>
                  <a:pt x="1237" y="541"/>
                </a:lnTo>
                <a:lnTo>
                  <a:pt x="1237" y="1325"/>
                </a:lnTo>
                <a:lnTo>
                  <a:pt x="1237" y="2110"/>
                </a:lnTo>
                <a:lnTo>
                  <a:pt x="1237" y="2116"/>
                </a:lnTo>
                <a:lnTo>
                  <a:pt x="1234" y="2122"/>
                </a:lnTo>
                <a:lnTo>
                  <a:pt x="1231" y="2128"/>
                </a:lnTo>
                <a:lnTo>
                  <a:pt x="1228" y="2132"/>
                </a:lnTo>
                <a:lnTo>
                  <a:pt x="1224" y="2135"/>
                </a:lnTo>
                <a:lnTo>
                  <a:pt x="1218" y="2138"/>
                </a:lnTo>
                <a:lnTo>
                  <a:pt x="1212" y="2140"/>
                </a:lnTo>
                <a:lnTo>
                  <a:pt x="1206" y="2141"/>
                </a:lnTo>
                <a:close/>
                <a:moveTo>
                  <a:pt x="440" y="4332"/>
                </a:moveTo>
                <a:lnTo>
                  <a:pt x="331" y="4332"/>
                </a:lnTo>
                <a:lnTo>
                  <a:pt x="331" y="3902"/>
                </a:lnTo>
                <a:lnTo>
                  <a:pt x="331" y="3896"/>
                </a:lnTo>
                <a:lnTo>
                  <a:pt x="334" y="3890"/>
                </a:lnTo>
                <a:lnTo>
                  <a:pt x="335" y="3886"/>
                </a:lnTo>
                <a:lnTo>
                  <a:pt x="340" y="3881"/>
                </a:lnTo>
                <a:lnTo>
                  <a:pt x="344" y="3877"/>
                </a:lnTo>
                <a:lnTo>
                  <a:pt x="348" y="3874"/>
                </a:lnTo>
                <a:lnTo>
                  <a:pt x="354" y="3872"/>
                </a:lnTo>
                <a:lnTo>
                  <a:pt x="360" y="3872"/>
                </a:lnTo>
                <a:lnTo>
                  <a:pt x="409" y="3872"/>
                </a:lnTo>
                <a:lnTo>
                  <a:pt x="416" y="3872"/>
                </a:lnTo>
                <a:lnTo>
                  <a:pt x="421" y="3874"/>
                </a:lnTo>
                <a:lnTo>
                  <a:pt x="427" y="3877"/>
                </a:lnTo>
                <a:lnTo>
                  <a:pt x="431" y="3881"/>
                </a:lnTo>
                <a:lnTo>
                  <a:pt x="435" y="3886"/>
                </a:lnTo>
                <a:lnTo>
                  <a:pt x="437" y="3890"/>
                </a:lnTo>
                <a:lnTo>
                  <a:pt x="440" y="3896"/>
                </a:lnTo>
                <a:lnTo>
                  <a:pt x="440" y="3902"/>
                </a:lnTo>
                <a:lnTo>
                  <a:pt x="440" y="4332"/>
                </a:lnTo>
                <a:close/>
                <a:moveTo>
                  <a:pt x="1707" y="4332"/>
                </a:moveTo>
                <a:lnTo>
                  <a:pt x="1552" y="4332"/>
                </a:lnTo>
                <a:lnTo>
                  <a:pt x="1552" y="3909"/>
                </a:lnTo>
                <a:lnTo>
                  <a:pt x="1552" y="3903"/>
                </a:lnTo>
                <a:lnTo>
                  <a:pt x="1553" y="3897"/>
                </a:lnTo>
                <a:lnTo>
                  <a:pt x="1556" y="3891"/>
                </a:lnTo>
                <a:lnTo>
                  <a:pt x="1560" y="3887"/>
                </a:lnTo>
                <a:lnTo>
                  <a:pt x="1565" y="3884"/>
                </a:lnTo>
                <a:lnTo>
                  <a:pt x="1569" y="3881"/>
                </a:lnTo>
                <a:lnTo>
                  <a:pt x="1575" y="3878"/>
                </a:lnTo>
                <a:lnTo>
                  <a:pt x="1581" y="3878"/>
                </a:lnTo>
                <a:lnTo>
                  <a:pt x="1677" y="3878"/>
                </a:lnTo>
                <a:lnTo>
                  <a:pt x="1683" y="3878"/>
                </a:lnTo>
                <a:lnTo>
                  <a:pt x="1689" y="3881"/>
                </a:lnTo>
                <a:lnTo>
                  <a:pt x="1693" y="3884"/>
                </a:lnTo>
                <a:lnTo>
                  <a:pt x="1698" y="3887"/>
                </a:lnTo>
                <a:lnTo>
                  <a:pt x="1702" y="3891"/>
                </a:lnTo>
                <a:lnTo>
                  <a:pt x="1705" y="3897"/>
                </a:lnTo>
                <a:lnTo>
                  <a:pt x="1707" y="3903"/>
                </a:lnTo>
                <a:lnTo>
                  <a:pt x="1707" y="3909"/>
                </a:lnTo>
                <a:lnTo>
                  <a:pt x="1707" y="4332"/>
                </a:lnTo>
                <a:close/>
                <a:moveTo>
                  <a:pt x="2809" y="4332"/>
                </a:moveTo>
                <a:lnTo>
                  <a:pt x="2722" y="4332"/>
                </a:lnTo>
                <a:lnTo>
                  <a:pt x="2722" y="3909"/>
                </a:lnTo>
                <a:lnTo>
                  <a:pt x="2724" y="3903"/>
                </a:lnTo>
                <a:lnTo>
                  <a:pt x="2725" y="3897"/>
                </a:lnTo>
                <a:lnTo>
                  <a:pt x="2728" y="3891"/>
                </a:lnTo>
                <a:lnTo>
                  <a:pt x="2731" y="3887"/>
                </a:lnTo>
                <a:lnTo>
                  <a:pt x="2735" y="3884"/>
                </a:lnTo>
                <a:lnTo>
                  <a:pt x="2741" y="3881"/>
                </a:lnTo>
                <a:lnTo>
                  <a:pt x="2747" y="3878"/>
                </a:lnTo>
                <a:lnTo>
                  <a:pt x="2753" y="3878"/>
                </a:lnTo>
                <a:lnTo>
                  <a:pt x="2762" y="3878"/>
                </a:lnTo>
                <a:lnTo>
                  <a:pt x="2769" y="3878"/>
                </a:lnTo>
                <a:lnTo>
                  <a:pt x="2777" y="3881"/>
                </a:lnTo>
                <a:lnTo>
                  <a:pt x="2784" y="3884"/>
                </a:lnTo>
                <a:lnTo>
                  <a:pt x="2792" y="3887"/>
                </a:lnTo>
                <a:lnTo>
                  <a:pt x="2799" y="3891"/>
                </a:lnTo>
                <a:lnTo>
                  <a:pt x="2802" y="3894"/>
                </a:lnTo>
                <a:lnTo>
                  <a:pt x="2805" y="3897"/>
                </a:lnTo>
                <a:lnTo>
                  <a:pt x="2808" y="3903"/>
                </a:lnTo>
                <a:lnTo>
                  <a:pt x="2809" y="3906"/>
                </a:lnTo>
                <a:lnTo>
                  <a:pt x="2809" y="3909"/>
                </a:lnTo>
                <a:lnTo>
                  <a:pt x="2809" y="4332"/>
                </a:lnTo>
                <a:close/>
                <a:moveTo>
                  <a:pt x="4321" y="4332"/>
                </a:moveTo>
                <a:lnTo>
                  <a:pt x="4252" y="4332"/>
                </a:lnTo>
                <a:lnTo>
                  <a:pt x="4252" y="3909"/>
                </a:lnTo>
                <a:lnTo>
                  <a:pt x="4252" y="3903"/>
                </a:lnTo>
                <a:lnTo>
                  <a:pt x="4253" y="3897"/>
                </a:lnTo>
                <a:lnTo>
                  <a:pt x="4256" y="3891"/>
                </a:lnTo>
                <a:lnTo>
                  <a:pt x="4260" y="3887"/>
                </a:lnTo>
                <a:lnTo>
                  <a:pt x="4265" y="3884"/>
                </a:lnTo>
                <a:lnTo>
                  <a:pt x="4269" y="3881"/>
                </a:lnTo>
                <a:lnTo>
                  <a:pt x="4275" y="3878"/>
                </a:lnTo>
                <a:lnTo>
                  <a:pt x="4281" y="3878"/>
                </a:lnTo>
                <a:lnTo>
                  <a:pt x="4291" y="3878"/>
                </a:lnTo>
                <a:lnTo>
                  <a:pt x="4297" y="3878"/>
                </a:lnTo>
                <a:lnTo>
                  <a:pt x="4303" y="3881"/>
                </a:lnTo>
                <a:lnTo>
                  <a:pt x="4308" y="3884"/>
                </a:lnTo>
                <a:lnTo>
                  <a:pt x="4312" y="3887"/>
                </a:lnTo>
                <a:lnTo>
                  <a:pt x="4316" y="3891"/>
                </a:lnTo>
                <a:lnTo>
                  <a:pt x="4319" y="3897"/>
                </a:lnTo>
                <a:lnTo>
                  <a:pt x="4321" y="3903"/>
                </a:lnTo>
                <a:lnTo>
                  <a:pt x="4321" y="3909"/>
                </a:lnTo>
                <a:lnTo>
                  <a:pt x="4321" y="4332"/>
                </a:lnTo>
                <a:close/>
                <a:moveTo>
                  <a:pt x="5339" y="4332"/>
                </a:moveTo>
                <a:lnTo>
                  <a:pt x="5183" y="4332"/>
                </a:lnTo>
                <a:lnTo>
                  <a:pt x="5183" y="3911"/>
                </a:lnTo>
                <a:lnTo>
                  <a:pt x="5183" y="3903"/>
                </a:lnTo>
                <a:lnTo>
                  <a:pt x="5186" y="3899"/>
                </a:lnTo>
                <a:lnTo>
                  <a:pt x="5189" y="3893"/>
                </a:lnTo>
                <a:lnTo>
                  <a:pt x="5192" y="3888"/>
                </a:lnTo>
                <a:lnTo>
                  <a:pt x="5196" y="3886"/>
                </a:lnTo>
                <a:lnTo>
                  <a:pt x="5202" y="3883"/>
                </a:lnTo>
                <a:lnTo>
                  <a:pt x="5207" y="3880"/>
                </a:lnTo>
                <a:lnTo>
                  <a:pt x="5214" y="3880"/>
                </a:lnTo>
                <a:lnTo>
                  <a:pt x="5308" y="3880"/>
                </a:lnTo>
                <a:lnTo>
                  <a:pt x="5314" y="3880"/>
                </a:lnTo>
                <a:lnTo>
                  <a:pt x="5320" y="3883"/>
                </a:lnTo>
                <a:lnTo>
                  <a:pt x="5325" y="3886"/>
                </a:lnTo>
                <a:lnTo>
                  <a:pt x="5331" y="3888"/>
                </a:lnTo>
                <a:lnTo>
                  <a:pt x="5334" y="3893"/>
                </a:lnTo>
                <a:lnTo>
                  <a:pt x="5337" y="3899"/>
                </a:lnTo>
                <a:lnTo>
                  <a:pt x="5338" y="3903"/>
                </a:lnTo>
                <a:lnTo>
                  <a:pt x="5339" y="3911"/>
                </a:lnTo>
                <a:lnTo>
                  <a:pt x="5339" y="4332"/>
                </a:lnTo>
                <a:close/>
                <a:moveTo>
                  <a:pt x="3956" y="0"/>
                </a:moveTo>
                <a:lnTo>
                  <a:pt x="4113" y="0"/>
                </a:lnTo>
                <a:lnTo>
                  <a:pt x="4113" y="423"/>
                </a:lnTo>
                <a:lnTo>
                  <a:pt x="4111" y="429"/>
                </a:lnTo>
                <a:lnTo>
                  <a:pt x="4110" y="435"/>
                </a:lnTo>
                <a:lnTo>
                  <a:pt x="4107" y="439"/>
                </a:lnTo>
                <a:lnTo>
                  <a:pt x="4104" y="444"/>
                </a:lnTo>
                <a:lnTo>
                  <a:pt x="4099" y="448"/>
                </a:lnTo>
                <a:lnTo>
                  <a:pt x="4094" y="451"/>
                </a:lnTo>
                <a:lnTo>
                  <a:pt x="4088" y="452"/>
                </a:lnTo>
                <a:lnTo>
                  <a:pt x="4082" y="452"/>
                </a:lnTo>
                <a:lnTo>
                  <a:pt x="3987" y="452"/>
                </a:lnTo>
                <a:lnTo>
                  <a:pt x="3981" y="452"/>
                </a:lnTo>
                <a:lnTo>
                  <a:pt x="3975" y="451"/>
                </a:lnTo>
                <a:lnTo>
                  <a:pt x="3970" y="448"/>
                </a:lnTo>
                <a:lnTo>
                  <a:pt x="3965" y="444"/>
                </a:lnTo>
                <a:lnTo>
                  <a:pt x="3962" y="439"/>
                </a:lnTo>
                <a:lnTo>
                  <a:pt x="3959" y="435"/>
                </a:lnTo>
                <a:lnTo>
                  <a:pt x="3958" y="429"/>
                </a:lnTo>
                <a:lnTo>
                  <a:pt x="3956" y="423"/>
                </a:lnTo>
                <a:lnTo>
                  <a:pt x="3956" y="0"/>
                </a:lnTo>
                <a:close/>
                <a:moveTo>
                  <a:pt x="2244" y="0"/>
                </a:moveTo>
                <a:lnTo>
                  <a:pt x="2315" y="0"/>
                </a:lnTo>
                <a:lnTo>
                  <a:pt x="2315" y="429"/>
                </a:lnTo>
                <a:lnTo>
                  <a:pt x="2313" y="435"/>
                </a:lnTo>
                <a:lnTo>
                  <a:pt x="2312" y="441"/>
                </a:lnTo>
                <a:lnTo>
                  <a:pt x="2309" y="447"/>
                </a:lnTo>
                <a:lnTo>
                  <a:pt x="2306" y="451"/>
                </a:lnTo>
                <a:lnTo>
                  <a:pt x="2301" y="454"/>
                </a:lnTo>
                <a:lnTo>
                  <a:pt x="2296" y="457"/>
                </a:lnTo>
                <a:lnTo>
                  <a:pt x="2290" y="458"/>
                </a:lnTo>
                <a:lnTo>
                  <a:pt x="2284" y="460"/>
                </a:lnTo>
                <a:lnTo>
                  <a:pt x="2275" y="460"/>
                </a:lnTo>
                <a:lnTo>
                  <a:pt x="2269" y="458"/>
                </a:lnTo>
                <a:lnTo>
                  <a:pt x="2263" y="457"/>
                </a:lnTo>
                <a:lnTo>
                  <a:pt x="2257" y="454"/>
                </a:lnTo>
                <a:lnTo>
                  <a:pt x="2253" y="451"/>
                </a:lnTo>
                <a:lnTo>
                  <a:pt x="2250" y="447"/>
                </a:lnTo>
                <a:lnTo>
                  <a:pt x="2247" y="441"/>
                </a:lnTo>
                <a:lnTo>
                  <a:pt x="2245" y="435"/>
                </a:lnTo>
                <a:lnTo>
                  <a:pt x="2244" y="429"/>
                </a:lnTo>
                <a:lnTo>
                  <a:pt x="2244" y="0"/>
                </a:lnTo>
                <a:close/>
                <a:moveTo>
                  <a:pt x="1953" y="0"/>
                </a:moveTo>
                <a:lnTo>
                  <a:pt x="2110" y="0"/>
                </a:lnTo>
                <a:lnTo>
                  <a:pt x="2110" y="429"/>
                </a:lnTo>
                <a:lnTo>
                  <a:pt x="2110" y="435"/>
                </a:lnTo>
                <a:lnTo>
                  <a:pt x="2107" y="441"/>
                </a:lnTo>
                <a:lnTo>
                  <a:pt x="2104" y="447"/>
                </a:lnTo>
                <a:lnTo>
                  <a:pt x="2101" y="451"/>
                </a:lnTo>
                <a:lnTo>
                  <a:pt x="2096" y="454"/>
                </a:lnTo>
                <a:lnTo>
                  <a:pt x="2090" y="457"/>
                </a:lnTo>
                <a:lnTo>
                  <a:pt x="2086" y="458"/>
                </a:lnTo>
                <a:lnTo>
                  <a:pt x="2079" y="460"/>
                </a:lnTo>
                <a:lnTo>
                  <a:pt x="1984" y="460"/>
                </a:lnTo>
                <a:lnTo>
                  <a:pt x="1978" y="458"/>
                </a:lnTo>
                <a:lnTo>
                  <a:pt x="1972" y="457"/>
                </a:lnTo>
                <a:lnTo>
                  <a:pt x="1968" y="454"/>
                </a:lnTo>
                <a:lnTo>
                  <a:pt x="1963" y="451"/>
                </a:lnTo>
                <a:lnTo>
                  <a:pt x="1959" y="447"/>
                </a:lnTo>
                <a:lnTo>
                  <a:pt x="1956" y="441"/>
                </a:lnTo>
                <a:lnTo>
                  <a:pt x="1955" y="435"/>
                </a:lnTo>
                <a:lnTo>
                  <a:pt x="1953" y="429"/>
                </a:lnTo>
                <a:lnTo>
                  <a:pt x="1953" y="0"/>
                </a:lnTo>
                <a:close/>
                <a:moveTo>
                  <a:pt x="871" y="0"/>
                </a:moveTo>
                <a:lnTo>
                  <a:pt x="980" y="0"/>
                </a:lnTo>
                <a:lnTo>
                  <a:pt x="980" y="429"/>
                </a:lnTo>
                <a:lnTo>
                  <a:pt x="979" y="435"/>
                </a:lnTo>
                <a:lnTo>
                  <a:pt x="977" y="441"/>
                </a:lnTo>
                <a:lnTo>
                  <a:pt x="974" y="447"/>
                </a:lnTo>
                <a:lnTo>
                  <a:pt x="971" y="451"/>
                </a:lnTo>
                <a:lnTo>
                  <a:pt x="967" y="454"/>
                </a:lnTo>
                <a:lnTo>
                  <a:pt x="961" y="457"/>
                </a:lnTo>
                <a:lnTo>
                  <a:pt x="955" y="458"/>
                </a:lnTo>
                <a:lnTo>
                  <a:pt x="949" y="460"/>
                </a:lnTo>
                <a:lnTo>
                  <a:pt x="900" y="460"/>
                </a:lnTo>
                <a:lnTo>
                  <a:pt x="895" y="458"/>
                </a:lnTo>
                <a:lnTo>
                  <a:pt x="889" y="457"/>
                </a:lnTo>
                <a:lnTo>
                  <a:pt x="884" y="454"/>
                </a:lnTo>
                <a:lnTo>
                  <a:pt x="880" y="451"/>
                </a:lnTo>
                <a:lnTo>
                  <a:pt x="875" y="447"/>
                </a:lnTo>
                <a:lnTo>
                  <a:pt x="872" y="441"/>
                </a:lnTo>
                <a:lnTo>
                  <a:pt x="871" y="435"/>
                </a:lnTo>
                <a:lnTo>
                  <a:pt x="871" y="429"/>
                </a:lnTo>
                <a:lnTo>
                  <a:pt x="871" y="0"/>
                </a:lnTo>
                <a:close/>
                <a:moveTo>
                  <a:pt x="0" y="0"/>
                </a:moveTo>
                <a:lnTo>
                  <a:pt x="71" y="0"/>
                </a:lnTo>
                <a:lnTo>
                  <a:pt x="71" y="429"/>
                </a:lnTo>
                <a:lnTo>
                  <a:pt x="69" y="435"/>
                </a:lnTo>
                <a:lnTo>
                  <a:pt x="68" y="441"/>
                </a:lnTo>
                <a:lnTo>
                  <a:pt x="65" y="447"/>
                </a:lnTo>
                <a:lnTo>
                  <a:pt x="62" y="451"/>
                </a:lnTo>
                <a:lnTo>
                  <a:pt x="58" y="454"/>
                </a:lnTo>
                <a:lnTo>
                  <a:pt x="52" y="457"/>
                </a:lnTo>
                <a:lnTo>
                  <a:pt x="46" y="458"/>
                </a:lnTo>
                <a:lnTo>
                  <a:pt x="40" y="460"/>
                </a:lnTo>
                <a:lnTo>
                  <a:pt x="31" y="460"/>
                </a:lnTo>
                <a:lnTo>
                  <a:pt x="25" y="458"/>
                </a:lnTo>
                <a:lnTo>
                  <a:pt x="19" y="457"/>
                </a:lnTo>
                <a:lnTo>
                  <a:pt x="13" y="454"/>
                </a:lnTo>
                <a:lnTo>
                  <a:pt x="9" y="451"/>
                </a:lnTo>
                <a:lnTo>
                  <a:pt x="6" y="447"/>
                </a:lnTo>
                <a:lnTo>
                  <a:pt x="3" y="441"/>
                </a:lnTo>
                <a:lnTo>
                  <a:pt x="1" y="435"/>
                </a:lnTo>
                <a:lnTo>
                  <a:pt x="0" y="429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9" name="Freeform 12">
            <a:extLst>
              <a:ext uri="{FF2B5EF4-FFF2-40B4-BE49-F238E27FC236}">
                <a16:creationId xmlns:a16="http://schemas.microsoft.com/office/drawing/2014/main" id="{90E8DE61-5EBF-4120-8570-4B0C114CA35D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07368" y="401447"/>
            <a:ext cx="648000" cy="723297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5747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Whit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9D90A09C-1E91-43DA-8865-6836511414C5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RIA - RKL yrittäjäpäivä 1.11.202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E4F9C910-C7DF-4A1E-B118-79FC2962235C}"/>
              </a:ext>
            </a:extLst>
          </p:cNvPr>
          <p:cNvSpPr>
            <a:spLocks noEditPoints="1"/>
          </p:cNvSpPr>
          <p:nvPr userDrawn="1"/>
        </p:nvSpPr>
        <p:spPr bwMode="auto">
          <a:xfrm flipH="1">
            <a:off x="3739815" y="0"/>
            <a:ext cx="8452185" cy="6858000"/>
          </a:xfrm>
          <a:custGeom>
            <a:avLst/>
            <a:gdLst>
              <a:gd name="T0" fmla="*/ 3840 w 5339"/>
              <a:gd name="T1" fmla="*/ 2225 h 4332"/>
              <a:gd name="T2" fmla="*/ 3809 w 5339"/>
              <a:gd name="T3" fmla="*/ 3825 h 4332"/>
              <a:gd name="T4" fmla="*/ 3729 w 5339"/>
              <a:gd name="T5" fmla="*/ 3009 h 4332"/>
              <a:gd name="T6" fmla="*/ 31 w 5339"/>
              <a:gd name="T7" fmla="*/ 3825 h 4332"/>
              <a:gd name="T8" fmla="*/ 0 w 5339"/>
              <a:gd name="T9" fmla="*/ 2225 h 4332"/>
              <a:gd name="T10" fmla="*/ 46 w 5339"/>
              <a:gd name="T11" fmla="*/ 2196 h 4332"/>
              <a:gd name="T12" fmla="*/ 69 w 5339"/>
              <a:gd name="T13" fmla="*/ 3800 h 4332"/>
              <a:gd name="T14" fmla="*/ 2282 w 5339"/>
              <a:gd name="T15" fmla="*/ 2194 h 4332"/>
              <a:gd name="T16" fmla="*/ 2313 w 5339"/>
              <a:gd name="T17" fmla="*/ 3794 h 4332"/>
              <a:gd name="T18" fmla="*/ 2180 w 5339"/>
              <a:gd name="T19" fmla="*/ 3824 h 4332"/>
              <a:gd name="T20" fmla="*/ 2157 w 5339"/>
              <a:gd name="T21" fmla="*/ 2219 h 4332"/>
              <a:gd name="T22" fmla="*/ 812 w 5339"/>
              <a:gd name="T23" fmla="*/ 2196 h 4332"/>
              <a:gd name="T24" fmla="*/ 836 w 5339"/>
              <a:gd name="T25" fmla="*/ 3800 h 4332"/>
              <a:gd name="T26" fmla="*/ 698 w 5339"/>
              <a:gd name="T27" fmla="*/ 3822 h 4332"/>
              <a:gd name="T28" fmla="*/ 682 w 5339"/>
              <a:gd name="T29" fmla="*/ 2213 h 4332"/>
              <a:gd name="T30" fmla="*/ 1909 w 5339"/>
              <a:gd name="T31" fmla="*/ 2197 h 4332"/>
              <a:gd name="T32" fmla="*/ 1925 w 5339"/>
              <a:gd name="T33" fmla="*/ 3806 h 4332"/>
              <a:gd name="T34" fmla="*/ 1870 w 5339"/>
              <a:gd name="T35" fmla="*/ 3819 h 4332"/>
              <a:gd name="T36" fmla="*/ 1862 w 5339"/>
              <a:gd name="T37" fmla="*/ 2209 h 4332"/>
              <a:gd name="T38" fmla="*/ 3471 w 5339"/>
              <a:gd name="T39" fmla="*/ 516 h 4332"/>
              <a:gd name="T40" fmla="*/ 3479 w 5339"/>
              <a:gd name="T41" fmla="*/ 2128 h 4332"/>
              <a:gd name="T42" fmla="*/ 3338 w 5339"/>
              <a:gd name="T43" fmla="*/ 2132 h 4332"/>
              <a:gd name="T44" fmla="*/ 3338 w 5339"/>
              <a:gd name="T45" fmla="*/ 519 h 4332"/>
              <a:gd name="T46" fmla="*/ 4569 w 5339"/>
              <a:gd name="T47" fmla="*/ 519 h 4332"/>
              <a:gd name="T48" fmla="*/ 4569 w 5339"/>
              <a:gd name="T49" fmla="*/ 2132 h 4332"/>
              <a:gd name="T50" fmla="*/ 4513 w 5339"/>
              <a:gd name="T51" fmla="*/ 2128 h 4332"/>
              <a:gd name="T52" fmla="*/ 4520 w 5339"/>
              <a:gd name="T53" fmla="*/ 516 h 4332"/>
              <a:gd name="T54" fmla="*/ 2803 w 5339"/>
              <a:gd name="T55" fmla="*/ 523 h 4332"/>
              <a:gd name="T56" fmla="*/ 2796 w 5339"/>
              <a:gd name="T57" fmla="*/ 2135 h 4332"/>
              <a:gd name="T58" fmla="*/ 2741 w 5339"/>
              <a:gd name="T59" fmla="*/ 2122 h 4332"/>
              <a:gd name="T60" fmla="*/ 2758 w 5339"/>
              <a:gd name="T61" fmla="*/ 513 h 4332"/>
              <a:gd name="T62" fmla="*/ 400 w 5339"/>
              <a:gd name="T63" fmla="*/ 2122 h 4332"/>
              <a:gd name="T64" fmla="*/ 416 w 5339"/>
              <a:gd name="T65" fmla="*/ 513 h 4332"/>
              <a:gd name="T66" fmla="*/ 554 w 5339"/>
              <a:gd name="T67" fmla="*/ 535 h 4332"/>
              <a:gd name="T68" fmla="*/ 530 w 5339"/>
              <a:gd name="T69" fmla="*/ 2140 h 4332"/>
              <a:gd name="T70" fmla="*/ 1168 w 5339"/>
              <a:gd name="T71" fmla="*/ 2116 h 4332"/>
              <a:gd name="T72" fmla="*/ 1191 w 5339"/>
              <a:gd name="T73" fmla="*/ 511 h 4332"/>
              <a:gd name="T74" fmla="*/ 1237 w 5339"/>
              <a:gd name="T75" fmla="*/ 541 h 4332"/>
              <a:gd name="T76" fmla="*/ 1206 w 5339"/>
              <a:gd name="T77" fmla="*/ 2141 h 4332"/>
              <a:gd name="T78" fmla="*/ 354 w 5339"/>
              <a:gd name="T79" fmla="*/ 3872 h 4332"/>
              <a:gd name="T80" fmla="*/ 440 w 5339"/>
              <a:gd name="T81" fmla="*/ 3902 h 4332"/>
              <a:gd name="T82" fmla="*/ 1569 w 5339"/>
              <a:gd name="T83" fmla="*/ 3881 h 4332"/>
              <a:gd name="T84" fmla="*/ 1707 w 5339"/>
              <a:gd name="T85" fmla="*/ 3903 h 4332"/>
              <a:gd name="T86" fmla="*/ 2735 w 5339"/>
              <a:gd name="T87" fmla="*/ 3884 h 4332"/>
              <a:gd name="T88" fmla="*/ 2802 w 5339"/>
              <a:gd name="T89" fmla="*/ 3894 h 4332"/>
              <a:gd name="T90" fmla="*/ 4253 w 5339"/>
              <a:gd name="T91" fmla="*/ 3897 h 4332"/>
              <a:gd name="T92" fmla="*/ 4308 w 5339"/>
              <a:gd name="T93" fmla="*/ 3884 h 4332"/>
              <a:gd name="T94" fmla="*/ 5183 w 5339"/>
              <a:gd name="T95" fmla="*/ 3903 h 4332"/>
              <a:gd name="T96" fmla="*/ 5320 w 5339"/>
              <a:gd name="T97" fmla="*/ 3883 h 4332"/>
              <a:gd name="T98" fmla="*/ 4113 w 5339"/>
              <a:gd name="T99" fmla="*/ 423 h 4332"/>
              <a:gd name="T100" fmla="*/ 3981 w 5339"/>
              <a:gd name="T101" fmla="*/ 452 h 4332"/>
              <a:gd name="T102" fmla="*/ 2315 w 5339"/>
              <a:gd name="T103" fmla="*/ 0 h 4332"/>
              <a:gd name="T104" fmla="*/ 2275 w 5339"/>
              <a:gd name="T105" fmla="*/ 460 h 4332"/>
              <a:gd name="T106" fmla="*/ 1953 w 5339"/>
              <a:gd name="T107" fmla="*/ 0 h 4332"/>
              <a:gd name="T108" fmla="*/ 2079 w 5339"/>
              <a:gd name="T109" fmla="*/ 460 h 4332"/>
              <a:gd name="T110" fmla="*/ 1953 w 5339"/>
              <a:gd name="T111" fmla="*/ 0 h 4332"/>
              <a:gd name="T112" fmla="*/ 955 w 5339"/>
              <a:gd name="T113" fmla="*/ 458 h 4332"/>
              <a:gd name="T114" fmla="*/ 871 w 5339"/>
              <a:gd name="T115" fmla="*/ 429 h 4332"/>
              <a:gd name="T116" fmla="*/ 52 w 5339"/>
              <a:gd name="T117" fmla="*/ 457 h 4332"/>
              <a:gd name="T118" fmla="*/ 1 w 5339"/>
              <a:gd name="T119" fmla="*/ 435 h 43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339" h="4332">
                <a:moveTo>
                  <a:pt x="3760" y="2194"/>
                </a:moveTo>
                <a:lnTo>
                  <a:pt x="3809" y="2194"/>
                </a:lnTo>
                <a:lnTo>
                  <a:pt x="3815" y="2196"/>
                </a:lnTo>
                <a:lnTo>
                  <a:pt x="3820" y="2197"/>
                </a:lnTo>
                <a:lnTo>
                  <a:pt x="3825" y="2200"/>
                </a:lnTo>
                <a:lnTo>
                  <a:pt x="3831" y="2203"/>
                </a:lnTo>
                <a:lnTo>
                  <a:pt x="3834" y="2209"/>
                </a:lnTo>
                <a:lnTo>
                  <a:pt x="3837" y="2213"/>
                </a:lnTo>
                <a:lnTo>
                  <a:pt x="3838" y="2219"/>
                </a:lnTo>
                <a:lnTo>
                  <a:pt x="3840" y="2225"/>
                </a:lnTo>
                <a:lnTo>
                  <a:pt x="3840" y="3009"/>
                </a:lnTo>
                <a:lnTo>
                  <a:pt x="3840" y="3794"/>
                </a:lnTo>
                <a:lnTo>
                  <a:pt x="3838" y="3800"/>
                </a:lnTo>
                <a:lnTo>
                  <a:pt x="3837" y="3806"/>
                </a:lnTo>
                <a:lnTo>
                  <a:pt x="3834" y="3812"/>
                </a:lnTo>
                <a:lnTo>
                  <a:pt x="3831" y="3816"/>
                </a:lnTo>
                <a:lnTo>
                  <a:pt x="3825" y="3819"/>
                </a:lnTo>
                <a:lnTo>
                  <a:pt x="3820" y="3822"/>
                </a:lnTo>
                <a:lnTo>
                  <a:pt x="3815" y="3824"/>
                </a:lnTo>
                <a:lnTo>
                  <a:pt x="3809" y="3825"/>
                </a:lnTo>
                <a:lnTo>
                  <a:pt x="3760" y="3825"/>
                </a:lnTo>
                <a:lnTo>
                  <a:pt x="3754" y="3824"/>
                </a:lnTo>
                <a:lnTo>
                  <a:pt x="3748" y="3822"/>
                </a:lnTo>
                <a:lnTo>
                  <a:pt x="3742" y="3819"/>
                </a:lnTo>
                <a:lnTo>
                  <a:pt x="3738" y="3816"/>
                </a:lnTo>
                <a:lnTo>
                  <a:pt x="3735" y="3812"/>
                </a:lnTo>
                <a:lnTo>
                  <a:pt x="3732" y="3806"/>
                </a:lnTo>
                <a:lnTo>
                  <a:pt x="3730" y="3800"/>
                </a:lnTo>
                <a:lnTo>
                  <a:pt x="3729" y="3794"/>
                </a:lnTo>
                <a:lnTo>
                  <a:pt x="3729" y="3009"/>
                </a:lnTo>
                <a:lnTo>
                  <a:pt x="3729" y="2225"/>
                </a:lnTo>
                <a:lnTo>
                  <a:pt x="3730" y="2219"/>
                </a:lnTo>
                <a:lnTo>
                  <a:pt x="3732" y="2213"/>
                </a:lnTo>
                <a:lnTo>
                  <a:pt x="3735" y="2209"/>
                </a:lnTo>
                <a:lnTo>
                  <a:pt x="3738" y="2203"/>
                </a:lnTo>
                <a:lnTo>
                  <a:pt x="3742" y="2200"/>
                </a:lnTo>
                <a:lnTo>
                  <a:pt x="3748" y="2197"/>
                </a:lnTo>
                <a:lnTo>
                  <a:pt x="3754" y="2196"/>
                </a:lnTo>
                <a:lnTo>
                  <a:pt x="3760" y="2194"/>
                </a:lnTo>
                <a:close/>
                <a:moveTo>
                  <a:pt x="31" y="3825"/>
                </a:moveTo>
                <a:lnTo>
                  <a:pt x="25" y="3824"/>
                </a:lnTo>
                <a:lnTo>
                  <a:pt x="19" y="3822"/>
                </a:lnTo>
                <a:lnTo>
                  <a:pt x="13" y="3819"/>
                </a:lnTo>
                <a:lnTo>
                  <a:pt x="9" y="3816"/>
                </a:lnTo>
                <a:lnTo>
                  <a:pt x="6" y="3812"/>
                </a:lnTo>
                <a:lnTo>
                  <a:pt x="3" y="3806"/>
                </a:lnTo>
                <a:lnTo>
                  <a:pt x="1" y="3800"/>
                </a:lnTo>
                <a:lnTo>
                  <a:pt x="0" y="3794"/>
                </a:lnTo>
                <a:lnTo>
                  <a:pt x="0" y="3009"/>
                </a:lnTo>
                <a:lnTo>
                  <a:pt x="0" y="2225"/>
                </a:lnTo>
                <a:lnTo>
                  <a:pt x="1" y="2219"/>
                </a:lnTo>
                <a:lnTo>
                  <a:pt x="3" y="2213"/>
                </a:lnTo>
                <a:lnTo>
                  <a:pt x="6" y="2209"/>
                </a:lnTo>
                <a:lnTo>
                  <a:pt x="9" y="2203"/>
                </a:lnTo>
                <a:lnTo>
                  <a:pt x="13" y="2200"/>
                </a:lnTo>
                <a:lnTo>
                  <a:pt x="19" y="2197"/>
                </a:lnTo>
                <a:lnTo>
                  <a:pt x="25" y="2196"/>
                </a:lnTo>
                <a:lnTo>
                  <a:pt x="31" y="2194"/>
                </a:lnTo>
                <a:lnTo>
                  <a:pt x="40" y="2194"/>
                </a:lnTo>
                <a:lnTo>
                  <a:pt x="46" y="2196"/>
                </a:lnTo>
                <a:lnTo>
                  <a:pt x="52" y="2197"/>
                </a:lnTo>
                <a:lnTo>
                  <a:pt x="58" y="2200"/>
                </a:lnTo>
                <a:lnTo>
                  <a:pt x="62" y="2203"/>
                </a:lnTo>
                <a:lnTo>
                  <a:pt x="65" y="2209"/>
                </a:lnTo>
                <a:lnTo>
                  <a:pt x="68" y="2213"/>
                </a:lnTo>
                <a:lnTo>
                  <a:pt x="69" y="2219"/>
                </a:lnTo>
                <a:lnTo>
                  <a:pt x="71" y="2225"/>
                </a:lnTo>
                <a:lnTo>
                  <a:pt x="71" y="3009"/>
                </a:lnTo>
                <a:lnTo>
                  <a:pt x="71" y="3794"/>
                </a:lnTo>
                <a:lnTo>
                  <a:pt x="69" y="3800"/>
                </a:lnTo>
                <a:lnTo>
                  <a:pt x="68" y="3806"/>
                </a:lnTo>
                <a:lnTo>
                  <a:pt x="65" y="3812"/>
                </a:lnTo>
                <a:lnTo>
                  <a:pt x="62" y="3816"/>
                </a:lnTo>
                <a:lnTo>
                  <a:pt x="58" y="3819"/>
                </a:lnTo>
                <a:lnTo>
                  <a:pt x="52" y="3822"/>
                </a:lnTo>
                <a:lnTo>
                  <a:pt x="46" y="3824"/>
                </a:lnTo>
                <a:lnTo>
                  <a:pt x="40" y="3825"/>
                </a:lnTo>
                <a:lnTo>
                  <a:pt x="31" y="3825"/>
                </a:lnTo>
                <a:close/>
                <a:moveTo>
                  <a:pt x="2188" y="2194"/>
                </a:moveTo>
                <a:lnTo>
                  <a:pt x="2282" y="2194"/>
                </a:lnTo>
                <a:lnTo>
                  <a:pt x="2288" y="2196"/>
                </a:lnTo>
                <a:lnTo>
                  <a:pt x="2294" y="2197"/>
                </a:lnTo>
                <a:lnTo>
                  <a:pt x="2298" y="2200"/>
                </a:lnTo>
                <a:lnTo>
                  <a:pt x="2304" y="2203"/>
                </a:lnTo>
                <a:lnTo>
                  <a:pt x="2307" y="2209"/>
                </a:lnTo>
                <a:lnTo>
                  <a:pt x="2310" y="2213"/>
                </a:lnTo>
                <a:lnTo>
                  <a:pt x="2312" y="2219"/>
                </a:lnTo>
                <a:lnTo>
                  <a:pt x="2313" y="2225"/>
                </a:lnTo>
                <a:lnTo>
                  <a:pt x="2313" y="3009"/>
                </a:lnTo>
                <a:lnTo>
                  <a:pt x="2313" y="3794"/>
                </a:lnTo>
                <a:lnTo>
                  <a:pt x="2312" y="3800"/>
                </a:lnTo>
                <a:lnTo>
                  <a:pt x="2310" y="3806"/>
                </a:lnTo>
                <a:lnTo>
                  <a:pt x="2307" y="3812"/>
                </a:lnTo>
                <a:lnTo>
                  <a:pt x="2304" y="3816"/>
                </a:lnTo>
                <a:lnTo>
                  <a:pt x="2298" y="3819"/>
                </a:lnTo>
                <a:lnTo>
                  <a:pt x="2294" y="3822"/>
                </a:lnTo>
                <a:lnTo>
                  <a:pt x="2288" y="3824"/>
                </a:lnTo>
                <a:lnTo>
                  <a:pt x="2282" y="3825"/>
                </a:lnTo>
                <a:lnTo>
                  <a:pt x="2188" y="3825"/>
                </a:lnTo>
                <a:lnTo>
                  <a:pt x="2180" y="3824"/>
                </a:lnTo>
                <a:lnTo>
                  <a:pt x="2176" y="3822"/>
                </a:lnTo>
                <a:lnTo>
                  <a:pt x="2170" y="3819"/>
                </a:lnTo>
                <a:lnTo>
                  <a:pt x="2166" y="3816"/>
                </a:lnTo>
                <a:lnTo>
                  <a:pt x="2163" y="3812"/>
                </a:lnTo>
                <a:lnTo>
                  <a:pt x="2160" y="3806"/>
                </a:lnTo>
                <a:lnTo>
                  <a:pt x="2157" y="3800"/>
                </a:lnTo>
                <a:lnTo>
                  <a:pt x="2157" y="3794"/>
                </a:lnTo>
                <a:lnTo>
                  <a:pt x="2157" y="3009"/>
                </a:lnTo>
                <a:lnTo>
                  <a:pt x="2157" y="2225"/>
                </a:lnTo>
                <a:lnTo>
                  <a:pt x="2157" y="2219"/>
                </a:lnTo>
                <a:lnTo>
                  <a:pt x="2160" y="2213"/>
                </a:lnTo>
                <a:lnTo>
                  <a:pt x="2163" y="2209"/>
                </a:lnTo>
                <a:lnTo>
                  <a:pt x="2166" y="2203"/>
                </a:lnTo>
                <a:lnTo>
                  <a:pt x="2170" y="2200"/>
                </a:lnTo>
                <a:lnTo>
                  <a:pt x="2176" y="2197"/>
                </a:lnTo>
                <a:lnTo>
                  <a:pt x="2180" y="2196"/>
                </a:lnTo>
                <a:lnTo>
                  <a:pt x="2188" y="2194"/>
                </a:lnTo>
                <a:close/>
                <a:moveTo>
                  <a:pt x="710" y="2194"/>
                </a:moveTo>
                <a:lnTo>
                  <a:pt x="805" y="2194"/>
                </a:lnTo>
                <a:lnTo>
                  <a:pt x="812" y="2196"/>
                </a:lnTo>
                <a:lnTo>
                  <a:pt x="816" y="2197"/>
                </a:lnTo>
                <a:lnTo>
                  <a:pt x="822" y="2200"/>
                </a:lnTo>
                <a:lnTo>
                  <a:pt x="827" y="2203"/>
                </a:lnTo>
                <a:lnTo>
                  <a:pt x="830" y="2209"/>
                </a:lnTo>
                <a:lnTo>
                  <a:pt x="833" y="2213"/>
                </a:lnTo>
                <a:lnTo>
                  <a:pt x="836" y="2219"/>
                </a:lnTo>
                <a:lnTo>
                  <a:pt x="836" y="2225"/>
                </a:lnTo>
                <a:lnTo>
                  <a:pt x="836" y="3009"/>
                </a:lnTo>
                <a:lnTo>
                  <a:pt x="836" y="3794"/>
                </a:lnTo>
                <a:lnTo>
                  <a:pt x="836" y="3800"/>
                </a:lnTo>
                <a:lnTo>
                  <a:pt x="833" y="3806"/>
                </a:lnTo>
                <a:lnTo>
                  <a:pt x="830" y="3812"/>
                </a:lnTo>
                <a:lnTo>
                  <a:pt x="827" y="3816"/>
                </a:lnTo>
                <a:lnTo>
                  <a:pt x="822" y="3819"/>
                </a:lnTo>
                <a:lnTo>
                  <a:pt x="816" y="3822"/>
                </a:lnTo>
                <a:lnTo>
                  <a:pt x="812" y="3824"/>
                </a:lnTo>
                <a:lnTo>
                  <a:pt x="805" y="3825"/>
                </a:lnTo>
                <a:lnTo>
                  <a:pt x="710" y="3825"/>
                </a:lnTo>
                <a:lnTo>
                  <a:pt x="704" y="3824"/>
                </a:lnTo>
                <a:lnTo>
                  <a:pt x="698" y="3822"/>
                </a:lnTo>
                <a:lnTo>
                  <a:pt x="694" y="3819"/>
                </a:lnTo>
                <a:lnTo>
                  <a:pt x="688" y="3816"/>
                </a:lnTo>
                <a:lnTo>
                  <a:pt x="685" y="3812"/>
                </a:lnTo>
                <a:lnTo>
                  <a:pt x="682" y="3806"/>
                </a:lnTo>
                <a:lnTo>
                  <a:pt x="681" y="3800"/>
                </a:lnTo>
                <a:lnTo>
                  <a:pt x="679" y="3794"/>
                </a:lnTo>
                <a:lnTo>
                  <a:pt x="679" y="3009"/>
                </a:lnTo>
                <a:lnTo>
                  <a:pt x="679" y="2225"/>
                </a:lnTo>
                <a:lnTo>
                  <a:pt x="681" y="2219"/>
                </a:lnTo>
                <a:lnTo>
                  <a:pt x="682" y="2213"/>
                </a:lnTo>
                <a:lnTo>
                  <a:pt x="685" y="2209"/>
                </a:lnTo>
                <a:lnTo>
                  <a:pt x="688" y="2203"/>
                </a:lnTo>
                <a:lnTo>
                  <a:pt x="694" y="2200"/>
                </a:lnTo>
                <a:lnTo>
                  <a:pt x="698" y="2197"/>
                </a:lnTo>
                <a:lnTo>
                  <a:pt x="704" y="2196"/>
                </a:lnTo>
                <a:lnTo>
                  <a:pt x="710" y="2194"/>
                </a:lnTo>
                <a:close/>
                <a:moveTo>
                  <a:pt x="1887" y="2194"/>
                </a:moveTo>
                <a:lnTo>
                  <a:pt x="1897" y="2194"/>
                </a:lnTo>
                <a:lnTo>
                  <a:pt x="1903" y="2196"/>
                </a:lnTo>
                <a:lnTo>
                  <a:pt x="1909" y="2197"/>
                </a:lnTo>
                <a:lnTo>
                  <a:pt x="1913" y="2200"/>
                </a:lnTo>
                <a:lnTo>
                  <a:pt x="1918" y="2203"/>
                </a:lnTo>
                <a:lnTo>
                  <a:pt x="1922" y="2209"/>
                </a:lnTo>
                <a:lnTo>
                  <a:pt x="1925" y="2213"/>
                </a:lnTo>
                <a:lnTo>
                  <a:pt x="1926" y="2219"/>
                </a:lnTo>
                <a:lnTo>
                  <a:pt x="1926" y="2225"/>
                </a:lnTo>
                <a:lnTo>
                  <a:pt x="1926" y="3009"/>
                </a:lnTo>
                <a:lnTo>
                  <a:pt x="1926" y="3794"/>
                </a:lnTo>
                <a:lnTo>
                  <a:pt x="1926" y="3800"/>
                </a:lnTo>
                <a:lnTo>
                  <a:pt x="1925" y="3806"/>
                </a:lnTo>
                <a:lnTo>
                  <a:pt x="1922" y="3812"/>
                </a:lnTo>
                <a:lnTo>
                  <a:pt x="1918" y="3816"/>
                </a:lnTo>
                <a:lnTo>
                  <a:pt x="1913" y="3819"/>
                </a:lnTo>
                <a:lnTo>
                  <a:pt x="1909" y="3822"/>
                </a:lnTo>
                <a:lnTo>
                  <a:pt x="1903" y="3824"/>
                </a:lnTo>
                <a:lnTo>
                  <a:pt x="1897" y="3825"/>
                </a:lnTo>
                <a:lnTo>
                  <a:pt x="1887" y="3825"/>
                </a:lnTo>
                <a:lnTo>
                  <a:pt x="1881" y="3824"/>
                </a:lnTo>
                <a:lnTo>
                  <a:pt x="1875" y="3822"/>
                </a:lnTo>
                <a:lnTo>
                  <a:pt x="1870" y="3819"/>
                </a:lnTo>
                <a:lnTo>
                  <a:pt x="1866" y="3816"/>
                </a:lnTo>
                <a:lnTo>
                  <a:pt x="1862" y="3812"/>
                </a:lnTo>
                <a:lnTo>
                  <a:pt x="1860" y="3806"/>
                </a:lnTo>
                <a:lnTo>
                  <a:pt x="1857" y="3800"/>
                </a:lnTo>
                <a:lnTo>
                  <a:pt x="1857" y="3794"/>
                </a:lnTo>
                <a:lnTo>
                  <a:pt x="1857" y="3009"/>
                </a:lnTo>
                <a:lnTo>
                  <a:pt x="1857" y="2225"/>
                </a:lnTo>
                <a:lnTo>
                  <a:pt x="1857" y="2219"/>
                </a:lnTo>
                <a:lnTo>
                  <a:pt x="1860" y="2213"/>
                </a:lnTo>
                <a:lnTo>
                  <a:pt x="1862" y="2209"/>
                </a:lnTo>
                <a:lnTo>
                  <a:pt x="1866" y="2203"/>
                </a:lnTo>
                <a:lnTo>
                  <a:pt x="1870" y="2200"/>
                </a:lnTo>
                <a:lnTo>
                  <a:pt x="1875" y="2197"/>
                </a:lnTo>
                <a:lnTo>
                  <a:pt x="1881" y="2196"/>
                </a:lnTo>
                <a:lnTo>
                  <a:pt x="1887" y="2194"/>
                </a:lnTo>
                <a:close/>
                <a:moveTo>
                  <a:pt x="3358" y="510"/>
                </a:moveTo>
                <a:lnTo>
                  <a:pt x="3453" y="510"/>
                </a:lnTo>
                <a:lnTo>
                  <a:pt x="3460" y="511"/>
                </a:lnTo>
                <a:lnTo>
                  <a:pt x="3466" y="513"/>
                </a:lnTo>
                <a:lnTo>
                  <a:pt x="3471" y="516"/>
                </a:lnTo>
                <a:lnTo>
                  <a:pt x="3475" y="519"/>
                </a:lnTo>
                <a:lnTo>
                  <a:pt x="3479" y="523"/>
                </a:lnTo>
                <a:lnTo>
                  <a:pt x="3481" y="529"/>
                </a:lnTo>
                <a:lnTo>
                  <a:pt x="3484" y="535"/>
                </a:lnTo>
                <a:lnTo>
                  <a:pt x="3484" y="541"/>
                </a:lnTo>
                <a:lnTo>
                  <a:pt x="3484" y="1325"/>
                </a:lnTo>
                <a:lnTo>
                  <a:pt x="3484" y="2110"/>
                </a:lnTo>
                <a:lnTo>
                  <a:pt x="3484" y="2116"/>
                </a:lnTo>
                <a:lnTo>
                  <a:pt x="3481" y="2122"/>
                </a:lnTo>
                <a:lnTo>
                  <a:pt x="3479" y="2128"/>
                </a:lnTo>
                <a:lnTo>
                  <a:pt x="3475" y="2132"/>
                </a:lnTo>
                <a:lnTo>
                  <a:pt x="3471" y="2135"/>
                </a:lnTo>
                <a:lnTo>
                  <a:pt x="3466" y="2138"/>
                </a:lnTo>
                <a:lnTo>
                  <a:pt x="3460" y="2140"/>
                </a:lnTo>
                <a:lnTo>
                  <a:pt x="3453" y="2141"/>
                </a:lnTo>
                <a:lnTo>
                  <a:pt x="3358" y="2141"/>
                </a:lnTo>
                <a:lnTo>
                  <a:pt x="3352" y="2140"/>
                </a:lnTo>
                <a:lnTo>
                  <a:pt x="3347" y="2138"/>
                </a:lnTo>
                <a:lnTo>
                  <a:pt x="3342" y="2135"/>
                </a:lnTo>
                <a:lnTo>
                  <a:pt x="3338" y="2132"/>
                </a:lnTo>
                <a:lnTo>
                  <a:pt x="3333" y="2128"/>
                </a:lnTo>
                <a:lnTo>
                  <a:pt x="3330" y="2122"/>
                </a:lnTo>
                <a:lnTo>
                  <a:pt x="3329" y="2116"/>
                </a:lnTo>
                <a:lnTo>
                  <a:pt x="3329" y="2110"/>
                </a:lnTo>
                <a:lnTo>
                  <a:pt x="3329" y="1325"/>
                </a:lnTo>
                <a:lnTo>
                  <a:pt x="3329" y="541"/>
                </a:lnTo>
                <a:lnTo>
                  <a:pt x="3329" y="535"/>
                </a:lnTo>
                <a:lnTo>
                  <a:pt x="3330" y="529"/>
                </a:lnTo>
                <a:lnTo>
                  <a:pt x="3333" y="523"/>
                </a:lnTo>
                <a:lnTo>
                  <a:pt x="3338" y="519"/>
                </a:lnTo>
                <a:lnTo>
                  <a:pt x="3342" y="516"/>
                </a:lnTo>
                <a:lnTo>
                  <a:pt x="3347" y="513"/>
                </a:lnTo>
                <a:lnTo>
                  <a:pt x="3352" y="511"/>
                </a:lnTo>
                <a:lnTo>
                  <a:pt x="3358" y="510"/>
                </a:lnTo>
                <a:close/>
                <a:moveTo>
                  <a:pt x="4538" y="510"/>
                </a:moveTo>
                <a:lnTo>
                  <a:pt x="4547" y="510"/>
                </a:lnTo>
                <a:lnTo>
                  <a:pt x="4553" y="511"/>
                </a:lnTo>
                <a:lnTo>
                  <a:pt x="4559" y="513"/>
                </a:lnTo>
                <a:lnTo>
                  <a:pt x="4564" y="516"/>
                </a:lnTo>
                <a:lnTo>
                  <a:pt x="4569" y="519"/>
                </a:lnTo>
                <a:lnTo>
                  <a:pt x="4572" y="523"/>
                </a:lnTo>
                <a:lnTo>
                  <a:pt x="4575" y="529"/>
                </a:lnTo>
                <a:lnTo>
                  <a:pt x="4576" y="535"/>
                </a:lnTo>
                <a:lnTo>
                  <a:pt x="4578" y="541"/>
                </a:lnTo>
                <a:lnTo>
                  <a:pt x="4578" y="1325"/>
                </a:lnTo>
                <a:lnTo>
                  <a:pt x="4578" y="2110"/>
                </a:lnTo>
                <a:lnTo>
                  <a:pt x="4576" y="2116"/>
                </a:lnTo>
                <a:lnTo>
                  <a:pt x="4575" y="2122"/>
                </a:lnTo>
                <a:lnTo>
                  <a:pt x="4572" y="2128"/>
                </a:lnTo>
                <a:lnTo>
                  <a:pt x="4569" y="2132"/>
                </a:lnTo>
                <a:lnTo>
                  <a:pt x="4564" y="2135"/>
                </a:lnTo>
                <a:lnTo>
                  <a:pt x="4559" y="2138"/>
                </a:lnTo>
                <a:lnTo>
                  <a:pt x="4553" y="2140"/>
                </a:lnTo>
                <a:lnTo>
                  <a:pt x="4547" y="2141"/>
                </a:lnTo>
                <a:lnTo>
                  <a:pt x="4538" y="2141"/>
                </a:lnTo>
                <a:lnTo>
                  <a:pt x="4532" y="2140"/>
                </a:lnTo>
                <a:lnTo>
                  <a:pt x="4526" y="2138"/>
                </a:lnTo>
                <a:lnTo>
                  <a:pt x="4520" y="2135"/>
                </a:lnTo>
                <a:lnTo>
                  <a:pt x="4516" y="2132"/>
                </a:lnTo>
                <a:lnTo>
                  <a:pt x="4513" y="2128"/>
                </a:lnTo>
                <a:lnTo>
                  <a:pt x="4510" y="2122"/>
                </a:lnTo>
                <a:lnTo>
                  <a:pt x="4508" y="2116"/>
                </a:lnTo>
                <a:lnTo>
                  <a:pt x="4507" y="2110"/>
                </a:lnTo>
                <a:lnTo>
                  <a:pt x="4507" y="1325"/>
                </a:lnTo>
                <a:lnTo>
                  <a:pt x="4507" y="541"/>
                </a:lnTo>
                <a:lnTo>
                  <a:pt x="4508" y="535"/>
                </a:lnTo>
                <a:lnTo>
                  <a:pt x="4510" y="529"/>
                </a:lnTo>
                <a:lnTo>
                  <a:pt x="4513" y="523"/>
                </a:lnTo>
                <a:lnTo>
                  <a:pt x="4516" y="519"/>
                </a:lnTo>
                <a:lnTo>
                  <a:pt x="4520" y="516"/>
                </a:lnTo>
                <a:lnTo>
                  <a:pt x="4526" y="513"/>
                </a:lnTo>
                <a:lnTo>
                  <a:pt x="4532" y="511"/>
                </a:lnTo>
                <a:lnTo>
                  <a:pt x="4538" y="510"/>
                </a:lnTo>
                <a:close/>
                <a:moveTo>
                  <a:pt x="2769" y="510"/>
                </a:moveTo>
                <a:lnTo>
                  <a:pt x="2778" y="510"/>
                </a:lnTo>
                <a:lnTo>
                  <a:pt x="2784" y="511"/>
                </a:lnTo>
                <a:lnTo>
                  <a:pt x="2790" y="513"/>
                </a:lnTo>
                <a:lnTo>
                  <a:pt x="2796" y="516"/>
                </a:lnTo>
                <a:lnTo>
                  <a:pt x="2800" y="519"/>
                </a:lnTo>
                <a:lnTo>
                  <a:pt x="2803" y="523"/>
                </a:lnTo>
                <a:lnTo>
                  <a:pt x="2806" y="529"/>
                </a:lnTo>
                <a:lnTo>
                  <a:pt x="2808" y="535"/>
                </a:lnTo>
                <a:lnTo>
                  <a:pt x="2809" y="541"/>
                </a:lnTo>
                <a:lnTo>
                  <a:pt x="2809" y="1325"/>
                </a:lnTo>
                <a:lnTo>
                  <a:pt x="2809" y="2110"/>
                </a:lnTo>
                <a:lnTo>
                  <a:pt x="2808" y="2116"/>
                </a:lnTo>
                <a:lnTo>
                  <a:pt x="2806" y="2122"/>
                </a:lnTo>
                <a:lnTo>
                  <a:pt x="2803" y="2128"/>
                </a:lnTo>
                <a:lnTo>
                  <a:pt x="2800" y="2132"/>
                </a:lnTo>
                <a:lnTo>
                  <a:pt x="2796" y="2135"/>
                </a:lnTo>
                <a:lnTo>
                  <a:pt x="2790" y="2138"/>
                </a:lnTo>
                <a:lnTo>
                  <a:pt x="2784" y="2140"/>
                </a:lnTo>
                <a:lnTo>
                  <a:pt x="2778" y="2141"/>
                </a:lnTo>
                <a:lnTo>
                  <a:pt x="2769" y="2141"/>
                </a:lnTo>
                <a:lnTo>
                  <a:pt x="2763" y="2140"/>
                </a:lnTo>
                <a:lnTo>
                  <a:pt x="2758" y="2138"/>
                </a:lnTo>
                <a:lnTo>
                  <a:pt x="2752" y="2135"/>
                </a:lnTo>
                <a:lnTo>
                  <a:pt x="2747" y="2132"/>
                </a:lnTo>
                <a:lnTo>
                  <a:pt x="2744" y="2128"/>
                </a:lnTo>
                <a:lnTo>
                  <a:pt x="2741" y="2122"/>
                </a:lnTo>
                <a:lnTo>
                  <a:pt x="2740" y="2116"/>
                </a:lnTo>
                <a:lnTo>
                  <a:pt x="2738" y="2110"/>
                </a:lnTo>
                <a:lnTo>
                  <a:pt x="2738" y="1325"/>
                </a:lnTo>
                <a:lnTo>
                  <a:pt x="2738" y="541"/>
                </a:lnTo>
                <a:lnTo>
                  <a:pt x="2740" y="535"/>
                </a:lnTo>
                <a:lnTo>
                  <a:pt x="2741" y="529"/>
                </a:lnTo>
                <a:lnTo>
                  <a:pt x="2744" y="523"/>
                </a:lnTo>
                <a:lnTo>
                  <a:pt x="2747" y="519"/>
                </a:lnTo>
                <a:lnTo>
                  <a:pt x="2752" y="516"/>
                </a:lnTo>
                <a:lnTo>
                  <a:pt x="2758" y="513"/>
                </a:lnTo>
                <a:lnTo>
                  <a:pt x="2763" y="511"/>
                </a:lnTo>
                <a:lnTo>
                  <a:pt x="2769" y="510"/>
                </a:lnTo>
                <a:close/>
                <a:moveTo>
                  <a:pt x="523" y="2141"/>
                </a:moveTo>
                <a:lnTo>
                  <a:pt x="428" y="2141"/>
                </a:lnTo>
                <a:lnTo>
                  <a:pt x="422" y="2140"/>
                </a:lnTo>
                <a:lnTo>
                  <a:pt x="416" y="2138"/>
                </a:lnTo>
                <a:lnTo>
                  <a:pt x="412" y="2135"/>
                </a:lnTo>
                <a:lnTo>
                  <a:pt x="407" y="2132"/>
                </a:lnTo>
                <a:lnTo>
                  <a:pt x="403" y="2128"/>
                </a:lnTo>
                <a:lnTo>
                  <a:pt x="400" y="2122"/>
                </a:lnTo>
                <a:lnTo>
                  <a:pt x="399" y="2116"/>
                </a:lnTo>
                <a:lnTo>
                  <a:pt x="399" y="2110"/>
                </a:lnTo>
                <a:lnTo>
                  <a:pt x="399" y="1325"/>
                </a:lnTo>
                <a:lnTo>
                  <a:pt x="399" y="541"/>
                </a:lnTo>
                <a:lnTo>
                  <a:pt x="399" y="535"/>
                </a:lnTo>
                <a:lnTo>
                  <a:pt x="400" y="529"/>
                </a:lnTo>
                <a:lnTo>
                  <a:pt x="403" y="523"/>
                </a:lnTo>
                <a:lnTo>
                  <a:pt x="407" y="519"/>
                </a:lnTo>
                <a:lnTo>
                  <a:pt x="412" y="516"/>
                </a:lnTo>
                <a:lnTo>
                  <a:pt x="416" y="513"/>
                </a:lnTo>
                <a:lnTo>
                  <a:pt x="422" y="511"/>
                </a:lnTo>
                <a:lnTo>
                  <a:pt x="428" y="510"/>
                </a:lnTo>
                <a:lnTo>
                  <a:pt x="523" y="510"/>
                </a:lnTo>
                <a:lnTo>
                  <a:pt x="530" y="511"/>
                </a:lnTo>
                <a:lnTo>
                  <a:pt x="534" y="513"/>
                </a:lnTo>
                <a:lnTo>
                  <a:pt x="540" y="516"/>
                </a:lnTo>
                <a:lnTo>
                  <a:pt x="545" y="519"/>
                </a:lnTo>
                <a:lnTo>
                  <a:pt x="549" y="523"/>
                </a:lnTo>
                <a:lnTo>
                  <a:pt x="551" y="529"/>
                </a:lnTo>
                <a:lnTo>
                  <a:pt x="554" y="535"/>
                </a:lnTo>
                <a:lnTo>
                  <a:pt x="554" y="541"/>
                </a:lnTo>
                <a:lnTo>
                  <a:pt x="554" y="1325"/>
                </a:lnTo>
                <a:lnTo>
                  <a:pt x="554" y="2110"/>
                </a:lnTo>
                <a:lnTo>
                  <a:pt x="554" y="2116"/>
                </a:lnTo>
                <a:lnTo>
                  <a:pt x="551" y="2122"/>
                </a:lnTo>
                <a:lnTo>
                  <a:pt x="549" y="2128"/>
                </a:lnTo>
                <a:lnTo>
                  <a:pt x="545" y="2132"/>
                </a:lnTo>
                <a:lnTo>
                  <a:pt x="540" y="2135"/>
                </a:lnTo>
                <a:lnTo>
                  <a:pt x="534" y="2138"/>
                </a:lnTo>
                <a:lnTo>
                  <a:pt x="530" y="2140"/>
                </a:lnTo>
                <a:lnTo>
                  <a:pt x="523" y="2141"/>
                </a:lnTo>
                <a:close/>
                <a:moveTo>
                  <a:pt x="1206" y="2141"/>
                </a:moveTo>
                <a:lnTo>
                  <a:pt x="1197" y="2141"/>
                </a:lnTo>
                <a:lnTo>
                  <a:pt x="1191" y="2140"/>
                </a:lnTo>
                <a:lnTo>
                  <a:pt x="1185" y="2138"/>
                </a:lnTo>
                <a:lnTo>
                  <a:pt x="1179" y="2135"/>
                </a:lnTo>
                <a:lnTo>
                  <a:pt x="1175" y="2132"/>
                </a:lnTo>
                <a:lnTo>
                  <a:pt x="1172" y="2128"/>
                </a:lnTo>
                <a:lnTo>
                  <a:pt x="1169" y="2122"/>
                </a:lnTo>
                <a:lnTo>
                  <a:pt x="1168" y="2116"/>
                </a:lnTo>
                <a:lnTo>
                  <a:pt x="1166" y="2110"/>
                </a:lnTo>
                <a:lnTo>
                  <a:pt x="1166" y="1325"/>
                </a:lnTo>
                <a:lnTo>
                  <a:pt x="1166" y="541"/>
                </a:lnTo>
                <a:lnTo>
                  <a:pt x="1168" y="535"/>
                </a:lnTo>
                <a:lnTo>
                  <a:pt x="1169" y="529"/>
                </a:lnTo>
                <a:lnTo>
                  <a:pt x="1172" y="523"/>
                </a:lnTo>
                <a:lnTo>
                  <a:pt x="1175" y="519"/>
                </a:lnTo>
                <a:lnTo>
                  <a:pt x="1179" y="516"/>
                </a:lnTo>
                <a:lnTo>
                  <a:pt x="1185" y="513"/>
                </a:lnTo>
                <a:lnTo>
                  <a:pt x="1191" y="511"/>
                </a:lnTo>
                <a:lnTo>
                  <a:pt x="1197" y="510"/>
                </a:lnTo>
                <a:lnTo>
                  <a:pt x="1206" y="510"/>
                </a:lnTo>
                <a:lnTo>
                  <a:pt x="1212" y="511"/>
                </a:lnTo>
                <a:lnTo>
                  <a:pt x="1218" y="513"/>
                </a:lnTo>
                <a:lnTo>
                  <a:pt x="1224" y="516"/>
                </a:lnTo>
                <a:lnTo>
                  <a:pt x="1228" y="519"/>
                </a:lnTo>
                <a:lnTo>
                  <a:pt x="1231" y="523"/>
                </a:lnTo>
                <a:lnTo>
                  <a:pt x="1234" y="529"/>
                </a:lnTo>
                <a:lnTo>
                  <a:pt x="1237" y="535"/>
                </a:lnTo>
                <a:lnTo>
                  <a:pt x="1237" y="541"/>
                </a:lnTo>
                <a:lnTo>
                  <a:pt x="1237" y="1325"/>
                </a:lnTo>
                <a:lnTo>
                  <a:pt x="1237" y="2110"/>
                </a:lnTo>
                <a:lnTo>
                  <a:pt x="1237" y="2116"/>
                </a:lnTo>
                <a:lnTo>
                  <a:pt x="1234" y="2122"/>
                </a:lnTo>
                <a:lnTo>
                  <a:pt x="1231" y="2128"/>
                </a:lnTo>
                <a:lnTo>
                  <a:pt x="1228" y="2132"/>
                </a:lnTo>
                <a:lnTo>
                  <a:pt x="1224" y="2135"/>
                </a:lnTo>
                <a:lnTo>
                  <a:pt x="1218" y="2138"/>
                </a:lnTo>
                <a:lnTo>
                  <a:pt x="1212" y="2140"/>
                </a:lnTo>
                <a:lnTo>
                  <a:pt x="1206" y="2141"/>
                </a:lnTo>
                <a:close/>
                <a:moveTo>
                  <a:pt x="440" y="4332"/>
                </a:moveTo>
                <a:lnTo>
                  <a:pt x="331" y="4332"/>
                </a:lnTo>
                <a:lnTo>
                  <a:pt x="331" y="3902"/>
                </a:lnTo>
                <a:lnTo>
                  <a:pt x="331" y="3896"/>
                </a:lnTo>
                <a:lnTo>
                  <a:pt x="334" y="3890"/>
                </a:lnTo>
                <a:lnTo>
                  <a:pt x="335" y="3886"/>
                </a:lnTo>
                <a:lnTo>
                  <a:pt x="340" y="3881"/>
                </a:lnTo>
                <a:lnTo>
                  <a:pt x="344" y="3877"/>
                </a:lnTo>
                <a:lnTo>
                  <a:pt x="348" y="3874"/>
                </a:lnTo>
                <a:lnTo>
                  <a:pt x="354" y="3872"/>
                </a:lnTo>
                <a:lnTo>
                  <a:pt x="360" y="3872"/>
                </a:lnTo>
                <a:lnTo>
                  <a:pt x="409" y="3872"/>
                </a:lnTo>
                <a:lnTo>
                  <a:pt x="416" y="3872"/>
                </a:lnTo>
                <a:lnTo>
                  <a:pt x="421" y="3874"/>
                </a:lnTo>
                <a:lnTo>
                  <a:pt x="427" y="3877"/>
                </a:lnTo>
                <a:lnTo>
                  <a:pt x="431" y="3881"/>
                </a:lnTo>
                <a:lnTo>
                  <a:pt x="435" y="3886"/>
                </a:lnTo>
                <a:lnTo>
                  <a:pt x="437" y="3890"/>
                </a:lnTo>
                <a:lnTo>
                  <a:pt x="440" y="3896"/>
                </a:lnTo>
                <a:lnTo>
                  <a:pt x="440" y="3902"/>
                </a:lnTo>
                <a:lnTo>
                  <a:pt x="440" y="4332"/>
                </a:lnTo>
                <a:close/>
                <a:moveTo>
                  <a:pt x="1707" y="4332"/>
                </a:moveTo>
                <a:lnTo>
                  <a:pt x="1552" y="4332"/>
                </a:lnTo>
                <a:lnTo>
                  <a:pt x="1552" y="3909"/>
                </a:lnTo>
                <a:lnTo>
                  <a:pt x="1552" y="3903"/>
                </a:lnTo>
                <a:lnTo>
                  <a:pt x="1553" y="3897"/>
                </a:lnTo>
                <a:lnTo>
                  <a:pt x="1556" y="3891"/>
                </a:lnTo>
                <a:lnTo>
                  <a:pt x="1560" y="3887"/>
                </a:lnTo>
                <a:lnTo>
                  <a:pt x="1565" y="3884"/>
                </a:lnTo>
                <a:lnTo>
                  <a:pt x="1569" y="3881"/>
                </a:lnTo>
                <a:lnTo>
                  <a:pt x="1575" y="3878"/>
                </a:lnTo>
                <a:lnTo>
                  <a:pt x="1581" y="3878"/>
                </a:lnTo>
                <a:lnTo>
                  <a:pt x="1677" y="3878"/>
                </a:lnTo>
                <a:lnTo>
                  <a:pt x="1683" y="3878"/>
                </a:lnTo>
                <a:lnTo>
                  <a:pt x="1689" y="3881"/>
                </a:lnTo>
                <a:lnTo>
                  <a:pt x="1693" y="3884"/>
                </a:lnTo>
                <a:lnTo>
                  <a:pt x="1698" y="3887"/>
                </a:lnTo>
                <a:lnTo>
                  <a:pt x="1702" y="3891"/>
                </a:lnTo>
                <a:lnTo>
                  <a:pt x="1705" y="3897"/>
                </a:lnTo>
                <a:lnTo>
                  <a:pt x="1707" y="3903"/>
                </a:lnTo>
                <a:lnTo>
                  <a:pt x="1707" y="3909"/>
                </a:lnTo>
                <a:lnTo>
                  <a:pt x="1707" y="4332"/>
                </a:lnTo>
                <a:close/>
                <a:moveTo>
                  <a:pt x="2809" y="4332"/>
                </a:moveTo>
                <a:lnTo>
                  <a:pt x="2722" y="4332"/>
                </a:lnTo>
                <a:lnTo>
                  <a:pt x="2722" y="3909"/>
                </a:lnTo>
                <a:lnTo>
                  <a:pt x="2724" y="3903"/>
                </a:lnTo>
                <a:lnTo>
                  <a:pt x="2725" y="3897"/>
                </a:lnTo>
                <a:lnTo>
                  <a:pt x="2728" y="3891"/>
                </a:lnTo>
                <a:lnTo>
                  <a:pt x="2731" y="3887"/>
                </a:lnTo>
                <a:lnTo>
                  <a:pt x="2735" y="3884"/>
                </a:lnTo>
                <a:lnTo>
                  <a:pt x="2741" y="3881"/>
                </a:lnTo>
                <a:lnTo>
                  <a:pt x="2747" y="3878"/>
                </a:lnTo>
                <a:lnTo>
                  <a:pt x="2753" y="3878"/>
                </a:lnTo>
                <a:lnTo>
                  <a:pt x="2762" y="3878"/>
                </a:lnTo>
                <a:lnTo>
                  <a:pt x="2769" y="3878"/>
                </a:lnTo>
                <a:lnTo>
                  <a:pt x="2777" y="3881"/>
                </a:lnTo>
                <a:lnTo>
                  <a:pt x="2784" y="3884"/>
                </a:lnTo>
                <a:lnTo>
                  <a:pt x="2792" y="3887"/>
                </a:lnTo>
                <a:lnTo>
                  <a:pt x="2799" y="3891"/>
                </a:lnTo>
                <a:lnTo>
                  <a:pt x="2802" y="3894"/>
                </a:lnTo>
                <a:lnTo>
                  <a:pt x="2805" y="3897"/>
                </a:lnTo>
                <a:lnTo>
                  <a:pt x="2808" y="3903"/>
                </a:lnTo>
                <a:lnTo>
                  <a:pt x="2809" y="3906"/>
                </a:lnTo>
                <a:lnTo>
                  <a:pt x="2809" y="3909"/>
                </a:lnTo>
                <a:lnTo>
                  <a:pt x="2809" y="4332"/>
                </a:lnTo>
                <a:close/>
                <a:moveTo>
                  <a:pt x="4321" y="4332"/>
                </a:moveTo>
                <a:lnTo>
                  <a:pt x="4252" y="4332"/>
                </a:lnTo>
                <a:lnTo>
                  <a:pt x="4252" y="3909"/>
                </a:lnTo>
                <a:lnTo>
                  <a:pt x="4252" y="3903"/>
                </a:lnTo>
                <a:lnTo>
                  <a:pt x="4253" y="3897"/>
                </a:lnTo>
                <a:lnTo>
                  <a:pt x="4256" y="3891"/>
                </a:lnTo>
                <a:lnTo>
                  <a:pt x="4260" y="3887"/>
                </a:lnTo>
                <a:lnTo>
                  <a:pt x="4265" y="3884"/>
                </a:lnTo>
                <a:lnTo>
                  <a:pt x="4269" y="3881"/>
                </a:lnTo>
                <a:lnTo>
                  <a:pt x="4275" y="3878"/>
                </a:lnTo>
                <a:lnTo>
                  <a:pt x="4281" y="3878"/>
                </a:lnTo>
                <a:lnTo>
                  <a:pt x="4291" y="3878"/>
                </a:lnTo>
                <a:lnTo>
                  <a:pt x="4297" y="3878"/>
                </a:lnTo>
                <a:lnTo>
                  <a:pt x="4303" y="3881"/>
                </a:lnTo>
                <a:lnTo>
                  <a:pt x="4308" y="3884"/>
                </a:lnTo>
                <a:lnTo>
                  <a:pt x="4312" y="3887"/>
                </a:lnTo>
                <a:lnTo>
                  <a:pt x="4316" y="3891"/>
                </a:lnTo>
                <a:lnTo>
                  <a:pt x="4319" y="3897"/>
                </a:lnTo>
                <a:lnTo>
                  <a:pt x="4321" y="3903"/>
                </a:lnTo>
                <a:lnTo>
                  <a:pt x="4321" y="3909"/>
                </a:lnTo>
                <a:lnTo>
                  <a:pt x="4321" y="4332"/>
                </a:lnTo>
                <a:close/>
                <a:moveTo>
                  <a:pt x="5339" y="4332"/>
                </a:moveTo>
                <a:lnTo>
                  <a:pt x="5183" y="4332"/>
                </a:lnTo>
                <a:lnTo>
                  <a:pt x="5183" y="3911"/>
                </a:lnTo>
                <a:lnTo>
                  <a:pt x="5183" y="3903"/>
                </a:lnTo>
                <a:lnTo>
                  <a:pt x="5186" y="3899"/>
                </a:lnTo>
                <a:lnTo>
                  <a:pt x="5189" y="3893"/>
                </a:lnTo>
                <a:lnTo>
                  <a:pt x="5192" y="3888"/>
                </a:lnTo>
                <a:lnTo>
                  <a:pt x="5196" y="3886"/>
                </a:lnTo>
                <a:lnTo>
                  <a:pt x="5202" y="3883"/>
                </a:lnTo>
                <a:lnTo>
                  <a:pt x="5207" y="3880"/>
                </a:lnTo>
                <a:lnTo>
                  <a:pt x="5214" y="3880"/>
                </a:lnTo>
                <a:lnTo>
                  <a:pt x="5308" y="3880"/>
                </a:lnTo>
                <a:lnTo>
                  <a:pt x="5314" y="3880"/>
                </a:lnTo>
                <a:lnTo>
                  <a:pt x="5320" y="3883"/>
                </a:lnTo>
                <a:lnTo>
                  <a:pt x="5325" y="3886"/>
                </a:lnTo>
                <a:lnTo>
                  <a:pt x="5331" y="3888"/>
                </a:lnTo>
                <a:lnTo>
                  <a:pt x="5334" y="3893"/>
                </a:lnTo>
                <a:lnTo>
                  <a:pt x="5337" y="3899"/>
                </a:lnTo>
                <a:lnTo>
                  <a:pt x="5338" y="3903"/>
                </a:lnTo>
                <a:lnTo>
                  <a:pt x="5339" y="3911"/>
                </a:lnTo>
                <a:lnTo>
                  <a:pt x="5339" y="4332"/>
                </a:lnTo>
                <a:close/>
                <a:moveTo>
                  <a:pt x="3956" y="0"/>
                </a:moveTo>
                <a:lnTo>
                  <a:pt x="4113" y="0"/>
                </a:lnTo>
                <a:lnTo>
                  <a:pt x="4113" y="423"/>
                </a:lnTo>
                <a:lnTo>
                  <a:pt x="4111" y="429"/>
                </a:lnTo>
                <a:lnTo>
                  <a:pt x="4110" y="435"/>
                </a:lnTo>
                <a:lnTo>
                  <a:pt x="4107" y="439"/>
                </a:lnTo>
                <a:lnTo>
                  <a:pt x="4104" y="444"/>
                </a:lnTo>
                <a:lnTo>
                  <a:pt x="4099" y="448"/>
                </a:lnTo>
                <a:lnTo>
                  <a:pt x="4094" y="451"/>
                </a:lnTo>
                <a:lnTo>
                  <a:pt x="4088" y="452"/>
                </a:lnTo>
                <a:lnTo>
                  <a:pt x="4082" y="452"/>
                </a:lnTo>
                <a:lnTo>
                  <a:pt x="3987" y="452"/>
                </a:lnTo>
                <a:lnTo>
                  <a:pt x="3981" y="452"/>
                </a:lnTo>
                <a:lnTo>
                  <a:pt x="3975" y="451"/>
                </a:lnTo>
                <a:lnTo>
                  <a:pt x="3970" y="448"/>
                </a:lnTo>
                <a:lnTo>
                  <a:pt x="3965" y="444"/>
                </a:lnTo>
                <a:lnTo>
                  <a:pt x="3962" y="439"/>
                </a:lnTo>
                <a:lnTo>
                  <a:pt x="3959" y="435"/>
                </a:lnTo>
                <a:lnTo>
                  <a:pt x="3958" y="429"/>
                </a:lnTo>
                <a:lnTo>
                  <a:pt x="3956" y="423"/>
                </a:lnTo>
                <a:lnTo>
                  <a:pt x="3956" y="0"/>
                </a:lnTo>
                <a:close/>
                <a:moveTo>
                  <a:pt x="2244" y="0"/>
                </a:moveTo>
                <a:lnTo>
                  <a:pt x="2315" y="0"/>
                </a:lnTo>
                <a:lnTo>
                  <a:pt x="2315" y="429"/>
                </a:lnTo>
                <a:lnTo>
                  <a:pt x="2313" y="435"/>
                </a:lnTo>
                <a:lnTo>
                  <a:pt x="2312" y="441"/>
                </a:lnTo>
                <a:lnTo>
                  <a:pt x="2309" y="447"/>
                </a:lnTo>
                <a:lnTo>
                  <a:pt x="2306" y="451"/>
                </a:lnTo>
                <a:lnTo>
                  <a:pt x="2301" y="454"/>
                </a:lnTo>
                <a:lnTo>
                  <a:pt x="2296" y="457"/>
                </a:lnTo>
                <a:lnTo>
                  <a:pt x="2290" y="458"/>
                </a:lnTo>
                <a:lnTo>
                  <a:pt x="2284" y="460"/>
                </a:lnTo>
                <a:lnTo>
                  <a:pt x="2275" y="460"/>
                </a:lnTo>
                <a:lnTo>
                  <a:pt x="2269" y="458"/>
                </a:lnTo>
                <a:lnTo>
                  <a:pt x="2263" y="457"/>
                </a:lnTo>
                <a:lnTo>
                  <a:pt x="2257" y="454"/>
                </a:lnTo>
                <a:lnTo>
                  <a:pt x="2253" y="451"/>
                </a:lnTo>
                <a:lnTo>
                  <a:pt x="2250" y="447"/>
                </a:lnTo>
                <a:lnTo>
                  <a:pt x="2247" y="441"/>
                </a:lnTo>
                <a:lnTo>
                  <a:pt x="2245" y="435"/>
                </a:lnTo>
                <a:lnTo>
                  <a:pt x="2244" y="429"/>
                </a:lnTo>
                <a:lnTo>
                  <a:pt x="2244" y="0"/>
                </a:lnTo>
                <a:close/>
                <a:moveTo>
                  <a:pt x="1953" y="0"/>
                </a:moveTo>
                <a:lnTo>
                  <a:pt x="2110" y="0"/>
                </a:lnTo>
                <a:lnTo>
                  <a:pt x="2110" y="429"/>
                </a:lnTo>
                <a:lnTo>
                  <a:pt x="2110" y="435"/>
                </a:lnTo>
                <a:lnTo>
                  <a:pt x="2107" y="441"/>
                </a:lnTo>
                <a:lnTo>
                  <a:pt x="2104" y="447"/>
                </a:lnTo>
                <a:lnTo>
                  <a:pt x="2101" y="451"/>
                </a:lnTo>
                <a:lnTo>
                  <a:pt x="2096" y="454"/>
                </a:lnTo>
                <a:lnTo>
                  <a:pt x="2090" y="457"/>
                </a:lnTo>
                <a:lnTo>
                  <a:pt x="2086" y="458"/>
                </a:lnTo>
                <a:lnTo>
                  <a:pt x="2079" y="460"/>
                </a:lnTo>
                <a:lnTo>
                  <a:pt x="1984" y="460"/>
                </a:lnTo>
                <a:lnTo>
                  <a:pt x="1978" y="458"/>
                </a:lnTo>
                <a:lnTo>
                  <a:pt x="1972" y="457"/>
                </a:lnTo>
                <a:lnTo>
                  <a:pt x="1968" y="454"/>
                </a:lnTo>
                <a:lnTo>
                  <a:pt x="1963" y="451"/>
                </a:lnTo>
                <a:lnTo>
                  <a:pt x="1959" y="447"/>
                </a:lnTo>
                <a:lnTo>
                  <a:pt x="1956" y="441"/>
                </a:lnTo>
                <a:lnTo>
                  <a:pt x="1955" y="435"/>
                </a:lnTo>
                <a:lnTo>
                  <a:pt x="1953" y="429"/>
                </a:lnTo>
                <a:lnTo>
                  <a:pt x="1953" y="0"/>
                </a:lnTo>
                <a:close/>
                <a:moveTo>
                  <a:pt x="871" y="0"/>
                </a:moveTo>
                <a:lnTo>
                  <a:pt x="980" y="0"/>
                </a:lnTo>
                <a:lnTo>
                  <a:pt x="980" y="429"/>
                </a:lnTo>
                <a:lnTo>
                  <a:pt x="979" y="435"/>
                </a:lnTo>
                <a:lnTo>
                  <a:pt x="977" y="441"/>
                </a:lnTo>
                <a:lnTo>
                  <a:pt x="974" y="447"/>
                </a:lnTo>
                <a:lnTo>
                  <a:pt x="971" y="451"/>
                </a:lnTo>
                <a:lnTo>
                  <a:pt x="967" y="454"/>
                </a:lnTo>
                <a:lnTo>
                  <a:pt x="961" y="457"/>
                </a:lnTo>
                <a:lnTo>
                  <a:pt x="955" y="458"/>
                </a:lnTo>
                <a:lnTo>
                  <a:pt x="949" y="460"/>
                </a:lnTo>
                <a:lnTo>
                  <a:pt x="900" y="460"/>
                </a:lnTo>
                <a:lnTo>
                  <a:pt x="895" y="458"/>
                </a:lnTo>
                <a:lnTo>
                  <a:pt x="889" y="457"/>
                </a:lnTo>
                <a:lnTo>
                  <a:pt x="884" y="454"/>
                </a:lnTo>
                <a:lnTo>
                  <a:pt x="880" y="451"/>
                </a:lnTo>
                <a:lnTo>
                  <a:pt x="875" y="447"/>
                </a:lnTo>
                <a:lnTo>
                  <a:pt x="872" y="441"/>
                </a:lnTo>
                <a:lnTo>
                  <a:pt x="871" y="435"/>
                </a:lnTo>
                <a:lnTo>
                  <a:pt x="871" y="429"/>
                </a:lnTo>
                <a:lnTo>
                  <a:pt x="871" y="0"/>
                </a:lnTo>
                <a:close/>
                <a:moveTo>
                  <a:pt x="0" y="0"/>
                </a:moveTo>
                <a:lnTo>
                  <a:pt x="71" y="0"/>
                </a:lnTo>
                <a:lnTo>
                  <a:pt x="71" y="429"/>
                </a:lnTo>
                <a:lnTo>
                  <a:pt x="69" y="435"/>
                </a:lnTo>
                <a:lnTo>
                  <a:pt x="68" y="441"/>
                </a:lnTo>
                <a:lnTo>
                  <a:pt x="65" y="447"/>
                </a:lnTo>
                <a:lnTo>
                  <a:pt x="62" y="451"/>
                </a:lnTo>
                <a:lnTo>
                  <a:pt x="58" y="454"/>
                </a:lnTo>
                <a:lnTo>
                  <a:pt x="52" y="457"/>
                </a:lnTo>
                <a:lnTo>
                  <a:pt x="46" y="458"/>
                </a:lnTo>
                <a:lnTo>
                  <a:pt x="40" y="460"/>
                </a:lnTo>
                <a:lnTo>
                  <a:pt x="31" y="460"/>
                </a:lnTo>
                <a:lnTo>
                  <a:pt x="25" y="458"/>
                </a:lnTo>
                <a:lnTo>
                  <a:pt x="19" y="457"/>
                </a:lnTo>
                <a:lnTo>
                  <a:pt x="13" y="454"/>
                </a:lnTo>
                <a:lnTo>
                  <a:pt x="9" y="451"/>
                </a:lnTo>
                <a:lnTo>
                  <a:pt x="6" y="447"/>
                </a:lnTo>
                <a:lnTo>
                  <a:pt x="3" y="441"/>
                </a:lnTo>
                <a:lnTo>
                  <a:pt x="1" y="435"/>
                </a:lnTo>
                <a:lnTo>
                  <a:pt x="0" y="429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9" name="Freeform 12">
            <a:extLst>
              <a:ext uri="{FF2B5EF4-FFF2-40B4-BE49-F238E27FC236}">
                <a16:creationId xmlns:a16="http://schemas.microsoft.com/office/drawing/2014/main" id="{90E8DE61-5EBF-4120-8570-4B0C114CA35D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07368" y="401447"/>
            <a:ext cx="648000" cy="723297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1594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4C6C69-487F-4FE3-9A7D-E8C3825801C6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0CC04ED-B65B-48C8-B52A-7CDD12C54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</p:spTree>
    <p:extLst>
      <p:ext uri="{BB962C8B-B14F-4D97-AF65-F5344CB8AC3E}">
        <p14:creationId xmlns:p14="http://schemas.microsoft.com/office/powerpoint/2010/main" val="3262099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ay Half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983433" y="2348879"/>
            <a:ext cx="4176464" cy="223264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983431" y="1844675"/>
            <a:ext cx="4176464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AFAA533A-9EE1-49AA-B078-782749331E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7AD0F8-C53D-418A-9D3C-8A57F36C67BC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IA - RKL yrittäjäpäivä 1.11.202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F2BC31C-758F-2D21-F857-BC809120029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368" y="404664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3" name="Freeform 14">
              <a:extLst>
                <a:ext uri="{FF2B5EF4-FFF2-40B4-BE49-F238E27FC236}">
                  <a16:creationId xmlns:a16="http://schemas.microsoft.com/office/drawing/2014/main" id="{109BFA99-8425-ACAD-7664-BF92A8C69DD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Freeform 15">
              <a:extLst>
                <a:ext uri="{FF2B5EF4-FFF2-40B4-BE49-F238E27FC236}">
                  <a16:creationId xmlns:a16="http://schemas.microsoft.com/office/drawing/2014/main" id="{AF0D15C1-2297-5FD1-5A47-488549604A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381230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Bei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0A4F41-5842-4E09-8633-202E5D33CF66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4849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A1DB809-DF6F-4EB4-80FF-9339E8BF842B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reeform 6"/>
          <p:cNvSpPr>
            <a:spLocks noChangeAspect="1" noEditPoints="1"/>
          </p:cNvSpPr>
          <p:nvPr userDrawn="1"/>
        </p:nvSpPr>
        <p:spPr bwMode="black">
          <a:xfrm>
            <a:off x="11418061" y="6051504"/>
            <a:ext cx="360000" cy="401832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6744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82663" y="404664"/>
            <a:ext cx="4537273" cy="1008063"/>
          </a:xfrm>
        </p:spPr>
        <p:txBody>
          <a:bodyPr tIns="144000" anchor="t" anchorCtr="0"/>
          <a:lstStyle>
            <a:lvl1pPr algn="l">
              <a:defRPr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982663" y="1844675"/>
            <a:ext cx="4537273" cy="4105275"/>
          </a:xfrm>
        </p:spPr>
        <p:txBody>
          <a:bodyPr/>
          <a:lstStyle>
            <a:lvl1pPr marL="361950" indent="-361950">
              <a:buFont typeface="+mj-lt"/>
              <a:buAutoNum type="arabicPeriod"/>
              <a:defRPr/>
            </a:lvl1pPr>
            <a:lvl2pPr marL="628650" indent="-266700">
              <a:defRPr/>
            </a:lvl2pPr>
            <a:lvl3pPr marL="895350" indent="-273050">
              <a:defRPr/>
            </a:lvl3pPr>
            <a:lvl4pPr marL="1162050" indent="-266700">
              <a:defRPr/>
            </a:lvl4pPr>
            <a:lvl5pPr marL="1438275" indent="-276225">
              <a:defRPr/>
            </a:lvl5pPr>
            <a:lvl6pPr marL="1704975" indent="-274638">
              <a:defRPr/>
            </a:lvl6pPr>
            <a:lvl7pPr marL="1971675" indent="-266700">
              <a:defRPr/>
            </a:lvl7pPr>
            <a:lvl8pPr marL="2238375" indent="-265113">
              <a:defRPr/>
            </a:lvl8pPr>
            <a:lvl9pPr marL="2514600" indent="-266700">
              <a:defRPr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FD948CD-7D80-4502-82D1-2A170D411F2C}" type="datetime1">
              <a:rPr lang="fi-FI" smtClean="0">
                <a:solidFill>
                  <a:srgbClr val="FF6900"/>
                </a:solidFill>
              </a:rPr>
              <a:t>31.10.2023</a:t>
            </a:fld>
            <a:endParaRPr lang="en-US">
              <a:solidFill>
                <a:srgbClr val="FF69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i-FI">
                <a:solidFill>
                  <a:srgbClr val="FF6900"/>
                </a:solidFill>
              </a:rPr>
              <a:t>RIA - RKL yrittäjäpäivä 1.11.2023</a:t>
            </a:r>
            <a:endParaRPr lang="en-US">
              <a:solidFill>
                <a:srgbClr val="FF69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1FEE6BA-E83C-4FBF-B719-E6671631796F}" type="slidenum">
              <a:rPr lang="en-US" smtClean="0">
                <a:solidFill>
                  <a:srgbClr val="FF6900"/>
                </a:solidFill>
              </a:rPr>
              <a:pPr/>
              <a:t>‹#›</a:t>
            </a:fld>
            <a:endParaRPr lang="en-US">
              <a:solidFill>
                <a:srgbClr val="FF69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1649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82663" y="404664"/>
            <a:ext cx="4537273" cy="1008063"/>
          </a:xfrm>
        </p:spPr>
        <p:txBody>
          <a:bodyPr tIns="144000" anchor="t" anchorCtr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982663" y="1844675"/>
            <a:ext cx="4537273" cy="4105275"/>
          </a:xfrm>
        </p:spPr>
        <p:txBody>
          <a:bodyPr/>
          <a:lstStyle>
            <a:lvl1pPr marL="361950" indent="-361950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628650" indent="-266700">
              <a:defRPr>
                <a:solidFill>
                  <a:schemeClr val="bg1"/>
                </a:solidFill>
              </a:defRPr>
            </a:lvl2pPr>
            <a:lvl3pPr marL="895350" indent="-273050">
              <a:defRPr>
                <a:solidFill>
                  <a:schemeClr val="bg1"/>
                </a:solidFill>
              </a:defRPr>
            </a:lvl3pPr>
            <a:lvl4pPr marL="1162050" indent="-266700">
              <a:defRPr>
                <a:solidFill>
                  <a:schemeClr val="bg1"/>
                </a:solidFill>
              </a:defRPr>
            </a:lvl4pPr>
            <a:lvl5pPr marL="1438275" indent="-276225">
              <a:defRPr>
                <a:solidFill>
                  <a:schemeClr val="bg1"/>
                </a:solidFill>
              </a:defRPr>
            </a:lvl5pPr>
            <a:lvl6pPr marL="1704975" indent="-274638">
              <a:defRPr>
                <a:solidFill>
                  <a:schemeClr val="bg1"/>
                </a:solidFill>
              </a:defRPr>
            </a:lvl6pPr>
            <a:lvl7pPr marL="1971675" indent="-266700">
              <a:defRPr>
                <a:solidFill>
                  <a:schemeClr val="bg1"/>
                </a:solidFill>
              </a:defRPr>
            </a:lvl7pPr>
            <a:lvl8pPr marL="2238375" indent="-265113">
              <a:defRPr>
                <a:solidFill>
                  <a:schemeClr val="bg1"/>
                </a:solidFill>
              </a:defRPr>
            </a:lvl8pPr>
            <a:lvl9pPr marL="2514600" indent="-26670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E79197A6-0965-4EA5-A622-89E05CD605FC}"/>
              </a:ext>
            </a:extLst>
          </p:cNvPr>
          <p:cNvSpPr>
            <a:spLocks noEditPoints="1"/>
          </p:cNvSpPr>
          <p:nvPr userDrawn="1"/>
        </p:nvSpPr>
        <p:spPr bwMode="auto">
          <a:xfrm flipH="1" flipV="1">
            <a:off x="5519494" y="0"/>
            <a:ext cx="6409154" cy="6858000"/>
          </a:xfrm>
          <a:custGeom>
            <a:avLst/>
            <a:gdLst>
              <a:gd name="T0" fmla="*/ 2381 w 4041"/>
              <a:gd name="T1" fmla="*/ 2204 h 4324"/>
              <a:gd name="T2" fmla="*/ 2381 w 4041"/>
              <a:gd name="T3" fmla="*/ 3804 h 4324"/>
              <a:gd name="T4" fmla="*/ 2300 w 4041"/>
              <a:gd name="T5" fmla="*/ 3816 h 4324"/>
              <a:gd name="T6" fmla="*/ 2276 w 4041"/>
              <a:gd name="T7" fmla="*/ 3788 h 4324"/>
              <a:gd name="T8" fmla="*/ 2294 w 4041"/>
              <a:gd name="T9" fmla="*/ 2192 h 4324"/>
              <a:gd name="T10" fmla="*/ 1573 w 4041"/>
              <a:gd name="T11" fmla="*/ 2196 h 4324"/>
              <a:gd name="T12" fmla="*/ 1587 w 4041"/>
              <a:gd name="T13" fmla="*/ 3794 h 4324"/>
              <a:gd name="T14" fmla="*/ 1557 w 4041"/>
              <a:gd name="T15" fmla="*/ 3818 h 4324"/>
              <a:gd name="T16" fmla="*/ 1434 w 4041"/>
              <a:gd name="T17" fmla="*/ 3798 h 4324"/>
              <a:gd name="T18" fmla="*/ 1440 w 4041"/>
              <a:gd name="T19" fmla="*/ 2200 h 4324"/>
              <a:gd name="T20" fmla="*/ 444 w 4041"/>
              <a:gd name="T21" fmla="*/ 2190 h 4324"/>
              <a:gd name="T22" fmla="*/ 469 w 4041"/>
              <a:gd name="T23" fmla="*/ 2220 h 4324"/>
              <a:gd name="T24" fmla="*/ 450 w 4041"/>
              <a:gd name="T25" fmla="*/ 3814 h 4324"/>
              <a:gd name="T26" fmla="*/ 408 w 4041"/>
              <a:gd name="T27" fmla="*/ 3808 h 4324"/>
              <a:gd name="T28" fmla="*/ 400 w 4041"/>
              <a:gd name="T29" fmla="*/ 2208 h 4324"/>
              <a:gd name="T30" fmla="*/ 685 w 4041"/>
              <a:gd name="T31" fmla="*/ 510 h 4324"/>
              <a:gd name="T32" fmla="*/ 808 w 4041"/>
              <a:gd name="T33" fmla="*/ 528 h 4324"/>
              <a:gd name="T34" fmla="*/ 802 w 4041"/>
              <a:gd name="T35" fmla="*/ 2128 h 4324"/>
              <a:gd name="T36" fmla="*/ 672 w 4041"/>
              <a:gd name="T37" fmla="*/ 2134 h 4324"/>
              <a:gd name="T38" fmla="*/ 654 w 4041"/>
              <a:gd name="T39" fmla="*/ 540 h 4324"/>
              <a:gd name="T40" fmla="*/ 679 w 4041"/>
              <a:gd name="T41" fmla="*/ 510 h 4324"/>
              <a:gd name="T42" fmla="*/ 3375 w 4041"/>
              <a:gd name="T43" fmla="*/ 518 h 4324"/>
              <a:gd name="T44" fmla="*/ 3381 w 4041"/>
              <a:gd name="T45" fmla="*/ 2118 h 4324"/>
              <a:gd name="T46" fmla="*/ 3342 w 4041"/>
              <a:gd name="T47" fmla="*/ 2136 h 4324"/>
              <a:gd name="T48" fmla="*/ 3314 w 4041"/>
              <a:gd name="T49" fmla="*/ 2112 h 4324"/>
              <a:gd name="T50" fmla="*/ 3326 w 4041"/>
              <a:gd name="T51" fmla="*/ 514 h 4324"/>
              <a:gd name="T52" fmla="*/ 1862 w 4041"/>
              <a:gd name="T53" fmla="*/ 512 h 4324"/>
              <a:gd name="T54" fmla="*/ 1880 w 4041"/>
              <a:gd name="T55" fmla="*/ 2106 h 4324"/>
              <a:gd name="T56" fmla="*/ 1856 w 4041"/>
              <a:gd name="T57" fmla="*/ 2136 h 4324"/>
              <a:gd name="T58" fmla="*/ 1816 w 4041"/>
              <a:gd name="T59" fmla="*/ 2124 h 4324"/>
              <a:gd name="T60" fmla="*/ 1816 w 4041"/>
              <a:gd name="T61" fmla="*/ 522 h 4324"/>
              <a:gd name="T62" fmla="*/ 30 w 4041"/>
              <a:gd name="T63" fmla="*/ 2136 h 4324"/>
              <a:gd name="T64" fmla="*/ 0 w 4041"/>
              <a:gd name="T65" fmla="*/ 2112 h 4324"/>
              <a:gd name="T66" fmla="*/ 14 w 4041"/>
              <a:gd name="T67" fmla="*/ 514 h 4324"/>
              <a:gd name="T68" fmla="*/ 57 w 4041"/>
              <a:gd name="T69" fmla="*/ 514 h 4324"/>
              <a:gd name="T70" fmla="*/ 71 w 4041"/>
              <a:gd name="T71" fmla="*/ 2112 h 4324"/>
              <a:gd name="T72" fmla="*/ 40 w 4041"/>
              <a:gd name="T73" fmla="*/ 2136 h 4324"/>
              <a:gd name="T74" fmla="*/ 79 w 4041"/>
              <a:gd name="T75" fmla="*/ 3881 h 4324"/>
              <a:gd name="T76" fmla="*/ 208 w 4041"/>
              <a:gd name="T77" fmla="*/ 3873 h 4324"/>
              <a:gd name="T78" fmla="*/ 226 w 4041"/>
              <a:gd name="T79" fmla="*/ 4324 h 4324"/>
              <a:gd name="T80" fmla="*/ 881 w 4041"/>
              <a:gd name="T81" fmla="*/ 3881 h 4324"/>
              <a:gd name="T82" fmla="*/ 927 w 4041"/>
              <a:gd name="T83" fmla="*/ 3873 h 4324"/>
              <a:gd name="T84" fmla="*/ 959 w 4041"/>
              <a:gd name="T85" fmla="*/ 4324 h 4324"/>
              <a:gd name="T86" fmla="*/ 2874 w 4041"/>
              <a:gd name="T87" fmla="*/ 3881 h 4324"/>
              <a:gd name="T88" fmla="*/ 2916 w 4041"/>
              <a:gd name="T89" fmla="*/ 3873 h 4324"/>
              <a:gd name="T90" fmla="*/ 2934 w 4041"/>
              <a:gd name="T91" fmla="*/ 4324 h 4324"/>
              <a:gd name="T92" fmla="*/ 3894 w 4041"/>
              <a:gd name="T93" fmla="*/ 3881 h 4324"/>
              <a:gd name="T94" fmla="*/ 4023 w 4041"/>
              <a:gd name="T95" fmla="*/ 3875 h 4324"/>
              <a:gd name="T96" fmla="*/ 4041 w 4041"/>
              <a:gd name="T97" fmla="*/ 4324 h 4324"/>
              <a:gd name="T98" fmla="*/ 2777 w 4041"/>
              <a:gd name="T99" fmla="*/ 443 h 4324"/>
              <a:gd name="T100" fmla="*/ 2648 w 4041"/>
              <a:gd name="T101" fmla="*/ 449 h 4324"/>
              <a:gd name="T102" fmla="*/ 2629 w 4041"/>
              <a:gd name="T103" fmla="*/ 0 h 4324"/>
              <a:gd name="T104" fmla="*/ 418 w 4041"/>
              <a:gd name="T105" fmla="*/ 449 h 4324"/>
              <a:gd name="T106" fmla="*/ 291 w 4041"/>
              <a:gd name="T107" fmla="*/ 455 h 4324"/>
              <a:gd name="T108" fmla="*/ 271 w 4041"/>
              <a:gd name="T109" fmla="*/ 0 h 4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041" h="4324">
                <a:moveTo>
                  <a:pt x="2306" y="2190"/>
                </a:moveTo>
                <a:lnTo>
                  <a:pt x="2355" y="2190"/>
                </a:lnTo>
                <a:lnTo>
                  <a:pt x="2361" y="2190"/>
                </a:lnTo>
                <a:lnTo>
                  <a:pt x="2367" y="2192"/>
                </a:lnTo>
                <a:lnTo>
                  <a:pt x="2373" y="2196"/>
                </a:lnTo>
                <a:lnTo>
                  <a:pt x="2377" y="2200"/>
                </a:lnTo>
                <a:lnTo>
                  <a:pt x="2381" y="2204"/>
                </a:lnTo>
                <a:lnTo>
                  <a:pt x="2383" y="2208"/>
                </a:lnTo>
                <a:lnTo>
                  <a:pt x="2385" y="2214"/>
                </a:lnTo>
                <a:lnTo>
                  <a:pt x="2385" y="2220"/>
                </a:lnTo>
                <a:lnTo>
                  <a:pt x="2385" y="3788"/>
                </a:lnTo>
                <a:lnTo>
                  <a:pt x="2385" y="3794"/>
                </a:lnTo>
                <a:lnTo>
                  <a:pt x="2383" y="3798"/>
                </a:lnTo>
                <a:lnTo>
                  <a:pt x="2381" y="3804"/>
                </a:lnTo>
                <a:lnTo>
                  <a:pt x="2377" y="3808"/>
                </a:lnTo>
                <a:lnTo>
                  <a:pt x="2373" y="3812"/>
                </a:lnTo>
                <a:lnTo>
                  <a:pt x="2367" y="3814"/>
                </a:lnTo>
                <a:lnTo>
                  <a:pt x="2361" y="3816"/>
                </a:lnTo>
                <a:lnTo>
                  <a:pt x="2355" y="3818"/>
                </a:lnTo>
                <a:lnTo>
                  <a:pt x="2306" y="3818"/>
                </a:lnTo>
                <a:lnTo>
                  <a:pt x="2300" y="3816"/>
                </a:lnTo>
                <a:lnTo>
                  <a:pt x="2294" y="3814"/>
                </a:lnTo>
                <a:lnTo>
                  <a:pt x="2290" y="3812"/>
                </a:lnTo>
                <a:lnTo>
                  <a:pt x="2286" y="3808"/>
                </a:lnTo>
                <a:lnTo>
                  <a:pt x="2282" y="3804"/>
                </a:lnTo>
                <a:lnTo>
                  <a:pt x="2278" y="3798"/>
                </a:lnTo>
                <a:lnTo>
                  <a:pt x="2276" y="3794"/>
                </a:lnTo>
                <a:lnTo>
                  <a:pt x="2276" y="3788"/>
                </a:lnTo>
                <a:lnTo>
                  <a:pt x="2276" y="2220"/>
                </a:lnTo>
                <a:lnTo>
                  <a:pt x="2276" y="2214"/>
                </a:lnTo>
                <a:lnTo>
                  <a:pt x="2278" y="2208"/>
                </a:lnTo>
                <a:lnTo>
                  <a:pt x="2282" y="2204"/>
                </a:lnTo>
                <a:lnTo>
                  <a:pt x="2286" y="2200"/>
                </a:lnTo>
                <a:lnTo>
                  <a:pt x="2290" y="2196"/>
                </a:lnTo>
                <a:lnTo>
                  <a:pt x="2294" y="2192"/>
                </a:lnTo>
                <a:lnTo>
                  <a:pt x="2300" y="2190"/>
                </a:lnTo>
                <a:lnTo>
                  <a:pt x="2306" y="2190"/>
                </a:lnTo>
                <a:close/>
                <a:moveTo>
                  <a:pt x="1462" y="2190"/>
                </a:moveTo>
                <a:lnTo>
                  <a:pt x="1557" y="2190"/>
                </a:lnTo>
                <a:lnTo>
                  <a:pt x="1563" y="2190"/>
                </a:lnTo>
                <a:lnTo>
                  <a:pt x="1569" y="2192"/>
                </a:lnTo>
                <a:lnTo>
                  <a:pt x="1573" y="2196"/>
                </a:lnTo>
                <a:lnTo>
                  <a:pt x="1579" y="2200"/>
                </a:lnTo>
                <a:lnTo>
                  <a:pt x="1581" y="2204"/>
                </a:lnTo>
                <a:lnTo>
                  <a:pt x="1585" y="2208"/>
                </a:lnTo>
                <a:lnTo>
                  <a:pt x="1587" y="2214"/>
                </a:lnTo>
                <a:lnTo>
                  <a:pt x="1587" y="2220"/>
                </a:lnTo>
                <a:lnTo>
                  <a:pt x="1587" y="3788"/>
                </a:lnTo>
                <a:lnTo>
                  <a:pt x="1587" y="3794"/>
                </a:lnTo>
                <a:lnTo>
                  <a:pt x="1585" y="3798"/>
                </a:lnTo>
                <a:lnTo>
                  <a:pt x="1581" y="3804"/>
                </a:lnTo>
                <a:lnTo>
                  <a:pt x="1579" y="3808"/>
                </a:lnTo>
                <a:lnTo>
                  <a:pt x="1573" y="3812"/>
                </a:lnTo>
                <a:lnTo>
                  <a:pt x="1569" y="3814"/>
                </a:lnTo>
                <a:lnTo>
                  <a:pt x="1563" y="3816"/>
                </a:lnTo>
                <a:lnTo>
                  <a:pt x="1557" y="3818"/>
                </a:lnTo>
                <a:lnTo>
                  <a:pt x="1462" y="3818"/>
                </a:lnTo>
                <a:lnTo>
                  <a:pt x="1456" y="3816"/>
                </a:lnTo>
                <a:lnTo>
                  <a:pt x="1450" y="3814"/>
                </a:lnTo>
                <a:lnTo>
                  <a:pt x="1446" y="3812"/>
                </a:lnTo>
                <a:lnTo>
                  <a:pt x="1440" y="3808"/>
                </a:lnTo>
                <a:lnTo>
                  <a:pt x="1436" y="3804"/>
                </a:lnTo>
                <a:lnTo>
                  <a:pt x="1434" y="3798"/>
                </a:lnTo>
                <a:lnTo>
                  <a:pt x="1432" y="3794"/>
                </a:lnTo>
                <a:lnTo>
                  <a:pt x="1432" y="3788"/>
                </a:lnTo>
                <a:lnTo>
                  <a:pt x="1432" y="2220"/>
                </a:lnTo>
                <a:lnTo>
                  <a:pt x="1432" y="2214"/>
                </a:lnTo>
                <a:lnTo>
                  <a:pt x="1434" y="2208"/>
                </a:lnTo>
                <a:lnTo>
                  <a:pt x="1436" y="2204"/>
                </a:lnTo>
                <a:lnTo>
                  <a:pt x="1440" y="2200"/>
                </a:lnTo>
                <a:lnTo>
                  <a:pt x="1446" y="2196"/>
                </a:lnTo>
                <a:lnTo>
                  <a:pt x="1450" y="2192"/>
                </a:lnTo>
                <a:lnTo>
                  <a:pt x="1456" y="2190"/>
                </a:lnTo>
                <a:lnTo>
                  <a:pt x="1462" y="2190"/>
                </a:lnTo>
                <a:close/>
                <a:moveTo>
                  <a:pt x="428" y="2190"/>
                </a:moveTo>
                <a:lnTo>
                  <a:pt x="438" y="2190"/>
                </a:lnTo>
                <a:lnTo>
                  <a:pt x="444" y="2190"/>
                </a:lnTo>
                <a:lnTo>
                  <a:pt x="450" y="2192"/>
                </a:lnTo>
                <a:lnTo>
                  <a:pt x="454" y="2196"/>
                </a:lnTo>
                <a:lnTo>
                  <a:pt x="460" y="2200"/>
                </a:lnTo>
                <a:lnTo>
                  <a:pt x="462" y="2204"/>
                </a:lnTo>
                <a:lnTo>
                  <a:pt x="467" y="2208"/>
                </a:lnTo>
                <a:lnTo>
                  <a:pt x="469" y="2214"/>
                </a:lnTo>
                <a:lnTo>
                  <a:pt x="469" y="2220"/>
                </a:lnTo>
                <a:lnTo>
                  <a:pt x="469" y="3788"/>
                </a:lnTo>
                <a:lnTo>
                  <a:pt x="469" y="3794"/>
                </a:lnTo>
                <a:lnTo>
                  <a:pt x="467" y="3798"/>
                </a:lnTo>
                <a:lnTo>
                  <a:pt x="462" y="3804"/>
                </a:lnTo>
                <a:lnTo>
                  <a:pt x="460" y="3808"/>
                </a:lnTo>
                <a:lnTo>
                  <a:pt x="454" y="3812"/>
                </a:lnTo>
                <a:lnTo>
                  <a:pt x="450" y="3814"/>
                </a:lnTo>
                <a:lnTo>
                  <a:pt x="444" y="3816"/>
                </a:lnTo>
                <a:lnTo>
                  <a:pt x="438" y="3818"/>
                </a:lnTo>
                <a:lnTo>
                  <a:pt x="428" y="3818"/>
                </a:lnTo>
                <a:lnTo>
                  <a:pt x="422" y="3816"/>
                </a:lnTo>
                <a:lnTo>
                  <a:pt x="416" y="3814"/>
                </a:lnTo>
                <a:lnTo>
                  <a:pt x="412" y="3812"/>
                </a:lnTo>
                <a:lnTo>
                  <a:pt x="408" y="3808"/>
                </a:lnTo>
                <a:lnTo>
                  <a:pt x="404" y="3804"/>
                </a:lnTo>
                <a:lnTo>
                  <a:pt x="400" y="3798"/>
                </a:lnTo>
                <a:lnTo>
                  <a:pt x="400" y="3794"/>
                </a:lnTo>
                <a:lnTo>
                  <a:pt x="398" y="3788"/>
                </a:lnTo>
                <a:lnTo>
                  <a:pt x="398" y="2220"/>
                </a:lnTo>
                <a:lnTo>
                  <a:pt x="400" y="2214"/>
                </a:lnTo>
                <a:lnTo>
                  <a:pt x="400" y="2208"/>
                </a:lnTo>
                <a:lnTo>
                  <a:pt x="404" y="2204"/>
                </a:lnTo>
                <a:lnTo>
                  <a:pt x="408" y="2200"/>
                </a:lnTo>
                <a:lnTo>
                  <a:pt x="412" y="2196"/>
                </a:lnTo>
                <a:lnTo>
                  <a:pt x="416" y="2192"/>
                </a:lnTo>
                <a:lnTo>
                  <a:pt x="422" y="2190"/>
                </a:lnTo>
                <a:lnTo>
                  <a:pt x="428" y="2190"/>
                </a:lnTo>
                <a:close/>
                <a:moveTo>
                  <a:pt x="685" y="510"/>
                </a:moveTo>
                <a:lnTo>
                  <a:pt x="780" y="510"/>
                </a:lnTo>
                <a:lnTo>
                  <a:pt x="786" y="510"/>
                </a:lnTo>
                <a:lnTo>
                  <a:pt x="792" y="512"/>
                </a:lnTo>
                <a:lnTo>
                  <a:pt x="796" y="514"/>
                </a:lnTo>
                <a:lnTo>
                  <a:pt x="802" y="518"/>
                </a:lnTo>
                <a:lnTo>
                  <a:pt x="804" y="522"/>
                </a:lnTo>
                <a:lnTo>
                  <a:pt x="808" y="528"/>
                </a:lnTo>
                <a:lnTo>
                  <a:pt x="810" y="534"/>
                </a:lnTo>
                <a:lnTo>
                  <a:pt x="810" y="540"/>
                </a:lnTo>
                <a:lnTo>
                  <a:pt x="810" y="2106"/>
                </a:lnTo>
                <a:lnTo>
                  <a:pt x="810" y="2112"/>
                </a:lnTo>
                <a:lnTo>
                  <a:pt x="808" y="2118"/>
                </a:lnTo>
                <a:lnTo>
                  <a:pt x="804" y="2124"/>
                </a:lnTo>
                <a:lnTo>
                  <a:pt x="802" y="2128"/>
                </a:lnTo>
                <a:lnTo>
                  <a:pt x="796" y="2132"/>
                </a:lnTo>
                <a:lnTo>
                  <a:pt x="792" y="2134"/>
                </a:lnTo>
                <a:lnTo>
                  <a:pt x="786" y="2136"/>
                </a:lnTo>
                <a:lnTo>
                  <a:pt x="780" y="2136"/>
                </a:lnTo>
                <a:lnTo>
                  <a:pt x="685" y="2136"/>
                </a:lnTo>
                <a:lnTo>
                  <a:pt x="679" y="2136"/>
                </a:lnTo>
                <a:lnTo>
                  <a:pt x="672" y="2134"/>
                </a:lnTo>
                <a:lnTo>
                  <a:pt x="668" y="2132"/>
                </a:lnTo>
                <a:lnTo>
                  <a:pt x="662" y="2128"/>
                </a:lnTo>
                <a:lnTo>
                  <a:pt x="660" y="2124"/>
                </a:lnTo>
                <a:lnTo>
                  <a:pt x="656" y="2118"/>
                </a:lnTo>
                <a:lnTo>
                  <a:pt x="654" y="2112"/>
                </a:lnTo>
                <a:lnTo>
                  <a:pt x="654" y="2106"/>
                </a:lnTo>
                <a:lnTo>
                  <a:pt x="654" y="540"/>
                </a:lnTo>
                <a:lnTo>
                  <a:pt x="654" y="534"/>
                </a:lnTo>
                <a:lnTo>
                  <a:pt x="656" y="528"/>
                </a:lnTo>
                <a:lnTo>
                  <a:pt x="660" y="522"/>
                </a:lnTo>
                <a:lnTo>
                  <a:pt x="662" y="518"/>
                </a:lnTo>
                <a:lnTo>
                  <a:pt x="668" y="514"/>
                </a:lnTo>
                <a:lnTo>
                  <a:pt x="672" y="512"/>
                </a:lnTo>
                <a:lnTo>
                  <a:pt x="679" y="510"/>
                </a:lnTo>
                <a:lnTo>
                  <a:pt x="685" y="510"/>
                </a:lnTo>
                <a:close/>
                <a:moveTo>
                  <a:pt x="3342" y="510"/>
                </a:moveTo>
                <a:lnTo>
                  <a:pt x="3352" y="510"/>
                </a:lnTo>
                <a:lnTo>
                  <a:pt x="3358" y="510"/>
                </a:lnTo>
                <a:lnTo>
                  <a:pt x="3364" y="512"/>
                </a:lnTo>
                <a:lnTo>
                  <a:pt x="3369" y="514"/>
                </a:lnTo>
                <a:lnTo>
                  <a:pt x="3375" y="518"/>
                </a:lnTo>
                <a:lnTo>
                  <a:pt x="3377" y="522"/>
                </a:lnTo>
                <a:lnTo>
                  <a:pt x="3381" y="528"/>
                </a:lnTo>
                <a:lnTo>
                  <a:pt x="3383" y="534"/>
                </a:lnTo>
                <a:lnTo>
                  <a:pt x="3383" y="540"/>
                </a:lnTo>
                <a:lnTo>
                  <a:pt x="3383" y="2106"/>
                </a:lnTo>
                <a:lnTo>
                  <a:pt x="3383" y="2112"/>
                </a:lnTo>
                <a:lnTo>
                  <a:pt x="3381" y="2118"/>
                </a:lnTo>
                <a:lnTo>
                  <a:pt x="3377" y="2124"/>
                </a:lnTo>
                <a:lnTo>
                  <a:pt x="3375" y="2128"/>
                </a:lnTo>
                <a:lnTo>
                  <a:pt x="3369" y="2132"/>
                </a:lnTo>
                <a:lnTo>
                  <a:pt x="3364" y="2134"/>
                </a:lnTo>
                <a:lnTo>
                  <a:pt x="3358" y="2136"/>
                </a:lnTo>
                <a:lnTo>
                  <a:pt x="3352" y="2136"/>
                </a:lnTo>
                <a:lnTo>
                  <a:pt x="3342" y="2136"/>
                </a:lnTo>
                <a:lnTo>
                  <a:pt x="3336" y="2136"/>
                </a:lnTo>
                <a:lnTo>
                  <a:pt x="3330" y="2134"/>
                </a:lnTo>
                <a:lnTo>
                  <a:pt x="3326" y="2132"/>
                </a:lnTo>
                <a:lnTo>
                  <a:pt x="3322" y="2128"/>
                </a:lnTo>
                <a:lnTo>
                  <a:pt x="3318" y="2124"/>
                </a:lnTo>
                <a:lnTo>
                  <a:pt x="3314" y="2118"/>
                </a:lnTo>
                <a:lnTo>
                  <a:pt x="3314" y="2112"/>
                </a:lnTo>
                <a:lnTo>
                  <a:pt x="3312" y="2106"/>
                </a:lnTo>
                <a:lnTo>
                  <a:pt x="3312" y="540"/>
                </a:lnTo>
                <a:lnTo>
                  <a:pt x="3314" y="534"/>
                </a:lnTo>
                <a:lnTo>
                  <a:pt x="3314" y="528"/>
                </a:lnTo>
                <a:lnTo>
                  <a:pt x="3318" y="522"/>
                </a:lnTo>
                <a:lnTo>
                  <a:pt x="3322" y="518"/>
                </a:lnTo>
                <a:lnTo>
                  <a:pt x="3326" y="514"/>
                </a:lnTo>
                <a:lnTo>
                  <a:pt x="3330" y="512"/>
                </a:lnTo>
                <a:lnTo>
                  <a:pt x="3336" y="510"/>
                </a:lnTo>
                <a:lnTo>
                  <a:pt x="3342" y="510"/>
                </a:lnTo>
                <a:close/>
                <a:moveTo>
                  <a:pt x="1842" y="510"/>
                </a:moveTo>
                <a:lnTo>
                  <a:pt x="1850" y="510"/>
                </a:lnTo>
                <a:lnTo>
                  <a:pt x="1856" y="510"/>
                </a:lnTo>
                <a:lnTo>
                  <a:pt x="1862" y="512"/>
                </a:lnTo>
                <a:lnTo>
                  <a:pt x="1868" y="514"/>
                </a:lnTo>
                <a:lnTo>
                  <a:pt x="1872" y="518"/>
                </a:lnTo>
                <a:lnTo>
                  <a:pt x="1876" y="522"/>
                </a:lnTo>
                <a:lnTo>
                  <a:pt x="1878" y="528"/>
                </a:lnTo>
                <a:lnTo>
                  <a:pt x="1880" y="534"/>
                </a:lnTo>
                <a:lnTo>
                  <a:pt x="1880" y="540"/>
                </a:lnTo>
                <a:lnTo>
                  <a:pt x="1880" y="2106"/>
                </a:lnTo>
                <a:lnTo>
                  <a:pt x="1880" y="2112"/>
                </a:lnTo>
                <a:lnTo>
                  <a:pt x="1878" y="2118"/>
                </a:lnTo>
                <a:lnTo>
                  <a:pt x="1876" y="2124"/>
                </a:lnTo>
                <a:lnTo>
                  <a:pt x="1872" y="2128"/>
                </a:lnTo>
                <a:lnTo>
                  <a:pt x="1868" y="2132"/>
                </a:lnTo>
                <a:lnTo>
                  <a:pt x="1862" y="2134"/>
                </a:lnTo>
                <a:lnTo>
                  <a:pt x="1856" y="2136"/>
                </a:lnTo>
                <a:lnTo>
                  <a:pt x="1850" y="2136"/>
                </a:lnTo>
                <a:lnTo>
                  <a:pt x="1842" y="2136"/>
                </a:lnTo>
                <a:lnTo>
                  <a:pt x="1836" y="2136"/>
                </a:lnTo>
                <a:lnTo>
                  <a:pt x="1830" y="2134"/>
                </a:lnTo>
                <a:lnTo>
                  <a:pt x="1824" y="2132"/>
                </a:lnTo>
                <a:lnTo>
                  <a:pt x="1820" y="2128"/>
                </a:lnTo>
                <a:lnTo>
                  <a:pt x="1816" y="2124"/>
                </a:lnTo>
                <a:lnTo>
                  <a:pt x="1814" y="2118"/>
                </a:lnTo>
                <a:lnTo>
                  <a:pt x="1811" y="2112"/>
                </a:lnTo>
                <a:lnTo>
                  <a:pt x="1811" y="2106"/>
                </a:lnTo>
                <a:lnTo>
                  <a:pt x="1811" y="540"/>
                </a:lnTo>
                <a:lnTo>
                  <a:pt x="1811" y="534"/>
                </a:lnTo>
                <a:lnTo>
                  <a:pt x="1814" y="528"/>
                </a:lnTo>
                <a:lnTo>
                  <a:pt x="1816" y="522"/>
                </a:lnTo>
                <a:lnTo>
                  <a:pt x="1820" y="518"/>
                </a:lnTo>
                <a:lnTo>
                  <a:pt x="1824" y="514"/>
                </a:lnTo>
                <a:lnTo>
                  <a:pt x="1830" y="512"/>
                </a:lnTo>
                <a:lnTo>
                  <a:pt x="1836" y="510"/>
                </a:lnTo>
                <a:lnTo>
                  <a:pt x="1842" y="510"/>
                </a:lnTo>
                <a:close/>
                <a:moveTo>
                  <a:pt x="40" y="2136"/>
                </a:moveTo>
                <a:lnTo>
                  <a:pt x="30" y="2136"/>
                </a:lnTo>
                <a:lnTo>
                  <a:pt x="24" y="2136"/>
                </a:lnTo>
                <a:lnTo>
                  <a:pt x="18" y="2134"/>
                </a:lnTo>
                <a:lnTo>
                  <a:pt x="14" y="2132"/>
                </a:lnTo>
                <a:lnTo>
                  <a:pt x="10" y="2128"/>
                </a:lnTo>
                <a:lnTo>
                  <a:pt x="6" y="2124"/>
                </a:lnTo>
                <a:lnTo>
                  <a:pt x="2" y="2118"/>
                </a:lnTo>
                <a:lnTo>
                  <a:pt x="0" y="2112"/>
                </a:lnTo>
                <a:lnTo>
                  <a:pt x="0" y="2106"/>
                </a:lnTo>
                <a:lnTo>
                  <a:pt x="0" y="540"/>
                </a:lnTo>
                <a:lnTo>
                  <a:pt x="0" y="534"/>
                </a:lnTo>
                <a:lnTo>
                  <a:pt x="2" y="528"/>
                </a:lnTo>
                <a:lnTo>
                  <a:pt x="6" y="522"/>
                </a:lnTo>
                <a:lnTo>
                  <a:pt x="10" y="518"/>
                </a:lnTo>
                <a:lnTo>
                  <a:pt x="14" y="514"/>
                </a:lnTo>
                <a:lnTo>
                  <a:pt x="18" y="512"/>
                </a:lnTo>
                <a:lnTo>
                  <a:pt x="24" y="510"/>
                </a:lnTo>
                <a:lnTo>
                  <a:pt x="30" y="510"/>
                </a:lnTo>
                <a:lnTo>
                  <a:pt x="40" y="510"/>
                </a:lnTo>
                <a:lnTo>
                  <a:pt x="46" y="510"/>
                </a:lnTo>
                <a:lnTo>
                  <a:pt x="53" y="512"/>
                </a:lnTo>
                <a:lnTo>
                  <a:pt x="57" y="514"/>
                </a:lnTo>
                <a:lnTo>
                  <a:pt x="61" y="518"/>
                </a:lnTo>
                <a:lnTo>
                  <a:pt x="65" y="522"/>
                </a:lnTo>
                <a:lnTo>
                  <a:pt x="69" y="528"/>
                </a:lnTo>
                <a:lnTo>
                  <a:pt x="71" y="534"/>
                </a:lnTo>
                <a:lnTo>
                  <a:pt x="71" y="540"/>
                </a:lnTo>
                <a:lnTo>
                  <a:pt x="71" y="2106"/>
                </a:lnTo>
                <a:lnTo>
                  <a:pt x="71" y="2112"/>
                </a:lnTo>
                <a:lnTo>
                  <a:pt x="69" y="2118"/>
                </a:lnTo>
                <a:lnTo>
                  <a:pt x="65" y="2124"/>
                </a:lnTo>
                <a:lnTo>
                  <a:pt x="61" y="2128"/>
                </a:lnTo>
                <a:lnTo>
                  <a:pt x="57" y="2132"/>
                </a:lnTo>
                <a:lnTo>
                  <a:pt x="53" y="2134"/>
                </a:lnTo>
                <a:lnTo>
                  <a:pt x="46" y="2136"/>
                </a:lnTo>
                <a:lnTo>
                  <a:pt x="40" y="2136"/>
                </a:lnTo>
                <a:close/>
                <a:moveTo>
                  <a:pt x="226" y="4324"/>
                </a:moveTo>
                <a:lnTo>
                  <a:pt x="71" y="4324"/>
                </a:lnTo>
                <a:lnTo>
                  <a:pt x="71" y="3901"/>
                </a:lnTo>
                <a:lnTo>
                  <a:pt x="71" y="3895"/>
                </a:lnTo>
                <a:lnTo>
                  <a:pt x="73" y="3889"/>
                </a:lnTo>
                <a:lnTo>
                  <a:pt x="75" y="3885"/>
                </a:lnTo>
                <a:lnTo>
                  <a:pt x="79" y="3881"/>
                </a:lnTo>
                <a:lnTo>
                  <a:pt x="83" y="3877"/>
                </a:lnTo>
                <a:lnTo>
                  <a:pt x="89" y="3873"/>
                </a:lnTo>
                <a:lnTo>
                  <a:pt x="95" y="3873"/>
                </a:lnTo>
                <a:lnTo>
                  <a:pt x="101" y="3871"/>
                </a:lnTo>
                <a:lnTo>
                  <a:pt x="196" y="3871"/>
                </a:lnTo>
                <a:lnTo>
                  <a:pt x="202" y="3873"/>
                </a:lnTo>
                <a:lnTo>
                  <a:pt x="208" y="3873"/>
                </a:lnTo>
                <a:lnTo>
                  <a:pt x="212" y="3877"/>
                </a:lnTo>
                <a:lnTo>
                  <a:pt x="216" y="3881"/>
                </a:lnTo>
                <a:lnTo>
                  <a:pt x="220" y="3885"/>
                </a:lnTo>
                <a:lnTo>
                  <a:pt x="224" y="3889"/>
                </a:lnTo>
                <a:lnTo>
                  <a:pt x="226" y="3895"/>
                </a:lnTo>
                <a:lnTo>
                  <a:pt x="226" y="3901"/>
                </a:lnTo>
                <a:lnTo>
                  <a:pt x="226" y="4324"/>
                </a:lnTo>
                <a:close/>
                <a:moveTo>
                  <a:pt x="959" y="4324"/>
                </a:moveTo>
                <a:lnTo>
                  <a:pt x="872" y="4324"/>
                </a:lnTo>
                <a:lnTo>
                  <a:pt x="872" y="3901"/>
                </a:lnTo>
                <a:lnTo>
                  <a:pt x="872" y="3895"/>
                </a:lnTo>
                <a:lnTo>
                  <a:pt x="874" y="3889"/>
                </a:lnTo>
                <a:lnTo>
                  <a:pt x="878" y="3885"/>
                </a:lnTo>
                <a:lnTo>
                  <a:pt x="881" y="3881"/>
                </a:lnTo>
                <a:lnTo>
                  <a:pt x="887" y="3877"/>
                </a:lnTo>
                <a:lnTo>
                  <a:pt x="891" y="3873"/>
                </a:lnTo>
                <a:lnTo>
                  <a:pt x="897" y="3873"/>
                </a:lnTo>
                <a:lnTo>
                  <a:pt x="903" y="3871"/>
                </a:lnTo>
                <a:lnTo>
                  <a:pt x="913" y="3871"/>
                </a:lnTo>
                <a:lnTo>
                  <a:pt x="919" y="3873"/>
                </a:lnTo>
                <a:lnTo>
                  <a:pt x="927" y="3873"/>
                </a:lnTo>
                <a:lnTo>
                  <a:pt x="935" y="3877"/>
                </a:lnTo>
                <a:lnTo>
                  <a:pt x="941" y="3881"/>
                </a:lnTo>
                <a:lnTo>
                  <a:pt x="949" y="3885"/>
                </a:lnTo>
                <a:lnTo>
                  <a:pt x="953" y="3889"/>
                </a:lnTo>
                <a:lnTo>
                  <a:pt x="957" y="3895"/>
                </a:lnTo>
                <a:lnTo>
                  <a:pt x="959" y="3901"/>
                </a:lnTo>
                <a:lnTo>
                  <a:pt x="959" y="4324"/>
                </a:lnTo>
                <a:close/>
                <a:moveTo>
                  <a:pt x="2934" y="4324"/>
                </a:moveTo>
                <a:lnTo>
                  <a:pt x="2866" y="4324"/>
                </a:lnTo>
                <a:lnTo>
                  <a:pt x="2866" y="3901"/>
                </a:lnTo>
                <a:lnTo>
                  <a:pt x="2866" y="3895"/>
                </a:lnTo>
                <a:lnTo>
                  <a:pt x="2868" y="3889"/>
                </a:lnTo>
                <a:lnTo>
                  <a:pt x="2870" y="3885"/>
                </a:lnTo>
                <a:lnTo>
                  <a:pt x="2874" y="3881"/>
                </a:lnTo>
                <a:lnTo>
                  <a:pt x="2878" y="3877"/>
                </a:lnTo>
                <a:lnTo>
                  <a:pt x="2884" y="3873"/>
                </a:lnTo>
                <a:lnTo>
                  <a:pt x="2890" y="3873"/>
                </a:lnTo>
                <a:lnTo>
                  <a:pt x="2896" y="3871"/>
                </a:lnTo>
                <a:lnTo>
                  <a:pt x="2904" y="3871"/>
                </a:lnTo>
                <a:lnTo>
                  <a:pt x="2910" y="3873"/>
                </a:lnTo>
                <a:lnTo>
                  <a:pt x="2916" y="3873"/>
                </a:lnTo>
                <a:lnTo>
                  <a:pt x="2922" y="3877"/>
                </a:lnTo>
                <a:lnTo>
                  <a:pt x="2926" y="3881"/>
                </a:lnTo>
                <a:lnTo>
                  <a:pt x="2930" y="3885"/>
                </a:lnTo>
                <a:lnTo>
                  <a:pt x="2932" y="3889"/>
                </a:lnTo>
                <a:lnTo>
                  <a:pt x="2934" y="3895"/>
                </a:lnTo>
                <a:lnTo>
                  <a:pt x="2934" y="3901"/>
                </a:lnTo>
                <a:lnTo>
                  <a:pt x="2934" y="4324"/>
                </a:lnTo>
                <a:close/>
                <a:moveTo>
                  <a:pt x="4041" y="4324"/>
                </a:moveTo>
                <a:lnTo>
                  <a:pt x="3886" y="4324"/>
                </a:lnTo>
                <a:lnTo>
                  <a:pt x="3886" y="3903"/>
                </a:lnTo>
                <a:lnTo>
                  <a:pt x="3886" y="3897"/>
                </a:lnTo>
                <a:lnTo>
                  <a:pt x="3888" y="3891"/>
                </a:lnTo>
                <a:lnTo>
                  <a:pt x="3890" y="3887"/>
                </a:lnTo>
                <a:lnTo>
                  <a:pt x="3894" y="3881"/>
                </a:lnTo>
                <a:lnTo>
                  <a:pt x="3898" y="3879"/>
                </a:lnTo>
                <a:lnTo>
                  <a:pt x="3904" y="3875"/>
                </a:lnTo>
                <a:lnTo>
                  <a:pt x="3910" y="3873"/>
                </a:lnTo>
                <a:lnTo>
                  <a:pt x="3916" y="3873"/>
                </a:lnTo>
                <a:lnTo>
                  <a:pt x="4011" y="3873"/>
                </a:lnTo>
                <a:lnTo>
                  <a:pt x="4017" y="3873"/>
                </a:lnTo>
                <a:lnTo>
                  <a:pt x="4023" y="3875"/>
                </a:lnTo>
                <a:lnTo>
                  <a:pt x="4027" y="3879"/>
                </a:lnTo>
                <a:lnTo>
                  <a:pt x="4031" y="3881"/>
                </a:lnTo>
                <a:lnTo>
                  <a:pt x="4035" y="3887"/>
                </a:lnTo>
                <a:lnTo>
                  <a:pt x="4039" y="3891"/>
                </a:lnTo>
                <a:lnTo>
                  <a:pt x="4039" y="3897"/>
                </a:lnTo>
                <a:lnTo>
                  <a:pt x="4041" y="3903"/>
                </a:lnTo>
                <a:lnTo>
                  <a:pt x="4041" y="4324"/>
                </a:lnTo>
                <a:close/>
                <a:moveTo>
                  <a:pt x="2629" y="0"/>
                </a:moveTo>
                <a:lnTo>
                  <a:pt x="2785" y="0"/>
                </a:lnTo>
                <a:lnTo>
                  <a:pt x="2785" y="421"/>
                </a:lnTo>
                <a:lnTo>
                  <a:pt x="2785" y="427"/>
                </a:lnTo>
                <a:lnTo>
                  <a:pt x="2783" y="433"/>
                </a:lnTo>
                <a:lnTo>
                  <a:pt x="2781" y="437"/>
                </a:lnTo>
                <a:lnTo>
                  <a:pt x="2777" y="443"/>
                </a:lnTo>
                <a:lnTo>
                  <a:pt x="2773" y="445"/>
                </a:lnTo>
                <a:lnTo>
                  <a:pt x="2767" y="449"/>
                </a:lnTo>
                <a:lnTo>
                  <a:pt x="2761" y="451"/>
                </a:lnTo>
                <a:lnTo>
                  <a:pt x="2755" y="451"/>
                </a:lnTo>
                <a:lnTo>
                  <a:pt x="2660" y="451"/>
                </a:lnTo>
                <a:lnTo>
                  <a:pt x="2654" y="451"/>
                </a:lnTo>
                <a:lnTo>
                  <a:pt x="2648" y="449"/>
                </a:lnTo>
                <a:lnTo>
                  <a:pt x="2644" y="445"/>
                </a:lnTo>
                <a:lnTo>
                  <a:pt x="2639" y="443"/>
                </a:lnTo>
                <a:lnTo>
                  <a:pt x="2635" y="437"/>
                </a:lnTo>
                <a:lnTo>
                  <a:pt x="2631" y="433"/>
                </a:lnTo>
                <a:lnTo>
                  <a:pt x="2631" y="427"/>
                </a:lnTo>
                <a:lnTo>
                  <a:pt x="2629" y="421"/>
                </a:lnTo>
                <a:lnTo>
                  <a:pt x="2629" y="0"/>
                </a:lnTo>
                <a:close/>
                <a:moveTo>
                  <a:pt x="271" y="0"/>
                </a:moveTo>
                <a:lnTo>
                  <a:pt x="426" y="0"/>
                </a:lnTo>
                <a:lnTo>
                  <a:pt x="426" y="427"/>
                </a:lnTo>
                <a:lnTo>
                  <a:pt x="426" y="433"/>
                </a:lnTo>
                <a:lnTo>
                  <a:pt x="424" y="439"/>
                </a:lnTo>
                <a:lnTo>
                  <a:pt x="422" y="445"/>
                </a:lnTo>
                <a:lnTo>
                  <a:pt x="418" y="449"/>
                </a:lnTo>
                <a:lnTo>
                  <a:pt x="414" y="453"/>
                </a:lnTo>
                <a:lnTo>
                  <a:pt x="408" y="455"/>
                </a:lnTo>
                <a:lnTo>
                  <a:pt x="402" y="457"/>
                </a:lnTo>
                <a:lnTo>
                  <a:pt x="396" y="457"/>
                </a:lnTo>
                <a:lnTo>
                  <a:pt x="301" y="457"/>
                </a:lnTo>
                <a:lnTo>
                  <a:pt x="295" y="457"/>
                </a:lnTo>
                <a:lnTo>
                  <a:pt x="291" y="455"/>
                </a:lnTo>
                <a:lnTo>
                  <a:pt x="285" y="453"/>
                </a:lnTo>
                <a:lnTo>
                  <a:pt x="281" y="449"/>
                </a:lnTo>
                <a:lnTo>
                  <a:pt x="277" y="445"/>
                </a:lnTo>
                <a:lnTo>
                  <a:pt x="275" y="439"/>
                </a:lnTo>
                <a:lnTo>
                  <a:pt x="273" y="433"/>
                </a:lnTo>
                <a:lnTo>
                  <a:pt x="271" y="427"/>
                </a:lnTo>
                <a:lnTo>
                  <a:pt x="271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E8C85AC-BF15-4682-A1F7-1D4654985DFF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reeform 6">
            <a:extLst>
              <a:ext uri="{FF2B5EF4-FFF2-40B4-BE49-F238E27FC236}">
                <a16:creationId xmlns:a16="http://schemas.microsoft.com/office/drawing/2014/main" id="{3B8AEF8B-76DA-44A2-B594-F0971A4FA42E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11418061" y="6051504"/>
            <a:ext cx="360000" cy="401832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2428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43026" y="2348879"/>
            <a:ext cx="9505949" cy="223264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3025" y="1844675"/>
            <a:ext cx="950595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1343025" y="5229225"/>
            <a:ext cx="9505950" cy="720726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91E54CA8-6AFE-47EA-8FCC-A1E0AAF4AB2B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07568" y="6309320"/>
            <a:ext cx="8641408" cy="143298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reeform 8"/>
          <p:cNvSpPr>
            <a:spLocks noChangeAspect="1" noEditPoints="1"/>
          </p:cNvSpPr>
          <p:nvPr userDrawn="1"/>
        </p:nvSpPr>
        <p:spPr bwMode="black">
          <a:xfrm>
            <a:off x="11136013" y="5730039"/>
            <a:ext cx="648000" cy="723297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2918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343026" y="2348879"/>
            <a:ext cx="9505949" cy="223264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343025" y="1844675"/>
            <a:ext cx="950595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1343025" y="5229225"/>
            <a:ext cx="9505950" cy="720726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3" name="Freeform 12"/>
          <p:cNvSpPr>
            <a:spLocks noChangeAspect="1" noEditPoints="1"/>
          </p:cNvSpPr>
          <p:nvPr userDrawn="1"/>
        </p:nvSpPr>
        <p:spPr bwMode="black">
          <a:xfrm>
            <a:off x="11136013" y="5730039"/>
            <a:ext cx="648000" cy="723297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CF6C3D7-230B-4A07-8924-5E2B196C57CC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RIA - RKL yrittäjäpäivä 1.11.2023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7802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343026" y="2348879"/>
            <a:ext cx="9505949" cy="223264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343025" y="1844675"/>
            <a:ext cx="950595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accent2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1343025" y="5229225"/>
            <a:ext cx="9505950" cy="720726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D6F5B6-BF31-4347-B518-07C620E57273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Freeform 9"/>
          <p:cNvSpPr>
            <a:spLocks noChangeAspect="1" noEditPoints="1"/>
          </p:cNvSpPr>
          <p:nvPr userDrawn="1"/>
        </p:nvSpPr>
        <p:spPr bwMode="black">
          <a:xfrm>
            <a:off x="11136013" y="5730039"/>
            <a:ext cx="648000" cy="723297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chemeClr val="accent2"/>
              </a:solidFill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9657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2391EE5B-8CA8-4387-9218-0204062E7D6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368" y="2348879"/>
            <a:ext cx="7128793" cy="223264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01A3B0AB-9E87-478F-AB60-70D4D7D66A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7" y="1844675"/>
            <a:ext cx="7128794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US" dirty="0"/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BE834264-8EE2-4820-BF02-6A796285FB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7" y="5229225"/>
            <a:ext cx="7128794" cy="720726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24B5AA3-F386-4C78-8006-35EA63580A57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07568" y="6309320"/>
            <a:ext cx="8641408" cy="143298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8293B29A-FB85-491D-8AB7-E471AA1D6035}"/>
              </a:ext>
            </a:extLst>
          </p:cNvPr>
          <p:cNvSpPr>
            <a:spLocks noEditPoints="1"/>
          </p:cNvSpPr>
          <p:nvPr userDrawn="1"/>
        </p:nvSpPr>
        <p:spPr bwMode="auto">
          <a:xfrm flipH="1" flipV="1">
            <a:off x="5519494" y="0"/>
            <a:ext cx="6409154" cy="6858000"/>
          </a:xfrm>
          <a:custGeom>
            <a:avLst/>
            <a:gdLst>
              <a:gd name="T0" fmla="*/ 2381 w 4041"/>
              <a:gd name="T1" fmla="*/ 2204 h 4324"/>
              <a:gd name="T2" fmla="*/ 2381 w 4041"/>
              <a:gd name="T3" fmla="*/ 3804 h 4324"/>
              <a:gd name="T4" fmla="*/ 2300 w 4041"/>
              <a:gd name="T5" fmla="*/ 3816 h 4324"/>
              <a:gd name="T6" fmla="*/ 2276 w 4041"/>
              <a:gd name="T7" fmla="*/ 3788 h 4324"/>
              <a:gd name="T8" fmla="*/ 2294 w 4041"/>
              <a:gd name="T9" fmla="*/ 2192 h 4324"/>
              <a:gd name="T10" fmla="*/ 1573 w 4041"/>
              <a:gd name="T11" fmla="*/ 2196 h 4324"/>
              <a:gd name="T12" fmla="*/ 1587 w 4041"/>
              <a:gd name="T13" fmla="*/ 3794 h 4324"/>
              <a:gd name="T14" fmla="*/ 1557 w 4041"/>
              <a:gd name="T15" fmla="*/ 3818 h 4324"/>
              <a:gd name="T16" fmla="*/ 1434 w 4041"/>
              <a:gd name="T17" fmla="*/ 3798 h 4324"/>
              <a:gd name="T18" fmla="*/ 1440 w 4041"/>
              <a:gd name="T19" fmla="*/ 2200 h 4324"/>
              <a:gd name="T20" fmla="*/ 444 w 4041"/>
              <a:gd name="T21" fmla="*/ 2190 h 4324"/>
              <a:gd name="T22" fmla="*/ 469 w 4041"/>
              <a:gd name="T23" fmla="*/ 2220 h 4324"/>
              <a:gd name="T24" fmla="*/ 450 w 4041"/>
              <a:gd name="T25" fmla="*/ 3814 h 4324"/>
              <a:gd name="T26" fmla="*/ 408 w 4041"/>
              <a:gd name="T27" fmla="*/ 3808 h 4324"/>
              <a:gd name="T28" fmla="*/ 400 w 4041"/>
              <a:gd name="T29" fmla="*/ 2208 h 4324"/>
              <a:gd name="T30" fmla="*/ 685 w 4041"/>
              <a:gd name="T31" fmla="*/ 510 h 4324"/>
              <a:gd name="T32" fmla="*/ 808 w 4041"/>
              <a:gd name="T33" fmla="*/ 528 h 4324"/>
              <a:gd name="T34" fmla="*/ 802 w 4041"/>
              <a:gd name="T35" fmla="*/ 2128 h 4324"/>
              <a:gd name="T36" fmla="*/ 672 w 4041"/>
              <a:gd name="T37" fmla="*/ 2134 h 4324"/>
              <a:gd name="T38" fmla="*/ 654 w 4041"/>
              <a:gd name="T39" fmla="*/ 540 h 4324"/>
              <a:gd name="T40" fmla="*/ 679 w 4041"/>
              <a:gd name="T41" fmla="*/ 510 h 4324"/>
              <a:gd name="T42" fmla="*/ 3375 w 4041"/>
              <a:gd name="T43" fmla="*/ 518 h 4324"/>
              <a:gd name="T44" fmla="*/ 3381 w 4041"/>
              <a:gd name="T45" fmla="*/ 2118 h 4324"/>
              <a:gd name="T46" fmla="*/ 3342 w 4041"/>
              <a:gd name="T47" fmla="*/ 2136 h 4324"/>
              <a:gd name="T48" fmla="*/ 3314 w 4041"/>
              <a:gd name="T49" fmla="*/ 2112 h 4324"/>
              <a:gd name="T50" fmla="*/ 3326 w 4041"/>
              <a:gd name="T51" fmla="*/ 514 h 4324"/>
              <a:gd name="T52" fmla="*/ 1862 w 4041"/>
              <a:gd name="T53" fmla="*/ 512 h 4324"/>
              <a:gd name="T54" fmla="*/ 1880 w 4041"/>
              <a:gd name="T55" fmla="*/ 2106 h 4324"/>
              <a:gd name="T56" fmla="*/ 1856 w 4041"/>
              <a:gd name="T57" fmla="*/ 2136 h 4324"/>
              <a:gd name="T58" fmla="*/ 1816 w 4041"/>
              <a:gd name="T59" fmla="*/ 2124 h 4324"/>
              <a:gd name="T60" fmla="*/ 1816 w 4041"/>
              <a:gd name="T61" fmla="*/ 522 h 4324"/>
              <a:gd name="T62" fmla="*/ 30 w 4041"/>
              <a:gd name="T63" fmla="*/ 2136 h 4324"/>
              <a:gd name="T64" fmla="*/ 0 w 4041"/>
              <a:gd name="T65" fmla="*/ 2112 h 4324"/>
              <a:gd name="T66" fmla="*/ 14 w 4041"/>
              <a:gd name="T67" fmla="*/ 514 h 4324"/>
              <a:gd name="T68" fmla="*/ 57 w 4041"/>
              <a:gd name="T69" fmla="*/ 514 h 4324"/>
              <a:gd name="T70" fmla="*/ 71 w 4041"/>
              <a:gd name="T71" fmla="*/ 2112 h 4324"/>
              <a:gd name="T72" fmla="*/ 40 w 4041"/>
              <a:gd name="T73" fmla="*/ 2136 h 4324"/>
              <a:gd name="T74" fmla="*/ 79 w 4041"/>
              <a:gd name="T75" fmla="*/ 3881 h 4324"/>
              <a:gd name="T76" fmla="*/ 208 w 4041"/>
              <a:gd name="T77" fmla="*/ 3873 h 4324"/>
              <a:gd name="T78" fmla="*/ 226 w 4041"/>
              <a:gd name="T79" fmla="*/ 4324 h 4324"/>
              <a:gd name="T80" fmla="*/ 881 w 4041"/>
              <a:gd name="T81" fmla="*/ 3881 h 4324"/>
              <a:gd name="T82" fmla="*/ 927 w 4041"/>
              <a:gd name="T83" fmla="*/ 3873 h 4324"/>
              <a:gd name="T84" fmla="*/ 959 w 4041"/>
              <a:gd name="T85" fmla="*/ 4324 h 4324"/>
              <a:gd name="T86" fmla="*/ 2874 w 4041"/>
              <a:gd name="T87" fmla="*/ 3881 h 4324"/>
              <a:gd name="T88" fmla="*/ 2916 w 4041"/>
              <a:gd name="T89" fmla="*/ 3873 h 4324"/>
              <a:gd name="T90" fmla="*/ 2934 w 4041"/>
              <a:gd name="T91" fmla="*/ 4324 h 4324"/>
              <a:gd name="T92" fmla="*/ 3894 w 4041"/>
              <a:gd name="T93" fmla="*/ 3881 h 4324"/>
              <a:gd name="T94" fmla="*/ 4023 w 4041"/>
              <a:gd name="T95" fmla="*/ 3875 h 4324"/>
              <a:gd name="T96" fmla="*/ 4041 w 4041"/>
              <a:gd name="T97" fmla="*/ 4324 h 4324"/>
              <a:gd name="T98" fmla="*/ 2777 w 4041"/>
              <a:gd name="T99" fmla="*/ 443 h 4324"/>
              <a:gd name="T100" fmla="*/ 2648 w 4041"/>
              <a:gd name="T101" fmla="*/ 449 h 4324"/>
              <a:gd name="T102" fmla="*/ 2629 w 4041"/>
              <a:gd name="T103" fmla="*/ 0 h 4324"/>
              <a:gd name="T104" fmla="*/ 418 w 4041"/>
              <a:gd name="T105" fmla="*/ 449 h 4324"/>
              <a:gd name="T106" fmla="*/ 291 w 4041"/>
              <a:gd name="T107" fmla="*/ 455 h 4324"/>
              <a:gd name="T108" fmla="*/ 271 w 4041"/>
              <a:gd name="T109" fmla="*/ 0 h 4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041" h="4324">
                <a:moveTo>
                  <a:pt x="2306" y="2190"/>
                </a:moveTo>
                <a:lnTo>
                  <a:pt x="2355" y="2190"/>
                </a:lnTo>
                <a:lnTo>
                  <a:pt x="2361" y="2190"/>
                </a:lnTo>
                <a:lnTo>
                  <a:pt x="2367" y="2192"/>
                </a:lnTo>
                <a:lnTo>
                  <a:pt x="2373" y="2196"/>
                </a:lnTo>
                <a:lnTo>
                  <a:pt x="2377" y="2200"/>
                </a:lnTo>
                <a:lnTo>
                  <a:pt x="2381" y="2204"/>
                </a:lnTo>
                <a:lnTo>
                  <a:pt x="2383" y="2208"/>
                </a:lnTo>
                <a:lnTo>
                  <a:pt x="2385" y="2214"/>
                </a:lnTo>
                <a:lnTo>
                  <a:pt x="2385" y="2220"/>
                </a:lnTo>
                <a:lnTo>
                  <a:pt x="2385" y="3788"/>
                </a:lnTo>
                <a:lnTo>
                  <a:pt x="2385" y="3794"/>
                </a:lnTo>
                <a:lnTo>
                  <a:pt x="2383" y="3798"/>
                </a:lnTo>
                <a:lnTo>
                  <a:pt x="2381" y="3804"/>
                </a:lnTo>
                <a:lnTo>
                  <a:pt x="2377" y="3808"/>
                </a:lnTo>
                <a:lnTo>
                  <a:pt x="2373" y="3812"/>
                </a:lnTo>
                <a:lnTo>
                  <a:pt x="2367" y="3814"/>
                </a:lnTo>
                <a:lnTo>
                  <a:pt x="2361" y="3816"/>
                </a:lnTo>
                <a:lnTo>
                  <a:pt x="2355" y="3818"/>
                </a:lnTo>
                <a:lnTo>
                  <a:pt x="2306" y="3818"/>
                </a:lnTo>
                <a:lnTo>
                  <a:pt x="2300" y="3816"/>
                </a:lnTo>
                <a:lnTo>
                  <a:pt x="2294" y="3814"/>
                </a:lnTo>
                <a:lnTo>
                  <a:pt x="2290" y="3812"/>
                </a:lnTo>
                <a:lnTo>
                  <a:pt x="2286" y="3808"/>
                </a:lnTo>
                <a:lnTo>
                  <a:pt x="2282" y="3804"/>
                </a:lnTo>
                <a:lnTo>
                  <a:pt x="2278" y="3798"/>
                </a:lnTo>
                <a:lnTo>
                  <a:pt x="2276" y="3794"/>
                </a:lnTo>
                <a:lnTo>
                  <a:pt x="2276" y="3788"/>
                </a:lnTo>
                <a:lnTo>
                  <a:pt x="2276" y="2220"/>
                </a:lnTo>
                <a:lnTo>
                  <a:pt x="2276" y="2214"/>
                </a:lnTo>
                <a:lnTo>
                  <a:pt x="2278" y="2208"/>
                </a:lnTo>
                <a:lnTo>
                  <a:pt x="2282" y="2204"/>
                </a:lnTo>
                <a:lnTo>
                  <a:pt x="2286" y="2200"/>
                </a:lnTo>
                <a:lnTo>
                  <a:pt x="2290" y="2196"/>
                </a:lnTo>
                <a:lnTo>
                  <a:pt x="2294" y="2192"/>
                </a:lnTo>
                <a:lnTo>
                  <a:pt x="2300" y="2190"/>
                </a:lnTo>
                <a:lnTo>
                  <a:pt x="2306" y="2190"/>
                </a:lnTo>
                <a:close/>
                <a:moveTo>
                  <a:pt x="1462" y="2190"/>
                </a:moveTo>
                <a:lnTo>
                  <a:pt x="1557" y="2190"/>
                </a:lnTo>
                <a:lnTo>
                  <a:pt x="1563" y="2190"/>
                </a:lnTo>
                <a:lnTo>
                  <a:pt x="1569" y="2192"/>
                </a:lnTo>
                <a:lnTo>
                  <a:pt x="1573" y="2196"/>
                </a:lnTo>
                <a:lnTo>
                  <a:pt x="1579" y="2200"/>
                </a:lnTo>
                <a:lnTo>
                  <a:pt x="1581" y="2204"/>
                </a:lnTo>
                <a:lnTo>
                  <a:pt x="1585" y="2208"/>
                </a:lnTo>
                <a:lnTo>
                  <a:pt x="1587" y="2214"/>
                </a:lnTo>
                <a:lnTo>
                  <a:pt x="1587" y="2220"/>
                </a:lnTo>
                <a:lnTo>
                  <a:pt x="1587" y="3788"/>
                </a:lnTo>
                <a:lnTo>
                  <a:pt x="1587" y="3794"/>
                </a:lnTo>
                <a:lnTo>
                  <a:pt x="1585" y="3798"/>
                </a:lnTo>
                <a:lnTo>
                  <a:pt x="1581" y="3804"/>
                </a:lnTo>
                <a:lnTo>
                  <a:pt x="1579" y="3808"/>
                </a:lnTo>
                <a:lnTo>
                  <a:pt x="1573" y="3812"/>
                </a:lnTo>
                <a:lnTo>
                  <a:pt x="1569" y="3814"/>
                </a:lnTo>
                <a:lnTo>
                  <a:pt x="1563" y="3816"/>
                </a:lnTo>
                <a:lnTo>
                  <a:pt x="1557" y="3818"/>
                </a:lnTo>
                <a:lnTo>
                  <a:pt x="1462" y="3818"/>
                </a:lnTo>
                <a:lnTo>
                  <a:pt x="1456" y="3816"/>
                </a:lnTo>
                <a:lnTo>
                  <a:pt x="1450" y="3814"/>
                </a:lnTo>
                <a:lnTo>
                  <a:pt x="1446" y="3812"/>
                </a:lnTo>
                <a:lnTo>
                  <a:pt x="1440" y="3808"/>
                </a:lnTo>
                <a:lnTo>
                  <a:pt x="1436" y="3804"/>
                </a:lnTo>
                <a:lnTo>
                  <a:pt x="1434" y="3798"/>
                </a:lnTo>
                <a:lnTo>
                  <a:pt x="1432" y="3794"/>
                </a:lnTo>
                <a:lnTo>
                  <a:pt x="1432" y="3788"/>
                </a:lnTo>
                <a:lnTo>
                  <a:pt x="1432" y="2220"/>
                </a:lnTo>
                <a:lnTo>
                  <a:pt x="1432" y="2214"/>
                </a:lnTo>
                <a:lnTo>
                  <a:pt x="1434" y="2208"/>
                </a:lnTo>
                <a:lnTo>
                  <a:pt x="1436" y="2204"/>
                </a:lnTo>
                <a:lnTo>
                  <a:pt x="1440" y="2200"/>
                </a:lnTo>
                <a:lnTo>
                  <a:pt x="1446" y="2196"/>
                </a:lnTo>
                <a:lnTo>
                  <a:pt x="1450" y="2192"/>
                </a:lnTo>
                <a:lnTo>
                  <a:pt x="1456" y="2190"/>
                </a:lnTo>
                <a:lnTo>
                  <a:pt x="1462" y="2190"/>
                </a:lnTo>
                <a:close/>
                <a:moveTo>
                  <a:pt x="428" y="2190"/>
                </a:moveTo>
                <a:lnTo>
                  <a:pt x="438" y="2190"/>
                </a:lnTo>
                <a:lnTo>
                  <a:pt x="444" y="2190"/>
                </a:lnTo>
                <a:lnTo>
                  <a:pt x="450" y="2192"/>
                </a:lnTo>
                <a:lnTo>
                  <a:pt x="454" y="2196"/>
                </a:lnTo>
                <a:lnTo>
                  <a:pt x="460" y="2200"/>
                </a:lnTo>
                <a:lnTo>
                  <a:pt x="462" y="2204"/>
                </a:lnTo>
                <a:lnTo>
                  <a:pt x="467" y="2208"/>
                </a:lnTo>
                <a:lnTo>
                  <a:pt x="469" y="2214"/>
                </a:lnTo>
                <a:lnTo>
                  <a:pt x="469" y="2220"/>
                </a:lnTo>
                <a:lnTo>
                  <a:pt x="469" y="3788"/>
                </a:lnTo>
                <a:lnTo>
                  <a:pt x="469" y="3794"/>
                </a:lnTo>
                <a:lnTo>
                  <a:pt x="467" y="3798"/>
                </a:lnTo>
                <a:lnTo>
                  <a:pt x="462" y="3804"/>
                </a:lnTo>
                <a:lnTo>
                  <a:pt x="460" y="3808"/>
                </a:lnTo>
                <a:lnTo>
                  <a:pt x="454" y="3812"/>
                </a:lnTo>
                <a:lnTo>
                  <a:pt x="450" y="3814"/>
                </a:lnTo>
                <a:lnTo>
                  <a:pt x="444" y="3816"/>
                </a:lnTo>
                <a:lnTo>
                  <a:pt x="438" y="3818"/>
                </a:lnTo>
                <a:lnTo>
                  <a:pt x="428" y="3818"/>
                </a:lnTo>
                <a:lnTo>
                  <a:pt x="422" y="3816"/>
                </a:lnTo>
                <a:lnTo>
                  <a:pt x="416" y="3814"/>
                </a:lnTo>
                <a:lnTo>
                  <a:pt x="412" y="3812"/>
                </a:lnTo>
                <a:lnTo>
                  <a:pt x="408" y="3808"/>
                </a:lnTo>
                <a:lnTo>
                  <a:pt x="404" y="3804"/>
                </a:lnTo>
                <a:lnTo>
                  <a:pt x="400" y="3798"/>
                </a:lnTo>
                <a:lnTo>
                  <a:pt x="400" y="3794"/>
                </a:lnTo>
                <a:lnTo>
                  <a:pt x="398" y="3788"/>
                </a:lnTo>
                <a:lnTo>
                  <a:pt x="398" y="2220"/>
                </a:lnTo>
                <a:lnTo>
                  <a:pt x="400" y="2214"/>
                </a:lnTo>
                <a:lnTo>
                  <a:pt x="400" y="2208"/>
                </a:lnTo>
                <a:lnTo>
                  <a:pt x="404" y="2204"/>
                </a:lnTo>
                <a:lnTo>
                  <a:pt x="408" y="2200"/>
                </a:lnTo>
                <a:lnTo>
                  <a:pt x="412" y="2196"/>
                </a:lnTo>
                <a:lnTo>
                  <a:pt x="416" y="2192"/>
                </a:lnTo>
                <a:lnTo>
                  <a:pt x="422" y="2190"/>
                </a:lnTo>
                <a:lnTo>
                  <a:pt x="428" y="2190"/>
                </a:lnTo>
                <a:close/>
                <a:moveTo>
                  <a:pt x="685" y="510"/>
                </a:moveTo>
                <a:lnTo>
                  <a:pt x="780" y="510"/>
                </a:lnTo>
                <a:lnTo>
                  <a:pt x="786" y="510"/>
                </a:lnTo>
                <a:lnTo>
                  <a:pt x="792" y="512"/>
                </a:lnTo>
                <a:lnTo>
                  <a:pt x="796" y="514"/>
                </a:lnTo>
                <a:lnTo>
                  <a:pt x="802" y="518"/>
                </a:lnTo>
                <a:lnTo>
                  <a:pt x="804" y="522"/>
                </a:lnTo>
                <a:lnTo>
                  <a:pt x="808" y="528"/>
                </a:lnTo>
                <a:lnTo>
                  <a:pt x="810" y="534"/>
                </a:lnTo>
                <a:lnTo>
                  <a:pt x="810" y="540"/>
                </a:lnTo>
                <a:lnTo>
                  <a:pt x="810" y="2106"/>
                </a:lnTo>
                <a:lnTo>
                  <a:pt x="810" y="2112"/>
                </a:lnTo>
                <a:lnTo>
                  <a:pt x="808" y="2118"/>
                </a:lnTo>
                <a:lnTo>
                  <a:pt x="804" y="2124"/>
                </a:lnTo>
                <a:lnTo>
                  <a:pt x="802" y="2128"/>
                </a:lnTo>
                <a:lnTo>
                  <a:pt x="796" y="2132"/>
                </a:lnTo>
                <a:lnTo>
                  <a:pt x="792" y="2134"/>
                </a:lnTo>
                <a:lnTo>
                  <a:pt x="786" y="2136"/>
                </a:lnTo>
                <a:lnTo>
                  <a:pt x="780" y="2136"/>
                </a:lnTo>
                <a:lnTo>
                  <a:pt x="685" y="2136"/>
                </a:lnTo>
                <a:lnTo>
                  <a:pt x="679" y="2136"/>
                </a:lnTo>
                <a:lnTo>
                  <a:pt x="672" y="2134"/>
                </a:lnTo>
                <a:lnTo>
                  <a:pt x="668" y="2132"/>
                </a:lnTo>
                <a:lnTo>
                  <a:pt x="662" y="2128"/>
                </a:lnTo>
                <a:lnTo>
                  <a:pt x="660" y="2124"/>
                </a:lnTo>
                <a:lnTo>
                  <a:pt x="656" y="2118"/>
                </a:lnTo>
                <a:lnTo>
                  <a:pt x="654" y="2112"/>
                </a:lnTo>
                <a:lnTo>
                  <a:pt x="654" y="2106"/>
                </a:lnTo>
                <a:lnTo>
                  <a:pt x="654" y="540"/>
                </a:lnTo>
                <a:lnTo>
                  <a:pt x="654" y="534"/>
                </a:lnTo>
                <a:lnTo>
                  <a:pt x="656" y="528"/>
                </a:lnTo>
                <a:lnTo>
                  <a:pt x="660" y="522"/>
                </a:lnTo>
                <a:lnTo>
                  <a:pt x="662" y="518"/>
                </a:lnTo>
                <a:lnTo>
                  <a:pt x="668" y="514"/>
                </a:lnTo>
                <a:lnTo>
                  <a:pt x="672" y="512"/>
                </a:lnTo>
                <a:lnTo>
                  <a:pt x="679" y="510"/>
                </a:lnTo>
                <a:lnTo>
                  <a:pt x="685" y="510"/>
                </a:lnTo>
                <a:close/>
                <a:moveTo>
                  <a:pt x="3342" y="510"/>
                </a:moveTo>
                <a:lnTo>
                  <a:pt x="3352" y="510"/>
                </a:lnTo>
                <a:lnTo>
                  <a:pt x="3358" y="510"/>
                </a:lnTo>
                <a:lnTo>
                  <a:pt x="3364" y="512"/>
                </a:lnTo>
                <a:lnTo>
                  <a:pt x="3369" y="514"/>
                </a:lnTo>
                <a:lnTo>
                  <a:pt x="3375" y="518"/>
                </a:lnTo>
                <a:lnTo>
                  <a:pt x="3377" y="522"/>
                </a:lnTo>
                <a:lnTo>
                  <a:pt x="3381" y="528"/>
                </a:lnTo>
                <a:lnTo>
                  <a:pt x="3383" y="534"/>
                </a:lnTo>
                <a:lnTo>
                  <a:pt x="3383" y="540"/>
                </a:lnTo>
                <a:lnTo>
                  <a:pt x="3383" y="2106"/>
                </a:lnTo>
                <a:lnTo>
                  <a:pt x="3383" y="2112"/>
                </a:lnTo>
                <a:lnTo>
                  <a:pt x="3381" y="2118"/>
                </a:lnTo>
                <a:lnTo>
                  <a:pt x="3377" y="2124"/>
                </a:lnTo>
                <a:lnTo>
                  <a:pt x="3375" y="2128"/>
                </a:lnTo>
                <a:lnTo>
                  <a:pt x="3369" y="2132"/>
                </a:lnTo>
                <a:lnTo>
                  <a:pt x="3364" y="2134"/>
                </a:lnTo>
                <a:lnTo>
                  <a:pt x="3358" y="2136"/>
                </a:lnTo>
                <a:lnTo>
                  <a:pt x="3352" y="2136"/>
                </a:lnTo>
                <a:lnTo>
                  <a:pt x="3342" y="2136"/>
                </a:lnTo>
                <a:lnTo>
                  <a:pt x="3336" y="2136"/>
                </a:lnTo>
                <a:lnTo>
                  <a:pt x="3330" y="2134"/>
                </a:lnTo>
                <a:lnTo>
                  <a:pt x="3326" y="2132"/>
                </a:lnTo>
                <a:lnTo>
                  <a:pt x="3322" y="2128"/>
                </a:lnTo>
                <a:lnTo>
                  <a:pt x="3318" y="2124"/>
                </a:lnTo>
                <a:lnTo>
                  <a:pt x="3314" y="2118"/>
                </a:lnTo>
                <a:lnTo>
                  <a:pt x="3314" y="2112"/>
                </a:lnTo>
                <a:lnTo>
                  <a:pt x="3312" y="2106"/>
                </a:lnTo>
                <a:lnTo>
                  <a:pt x="3312" y="540"/>
                </a:lnTo>
                <a:lnTo>
                  <a:pt x="3314" y="534"/>
                </a:lnTo>
                <a:lnTo>
                  <a:pt x="3314" y="528"/>
                </a:lnTo>
                <a:lnTo>
                  <a:pt x="3318" y="522"/>
                </a:lnTo>
                <a:lnTo>
                  <a:pt x="3322" y="518"/>
                </a:lnTo>
                <a:lnTo>
                  <a:pt x="3326" y="514"/>
                </a:lnTo>
                <a:lnTo>
                  <a:pt x="3330" y="512"/>
                </a:lnTo>
                <a:lnTo>
                  <a:pt x="3336" y="510"/>
                </a:lnTo>
                <a:lnTo>
                  <a:pt x="3342" y="510"/>
                </a:lnTo>
                <a:close/>
                <a:moveTo>
                  <a:pt x="1842" y="510"/>
                </a:moveTo>
                <a:lnTo>
                  <a:pt x="1850" y="510"/>
                </a:lnTo>
                <a:lnTo>
                  <a:pt x="1856" y="510"/>
                </a:lnTo>
                <a:lnTo>
                  <a:pt x="1862" y="512"/>
                </a:lnTo>
                <a:lnTo>
                  <a:pt x="1868" y="514"/>
                </a:lnTo>
                <a:lnTo>
                  <a:pt x="1872" y="518"/>
                </a:lnTo>
                <a:lnTo>
                  <a:pt x="1876" y="522"/>
                </a:lnTo>
                <a:lnTo>
                  <a:pt x="1878" y="528"/>
                </a:lnTo>
                <a:lnTo>
                  <a:pt x="1880" y="534"/>
                </a:lnTo>
                <a:lnTo>
                  <a:pt x="1880" y="540"/>
                </a:lnTo>
                <a:lnTo>
                  <a:pt x="1880" y="2106"/>
                </a:lnTo>
                <a:lnTo>
                  <a:pt x="1880" y="2112"/>
                </a:lnTo>
                <a:lnTo>
                  <a:pt x="1878" y="2118"/>
                </a:lnTo>
                <a:lnTo>
                  <a:pt x="1876" y="2124"/>
                </a:lnTo>
                <a:lnTo>
                  <a:pt x="1872" y="2128"/>
                </a:lnTo>
                <a:lnTo>
                  <a:pt x="1868" y="2132"/>
                </a:lnTo>
                <a:lnTo>
                  <a:pt x="1862" y="2134"/>
                </a:lnTo>
                <a:lnTo>
                  <a:pt x="1856" y="2136"/>
                </a:lnTo>
                <a:lnTo>
                  <a:pt x="1850" y="2136"/>
                </a:lnTo>
                <a:lnTo>
                  <a:pt x="1842" y="2136"/>
                </a:lnTo>
                <a:lnTo>
                  <a:pt x="1836" y="2136"/>
                </a:lnTo>
                <a:lnTo>
                  <a:pt x="1830" y="2134"/>
                </a:lnTo>
                <a:lnTo>
                  <a:pt x="1824" y="2132"/>
                </a:lnTo>
                <a:lnTo>
                  <a:pt x="1820" y="2128"/>
                </a:lnTo>
                <a:lnTo>
                  <a:pt x="1816" y="2124"/>
                </a:lnTo>
                <a:lnTo>
                  <a:pt x="1814" y="2118"/>
                </a:lnTo>
                <a:lnTo>
                  <a:pt x="1811" y="2112"/>
                </a:lnTo>
                <a:lnTo>
                  <a:pt x="1811" y="2106"/>
                </a:lnTo>
                <a:lnTo>
                  <a:pt x="1811" y="540"/>
                </a:lnTo>
                <a:lnTo>
                  <a:pt x="1811" y="534"/>
                </a:lnTo>
                <a:lnTo>
                  <a:pt x="1814" y="528"/>
                </a:lnTo>
                <a:lnTo>
                  <a:pt x="1816" y="522"/>
                </a:lnTo>
                <a:lnTo>
                  <a:pt x="1820" y="518"/>
                </a:lnTo>
                <a:lnTo>
                  <a:pt x="1824" y="514"/>
                </a:lnTo>
                <a:lnTo>
                  <a:pt x="1830" y="512"/>
                </a:lnTo>
                <a:lnTo>
                  <a:pt x="1836" y="510"/>
                </a:lnTo>
                <a:lnTo>
                  <a:pt x="1842" y="510"/>
                </a:lnTo>
                <a:close/>
                <a:moveTo>
                  <a:pt x="40" y="2136"/>
                </a:moveTo>
                <a:lnTo>
                  <a:pt x="30" y="2136"/>
                </a:lnTo>
                <a:lnTo>
                  <a:pt x="24" y="2136"/>
                </a:lnTo>
                <a:lnTo>
                  <a:pt x="18" y="2134"/>
                </a:lnTo>
                <a:lnTo>
                  <a:pt x="14" y="2132"/>
                </a:lnTo>
                <a:lnTo>
                  <a:pt x="10" y="2128"/>
                </a:lnTo>
                <a:lnTo>
                  <a:pt x="6" y="2124"/>
                </a:lnTo>
                <a:lnTo>
                  <a:pt x="2" y="2118"/>
                </a:lnTo>
                <a:lnTo>
                  <a:pt x="0" y="2112"/>
                </a:lnTo>
                <a:lnTo>
                  <a:pt x="0" y="2106"/>
                </a:lnTo>
                <a:lnTo>
                  <a:pt x="0" y="540"/>
                </a:lnTo>
                <a:lnTo>
                  <a:pt x="0" y="534"/>
                </a:lnTo>
                <a:lnTo>
                  <a:pt x="2" y="528"/>
                </a:lnTo>
                <a:lnTo>
                  <a:pt x="6" y="522"/>
                </a:lnTo>
                <a:lnTo>
                  <a:pt x="10" y="518"/>
                </a:lnTo>
                <a:lnTo>
                  <a:pt x="14" y="514"/>
                </a:lnTo>
                <a:lnTo>
                  <a:pt x="18" y="512"/>
                </a:lnTo>
                <a:lnTo>
                  <a:pt x="24" y="510"/>
                </a:lnTo>
                <a:lnTo>
                  <a:pt x="30" y="510"/>
                </a:lnTo>
                <a:lnTo>
                  <a:pt x="40" y="510"/>
                </a:lnTo>
                <a:lnTo>
                  <a:pt x="46" y="510"/>
                </a:lnTo>
                <a:lnTo>
                  <a:pt x="53" y="512"/>
                </a:lnTo>
                <a:lnTo>
                  <a:pt x="57" y="514"/>
                </a:lnTo>
                <a:lnTo>
                  <a:pt x="61" y="518"/>
                </a:lnTo>
                <a:lnTo>
                  <a:pt x="65" y="522"/>
                </a:lnTo>
                <a:lnTo>
                  <a:pt x="69" y="528"/>
                </a:lnTo>
                <a:lnTo>
                  <a:pt x="71" y="534"/>
                </a:lnTo>
                <a:lnTo>
                  <a:pt x="71" y="540"/>
                </a:lnTo>
                <a:lnTo>
                  <a:pt x="71" y="2106"/>
                </a:lnTo>
                <a:lnTo>
                  <a:pt x="71" y="2112"/>
                </a:lnTo>
                <a:lnTo>
                  <a:pt x="69" y="2118"/>
                </a:lnTo>
                <a:lnTo>
                  <a:pt x="65" y="2124"/>
                </a:lnTo>
                <a:lnTo>
                  <a:pt x="61" y="2128"/>
                </a:lnTo>
                <a:lnTo>
                  <a:pt x="57" y="2132"/>
                </a:lnTo>
                <a:lnTo>
                  <a:pt x="53" y="2134"/>
                </a:lnTo>
                <a:lnTo>
                  <a:pt x="46" y="2136"/>
                </a:lnTo>
                <a:lnTo>
                  <a:pt x="40" y="2136"/>
                </a:lnTo>
                <a:close/>
                <a:moveTo>
                  <a:pt x="226" y="4324"/>
                </a:moveTo>
                <a:lnTo>
                  <a:pt x="71" y="4324"/>
                </a:lnTo>
                <a:lnTo>
                  <a:pt x="71" y="3901"/>
                </a:lnTo>
                <a:lnTo>
                  <a:pt x="71" y="3895"/>
                </a:lnTo>
                <a:lnTo>
                  <a:pt x="73" y="3889"/>
                </a:lnTo>
                <a:lnTo>
                  <a:pt x="75" y="3885"/>
                </a:lnTo>
                <a:lnTo>
                  <a:pt x="79" y="3881"/>
                </a:lnTo>
                <a:lnTo>
                  <a:pt x="83" y="3877"/>
                </a:lnTo>
                <a:lnTo>
                  <a:pt x="89" y="3873"/>
                </a:lnTo>
                <a:lnTo>
                  <a:pt x="95" y="3873"/>
                </a:lnTo>
                <a:lnTo>
                  <a:pt x="101" y="3871"/>
                </a:lnTo>
                <a:lnTo>
                  <a:pt x="196" y="3871"/>
                </a:lnTo>
                <a:lnTo>
                  <a:pt x="202" y="3873"/>
                </a:lnTo>
                <a:lnTo>
                  <a:pt x="208" y="3873"/>
                </a:lnTo>
                <a:lnTo>
                  <a:pt x="212" y="3877"/>
                </a:lnTo>
                <a:lnTo>
                  <a:pt x="216" y="3881"/>
                </a:lnTo>
                <a:lnTo>
                  <a:pt x="220" y="3885"/>
                </a:lnTo>
                <a:lnTo>
                  <a:pt x="224" y="3889"/>
                </a:lnTo>
                <a:lnTo>
                  <a:pt x="226" y="3895"/>
                </a:lnTo>
                <a:lnTo>
                  <a:pt x="226" y="3901"/>
                </a:lnTo>
                <a:lnTo>
                  <a:pt x="226" y="4324"/>
                </a:lnTo>
                <a:close/>
                <a:moveTo>
                  <a:pt x="959" y="4324"/>
                </a:moveTo>
                <a:lnTo>
                  <a:pt x="872" y="4324"/>
                </a:lnTo>
                <a:lnTo>
                  <a:pt x="872" y="3901"/>
                </a:lnTo>
                <a:lnTo>
                  <a:pt x="872" y="3895"/>
                </a:lnTo>
                <a:lnTo>
                  <a:pt x="874" y="3889"/>
                </a:lnTo>
                <a:lnTo>
                  <a:pt x="878" y="3885"/>
                </a:lnTo>
                <a:lnTo>
                  <a:pt x="881" y="3881"/>
                </a:lnTo>
                <a:lnTo>
                  <a:pt x="887" y="3877"/>
                </a:lnTo>
                <a:lnTo>
                  <a:pt x="891" y="3873"/>
                </a:lnTo>
                <a:lnTo>
                  <a:pt x="897" y="3873"/>
                </a:lnTo>
                <a:lnTo>
                  <a:pt x="903" y="3871"/>
                </a:lnTo>
                <a:lnTo>
                  <a:pt x="913" y="3871"/>
                </a:lnTo>
                <a:lnTo>
                  <a:pt x="919" y="3873"/>
                </a:lnTo>
                <a:lnTo>
                  <a:pt x="927" y="3873"/>
                </a:lnTo>
                <a:lnTo>
                  <a:pt x="935" y="3877"/>
                </a:lnTo>
                <a:lnTo>
                  <a:pt x="941" y="3881"/>
                </a:lnTo>
                <a:lnTo>
                  <a:pt x="949" y="3885"/>
                </a:lnTo>
                <a:lnTo>
                  <a:pt x="953" y="3889"/>
                </a:lnTo>
                <a:lnTo>
                  <a:pt x="957" y="3895"/>
                </a:lnTo>
                <a:lnTo>
                  <a:pt x="959" y="3901"/>
                </a:lnTo>
                <a:lnTo>
                  <a:pt x="959" y="4324"/>
                </a:lnTo>
                <a:close/>
                <a:moveTo>
                  <a:pt x="2934" y="4324"/>
                </a:moveTo>
                <a:lnTo>
                  <a:pt x="2866" y="4324"/>
                </a:lnTo>
                <a:lnTo>
                  <a:pt x="2866" y="3901"/>
                </a:lnTo>
                <a:lnTo>
                  <a:pt x="2866" y="3895"/>
                </a:lnTo>
                <a:lnTo>
                  <a:pt x="2868" y="3889"/>
                </a:lnTo>
                <a:lnTo>
                  <a:pt x="2870" y="3885"/>
                </a:lnTo>
                <a:lnTo>
                  <a:pt x="2874" y="3881"/>
                </a:lnTo>
                <a:lnTo>
                  <a:pt x="2878" y="3877"/>
                </a:lnTo>
                <a:lnTo>
                  <a:pt x="2884" y="3873"/>
                </a:lnTo>
                <a:lnTo>
                  <a:pt x="2890" y="3873"/>
                </a:lnTo>
                <a:lnTo>
                  <a:pt x="2896" y="3871"/>
                </a:lnTo>
                <a:lnTo>
                  <a:pt x="2904" y="3871"/>
                </a:lnTo>
                <a:lnTo>
                  <a:pt x="2910" y="3873"/>
                </a:lnTo>
                <a:lnTo>
                  <a:pt x="2916" y="3873"/>
                </a:lnTo>
                <a:lnTo>
                  <a:pt x="2922" y="3877"/>
                </a:lnTo>
                <a:lnTo>
                  <a:pt x="2926" y="3881"/>
                </a:lnTo>
                <a:lnTo>
                  <a:pt x="2930" y="3885"/>
                </a:lnTo>
                <a:lnTo>
                  <a:pt x="2932" y="3889"/>
                </a:lnTo>
                <a:lnTo>
                  <a:pt x="2934" y="3895"/>
                </a:lnTo>
                <a:lnTo>
                  <a:pt x="2934" y="3901"/>
                </a:lnTo>
                <a:lnTo>
                  <a:pt x="2934" y="4324"/>
                </a:lnTo>
                <a:close/>
                <a:moveTo>
                  <a:pt x="4041" y="4324"/>
                </a:moveTo>
                <a:lnTo>
                  <a:pt x="3886" y="4324"/>
                </a:lnTo>
                <a:lnTo>
                  <a:pt x="3886" y="3903"/>
                </a:lnTo>
                <a:lnTo>
                  <a:pt x="3886" y="3897"/>
                </a:lnTo>
                <a:lnTo>
                  <a:pt x="3888" y="3891"/>
                </a:lnTo>
                <a:lnTo>
                  <a:pt x="3890" y="3887"/>
                </a:lnTo>
                <a:lnTo>
                  <a:pt x="3894" y="3881"/>
                </a:lnTo>
                <a:lnTo>
                  <a:pt x="3898" y="3879"/>
                </a:lnTo>
                <a:lnTo>
                  <a:pt x="3904" y="3875"/>
                </a:lnTo>
                <a:lnTo>
                  <a:pt x="3910" y="3873"/>
                </a:lnTo>
                <a:lnTo>
                  <a:pt x="3916" y="3873"/>
                </a:lnTo>
                <a:lnTo>
                  <a:pt x="4011" y="3873"/>
                </a:lnTo>
                <a:lnTo>
                  <a:pt x="4017" y="3873"/>
                </a:lnTo>
                <a:lnTo>
                  <a:pt x="4023" y="3875"/>
                </a:lnTo>
                <a:lnTo>
                  <a:pt x="4027" y="3879"/>
                </a:lnTo>
                <a:lnTo>
                  <a:pt x="4031" y="3881"/>
                </a:lnTo>
                <a:lnTo>
                  <a:pt x="4035" y="3887"/>
                </a:lnTo>
                <a:lnTo>
                  <a:pt x="4039" y="3891"/>
                </a:lnTo>
                <a:lnTo>
                  <a:pt x="4039" y="3897"/>
                </a:lnTo>
                <a:lnTo>
                  <a:pt x="4041" y="3903"/>
                </a:lnTo>
                <a:lnTo>
                  <a:pt x="4041" y="4324"/>
                </a:lnTo>
                <a:close/>
                <a:moveTo>
                  <a:pt x="2629" y="0"/>
                </a:moveTo>
                <a:lnTo>
                  <a:pt x="2785" y="0"/>
                </a:lnTo>
                <a:lnTo>
                  <a:pt x="2785" y="421"/>
                </a:lnTo>
                <a:lnTo>
                  <a:pt x="2785" y="427"/>
                </a:lnTo>
                <a:lnTo>
                  <a:pt x="2783" y="433"/>
                </a:lnTo>
                <a:lnTo>
                  <a:pt x="2781" y="437"/>
                </a:lnTo>
                <a:lnTo>
                  <a:pt x="2777" y="443"/>
                </a:lnTo>
                <a:lnTo>
                  <a:pt x="2773" y="445"/>
                </a:lnTo>
                <a:lnTo>
                  <a:pt x="2767" y="449"/>
                </a:lnTo>
                <a:lnTo>
                  <a:pt x="2761" y="451"/>
                </a:lnTo>
                <a:lnTo>
                  <a:pt x="2755" y="451"/>
                </a:lnTo>
                <a:lnTo>
                  <a:pt x="2660" y="451"/>
                </a:lnTo>
                <a:lnTo>
                  <a:pt x="2654" y="451"/>
                </a:lnTo>
                <a:lnTo>
                  <a:pt x="2648" y="449"/>
                </a:lnTo>
                <a:lnTo>
                  <a:pt x="2644" y="445"/>
                </a:lnTo>
                <a:lnTo>
                  <a:pt x="2639" y="443"/>
                </a:lnTo>
                <a:lnTo>
                  <a:pt x="2635" y="437"/>
                </a:lnTo>
                <a:lnTo>
                  <a:pt x="2631" y="433"/>
                </a:lnTo>
                <a:lnTo>
                  <a:pt x="2631" y="427"/>
                </a:lnTo>
                <a:lnTo>
                  <a:pt x="2629" y="421"/>
                </a:lnTo>
                <a:lnTo>
                  <a:pt x="2629" y="0"/>
                </a:lnTo>
                <a:close/>
                <a:moveTo>
                  <a:pt x="271" y="0"/>
                </a:moveTo>
                <a:lnTo>
                  <a:pt x="426" y="0"/>
                </a:lnTo>
                <a:lnTo>
                  <a:pt x="426" y="427"/>
                </a:lnTo>
                <a:lnTo>
                  <a:pt x="426" y="433"/>
                </a:lnTo>
                <a:lnTo>
                  <a:pt x="424" y="439"/>
                </a:lnTo>
                <a:lnTo>
                  <a:pt x="422" y="445"/>
                </a:lnTo>
                <a:lnTo>
                  <a:pt x="418" y="449"/>
                </a:lnTo>
                <a:lnTo>
                  <a:pt x="414" y="453"/>
                </a:lnTo>
                <a:lnTo>
                  <a:pt x="408" y="455"/>
                </a:lnTo>
                <a:lnTo>
                  <a:pt x="402" y="457"/>
                </a:lnTo>
                <a:lnTo>
                  <a:pt x="396" y="457"/>
                </a:lnTo>
                <a:lnTo>
                  <a:pt x="301" y="457"/>
                </a:lnTo>
                <a:lnTo>
                  <a:pt x="295" y="457"/>
                </a:lnTo>
                <a:lnTo>
                  <a:pt x="291" y="455"/>
                </a:lnTo>
                <a:lnTo>
                  <a:pt x="285" y="453"/>
                </a:lnTo>
                <a:lnTo>
                  <a:pt x="281" y="449"/>
                </a:lnTo>
                <a:lnTo>
                  <a:pt x="277" y="445"/>
                </a:lnTo>
                <a:lnTo>
                  <a:pt x="275" y="439"/>
                </a:lnTo>
                <a:lnTo>
                  <a:pt x="273" y="433"/>
                </a:lnTo>
                <a:lnTo>
                  <a:pt x="271" y="427"/>
                </a:lnTo>
                <a:lnTo>
                  <a:pt x="271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6" name="Freeform 9">
            <a:extLst>
              <a:ext uri="{FF2B5EF4-FFF2-40B4-BE49-F238E27FC236}">
                <a16:creationId xmlns:a16="http://schemas.microsoft.com/office/drawing/2014/main" id="{ED7546D9-DE81-4986-BBF3-7574549AC70E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07368" y="404664"/>
            <a:ext cx="648000" cy="723297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chemeClr val="accent2"/>
              </a:solidFill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7406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3E96B2F2-701F-4684-8CB9-4C3BC20753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368" y="2348879"/>
            <a:ext cx="7128793" cy="223264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DB69179C-FECE-4849-8EEE-418E3742C6C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7" y="1844675"/>
            <a:ext cx="7128794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US" dirty="0"/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74DDDCD8-8A48-4356-8FBD-4FC5129F04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7" y="5229225"/>
            <a:ext cx="7128794" cy="720726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5A6E95C-613C-412E-99E8-D766731DFD1B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07568" y="6309320"/>
            <a:ext cx="8641408" cy="143298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reeform 5">
            <a:extLst>
              <a:ext uri="{FF2B5EF4-FFF2-40B4-BE49-F238E27FC236}">
                <a16:creationId xmlns:a16="http://schemas.microsoft.com/office/drawing/2014/main" id="{5F22D922-A299-4B36-AA1F-54B416857728}"/>
              </a:ext>
            </a:extLst>
          </p:cNvPr>
          <p:cNvSpPr>
            <a:spLocks noEditPoints="1"/>
          </p:cNvSpPr>
          <p:nvPr userDrawn="1"/>
        </p:nvSpPr>
        <p:spPr bwMode="auto">
          <a:xfrm flipH="1" flipV="1">
            <a:off x="5519494" y="0"/>
            <a:ext cx="6409154" cy="6858000"/>
          </a:xfrm>
          <a:custGeom>
            <a:avLst/>
            <a:gdLst>
              <a:gd name="T0" fmla="*/ 2381 w 4041"/>
              <a:gd name="T1" fmla="*/ 2204 h 4324"/>
              <a:gd name="T2" fmla="*/ 2381 w 4041"/>
              <a:gd name="T3" fmla="*/ 3804 h 4324"/>
              <a:gd name="T4" fmla="*/ 2300 w 4041"/>
              <a:gd name="T5" fmla="*/ 3816 h 4324"/>
              <a:gd name="T6" fmla="*/ 2276 w 4041"/>
              <a:gd name="T7" fmla="*/ 3788 h 4324"/>
              <a:gd name="T8" fmla="*/ 2294 w 4041"/>
              <a:gd name="T9" fmla="*/ 2192 h 4324"/>
              <a:gd name="T10" fmla="*/ 1573 w 4041"/>
              <a:gd name="T11" fmla="*/ 2196 h 4324"/>
              <a:gd name="T12" fmla="*/ 1587 w 4041"/>
              <a:gd name="T13" fmla="*/ 3794 h 4324"/>
              <a:gd name="T14" fmla="*/ 1557 w 4041"/>
              <a:gd name="T15" fmla="*/ 3818 h 4324"/>
              <a:gd name="T16" fmla="*/ 1434 w 4041"/>
              <a:gd name="T17" fmla="*/ 3798 h 4324"/>
              <a:gd name="T18" fmla="*/ 1440 w 4041"/>
              <a:gd name="T19" fmla="*/ 2200 h 4324"/>
              <a:gd name="T20" fmla="*/ 444 w 4041"/>
              <a:gd name="T21" fmla="*/ 2190 h 4324"/>
              <a:gd name="T22" fmla="*/ 469 w 4041"/>
              <a:gd name="T23" fmla="*/ 2220 h 4324"/>
              <a:gd name="T24" fmla="*/ 450 w 4041"/>
              <a:gd name="T25" fmla="*/ 3814 h 4324"/>
              <a:gd name="T26" fmla="*/ 408 w 4041"/>
              <a:gd name="T27" fmla="*/ 3808 h 4324"/>
              <a:gd name="T28" fmla="*/ 400 w 4041"/>
              <a:gd name="T29" fmla="*/ 2208 h 4324"/>
              <a:gd name="T30" fmla="*/ 685 w 4041"/>
              <a:gd name="T31" fmla="*/ 510 h 4324"/>
              <a:gd name="T32" fmla="*/ 808 w 4041"/>
              <a:gd name="T33" fmla="*/ 528 h 4324"/>
              <a:gd name="T34" fmla="*/ 802 w 4041"/>
              <a:gd name="T35" fmla="*/ 2128 h 4324"/>
              <a:gd name="T36" fmla="*/ 672 w 4041"/>
              <a:gd name="T37" fmla="*/ 2134 h 4324"/>
              <a:gd name="T38" fmla="*/ 654 w 4041"/>
              <a:gd name="T39" fmla="*/ 540 h 4324"/>
              <a:gd name="T40" fmla="*/ 679 w 4041"/>
              <a:gd name="T41" fmla="*/ 510 h 4324"/>
              <a:gd name="T42" fmla="*/ 3375 w 4041"/>
              <a:gd name="T43" fmla="*/ 518 h 4324"/>
              <a:gd name="T44" fmla="*/ 3381 w 4041"/>
              <a:gd name="T45" fmla="*/ 2118 h 4324"/>
              <a:gd name="T46" fmla="*/ 3342 w 4041"/>
              <a:gd name="T47" fmla="*/ 2136 h 4324"/>
              <a:gd name="T48" fmla="*/ 3314 w 4041"/>
              <a:gd name="T49" fmla="*/ 2112 h 4324"/>
              <a:gd name="T50" fmla="*/ 3326 w 4041"/>
              <a:gd name="T51" fmla="*/ 514 h 4324"/>
              <a:gd name="T52" fmla="*/ 1862 w 4041"/>
              <a:gd name="T53" fmla="*/ 512 h 4324"/>
              <a:gd name="T54" fmla="*/ 1880 w 4041"/>
              <a:gd name="T55" fmla="*/ 2106 h 4324"/>
              <a:gd name="T56" fmla="*/ 1856 w 4041"/>
              <a:gd name="T57" fmla="*/ 2136 h 4324"/>
              <a:gd name="T58" fmla="*/ 1816 w 4041"/>
              <a:gd name="T59" fmla="*/ 2124 h 4324"/>
              <a:gd name="T60" fmla="*/ 1816 w 4041"/>
              <a:gd name="T61" fmla="*/ 522 h 4324"/>
              <a:gd name="T62" fmla="*/ 30 w 4041"/>
              <a:gd name="T63" fmla="*/ 2136 h 4324"/>
              <a:gd name="T64" fmla="*/ 0 w 4041"/>
              <a:gd name="T65" fmla="*/ 2112 h 4324"/>
              <a:gd name="T66" fmla="*/ 14 w 4041"/>
              <a:gd name="T67" fmla="*/ 514 h 4324"/>
              <a:gd name="T68" fmla="*/ 57 w 4041"/>
              <a:gd name="T69" fmla="*/ 514 h 4324"/>
              <a:gd name="T70" fmla="*/ 71 w 4041"/>
              <a:gd name="T71" fmla="*/ 2112 h 4324"/>
              <a:gd name="T72" fmla="*/ 40 w 4041"/>
              <a:gd name="T73" fmla="*/ 2136 h 4324"/>
              <a:gd name="T74" fmla="*/ 79 w 4041"/>
              <a:gd name="T75" fmla="*/ 3881 h 4324"/>
              <a:gd name="T76" fmla="*/ 208 w 4041"/>
              <a:gd name="T77" fmla="*/ 3873 h 4324"/>
              <a:gd name="T78" fmla="*/ 226 w 4041"/>
              <a:gd name="T79" fmla="*/ 4324 h 4324"/>
              <a:gd name="T80" fmla="*/ 881 w 4041"/>
              <a:gd name="T81" fmla="*/ 3881 h 4324"/>
              <a:gd name="T82" fmla="*/ 927 w 4041"/>
              <a:gd name="T83" fmla="*/ 3873 h 4324"/>
              <a:gd name="T84" fmla="*/ 959 w 4041"/>
              <a:gd name="T85" fmla="*/ 4324 h 4324"/>
              <a:gd name="T86" fmla="*/ 2874 w 4041"/>
              <a:gd name="T87" fmla="*/ 3881 h 4324"/>
              <a:gd name="T88" fmla="*/ 2916 w 4041"/>
              <a:gd name="T89" fmla="*/ 3873 h 4324"/>
              <a:gd name="T90" fmla="*/ 2934 w 4041"/>
              <a:gd name="T91" fmla="*/ 4324 h 4324"/>
              <a:gd name="T92" fmla="*/ 3894 w 4041"/>
              <a:gd name="T93" fmla="*/ 3881 h 4324"/>
              <a:gd name="T94" fmla="*/ 4023 w 4041"/>
              <a:gd name="T95" fmla="*/ 3875 h 4324"/>
              <a:gd name="T96" fmla="*/ 4041 w 4041"/>
              <a:gd name="T97" fmla="*/ 4324 h 4324"/>
              <a:gd name="T98" fmla="*/ 2777 w 4041"/>
              <a:gd name="T99" fmla="*/ 443 h 4324"/>
              <a:gd name="T100" fmla="*/ 2648 w 4041"/>
              <a:gd name="T101" fmla="*/ 449 h 4324"/>
              <a:gd name="T102" fmla="*/ 2629 w 4041"/>
              <a:gd name="T103" fmla="*/ 0 h 4324"/>
              <a:gd name="T104" fmla="*/ 418 w 4041"/>
              <a:gd name="T105" fmla="*/ 449 h 4324"/>
              <a:gd name="T106" fmla="*/ 291 w 4041"/>
              <a:gd name="T107" fmla="*/ 455 h 4324"/>
              <a:gd name="T108" fmla="*/ 271 w 4041"/>
              <a:gd name="T109" fmla="*/ 0 h 4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041" h="4324">
                <a:moveTo>
                  <a:pt x="2306" y="2190"/>
                </a:moveTo>
                <a:lnTo>
                  <a:pt x="2355" y="2190"/>
                </a:lnTo>
                <a:lnTo>
                  <a:pt x="2361" y="2190"/>
                </a:lnTo>
                <a:lnTo>
                  <a:pt x="2367" y="2192"/>
                </a:lnTo>
                <a:lnTo>
                  <a:pt x="2373" y="2196"/>
                </a:lnTo>
                <a:lnTo>
                  <a:pt x="2377" y="2200"/>
                </a:lnTo>
                <a:lnTo>
                  <a:pt x="2381" y="2204"/>
                </a:lnTo>
                <a:lnTo>
                  <a:pt x="2383" y="2208"/>
                </a:lnTo>
                <a:lnTo>
                  <a:pt x="2385" y="2214"/>
                </a:lnTo>
                <a:lnTo>
                  <a:pt x="2385" y="2220"/>
                </a:lnTo>
                <a:lnTo>
                  <a:pt x="2385" y="3788"/>
                </a:lnTo>
                <a:lnTo>
                  <a:pt x="2385" y="3794"/>
                </a:lnTo>
                <a:lnTo>
                  <a:pt x="2383" y="3798"/>
                </a:lnTo>
                <a:lnTo>
                  <a:pt x="2381" y="3804"/>
                </a:lnTo>
                <a:lnTo>
                  <a:pt x="2377" y="3808"/>
                </a:lnTo>
                <a:lnTo>
                  <a:pt x="2373" y="3812"/>
                </a:lnTo>
                <a:lnTo>
                  <a:pt x="2367" y="3814"/>
                </a:lnTo>
                <a:lnTo>
                  <a:pt x="2361" y="3816"/>
                </a:lnTo>
                <a:lnTo>
                  <a:pt x="2355" y="3818"/>
                </a:lnTo>
                <a:lnTo>
                  <a:pt x="2306" y="3818"/>
                </a:lnTo>
                <a:lnTo>
                  <a:pt x="2300" y="3816"/>
                </a:lnTo>
                <a:lnTo>
                  <a:pt x="2294" y="3814"/>
                </a:lnTo>
                <a:lnTo>
                  <a:pt x="2290" y="3812"/>
                </a:lnTo>
                <a:lnTo>
                  <a:pt x="2286" y="3808"/>
                </a:lnTo>
                <a:lnTo>
                  <a:pt x="2282" y="3804"/>
                </a:lnTo>
                <a:lnTo>
                  <a:pt x="2278" y="3798"/>
                </a:lnTo>
                <a:lnTo>
                  <a:pt x="2276" y="3794"/>
                </a:lnTo>
                <a:lnTo>
                  <a:pt x="2276" y="3788"/>
                </a:lnTo>
                <a:lnTo>
                  <a:pt x="2276" y="2220"/>
                </a:lnTo>
                <a:lnTo>
                  <a:pt x="2276" y="2214"/>
                </a:lnTo>
                <a:lnTo>
                  <a:pt x="2278" y="2208"/>
                </a:lnTo>
                <a:lnTo>
                  <a:pt x="2282" y="2204"/>
                </a:lnTo>
                <a:lnTo>
                  <a:pt x="2286" y="2200"/>
                </a:lnTo>
                <a:lnTo>
                  <a:pt x="2290" y="2196"/>
                </a:lnTo>
                <a:lnTo>
                  <a:pt x="2294" y="2192"/>
                </a:lnTo>
                <a:lnTo>
                  <a:pt x="2300" y="2190"/>
                </a:lnTo>
                <a:lnTo>
                  <a:pt x="2306" y="2190"/>
                </a:lnTo>
                <a:close/>
                <a:moveTo>
                  <a:pt x="1462" y="2190"/>
                </a:moveTo>
                <a:lnTo>
                  <a:pt x="1557" y="2190"/>
                </a:lnTo>
                <a:lnTo>
                  <a:pt x="1563" y="2190"/>
                </a:lnTo>
                <a:lnTo>
                  <a:pt x="1569" y="2192"/>
                </a:lnTo>
                <a:lnTo>
                  <a:pt x="1573" y="2196"/>
                </a:lnTo>
                <a:lnTo>
                  <a:pt x="1579" y="2200"/>
                </a:lnTo>
                <a:lnTo>
                  <a:pt x="1581" y="2204"/>
                </a:lnTo>
                <a:lnTo>
                  <a:pt x="1585" y="2208"/>
                </a:lnTo>
                <a:lnTo>
                  <a:pt x="1587" y="2214"/>
                </a:lnTo>
                <a:lnTo>
                  <a:pt x="1587" y="2220"/>
                </a:lnTo>
                <a:lnTo>
                  <a:pt x="1587" y="3788"/>
                </a:lnTo>
                <a:lnTo>
                  <a:pt x="1587" y="3794"/>
                </a:lnTo>
                <a:lnTo>
                  <a:pt x="1585" y="3798"/>
                </a:lnTo>
                <a:lnTo>
                  <a:pt x="1581" y="3804"/>
                </a:lnTo>
                <a:lnTo>
                  <a:pt x="1579" y="3808"/>
                </a:lnTo>
                <a:lnTo>
                  <a:pt x="1573" y="3812"/>
                </a:lnTo>
                <a:lnTo>
                  <a:pt x="1569" y="3814"/>
                </a:lnTo>
                <a:lnTo>
                  <a:pt x="1563" y="3816"/>
                </a:lnTo>
                <a:lnTo>
                  <a:pt x="1557" y="3818"/>
                </a:lnTo>
                <a:lnTo>
                  <a:pt x="1462" y="3818"/>
                </a:lnTo>
                <a:lnTo>
                  <a:pt x="1456" y="3816"/>
                </a:lnTo>
                <a:lnTo>
                  <a:pt x="1450" y="3814"/>
                </a:lnTo>
                <a:lnTo>
                  <a:pt x="1446" y="3812"/>
                </a:lnTo>
                <a:lnTo>
                  <a:pt x="1440" y="3808"/>
                </a:lnTo>
                <a:lnTo>
                  <a:pt x="1436" y="3804"/>
                </a:lnTo>
                <a:lnTo>
                  <a:pt x="1434" y="3798"/>
                </a:lnTo>
                <a:lnTo>
                  <a:pt x="1432" y="3794"/>
                </a:lnTo>
                <a:lnTo>
                  <a:pt x="1432" y="3788"/>
                </a:lnTo>
                <a:lnTo>
                  <a:pt x="1432" y="2220"/>
                </a:lnTo>
                <a:lnTo>
                  <a:pt x="1432" y="2214"/>
                </a:lnTo>
                <a:lnTo>
                  <a:pt x="1434" y="2208"/>
                </a:lnTo>
                <a:lnTo>
                  <a:pt x="1436" y="2204"/>
                </a:lnTo>
                <a:lnTo>
                  <a:pt x="1440" y="2200"/>
                </a:lnTo>
                <a:lnTo>
                  <a:pt x="1446" y="2196"/>
                </a:lnTo>
                <a:lnTo>
                  <a:pt x="1450" y="2192"/>
                </a:lnTo>
                <a:lnTo>
                  <a:pt x="1456" y="2190"/>
                </a:lnTo>
                <a:lnTo>
                  <a:pt x="1462" y="2190"/>
                </a:lnTo>
                <a:close/>
                <a:moveTo>
                  <a:pt x="428" y="2190"/>
                </a:moveTo>
                <a:lnTo>
                  <a:pt x="438" y="2190"/>
                </a:lnTo>
                <a:lnTo>
                  <a:pt x="444" y="2190"/>
                </a:lnTo>
                <a:lnTo>
                  <a:pt x="450" y="2192"/>
                </a:lnTo>
                <a:lnTo>
                  <a:pt x="454" y="2196"/>
                </a:lnTo>
                <a:lnTo>
                  <a:pt x="460" y="2200"/>
                </a:lnTo>
                <a:lnTo>
                  <a:pt x="462" y="2204"/>
                </a:lnTo>
                <a:lnTo>
                  <a:pt x="467" y="2208"/>
                </a:lnTo>
                <a:lnTo>
                  <a:pt x="469" y="2214"/>
                </a:lnTo>
                <a:lnTo>
                  <a:pt x="469" y="2220"/>
                </a:lnTo>
                <a:lnTo>
                  <a:pt x="469" y="3788"/>
                </a:lnTo>
                <a:lnTo>
                  <a:pt x="469" y="3794"/>
                </a:lnTo>
                <a:lnTo>
                  <a:pt x="467" y="3798"/>
                </a:lnTo>
                <a:lnTo>
                  <a:pt x="462" y="3804"/>
                </a:lnTo>
                <a:lnTo>
                  <a:pt x="460" y="3808"/>
                </a:lnTo>
                <a:lnTo>
                  <a:pt x="454" y="3812"/>
                </a:lnTo>
                <a:lnTo>
                  <a:pt x="450" y="3814"/>
                </a:lnTo>
                <a:lnTo>
                  <a:pt x="444" y="3816"/>
                </a:lnTo>
                <a:lnTo>
                  <a:pt x="438" y="3818"/>
                </a:lnTo>
                <a:lnTo>
                  <a:pt x="428" y="3818"/>
                </a:lnTo>
                <a:lnTo>
                  <a:pt x="422" y="3816"/>
                </a:lnTo>
                <a:lnTo>
                  <a:pt x="416" y="3814"/>
                </a:lnTo>
                <a:lnTo>
                  <a:pt x="412" y="3812"/>
                </a:lnTo>
                <a:lnTo>
                  <a:pt x="408" y="3808"/>
                </a:lnTo>
                <a:lnTo>
                  <a:pt x="404" y="3804"/>
                </a:lnTo>
                <a:lnTo>
                  <a:pt x="400" y="3798"/>
                </a:lnTo>
                <a:lnTo>
                  <a:pt x="400" y="3794"/>
                </a:lnTo>
                <a:lnTo>
                  <a:pt x="398" y="3788"/>
                </a:lnTo>
                <a:lnTo>
                  <a:pt x="398" y="2220"/>
                </a:lnTo>
                <a:lnTo>
                  <a:pt x="400" y="2214"/>
                </a:lnTo>
                <a:lnTo>
                  <a:pt x="400" y="2208"/>
                </a:lnTo>
                <a:lnTo>
                  <a:pt x="404" y="2204"/>
                </a:lnTo>
                <a:lnTo>
                  <a:pt x="408" y="2200"/>
                </a:lnTo>
                <a:lnTo>
                  <a:pt x="412" y="2196"/>
                </a:lnTo>
                <a:lnTo>
                  <a:pt x="416" y="2192"/>
                </a:lnTo>
                <a:lnTo>
                  <a:pt x="422" y="2190"/>
                </a:lnTo>
                <a:lnTo>
                  <a:pt x="428" y="2190"/>
                </a:lnTo>
                <a:close/>
                <a:moveTo>
                  <a:pt x="685" y="510"/>
                </a:moveTo>
                <a:lnTo>
                  <a:pt x="780" y="510"/>
                </a:lnTo>
                <a:lnTo>
                  <a:pt x="786" y="510"/>
                </a:lnTo>
                <a:lnTo>
                  <a:pt x="792" y="512"/>
                </a:lnTo>
                <a:lnTo>
                  <a:pt x="796" y="514"/>
                </a:lnTo>
                <a:lnTo>
                  <a:pt x="802" y="518"/>
                </a:lnTo>
                <a:lnTo>
                  <a:pt x="804" y="522"/>
                </a:lnTo>
                <a:lnTo>
                  <a:pt x="808" y="528"/>
                </a:lnTo>
                <a:lnTo>
                  <a:pt x="810" y="534"/>
                </a:lnTo>
                <a:lnTo>
                  <a:pt x="810" y="540"/>
                </a:lnTo>
                <a:lnTo>
                  <a:pt x="810" y="2106"/>
                </a:lnTo>
                <a:lnTo>
                  <a:pt x="810" y="2112"/>
                </a:lnTo>
                <a:lnTo>
                  <a:pt x="808" y="2118"/>
                </a:lnTo>
                <a:lnTo>
                  <a:pt x="804" y="2124"/>
                </a:lnTo>
                <a:lnTo>
                  <a:pt x="802" y="2128"/>
                </a:lnTo>
                <a:lnTo>
                  <a:pt x="796" y="2132"/>
                </a:lnTo>
                <a:lnTo>
                  <a:pt x="792" y="2134"/>
                </a:lnTo>
                <a:lnTo>
                  <a:pt x="786" y="2136"/>
                </a:lnTo>
                <a:lnTo>
                  <a:pt x="780" y="2136"/>
                </a:lnTo>
                <a:lnTo>
                  <a:pt x="685" y="2136"/>
                </a:lnTo>
                <a:lnTo>
                  <a:pt x="679" y="2136"/>
                </a:lnTo>
                <a:lnTo>
                  <a:pt x="672" y="2134"/>
                </a:lnTo>
                <a:lnTo>
                  <a:pt x="668" y="2132"/>
                </a:lnTo>
                <a:lnTo>
                  <a:pt x="662" y="2128"/>
                </a:lnTo>
                <a:lnTo>
                  <a:pt x="660" y="2124"/>
                </a:lnTo>
                <a:lnTo>
                  <a:pt x="656" y="2118"/>
                </a:lnTo>
                <a:lnTo>
                  <a:pt x="654" y="2112"/>
                </a:lnTo>
                <a:lnTo>
                  <a:pt x="654" y="2106"/>
                </a:lnTo>
                <a:lnTo>
                  <a:pt x="654" y="540"/>
                </a:lnTo>
                <a:lnTo>
                  <a:pt x="654" y="534"/>
                </a:lnTo>
                <a:lnTo>
                  <a:pt x="656" y="528"/>
                </a:lnTo>
                <a:lnTo>
                  <a:pt x="660" y="522"/>
                </a:lnTo>
                <a:lnTo>
                  <a:pt x="662" y="518"/>
                </a:lnTo>
                <a:lnTo>
                  <a:pt x="668" y="514"/>
                </a:lnTo>
                <a:lnTo>
                  <a:pt x="672" y="512"/>
                </a:lnTo>
                <a:lnTo>
                  <a:pt x="679" y="510"/>
                </a:lnTo>
                <a:lnTo>
                  <a:pt x="685" y="510"/>
                </a:lnTo>
                <a:close/>
                <a:moveTo>
                  <a:pt x="3342" y="510"/>
                </a:moveTo>
                <a:lnTo>
                  <a:pt x="3352" y="510"/>
                </a:lnTo>
                <a:lnTo>
                  <a:pt x="3358" y="510"/>
                </a:lnTo>
                <a:lnTo>
                  <a:pt x="3364" y="512"/>
                </a:lnTo>
                <a:lnTo>
                  <a:pt x="3369" y="514"/>
                </a:lnTo>
                <a:lnTo>
                  <a:pt x="3375" y="518"/>
                </a:lnTo>
                <a:lnTo>
                  <a:pt x="3377" y="522"/>
                </a:lnTo>
                <a:lnTo>
                  <a:pt x="3381" y="528"/>
                </a:lnTo>
                <a:lnTo>
                  <a:pt x="3383" y="534"/>
                </a:lnTo>
                <a:lnTo>
                  <a:pt x="3383" y="540"/>
                </a:lnTo>
                <a:lnTo>
                  <a:pt x="3383" y="2106"/>
                </a:lnTo>
                <a:lnTo>
                  <a:pt x="3383" y="2112"/>
                </a:lnTo>
                <a:lnTo>
                  <a:pt x="3381" y="2118"/>
                </a:lnTo>
                <a:lnTo>
                  <a:pt x="3377" y="2124"/>
                </a:lnTo>
                <a:lnTo>
                  <a:pt x="3375" y="2128"/>
                </a:lnTo>
                <a:lnTo>
                  <a:pt x="3369" y="2132"/>
                </a:lnTo>
                <a:lnTo>
                  <a:pt x="3364" y="2134"/>
                </a:lnTo>
                <a:lnTo>
                  <a:pt x="3358" y="2136"/>
                </a:lnTo>
                <a:lnTo>
                  <a:pt x="3352" y="2136"/>
                </a:lnTo>
                <a:lnTo>
                  <a:pt x="3342" y="2136"/>
                </a:lnTo>
                <a:lnTo>
                  <a:pt x="3336" y="2136"/>
                </a:lnTo>
                <a:lnTo>
                  <a:pt x="3330" y="2134"/>
                </a:lnTo>
                <a:lnTo>
                  <a:pt x="3326" y="2132"/>
                </a:lnTo>
                <a:lnTo>
                  <a:pt x="3322" y="2128"/>
                </a:lnTo>
                <a:lnTo>
                  <a:pt x="3318" y="2124"/>
                </a:lnTo>
                <a:lnTo>
                  <a:pt x="3314" y="2118"/>
                </a:lnTo>
                <a:lnTo>
                  <a:pt x="3314" y="2112"/>
                </a:lnTo>
                <a:lnTo>
                  <a:pt x="3312" y="2106"/>
                </a:lnTo>
                <a:lnTo>
                  <a:pt x="3312" y="540"/>
                </a:lnTo>
                <a:lnTo>
                  <a:pt x="3314" y="534"/>
                </a:lnTo>
                <a:lnTo>
                  <a:pt x="3314" y="528"/>
                </a:lnTo>
                <a:lnTo>
                  <a:pt x="3318" y="522"/>
                </a:lnTo>
                <a:lnTo>
                  <a:pt x="3322" y="518"/>
                </a:lnTo>
                <a:lnTo>
                  <a:pt x="3326" y="514"/>
                </a:lnTo>
                <a:lnTo>
                  <a:pt x="3330" y="512"/>
                </a:lnTo>
                <a:lnTo>
                  <a:pt x="3336" y="510"/>
                </a:lnTo>
                <a:lnTo>
                  <a:pt x="3342" y="510"/>
                </a:lnTo>
                <a:close/>
                <a:moveTo>
                  <a:pt x="1842" y="510"/>
                </a:moveTo>
                <a:lnTo>
                  <a:pt x="1850" y="510"/>
                </a:lnTo>
                <a:lnTo>
                  <a:pt x="1856" y="510"/>
                </a:lnTo>
                <a:lnTo>
                  <a:pt x="1862" y="512"/>
                </a:lnTo>
                <a:lnTo>
                  <a:pt x="1868" y="514"/>
                </a:lnTo>
                <a:lnTo>
                  <a:pt x="1872" y="518"/>
                </a:lnTo>
                <a:lnTo>
                  <a:pt x="1876" y="522"/>
                </a:lnTo>
                <a:lnTo>
                  <a:pt x="1878" y="528"/>
                </a:lnTo>
                <a:lnTo>
                  <a:pt x="1880" y="534"/>
                </a:lnTo>
                <a:lnTo>
                  <a:pt x="1880" y="540"/>
                </a:lnTo>
                <a:lnTo>
                  <a:pt x="1880" y="2106"/>
                </a:lnTo>
                <a:lnTo>
                  <a:pt x="1880" y="2112"/>
                </a:lnTo>
                <a:lnTo>
                  <a:pt x="1878" y="2118"/>
                </a:lnTo>
                <a:lnTo>
                  <a:pt x="1876" y="2124"/>
                </a:lnTo>
                <a:lnTo>
                  <a:pt x="1872" y="2128"/>
                </a:lnTo>
                <a:lnTo>
                  <a:pt x="1868" y="2132"/>
                </a:lnTo>
                <a:lnTo>
                  <a:pt x="1862" y="2134"/>
                </a:lnTo>
                <a:lnTo>
                  <a:pt x="1856" y="2136"/>
                </a:lnTo>
                <a:lnTo>
                  <a:pt x="1850" y="2136"/>
                </a:lnTo>
                <a:lnTo>
                  <a:pt x="1842" y="2136"/>
                </a:lnTo>
                <a:lnTo>
                  <a:pt x="1836" y="2136"/>
                </a:lnTo>
                <a:lnTo>
                  <a:pt x="1830" y="2134"/>
                </a:lnTo>
                <a:lnTo>
                  <a:pt x="1824" y="2132"/>
                </a:lnTo>
                <a:lnTo>
                  <a:pt x="1820" y="2128"/>
                </a:lnTo>
                <a:lnTo>
                  <a:pt x="1816" y="2124"/>
                </a:lnTo>
                <a:lnTo>
                  <a:pt x="1814" y="2118"/>
                </a:lnTo>
                <a:lnTo>
                  <a:pt x="1811" y="2112"/>
                </a:lnTo>
                <a:lnTo>
                  <a:pt x="1811" y="2106"/>
                </a:lnTo>
                <a:lnTo>
                  <a:pt x="1811" y="540"/>
                </a:lnTo>
                <a:lnTo>
                  <a:pt x="1811" y="534"/>
                </a:lnTo>
                <a:lnTo>
                  <a:pt x="1814" y="528"/>
                </a:lnTo>
                <a:lnTo>
                  <a:pt x="1816" y="522"/>
                </a:lnTo>
                <a:lnTo>
                  <a:pt x="1820" y="518"/>
                </a:lnTo>
                <a:lnTo>
                  <a:pt x="1824" y="514"/>
                </a:lnTo>
                <a:lnTo>
                  <a:pt x="1830" y="512"/>
                </a:lnTo>
                <a:lnTo>
                  <a:pt x="1836" y="510"/>
                </a:lnTo>
                <a:lnTo>
                  <a:pt x="1842" y="510"/>
                </a:lnTo>
                <a:close/>
                <a:moveTo>
                  <a:pt x="40" y="2136"/>
                </a:moveTo>
                <a:lnTo>
                  <a:pt x="30" y="2136"/>
                </a:lnTo>
                <a:lnTo>
                  <a:pt x="24" y="2136"/>
                </a:lnTo>
                <a:lnTo>
                  <a:pt x="18" y="2134"/>
                </a:lnTo>
                <a:lnTo>
                  <a:pt x="14" y="2132"/>
                </a:lnTo>
                <a:lnTo>
                  <a:pt x="10" y="2128"/>
                </a:lnTo>
                <a:lnTo>
                  <a:pt x="6" y="2124"/>
                </a:lnTo>
                <a:lnTo>
                  <a:pt x="2" y="2118"/>
                </a:lnTo>
                <a:lnTo>
                  <a:pt x="0" y="2112"/>
                </a:lnTo>
                <a:lnTo>
                  <a:pt x="0" y="2106"/>
                </a:lnTo>
                <a:lnTo>
                  <a:pt x="0" y="540"/>
                </a:lnTo>
                <a:lnTo>
                  <a:pt x="0" y="534"/>
                </a:lnTo>
                <a:lnTo>
                  <a:pt x="2" y="528"/>
                </a:lnTo>
                <a:lnTo>
                  <a:pt x="6" y="522"/>
                </a:lnTo>
                <a:lnTo>
                  <a:pt x="10" y="518"/>
                </a:lnTo>
                <a:lnTo>
                  <a:pt x="14" y="514"/>
                </a:lnTo>
                <a:lnTo>
                  <a:pt x="18" y="512"/>
                </a:lnTo>
                <a:lnTo>
                  <a:pt x="24" y="510"/>
                </a:lnTo>
                <a:lnTo>
                  <a:pt x="30" y="510"/>
                </a:lnTo>
                <a:lnTo>
                  <a:pt x="40" y="510"/>
                </a:lnTo>
                <a:lnTo>
                  <a:pt x="46" y="510"/>
                </a:lnTo>
                <a:lnTo>
                  <a:pt x="53" y="512"/>
                </a:lnTo>
                <a:lnTo>
                  <a:pt x="57" y="514"/>
                </a:lnTo>
                <a:lnTo>
                  <a:pt x="61" y="518"/>
                </a:lnTo>
                <a:lnTo>
                  <a:pt x="65" y="522"/>
                </a:lnTo>
                <a:lnTo>
                  <a:pt x="69" y="528"/>
                </a:lnTo>
                <a:lnTo>
                  <a:pt x="71" y="534"/>
                </a:lnTo>
                <a:lnTo>
                  <a:pt x="71" y="540"/>
                </a:lnTo>
                <a:lnTo>
                  <a:pt x="71" y="2106"/>
                </a:lnTo>
                <a:lnTo>
                  <a:pt x="71" y="2112"/>
                </a:lnTo>
                <a:lnTo>
                  <a:pt x="69" y="2118"/>
                </a:lnTo>
                <a:lnTo>
                  <a:pt x="65" y="2124"/>
                </a:lnTo>
                <a:lnTo>
                  <a:pt x="61" y="2128"/>
                </a:lnTo>
                <a:lnTo>
                  <a:pt x="57" y="2132"/>
                </a:lnTo>
                <a:lnTo>
                  <a:pt x="53" y="2134"/>
                </a:lnTo>
                <a:lnTo>
                  <a:pt x="46" y="2136"/>
                </a:lnTo>
                <a:lnTo>
                  <a:pt x="40" y="2136"/>
                </a:lnTo>
                <a:close/>
                <a:moveTo>
                  <a:pt x="226" y="4324"/>
                </a:moveTo>
                <a:lnTo>
                  <a:pt x="71" y="4324"/>
                </a:lnTo>
                <a:lnTo>
                  <a:pt x="71" y="3901"/>
                </a:lnTo>
                <a:lnTo>
                  <a:pt x="71" y="3895"/>
                </a:lnTo>
                <a:lnTo>
                  <a:pt x="73" y="3889"/>
                </a:lnTo>
                <a:lnTo>
                  <a:pt x="75" y="3885"/>
                </a:lnTo>
                <a:lnTo>
                  <a:pt x="79" y="3881"/>
                </a:lnTo>
                <a:lnTo>
                  <a:pt x="83" y="3877"/>
                </a:lnTo>
                <a:lnTo>
                  <a:pt x="89" y="3873"/>
                </a:lnTo>
                <a:lnTo>
                  <a:pt x="95" y="3873"/>
                </a:lnTo>
                <a:lnTo>
                  <a:pt x="101" y="3871"/>
                </a:lnTo>
                <a:lnTo>
                  <a:pt x="196" y="3871"/>
                </a:lnTo>
                <a:lnTo>
                  <a:pt x="202" y="3873"/>
                </a:lnTo>
                <a:lnTo>
                  <a:pt x="208" y="3873"/>
                </a:lnTo>
                <a:lnTo>
                  <a:pt x="212" y="3877"/>
                </a:lnTo>
                <a:lnTo>
                  <a:pt x="216" y="3881"/>
                </a:lnTo>
                <a:lnTo>
                  <a:pt x="220" y="3885"/>
                </a:lnTo>
                <a:lnTo>
                  <a:pt x="224" y="3889"/>
                </a:lnTo>
                <a:lnTo>
                  <a:pt x="226" y="3895"/>
                </a:lnTo>
                <a:lnTo>
                  <a:pt x="226" y="3901"/>
                </a:lnTo>
                <a:lnTo>
                  <a:pt x="226" y="4324"/>
                </a:lnTo>
                <a:close/>
                <a:moveTo>
                  <a:pt x="959" y="4324"/>
                </a:moveTo>
                <a:lnTo>
                  <a:pt x="872" y="4324"/>
                </a:lnTo>
                <a:lnTo>
                  <a:pt x="872" y="3901"/>
                </a:lnTo>
                <a:lnTo>
                  <a:pt x="872" y="3895"/>
                </a:lnTo>
                <a:lnTo>
                  <a:pt x="874" y="3889"/>
                </a:lnTo>
                <a:lnTo>
                  <a:pt x="878" y="3885"/>
                </a:lnTo>
                <a:lnTo>
                  <a:pt x="881" y="3881"/>
                </a:lnTo>
                <a:lnTo>
                  <a:pt x="887" y="3877"/>
                </a:lnTo>
                <a:lnTo>
                  <a:pt x="891" y="3873"/>
                </a:lnTo>
                <a:lnTo>
                  <a:pt x="897" y="3873"/>
                </a:lnTo>
                <a:lnTo>
                  <a:pt x="903" y="3871"/>
                </a:lnTo>
                <a:lnTo>
                  <a:pt x="913" y="3871"/>
                </a:lnTo>
                <a:lnTo>
                  <a:pt x="919" y="3873"/>
                </a:lnTo>
                <a:lnTo>
                  <a:pt x="927" y="3873"/>
                </a:lnTo>
                <a:lnTo>
                  <a:pt x="935" y="3877"/>
                </a:lnTo>
                <a:lnTo>
                  <a:pt x="941" y="3881"/>
                </a:lnTo>
                <a:lnTo>
                  <a:pt x="949" y="3885"/>
                </a:lnTo>
                <a:lnTo>
                  <a:pt x="953" y="3889"/>
                </a:lnTo>
                <a:lnTo>
                  <a:pt x="957" y="3895"/>
                </a:lnTo>
                <a:lnTo>
                  <a:pt x="959" y="3901"/>
                </a:lnTo>
                <a:lnTo>
                  <a:pt x="959" y="4324"/>
                </a:lnTo>
                <a:close/>
                <a:moveTo>
                  <a:pt x="2934" y="4324"/>
                </a:moveTo>
                <a:lnTo>
                  <a:pt x="2866" y="4324"/>
                </a:lnTo>
                <a:lnTo>
                  <a:pt x="2866" y="3901"/>
                </a:lnTo>
                <a:lnTo>
                  <a:pt x="2866" y="3895"/>
                </a:lnTo>
                <a:lnTo>
                  <a:pt x="2868" y="3889"/>
                </a:lnTo>
                <a:lnTo>
                  <a:pt x="2870" y="3885"/>
                </a:lnTo>
                <a:lnTo>
                  <a:pt x="2874" y="3881"/>
                </a:lnTo>
                <a:lnTo>
                  <a:pt x="2878" y="3877"/>
                </a:lnTo>
                <a:lnTo>
                  <a:pt x="2884" y="3873"/>
                </a:lnTo>
                <a:lnTo>
                  <a:pt x="2890" y="3873"/>
                </a:lnTo>
                <a:lnTo>
                  <a:pt x="2896" y="3871"/>
                </a:lnTo>
                <a:lnTo>
                  <a:pt x="2904" y="3871"/>
                </a:lnTo>
                <a:lnTo>
                  <a:pt x="2910" y="3873"/>
                </a:lnTo>
                <a:lnTo>
                  <a:pt x="2916" y="3873"/>
                </a:lnTo>
                <a:lnTo>
                  <a:pt x="2922" y="3877"/>
                </a:lnTo>
                <a:lnTo>
                  <a:pt x="2926" y="3881"/>
                </a:lnTo>
                <a:lnTo>
                  <a:pt x="2930" y="3885"/>
                </a:lnTo>
                <a:lnTo>
                  <a:pt x="2932" y="3889"/>
                </a:lnTo>
                <a:lnTo>
                  <a:pt x="2934" y="3895"/>
                </a:lnTo>
                <a:lnTo>
                  <a:pt x="2934" y="3901"/>
                </a:lnTo>
                <a:lnTo>
                  <a:pt x="2934" y="4324"/>
                </a:lnTo>
                <a:close/>
                <a:moveTo>
                  <a:pt x="4041" y="4324"/>
                </a:moveTo>
                <a:lnTo>
                  <a:pt x="3886" y="4324"/>
                </a:lnTo>
                <a:lnTo>
                  <a:pt x="3886" y="3903"/>
                </a:lnTo>
                <a:lnTo>
                  <a:pt x="3886" y="3897"/>
                </a:lnTo>
                <a:lnTo>
                  <a:pt x="3888" y="3891"/>
                </a:lnTo>
                <a:lnTo>
                  <a:pt x="3890" y="3887"/>
                </a:lnTo>
                <a:lnTo>
                  <a:pt x="3894" y="3881"/>
                </a:lnTo>
                <a:lnTo>
                  <a:pt x="3898" y="3879"/>
                </a:lnTo>
                <a:lnTo>
                  <a:pt x="3904" y="3875"/>
                </a:lnTo>
                <a:lnTo>
                  <a:pt x="3910" y="3873"/>
                </a:lnTo>
                <a:lnTo>
                  <a:pt x="3916" y="3873"/>
                </a:lnTo>
                <a:lnTo>
                  <a:pt x="4011" y="3873"/>
                </a:lnTo>
                <a:lnTo>
                  <a:pt x="4017" y="3873"/>
                </a:lnTo>
                <a:lnTo>
                  <a:pt x="4023" y="3875"/>
                </a:lnTo>
                <a:lnTo>
                  <a:pt x="4027" y="3879"/>
                </a:lnTo>
                <a:lnTo>
                  <a:pt x="4031" y="3881"/>
                </a:lnTo>
                <a:lnTo>
                  <a:pt x="4035" y="3887"/>
                </a:lnTo>
                <a:lnTo>
                  <a:pt x="4039" y="3891"/>
                </a:lnTo>
                <a:lnTo>
                  <a:pt x="4039" y="3897"/>
                </a:lnTo>
                <a:lnTo>
                  <a:pt x="4041" y="3903"/>
                </a:lnTo>
                <a:lnTo>
                  <a:pt x="4041" y="4324"/>
                </a:lnTo>
                <a:close/>
                <a:moveTo>
                  <a:pt x="2629" y="0"/>
                </a:moveTo>
                <a:lnTo>
                  <a:pt x="2785" y="0"/>
                </a:lnTo>
                <a:lnTo>
                  <a:pt x="2785" y="421"/>
                </a:lnTo>
                <a:lnTo>
                  <a:pt x="2785" y="427"/>
                </a:lnTo>
                <a:lnTo>
                  <a:pt x="2783" y="433"/>
                </a:lnTo>
                <a:lnTo>
                  <a:pt x="2781" y="437"/>
                </a:lnTo>
                <a:lnTo>
                  <a:pt x="2777" y="443"/>
                </a:lnTo>
                <a:lnTo>
                  <a:pt x="2773" y="445"/>
                </a:lnTo>
                <a:lnTo>
                  <a:pt x="2767" y="449"/>
                </a:lnTo>
                <a:lnTo>
                  <a:pt x="2761" y="451"/>
                </a:lnTo>
                <a:lnTo>
                  <a:pt x="2755" y="451"/>
                </a:lnTo>
                <a:lnTo>
                  <a:pt x="2660" y="451"/>
                </a:lnTo>
                <a:lnTo>
                  <a:pt x="2654" y="451"/>
                </a:lnTo>
                <a:lnTo>
                  <a:pt x="2648" y="449"/>
                </a:lnTo>
                <a:lnTo>
                  <a:pt x="2644" y="445"/>
                </a:lnTo>
                <a:lnTo>
                  <a:pt x="2639" y="443"/>
                </a:lnTo>
                <a:lnTo>
                  <a:pt x="2635" y="437"/>
                </a:lnTo>
                <a:lnTo>
                  <a:pt x="2631" y="433"/>
                </a:lnTo>
                <a:lnTo>
                  <a:pt x="2631" y="427"/>
                </a:lnTo>
                <a:lnTo>
                  <a:pt x="2629" y="421"/>
                </a:lnTo>
                <a:lnTo>
                  <a:pt x="2629" y="0"/>
                </a:lnTo>
                <a:close/>
                <a:moveTo>
                  <a:pt x="271" y="0"/>
                </a:moveTo>
                <a:lnTo>
                  <a:pt x="426" y="0"/>
                </a:lnTo>
                <a:lnTo>
                  <a:pt x="426" y="427"/>
                </a:lnTo>
                <a:lnTo>
                  <a:pt x="426" y="433"/>
                </a:lnTo>
                <a:lnTo>
                  <a:pt x="424" y="439"/>
                </a:lnTo>
                <a:lnTo>
                  <a:pt x="422" y="445"/>
                </a:lnTo>
                <a:lnTo>
                  <a:pt x="418" y="449"/>
                </a:lnTo>
                <a:lnTo>
                  <a:pt x="414" y="453"/>
                </a:lnTo>
                <a:lnTo>
                  <a:pt x="408" y="455"/>
                </a:lnTo>
                <a:lnTo>
                  <a:pt x="402" y="457"/>
                </a:lnTo>
                <a:lnTo>
                  <a:pt x="396" y="457"/>
                </a:lnTo>
                <a:lnTo>
                  <a:pt x="301" y="457"/>
                </a:lnTo>
                <a:lnTo>
                  <a:pt x="295" y="457"/>
                </a:lnTo>
                <a:lnTo>
                  <a:pt x="291" y="455"/>
                </a:lnTo>
                <a:lnTo>
                  <a:pt x="285" y="453"/>
                </a:lnTo>
                <a:lnTo>
                  <a:pt x="281" y="449"/>
                </a:lnTo>
                <a:lnTo>
                  <a:pt x="277" y="445"/>
                </a:lnTo>
                <a:lnTo>
                  <a:pt x="275" y="439"/>
                </a:lnTo>
                <a:lnTo>
                  <a:pt x="273" y="433"/>
                </a:lnTo>
                <a:lnTo>
                  <a:pt x="271" y="427"/>
                </a:lnTo>
                <a:lnTo>
                  <a:pt x="271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6" name="Freeform 9">
            <a:extLst>
              <a:ext uri="{FF2B5EF4-FFF2-40B4-BE49-F238E27FC236}">
                <a16:creationId xmlns:a16="http://schemas.microsoft.com/office/drawing/2014/main" id="{60D6D538-077C-4F4F-A3E1-AD066003BFEE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07368" y="404664"/>
            <a:ext cx="648000" cy="723297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chemeClr val="accent2"/>
              </a:solidFill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5557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8AD25F64-BC90-4E97-BC45-F22EB06E7E5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368" y="2348879"/>
            <a:ext cx="10441607" cy="223264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8C5474DA-39CA-4F96-985C-F6CF8A0B92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7" y="1844675"/>
            <a:ext cx="10441608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accent2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US" dirty="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EE51CC83-F364-4051-9B57-48127E13F6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7" y="5229225"/>
            <a:ext cx="10441608" cy="720726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BE9441-78F1-40F4-9BE8-3A856D205C7B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Freeform 9">
            <a:extLst>
              <a:ext uri="{FF2B5EF4-FFF2-40B4-BE49-F238E27FC236}">
                <a16:creationId xmlns:a16="http://schemas.microsoft.com/office/drawing/2014/main" id="{74445369-9AEE-4D7D-8958-EAE9522D2C4D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07368" y="404664"/>
            <a:ext cx="648000" cy="723297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chemeClr val="accent2"/>
              </a:solidFill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3452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hite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983433" y="2348879"/>
            <a:ext cx="4176464" cy="223264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983431" y="1844675"/>
            <a:ext cx="4176464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accent2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AFAA533A-9EE1-49AA-B078-782749331E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B22FC376-5E00-41E6-A59B-80354D1C75EA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RIA - RKL yrittäjäpäivä 1.11.202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F4F4BBC-12F9-17C0-8AB6-84DF586E0BC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368" y="404664"/>
            <a:ext cx="1521663" cy="216000"/>
            <a:chOff x="-649288" y="2474913"/>
            <a:chExt cx="13498513" cy="1916112"/>
          </a:xfrm>
          <a:solidFill>
            <a:schemeClr val="accent2"/>
          </a:solidFill>
        </p:grpSpPr>
        <p:sp>
          <p:nvSpPr>
            <p:cNvPr id="3" name="Freeform 14">
              <a:extLst>
                <a:ext uri="{FF2B5EF4-FFF2-40B4-BE49-F238E27FC236}">
                  <a16:creationId xmlns:a16="http://schemas.microsoft.com/office/drawing/2014/main" id="{264A4A41-3FFD-EC4A-CF0D-711353C36E9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Freeform 15">
              <a:extLst>
                <a:ext uri="{FF2B5EF4-FFF2-40B4-BE49-F238E27FC236}">
                  <a16:creationId xmlns:a16="http://schemas.microsoft.com/office/drawing/2014/main" id="{56DA23AD-14AF-E4F3-F885-C3EFAF637BE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4173210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343026" y="2348879"/>
            <a:ext cx="9505949" cy="2232645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1343025" y="1844675"/>
            <a:ext cx="950595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923E2B4-571D-41E0-97E4-D075DFB569C2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reeform 6"/>
          <p:cNvSpPr>
            <a:spLocks noChangeAspect="1" noEditPoints="1"/>
          </p:cNvSpPr>
          <p:nvPr userDrawn="1"/>
        </p:nvSpPr>
        <p:spPr bwMode="black">
          <a:xfrm>
            <a:off x="11418061" y="6051504"/>
            <a:ext cx="360000" cy="401832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9416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343026" y="2348879"/>
            <a:ext cx="9505949" cy="2232645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1343025" y="1844675"/>
            <a:ext cx="950595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84D230A5-0B6B-4047-9886-B031E1A15E07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6"/>
          <p:cNvSpPr>
            <a:spLocks noChangeAspect="1" noEditPoints="1"/>
          </p:cNvSpPr>
          <p:nvPr userDrawn="1"/>
        </p:nvSpPr>
        <p:spPr bwMode="black">
          <a:xfrm>
            <a:off x="11418061" y="6051504"/>
            <a:ext cx="360000" cy="401832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rgbClr val="FF6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1228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range Half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983433" y="2348879"/>
            <a:ext cx="4176464" cy="223264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983431" y="1844675"/>
            <a:ext cx="4176464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US" dirty="0"/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AFAA533A-9EE1-49AA-B078-782749331E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8E52AE-8BCC-4D6B-BB0A-563B8F46F0F4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reeform 6">
            <a:extLst>
              <a:ext uri="{FF2B5EF4-FFF2-40B4-BE49-F238E27FC236}">
                <a16:creationId xmlns:a16="http://schemas.microsoft.com/office/drawing/2014/main" id="{776C6A5C-33EA-49A1-88AE-F24048F6DCD0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07368" y="404664"/>
            <a:ext cx="360000" cy="401832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0510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ue Half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983433" y="2348879"/>
            <a:ext cx="4176464" cy="223264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983431" y="1844675"/>
            <a:ext cx="4176464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US" dirty="0"/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AFAA533A-9EE1-49AA-B078-782749331E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5CF002FE-D4DC-4735-90AC-1C5E23EC7C19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reeform 6">
            <a:extLst>
              <a:ext uri="{FF2B5EF4-FFF2-40B4-BE49-F238E27FC236}">
                <a16:creationId xmlns:a16="http://schemas.microsoft.com/office/drawing/2014/main" id="{37F770F1-C62D-4B00-9926-0F0D48652FB1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07368" y="404664"/>
            <a:ext cx="360000" cy="401832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1888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eige Half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983433" y="2348879"/>
            <a:ext cx="4176464" cy="223264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800">
                <a:solidFill>
                  <a:schemeClr val="accent2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983431" y="1844675"/>
            <a:ext cx="4176464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accent2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US" dirty="0"/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AFAA533A-9EE1-49AA-B078-782749331E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A239F6DE-559F-4DA8-8A30-135B6DE59407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reeform 6">
            <a:extLst>
              <a:ext uri="{FF2B5EF4-FFF2-40B4-BE49-F238E27FC236}">
                <a16:creationId xmlns:a16="http://schemas.microsoft.com/office/drawing/2014/main" id="{776C6A5C-33EA-49A1-88AE-F24048F6DCD0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07368" y="404664"/>
            <a:ext cx="360000" cy="401832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0623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ackground Pic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D970E12-D6A6-4677-B9A2-E6F5EBE77D8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343026" y="2348879"/>
            <a:ext cx="9505949" cy="2232645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1343025" y="1844675"/>
            <a:ext cx="950595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B191875-5DC8-4FFE-B96C-516D86DC094F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reeform 6"/>
          <p:cNvSpPr>
            <a:spLocks noChangeAspect="1" noEditPoints="1"/>
          </p:cNvSpPr>
          <p:nvPr userDrawn="1"/>
        </p:nvSpPr>
        <p:spPr bwMode="black">
          <a:xfrm>
            <a:off x="11418061" y="6051504"/>
            <a:ext cx="360000" cy="401832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7293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ackground Pic Blu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D970E12-D6A6-4677-B9A2-E6F5EBE77D8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343026" y="2348879"/>
            <a:ext cx="9505949" cy="2232645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1343025" y="1844675"/>
            <a:ext cx="950595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05361B9-E2C3-40AE-9F22-B79815015A24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reeform 6"/>
          <p:cNvSpPr>
            <a:spLocks noChangeAspect="1" noEditPoints="1"/>
          </p:cNvSpPr>
          <p:nvPr userDrawn="1"/>
        </p:nvSpPr>
        <p:spPr bwMode="black">
          <a:xfrm>
            <a:off x="11418061" y="6051504"/>
            <a:ext cx="360000" cy="401832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0046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Pic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9C817E4-799B-4A3B-9B68-4C7C5625ED2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" y="1"/>
            <a:ext cx="12192000" cy="6858000"/>
          </a:xfrm>
          <a:solidFill>
            <a:schemeClr val="bg2">
              <a:lumMod val="75000"/>
            </a:schemeClr>
          </a:solidFill>
        </p:spPr>
        <p:txBody>
          <a:bodyPr/>
          <a:lstStyle>
            <a:lvl1pPr>
              <a:defRPr sz="1000"/>
            </a:lvl1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343026" y="2348879"/>
            <a:ext cx="9505949" cy="2232645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1343025" y="1844675"/>
            <a:ext cx="950595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82028CF-9CAF-4BA6-975D-A09E01C86F6F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9253EA8C-010F-4A81-978B-13BB8512208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1424592" y="6050136"/>
            <a:ext cx="360000" cy="403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4162674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2663" y="1844675"/>
            <a:ext cx="4897437" cy="410527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11900" y="1844675"/>
            <a:ext cx="4897438" cy="410527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EC2D8C-D230-44A6-B54A-EBF979D01A4D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0902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ei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2663" y="1844675"/>
            <a:ext cx="4897437" cy="410527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11900" y="1844675"/>
            <a:ext cx="4897438" cy="410527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6D327-AF2B-479B-811B-E25814F3AA55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7835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range Half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983433" y="2348879"/>
            <a:ext cx="4176464" cy="223264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983431" y="1844675"/>
            <a:ext cx="4176464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AFAA533A-9EE1-49AA-B078-782749331E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5A9A379-3AE1-4866-A4FC-964EF07CEF98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IA - RKL yrittäjäpäivä 1.11.202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575592D-A49E-DB7C-F4D6-2B885391BE1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368" y="404664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3" name="Freeform 14">
              <a:extLst>
                <a:ext uri="{FF2B5EF4-FFF2-40B4-BE49-F238E27FC236}">
                  <a16:creationId xmlns:a16="http://schemas.microsoft.com/office/drawing/2014/main" id="{95916FED-76FE-E90E-D722-AC447A409F8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Freeform 15">
              <a:extLst>
                <a:ext uri="{FF2B5EF4-FFF2-40B4-BE49-F238E27FC236}">
                  <a16:creationId xmlns:a16="http://schemas.microsoft.com/office/drawing/2014/main" id="{6C7B7C4C-CFA2-22A4-9BDE-0EC5227274E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607162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2663" y="1844675"/>
            <a:ext cx="4897437" cy="41052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11900" y="1844675"/>
            <a:ext cx="4897438" cy="41052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3A997E-37F7-405B-9BAF-470EDB1D572B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reeform 6"/>
          <p:cNvSpPr>
            <a:spLocks noChangeAspect="1" noEditPoints="1"/>
          </p:cNvSpPr>
          <p:nvPr userDrawn="1"/>
        </p:nvSpPr>
        <p:spPr bwMode="black">
          <a:xfrm>
            <a:off x="11418061" y="6051504"/>
            <a:ext cx="360000" cy="401832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8625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2663" y="1844675"/>
            <a:ext cx="3241675" cy="410527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11675" y="1844675"/>
            <a:ext cx="6697663" cy="410527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7DE37B-8D13-423C-AC52-32421E4273FF}" type="datetime1">
              <a:rPr lang="fi-FI" smtClean="0"/>
              <a:t>31.10.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2339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2663" y="1844675"/>
            <a:ext cx="6697513" cy="410527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967663" y="1844675"/>
            <a:ext cx="3241675" cy="410527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D7B886-20AF-4590-8319-9AF7DC7580AC}" type="datetime1">
              <a:rPr lang="fi-FI" smtClean="0"/>
              <a:t>31.10.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0530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82662" y="1844675"/>
            <a:ext cx="3241129" cy="4105276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12" name="Content Placeholder 5"/>
          <p:cNvSpPr>
            <a:spLocks noGrp="1"/>
          </p:cNvSpPr>
          <p:nvPr>
            <p:ph sz="quarter" idx="14"/>
          </p:nvPr>
        </p:nvSpPr>
        <p:spPr>
          <a:xfrm>
            <a:off x="4511824" y="1844675"/>
            <a:ext cx="3168352" cy="4105276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6" name="Content Placeholder 6"/>
          <p:cNvSpPr>
            <a:spLocks noGrp="1"/>
          </p:cNvSpPr>
          <p:nvPr>
            <p:ph sz="quarter" idx="4"/>
          </p:nvPr>
        </p:nvSpPr>
        <p:spPr>
          <a:xfrm>
            <a:off x="7968208" y="1844675"/>
            <a:ext cx="3241130" cy="4105276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CB09D-DF74-4F4B-8481-8EB6EBFC7390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7192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82663" y="1844675"/>
            <a:ext cx="10226675" cy="57626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b="0" cap="none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82663" y="2420939"/>
            <a:ext cx="10226675" cy="3529012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E3CD83-82E9-46CE-942F-8EE59D8605A9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5397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82662" y="1844675"/>
            <a:ext cx="3241129" cy="57626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lang="en-US" b="0" cap="none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11825" y="1844675"/>
            <a:ext cx="3168350" cy="57626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lang="en-US" b="0" cap="none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7968209" y="1844675"/>
            <a:ext cx="3241130" cy="57626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lang="en-US" b="0" cap="none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82662" y="2420939"/>
            <a:ext cx="3241129" cy="3529012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12" name="Content Placeholder 5"/>
          <p:cNvSpPr>
            <a:spLocks noGrp="1"/>
          </p:cNvSpPr>
          <p:nvPr>
            <p:ph sz="quarter" idx="14"/>
          </p:nvPr>
        </p:nvSpPr>
        <p:spPr>
          <a:xfrm>
            <a:off x="4511824" y="2420939"/>
            <a:ext cx="3168352" cy="3529012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6" name="Content Placeholder 6"/>
          <p:cNvSpPr>
            <a:spLocks noGrp="1"/>
          </p:cNvSpPr>
          <p:nvPr>
            <p:ph sz="quarter" idx="4"/>
          </p:nvPr>
        </p:nvSpPr>
        <p:spPr>
          <a:xfrm>
            <a:off x="7968208" y="2420939"/>
            <a:ext cx="3241130" cy="3529012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6E486E-9866-46A1-B5E1-FD02679EF2FB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5112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82662" y="1844675"/>
            <a:ext cx="4897437" cy="576263"/>
          </a:xfrm>
        </p:spPr>
        <p:txBody>
          <a:bodyPr tIns="5400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0" cap="none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3" hasCustomPrompt="1"/>
          </p:nvPr>
        </p:nvSpPr>
        <p:spPr>
          <a:xfrm>
            <a:off x="6311901" y="1844675"/>
            <a:ext cx="4897438" cy="576263"/>
          </a:xfrm>
        </p:spPr>
        <p:txBody>
          <a:bodyPr tIns="5400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0" cap="none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82662" y="2420939"/>
            <a:ext cx="4897438" cy="3529012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11900" y="2420939"/>
            <a:ext cx="4897438" cy="3529012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E8AE18-8368-42D9-9BBF-1B7CFE47D2B4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8206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82662" y="1844675"/>
            <a:ext cx="3241675" cy="57626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b="0" cap="none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11676" y="1844675"/>
            <a:ext cx="6697662" cy="57626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b="0" cap="none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82662" y="2420939"/>
            <a:ext cx="3241675" cy="3529012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12" name="Content Placeholder 5"/>
          <p:cNvSpPr>
            <a:spLocks noGrp="1"/>
          </p:cNvSpPr>
          <p:nvPr>
            <p:ph sz="quarter" idx="14"/>
          </p:nvPr>
        </p:nvSpPr>
        <p:spPr>
          <a:xfrm>
            <a:off x="4511674" y="2420939"/>
            <a:ext cx="6697663" cy="3529012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A3A00B-7F40-4C95-B9A6-1F3E01136F15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9553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82662" y="1844675"/>
            <a:ext cx="6697514" cy="57626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b="0" cap="none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967664" y="1844675"/>
            <a:ext cx="3241674" cy="57626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b="0" cap="none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82662" y="2420939"/>
            <a:ext cx="6697514" cy="3529012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12" name="Content Placeholder 5"/>
          <p:cNvSpPr>
            <a:spLocks noGrp="1"/>
          </p:cNvSpPr>
          <p:nvPr>
            <p:ph sz="quarter" idx="14"/>
          </p:nvPr>
        </p:nvSpPr>
        <p:spPr>
          <a:xfrm>
            <a:off x="7967663" y="2420939"/>
            <a:ext cx="3241674" cy="3529012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BBE3B-7A0B-4BFE-95D0-26C43B2EC8B9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8452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5"/>
          <p:cNvSpPr>
            <a:spLocks noGrp="1"/>
          </p:cNvSpPr>
          <p:nvPr>
            <p:ph type="title"/>
          </p:nvPr>
        </p:nvSpPr>
        <p:spPr>
          <a:xfrm>
            <a:off x="982663" y="404664"/>
            <a:ext cx="4897313" cy="1008063"/>
          </a:xfrm>
        </p:spPr>
        <p:txBody>
          <a:bodyPr/>
          <a:lstStyle>
            <a:lvl1pPr algn="l">
              <a:defRPr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982663" y="1844675"/>
            <a:ext cx="4897313" cy="410527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4"/>
          </p:nvPr>
        </p:nvSpPr>
        <p:spPr>
          <a:xfrm>
            <a:off x="6311900" y="404665"/>
            <a:ext cx="4897438" cy="5545286"/>
          </a:xfrm>
        </p:spPr>
        <p:txBody>
          <a:bodyPr/>
          <a:lstStyle>
            <a:lvl1pPr>
              <a:defRPr sz="1000"/>
            </a:lvl1pPr>
          </a:lstStyle>
          <a:p>
            <a:r>
              <a:rPr lang="fi-FI"/>
              <a:t>Lisää kaavio napsauttamalla kuvaketta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C828B-3DE1-49A6-9E76-42085C0CB0B4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612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ackground Pic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D970E12-D6A6-4677-B9A2-E6F5EBE77D8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343026" y="2348879"/>
            <a:ext cx="9505949" cy="2232645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1343025" y="1844675"/>
            <a:ext cx="950595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E6E672F-4F1C-4632-B379-EAE48239E9DA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IA - RKL yrittäjäpäivä 1.11.202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58C78D9-746E-5484-461D-1FA5862ECA1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72464" y="6237312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7" name="Freeform 14">
              <a:extLst>
                <a:ext uri="{FF2B5EF4-FFF2-40B4-BE49-F238E27FC236}">
                  <a16:creationId xmlns:a16="http://schemas.microsoft.com/office/drawing/2014/main" id="{264F81E2-56DF-3977-6794-8A54AD9801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15">
              <a:extLst>
                <a:ext uri="{FF2B5EF4-FFF2-40B4-BE49-F238E27FC236}">
                  <a16:creationId xmlns:a16="http://schemas.microsoft.com/office/drawing/2014/main" id="{6E04C954-6BE3-0B90-0CAC-06F995929C8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134585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5"/>
          <p:cNvSpPr>
            <a:spLocks noGrp="1"/>
          </p:cNvSpPr>
          <p:nvPr>
            <p:ph type="title"/>
          </p:nvPr>
        </p:nvSpPr>
        <p:spPr>
          <a:xfrm>
            <a:off x="6312025" y="404664"/>
            <a:ext cx="4897313" cy="1008063"/>
          </a:xfrm>
        </p:spPr>
        <p:txBody>
          <a:bodyPr/>
          <a:lstStyle>
            <a:lvl1pPr algn="l">
              <a:defRPr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6312025" y="1844675"/>
            <a:ext cx="4897313" cy="410527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4"/>
          </p:nvPr>
        </p:nvSpPr>
        <p:spPr>
          <a:xfrm>
            <a:off x="982663" y="404665"/>
            <a:ext cx="4897438" cy="5545286"/>
          </a:xfrm>
        </p:spPr>
        <p:txBody>
          <a:bodyPr/>
          <a:lstStyle>
            <a:lvl1pPr>
              <a:defRPr sz="1000"/>
            </a:lvl1pPr>
          </a:lstStyle>
          <a:p>
            <a:r>
              <a:rPr lang="fi-FI"/>
              <a:t>Lisää kaavio napsauttamalla kuvaketta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A9F458-B7AC-4A0D-9A46-EA4C5553B9F6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4032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AC7F4B-F32F-41F0-ADDD-2972C936D1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FA230ECD-10F3-4D02-A3B8-53E6D95BEB2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82663" y="1844675"/>
            <a:ext cx="4897437" cy="410527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6312024" y="1844824"/>
            <a:ext cx="4896544" cy="4104456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5CEC54B1-A30F-4E9E-97B6-0ED9194CA04B}" type="datetime1">
              <a:rPr lang="fi-FI" smtClean="0">
                <a:solidFill>
                  <a:srgbClr val="FF6900"/>
                </a:solidFill>
              </a:rPr>
              <a:t>31.10.2023</a:t>
            </a:fld>
            <a:endParaRPr lang="en-US">
              <a:solidFill>
                <a:srgbClr val="FF69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i-FI">
                <a:solidFill>
                  <a:srgbClr val="FF6900"/>
                </a:solidFill>
              </a:rPr>
              <a:t>RIA - RKL yrittäjäpäivä 1.11.2023</a:t>
            </a:r>
            <a:endParaRPr lang="en-US">
              <a:solidFill>
                <a:srgbClr val="FF69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1FEE6BA-E83C-4FBF-B719-E6671631796F}" type="slidenum">
              <a:rPr lang="en-US" smtClean="0">
                <a:solidFill>
                  <a:srgbClr val="FF6900"/>
                </a:solidFill>
              </a:rPr>
              <a:pPr/>
              <a:t>‹#›</a:t>
            </a:fld>
            <a:endParaRPr lang="en-US">
              <a:solidFill>
                <a:srgbClr val="FF69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8674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AC7F4B-F32F-41F0-ADDD-2972C936D1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3DFE771-6E05-405A-8CBC-13F4BF8B7F3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12024" y="1844675"/>
            <a:ext cx="4897437" cy="410527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983432" y="1844824"/>
            <a:ext cx="4896544" cy="4104456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DBAA46D-182E-4011-B88F-7454C648DFE6}" type="datetime1">
              <a:rPr lang="fi-FI" smtClean="0">
                <a:solidFill>
                  <a:srgbClr val="FF6900"/>
                </a:solidFill>
              </a:rPr>
              <a:t>31.10.2023</a:t>
            </a:fld>
            <a:endParaRPr lang="en-US">
              <a:solidFill>
                <a:srgbClr val="FF69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i-FI">
                <a:solidFill>
                  <a:srgbClr val="FF6900"/>
                </a:solidFill>
              </a:rPr>
              <a:t>RIA - RKL yrittäjäpäivä 1.11.2023</a:t>
            </a:r>
            <a:endParaRPr lang="en-US">
              <a:solidFill>
                <a:srgbClr val="FF69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1FEE6BA-E83C-4FBF-B719-E6671631796F}" type="slidenum">
              <a:rPr lang="en-US" smtClean="0">
                <a:solidFill>
                  <a:srgbClr val="FF6900"/>
                </a:solidFill>
              </a:rPr>
              <a:pPr/>
              <a:t>‹#›</a:t>
            </a:fld>
            <a:endParaRPr lang="en-US">
              <a:solidFill>
                <a:srgbClr val="FF69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9021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1/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82663" y="404664"/>
            <a:ext cx="4537273" cy="1008063"/>
          </a:xfrm>
        </p:spPr>
        <p:txBody>
          <a:bodyPr anchor="t" anchorCtr="0"/>
          <a:lstStyle>
            <a:lvl1pPr algn="l">
              <a:defRPr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982663" y="1844675"/>
            <a:ext cx="4537273" cy="410527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963F5214-BF49-4211-B7DE-FC25A230566F}" type="datetime1">
              <a:rPr lang="fi-FI" smtClean="0">
                <a:solidFill>
                  <a:srgbClr val="FF6900"/>
                </a:solidFill>
              </a:rPr>
              <a:t>31.10.2023</a:t>
            </a:fld>
            <a:endParaRPr lang="en-US">
              <a:solidFill>
                <a:srgbClr val="FF69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i-FI">
                <a:solidFill>
                  <a:srgbClr val="FF6900"/>
                </a:solidFill>
              </a:rPr>
              <a:t>RIA - RKL yrittäjäpäivä 1.11.2023</a:t>
            </a:r>
            <a:endParaRPr lang="en-US">
              <a:solidFill>
                <a:srgbClr val="FF69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1FEE6BA-E83C-4FBF-B719-E6671631796F}" type="slidenum">
              <a:rPr lang="en-US" smtClean="0">
                <a:solidFill>
                  <a:srgbClr val="FF6900"/>
                </a:solidFill>
              </a:rPr>
              <a:pPr/>
              <a:t>‹#›</a:t>
            </a:fld>
            <a:endParaRPr lang="en-US">
              <a:solidFill>
                <a:srgbClr val="FF69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8136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1/2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672065" y="404664"/>
            <a:ext cx="4537273" cy="1008063"/>
          </a:xfrm>
        </p:spPr>
        <p:txBody>
          <a:bodyPr/>
          <a:lstStyle>
            <a:lvl1pPr algn="l">
              <a:defRPr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672065" y="1844675"/>
            <a:ext cx="4537273" cy="410527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6096000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8240C903-8C61-46DF-B9D2-1E360CF81A6E}" type="datetime1">
              <a:rPr lang="fi-FI" smtClean="0">
                <a:solidFill>
                  <a:srgbClr val="FF6900"/>
                </a:solidFill>
              </a:rPr>
              <a:t>31.10.2023</a:t>
            </a:fld>
            <a:endParaRPr lang="en-US">
              <a:solidFill>
                <a:srgbClr val="FF69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i-FI">
                <a:solidFill>
                  <a:srgbClr val="FF6900"/>
                </a:solidFill>
              </a:rPr>
              <a:t>RIA - RKL yrittäjäpäivä 1.11.2023</a:t>
            </a:r>
            <a:endParaRPr lang="en-US">
              <a:solidFill>
                <a:srgbClr val="FF69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1FEE6BA-E83C-4FBF-B719-E6671631796F}" type="slidenum">
              <a:rPr lang="en-US" smtClean="0">
                <a:solidFill>
                  <a:srgbClr val="FF6900"/>
                </a:solidFill>
              </a:rPr>
              <a:pPr/>
              <a:t>‹#›</a:t>
            </a:fld>
            <a:endParaRPr lang="en-US">
              <a:solidFill>
                <a:srgbClr val="FF69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5992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1/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82663" y="404664"/>
            <a:ext cx="6553497" cy="1008063"/>
          </a:xfrm>
        </p:spPr>
        <p:txBody>
          <a:bodyPr/>
          <a:lstStyle>
            <a:lvl1pPr algn="l">
              <a:defRPr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982663" y="1844675"/>
            <a:ext cx="6553497" cy="410527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8112224" y="0"/>
            <a:ext cx="4079776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38D86F14-5BA8-4983-8192-6BEF8C32221D}" type="datetime1">
              <a:rPr lang="fi-FI" smtClean="0">
                <a:solidFill>
                  <a:srgbClr val="FF6900"/>
                </a:solidFill>
              </a:rPr>
              <a:t>31.10.2023</a:t>
            </a:fld>
            <a:endParaRPr lang="en-US">
              <a:solidFill>
                <a:srgbClr val="FF69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i-FI">
                <a:solidFill>
                  <a:srgbClr val="FF6900"/>
                </a:solidFill>
              </a:rPr>
              <a:t>RIA - RKL yrittäjäpäivä 1.11.2023</a:t>
            </a:r>
            <a:endParaRPr lang="en-US">
              <a:solidFill>
                <a:srgbClr val="FF69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1FEE6BA-E83C-4FBF-B719-E6671631796F}" type="slidenum">
              <a:rPr lang="en-US" smtClean="0">
                <a:solidFill>
                  <a:srgbClr val="FF6900"/>
                </a:solidFill>
              </a:rPr>
              <a:pPr/>
              <a:t>‹#›</a:t>
            </a:fld>
            <a:endParaRPr lang="en-US">
              <a:solidFill>
                <a:srgbClr val="FF69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9285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1/3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655840" y="404664"/>
            <a:ext cx="6553497" cy="1008063"/>
          </a:xfrm>
        </p:spPr>
        <p:txBody>
          <a:bodyPr/>
          <a:lstStyle>
            <a:lvl1pPr algn="l">
              <a:defRPr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655840" y="1844675"/>
            <a:ext cx="6553497" cy="410527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-1960" y="0"/>
            <a:ext cx="4081736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7A361CBC-7915-44E7-94A8-6142D6F19251}" type="datetime1">
              <a:rPr lang="fi-FI" smtClean="0">
                <a:solidFill>
                  <a:srgbClr val="FF6900"/>
                </a:solidFill>
              </a:rPr>
              <a:t>31.10.2023</a:t>
            </a:fld>
            <a:endParaRPr lang="en-US">
              <a:solidFill>
                <a:srgbClr val="FF69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1FEE6BA-E83C-4FBF-B719-E6671631796F}" type="slidenum">
              <a:rPr lang="en-US" smtClean="0">
                <a:solidFill>
                  <a:srgbClr val="FF6900"/>
                </a:solidFill>
              </a:rPr>
              <a:pPr/>
              <a:t>‹#›</a:t>
            </a:fld>
            <a:endParaRPr lang="en-US">
              <a:solidFill>
                <a:srgbClr val="FF69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6626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Orange 1/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82663" y="404664"/>
            <a:ext cx="6553497" cy="1008063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982663" y="1844675"/>
            <a:ext cx="6553497" cy="41052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8112224" y="0"/>
            <a:ext cx="4079776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C63DF5-A905-44CD-B811-24EA2D3FAC59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4599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Orange 1/3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655840" y="404664"/>
            <a:ext cx="6553497" cy="1008063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655840" y="1844675"/>
            <a:ext cx="6553497" cy="41052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-1960" y="0"/>
            <a:ext cx="4081736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68F39361-6A4B-4777-B612-AA8B69DB8C6C}" type="datetime1">
              <a:rPr lang="fi-FI" smtClean="0">
                <a:solidFill>
                  <a:srgbClr val="FF6900"/>
                </a:solidFill>
              </a:rPr>
              <a:t>31.10.2023</a:t>
            </a:fld>
            <a:endParaRPr lang="en-US">
              <a:solidFill>
                <a:srgbClr val="FF69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1FEE6BA-E83C-4FBF-B719-E6671631796F}" type="slidenum">
              <a:rPr lang="en-US" smtClean="0">
                <a:solidFill>
                  <a:srgbClr val="FF6900"/>
                </a:solidFill>
              </a:rPr>
              <a:pPr/>
              <a:t>‹#›</a:t>
            </a:fld>
            <a:endParaRPr lang="en-US">
              <a:solidFill>
                <a:srgbClr val="FF6900"/>
              </a:solidFill>
            </a:endParaRPr>
          </a:p>
        </p:txBody>
      </p:sp>
      <p:sp>
        <p:nvSpPr>
          <p:cNvPr id="9" name="Freeform 6">
            <a:extLst>
              <a:ext uri="{FF2B5EF4-FFF2-40B4-BE49-F238E27FC236}">
                <a16:creationId xmlns:a16="http://schemas.microsoft.com/office/drawing/2014/main" id="{A2ADABD8-63EF-412B-829C-4AA2E0A2FE78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11418061" y="6051504"/>
            <a:ext cx="360000" cy="401832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2125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Ar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D6F04AC9-97C7-4946-8966-6775CEB077DA}"/>
              </a:ext>
            </a:extLst>
          </p:cNvPr>
          <p:cNvSpPr/>
          <p:nvPr userDrawn="1"/>
        </p:nvSpPr>
        <p:spPr>
          <a:xfrm>
            <a:off x="6312024" y="1844675"/>
            <a:ext cx="4897314" cy="4105275"/>
          </a:xfrm>
          <a:custGeom>
            <a:avLst/>
            <a:gdLst>
              <a:gd name="connsiteX0" fmla="*/ 0 w 4897314"/>
              <a:gd name="connsiteY0" fmla="*/ 0 h 4105275"/>
              <a:gd name="connsiteX1" fmla="*/ 4897314 w 4897314"/>
              <a:gd name="connsiteY1" fmla="*/ 0 h 4105275"/>
              <a:gd name="connsiteX2" fmla="*/ 4897314 w 4897314"/>
              <a:gd name="connsiteY2" fmla="*/ 4105275 h 4105275"/>
              <a:gd name="connsiteX3" fmla="*/ 0 w 4897314"/>
              <a:gd name="connsiteY3" fmla="*/ 4105275 h 4105275"/>
              <a:gd name="connsiteX4" fmla="*/ 0 w 4897314"/>
              <a:gd name="connsiteY4" fmla="*/ 864245 h 4105275"/>
              <a:gd name="connsiteX5" fmla="*/ 216024 w 4897314"/>
              <a:gd name="connsiteY5" fmla="*/ 648221 h 4105275"/>
              <a:gd name="connsiteX6" fmla="*/ 0 w 4897314"/>
              <a:gd name="connsiteY6" fmla="*/ 432197 h 4105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897314" h="4105275">
                <a:moveTo>
                  <a:pt x="0" y="0"/>
                </a:moveTo>
                <a:lnTo>
                  <a:pt x="4897314" y="0"/>
                </a:lnTo>
                <a:lnTo>
                  <a:pt x="4897314" y="4105275"/>
                </a:lnTo>
                <a:lnTo>
                  <a:pt x="0" y="4105275"/>
                </a:lnTo>
                <a:lnTo>
                  <a:pt x="0" y="864245"/>
                </a:lnTo>
                <a:lnTo>
                  <a:pt x="216024" y="648221"/>
                </a:lnTo>
                <a:lnTo>
                  <a:pt x="0" y="43219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i-FI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517EB673-4B76-4232-9808-5863578BF389}"/>
              </a:ext>
            </a:extLst>
          </p:cNvPr>
          <p:cNvSpPr/>
          <p:nvPr userDrawn="1"/>
        </p:nvSpPr>
        <p:spPr>
          <a:xfrm>
            <a:off x="982663" y="1844675"/>
            <a:ext cx="5113337" cy="4105275"/>
          </a:xfrm>
          <a:custGeom>
            <a:avLst/>
            <a:gdLst>
              <a:gd name="connsiteX0" fmla="*/ 0 w 5113337"/>
              <a:gd name="connsiteY0" fmla="*/ 0 h 4105275"/>
              <a:gd name="connsiteX1" fmla="*/ 4897313 w 5113337"/>
              <a:gd name="connsiteY1" fmla="*/ 0 h 4105275"/>
              <a:gd name="connsiteX2" fmla="*/ 4897313 w 5113337"/>
              <a:gd name="connsiteY2" fmla="*/ 432197 h 4105275"/>
              <a:gd name="connsiteX3" fmla="*/ 5113337 w 5113337"/>
              <a:gd name="connsiteY3" fmla="*/ 648221 h 4105275"/>
              <a:gd name="connsiteX4" fmla="*/ 4897313 w 5113337"/>
              <a:gd name="connsiteY4" fmla="*/ 864245 h 4105275"/>
              <a:gd name="connsiteX5" fmla="*/ 4897313 w 5113337"/>
              <a:gd name="connsiteY5" fmla="*/ 4105275 h 4105275"/>
              <a:gd name="connsiteX6" fmla="*/ 0 w 5113337"/>
              <a:gd name="connsiteY6" fmla="*/ 4105275 h 4105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13337" h="4105275">
                <a:moveTo>
                  <a:pt x="0" y="0"/>
                </a:moveTo>
                <a:lnTo>
                  <a:pt x="4897313" y="0"/>
                </a:lnTo>
                <a:lnTo>
                  <a:pt x="4897313" y="432197"/>
                </a:lnTo>
                <a:lnTo>
                  <a:pt x="5113337" y="648221"/>
                </a:lnTo>
                <a:lnTo>
                  <a:pt x="4897313" y="864245"/>
                </a:lnTo>
                <a:lnTo>
                  <a:pt x="4897313" y="4105275"/>
                </a:lnTo>
                <a:lnTo>
                  <a:pt x="0" y="4105275"/>
                </a:lnTo>
                <a:close/>
              </a:path>
            </a:pathLst>
          </a:custGeom>
          <a:noFill/>
          <a:ln w="127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127449" y="1988840"/>
            <a:ext cx="4608512" cy="432098"/>
          </a:xfrm>
        </p:spPr>
        <p:txBody>
          <a:bodyPr tIns="5400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0" cap="none" baseline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3" hasCustomPrompt="1"/>
          </p:nvPr>
        </p:nvSpPr>
        <p:spPr>
          <a:xfrm>
            <a:off x="6672063" y="1988840"/>
            <a:ext cx="4392489" cy="432098"/>
          </a:xfrm>
        </p:spPr>
        <p:txBody>
          <a:bodyPr tIns="5400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0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2C1BD6-F7E7-4837-B107-673EB7AEF0D6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5829F06-1590-4139-92CF-F4749A76FD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27449" y="2420938"/>
            <a:ext cx="4608190" cy="3384326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4AA0591-5327-4698-AC7B-CD0EF569D53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72064" y="2420889"/>
            <a:ext cx="4392488" cy="33843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928573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ackground Pic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D970E12-D6A6-4677-B9A2-E6F5EBE77D8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343026" y="2348879"/>
            <a:ext cx="9505949" cy="2232645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1343025" y="1844675"/>
            <a:ext cx="950595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486D676-778A-47E7-B6B3-F96147CF568C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IA - RKL yrittäjäpäivä 1.11.202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70AFC88-CEB0-4616-E306-FA989669980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72464" y="6237312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7" name="Freeform 14">
              <a:extLst>
                <a:ext uri="{FF2B5EF4-FFF2-40B4-BE49-F238E27FC236}">
                  <a16:creationId xmlns:a16="http://schemas.microsoft.com/office/drawing/2014/main" id="{4CE30117-AC63-294C-4D50-3E1FDCFAFA1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15">
              <a:extLst>
                <a:ext uri="{FF2B5EF4-FFF2-40B4-BE49-F238E27FC236}">
                  <a16:creationId xmlns:a16="http://schemas.microsoft.com/office/drawing/2014/main" id="{DBE655DF-F7E7-F46C-F073-30FFA9E1671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64822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2663" y="980728"/>
            <a:ext cx="4897437" cy="2448272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800"/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4" y="3429000"/>
            <a:ext cx="4897436" cy="122396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70000"/>
              </a:lnSpc>
              <a:defRPr lang="en-US" sz="10000" b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982663" y="4652963"/>
            <a:ext cx="4897437" cy="1296987"/>
          </a:xfrm>
        </p:spPr>
        <p:txBody>
          <a:bodyPr/>
          <a:lstStyle>
            <a:lvl1pPr>
              <a:lnSpc>
                <a:spcPct val="100000"/>
              </a:lnSpc>
              <a:spcBef>
                <a:spcPts val="200"/>
              </a:spcBef>
              <a:defRPr sz="1200"/>
            </a:lvl1pPr>
            <a:lvl2pPr>
              <a:lnSpc>
                <a:spcPct val="100000"/>
              </a:lnSpc>
              <a:spcBef>
                <a:spcPts val="200"/>
              </a:spcBef>
              <a:defRPr sz="1200"/>
            </a:lvl2pPr>
            <a:lvl3pPr>
              <a:lnSpc>
                <a:spcPct val="100000"/>
              </a:lnSpc>
              <a:spcBef>
                <a:spcPts val="200"/>
              </a:spcBef>
              <a:defRPr sz="1200"/>
            </a:lvl3pPr>
            <a:lvl4pPr>
              <a:lnSpc>
                <a:spcPct val="100000"/>
              </a:lnSpc>
              <a:spcBef>
                <a:spcPts val="200"/>
              </a:spcBef>
              <a:defRPr sz="1200"/>
            </a:lvl4pPr>
            <a:lvl5pPr>
              <a:lnSpc>
                <a:spcPct val="100000"/>
              </a:lnSpc>
              <a:spcBef>
                <a:spcPts val="200"/>
              </a:spcBef>
              <a:defRPr sz="1200"/>
            </a:lvl5pPr>
            <a:lvl6pPr>
              <a:lnSpc>
                <a:spcPct val="100000"/>
              </a:lnSpc>
              <a:spcBef>
                <a:spcPts val="200"/>
              </a:spcBef>
              <a:defRPr sz="1200"/>
            </a:lvl6pPr>
            <a:lvl7pPr>
              <a:lnSpc>
                <a:spcPct val="100000"/>
              </a:lnSpc>
              <a:spcBef>
                <a:spcPts val="200"/>
              </a:spcBef>
              <a:defRPr sz="1200"/>
            </a:lvl7pPr>
            <a:lvl8pPr>
              <a:lnSpc>
                <a:spcPct val="100000"/>
              </a:lnSpc>
              <a:spcBef>
                <a:spcPts val="200"/>
              </a:spcBef>
              <a:defRPr sz="1200"/>
            </a:lvl8pPr>
            <a:lvl9pPr>
              <a:lnSpc>
                <a:spcPct val="100000"/>
              </a:lnSpc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692BB8-A769-4553-AA5E-F56CAA74BDDB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311900" y="981075"/>
            <a:ext cx="4897438" cy="647700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b="0" baseline="0" dirty="0">
                <a:solidFill>
                  <a:schemeClr val="accent3"/>
                </a:solidFill>
                <a:latin typeface="+mn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0" name="Chart Placeholder 9"/>
          <p:cNvSpPr>
            <a:spLocks noGrp="1"/>
          </p:cNvSpPr>
          <p:nvPr>
            <p:ph type="chart" sz="quarter" idx="16"/>
          </p:nvPr>
        </p:nvSpPr>
        <p:spPr>
          <a:xfrm>
            <a:off x="6311900" y="1844675"/>
            <a:ext cx="2448396" cy="1944365"/>
          </a:xfrm>
        </p:spPr>
        <p:txBody>
          <a:bodyPr/>
          <a:lstStyle>
            <a:lvl1pPr>
              <a:defRPr sz="1000"/>
            </a:lvl1pPr>
          </a:lstStyle>
          <a:p>
            <a:r>
              <a:rPr lang="fi-FI"/>
              <a:t>Lisää kaavio napsauttamalla kuvaketta</a:t>
            </a:r>
            <a:endParaRPr lang="fi-FI" dirty="0"/>
          </a:p>
        </p:txBody>
      </p:sp>
      <p:sp>
        <p:nvSpPr>
          <p:cNvPr id="11" name="Chart Placeholder 9"/>
          <p:cNvSpPr>
            <a:spLocks noGrp="1"/>
          </p:cNvSpPr>
          <p:nvPr>
            <p:ph type="chart" sz="quarter" idx="17"/>
          </p:nvPr>
        </p:nvSpPr>
        <p:spPr>
          <a:xfrm>
            <a:off x="8760297" y="1844675"/>
            <a:ext cx="2449042" cy="1944365"/>
          </a:xfrm>
        </p:spPr>
        <p:txBody>
          <a:bodyPr/>
          <a:lstStyle>
            <a:lvl1pPr>
              <a:defRPr sz="1000"/>
            </a:lvl1pPr>
          </a:lstStyle>
          <a:p>
            <a:r>
              <a:rPr lang="fi-FI"/>
              <a:t>Lisää kaavio napsauttamalla kuvaketta</a:t>
            </a:r>
            <a:endParaRPr lang="fi-FI" dirty="0"/>
          </a:p>
        </p:txBody>
      </p:sp>
      <p:sp>
        <p:nvSpPr>
          <p:cNvPr id="12" name="Chart Placeholder 9"/>
          <p:cNvSpPr>
            <a:spLocks noGrp="1"/>
          </p:cNvSpPr>
          <p:nvPr>
            <p:ph type="chart" sz="quarter" idx="18"/>
          </p:nvPr>
        </p:nvSpPr>
        <p:spPr>
          <a:xfrm>
            <a:off x="6311900" y="4005064"/>
            <a:ext cx="2448396" cy="1944886"/>
          </a:xfrm>
        </p:spPr>
        <p:txBody>
          <a:bodyPr/>
          <a:lstStyle>
            <a:lvl1pPr>
              <a:defRPr sz="1000"/>
            </a:lvl1pPr>
          </a:lstStyle>
          <a:p>
            <a:r>
              <a:rPr lang="fi-FI"/>
              <a:t>Lisää kaavio napsauttamalla kuvaketta</a:t>
            </a:r>
            <a:endParaRPr lang="fi-FI" dirty="0"/>
          </a:p>
        </p:txBody>
      </p:sp>
      <p:sp>
        <p:nvSpPr>
          <p:cNvPr id="13" name="Chart Placeholder 9"/>
          <p:cNvSpPr>
            <a:spLocks noGrp="1"/>
          </p:cNvSpPr>
          <p:nvPr>
            <p:ph type="chart" sz="quarter" idx="19"/>
          </p:nvPr>
        </p:nvSpPr>
        <p:spPr>
          <a:xfrm>
            <a:off x="8760297" y="4005064"/>
            <a:ext cx="2449042" cy="1944886"/>
          </a:xfrm>
        </p:spPr>
        <p:txBody>
          <a:bodyPr/>
          <a:lstStyle>
            <a:lvl1pPr>
              <a:defRPr sz="1000"/>
            </a:lvl1pPr>
          </a:lstStyle>
          <a:p>
            <a:r>
              <a:rPr lang="fi-FI"/>
              <a:t>Lisää kaavio napsauttamalla kuvaketta</a:t>
            </a:r>
            <a:endParaRPr lang="fi-FI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2371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Cont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981893" y="3501008"/>
            <a:ext cx="10226675" cy="24489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2663" y="980728"/>
            <a:ext cx="4897437" cy="2448272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126554" y="3645024"/>
            <a:ext cx="3241254" cy="288032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sz="1400" b="0" baseline="0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15CD8221-CE0D-437A-8323-A2F27860CFA7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511824" y="3645024"/>
            <a:ext cx="3168352" cy="288032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sz="1400" b="0" baseline="0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A991BBD7-252F-482A-AB1F-CB67BD97D70A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824192" y="3645024"/>
            <a:ext cx="3240360" cy="288032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sz="1400" b="0" baseline="0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0" name="Chart Placeholder 9"/>
          <p:cNvSpPr>
            <a:spLocks noGrp="1"/>
          </p:cNvSpPr>
          <p:nvPr>
            <p:ph type="chart" sz="quarter" idx="16"/>
          </p:nvPr>
        </p:nvSpPr>
        <p:spPr>
          <a:xfrm>
            <a:off x="1128828" y="4005586"/>
            <a:ext cx="3238980" cy="1799718"/>
          </a:xfrm>
        </p:spPr>
        <p:txBody>
          <a:bodyPr/>
          <a:lstStyle>
            <a:lvl1pPr>
              <a:defRPr sz="1000"/>
            </a:lvl1pPr>
          </a:lstStyle>
          <a:p>
            <a:r>
              <a:rPr lang="fi-FI"/>
              <a:t>Lisää kaavio napsauttamalla kuvaketta</a:t>
            </a:r>
            <a:endParaRPr lang="fi-FI" dirty="0"/>
          </a:p>
        </p:txBody>
      </p:sp>
      <p:sp>
        <p:nvSpPr>
          <p:cNvPr id="11" name="Chart Placeholder 10"/>
          <p:cNvSpPr>
            <a:spLocks noGrp="1"/>
          </p:cNvSpPr>
          <p:nvPr>
            <p:ph type="chart" sz="quarter" idx="17"/>
          </p:nvPr>
        </p:nvSpPr>
        <p:spPr>
          <a:xfrm>
            <a:off x="4511824" y="4005586"/>
            <a:ext cx="3168352" cy="1799718"/>
          </a:xfrm>
        </p:spPr>
        <p:txBody>
          <a:bodyPr/>
          <a:lstStyle>
            <a:lvl1pPr>
              <a:defRPr sz="1000"/>
            </a:lvl1pPr>
          </a:lstStyle>
          <a:p>
            <a:r>
              <a:rPr lang="fi-FI"/>
              <a:t>Lisää kaavio napsauttamalla kuvaketta</a:t>
            </a:r>
            <a:endParaRPr lang="fi-FI"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8"/>
          </p:nvPr>
        </p:nvSpPr>
        <p:spPr>
          <a:xfrm>
            <a:off x="7824192" y="4005064"/>
            <a:ext cx="3240360" cy="1800200"/>
          </a:xfrm>
        </p:spPr>
        <p:txBody>
          <a:bodyPr/>
          <a:lstStyle>
            <a:lvl1pPr>
              <a:defRPr sz="1000"/>
            </a:lvl1pPr>
          </a:lstStyle>
          <a:p>
            <a:r>
              <a:rPr lang="fi-FI"/>
              <a:t>Lisää kaavio napsauttamalla kuvaketta</a:t>
            </a:r>
            <a:endParaRPr lang="fi-FI" dirty="0"/>
          </a:p>
        </p:txBody>
      </p:sp>
      <p:sp>
        <p:nvSpPr>
          <p:cNvPr id="18" name="Freeform 6"/>
          <p:cNvSpPr>
            <a:spLocks noChangeAspect="1" noEditPoints="1"/>
          </p:cNvSpPr>
          <p:nvPr userDrawn="1"/>
        </p:nvSpPr>
        <p:spPr bwMode="black">
          <a:xfrm>
            <a:off x="11418061" y="6051504"/>
            <a:ext cx="360000" cy="401832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3A71263-590E-46CD-A605-488D6ABFF1B8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9979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2663" y="980728"/>
            <a:ext cx="10226675" cy="2448272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6600">
                <a:solidFill>
                  <a:schemeClr val="accent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4" y="3573016"/>
            <a:ext cx="4897436" cy="2376934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80000"/>
              </a:lnSpc>
              <a:defRPr lang="en-US" sz="18000" b="0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6311900" y="3573016"/>
            <a:ext cx="4897437" cy="2376935"/>
          </a:xfrm>
        </p:spPr>
        <p:txBody>
          <a:bodyPr/>
          <a:lstStyle>
            <a:lvl1pPr>
              <a:lnSpc>
                <a:spcPct val="100000"/>
              </a:lnSpc>
              <a:spcBef>
                <a:spcPts val="200"/>
              </a:spcBef>
              <a:defRPr sz="1600"/>
            </a:lvl1pPr>
            <a:lvl2pPr>
              <a:lnSpc>
                <a:spcPct val="100000"/>
              </a:lnSpc>
              <a:spcBef>
                <a:spcPts val="200"/>
              </a:spcBef>
              <a:defRPr sz="1600"/>
            </a:lvl2pPr>
            <a:lvl3pPr>
              <a:lnSpc>
                <a:spcPct val="100000"/>
              </a:lnSpc>
              <a:spcBef>
                <a:spcPts val="200"/>
              </a:spcBef>
              <a:defRPr sz="1400"/>
            </a:lvl3pPr>
            <a:lvl4pPr>
              <a:lnSpc>
                <a:spcPct val="100000"/>
              </a:lnSpc>
              <a:spcBef>
                <a:spcPts val="200"/>
              </a:spcBef>
              <a:defRPr sz="1400"/>
            </a:lvl4pPr>
            <a:lvl5pPr>
              <a:lnSpc>
                <a:spcPct val="100000"/>
              </a:lnSpc>
              <a:spcBef>
                <a:spcPts val="200"/>
              </a:spcBef>
              <a:defRPr sz="1400"/>
            </a:lvl5pPr>
            <a:lvl6pPr>
              <a:lnSpc>
                <a:spcPct val="100000"/>
              </a:lnSpc>
              <a:spcBef>
                <a:spcPts val="200"/>
              </a:spcBef>
              <a:defRPr sz="1200"/>
            </a:lvl6pPr>
            <a:lvl7pPr>
              <a:lnSpc>
                <a:spcPct val="100000"/>
              </a:lnSpc>
              <a:spcBef>
                <a:spcPts val="200"/>
              </a:spcBef>
              <a:defRPr sz="1200"/>
            </a:lvl7pPr>
            <a:lvl8pPr>
              <a:lnSpc>
                <a:spcPct val="100000"/>
              </a:lnSpc>
              <a:spcBef>
                <a:spcPts val="200"/>
              </a:spcBef>
              <a:defRPr sz="1200"/>
            </a:lvl8pPr>
            <a:lvl9pPr>
              <a:lnSpc>
                <a:spcPct val="100000"/>
              </a:lnSpc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DB541C-5A1C-4205-B4FC-5A371CD7906F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Freeform 6"/>
          <p:cNvSpPr>
            <a:spLocks noChangeAspect="1" noEditPoints="1"/>
          </p:cNvSpPr>
          <p:nvPr userDrawn="1"/>
        </p:nvSpPr>
        <p:spPr bwMode="black">
          <a:xfrm>
            <a:off x="11418061" y="6051504"/>
            <a:ext cx="360000" cy="401832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2839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Content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6696" y="3573189"/>
            <a:ext cx="4897437" cy="1223963"/>
          </a:xfrm>
        </p:spPr>
        <p:txBody>
          <a:bodyPr anchor="t" anchorCtr="0"/>
          <a:lstStyle>
            <a:lvl1pPr algn="l">
              <a:lnSpc>
                <a:spcPct val="8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4" y="980728"/>
            <a:ext cx="4897436" cy="2448272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80000"/>
              </a:lnSpc>
              <a:defRPr lang="en-US" sz="18000" b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982663" y="4797152"/>
            <a:ext cx="4897437" cy="1152798"/>
          </a:xfrm>
        </p:spPr>
        <p:txBody>
          <a:bodyPr/>
          <a:lstStyle>
            <a:lvl1pPr>
              <a:lnSpc>
                <a:spcPct val="100000"/>
              </a:lnSpc>
              <a:spcBef>
                <a:spcPts val="200"/>
              </a:spcBef>
              <a:defRPr sz="12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200"/>
              </a:spcBef>
              <a:defRPr sz="12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Bef>
                <a:spcPts val="200"/>
              </a:spcBef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Bef>
                <a:spcPts val="200"/>
              </a:spcBef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spcBef>
                <a:spcPts val="200"/>
              </a:spcBef>
              <a:defRPr sz="1200">
                <a:solidFill>
                  <a:schemeClr val="bg1"/>
                </a:solidFill>
              </a:defRPr>
            </a:lvl5pPr>
            <a:lvl6pPr>
              <a:lnSpc>
                <a:spcPct val="100000"/>
              </a:lnSpc>
              <a:spcBef>
                <a:spcPts val="200"/>
              </a:spcBef>
              <a:defRPr sz="1200"/>
            </a:lvl6pPr>
            <a:lvl7pPr>
              <a:lnSpc>
                <a:spcPct val="100000"/>
              </a:lnSpc>
              <a:spcBef>
                <a:spcPts val="200"/>
              </a:spcBef>
              <a:defRPr sz="1200"/>
            </a:lvl7pPr>
            <a:lvl8pPr>
              <a:lnSpc>
                <a:spcPct val="100000"/>
              </a:lnSpc>
              <a:spcBef>
                <a:spcPts val="200"/>
              </a:spcBef>
              <a:defRPr sz="1200"/>
            </a:lvl8pPr>
            <a:lvl9pPr>
              <a:lnSpc>
                <a:spcPct val="100000"/>
              </a:lnSpc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17" name="Freeform 6"/>
          <p:cNvSpPr>
            <a:spLocks noChangeAspect="1" noEditPoints="1"/>
          </p:cNvSpPr>
          <p:nvPr userDrawn="1"/>
        </p:nvSpPr>
        <p:spPr bwMode="black">
          <a:xfrm>
            <a:off x="11418061" y="6051504"/>
            <a:ext cx="360000" cy="401832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2486403-E373-4EB8-B467-7EC62110FF3E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0582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2663" y="3429000"/>
            <a:ext cx="4897437" cy="252095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6000">
                <a:solidFill>
                  <a:schemeClr val="accent3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4" y="981075"/>
            <a:ext cx="4897436" cy="2303910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80000"/>
              </a:lnSpc>
              <a:defRPr lang="en-US" sz="16000" b="0" dirty="0">
                <a:solidFill>
                  <a:schemeClr val="accent3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6311900" y="981075"/>
            <a:ext cx="4897437" cy="2303909"/>
          </a:xfrm>
        </p:spPr>
        <p:txBody>
          <a:bodyPr/>
          <a:lstStyle>
            <a:lvl1pPr>
              <a:lnSpc>
                <a:spcPct val="100000"/>
              </a:lnSpc>
              <a:spcBef>
                <a:spcPts val="200"/>
              </a:spcBef>
              <a:defRPr sz="1600"/>
            </a:lvl1pPr>
            <a:lvl2pPr>
              <a:lnSpc>
                <a:spcPct val="100000"/>
              </a:lnSpc>
              <a:spcBef>
                <a:spcPts val="200"/>
              </a:spcBef>
              <a:defRPr sz="1600"/>
            </a:lvl2pPr>
            <a:lvl3pPr>
              <a:lnSpc>
                <a:spcPct val="100000"/>
              </a:lnSpc>
              <a:spcBef>
                <a:spcPts val="200"/>
              </a:spcBef>
              <a:defRPr sz="1400"/>
            </a:lvl3pPr>
            <a:lvl4pPr>
              <a:lnSpc>
                <a:spcPct val="100000"/>
              </a:lnSpc>
              <a:spcBef>
                <a:spcPts val="200"/>
              </a:spcBef>
              <a:defRPr sz="1400"/>
            </a:lvl4pPr>
            <a:lvl5pPr>
              <a:lnSpc>
                <a:spcPct val="100000"/>
              </a:lnSpc>
              <a:spcBef>
                <a:spcPts val="200"/>
              </a:spcBef>
              <a:defRPr sz="1400"/>
            </a:lvl5pPr>
            <a:lvl6pPr>
              <a:lnSpc>
                <a:spcPct val="100000"/>
              </a:lnSpc>
              <a:spcBef>
                <a:spcPts val="200"/>
              </a:spcBef>
              <a:defRPr sz="1200"/>
            </a:lvl6pPr>
            <a:lvl7pPr>
              <a:lnSpc>
                <a:spcPct val="100000"/>
              </a:lnSpc>
              <a:spcBef>
                <a:spcPts val="200"/>
              </a:spcBef>
              <a:defRPr sz="1200"/>
            </a:lvl7pPr>
            <a:lvl8pPr>
              <a:lnSpc>
                <a:spcPct val="100000"/>
              </a:lnSpc>
              <a:spcBef>
                <a:spcPts val="200"/>
              </a:spcBef>
              <a:defRPr sz="1200"/>
            </a:lvl8pPr>
            <a:lvl9pPr>
              <a:lnSpc>
                <a:spcPct val="100000"/>
              </a:lnSpc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9" name="Chart Placeholder 9"/>
          <p:cNvSpPr>
            <a:spLocks noGrp="1"/>
          </p:cNvSpPr>
          <p:nvPr>
            <p:ph type="chart" sz="quarter" idx="16"/>
          </p:nvPr>
        </p:nvSpPr>
        <p:spPr>
          <a:xfrm>
            <a:off x="6311900" y="3429000"/>
            <a:ext cx="4897438" cy="2520950"/>
          </a:xfrm>
        </p:spPr>
        <p:txBody>
          <a:bodyPr/>
          <a:lstStyle>
            <a:lvl1pPr>
              <a:defRPr sz="1000"/>
            </a:lvl1pPr>
          </a:lstStyle>
          <a:p>
            <a:r>
              <a:rPr lang="fi-FI"/>
              <a:t>Lisää kaavio napsauttamalla kuvaketta</a:t>
            </a:r>
            <a:endParaRPr lang="fi-FI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0E2E0-027E-4B95-A885-EF853A60FC6E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5610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Conten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2663" y="980728"/>
            <a:ext cx="4897437" cy="1728192"/>
          </a:xfrm>
        </p:spPr>
        <p:txBody>
          <a:bodyPr tIns="36000" anchor="t" anchorCtr="0"/>
          <a:lstStyle>
            <a:lvl1pPr algn="l">
              <a:lnSpc>
                <a:spcPct val="90000"/>
              </a:lnSpc>
              <a:defRPr sz="3600"/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312024" y="1484957"/>
            <a:ext cx="4897436" cy="1223963"/>
          </a:xfrm>
        </p:spPr>
        <p:txBody>
          <a:bodyPr vert="horz" lIns="0" tIns="144000" rIns="0" bIns="0" rtlCol="0" anchor="t" anchorCtr="0">
            <a:noAutofit/>
          </a:bodyPr>
          <a:lstStyle>
            <a:lvl1pPr>
              <a:lnSpc>
                <a:spcPct val="70000"/>
              </a:lnSpc>
              <a:defRPr lang="en-US" sz="8000" b="0" dirty="0">
                <a:solidFill>
                  <a:schemeClr val="accent3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4058F4-6C3E-453C-9A05-C57976CCD778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311900" y="981075"/>
            <a:ext cx="4897438" cy="35969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b="0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7B7EC3C-CA63-440B-BF6C-A47609BEFFC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82663" y="3140968"/>
            <a:ext cx="10225905" cy="2808982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3354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Conten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312024" y="2348707"/>
            <a:ext cx="4897436" cy="1080294"/>
          </a:xfrm>
        </p:spPr>
        <p:txBody>
          <a:bodyPr vert="horz" lIns="0" tIns="144000" rIns="0" bIns="0" rtlCol="0" anchor="t" anchorCtr="0">
            <a:noAutofit/>
          </a:bodyPr>
          <a:lstStyle>
            <a:lvl1pPr>
              <a:lnSpc>
                <a:spcPct val="70000"/>
              </a:lnSpc>
              <a:defRPr lang="en-US" sz="8000" b="0" dirty="0">
                <a:solidFill>
                  <a:schemeClr val="accent3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DAA614-B6D5-4461-8FDD-FE53EB577F4C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311900" y="1844824"/>
            <a:ext cx="4897438" cy="35969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b="0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3606FFB-15CE-408A-8493-F752F10A6F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0E8E657-0EF0-4F72-90E3-DA9C0D6082D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982662" y="1844675"/>
            <a:ext cx="4897437" cy="576263"/>
          </a:xfrm>
        </p:spPr>
        <p:txBody>
          <a:bodyPr tIns="5400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0" cap="none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44C03E3-5B08-40B2-A67D-6AA499524A1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82662" y="2420939"/>
            <a:ext cx="4897438" cy="3529012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D11D370E-EE54-4484-827F-0993364EDD4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24" y="4292922"/>
            <a:ext cx="4897436" cy="1080294"/>
          </a:xfrm>
        </p:spPr>
        <p:txBody>
          <a:bodyPr vert="horz" lIns="0" tIns="144000" rIns="0" bIns="0" rtlCol="0" anchor="t" anchorCtr="0">
            <a:noAutofit/>
          </a:bodyPr>
          <a:lstStyle>
            <a:lvl1pPr>
              <a:lnSpc>
                <a:spcPct val="70000"/>
              </a:lnSpc>
              <a:defRPr lang="en-US" sz="8000" b="0" dirty="0">
                <a:solidFill>
                  <a:schemeClr val="accent3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5C4E32A6-5E3A-4C1C-A077-1AE6C173EC77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311900" y="3789039"/>
            <a:ext cx="4897438" cy="35969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b="0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DC978E6-7B8F-4C4D-833D-4AC80D2A0777}"/>
              </a:ext>
            </a:extLst>
          </p:cNvPr>
          <p:cNvCxnSpPr/>
          <p:nvPr userDrawn="1"/>
        </p:nvCxnSpPr>
        <p:spPr>
          <a:xfrm>
            <a:off x="6096000" y="1844824"/>
            <a:ext cx="0" cy="4104456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1566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Content 8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312024" y="1844675"/>
            <a:ext cx="4896544" cy="41052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3F3B170-B9B4-46ED-98B6-B6F39DEF0532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DA3F24-4ABE-483E-A5CB-313BB03AEA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578C2AF-0D84-445B-B990-8E67D01977BB}"/>
              </a:ext>
            </a:extLst>
          </p:cNvPr>
          <p:cNvCxnSpPr/>
          <p:nvPr userDrawn="1"/>
        </p:nvCxnSpPr>
        <p:spPr>
          <a:xfrm>
            <a:off x="6096000" y="1844824"/>
            <a:ext cx="0" cy="410445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9233129-9BD5-4C01-B019-833F2006B0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540" y="2348707"/>
            <a:ext cx="4897436" cy="1080294"/>
          </a:xfrm>
        </p:spPr>
        <p:txBody>
          <a:bodyPr vert="horz" lIns="0" tIns="144000" rIns="0" bIns="0" rtlCol="0" anchor="t" anchorCtr="0">
            <a:noAutofit/>
          </a:bodyPr>
          <a:lstStyle>
            <a:lvl1pPr>
              <a:lnSpc>
                <a:spcPct val="70000"/>
              </a:lnSpc>
              <a:defRPr lang="en-US" sz="8000" b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1D5DB1D-0828-49FC-925A-E87C6060FA5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982416" y="1844824"/>
            <a:ext cx="4897438" cy="35969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b="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E7808219-3103-4680-B89D-E15B9C0380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82540" y="4292923"/>
            <a:ext cx="4897436" cy="1080294"/>
          </a:xfrm>
        </p:spPr>
        <p:txBody>
          <a:bodyPr vert="horz" lIns="0" tIns="144000" rIns="0" bIns="0" rtlCol="0" anchor="t" anchorCtr="0">
            <a:noAutofit/>
          </a:bodyPr>
          <a:lstStyle>
            <a:lvl1pPr>
              <a:lnSpc>
                <a:spcPct val="70000"/>
              </a:lnSpc>
              <a:defRPr lang="en-US" sz="8000" b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44B32D3-35ED-400D-97C1-41008C4FD2BA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982416" y="3789040"/>
            <a:ext cx="4897438" cy="35969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b="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4974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Content 9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D56E1F24-236F-4F8B-9A03-497C1DE20AF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7" name="Freeform 6">
            <a:extLst>
              <a:ext uri="{FF2B5EF4-FFF2-40B4-BE49-F238E27FC236}">
                <a16:creationId xmlns:a16="http://schemas.microsoft.com/office/drawing/2014/main" id="{1CB7BC3F-EB5D-487A-97F4-7914DA894692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11418061" y="6051504"/>
            <a:ext cx="360000" cy="401832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6FBC3C9-1E67-457F-8FE6-32575E3E5C51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DA3F24-4ABE-483E-A5CB-313BB03AEA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9233129-9BD5-4C01-B019-833F2006B0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540" y="2852762"/>
            <a:ext cx="4897436" cy="3096518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80000"/>
              </a:lnSpc>
              <a:defRPr lang="en-US" sz="16000" b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1D5DB1D-0828-49FC-925A-E87C6060FA5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982416" y="2348879"/>
            <a:ext cx="4897438" cy="35969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b="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E7808219-3103-4680-B89D-E15B9C0380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148" y="2852762"/>
            <a:ext cx="4897436" cy="3096517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80000"/>
              </a:lnSpc>
              <a:defRPr lang="en-US" sz="16000" b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44B32D3-35ED-400D-97C1-41008C4FD2BA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312024" y="2348880"/>
            <a:ext cx="4897438" cy="35969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b="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EEF6A2C-2FB2-43A8-A456-A31438059347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82662" y="1844675"/>
            <a:ext cx="10225906" cy="360189"/>
          </a:xfrm>
        </p:spPr>
        <p:txBody>
          <a:bodyPr tIns="54000" anchor="t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91423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Content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2B208F52-EBEB-4510-A28F-40A74061397D}"/>
              </a:ext>
            </a:extLst>
          </p:cNvPr>
          <p:cNvSpPr/>
          <p:nvPr userDrawn="1"/>
        </p:nvSpPr>
        <p:spPr>
          <a:xfrm>
            <a:off x="6096000" y="3429000"/>
            <a:ext cx="6105550" cy="3429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56E1F24-236F-4F8B-9A03-497C1DE20AFA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9233129-9BD5-4C01-B019-833F2006B0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540" y="1700808"/>
            <a:ext cx="4681412" cy="3096518"/>
          </a:xfrm>
        </p:spPr>
        <p:txBody>
          <a:bodyPr vert="horz" lIns="0" tIns="288000" rIns="0" bIns="0" rtlCol="0" anchor="t" anchorCtr="0">
            <a:noAutofit/>
          </a:bodyPr>
          <a:lstStyle>
            <a:lvl1pPr>
              <a:lnSpc>
                <a:spcPct val="70000"/>
              </a:lnSpc>
              <a:defRPr lang="en-US" sz="16000" b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1D5DB1D-0828-49FC-925A-E87C6060FA5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982416" y="4941168"/>
            <a:ext cx="3529408" cy="1007765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b="0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E7808219-3103-4680-B89D-E15B9C0380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48128" y="980729"/>
            <a:ext cx="1656184" cy="1008112"/>
          </a:xfrm>
        </p:spPr>
        <p:txBody>
          <a:bodyPr vert="horz" lIns="0" tIns="144000" rIns="0" bIns="0" rtlCol="0" anchor="t" anchorCtr="0">
            <a:noAutofit/>
          </a:bodyPr>
          <a:lstStyle>
            <a:lvl1pPr>
              <a:lnSpc>
                <a:spcPct val="70000"/>
              </a:lnSpc>
              <a:defRPr lang="en-US" sz="6000" b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EEF6A2C-2FB2-43A8-A456-A31438059347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82662" y="980728"/>
            <a:ext cx="4681295" cy="720080"/>
          </a:xfrm>
        </p:spPr>
        <p:txBody>
          <a:bodyPr tIns="54000" anchor="t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400" b="0" cap="all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BAADA18-EC4A-4816-BE40-9F426A4D3DF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0CD37A2A-5F67-4583-BFB9-656A48A23C1F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259C277-3032-49DE-B007-D0788CBD255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83D9BD5-1494-4543-98C3-30802878A19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DAF145C0-2DD8-4817-B648-CD947E0605F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48128" y="2132856"/>
            <a:ext cx="1656184" cy="1008112"/>
          </a:xfrm>
        </p:spPr>
        <p:txBody>
          <a:bodyPr vert="horz" lIns="0" tIns="144000" rIns="0" bIns="0" rtlCol="0" anchor="t" anchorCtr="0">
            <a:noAutofit/>
          </a:bodyPr>
          <a:lstStyle>
            <a:lvl1pPr>
              <a:lnSpc>
                <a:spcPct val="70000"/>
              </a:lnSpc>
              <a:defRPr lang="en-US" sz="6000" b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F5B55AA-1493-4DB3-A5FC-47FFFC91FA8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048328" y="981075"/>
            <a:ext cx="1872085" cy="1007765"/>
          </a:xfrm>
        </p:spPr>
        <p:txBody>
          <a:bodyPr tIns="7200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961F28A3-61E7-420A-A0D7-2A4CA93025B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528048" y="4509120"/>
            <a:ext cx="2376265" cy="360040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76B8E1E9-07B6-4EFE-8EFF-8B032D4BD9F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048328" y="2132856"/>
            <a:ext cx="1872085" cy="1007765"/>
          </a:xfrm>
        </p:spPr>
        <p:txBody>
          <a:bodyPr tIns="7200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E5ACA433-5C1D-4B57-A713-4FF287114523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528048" y="1124744"/>
            <a:ext cx="577041" cy="576064"/>
          </a:xfrm>
        </p:spPr>
        <p:txBody>
          <a:bodyPr/>
          <a:lstStyle>
            <a:lvl1pPr>
              <a:defRPr sz="1000"/>
            </a:lvl1pPr>
          </a:lstStyle>
          <a:p>
            <a:r>
              <a:rPr lang="fi-FI" dirty="0" err="1"/>
              <a:t>Icon</a:t>
            </a:r>
            <a:endParaRPr lang="fi-FI" dirty="0"/>
          </a:p>
        </p:txBody>
      </p:sp>
      <p:sp>
        <p:nvSpPr>
          <p:cNvPr id="26" name="Picture Placeholder 23">
            <a:extLst>
              <a:ext uri="{FF2B5EF4-FFF2-40B4-BE49-F238E27FC236}">
                <a16:creationId xmlns:a16="http://schemas.microsoft.com/office/drawing/2014/main" id="{CA887B23-6B60-453D-AC35-9ED6C4B6789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528048" y="2276150"/>
            <a:ext cx="577764" cy="576786"/>
          </a:xfrm>
        </p:spPr>
        <p:txBody>
          <a:bodyPr/>
          <a:lstStyle>
            <a:lvl1pPr>
              <a:defRPr sz="1000"/>
            </a:lvl1pPr>
          </a:lstStyle>
          <a:p>
            <a:r>
              <a:rPr lang="fi-FI" dirty="0" err="1"/>
              <a:t>Icon</a:t>
            </a:r>
            <a:endParaRPr lang="fi-FI" dirty="0"/>
          </a:p>
        </p:txBody>
      </p:sp>
      <p:sp>
        <p:nvSpPr>
          <p:cNvPr id="28" name="Picture Placeholder 23">
            <a:extLst>
              <a:ext uri="{FF2B5EF4-FFF2-40B4-BE49-F238E27FC236}">
                <a16:creationId xmlns:a16="http://schemas.microsoft.com/office/drawing/2014/main" id="{825C986F-1455-49A8-BC15-2C9C8C6BDD9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656075" y="4941168"/>
            <a:ext cx="1009821" cy="1008112"/>
          </a:xfrm>
        </p:spPr>
        <p:txBody>
          <a:bodyPr/>
          <a:lstStyle>
            <a:lvl1pPr>
              <a:defRPr sz="1000"/>
            </a:lvl1pPr>
          </a:lstStyle>
          <a:p>
            <a:r>
              <a:rPr lang="fi-FI" dirty="0" err="1"/>
              <a:t>Icon</a:t>
            </a:r>
            <a:r>
              <a:rPr lang="fi-FI" dirty="0"/>
              <a:t>/</a:t>
            </a:r>
            <a:r>
              <a:rPr lang="fi-FI" dirty="0" err="1"/>
              <a:t>picture</a:t>
            </a:r>
            <a:endParaRPr lang="fi-FI" dirty="0"/>
          </a:p>
        </p:txBody>
      </p:sp>
      <p:sp>
        <p:nvSpPr>
          <p:cNvPr id="29" name="Picture Placeholder 23">
            <a:extLst>
              <a:ext uri="{FF2B5EF4-FFF2-40B4-BE49-F238E27FC236}">
                <a16:creationId xmlns:a16="http://schemas.microsoft.com/office/drawing/2014/main" id="{E49DFDA1-737C-4E49-97EC-39DB76246438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528048" y="3789040"/>
            <a:ext cx="577041" cy="576064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fi-FI" dirty="0" err="1"/>
              <a:t>Icon</a:t>
            </a:r>
            <a:endParaRPr lang="fi-FI" dirty="0"/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36A6A472-4F15-4DC1-8C14-B6E21A4548B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528048" y="4941168"/>
            <a:ext cx="2376264" cy="1008112"/>
          </a:xfrm>
        </p:spPr>
        <p:txBody>
          <a:bodyPr vert="horz" lIns="0" tIns="144000" rIns="0" bIns="0" rtlCol="0" anchor="t" anchorCtr="0">
            <a:noAutofit/>
          </a:bodyPr>
          <a:lstStyle>
            <a:lvl1pPr>
              <a:lnSpc>
                <a:spcPct val="70000"/>
              </a:lnSpc>
              <a:defRPr lang="en-US" sz="6000" b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32" name="Freeform 6">
            <a:extLst>
              <a:ext uri="{FF2B5EF4-FFF2-40B4-BE49-F238E27FC236}">
                <a16:creationId xmlns:a16="http://schemas.microsoft.com/office/drawing/2014/main" id="{E5C59CC0-8F88-417B-8419-CAB851719C2E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11418061" y="6051504"/>
            <a:ext cx="360000" cy="401832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4EDD3CAC-717F-43D4-9ABD-2D43BA870F7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048328" y="4509120"/>
            <a:ext cx="1800200" cy="360040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34" name="Picture Placeholder 23">
            <a:extLst>
              <a:ext uri="{FF2B5EF4-FFF2-40B4-BE49-F238E27FC236}">
                <a16:creationId xmlns:a16="http://schemas.microsoft.com/office/drawing/2014/main" id="{5287F967-0758-484D-9D6B-70CED193936B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9048328" y="3789040"/>
            <a:ext cx="577041" cy="576064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fi-FI" dirty="0" err="1"/>
              <a:t>Icon</a:t>
            </a:r>
            <a:endParaRPr lang="fi-FI" dirty="0"/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348AFBAF-37DE-4D20-A16F-9F8A2D337AB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048328" y="4941168"/>
            <a:ext cx="1800200" cy="1008112"/>
          </a:xfrm>
        </p:spPr>
        <p:txBody>
          <a:bodyPr vert="horz" lIns="0" tIns="144000" rIns="0" bIns="0" rtlCol="0" anchor="t" anchorCtr="0">
            <a:noAutofit/>
          </a:bodyPr>
          <a:lstStyle>
            <a:lvl1pPr>
              <a:lnSpc>
                <a:spcPct val="70000"/>
              </a:lnSpc>
              <a:defRPr lang="en-US" sz="6000" b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DDBAC90B-137F-4543-88E0-CDB50969912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528048" y="6021288"/>
            <a:ext cx="2376264" cy="14401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cap="none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source</a:t>
            </a:r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24A1ED6B-90E5-45BF-B779-B84ABDE6AD1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048328" y="6021288"/>
            <a:ext cx="1800200" cy="144016"/>
          </a:xfrm>
        </p:spPr>
        <p:txBody>
          <a:bodyPr t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900" cap="none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source</a:t>
            </a:r>
          </a:p>
        </p:txBody>
      </p:sp>
    </p:spTree>
    <p:extLst>
      <p:ext uri="{BB962C8B-B14F-4D97-AF65-F5344CB8AC3E}">
        <p14:creationId xmlns:p14="http://schemas.microsoft.com/office/powerpoint/2010/main" val="2449350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Pictur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9C817E4-799B-4A3B-9B68-4C7C5625ED2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" y="1"/>
            <a:ext cx="12192000" cy="6858000"/>
          </a:xfrm>
          <a:solidFill>
            <a:schemeClr val="bg2">
              <a:lumMod val="75000"/>
            </a:schemeClr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343026" y="2348879"/>
            <a:ext cx="9505949" cy="2232645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1343025" y="1844675"/>
            <a:ext cx="950595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B902889-F383-4B3D-B2C2-108EE4823041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IA - RKL yrittäjäpäivä 1.11.202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722A410-1282-4AC4-6A52-2307EE05D87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272464" y="6237312"/>
            <a:ext cx="1522800" cy="21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27730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2663" y="2204864"/>
            <a:ext cx="10226675" cy="2448272"/>
          </a:xfrm>
        </p:spPr>
        <p:txBody>
          <a:bodyPr vert="horz" lIns="0" tIns="14400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84EA490-A781-4348-A77D-DEB3D076ED75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RIA - RKL yrittäjäpäivä 1.11.2023</a:t>
            </a: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reeform 6"/>
          <p:cNvSpPr>
            <a:spLocks noChangeAspect="1" noEditPoints="1"/>
          </p:cNvSpPr>
          <p:nvPr userDrawn="1"/>
        </p:nvSpPr>
        <p:spPr bwMode="black">
          <a:xfrm>
            <a:off x="11418061" y="6051504"/>
            <a:ext cx="360000" cy="401832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8912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2663" y="2204864"/>
            <a:ext cx="10226675" cy="2448272"/>
          </a:xfrm>
        </p:spPr>
        <p:txBody>
          <a:bodyPr vert="horz" lIns="0" tIns="144000" rIns="0" bIns="0" rtlCol="0" anchor="ctr" anchorCtr="0">
            <a:noAutofit/>
          </a:bodyPr>
          <a:lstStyle>
            <a:lvl1pPr>
              <a:defRPr lang="en-US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C157DD9D-9CDD-4C00-967B-5567DB15C69B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6795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800" cap="none"/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760EAE-877C-41AB-B9DE-CC07780073AD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6069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800" cap="none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2663" y="1844675"/>
            <a:ext cx="4897437" cy="410527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11900" y="1844675"/>
            <a:ext cx="4897438" cy="410527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F9A4C-F897-45AD-85D8-6015491788BA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1727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Comparis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800" cap="none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82662" y="1844675"/>
            <a:ext cx="4897437" cy="576263"/>
          </a:xfrm>
        </p:spPr>
        <p:txBody>
          <a:bodyPr tIns="5400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0" cap="none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3" hasCustomPrompt="1"/>
          </p:nvPr>
        </p:nvSpPr>
        <p:spPr>
          <a:xfrm>
            <a:off x="6311901" y="1844675"/>
            <a:ext cx="4897438" cy="576263"/>
          </a:xfrm>
        </p:spPr>
        <p:txBody>
          <a:bodyPr tIns="5400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0" cap="none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82662" y="2420939"/>
            <a:ext cx="4897438" cy="3529012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11900" y="2420939"/>
            <a:ext cx="4897438" cy="3529012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1E281-EB71-4A5B-B3F0-503DEF007550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9143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AFD711-6089-4F43-8EF6-0FCDB7FA4F93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5007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B6D153-7633-4508-8AEB-C94E69D79A85}" type="datetime1">
              <a:rPr lang="fi-FI" smtClean="0"/>
              <a:t>31.10.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3168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and Contact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799856" y="2348880"/>
            <a:ext cx="6049120" cy="2736304"/>
          </a:xfrm>
        </p:spPr>
        <p:txBody>
          <a:bodyPr vert="horz" lIns="0" tIns="144000" rIns="0" bIns="0" rtlCol="0" anchor="t" anchorCtr="0">
            <a:noAutofit/>
          </a:bodyPr>
          <a:lstStyle>
            <a:lvl1pPr algn="l">
              <a:defRPr lang="en-US" sz="5400" dirty="0">
                <a:solidFill>
                  <a:schemeClr val="bg1"/>
                </a:solidFill>
              </a:defRPr>
            </a:lvl1pPr>
          </a:lstStyle>
          <a:p>
            <a:pPr lvl="0" algn="l">
              <a:lnSpc>
                <a:spcPct val="90000"/>
              </a:lnSpc>
            </a:pPr>
            <a:r>
              <a:rPr lang="fi-FI" dirty="0"/>
              <a:t>Add thank you Message.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99856" y="1844675"/>
            <a:ext cx="604912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tabLst>
                <a:tab pos="1797050" algn="l"/>
              </a:tabLst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Add your @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800599" y="5229225"/>
            <a:ext cx="6048375" cy="720726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your contact details</a:t>
            </a:r>
          </a:p>
        </p:txBody>
      </p:sp>
      <p:sp>
        <p:nvSpPr>
          <p:cNvPr id="10" name="Freeform 9"/>
          <p:cNvSpPr>
            <a:spLocks noChangeAspect="1" noEditPoints="1"/>
          </p:cNvSpPr>
          <p:nvPr userDrawn="1"/>
        </p:nvSpPr>
        <p:spPr bwMode="black">
          <a:xfrm>
            <a:off x="1649971" y="2564904"/>
            <a:ext cx="1548284" cy="1728192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DB19E11-6A06-4955-B2FF-9A87272EE653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RIA - RKL yrittäjäpäivä 1.11.2023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9087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and Contacts Bei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3B7ADA-A429-4AF1-9CF2-8D250D61C82C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12" name="Freeform 11"/>
          <p:cNvSpPr>
            <a:spLocks noChangeAspect="1" noEditPoints="1"/>
          </p:cNvSpPr>
          <p:nvPr userDrawn="1"/>
        </p:nvSpPr>
        <p:spPr bwMode="black">
          <a:xfrm>
            <a:off x="1649971" y="2564904"/>
            <a:ext cx="1548284" cy="1728192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800600" y="2348879"/>
            <a:ext cx="6048375" cy="273630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fi-FI" dirty="0"/>
              <a:t>Add thank you Message.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00600" y="1844675"/>
            <a:ext cx="6048375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accent2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Add your @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800600" y="5229225"/>
            <a:ext cx="6048375" cy="720726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Add your contact details</a:t>
            </a:r>
          </a:p>
        </p:txBody>
      </p:sp>
    </p:spTree>
    <p:extLst>
      <p:ext uri="{BB962C8B-B14F-4D97-AF65-F5344CB8AC3E}">
        <p14:creationId xmlns:p14="http://schemas.microsoft.com/office/powerpoint/2010/main" val="1673949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lhuet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D042AD7-C67F-40EC-8DF6-0761251FA028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RIA - RKL yrittäjäpäivä 1.11.202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ED41AD6-447A-4742-AE6E-D69C23E79F69}"/>
              </a:ext>
            </a:extLst>
          </p:cNvPr>
          <p:cNvGrpSpPr/>
          <p:nvPr userDrawn="1"/>
        </p:nvGrpSpPr>
        <p:grpSpPr>
          <a:xfrm>
            <a:off x="0" y="4077072"/>
            <a:ext cx="9874285" cy="1872000"/>
            <a:chOff x="0" y="4077072"/>
            <a:chExt cx="9874285" cy="1872000"/>
          </a:xfrm>
          <a:solidFill>
            <a:schemeClr val="bg1"/>
          </a:solidFill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65B0FBDF-B45A-4871-8CEF-853991A5CC20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0" y="4077072"/>
              <a:ext cx="9874285" cy="1872000"/>
            </a:xfrm>
            <a:custGeom>
              <a:avLst/>
              <a:gdLst>
                <a:gd name="T0" fmla="*/ 10894 w 23040"/>
                <a:gd name="T1" fmla="*/ 3037 h 4369"/>
                <a:gd name="T2" fmla="*/ 10931 w 23040"/>
                <a:gd name="T3" fmla="*/ 2661 h 4369"/>
                <a:gd name="T4" fmla="*/ 13479 w 23040"/>
                <a:gd name="T5" fmla="*/ 2241 h 4369"/>
                <a:gd name="T6" fmla="*/ 12981 w 23040"/>
                <a:gd name="T7" fmla="*/ 1865 h 4369"/>
                <a:gd name="T8" fmla="*/ 13222 w 23040"/>
                <a:gd name="T9" fmla="*/ 1543 h 4369"/>
                <a:gd name="T10" fmla="*/ 13525 w 23040"/>
                <a:gd name="T11" fmla="*/ 3907 h 4369"/>
                <a:gd name="T12" fmla="*/ 12729 w 23040"/>
                <a:gd name="T13" fmla="*/ 3813 h 4369"/>
                <a:gd name="T14" fmla="*/ 10912 w 23040"/>
                <a:gd name="T15" fmla="*/ 2402 h 4369"/>
                <a:gd name="T16" fmla="*/ 16652 w 23040"/>
                <a:gd name="T17" fmla="*/ 970 h 4369"/>
                <a:gd name="T18" fmla="*/ 16232 w 23040"/>
                <a:gd name="T19" fmla="*/ 332 h 4369"/>
                <a:gd name="T20" fmla="*/ 15103 w 23040"/>
                <a:gd name="T21" fmla="*/ 2262 h 4369"/>
                <a:gd name="T22" fmla="*/ 12814 w 23040"/>
                <a:gd name="T23" fmla="*/ 2991 h 4369"/>
                <a:gd name="T24" fmla="*/ 11678 w 23040"/>
                <a:gd name="T25" fmla="*/ 3172 h 4369"/>
                <a:gd name="T26" fmla="*/ 12355 w 23040"/>
                <a:gd name="T27" fmla="*/ 2838 h 4369"/>
                <a:gd name="T28" fmla="*/ 12184 w 23040"/>
                <a:gd name="T29" fmla="*/ 4304 h 4369"/>
                <a:gd name="T30" fmla="*/ 11739 w 23040"/>
                <a:gd name="T31" fmla="*/ 2627 h 4369"/>
                <a:gd name="T32" fmla="*/ 11666 w 23040"/>
                <a:gd name="T33" fmla="*/ 2291 h 4369"/>
                <a:gd name="T34" fmla="*/ 11184 w 23040"/>
                <a:gd name="T35" fmla="*/ 3107 h 4369"/>
                <a:gd name="T36" fmla="*/ 11469 w 23040"/>
                <a:gd name="T37" fmla="*/ 1044 h 4369"/>
                <a:gd name="T38" fmla="*/ 13150 w 23040"/>
                <a:gd name="T39" fmla="*/ 754 h 4369"/>
                <a:gd name="T40" fmla="*/ 16863 w 23040"/>
                <a:gd name="T41" fmla="*/ 4331 h 4369"/>
                <a:gd name="T42" fmla="*/ 14362 w 23040"/>
                <a:gd name="T43" fmla="*/ 3771 h 4369"/>
                <a:gd name="T44" fmla="*/ 14362 w 23040"/>
                <a:gd name="T45" fmla="*/ 3373 h 4369"/>
                <a:gd name="T46" fmla="*/ 14105 w 23040"/>
                <a:gd name="T47" fmla="*/ 3277 h 4369"/>
                <a:gd name="T48" fmla="*/ 14091 w 23040"/>
                <a:gd name="T49" fmla="*/ 2881 h 4369"/>
                <a:gd name="T50" fmla="*/ 20731 w 23040"/>
                <a:gd name="T51" fmla="*/ 4008 h 4369"/>
                <a:gd name="T52" fmla="*/ 19002 w 23040"/>
                <a:gd name="T53" fmla="*/ 3795 h 4369"/>
                <a:gd name="T54" fmla="*/ 19052 w 23040"/>
                <a:gd name="T55" fmla="*/ 3549 h 4369"/>
                <a:gd name="T56" fmla="*/ 19727 w 23040"/>
                <a:gd name="T57" fmla="*/ 3547 h 4369"/>
                <a:gd name="T58" fmla="*/ 21772 w 23040"/>
                <a:gd name="T59" fmla="*/ 1759 h 4369"/>
                <a:gd name="T60" fmla="*/ 20169 w 23040"/>
                <a:gd name="T61" fmla="*/ 1874 h 4369"/>
                <a:gd name="T62" fmla="*/ 18388 w 23040"/>
                <a:gd name="T63" fmla="*/ 2546 h 4369"/>
                <a:gd name="T64" fmla="*/ 19509 w 23040"/>
                <a:gd name="T65" fmla="*/ 3625 h 4369"/>
                <a:gd name="T66" fmla="*/ 18969 w 23040"/>
                <a:gd name="T67" fmla="*/ 3381 h 4369"/>
                <a:gd name="T68" fmla="*/ 2798 w 23040"/>
                <a:gd name="T69" fmla="*/ 3193 h 4369"/>
                <a:gd name="T70" fmla="*/ 440 w 23040"/>
                <a:gd name="T71" fmla="*/ 2751 h 4369"/>
                <a:gd name="T72" fmla="*/ 2868 w 23040"/>
                <a:gd name="T73" fmla="*/ 4141 h 4369"/>
                <a:gd name="T74" fmla="*/ 837 w 23040"/>
                <a:gd name="T75" fmla="*/ 3250 h 4369"/>
                <a:gd name="T76" fmla="*/ 823 w 23040"/>
                <a:gd name="T77" fmla="*/ 3336 h 4369"/>
                <a:gd name="T78" fmla="*/ 1107 w 23040"/>
                <a:gd name="T79" fmla="*/ 3717 h 4369"/>
                <a:gd name="T80" fmla="*/ 1080 w 23040"/>
                <a:gd name="T81" fmla="*/ 3810 h 4369"/>
                <a:gd name="T82" fmla="*/ 188 w 23040"/>
                <a:gd name="T83" fmla="*/ 1799 h 4369"/>
                <a:gd name="T84" fmla="*/ 2556 w 23040"/>
                <a:gd name="T85" fmla="*/ 2016 h 4369"/>
                <a:gd name="T86" fmla="*/ 2583 w 23040"/>
                <a:gd name="T87" fmla="*/ 2578 h 4369"/>
                <a:gd name="T88" fmla="*/ 8182 w 23040"/>
                <a:gd name="T89" fmla="*/ 2792 h 4369"/>
                <a:gd name="T90" fmla="*/ 9070 w 23040"/>
                <a:gd name="T91" fmla="*/ 2753 h 4369"/>
                <a:gd name="T92" fmla="*/ 6863 w 23040"/>
                <a:gd name="T93" fmla="*/ 2176 h 4369"/>
                <a:gd name="T94" fmla="*/ 6215 w 23040"/>
                <a:gd name="T95" fmla="*/ 2702 h 4369"/>
                <a:gd name="T96" fmla="*/ 7097 w 23040"/>
                <a:gd name="T97" fmla="*/ 2957 h 4369"/>
                <a:gd name="T98" fmla="*/ 6454 w 23040"/>
                <a:gd name="T99" fmla="*/ 3498 h 4369"/>
                <a:gd name="T100" fmla="*/ 6384 w 23040"/>
                <a:gd name="T101" fmla="*/ 4003 h 4369"/>
                <a:gd name="T102" fmla="*/ 8037 w 23040"/>
                <a:gd name="T103" fmla="*/ 2925 h 4369"/>
                <a:gd name="T104" fmla="*/ 8332 w 23040"/>
                <a:gd name="T105" fmla="*/ 3308 h 4369"/>
                <a:gd name="T106" fmla="*/ 8296 w 23040"/>
                <a:gd name="T107" fmla="*/ 3424 h 4369"/>
                <a:gd name="T108" fmla="*/ 8598 w 23040"/>
                <a:gd name="T109" fmla="*/ 3792 h 4369"/>
                <a:gd name="T110" fmla="*/ 5650 w 23040"/>
                <a:gd name="T111" fmla="*/ 1956 h 4369"/>
                <a:gd name="T112" fmla="*/ 8119 w 23040"/>
                <a:gd name="T113" fmla="*/ 245 h 4369"/>
                <a:gd name="T114" fmla="*/ 4680 w 23040"/>
                <a:gd name="T115" fmla="*/ 942 h 4369"/>
                <a:gd name="T116" fmla="*/ 5027 w 23040"/>
                <a:gd name="T117" fmla="*/ 2616 h 4369"/>
                <a:gd name="T118" fmla="*/ 4991 w 23040"/>
                <a:gd name="T119" fmla="*/ 2732 h 4369"/>
                <a:gd name="T120" fmla="*/ 5292 w 23040"/>
                <a:gd name="T121" fmla="*/ 3101 h 4369"/>
                <a:gd name="T122" fmla="*/ 5252 w 23040"/>
                <a:gd name="T123" fmla="*/ 3235 h 4369"/>
                <a:gd name="T124" fmla="*/ 3326 w 23040"/>
                <a:gd name="T125" fmla="*/ 3951 h 4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040" h="4369">
                  <a:moveTo>
                    <a:pt x="10933" y="3163"/>
                  </a:moveTo>
                  <a:lnTo>
                    <a:pt x="10933" y="3274"/>
                  </a:lnTo>
                  <a:lnTo>
                    <a:pt x="10931" y="3283"/>
                  </a:lnTo>
                  <a:lnTo>
                    <a:pt x="10926" y="3290"/>
                  </a:lnTo>
                  <a:lnTo>
                    <a:pt x="10920" y="3294"/>
                  </a:lnTo>
                  <a:lnTo>
                    <a:pt x="10912" y="3295"/>
                  </a:lnTo>
                  <a:lnTo>
                    <a:pt x="10906" y="3294"/>
                  </a:lnTo>
                  <a:lnTo>
                    <a:pt x="10899" y="3290"/>
                  </a:lnTo>
                  <a:lnTo>
                    <a:pt x="10894" y="3283"/>
                  </a:lnTo>
                  <a:lnTo>
                    <a:pt x="10893" y="3274"/>
                  </a:lnTo>
                  <a:lnTo>
                    <a:pt x="10893" y="3163"/>
                  </a:lnTo>
                  <a:lnTo>
                    <a:pt x="10894" y="3154"/>
                  </a:lnTo>
                  <a:lnTo>
                    <a:pt x="10899" y="3148"/>
                  </a:lnTo>
                  <a:lnTo>
                    <a:pt x="10906" y="3144"/>
                  </a:lnTo>
                  <a:lnTo>
                    <a:pt x="10912" y="3143"/>
                  </a:lnTo>
                  <a:lnTo>
                    <a:pt x="10920" y="3144"/>
                  </a:lnTo>
                  <a:lnTo>
                    <a:pt x="10926" y="3148"/>
                  </a:lnTo>
                  <a:lnTo>
                    <a:pt x="10931" y="3154"/>
                  </a:lnTo>
                  <a:lnTo>
                    <a:pt x="10933" y="3163"/>
                  </a:lnTo>
                  <a:close/>
                  <a:moveTo>
                    <a:pt x="10670" y="3163"/>
                  </a:moveTo>
                  <a:lnTo>
                    <a:pt x="10670" y="3274"/>
                  </a:lnTo>
                  <a:lnTo>
                    <a:pt x="10669" y="3283"/>
                  </a:lnTo>
                  <a:lnTo>
                    <a:pt x="10663" y="3290"/>
                  </a:lnTo>
                  <a:lnTo>
                    <a:pt x="10657" y="3294"/>
                  </a:lnTo>
                  <a:lnTo>
                    <a:pt x="10649" y="3295"/>
                  </a:lnTo>
                  <a:lnTo>
                    <a:pt x="10643" y="3294"/>
                  </a:lnTo>
                  <a:lnTo>
                    <a:pt x="10637" y="3290"/>
                  </a:lnTo>
                  <a:lnTo>
                    <a:pt x="10631" y="3283"/>
                  </a:lnTo>
                  <a:lnTo>
                    <a:pt x="10630" y="3274"/>
                  </a:lnTo>
                  <a:lnTo>
                    <a:pt x="10630" y="3163"/>
                  </a:lnTo>
                  <a:lnTo>
                    <a:pt x="10631" y="3154"/>
                  </a:lnTo>
                  <a:lnTo>
                    <a:pt x="10637" y="3148"/>
                  </a:lnTo>
                  <a:lnTo>
                    <a:pt x="10643" y="3144"/>
                  </a:lnTo>
                  <a:lnTo>
                    <a:pt x="10649" y="3143"/>
                  </a:lnTo>
                  <a:lnTo>
                    <a:pt x="10657" y="3144"/>
                  </a:lnTo>
                  <a:lnTo>
                    <a:pt x="10663" y="3148"/>
                  </a:lnTo>
                  <a:lnTo>
                    <a:pt x="10669" y="3154"/>
                  </a:lnTo>
                  <a:lnTo>
                    <a:pt x="10670" y="3163"/>
                  </a:lnTo>
                  <a:close/>
                  <a:moveTo>
                    <a:pt x="10407" y="3163"/>
                  </a:moveTo>
                  <a:lnTo>
                    <a:pt x="10407" y="3274"/>
                  </a:lnTo>
                  <a:lnTo>
                    <a:pt x="10404" y="3283"/>
                  </a:lnTo>
                  <a:lnTo>
                    <a:pt x="10401" y="3290"/>
                  </a:lnTo>
                  <a:lnTo>
                    <a:pt x="10394" y="3294"/>
                  </a:lnTo>
                  <a:lnTo>
                    <a:pt x="10386" y="3295"/>
                  </a:lnTo>
                  <a:lnTo>
                    <a:pt x="10379" y="3294"/>
                  </a:lnTo>
                  <a:lnTo>
                    <a:pt x="10372" y="3290"/>
                  </a:lnTo>
                  <a:lnTo>
                    <a:pt x="10369" y="3283"/>
                  </a:lnTo>
                  <a:lnTo>
                    <a:pt x="10366" y="3274"/>
                  </a:lnTo>
                  <a:lnTo>
                    <a:pt x="10366" y="3163"/>
                  </a:lnTo>
                  <a:lnTo>
                    <a:pt x="10369" y="3154"/>
                  </a:lnTo>
                  <a:lnTo>
                    <a:pt x="10372" y="3148"/>
                  </a:lnTo>
                  <a:lnTo>
                    <a:pt x="10379" y="3144"/>
                  </a:lnTo>
                  <a:lnTo>
                    <a:pt x="10386" y="3143"/>
                  </a:lnTo>
                  <a:lnTo>
                    <a:pt x="10394" y="3144"/>
                  </a:lnTo>
                  <a:lnTo>
                    <a:pt x="10401" y="3148"/>
                  </a:lnTo>
                  <a:lnTo>
                    <a:pt x="10404" y="3154"/>
                  </a:lnTo>
                  <a:lnTo>
                    <a:pt x="10407" y="3163"/>
                  </a:lnTo>
                  <a:close/>
                  <a:moveTo>
                    <a:pt x="10143" y="3163"/>
                  </a:moveTo>
                  <a:lnTo>
                    <a:pt x="10143" y="3274"/>
                  </a:lnTo>
                  <a:lnTo>
                    <a:pt x="10142" y="3283"/>
                  </a:lnTo>
                  <a:lnTo>
                    <a:pt x="10138" y="3290"/>
                  </a:lnTo>
                  <a:lnTo>
                    <a:pt x="10131" y="3294"/>
                  </a:lnTo>
                  <a:lnTo>
                    <a:pt x="10124" y="3295"/>
                  </a:lnTo>
                  <a:lnTo>
                    <a:pt x="10116" y="3294"/>
                  </a:lnTo>
                  <a:lnTo>
                    <a:pt x="10109" y="3290"/>
                  </a:lnTo>
                  <a:lnTo>
                    <a:pt x="10106" y="3283"/>
                  </a:lnTo>
                  <a:lnTo>
                    <a:pt x="10103" y="3274"/>
                  </a:lnTo>
                  <a:lnTo>
                    <a:pt x="10103" y="3163"/>
                  </a:lnTo>
                  <a:lnTo>
                    <a:pt x="10106" y="3154"/>
                  </a:lnTo>
                  <a:lnTo>
                    <a:pt x="10109" y="3148"/>
                  </a:lnTo>
                  <a:lnTo>
                    <a:pt x="10116" y="3144"/>
                  </a:lnTo>
                  <a:lnTo>
                    <a:pt x="10124" y="3143"/>
                  </a:lnTo>
                  <a:lnTo>
                    <a:pt x="10131" y="3144"/>
                  </a:lnTo>
                  <a:lnTo>
                    <a:pt x="10138" y="3148"/>
                  </a:lnTo>
                  <a:lnTo>
                    <a:pt x="10142" y="3154"/>
                  </a:lnTo>
                  <a:lnTo>
                    <a:pt x="10143" y="3163"/>
                  </a:lnTo>
                  <a:close/>
                  <a:moveTo>
                    <a:pt x="9880" y="3163"/>
                  </a:moveTo>
                  <a:lnTo>
                    <a:pt x="9880" y="3274"/>
                  </a:lnTo>
                  <a:lnTo>
                    <a:pt x="9879" y="3283"/>
                  </a:lnTo>
                  <a:lnTo>
                    <a:pt x="9874" y="3290"/>
                  </a:lnTo>
                  <a:lnTo>
                    <a:pt x="9867" y="3294"/>
                  </a:lnTo>
                  <a:lnTo>
                    <a:pt x="9861" y="3295"/>
                  </a:lnTo>
                  <a:lnTo>
                    <a:pt x="9853" y="3294"/>
                  </a:lnTo>
                  <a:lnTo>
                    <a:pt x="9847" y="3290"/>
                  </a:lnTo>
                  <a:lnTo>
                    <a:pt x="9841" y="3283"/>
                  </a:lnTo>
                  <a:lnTo>
                    <a:pt x="9840" y="3274"/>
                  </a:lnTo>
                  <a:lnTo>
                    <a:pt x="9840" y="3163"/>
                  </a:lnTo>
                  <a:lnTo>
                    <a:pt x="9841" y="3154"/>
                  </a:lnTo>
                  <a:lnTo>
                    <a:pt x="9847" y="3148"/>
                  </a:lnTo>
                  <a:lnTo>
                    <a:pt x="9853" y="3144"/>
                  </a:lnTo>
                  <a:lnTo>
                    <a:pt x="9861" y="3143"/>
                  </a:lnTo>
                  <a:lnTo>
                    <a:pt x="9867" y="3144"/>
                  </a:lnTo>
                  <a:lnTo>
                    <a:pt x="9874" y="3148"/>
                  </a:lnTo>
                  <a:lnTo>
                    <a:pt x="9879" y="3154"/>
                  </a:lnTo>
                  <a:lnTo>
                    <a:pt x="9880" y="3163"/>
                  </a:lnTo>
                  <a:close/>
                  <a:moveTo>
                    <a:pt x="9617" y="3163"/>
                  </a:moveTo>
                  <a:lnTo>
                    <a:pt x="9617" y="3274"/>
                  </a:lnTo>
                  <a:lnTo>
                    <a:pt x="9616" y="3283"/>
                  </a:lnTo>
                  <a:lnTo>
                    <a:pt x="9611" y="3290"/>
                  </a:lnTo>
                  <a:lnTo>
                    <a:pt x="9604" y="3294"/>
                  </a:lnTo>
                  <a:lnTo>
                    <a:pt x="9598" y="3295"/>
                  </a:lnTo>
                  <a:lnTo>
                    <a:pt x="9590" y="3294"/>
                  </a:lnTo>
                  <a:lnTo>
                    <a:pt x="9584" y="3290"/>
                  </a:lnTo>
                  <a:lnTo>
                    <a:pt x="9579" y="3283"/>
                  </a:lnTo>
                  <a:lnTo>
                    <a:pt x="9577" y="3274"/>
                  </a:lnTo>
                  <a:lnTo>
                    <a:pt x="9577" y="3163"/>
                  </a:lnTo>
                  <a:lnTo>
                    <a:pt x="9579" y="3154"/>
                  </a:lnTo>
                  <a:lnTo>
                    <a:pt x="9584" y="3148"/>
                  </a:lnTo>
                  <a:lnTo>
                    <a:pt x="9590" y="3144"/>
                  </a:lnTo>
                  <a:lnTo>
                    <a:pt x="9598" y="3143"/>
                  </a:lnTo>
                  <a:lnTo>
                    <a:pt x="9604" y="3144"/>
                  </a:lnTo>
                  <a:lnTo>
                    <a:pt x="9611" y="3148"/>
                  </a:lnTo>
                  <a:lnTo>
                    <a:pt x="9616" y="3154"/>
                  </a:lnTo>
                  <a:lnTo>
                    <a:pt x="9617" y="3163"/>
                  </a:lnTo>
                  <a:close/>
                  <a:moveTo>
                    <a:pt x="10933" y="2916"/>
                  </a:moveTo>
                  <a:lnTo>
                    <a:pt x="10933" y="3028"/>
                  </a:lnTo>
                  <a:lnTo>
                    <a:pt x="10931" y="3037"/>
                  </a:lnTo>
                  <a:lnTo>
                    <a:pt x="10926" y="3043"/>
                  </a:lnTo>
                  <a:lnTo>
                    <a:pt x="10920" y="3047"/>
                  </a:lnTo>
                  <a:lnTo>
                    <a:pt x="10912" y="3048"/>
                  </a:lnTo>
                  <a:lnTo>
                    <a:pt x="10906" y="3047"/>
                  </a:lnTo>
                  <a:lnTo>
                    <a:pt x="10899" y="3043"/>
                  </a:lnTo>
                  <a:lnTo>
                    <a:pt x="10894" y="3037"/>
                  </a:lnTo>
                  <a:lnTo>
                    <a:pt x="10893" y="3028"/>
                  </a:lnTo>
                  <a:lnTo>
                    <a:pt x="10893" y="2916"/>
                  </a:lnTo>
                  <a:lnTo>
                    <a:pt x="10894" y="2907"/>
                  </a:lnTo>
                  <a:lnTo>
                    <a:pt x="10899" y="2901"/>
                  </a:lnTo>
                  <a:lnTo>
                    <a:pt x="10906" y="2897"/>
                  </a:lnTo>
                  <a:lnTo>
                    <a:pt x="10912" y="2896"/>
                  </a:lnTo>
                  <a:lnTo>
                    <a:pt x="10920" y="2897"/>
                  </a:lnTo>
                  <a:lnTo>
                    <a:pt x="10926" y="2901"/>
                  </a:lnTo>
                  <a:lnTo>
                    <a:pt x="10931" y="2907"/>
                  </a:lnTo>
                  <a:lnTo>
                    <a:pt x="10933" y="2916"/>
                  </a:lnTo>
                  <a:close/>
                  <a:moveTo>
                    <a:pt x="10670" y="2916"/>
                  </a:moveTo>
                  <a:lnTo>
                    <a:pt x="10670" y="3028"/>
                  </a:lnTo>
                  <a:lnTo>
                    <a:pt x="10669" y="3037"/>
                  </a:lnTo>
                  <a:lnTo>
                    <a:pt x="10663" y="3043"/>
                  </a:lnTo>
                  <a:lnTo>
                    <a:pt x="10657" y="3047"/>
                  </a:lnTo>
                  <a:lnTo>
                    <a:pt x="10649" y="3048"/>
                  </a:lnTo>
                  <a:lnTo>
                    <a:pt x="10643" y="3047"/>
                  </a:lnTo>
                  <a:lnTo>
                    <a:pt x="10637" y="3043"/>
                  </a:lnTo>
                  <a:lnTo>
                    <a:pt x="10631" y="3037"/>
                  </a:lnTo>
                  <a:lnTo>
                    <a:pt x="10630" y="3028"/>
                  </a:lnTo>
                  <a:lnTo>
                    <a:pt x="10630" y="2916"/>
                  </a:lnTo>
                  <a:lnTo>
                    <a:pt x="10631" y="2907"/>
                  </a:lnTo>
                  <a:lnTo>
                    <a:pt x="10637" y="2901"/>
                  </a:lnTo>
                  <a:lnTo>
                    <a:pt x="10643" y="2897"/>
                  </a:lnTo>
                  <a:lnTo>
                    <a:pt x="10649" y="2896"/>
                  </a:lnTo>
                  <a:lnTo>
                    <a:pt x="10657" y="2897"/>
                  </a:lnTo>
                  <a:lnTo>
                    <a:pt x="10663" y="2901"/>
                  </a:lnTo>
                  <a:lnTo>
                    <a:pt x="10669" y="2907"/>
                  </a:lnTo>
                  <a:lnTo>
                    <a:pt x="10670" y="2916"/>
                  </a:lnTo>
                  <a:close/>
                  <a:moveTo>
                    <a:pt x="10407" y="2916"/>
                  </a:moveTo>
                  <a:lnTo>
                    <a:pt x="10407" y="3028"/>
                  </a:lnTo>
                  <a:lnTo>
                    <a:pt x="10404" y="3037"/>
                  </a:lnTo>
                  <a:lnTo>
                    <a:pt x="10401" y="3043"/>
                  </a:lnTo>
                  <a:lnTo>
                    <a:pt x="10394" y="3047"/>
                  </a:lnTo>
                  <a:lnTo>
                    <a:pt x="10386" y="3048"/>
                  </a:lnTo>
                  <a:lnTo>
                    <a:pt x="10379" y="3047"/>
                  </a:lnTo>
                  <a:lnTo>
                    <a:pt x="10372" y="3043"/>
                  </a:lnTo>
                  <a:lnTo>
                    <a:pt x="10369" y="3037"/>
                  </a:lnTo>
                  <a:lnTo>
                    <a:pt x="10366" y="3028"/>
                  </a:lnTo>
                  <a:lnTo>
                    <a:pt x="10366" y="2916"/>
                  </a:lnTo>
                  <a:lnTo>
                    <a:pt x="10369" y="2907"/>
                  </a:lnTo>
                  <a:lnTo>
                    <a:pt x="10372" y="2901"/>
                  </a:lnTo>
                  <a:lnTo>
                    <a:pt x="10379" y="2897"/>
                  </a:lnTo>
                  <a:lnTo>
                    <a:pt x="10386" y="2896"/>
                  </a:lnTo>
                  <a:lnTo>
                    <a:pt x="10394" y="2897"/>
                  </a:lnTo>
                  <a:lnTo>
                    <a:pt x="10401" y="2901"/>
                  </a:lnTo>
                  <a:lnTo>
                    <a:pt x="10404" y="2907"/>
                  </a:lnTo>
                  <a:lnTo>
                    <a:pt x="10407" y="2916"/>
                  </a:lnTo>
                  <a:close/>
                  <a:moveTo>
                    <a:pt x="10143" y="2916"/>
                  </a:moveTo>
                  <a:lnTo>
                    <a:pt x="10143" y="3028"/>
                  </a:lnTo>
                  <a:lnTo>
                    <a:pt x="10142" y="3037"/>
                  </a:lnTo>
                  <a:lnTo>
                    <a:pt x="10138" y="3043"/>
                  </a:lnTo>
                  <a:lnTo>
                    <a:pt x="10131" y="3047"/>
                  </a:lnTo>
                  <a:lnTo>
                    <a:pt x="10124" y="3048"/>
                  </a:lnTo>
                  <a:lnTo>
                    <a:pt x="10116" y="3047"/>
                  </a:lnTo>
                  <a:lnTo>
                    <a:pt x="10109" y="3043"/>
                  </a:lnTo>
                  <a:lnTo>
                    <a:pt x="10106" y="3037"/>
                  </a:lnTo>
                  <a:lnTo>
                    <a:pt x="10103" y="3028"/>
                  </a:lnTo>
                  <a:lnTo>
                    <a:pt x="10103" y="2916"/>
                  </a:lnTo>
                  <a:lnTo>
                    <a:pt x="10106" y="2907"/>
                  </a:lnTo>
                  <a:lnTo>
                    <a:pt x="10109" y="2901"/>
                  </a:lnTo>
                  <a:lnTo>
                    <a:pt x="10116" y="2897"/>
                  </a:lnTo>
                  <a:lnTo>
                    <a:pt x="10124" y="2896"/>
                  </a:lnTo>
                  <a:lnTo>
                    <a:pt x="10131" y="2897"/>
                  </a:lnTo>
                  <a:lnTo>
                    <a:pt x="10138" y="2901"/>
                  </a:lnTo>
                  <a:lnTo>
                    <a:pt x="10142" y="2907"/>
                  </a:lnTo>
                  <a:lnTo>
                    <a:pt x="10143" y="2916"/>
                  </a:lnTo>
                  <a:close/>
                  <a:moveTo>
                    <a:pt x="9880" y="2916"/>
                  </a:moveTo>
                  <a:lnTo>
                    <a:pt x="9880" y="3028"/>
                  </a:lnTo>
                  <a:lnTo>
                    <a:pt x="9879" y="3037"/>
                  </a:lnTo>
                  <a:lnTo>
                    <a:pt x="9874" y="3043"/>
                  </a:lnTo>
                  <a:lnTo>
                    <a:pt x="9867" y="3047"/>
                  </a:lnTo>
                  <a:lnTo>
                    <a:pt x="9861" y="3048"/>
                  </a:lnTo>
                  <a:lnTo>
                    <a:pt x="9853" y="3047"/>
                  </a:lnTo>
                  <a:lnTo>
                    <a:pt x="9847" y="3043"/>
                  </a:lnTo>
                  <a:lnTo>
                    <a:pt x="9841" y="3037"/>
                  </a:lnTo>
                  <a:lnTo>
                    <a:pt x="9840" y="3028"/>
                  </a:lnTo>
                  <a:lnTo>
                    <a:pt x="9840" y="2916"/>
                  </a:lnTo>
                  <a:lnTo>
                    <a:pt x="9841" y="2907"/>
                  </a:lnTo>
                  <a:lnTo>
                    <a:pt x="9847" y="2901"/>
                  </a:lnTo>
                  <a:lnTo>
                    <a:pt x="9853" y="2897"/>
                  </a:lnTo>
                  <a:lnTo>
                    <a:pt x="9861" y="2896"/>
                  </a:lnTo>
                  <a:lnTo>
                    <a:pt x="9867" y="2897"/>
                  </a:lnTo>
                  <a:lnTo>
                    <a:pt x="9874" y="2901"/>
                  </a:lnTo>
                  <a:lnTo>
                    <a:pt x="9879" y="2907"/>
                  </a:lnTo>
                  <a:lnTo>
                    <a:pt x="9880" y="2916"/>
                  </a:lnTo>
                  <a:close/>
                  <a:moveTo>
                    <a:pt x="9617" y="2916"/>
                  </a:moveTo>
                  <a:lnTo>
                    <a:pt x="9617" y="3028"/>
                  </a:lnTo>
                  <a:lnTo>
                    <a:pt x="9616" y="3037"/>
                  </a:lnTo>
                  <a:lnTo>
                    <a:pt x="9611" y="3043"/>
                  </a:lnTo>
                  <a:lnTo>
                    <a:pt x="9604" y="3047"/>
                  </a:lnTo>
                  <a:lnTo>
                    <a:pt x="9598" y="3048"/>
                  </a:lnTo>
                  <a:lnTo>
                    <a:pt x="9590" y="3047"/>
                  </a:lnTo>
                  <a:lnTo>
                    <a:pt x="9584" y="3043"/>
                  </a:lnTo>
                  <a:lnTo>
                    <a:pt x="9579" y="3037"/>
                  </a:lnTo>
                  <a:lnTo>
                    <a:pt x="9577" y="3028"/>
                  </a:lnTo>
                  <a:lnTo>
                    <a:pt x="9577" y="2916"/>
                  </a:lnTo>
                  <a:lnTo>
                    <a:pt x="9579" y="2907"/>
                  </a:lnTo>
                  <a:lnTo>
                    <a:pt x="9584" y="2901"/>
                  </a:lnTo>
                  <a:lnTo>
                    <a:pt x="9590" y="2897"/>
                  </a:lnTo>
                  <a:lnTo>
                    <a:pt x="9598" y="2896"/>
                  </a:lnTo>
                  <a:lnTo>
                    <a:pt x="9604" y="2897"/>
                  </a:lnTo>
                  <a:lnTo>
                    <a:pt x="9611" y="2901"/>
                  </a:lnTo>
                  <a:lnTo>
                    <a:pt x="9616" y="2907"/>
                  </a:lnTo>
                  <a:lnTo>
                    <a:pt x="9617" y="2916"/>
                  </a:lnTo>
                  <a:close/>
                  <a:moveTo>
                    <a:pt x="10933" y="2670"/>
                  </a:moveTo>
                  <a:lnTo>
                    <a:pt x="10933" y="2782"/>
                  </a:lnTo>
                  <a:lnTo>
                    <a:pt x="10931" y="2790"/>
                  </a:lnTo>
                  <a:lnTo>
                    <a:pt x="10926" y="2796"/>
                  </a:lnTo>
                  <a:lnTo>
                    <a:pt x="10920" y="2800"/>
                  </a:lnTo>
                  <a:lnTo>
                    <a:pt x="10912" y="2801"/>
                  </a:lnTo>
                  <a:lnTo>
                    <a:pt x="10906" y="2800"/>
                  </a:lnTo>
                  <a:lnTo>
                    <a:pt x="10899" y="2796"/>
                  </a:lnTo>
                  <a:lnTo>
                    <a:pt x="10894" y="2790"/>
                  </a:lnTo>
                  <a:lnTo>
                    <a:pt x="10893" y="2782"/>
                  </a:lnTo>
                  <a:lnTo>
                    <a:pt x="10893" y="2670"/>
                  </a:lnTo>
                  <a:lnTo>
                    <a:pt x="10894" y="2661"/>
                  </a:lnTo>
                  <a:lnTo>
                    <a:pt x="10899" y="2654"/>
                  </a:lnTo>
                  <a:lnTo>
                    <a:pt x="10906" y="2650"/>
                  </a:lnTo>
                  <a:lnTo>
                    <a:pt x="10912" y="2649"/>
                  </a:lnTo>
                  <a:lnTo>
                    <a:pt x="10920" y="2650"/>
                  </a:lnTo>
                  <a:lnTo>
                    <a:pt x="10926" y="2654"/>
                  </a:lnTo>
                  <a:lnTo>
                    <a:pt x="10931" y="2661"/>
                  </a:lnTo>
                  <a:lnTo>
                    <a:pt x="10933" y="2670"/>
                  </a:lnTo>
                  <a:close/>
                  <a:moveTo>
                    <a:pt x="10670" y="2670"/>
                  </a:moveTo>
                  <a:lnTo>
                    <a:pt x="10670" y="2782"/>
                  </a:lnTo>
                  <a:lnTo>
                    <a:pt x="10669" y="2790"/>
                  </a:lnTo>
                  <a:lnTo>
                    <a:pt x="10663" y="2796"/>
                  </a:lnTo>
                  <a:lnTo>
                    <a:pt x="10657" y="2800"/>
                  </a:lnTo>
                  <a:lnTo>
                    <a:pt x="10649" y="2801"/>
                  </a:lnTo>
                  <a:lnTo>
                    <a:pt x="10643" y="2800"/>
                  </a:lnTo>
                  <a:lnTo>
                    <a:pt x="10637" y="2796"/>
                  </a:lnTo>
                  <a:lnTo>
                    <a:pt x="10631" y="2790"/>
                  </a:lnTo>
                  <a:lnTo>
                    <a:pt x="10630" y="2782"/>
                  </a:lnTo>
                  <a:lnTo>
                    <a:pt x="10630" y="2670"/>
                  </a:lnTo>
                  <a:lnTo>
                    <a:pt x="10631" y="2661"/>
                  </a:lnTo>
                  <a:lnTo>
                    <a:pt x="10637" y="2654"/>
                  </a:lnTo>
                  <a:lnTo>
                    <a:pt x="10643" y="2650"/>
                  </a:lnTo>
                  <a:lnTo>
                    <a:pt x="10649" y="2649"/>
                  </a:lnTo>
                  <a:lnTo>
                    <a:pt x="10657" y="2650"/>
                  </a:lnTo>
                  <a:lnTo>
                    <a:pt x="10663" y="2654"/>
                  </a:lnTo>
                  <a:lnTo>
                    <a:pt x="10669" y="2661"/>
                  </a:lnTo>
                  <a:lnTo>
                    <a:pt x="10670" y="2670"/>
                  </a:lnTo>
                  <a:close/>
                  <a:moveTo>
                    <a:pt x="10407" y="2670"/>
                  </a:moveTo>
                  <a:lnTo>
                    <a:pt x="10407" y="2782"/>
                  </a:lnTo>
                  <a:lnTo>
                    <a:pt x="10404" y="2790"/>
                  </a:lnTo>
                  <a:lnTo>
                    <a:pt x="10401" y="2796"/>
                  </a:lnTo>
                  <a:lnTo>
                    <a:pt x="10394" y="2800"/>
                  </a:lnTo>
                  <a:lnTo>
                    <a:pt x="10386" y="2801"/>
                  </a:lnTo>
                  <a:lnTo>
                    <a:pt x="10379" y="2800"/>
                  </a:lnTo>
                  <a:lnTo>
                    <a:pt x="10372" y="2796"/>
                  </a:lnTo>
                  <a:lnTo>
                    <a:pt x="10369" y="2790"/>
                  </a:lnTo>
                  <a:lnTo>
                    <a:pt x="10366" y="2782"/>
                  </a:lnTo>
                  <a:lnTo>
                    <a:pt x="10366" y="2670"/>
                  </a:lnTo>
                  <a:lnTo>
                    <a:pt x="10369" y="2661"/>
                  </a:lnTo>
                  <a:lnTo>
                    <a:pt x="10372" y="2654"/>
                  </a:lnTo>
                  <a:lnTo>
                    <a:pt x="10379" y="2650"/>
                  </a:lnTo>
                  <a:lnTo>
                    <a:pt x="10386" y="2649"/>
                  </a:lnTo>
                  <a:lnTo>
                    <a:pt x="10394" y="2650"/>
                  </a:lnTo>
                  <a:lnTo>
                    <a:pt x="10401" y="2654"/>
                  </a:lnTo>
                  <a:lnTo>
                    <a:pt x="10404" y="2661"/>
                  </a:lnTo>
                  <a:lnTo>
                    <a:pt x="10407" y="2670"/>
                  </a:lnTo>
                  <a:close/>
                  <a:moveTo>
                    <a:pt x="10143" y="2670"/>
                  </a:moveTo>
                  <a:lnTo>
                    <a:pt x="10143" y="2782"/>
                  </a:lnTo>
                  <a:lnTo>
                    <a:pt x="10142" y="2790"/>
                  </a:lnTo>
                  <a:lnTo>
                    <a:pt x="10138" y="2796"/>
                  </a:lnTo>
                  <a:lnTo>
                    <a:pt x="10131" y="2800"/>
                  </a:lnTo>
                  <a:lnTo>
                    <a:pt x="10124" y="2801"/>
                  </a:lnTo>
                  <a:lnTo>
                    <a:pt x="10116" y="2800"/>
                  </a:lnTo>
                  <a:lnTo>
                    <a:pt x="10109" y="2796"/>
                  </a:lnTo>
                  <a:lnTo>
                    <a:pt x="10106" y="2790"/>
                  </a:lnTo>
                  <a:lnTo>
                    <a:pt x="10103" y="2782"/>
                  </a:lnTo>
                  <a:lnTo>
                    <a:pt x="10103" y="2670"/>
                  </a:lnTo>
                  <a:lnTo>
                    <a:pt x="10106" y="2661"/>
                  </a:lnTo>
                  <a:lnTo>
                    <a:pt x="10109" y="2654"/>
                  </a:lnTo>
                  <a:lnTo>
                    <a:pt x="10116" y="2650"/>
                  </a:lnTo>
                  <a:lnTo>
                    <a:pt x="10124" y="2649"/>
                  </a:lnTo>
                  <a:lnTo>
                    <a:pt x="10131" y="2650"/>
                  </a:lnTo>
                  <a:lnTo>
                    <a:pt x="10138" y="2654"/>
                  </a:lnTo>
                  <a:lnTo>
                    <a:pt x="10142" y="2661"/>
                  </a:lnTo>
                  <a:lnTo>
                    <a:pt x="10143" y="2670"/>
                  </a:lnTo>
                  <a:close/>
                  <a:moveTo>
                    <a:pt x="9880" y="2670"/>
                  </a:moveTo>
                  <a:lnTo>
                    <a:pt x="9880" y="2782"/>
                  </a:lnTo>
                  <a:lnTo>
                    <a:pt x="9879" y="2790"/>
                  </a:lnTo>
                  <a:lnTo>
                    <a:pt x="9874" y="2796"/>
                  </a:lnTo>
                  <a:lnTo>
                    <a:pt x="9867" y="2800"/>
                  </a:lnTo>
                  <a:lnTo>
                    <a:pt x="9861" y="2801"/>
                  </a:lnTo>
                  <a:lnTo>
                    <a:pt x="9853" y="2800"/>
                  </a:lnTo>
                  <a:lnTo>
                    <a:pt x="9847" y="2796"/>
                  </a:lnTo>
                  <a:lnTo>
                    <a:pt x="9841" y="2790"/>
                  </a:lnTo>
                  <a:lnTo>
                    <a:pt x="9840" y="2782"/>
                  </a:lnTo>
                  <a:lnTo>
                    <a:pt x="9840" y="2670"/>
                  </a:lnTo>
                  <a:lnTo>
                    <a:pt x="9841" y="2661"/>
                  </a:lnTo>
                  <a:lnTo>
                    <a:pt x="9847" y="2654"/>
                  </a:lnTo>
                  <a:lnTo>
                    <a:pt x="9853" y="2650"/>
                  </a:lnTo>
                  <a:lnTo>
                    <a:pt x="9861" y="2649"/>
                  </a:lnTo>
                  <a:lnTo>
                    <a:pt x="9867" y="2650"/>
                  </a:lnTo>
                  <a:lnTo>
                    <a:pt x="9874" y="2654"/>
                  </a:lnTo>
                  <a:lnTo>
                    <a:pt x="9879" y="2661"/>
                  </a:lnTo>
                  <a:lnTo>
                    <a:pt x="9880" y="2670"/>
                  </a:lnTo>
                  <a:close/>
                  <a:moveTo>
                    <a:pt x="9617" y="2670"/>
                  </a:moveTo>
                  <a:lnTo>
                    <a:pt x="9617" y="2782"/>
                  </a:lnTo>
                  <a:lnTo>
                    <a:pt x="9616" y="2790"/>
                  </a:lnTo>
                  <a:lnTo>
                    <a:pt x="9611" y="2796"/>
                  </a:lnTo>
                  <a:lnTo>
                    <a:pt x="9604" y="2800"/>
                  </a:lnTo>
                  <a:lnTo>
                    <a:pt x="9598" y="2801"/>
                  </a:lnTo>
                  <a:lnTo>
                    <a:pt x="9590" y="2800"/>
                  </a:lnTo>
                  <a:lnTo>
                    <a:pt x="9584" y="2796"/>
                  </a:lnTo>
                  <a:lnTo>
                    <a:pt x="9579" y="2790"/>
                  </a:lnTo>
                  <a:lnTo>
                    <a:pt x="9577" y="2782"/>
                  </a:lnTo>
                  <a:lnTo>
                    <a:pt x="9577" y="2670"/>
                  </a:lnTo>
                  <a:lnTo>
                    <a:pt x="9579" y="2661"/>
                  </a:lnTo>
                  <a:lnTo>
                    <a:pt x="9584" y="2654"/>
                  </a:lnTo>
                  <a:lnTo>
                    <a:pt x="9590" y="2650"/>
                  </a:lnTo>
                  <a:lnTo>
                    <a:pt x="9598" y="2649"/>
                  </a:lnTo>
                  <a:lnTo>
                    <a:pt x="9604" y="2650"/>
                  </a:lnTo>
                  <a:lnTo>
                    <a:pt x="9611" y="2654"/>
                  </a:lnTo>
                  <a:lnTo>
                    <a:pt x="9616" y="2661"/>
                  </a:lnTo>
                  <a:lnTo>
                    <a:pt x="9617" y="2670"/>
                  </a:lnTo>
                  <a:close/>
                  <a:moveTo>
                    <a:pt x="13776" y="2113"/>
                  </a:moveTo>
                  <a:lnTo>
                    <a:pt x="13776" y="2226"/>
                  </a:lnTo>
                  <a:lnTo>
                    <a:pt x="13774" y="2235"/>
                  </a:lnTo>
                  <a:lnTo>
                    <a:pt x="13769" y="2241"/>
                  </a:lnTo>
                  <a:lnTo>
                    <a:pt x="13763" y="2245"/>
                  </a:lnTo>
                  <a:lnTo>
                    <a:pt x="13756" y="2246"/>
                  </a:lnTo>
                  <a:lnTo>
                    <a:pt x="13749" y="2245"/>
                  </a:lnTo>
                  <a:lnTo>
                    <a:pt x="13742" y="2241"/>
                  </a:lnTo>
                  <a:lnTo>
                    <a:pt x="13737" y="2235"/>
                  </a:lnTo>
                  <a:lnTo>
                    <a:pt x="13736" y="2226"/>
                  </a:lnTo>
                  <a:lnTo>
                    <a:pt x="13736" y="2113"/>
                  </a:lnTo>
                  <a:lnTo>
                    <a:pt x="13737" y="2106"/>
                  </a:lnTo>
                  <a:lnTo>
                    <a:pt x="13742" y="2099"/>
                  </a:lnTo>
                  <a:lnTo>
                    <a:pt x="13749" y="2095"/>
                  </a:lnTo>
                  <a:lnTo>
                    <a:pt x="13756" y="2094"/>
                  </a:lnTo>
                  <a:lnTo>
                    <a:pt x="13763" y="2095"/>
                  </a:lnTo>
                  <a:lnTo>
                    <a:pt x="13769" y="2099"/>
                  </a:lnTo>
                  <a:lnTo>
                    <a:pt x="13774" y="2106"/>
                  </a:lnTo>
                  <a:lnTo>
                    <a:pt x="13776" y="2113"/>
                  </a:lnTo>
                  <a:close/>
                  <a:moveTo>
                    <a:pt x="13513" y="2113"/>
                  </a:moveTo>
                  <a:lnTo>
                    <a:pt x="13513" y="2226"/>
                  </a:lnTo>
                  <a:lnTo>
                    <a:pt x="13511" y="2235"/>
                  </a:lnTo>
                  <a:lnTo>
                    <a:pt x="13506" y="2241"/>
                  </a:lnTo>
                  <a:lnTo>
                    <a:pt x="13500" y="2245"/>
                  </a:lnTo>
                  <a:lnTo>
                    <a:pt x="13492" y="2246"/>
                  </a:lnTo>
                  <a:lnTo>
                    <a:pt x="13486" y="2245"/>
                  </a:lnTo>
                  <a:lnTo>
                    <a:pt x="13479" y="2241"/>
                  </a:lnTo>
                  <a:lnTo>
                    <a:pt x="13474" y="2235"/>
                  </a:lnTo>
                  <a:lnTo>
                    <a:pt x="13473" y="2226"/>
                  </a:lnTo>
                  <a:lnTo>
                    <a:pt x="13473" y="2113"/>
                  </a:lnTo>
                  <a:lnTo>
                    <a:pt x="13474" y="2106"/>
                  </a:lnTo>
                  <a:lnTo>
                    <a:pt x="13479" y="2099"/>
                  </a:lnTo>
                  <a:lnTo>
                    <a:pt x="13486" y="2095"/>
                  </a:lnTo>
                  <a:lnTo>
                    <a:pt x="13492" y="2094"/>
                  </a:lnTo>
                  <a:lnTo>
                    <a:pt x="13500" y="2095"/>
                  </a:lnTo>
                  <a:lnTo>
                    <a:pt x="13506" y="2099"/>
                  </a:lnTo>
                  <a:lnTo>
                    <a:pt x="13511" y="2106"/>
                  </a:lnTo>
                  <a:lnTo>
                    <a:pt x="13513" y="2113"/>
                  </a:lnTo>
                  <a:close/>
                  <a:moveTo>
                    <a:pt x="13250" y="2113"/>
                  </a:moveTo>
                  <a:lnTo>
                    <a:pt x="13250" y="2226"/>
                  </a:lnTo>
                  <a:lnTo>
                    <a:pt x="13247" y="2235"/>
                  </a:lnTo>
                  <a:lnTo>
                    <a:pt x="13243" y="2241"/>
                  </a:lnTo>
                  <a:lnTo>
                    <a:pt x="13237" y="2245"/>
                  </a:lnTo>
                  <a:lnTo>
                    <a:pt x="13229" y="2246"/>
                  </a:lnTo>
                  <a:lnTo>
                    <a:pt x="13222" y="2245"/>
                  </a:lnTo>
                  <a:lnTo>
                    <a:pt x="13215" y="2241"/>
                  </a:lnTo>
                  <a:lnTo>
                    <a:pt x="13211" y="2235"/>
                  </a:lnTo>
                  <a:lnTo>
                    <a:pt x="13210" y="2226"/>
                  </a:lnTo>
                  <a:lnTo>
                    <a:pt x="13210" y="2113"/>
                  </a:lnTo>
                  <a:lnTo>
                    <a:pt x="13211" y="2106"/>
                  </a:lnTo>
                  <a:lnTo>
                    <a:pt x="13215" y="2099"/>
                  </a:lnTo>
                  <a:lnTo>
                    <a:pt x="13222" y="2095"/>
                  </a:lnTo>
                  <a:lnTo>
                    <a:pt x="13229" y="2094"/>
                  </a:lnTo>
                  <a:lnTo>
                    <a:pt x="13237" y="2095"/>
                  </a:lnTo>
                  <a:lnTo>
                    <a:pt x="13243" y="2099"/>
                  </a:lnTo>
                  <a:lnTo>
                    <a:pt x="13247" y="2106"/>
                  </a:lnTo>
                  <a:lnTo>
                    <a:pt x="13250" y="2113"/>
                  </a:lnTo>
                  <a:close/>
                  <a:moveTo>
                    <a:pt x="12987" y="2113"/>
                  </a:moveTo>
                  <a:lnTo>
                    <a:pt x="12987" y="2226"/>
                  </a:lnTo>
                  <a:lnTo>
                    <a:pt x="12984" y="2235"/>
                  </a:lnTo>
                  <a:lnTo>
                    <a:pt x="12981" y="2241"/>
                  </a:lnTo>
                  <a:lnTo>
                    <a:pt x="12974" y="2245"/>
                  </a:lnTo>
                  <a:lnTo>
                    <a:pt x="12966" y="2246"/>
                  </a:lnTo>
                  <a:lnTo>
                    <a:pt x="12959" y="2245"/>
                  </a:lnTo>
                  <a:lnTo>
                    <a:pt x="12952" y="2241"/>
                  </a:lnTo>
                  <a:lnTo>
                    <a:pt x="12948" y="2235"/>
                  </a:lnTo>
                  <a:lnTo>
                    <a:pt x="12946" y="2226"/>
                  </a:lnTo>
                  <a:lnTo>
                    <a:pt x="12946" y="2113"/>
                  </a:lnTo>
                  <a:lnTo>
                    <a:pt x="12948" y="2106"/>
                  </a:lnTo>
                  <a:lnTo>
                    <a:pt x="12952" y="2099"/>
                  </a:lnTo>
                  <a:lnTo>
                    <a:pt x="12959" y="2095"/>
                  </a:lnTo>
                  <a:lnTo>
                    <a:pt x="12966" y="2094"/>
                  </a:lnTo>
                  <a:lnTo>
                    <a:pt x="12974" y="2095"/>
                  </a:lnTo>
                  <a:lnTo>
                    <a:pt x="12981" y="2099"/>
                  </a:lnTo>
                  <a:lnTo>
                    <a:pt x="12984" y="2106"/>
                  </a:lnTo>
                  <a:lnTo>
                    <a:pt x="12987" y="2113"/>
                  </a:lnTo>
                  <a:close/>
                  <a:moveTo>
                    <a:pt x="13776" y="1879"/>
                  </a:moveTo>
                  <a:lnTo>
                    <a:pt x="13776" y="1992"/>
                  </a:lnTo>
                  <a:lnTo>
                    <a:pt x="13774" y="2001"/>
                  </a:lnTo>
                  <a:lnTo>
                    <a:pt x="13769" y="2007"/>
                  </a:lnTo>
                  <a:lnTo>
                    <a:pt x="13763" y="2011"/>
                  </a:lnTo>
                  <a:lnTo>
                    <a:pt x="13756" y="2012"/>
                  </a:lnTo>
                  <a:lnTo>
                    <a:pt x="13749" y="2011"/>
                  </a:lnTo>
                  <a:lnTo>
                    <a:pt x="13742" y="2007"/>
                  </a:lnTo>
                  <a:lnTo>
                    <a:pt x="13737" y="2001"/>
                  </a:lnTo>
                  <a:lnTo>
                    <a:pt x="13736" y="1992"/>
                  </a:lnTo>
                  <a:lnTo>
                    <a:pt x="13736" y="1879"/>
                  </a:lnTo>
                  <a:lnTo>
                    <a:pt x="13737" y="1872"/>
                  </a:lnTo>
                  <a:lnTo>
                    <a:pt x="13742" y="1865"/>
                  </a:lnTo>
                  <a:lnTo>
                    <a:pt x="13749" y="1861"/>
                  </a:lnTo>
                  <a:lnTo>
                    <a:pt x="13756" y="1860"/>
                  </a:lnTo>
                  <a:lnTo>
                    <a:pt x="13763" y="1861"/>
                  </a:lnTo>
                  <a:lnTo>
                    <a:pt x="13769" y="1865"/>
                  </a:lnTo>
                  <a:lnTo>
                    <a:pt x="13774" y="1872"/>
                  </a:lnTo>
                  <a:lnTo>
                    <a:pt x="13776" y="1879"/>
                  </a:lnTo>
                  <a:close/>
                  <a:moveTo>
                    <a:pt x="13513" y="1879"/>
                  </a:moveTo>
                  <a:lnTo>
                    <a:pt x="13513" y="1992"/>
                  </a:lnTo>
                  <a:lnTo>
                    <a:pt x="13511" y="2001"/>
                  </a:lnTo>
                  <a:lnTo>
                    <a:pt x="13506" y="2007"/>
                  </a:lnTo>
                  <a:lnTo>
                    <a:pt x="13500" y="2011"/>
                  </a:lnTo>
                  <a:lnTo>
                    <a:pt x="13492" y="2012"/>
                  </a:lnTo>
                  <a:lnTo>
                    <a:pt x="13486" y="2011"/>
                  </a:lnTo>
                  <a:lnTo>
                    <a:pt x="13479" y="2007"/>
                  </a:lnTo>
                  <a:lnTo>
                    <a:pt x="13474" y="2001"/>
                  </a:lnTo>
                  <a:lnTo>
                    <a:pt x="13473" y="1992"/>
                  </a:lnTo>
                  <a:lnTo>
                    <a:pt x="13473" y="1879"/>
                  </a:lnTo>
                  <a:lnTo>
                    <a:pt x="13474" y="1872"/>
                  </a:lnTo>
                  <a:lnTo>
                    <a:pt x="13479" y="1865"/>
                  </a:lnTo>
                  <a:lnTo>
                    <a:pt x="13486" y="1861"/>
                  </a:lnTo>
                  <a:lnTo>
                    <a:pt x="13492" y="1860"/>
                  </a:lnTo>
                  <a:lnTo>
                    <a:pt x="13500" y="1861"/>
                  </a:lnTo>
                  <a:lnTo>
                    <a:pt x="13506" y="1865"/>
                  </a:lnTo>
                  <a:lnTo>
                    <a:pt x="13511" y="1872"/>
                  </a:lnTo>
                  <a:lnTo>
                    <a:pt x="13513" y="1879"/>
                  </a:lnTo>
                  <a:close/>
                  <a:moveTo>
                    <a:pt x="13250" y="1879"/>
                  </a:moveTo>
                  <a:lnTo>
                    <a:pt x="13250" y="1992"/>
                  </a:lnTo>
                  <a:lnTo>
                    <a:pt x="13247" y="2001"/>
                  </a:lnTo>
                  <a:lnTo>
                    <a:pt x="13243" y="2007"/>
                  </a:lnTo>
                  <a:lnTo>
                    <a:pt x="13237" y="2011"/>
                  </a:lnTo>
                  <a:lnTo>
                    <a:pt x="13229" y="2012"/>
                  </a:lnTo>
                  <a:lnTo>
                    <a:pt x="13222" y="2011"/>
                  </a:lnTo>
                  <a:lnTo>
                    <a:pt x="13215" y="2007"/>
                  </a:lnTo>
                  <a:lnTo>
                    <a:pt x="13211" y="2001"/>
                  </a:lnTo>
                  <a:lnTo>
                    <a:pt x="13210" y="1992"/>
                  </a:lnTo>
                  <a:lnTo>
                    <a:pt x="13210" y="1879"/>
                  </a:lnTo>
                  <a:lnTo>
                    <a:pt x="13211" y="1872"/>
                  </a:lnTo>
                  <a:lnTo>
                    <a:pt x="13215" y="1865"/>
                  </a:lnTo>
                  <a:lnTo>
                    <a:pt x="13222" y="1861"/>
                  </a:lnTo>
                  <a:lnTo>
                    <a:pt x="13229" y="1860"/>
                  </a:lnTo>
                  <a:lnTo>
                    <a:pt x="13237" y="1861"/>
                  </a:lnTo>
                  <a:lnTo>
                    <a:pt x="13243" y="1865"/>
                  </a:lnTo>
                  <a:lnTo>
                    <a:pt x="13247" y="1872"/>
                  </a:lnTo>
                  <a:lnTo>
                    <a:pt x="13250" y="1879"/>
                  </a:lnTo>
                  <a:close/>
                  <a:moveTo>
                    <a:pt x="12987" y="1879"/>
                  </a:moveTo>
                  <a:lnTo>
                    <a:pt x="12987" y="1992"/>
                  </a:lnTo>
                  <a:lnTo>
                    <a:pt x="12984" y="2001"/>
                  </a:lnTo>
                  <a:lnTo>
                    <a:pt x="12981" y="2007"/>
                  </a:lnTo>
                  <a:lnTo>
                    <a:pt x="12974" y="2011"/>
                  </a:lnTo>
                  <a:lnTo>
                    <a:pt x="12966" y="2012"/>
                  </a:lnTo>
                  <a:lnTo>
                    <a:pt x="12959" y="2011"/>
                  </a:lnTo>
                  <a:lnTo>
                    <a:pt x="12952" y="2007"/>
                  </a:lnTo>
                  <a:lnTo>
                    <a:pt x="12948" y="2001"/>
                  </a:lnTo>
                  <a:lnTo>
                    <a:pt x="12946" y="1992"/>
                  </a:lnTo>
                  <a:lnTo>
                    <a:pt x="12946" y="1879"/>
                  </a:lnTo>
                  <a:lnTo>
                    <a:pt x="12948" y="1872"/>
                  </a:lnTo>
                  <a:lnTo>
                    <a:pt x="12952" y="1865"/>
                  </a:lnTo>
                  <a:lnTo>
                    <a:pt x="12959" y="1861"/>
                  </a:lnTo>
                  <a:lnTo>
                    <a:pt x="12966" y="1860"/>
                  </a:lnTo>
                  <a:lnTo>
                    <a:pt x="12974" y="1861"/>
                  </a:lnTo>
                  <a:lnTo>
                    <a:pt x="12981" y="1865"/>
                  </a:lnTo>
                  <a:lnTo>
                    <a:pt x="12984" y="1872"/>
                  </a:lnTo>
                  <a:lnTo>
                    <a:pt x="12987" y="1879"/>
                  </a:lnTo>
                  <a:close/>
                  <a:moveTo>
                    <a:pt x="13776" y="1645"/>
                  </a:moveTo>
                  <a:lnTo>
                    <a:pt x="13776" y="1758"/>
                  </a:lnTo>
                  <a:lnTo>
                    <a:pt x="13774" y="1767"/>
                  </a:lnTo>
                  <a:lnTo>
                    <a:pt x="13769" y="1773"/>
                  </a:lnTo>
                  <a:lnTo>
                    <a:pt x="13763" y="1777"/>
                  </a:lnTo>
                  <a:lnTo>
                    <a:pt x="13756" y="1778"/>
                  </a:lnTo>
                  <a:lnTo>
                    <a:pt x="13749" y="1777"/>
                  </a:lnTo>
                  <a:lnTo>
                    <a:pt x="13742" y="1773"/>
                  </a:lnTo>
                  <a:lnTo>
                    <a:pt x="13737" y="1767"/>
                  </a:lnTo>
                  <a:lnTo>
                    <a:pt x="13736" y="1758"/>
                  </a:lnTo>
                  <a:lnTo>
                    <a:pt x="13736" y="1645"/>
                  </a:lnTo>
                  <a:lnTo>
                    <a:pt x="13737" y="1636"/>
                  </a:lnTo>
                  <a:lnTo>
                    <a:pt x="13742" y="1631"/>
                  </a:lnTo>
                  <a:lnTo>
                    <a:pt x="13749" y="1627"/>
                  </a:lnTo>
                  <a:lnTo>
                    <a:pt x="13756" y="1626"/>
                  </a:lnTo>
                  <a:lnTo>
                    <a:pt x="13763" y="1627"/>
                  </a:lnTo>
                  <a:lnTo>
                    <a:pt x="13769" y="1631"/>
                  </a:lnTo>
                  <a:lnTo>
                    <a:pt x="13774" y="1636"/>
                  </a:lnTo>
                  <a:lnTo>
                    <a:pt x="13776" y="1645"/>
                  </a:lnTo>
                  <a:close/>
                  <a:moveTo>
                    <a:pt x="13513" y="1645"/>
                  </a:moveTo>
                  <a:lnTo>
                    <a:pt x="13513" y="1758"/>
                  </a:lnTo>
                  <a:lnTo>
                    <a:pt x="13511" y="1767"/>
                  </a:lnTo>
                  <a:lnTo>
                    <a:pt x="13506" y="1773"/>
                  </a:lnTo>
                  <a:lnTo>
                    <a:pt x="13500" y="1777"/>
                  </a:lnTo>
                  <a:lnTo>
                    <a:pt x="13492" y="1778"/>
                  </a:lnTo>
                  <a:lnTo>
                    <a:pt x="13486" y="1777"/>
                  </a:lnTo>
                  <a:lnTo>
                    <a:pt x="13479" y="1773"/>
                  </a:lnTo>
                  <a:lnTo>
                    <a:pt x="13474" y="1767"/>
                  </a:lnTo>
                  <a:lnTo>
                    <a:pt x="13473" y="1758"/>
                  </a:lnTo>
                  <a:lnTo>
                    <a:pt x="13473" y="1645"/>
                  </a:lnTo>
                  <a:lnTo>
                    <a:pt x="13474" y="1636"/>
                  </a:lnTo>
                  <a:lnTo>
                    <a:pt x="13479" y="1631"/>
                  </a:lnTo>
                  <a:lnTo>
                    <a:pt x="13486" y="1627"/>
                  </a:lnTo>
                  <a:lnTo>
                    <a:pt x="13492" y="1626"/>
                  </a:lnTo>
                  <a:lnTo>
                    <a:pt x="13500" y="1627"/>
                  </a:lnTo>
                  <a:lnTo>
                    <a:pt x="13506" y="1631"/>
                  </a:lnTo>
                  <a:lnTo>
                    <a:pt x="13511" y="1636"/>
                  </a:lnTo>
                  <a:lnTo>
                    <a:pt x="13513" y="1645"/>
                  </a:lnTo>
                  <a:close/>
                  <a:moveTo>
                    <a:pt x="13250" y="1645"/>
                  </a:moveTo>
                  <a:lnTo>
                    <a:pt x="13250" y="1758"/>
                  </a:lnTo>
                  <a:lnTo>
                    <a:pt x="13247" y="1767"/>
                  </a:lnTo>
                  <a:lnTo>
                    <a:pt x="13243" y="1773"/>
                  </a:lnTo>
                  <a:lnTo>
                    <a:pt x="13237" y="1777"/>
                  </a:lnTo>
                  <a:lnTo>
                    <a:pt x="13229" y="1778"/>
                  </a:lnTo>
                  <a:lnTo>
                    <a:pt x="13222" y="1777"/>
                  </a:lnTo>
                  <a:lnTo>
                    <a:pt x="13215" y="1773"/>
                  </a:lnTo>
                  <a:lnTo>
                    <a:pt x="13211" y="1767"/>
                  </a:lnTo>
                  <a:lnTo>
                    <a:pt x="13210" y="1758"/>
                  </a:lnTo>
                  <a:lnTo>
                    <a:pt x="13210" y="1645"/>
                  </a:lnTo>
                  <a:lnTo>
                    <a:pt x="13211" y="1636"/>
                  </a:lnTo>
                  <a:lnTo>
                    <a:pt x="13215" y="1631"/>
                  </a:lnTo>
                  <a:lnTo>
                    <a:pt x="13222" y="1627"/>
                  </a:lnTo>
                  <a:lnTo>
                    <a:pt x="13229" y="1626"/>
                  </a:lnTo>
                  <a:lnTo>
                    <a:pt x="13237" y="1627"/>
                  </a:lnTo>
                  <a:lnTo>
                    <a:pt x="13243" y="1631"/>
                  </a:lnTo>
                  <a:lnTo>
                    <a:pt x="13247" y="1636"/>
                  </a:lnTo>
                  <a:lnTo>
                    <a:pt x="13250" y="1645"/>
                  </a:lnTo>
                  <a:close/>
                  <a:moveTo>
                    <a:pt x="12987" y="1645"/>
                  </a:moveTo>
                  <a:lnTo>
                    <a:pt x="12987" y="1758"/>
                  </a:lnTo>
                  <a:lnTo>
                    <a:pt x="12984" y="1767"/>
                  </a:lnTo>
                  <a:lnTo>
                    <a:pt x="12981" y="1773"/>
                  </a:lnTo>
                  <a:lnTo>
                    <a:pt x="12974" y="1777"/>
                  </a:lnTo>
                  <a:lnTo>
                    <a:pt x="12966" y="1778"/>
                  </a:lnTo>
                  <a:lnTo>
                    <a:pt x="12959" y="1777"/>
                  </a:lnTo>
                  <a:lnTo>
                    <a:pt x="12952" y="1773"/>
                  </a:lnTo>
                  <a:lnTo>
                    <a:pt x="12948" y="1767"/>
                  </a:lnTo>
                  <a:lnTo>
                    <a:pt x="12946" y="1758"/>
                  </a:lnTo>
                  <a:lnTo>
                    <a:pt x="12946" y="1645"/>
                  </a:lnTo>
                  <a:lnTo>
                    <a:pt x="12948" y="1636"/>
                  </a:lnTo>
                  <a:lnTo>
                    <a:pt x="12952" y="1631"/>
                  </a:lnTo>
                  <a:lnTo>
                    <a:pt x="12959" y="1627"/>
                  </a:lnTo>
                  <a:lnTo>
                    <a:pt x="12966" y="1626"/>
                  </a:lnTo>
                  <a:lnTo>
                    <a:pt x="12974" y="1627"/>
                  </a:lnTo>
                  <a:lnTo>
                    <a:pt x="12981" y="1631"/>
                  </a:lnTo>
                  <a:lnTo>
                    <a:pt x="12984" y="1636"/>
                  </a:lnTo>
                  <a:lnTo>
                    <a:pt x="12987" y="1645"/>
                  </a:lnTo>
                  <a:close/>
                  <a:moveTo>
                    <a:pt x="13776" y="1411"/>
                  </a:moveTo>
                  <a:lnTo>
                    <a:pt x="13776" y="1524"/>
                  </a:lnTo>
                  <a:lnTo>
                    <a:pt x="13774" y="1533"/>
                  </a:lnTo>
                  <a:lnTo>
                    <a:pt x="13769" y="1539"/>
                  </a:lnTo>
                  <a:lnTo>
                    <a:pt x="13763" y="1543"/>
                  </a:lnTo>
                  <a:lnTo>
                    <a:pt x="13756" y="1544"/>
                  </a:lnTo>
                  <a:lnTo>
                    <a:pt x="13749" y="1543"/>
                  </a:lnTo>
                  <a:lnTo>
                    <a:pt x="13742" y="1539"/>
                  </a:lnTo>
                  <a:lnTo>
                    <a:pt x="13737" y="1533"/>
                  </a:lnTo>
                  <a:lnTo>
                    <a:pt x="13736" y="1524"/>
                  </a:lnTo>
                  <a:lnTo>
                    <a:pt x="13736" y="1411"/>
                  </a:lnTo>
                  <a:lnTo>
                    <a:pt x="13737" y="1402"/>
                  </a:lnTo>
                  <a:lnTo>
                    <a:pt x="13742" y="1397"/>
                  </a:lnTo>
                  <a:lnTo>
                    <a:pt x="13749" y="1393"/>
                  </a:lnTo>
                  <a:lnTo>
                    <a:pt x="13756" y="1392"/>
                  </a:lnTo>
                  <a:lnTo>
                    <a:pt x="13763" y="1393"/>
                  </a:lnTo>
                  <a:lnTo>
                    <a:pt x="13769" y="1397"/>
                  </a:lnTo>
                  <a:lnTo>
                    <a:pt x="13774" y="1402"/>
                  </a:lnTo>
                  <a:lnTo>
                    <a:pt x="13776" y="1411"/>
                  </a:lnTo>
                  <a:close/>
                  <a:moveTo>
                    <a:pt x="13513" y="1411"/>
                  </a:moveTo>
                  <a:lnTo>
                    <a:pt x="13513" y="1524"/>
                  </a:lnTo>
                  <a:lnTo>
                    <a:pt x="13511" y="1533"/>
                  </a:lnTo>
                  <a:lnTo>
                    <a:pt x="13506" y="1539"/>
                  </a:lnTo>
                  <a:lnTo>
                    <a:pt x="13500" y="1543"/>
                  </a:lnTo>
                  <a:lnTo>
                    <a:pt x="13492" y="1544"/>
                  </a:lnTo>
                  <a:lnTo>
                    <a:pt x="13486" y="1543"/>
                  </a:lnTo>
                  <a:lnTo>
                    <a:pt x="13479" y="1539"/>
                  </a:lnTo>
                  <a:lnTo>
                    <a:pt x="13474" y="1533"/>
                  </a:lnTo>
                  <a:lnTo>
                    <a:pt x="13473" y="1524"/>
                  </a:lnTo>
                  <a:lnTo>
                    <a:pt x="13473" y="1411"/>
                  </a:lnTo>
                  <a:lnTo>
                    <a:pt x="13474" y="1402"/>
                  </a:lnTo>
                  <a:lnTo>
                    <a:pt x="13479" y="1397"/>
                  </a:lnTo>
                  <a:lnTo>
                    <a:pt x="13486" y="1393"/>
                  </a:lnTo>
                  <a:lnTo>
                    <a:pt x="13492" y="1392"/>
                  </a:lnTo>
                  <a:lnTo>
                    <a:pt x="13500" y="1393"/>
                  </a:lnTo>
                  <a:lnTo>
                    <a:pt x="13506" y="1397"/>
                  </a:lnTo>
                  <a:lnTo>
                    <a:pt x="13511" y="1402"/>
                  </a:lnTo>
                  <a:lnTo>
                    <a:pt x="13513" y="1411"/>
                  </a:lnTo>
                  <a:close/>
                  <a:moveTo>
                    <a:pt x="13250" y="1411"/>
                  </a:moveTo>
                  <a:lnTo>
                    <a:pt x="13250" y="1524"/>
                  </a:lnTo>
                  <a:lnTo>
                    <a:pt x="13247" y="1533"/>
                  </a:lnTo>
                  <a:lnTo>
                    <a:pt x="13243" y="1539"/>
                  </a:lnTo>
                  <a:lnTo>
                    <a:pt x="13237" y="1543"/>
                  </a:lnTo>
                  <a:lnTo>
                    <a:pt x="13229" y="1544"/>
                  </a:lnTo>
                  <a:lnTo>
                    <a:pt x="13222" y="1543"/>
                  </a:lnTo>
                  <a:lnTo>
                    <a:pt x="13215" y="1539"/>
                  </a:lnTo>
                  <a:lnTo>
                    <a:pt x="13211" y="1533"/>
                  </a:lnTo>
                  <a:lnTo>
                    <a:pt x="13210" y="1524"/>
                  </a:lnTo>
                  <a:lnTo>
                    <a:pt x="13210" y="1411"/>
                  </a:lnTo>
                  <a:lnTo>
                    <a:pt x="13211" y="1402"/>
                  </a:lnTo>
                  <a:lnTo>
                    <a:pt x="13215" y="1397"/>
                  </a:lnTo>
                  <a:lnTo>
                    <a:pt x="13222" y="1393"/>
                  </a:lnTo>
                  <a:lnTo>
                    <a:pt x="13229" y="1392"/>
                  </a:lnTo>
                  <a:lnTo>
                    <a:pt x="13237" y="1393"/>
                  </a:lnTo>
                  <a:lnTo>
                    <a:pt x="13243" y="1397"/>
                  </a:lnTo>
                  <a:lnTo>
                    <a:pt x="13247" y="1402"/>
                  </a:lnTo>
                  <a:lnTo>
                    <a:pt x="13250" y="1411"/>
                  </a:lnTo>
                  <a:close/>
                  <a:moveTo>
                    <a:pt x="12987" y="1411"/>
                  </a:moveTo>
                  <a:lnTo>
                    <a:pt x="12987" y="1524"/>
                  </a:lnTo>
                  <a:lnTo>
                    <a:pt x="12984" y="1533"/>
                  </a:lnTo>
                  <a:lnTo>
                    <a:pt x="12981" y="1539"/>
                  </a:lnTo>
                  <a:lnTo>
                    <a:pt x="12974" y="1543"/>
                  </a:lnTo>
                  <a:lnTo>
                    <a:pt x="12966" y="1544"/>
                  </a:lnTo>
                  <a:lnTo>
                    <a:pt x="12959" y="1543"/>
                  </a:lnTo>
                  <a:lnTo>
                    <a:pt x="12952" y="1539"/>
                  </a:lnTo>
                  <a:lnTo>
                    <a:pt x="12948" y="1533"/>
                  </a:lnTo>
                  <a:lnTo>
                    <a:pt x="12946" y="1524"/>
                  </a:lnTo>
                  <a:lnTo>
                    <a:pt x="12946" y="1411"/>
                  </a:lnTo>
                  <a:lnTo>
                    <a:pt x="12948" y="1402"/>
                  </a:lnTo>
                  <a:lnTo>
                    <a:pt x="12952" y="1397"/>
                  </a:lnTo>
                  <a:lnTo>
                    <a:pt x="12959" y="1393"/>
                  </a:lnTo>
                  <a:lnTo>
                    <a:pt x="12966" y="1392"/>
                  </a:lnTo>
                  <a:lnTo>
                    <a:pt x="12974" y="1393"/>
                  </a:lnTo>
                  <a:lnTo>
                    <a:pt x="12981" y="1397"/>
                  </a:lnTo>
                  <a:lnTo>
                    <a:pt x="12984" y="1402"/>
                  </a:lnTo>
                  <a:lnTo>
                    <a:pt x="12987" y="1411"/>
                  </a:lnTo>
                  <a:close/>
                  <a:moveTo>
                    <a:pt x="13776" y="1177"/>
                  </a:moveTo>
                  <a:lnTo>
                    <a:pt x="13776" y="1290"/>
                  </a:lnTo>
                  <a:lnTo>
                    <a:pt x="13774" y="1299"/>
                  </a:lnTo>
                  <a:lnTo>
                    <a:pt x="13769" y="1305"/>
                  </a:lnTo>
                  <a:lnTo>
                    <a:pt x="13763" y="1309"/>
                  </a:lnTo>
                  <a:lnTo>
                    <a:pt x="13756" y="1309"/>
                  </a:lnTo>
                  <a:lnTo>
                    <a:pt x="13749" y="1309"/>
                  </a:lnTo>
                  <a:lnTo>
                    <a:pt x="13742" y="1305"/>
                  </a:lnTo>
                  <a:lnTo>
                    <a:pt x="13737" y="1299"/>
                  </a:lnTo>
                  <a:lnTo>
                    <a:pt x="13736" y="1290"/>
                  </a:lnTo>
                  <a:lnTo>
                    <a:pt x="13736" y="1177"/>
                  </a:lnTo>
                  <a:lnTo>
                    <a:pt x="13737" y="1168"/>
                  </a:lnTo>
                  <a:lnTo>
                    <a:pt x="13742" y="1163"/>
                  </a:lnTo>
                  <a:lnTo>
                    <a:pt x="13749" y="1159"/>
                  </a:lnTo>
                  <a:lnTo>
                    <a:pt x="13756" y="1158"/>
                  </a:lnTo>
                  <a:lnTo>
                    <a:pt x="13763" y="1159"/>
                  </a:lnTo>
                  <a:lnTo>
                    <a:pt x="13769" y="1163"/>
                  </a:lnTo>
                  <a:lnTo>
                    <a:pt x="13774" y="1168"/>
                  </a:lnTo>
                  <a:lnTo>
                    <a:pt x="13776" y="1177"/>
                  </a:lnTo>
                  <a:close/>
                  <a:moveTo>
                    <a:pt x="13513" y="1177"/>
                  </a:moveTo>
                  <a:lnTo>
                    <a:pt x="13513" y="1290"/>
                  </a:lnTo>
                  <a:lnTo>
                    <a:pt x="13511" y="1299"/>
                  </a:lnTo>
                  <a:lnTo>
                    <a:pt x="13506" y="1305"/>
                  </a:lnTo>
                  <a:lnTo>
                    <a:pt x="13500" y="1309"/>
                  </a:lnTo>
                  <a:lnTo>
                    <a:pt x="13492" y="1309"/>
                  </a:lnTo>
                  <a:lnTo>
                    <a:pt x="13486" y="1309"/>
                  </a:lnTo>
                  <a:lnTo>
                    <a:pt x="13479" y="1305"/>
                  </a:lnTo>
                  <a:lnTo>
                    <a:pt x="13474" y="1299"/>
                  </a:lnTo>
                  <a:lnTo>
                    <a:pt x="13473" y="1290"/>
                  </a:lnTo>
                  <a:lnTo>
                    <a:pt x="13473" y="1177"/>
                  </a:lnTo>
                  <a:lnTo>
                    <a:pt x="13474" y="1168"/>
                  </a:lnTo>
                  <a:lnTo>
                    <a:pt x="13479" y="1163"/>
                  </a:lnTo>
                  <a:lnTo>
                    <a:pt x="13486" y="1159"/>
                  </a:lnTo>
                  <a:lnTo>
                    <a:pt x="13492" y="1158"/>
                  </a:lnTo>
                  <a:lnTo>
                    <a:pt x="13500" y="1159"/>
                  </a:lnTo>
                  <a:lnTo>
                    <a:pt x="13506" y="1163"/>
                  </a:lnTo>
                  <a:lnTo>
                    <a:pt x="13511" y="1168"/>
                  </a:lnTo>
                  <a:lnTo>
                    <a:pt x="13513" y="1177"/>
                  </a:lnTo>
                  <a:close/>
                  <a:moveTo>
                    <a:pt x="13250" y="1177"/>
                  </a:moveTo>
                  <a:lnTo>
                    <a:pt x="13250" y="1290"/>
                  </a:lnTo>
                  <a:lnTo>
                    <a:pt x="13247" y="1299"/>
                  </a:lnTo>
                  <a:lnTo>
                    <a:pt x="13243" y="1305"/>
                  </a:lnTo>
                  <a:lnTo>
                    <a:pt x="13237" y="1309"/>
                  </a:lnTo>
                  <a:lnTo>
                    <a:pt x="13229" y="1309"/>
                  </a:lnTo>
                  <a:lnTo>
                    <a:pt x="13222" y="1309"/>
                  </a:lnTo>
                  <a:lnTo>
                    <a:pt x="13215" y="1305"/>
                  </a:lnTo>
                  <a:lnTo>
                    <a:pt x="13211" y="1299"/>
                  </a:lnTo>
                  <a:lnTo>
                    <a:pt x="13210" y="1290"/>
                  </a:lnTo>
                  <a:lnTo>
                    <a:pt x="13210" y="1177"/>
                  </a:lnTo>
                  <a:lnTo>
                    <a:pt x="13211" y="1168"/>
                  </a:lnTo>
                  <a:lnTo>
                    <a:pt x="13215" y="1163"/>
                  </a:lnTo>
                  <a:lnTo>
                    <a:pt x="13222" y="1159"/>
                  </a:lnTo>
                  <a:lnTo>
                    <a:pt x="13229" y="1158"/>
                  </a:lnTo>
                  <a:lnTo>
                    <a:pt x="13237" y="1159"/>
                  </a:lnTo>
                  <a:lnTo>
                    <a:pt x="13243" y="1163"/>
                  </a:lnTo>
                  <a:lnTo>
                    <a:pt x="13247" y="1168"/>
                  </a:lnTo>
                  <a:lnTo>
                    <a:pt x="13250" y="1177"/>
                  </a:lnTo>
                  <a:close/>
                  <a:moveTo>
                    <a:pt x="12987" y="1177"/>
                  </a:moveTo>
                  <a:lnTo>
                    <a:pt x="12987" y="1290"/>
                  </a:lnTo>
                  <a:lnTo>
                    <a:pt x="12984" y="1299"/>
                  </a:lnTo>
                  <a:lnTo>
                    <a:pt x="12981" y="1305"/>
                  </a:lnTo>
                  <a:lnTo>
                    <a:pt x="12974" y="1309"/>
                  </a:lnTo>
                  <a:lnTo>
                    <a:pt x="12966" y="1309"/>
                  </a:lnTo>
                  <a:lnTo>
                    <a:pt x="12959" y="1309"/>
                  </a:lnTo>
                  <a:lnTo>
                    <a:pt x="12952" y="1305"/>
                  </a:lnTo>
                  <a:lnTo>
                    <a:pt x="12948" y="1299"/>
                  </a:lnTo>
                  <a:lnTo>
                    <a:pt x="12946" y="1290"/>
                  </a:lnTo>
                  <a:lnTo>
                    <a:pt x="12946" y="1177"/>
                  </a:lnTo>
                  <a:lnTo>
                    <a:pt x="12948" y="1168"/>
                  </a:lnTo>
                  <a:lnTo>
                    <a:pt x="12952" y="1163"/>
                  </a:lnTo>
                  <a:lnTo>
                    <a:pt x="12959" y="1159"/>
                  </a:lnTo>
                  <a:lnTo>
                    <a:pt x="12966" y="1158"/>
                  </a:lnTo>
                  <a:lnTo>
                    <a:pt x="12974" y="1159"/>
                  </a:lnTo>
                  <a:lnTo>
                    <a:pt x="12981" y="1163"/>
                  </a:lnTo>
                  <a:lnTo>
                    <a:pt x="12984" y="1168"/>
                  </a:lnTo>
                  <a:lnTo>
                    <a:pt x="12987" y="1177"/>
                  </a:lnTo>
                  <a:close/>
                  <a:moveTo>
                    <a:pt x="13538" y="3927"/>
                  </a:moveTo>
                  <a:lnTo>
                    <a:pt x="13538" y="4038"/>
                  </a:lnTo>
                  <a:lnTo>
                    <a:pt x="13536" y="4047"/>
                  </a:lnTo>
                  <a:lnTo>
                    <a:pt x="13532" y="4053"/>
                  </a:lnTo>
                  <a:lnTo>
                    <a:pt x="13525" y="4057"/>
                  </a:lnTo>
                  <a:lnTo>
                    <a:pt x="13518" y="4058"/>
                  </a:lnTo>
                  <a:lnTo>
                    <a:pt x="13510" y="4057"/>
                  </a:lnTo>
                  <a:lnTo>
                    <a:pt x="13504" y="4053"/>
                  </a:lnTo>
                  <a:lnTo>
                    <a:pt x="13500" y="4047"/>
                  </a:lnTo>
                  <a:lnTo>
                    <a:pt x="13497" y="4038"/>
                  </a:lnTo>
                  <a:lnTo>
                    <a:pt x="13497" y="3927"/>
                  </a:lnTo>
                  <a:lnTo>
                    <a:pt x="13500" y="3918"/>
                  </a:lnTo>
                  <a:lnTo>
                    <a:pt x="13504" y="3911"/>
                  </a:lnTo>
                  <a:lnTo>
                    <a:pt x="13510" y="3907"/>
                  </a:lnTo>
                  <a:lnTo>
                    <a:pt x="13518" y="3906"/>
                  </a:lnTo>
                  <a:lnTo>
                    <a:pt x="13525" y="3907"/>
                  </a:lnTo>
                  <a:lnTo>
                    <a:pt x="13532" y="3911"/>
                  </a:lnTo>
                  <a:lnTo>
                    <a:pt x="13536" y="3918"/>
                  </a:lnTo>
                  <a:lnTo>
                    <a:pt x="13538" y="3927"/>
                  </a:lnTo>
                  <a:close/>
                  <a:moveTo>
                    <a:pt x="13274" y="3927"/>
                  </a:moveTo>
                  <a:lnTo>
                    <a:pt x="13274" y="4038"/>
                  </a:lnTo>
                  <a:lnTo>
                    <a:pt x="13273" y="4047"/>
                  </a:lnTo>
                  <a:lnTo>
                    <a:pt x="13269" y="4053"/>
                  </a:lnTo>
                  <a:lnTo>
                    <a:pt x="13263" y="4057"/>
                  </a:lnTo>
                  <a:lnTo>
                    <a:pt x="13255" y="4058"/>
                  </a:lnTo>
                  <a:lnTo>
                    <a:pt x="13247" y="4057"/>
                  </a:lnTo>
                  <a:lnTo>
                    <a:pt x="13241" y="4053"/>
                  </a:lnTo>
                  <a:lnTo>
                    <a:pt x="13237" y="4047"/>
                  </a:lnTo>
                  <a:lnTo>
                    <a:pt x="13234" y="4038"/>
                  </a:lnTo>
                  <a:lnTo>
                    <a:pt x="13234" y="3927"/>
                  </a:lnTo>
                  <a:lnTo>
                    <a:pt x="13237" y="3918"/>
                  </a:lnTo>
                  <a:lnTo>
                    <a:pt x="13241" y="3911"/>
                  </a:lnTo>
                  <a:lnTo>
                    <a:pt x="13247" y="3907"/>
                  </a:lnTo>
                  <a:lnTo>
                    <a:pt x="13255" y="3906"/>
                  </a:lnTo>
                  <a:lnTo>
                    <a:pt x="13263" y="3907"/>
                  </a:lnTo>
                  <a:lnTo>
                    <a:pt x="13269" y="3911"/>
                  </a:lnTo>
                  <a:lnTo>
                    <a:pt x="13273" y="3918"/>
                  </a:lnTo>
                  <a:lnTo>
                    <a:pt x="13274" y="3927"/>
                  </a:lnTo>
                  <a:close/>
                  <a:moveTo>
                    <a:pt x="13011" y="3927"/>
                  </a:moveTo>
                  <a:lnTo>
                    <a:pt x="13011" y="4038"/>
                  </a:lnTo>
                  <a:lnTo>
                    <a:pt x="13010" y="4047"/>
                  </a:lnTo>
                  <a:lnTo>
                    <a:pt x="13005" y="4053"/>
                  </a:lnTo>
                  <a:lnTo>
                    <a:pt x="12998" y="4057"/>
                  </a:lnTo>
                  <a:lnTo>
                    <a:pt x="12992" y="4058"/>
                  </a:lnTo>
                  <a:lnTo>
                    <a:pt x="12984" y="4057"/>
                  </a:lnTo>
                  <a:lnTo>
                    <a:pt x="12978" y="4053"/>
                  </a:lnTo>
                  <a:lnTo>
                    <a:pt x="12973" y="4047"/>
                  </a:lnTo>
                  <a:lnTo>
                    <a:pt x="12972" y="4038"/>
                  </a:lnTo>
                  <a:lnTo>
                    <a:pt x="12972" y="3927"/>
                  </a:lnTo>
                  <a:lnTo>
                    <a:pt x="12973" y="3918"/>
                  </a:lnTo>
                  <a:lnTo>
                    <a:pt x="12978" y="3911"/>
                  </a:lnTo>
                  <a:lnTo>
                    <a:pt x="12984" y="3907"/>
                  </a:lnTo>
                  <a:lnTo>
                    <a:pt x="12992" y="3906"/>
                  </a:lnTo>
                  <a:lnTo>
                    <a:pt x="12998" y="3907"/>
                  </a:lnTo>
                  <a:lnTo>
                    <a:pt x="13005" y="3911"/>
                  </a:lnTo>
                  <a:lnTo>
                    <a:pt x="13010" y="3918"/>
                  </a:lnTo>
                  <a:lnTo>
                    <a:pt x="13011" y="3927"/>
                  </a:lnTo>
                  <a:close/>
                  <a:moveTo>
                    <a:pt x="12748" y="3927"/>
                  </a:moveTo>
                  <a:lnTo>
                    <a:pt x="12748" y="4038"/>
                  </a:lnTo>
                  <a:lnTo>
                    <a:pt x="12747" y="4047"/>
                  </a:lnTo>
                  <a:lnTo>
                    <a:pt x="12742" y="4053"/>
                  </a:lnTo>
                  <a:lnTo>
                    <a:pt x="12736" y="4057"/>
                  </a:lnTo>
                  <a:lnTo>
                    <a:pt x="12729" y="4058"/>
                  </a:lnTo>
                  <a:lnTo>
                    <a:pt x="12721" y="4057"/>
                  </a:lnTo>
                  <a:lnTo>
                    <a:pt x="12715" y="4053"/>
                  </a:lnTo>
                  <a:lnTo>
                    <a:pt x="12710" y="4047"/>
                  </a:lnTo>
                  <a:lnTo>
                    <a:pt x="12709" y="4038"/>
                  </a:lnTo>
                  <a:lnTo>
                    <a:pt x="12709" y="3927"/>
                  </a:lnTo>
                  <a:lnTo>
                    <a:pt x="12710" y="3918"/>
                  </a:lnTo>
                  <a:lnTo>
                    <a:pt x="12715" y="3911"/>
                  </a:lnTo>
                  <a:lnTo>
                    <a:pt x="12721" y="3907"/>
                  </a:lnTo>
                  <a:lnTo>
                    <a:pt x="12729" y="3906"/>
                  </a:lnTo>
                  <a:lnTo>
                    <a:pt x="12736" y="3907"/>
                  </a:lnTo>
                  <a:lnTo>
                    <a:pt x="12742" y="3911"/>
                  </a:lnTo>
                  <a:lnTo>
                    <a:pt x="12747" y="3918"/>
                  </a:lnTo>
                  <a:lnTo>
                    <a:pt x="12748" y="3927"/>
                  </a:lnTo>
                  <a:close/>
                  <a:moveTo>
                    <a:pt x="13538" y="3681"/>
                  </a:moveTo>
                  <a:lnTo>
                    <a:pt x="13538" y="3792"/>
                  </a:lnTo>
                  <a:lnTo>
                    <a:pt x="13536" y="3801"/>
                  </a:lnTo>
                  <a:lnTo>
                    <a:pt x="13532" y="3808"/>
                  </a:lnTo>
                  <a:lnTo>
                    <a:pt x="13525" y="3811"/>
                  </a:lnTo>
                  <a:lnTo>
                    <a:pt x="13518" y="3813"/>
                  </a:lnTo>
                  <a:lnTo>
                    <a:pt x="13510" y="3811"/>
                  </a:lnTo>
                  <a:lnTo>
                    <a:pt x="13504" y="3808"/>
                  </a:lnTo>
                  <a:lnTo>
                    <a:pt x="13500" y="3801"/>
                  </a:lnTo>
                  <a:lnTo>
                    <a:pt x="13497" y="3792"/>
                  </a:lnTo>
                  <a:lnTo>
                    <a:pt x="13497" y="3681"/>
                  </a:lnTo>
                  <a:lnTo>
                    <a:pt x="13500" y="3672"/>
                  </a:lnTo>
                  <a:lnTo>
                    <a:pt x="13504" y="3666"/>
                  </a:lnTo>
                  <a:lnTo>
                    <a:pt x="13510" y="3662"/>
                  </a:lnTo>
                  <a:lnTo>
                    <a:pt x="13518" y="3661"/>
                  </a:lnTo>
                  <a:lnTo>
                    <a:pt x="13525" y="3662"/>
                  </a:lnTo>
                  <a:lnTo>
                    <a:pt x="13532" y="3666"/>
                  </a:lnTo>
                  <a:lnTo>
                    <a:pt x="13536" y="3672"/>
                  </a:lnTo>
                  <a:lnTo>
                    <a:pt x="13538" y="3681"/>
                  </a:lnTo>
                  <a:close/>
                  <a:moveTo>
                    <a:pt x="13274" y="3681"/>
                  </a:moveTo>
                  <a:lnTo>
                    <a:pt x="13274" y="3792"/>
                  </a:lnTo>
                  <a:lnTo>
                    <a:pt x="13273" y="3801"/>
                  </a:lnTo>
                  <a:lnTo>
                    <a:pt x="13269" y="3808"/>
                  </a:lnTo>
                  <a:lnTo>
                    <a:pt x="13263" y="3811"/>
                  </a:lnTo>
                  <a:lnTo>
                    <a:pt x="13255" y="3813"/>
                  </a:lnTo>
                  <a:lnTo>
                    <a:pt x="13247" y="3811"/>
                  </a:lnTo>
                  <a:lnTo>
                    <a:pt x="13241" y="3808"/>
                  </a:lnTo>
                  <a:lnTo>
                    <a:pt x="13237" y="3801"/>
                  </a:lnTo>
                  <a:lnTo>
                    <a:pt x="13234" y="3792"/>
                  </a:lnTo>
                  <a:lnTo>
                    <a:pt x="13234" y="3681"/>
                  </a:lnTo>
                  <a:lnTo>
                    <a:pt x="13237" y="3672"/>
                  </a:lnTo>
                  <a:lnTo>
                    <a:pt x="13241" y="3666"/>
                  </a:lnTo>
                  <a:lnTo>
                    <a:pt x="13247" y="3662"/>
                  </a:lnTo>
                  <a:lnTo>
                    <a:pt x="13255" y="3661"/>
                  </a:lnTo>
                  <a:lnTo>
                    <a:pt x="13263" y="3662"/>
                  </a:lnTo>
                  <a:lnTo>
                    <a:pt x="13269" y="3666"/>
                  </a:lnTo>
                  <a:lnTo>
                    <a:pt x="13273" y="3672"/>
                  </a:lnTo>
                  <a:lnTo>
                    <a:pt x="13274" y="3681"/>
                  </a:lnTo>
                  <a:close/>
                  <a:moveTo>
                    <a:pt x="13011" y="3681"/>
                  </a:moveTo>
                  <a:lnTo>
                    <a:pt x="13011" y="3792"/>
                  </a:lnTo>
                  <a:lnTo>
                    <a:pt x="13010" y="3801"/>
                  </a:lnTo>
                  <a:lnTo>
                    <a:pt x="13005" y="3808"/>
                  </a:lnTo>
                  <a:lnTo>
                    <a:pt x="12998" y="3811"/>
                  </a:lnTo>
                  <a:lnTo>
                    <a:pt x="12992" y="3813"/>
                  </a:lnTo>
                  <a:lnTo>
                    <a:pt x="12984" y="3811"/>
                  </a:lnTo>
                  <a:lnTo>
                    <a:pt x="12978" y="3808"/>
                  </a:lnTo>
                  <a:lnTo>
                    <a:pt x="12973" y="3801"/>
                  </a:lnTo>
                  <a:lnTo>
                    <a:pt x="12972" y="3792"/>
                  </a:lnTo>
                  <a:lnTo>
                    <a:pt x="12972" y="3681"/>
                  </a:lnTo>
                  <a:lnTo>
                    <a:pt x="12973" y="3672"/>
                  </a:lnTo>
                  <a:lnTo>
                    <a:pt x="12978" y="3666"/>
                  </a:lnTo>
                  <a:lnTo>
                    <a:pt x="12984" y="3662"/>
                  </a:lnTo>
                  <a:lnTo>
                    <a:pt x="12992" y="3661"/>
                  </a:lnTo>
                  <a:lnTo>
                    <a:pt x="12998" y="3662"/>
                  </a:lnTo>
                  <a:lnTo>
                    <a:pt x="13005" y="3666"/>
                  </a:lnTo>
                  <a:lnTo>
                    <a:pt x="13010" y="3672"/>
                  </a:lnTo>
                  <a:lnTo>
                    <a:pt x="13011" y="3681"/>
                  </a:lnTo>
                  <a:close/>
                  <a:moveTo>
                    <a:pt x="12748" y="3681"/>
                  </a:moveTo>
                  <a:lnTo>
                    <a:pt x="12748" y="3792"/>
                  </a:lnTo>
                  <a:lnTo>
                    <a:pt x="12747" y="3801"/>
                  </a:lnTo>
                  <a:lnTo>
                    <a:pt x="12742" y="3808"/>
                  </a:lnTo>
                  <a:lnTo>
                    <a:pt x="12736" y="3811"/>
                  </a:lnTo>
                  <a:lnTo>
                    <a:pt x="12729" y="3813"/>
                  </a:lnTo>
                  <a:lnTo>
                    <a:pt x="12721" y="3811"/>
                  </a:lnTo>
                  <a:lnTo>
                    <a:pt x="12715" y="3808"/>
                  </a:lnTo>
                  <a:lnTo>
                    <a:pt x="12710" y="3801"/>
                  </a:lnTo>
                  <a:lnTo>
                    <a:pt x="12709" y="3792"/>
                  </a:lnTo>
                  <a:lnTo>
                    <a:pt x="12709" y="3681"/>
                  </a:lnTo>
                  <a:lnTo>
                    <a:pt x="12710" y="3672"/>
                  </a:lnTo>
                  <a:lnTo>
                    <a:pt x="12715" y="3666"/>
                  </a:lnTo>
                  <a:lnTo>
                    <a:pt x="12721" y="3662"/>
                  </a:lnTo>
                  <a:lnTo>
                    <a:pt x="12729" y="3661"/>
                  </a:lnTo>
                  <a:lnTo>
                    <a:pt x="12736" y="3662"/>
                  </a:lnTo>
                  <a:lnTo>
                    <a:pt x="12742" y="3666"/>
                  </a:lnTo>
                  <a:lnTo>
                    <a:pt x="12747" y="3672"/>
                  </a:lnTo>
                  <a:lnTo>
                    <a:pt x="12748" y="3681"/>
                  </a:lnTo>
                  <a:close/>
                  <a:moveTo>
                    <a:pt x="13538" y="3436"/>
                  </a:moveTo>
                  <a:lnTo>
                    <a:pt x="13538" y="3547"/>
                  </a:lnTo>
                  <a:lnTo>
                    <a:pt x="13536" y="3556"/>
                  </a:lnTo>
                  <a:lnTo>
                    <a:pt x="13532" y="3562"/>
                  </a:lnTo>
                  <a:lnTo>
                    <a:pt x="13525" y="3566"/>
                  </a:lnTo>
                  <a:lnTo>
                    <a:pt x="13518" y="3567"/>
                  </a:lnTo>
                  <a:lnTo>
                    <a:pt x="13510" y="3566"/>
                  </a:lnTo>
                  <a:lnTo>
                    <a:pt x="13504" y="3562"/>
                  </a:lnTo>
                  <a:lnTo>
                    <a:pt x="13500" y="3556"/>
                  </a:lnTo>
                  <a:lnTo>
                    <a:pt x="13497" y="3547"/>
                  </a:lnTo>
                  <a:lnTo>
                    <a:pt x="13497" y="3436"/>
                  </a:lnTo>
                  <a:lnTo>
                    <a:pt x="13500" y="3427"/>
                  </a:lnTo>
                  <a:lnTo>
                    <a:pt x="13504" y="3420"/>
                  </a:lnTo>
                  <a:lnTo>
                    <a:pt x="13510" y="3416"/>
                  </a:lnTo>
                  <a:lnTo>
                    <a:pt x="13518" y="3415"/>
                  </a:lnTo>
                  <a:lnTo>
                    <a:pt x="13525" y="3416"/>
                  </a:lnTo>
                  <a:lnTo>
                    <a:pt x="13532" y="3420"/>
                  </a:lnTo>
                  <a:lnTo>
                    <a:pt x="13536" y="3427"/>
                  </a:lnTo>
                  <a:lnTo>
                    <a:pt x="13538" y="3436"/>
                  </a:lnTo>
                  <a:close/>
                  <a:moveTo>
                    <a:pt x="13274" y="3436"/>
                  </a:moveTo>
                  <a:lnTo>
                    <a:pt x="13274" y="3547"/>
                  </a:lnTo>
                  <a:lnTo>
                    <a:pt x="13273" y="3556"/>
                  </a:lnTo>
                  <a:lnTo>
                    <a:pt x="13269" y="3562"/>
                  </a:lnTo>
                  <a:lnTo>
                    <a:pt x="13263" y="3566"/>
                  </a:lnTo>
                  <a:lnTo>
                    <a:pt x="13255" y="3567"/>
                  </a:lnTo>
                  <a:lnTo>
                    <a:pt x="13247" y="3566"/>
                  </a:lnTo>
                  <a:lnTo>
                    <a:pt x="13241" y="3562"/>
                  </a:lnTo>
                  <a:lnTo>
                    <a:pt x="13237" y="3556"/>
                  </a:lnTo>
                  <a:lnTo>
                    <a:pt x="13234" y="3547"/>
                  </a:lnTo>
                  <a:lnTo>
                    <a:pt x="13234" y="3436"/>
                  </a:lnTo>
                  <a:lnTo>
                    <a:pt x="13237" y="3427"/>
                  </a:lnTo>
                  <a:lnTo>
                    <a:pt x="13241" y="3420"/>
                  </a:lnTo>
                  <a:lnTo>
                    <a:pt x="13247" y="3416"/>
                  </a:lnTo>
                  <a:lnTo>
                    <a:pt x="13255" y="3415"/>
                  </a:lnTo>
                  <a:lnTo>
                    <a:pt x="13263" y="3416"/>
                  </a:lnTo>
                  <a:lnTo>
                    <a:pt x="13269" y="3420"/>
                  </a:lnTo>
                  <a:lnTo>
                    <a:pt x="13273" y="3427"/>
                  </a:lnTo>
                  <a:lnTo>
                    <a:pt x="13274" y="3436"/>
                  </a:lnTo>
                  <a:close/>
                  <a:moveTo>
                    <a:pt x="13011" y="3436"/>
                  </a:moveTo>
                  <a:lnTo>
                    <a:pt x="13011" y="3547"/>
                  </a:lnTo>
                  <a:lnTo>
                    <a:pt x="13010" y="3556"/>
                  </a:lnTo>
                  <a:lnTo>
                    <a:pt x="13005" y="3562"/>
                  </a:lnTo>
                  <a:lnTo>
                    <a:pt x="12998" y="3566"/>
                  </a:lnTo>
                  <a:lnTo>
                    <a:pt x="12992" y="3567"/>
                  </a:lnTo>
                  <a:lnTo>
                    <a:pt x="12984" y="3566"/>
                  </a:lnTo>
                  <a:lnTo>
                    <a:pt x="12978" y="3562"/>
                  </a:lnTo>
                  <a:lnTo>
                    <a:pt x="12973" y="3556"/>
                  </a:lnTo>
                  <a:lnTo>
                    <a:pt x="12972" y="3547"/>
                  </a:lnTo>
                  <a:lnTo>
                    <a:pt x="12972" y="3436"/>
                  </a:lnTo>
                  <a:lnTo>
                    <a:pt x="12973" y="3427"/>
                  </a:lnTo>
                  <a:lnTo>
                    <a:pt x="12978" y="3420"/>
                  </a:lnTo>
                  <a:lnTo>
                    <a:pt x="12984" y="3416"/>
                  </a:lnTo>
                  <a:lnTo>
                    <a:pt x="12992" y="3415"/>
                  </a:lnTo>
                  <a:lnTo>
                    <a:pt x="12998" y="3416"/>
                  </a:lnTo>
                  <a:lnTo>
                    <a:pt x="13005" y="3420"/>
                  </a:lnTo>
                  <a:lnTo>
                    <a:pt x="13010" y="3427"/>
                  </a:lnTo>
                  <a:lnTo>
                    <a:pt x="13011" y="3436"/>
                  </a:lnTo>
                  <a:close/>
                  <a:moveTo>
                    <a:pt x="12748" y="3436"/>
                  </a:moveTo>
                  <a:lnTo>
                    <a:pt x="12748" y="3547"/>
                  </a:lnTo>
                  <a:lnTo>
                    <a:pt x="12747" y="3556"/>
                  </a:lnTo>
                  <a:lnTo>
                    <a:pt x="12742" y="3562"/>
                  </a:lnTo>
                  <a:lnTo>
                    <a:pt x="12736" y="3566"/>
                  </a:lnTo>
                  <a:lnTo>
                    <a:pt x="12729" y="3567"/>
                  </a:lnTo>
                  <a:lnTo>
                    <a:pt x="12721" y="3566"/>
                  </a:lnTo>
                  <a:lnTo>
                    <a:pt x="12715" y="3562"/>
                  </a:lnTo>
                  <a:lnTo>
                    <a:pt x="12710" y="3556"/>
                  </a:lnTo>
                  <a:lnTo>
                    <a:pt x="12709" y="3547"/>
                  </a:lnTo>
                  <a:lnTo>
                    <a:pt x="12709" y="3436"/>
                  </a:lnTo>
                  <a:lnTo>
                    <a:pt x="12710" y="3427"/>
                  </a:lnTo>
                  <a:lnTo>
                    <a:pt x="12715" y="3420"/>
                  </a:lnTo>
                  <a:lnTo>
                    <a:pt x="12721" y="3416"/>
                  </a:lnTo>
                  <a:lnTo>
                    <a:pt x="12729" y="3415"/>
                  </a:lnTo>
                  <a:lnTo>
                    <a:pt x="12736" y="3416"/>
                  </a:lnTo>
                  <a:lnTo>
                    <a:pt x="12742" y="3420"/>
                  </a:lnTo>
                  <a:lnTo>
                    <a:pt x="12747" y="3427"/>
                  </a:lnTo>
                  <a:lnTo>
                    <a:pt x="12748" y="3436"/>
                  </a:lnTo>
                  <a:close/>
                  <a:moveTo>
                    <a:pt x="12486" y="3436"/>
                  </a:moveTo>
                  <a:lnTo>
                    <a:pt x="12486" y="3547"/>
                  </a:lnTo>
                  <a:lnTo>
                    <a:pt x="12484" y="3556"/>
                  </a:lnTo>
                  <a:lnTo>
                    <a:pt x="12479" y="3562"/>
                  </a:lnTo>
                  <a:lnTo>
                    <a:pt x="12473" y="3566"/>
                  </a:lnTo>
                  <a:lnTo>
                    <a:pt x="12465" y="3567"/>
                  </a:lnTo>
                  <a:lnTo>
                    <a:pt x="12459" y="3566"/>
                  </a:lnTo>
                  <a:lnTo>
                    <a:pt x="12452" y="3562"/>
                  </a:lnTo>
                  <a:lnTo>
                    <a:pt x="12447" y="3556"/>
                  </a:lnTo>
                  <a:lnTo>
                    <a:pt x="12446" y="3547"/>
                  </a:lnTo>
                  <a:lnTo>
                    <a:pt x="12446" y="3436"/>
                  </a:lnTo>
                  <a:lnTo>
                    <a:pt x="12447" y="3427"/>
                  </a:lnTo>
                  <a:lnTo>
                    <a:pt x="12452" y="3420"/>
                  </a:lnTo>
                  <a:lnTo>
                    <a:pt x="12459" y="3416"/>
                  </a:lnTo>
                  <a:lnTo>
                    <a:pt x="12465" y="3415"/>
                  </a:lnTo>
                  <a:lnTo>
                    <a:pt x="12473" y="3416"/>
                  </a:lnTo>
                  <a:lnTo>
                    <a:pt x="12479" y="3420"/>
                  </a:lnTo>
                  <a:lnTo>
                    <a:pt x="12484" y="3427"/>
                  </a:lnTo>
                  <a:lnTo>
                    <a:pt x="12486" y="3436"/>
                  </a:lnTo>
                  <a:close/>
                  <a:moveTo>
                    <a:pt x="10933" y="2423"/>
                  </a:moveTo>
                  <a:lnTo>
                    <a:pt x="10933" y="2535"/>
                  </a:lnTo>
                  <a:lnTo>
                    <a:pt x="10931" y="2543"/>
                  </a:lnTo>
                  <a:lnTo>
                    <a:pt x="10926" y="2549"/>
                  </a:lnTo>
                  <a:lnTo>
                    <a:pt x="10920" y="2553"/>
                  </a:lnTo>
                  <a:lnTo>
                    <a:pt x="10912" y="2555"/>
                  </a:lnTo>
                  <a:lnTo>
                    <a:pt x="10906" y="2553"/>
                  </a:lnTo>
                  <a:lnTo>
                    <a:pt x="10899" y="2549"/>
                  </a:lnTo>
                  <a:lnTo>
                    <a:pt x="10894" y="2543"/>
                  </a:lnTo>
                  <a:lnTo>
                    <a:pt x="10893" y="2535"/>
                  </a:lnTo>
                  <a:lnTo>
                    <a:pt x="10893" y="2423"/>
                  </a:lnTo>
                  <a:lnTo>
                    <a:pt x="10894" y="2414"/>
                  </a:lnTo>
                  <a:lnTo>
                    <a:pt x="10899" y="2407"/>
                  </a:lnTo>
                  <a:lnTo>
                    <a:pt x="10906" y="2404"/>
                  </a:lnTo>
                  <a:lnTo>
                    <a:pt x="10912" y="2402"/>
                  </a:lnTo>
                  <a:lnTo>
                    <a:pt x="10920" y="2404"/>
                  </a:lnTo>
                  <a:lnTo>
                    <a:pt x="10926" y="2407"/>
                  </a:lnTo>
                  <a:lnTo>
                    <a:pt x="10931" y="2414"/>
                  </a:lnTo>
                  <a:lnTo>
                    <a:pt x="10933" y="2423"/>
                  </a:lnTo>
                  <a:close/>
                  <a:moveTo>
                    <a:pt x="10670" y="2423"/>
                  </a:moveTo>
                  <a:lnTo>
                    <a:pt x="10670" y="2535"/>
                  </a:lnTo>
                  <a:lnTo>
                    <a:pt x="10669" y="2543"/>
                  </a:lnTo>
                  <a:lnTo>
                    <a:pt x="10663" y="2549"/>
                  </a:lnTo>
                  <a:lnTo>
                    <a:pt x="10657" y="2553"/>
                  </a:lnTo>
                  <a:lnTo>
                    <a:pt x="10649" y="2555"/>
                  </a:lnTo>
                  <a:lnTo>
                    <a:pt x="10643" y="2553"/>
                  </a:lnTo>
                  <a:lnTo>
                    <a:pt x="10637" y="2549"/>
                  </a:lnTo>
                  <a:lnTo>
                    <a:pt x="10631" y="2543"/>
                  </a:lnTo>
                  <a:lnTo>
                    <a:pt x="10630" y="2535"/>
                  </a:lnTo>
                  <a:lnTo>
                    <a:pt x="10630" y="2423"/>
                  </a:lnTo>
                  <a:lnTo>
                    <a:pt x="10631" y="2414"/>
                  </a:lnTo>
                  <a:lnTo>
                    <a:pt x="10637" y="2407"/>
                  </a:lnTo>
                  <a:lnTo>
                    <a:pt x="10643" y="2404"/>
                  </a:lnTo>
                  <a:lnTo>
                    <a:pt x="10649" y="2402"/>
                  </a:lnTo>
                  <a:lnTo>
                    <a:pt x="10657" y="2404"/>
                  </a:lnTo>
                  <a:lnTo>
                    <a:pt x="10663" y="2407"/>
                  </a:lnTo>
                  <a:lnTo>
                    <a:pt x="10669" y="2414"/>
                  </a:lnTo>
                  <a:lnTo>
                    <a:pt x="10670" y="2423"/>
                  </a:lnTo>
                  <a:close/>
                  <a:moveTo>
                    <a:pt x="10407" y="2423"/>
                  </a:moveTo>
                  <a:lnTo>
                    <a:pt x="10407" y="2535"/>
                  </a:lnTo>
                  <a:lnTo>
                    <a:pt x="10404" y="2543"/>
                  </a:lnTo>
                  <a:lnTo>
                    <a:pt x="10401" y="2549"/>
                  </a:lnTo>
                  <a:lnTo>
                    <a:pt x="10394" y="2553"/>
                  </a:lnTo>
                  <a:lnTo>
                    <a:pt x="10386" y="2555"/>
                  </a:lnTo>
                  <a:lnTo>
                    <a:pt x="10379" y="2553"/>
                  </a:lnTo>
                  <a:lnTo>
                    <a:pt x="10372" y="2549"/>
                  </a:lnTo>
                  <a:lnTo>
                    <a:pt x="10369" y="2543"/>
                  </a:lnTo>
                  <a:lnTo>
                    <a:pt x="10366" y="2535"/>
                  </a:lnTo>
                  <a:lnTo>
                    <a:pt x="10366" y="2423"/>
                  </a:lnTo>
                  <a:lnTo>
                    <a:pt x="10369" y="2414"/>
                  </a:lnTo>
                  <a:lnTo>
                    <a:pt x="10372" y="2407"/>
                  </a:lnTo>
                  <a:lnTo>
                    <a:pt x="10379" y="2404"/>
                  </a:lnTo>
                  <a:lnTo>
                    <a:pt x="10386" y="2402"/>
                  </a:lnTo>
                  <a:lnTo>
                    <a:pt x="10394" y="2404"/>
                  </a:lnTo>
                  <a:lnTo>
                    <a:pt x="10401" y="2407"/>
                  </a:lnTo>
                  <a:lnTo>
                    <a:pt x="10404" y="2414"/>
                  </a:lnTo>
                  <a:lnTo>
                    <a:pt x="10407" y="2423"/>
                  </a:lnTo>
                  <a:close/>
                  <a:moveTo>
                    <a:pt x="10143" y="2423"/>
                  </a:moveTo>
                  <a:lnTo>
                    <a:pt x="10143" y="2535"/>
                  </a:lnTo>
                  <a:lnTo>
                    <a:pt x="10142" y="2543"/>
                  </a:lnTo>
                  <a:lnTo>
                    <a:pt x="10138" y="2549"/>
                  </a:lnTo>
                  <a:lnTo>
                    <a:pt x="10131" y="2553"/>
                  </a:lnTo>
                  <a:lnTo>
                    <a:pt x="10124" y="2555"/>
                  </a:lnTo>
                  <a:lnTo>
                    <a:pt x="10116" y="2553"/>
                  </a:lnTo>
                  <a:lnTo>
                    <a:pt x="10109" y="2549"/>
                  </a:lnTo>
                  <a:lnTo>
                    <a:pt x="10106" y="2543"/>
                  </a:lnTo>
                  <a:lnTo>
                    <a:pt x="10103" y="2535"/>
                  </a:lnTo>
                  <a:lnTo>
                    <a:pt x="10103" y="2423"/>
                  </a:lnTo>
                  <a:lnTo>
                    <a:pt x="10106" y="2414"/>
                  </a:lnTo>
                  <a:lnTo>
                    <a:pt x="10109" y="2407"/>
                  </a:lnTo>
                  <a:lnTo>
                    <a:pt x="10116" y="2404"/>
                  </a:lnTo>
                  <a:lnTo>
                    <a:pt x="10124" y="2402"/>
                  </a:lnTo>
                  <a:lnTo>
                    <a:pt x="10131" y="2404"/>
                  </a:lnTo>
                  <a:lnTo>
                    <a:pt x="10138" y="2407"/>
                  </a:lnTo>
                  <a:lnTo>
                    <a:pt x="10142" y="2414"/>
                  </a:lnTo>
                  <a:lnTo>
                    <a:pt x="10143" y="2423"/>
                  </a:lnTo>
                  <a:close/>
                  <a:moveTo>
                    <a:pt x="9880" y="2423"/>
                  </a:moveTo>
                  <a:lnTo>
                    <a:pt x="9880" y="2535"/>
                  </a:lnTo>
                  <a:lnTo>
                    <a:pt x="9879" y="2543"/>
                  </a:lnTo>
                  <a:lnTo>
                    <a:pt x="9874" y="2549"/>
                  </a:lnTo>
                  <a:lnTo>
                    <a:pt x="9867" y="2553"/>
                  </a:lnTo>
                  <a:lnTo>
                    <a:pt x="9861" y="2555"/>
                  </a:lnTo>
                  <a:lnTo>
                    <a:pt x="9853" y="2553"/>
                  </a:lnTo>
                  <a:lnTo>
                    <a:pt x="9847" y="2549"/>
                  </a:lnTo>
                  <a:lnTo>
                    <a:pt x="9841" y="2543"/>
                  </a:lnTo>
                  <a:lnTo>
                    <a:pt x="9840" y="2535"/>
                  </a:lnTo>
                  <a:lnTo>
                    <a:pt x="9840" y="2423"/>
                  </a:lnTo>
                  <a:lnTo>
                    <a:pt x="9841" y="2414"/>
                  </a:lnTo>
                  <a:lnTo>
                    <a:pt x="9847" y="2407"/>
                  </a:lnTo>
                  <a:lnTo>
                    <a:pt x="9853" y="2404"/>
                  </a:lnTo>
                  <a:lnTo>
                    <a:pt x="9861" y="2402"/>
                  </a:lnTo>
                  <a:lnTo>
                    <a:pt x="9867" y="2404"/>
                  </a:lnTo>
                  <a:lnTo>
                    <a:pt x="9874" y="2407"/>
                  </a:lnTo>
                  <a:lnTo>
                    <a:pt x="9879" y="2414"/>
                  </a:lnTo>
                  <a:lnTo>
                    <a:pt x="9880" y="2423"/>
                  </a:lnTo>
                  <a:close/>
                  <a:moveTo>
                    <a:pt x="9617" y="2423"/>
                  </a:moveTo>
                  <a:lnTo>
                    <a:pt x="9617" y="2535"/>
                  </a:lnTo>
                  <a:lnTo>
                    <a:pt x="9616" y="2543"/>
                  </a:lnTo>
                  <a:lnTo>
                    <a:pt x="9611" y="2549"/>
                  </a:lnTo>
                  <a:lnTo>
                    <a:pt x="9604" y="2553"/>
                  </a:lnTo>
                  <a:lnTo>
                    <a:pt x="9598" y="2555"/>
                  </a:lnTo>
                  <a:lnTo>
                    <a:pt x="9590" y="2553"/>
                  </a:lnTo>
                  <a:lnTo>
                    <a:pt x="9584" y="2549"/>
                  </a:lnTo>
                  <a:lnTo>
                    <a:pt x="9579" y="2543"/>
                  </a:lnTo>
                  <a:lnTo>
                    <a:pt x="9577" y="2535"/>
                  </a:lnTo>
                  <a:lnTo>
                    <a:pt x="9577" y="2423"/>
                  </a:lnTo>
                  <a:lnTo>
                    <a:pt x="9579" y="2414"/>
                  </a:lnTo>
                  <a:lnTo>
                    <a:pt x="9584" y="2407"/>
                  </a:lnTo>
                  <a:lnTo>
                    <a:pt x="9590" y="2404"/>
                  </a:lnTo>
                  <a:lnTo>
                    <a:pt x="9598" y="2402"/>
                  </a:lnTo>
                  <a:lnTo>
                    <a:pt x="9604" y="2404"/>
                  </a:lnTo>
                  <a:lnTo>
                    <a:pt x="9611" y="2407"/>
                  </a:lnTo>
                  <a:lnTo>
                    <a:pt x="9616" y="2414"/>
                  </a:lnTo>
                  <a:lnTo>
                    <a:pt x="9617" y="2423"/>
                  </a:lnTo>
                  <a:close/>
                  <a:moveTo>
                    <a:pt x="16589" y="796"/>
                  </a:moveTo>
                  <a:lnTo>
                    <a:pt x="16589" y="847"/>
                  </a:lnTo>
                  <a:lnTo>
                    <a:pt x="16588" y="859"/>
                  </a:lnTo>
                  <a:lnTo>
                    <a:pt x="16584" y="869"/>
                  </a:lnTo>
                  <a:lnTo>
                    <a:pt x="16576" y="878"/>
                  </a:lnTo>
                  <a:lnTo>
                    <a:pt x="16566" y="883"/>
                  </a:lnTo>
                  <a:lnTo>
                    <a:pt x="16556" y="890"/>
                  </a:lnTo>
                  <a:lnTo>
                    <a:pt x="16547" y="896"/>
                  </a:lnTo>
                  <a:lnTo>
                    <a:pt x="16534" y="913"/>
                  </a:lnTo>
                  <a:lnTo>
                    <a:pt x="16529" y="923"/>
                  </a:lnTo>
                  <a:lnTo>
                    <a:pt x="16526" y="934"/>
                  </a:lnTo>
                  <a:lnTo>
                    <a:pt x="16526" y="956"/>
                  </a:lnTo>
                  <a:lnTo>
                    <a:pt x="16530" y="968"/>
                  </a:lnTo>
                  <a:lnTo>
                    <a:pt x="16535" y="978"/>
                  </a:lnTo>
                  <a:lnTo>
                    <a:pt x="16541" y="987"/>
                  </a:lnTo>
                  <a:lnTo>
                    <a:pt x="16549" y="996"/>
                  </a:lnTo>
                  <a:lnTo>
                    <a:pt x="16568" y="1006"/>
                  </a:lnTo>
                  <a:lnTo>
                    <a:pt x="16591" y="1011"/>
                  </a:lnTo>
                  <a:lnTo>
                    <a:pt x="16604" y="1009"/>
                  </a:lnTo>
                  <a:lnTo>
                    <a:pt x="16617" y="1005"/>
                  </a:lnTo>
                  <a:lnTo>
                    <a:pt x="16629" y="1000"/>
                  </a:lnTo>
                  <a:lnTo>
                    <a:pt x="16638" y="991"/>
                  </a:lnTo>
                  <a:lnTo>
                    <a:pt x="16647" y="982"/>
                  </a:lnTo>
                  <a:lnTo>
                    <a:pt x="16652" y="970"/>
                  </a:lnTo>
                  <a:lnTo>
                    <a:pt x="16656" y="957"/>
                  </a:lnTo>
                  <a:lnTo>
                    <a:pt x="16657" y="945"/>
                  </a:lnTo>
                  <a:lnTo>
                    <a:pt x="16659" y="936"/>
                  </a:lnTo>
                  <a:lnTo>
                    <a:pt x="16663" y="929"/>
                  </a:lnTo>
                  <a:lnTo>
                    <a:pt x="16670" y="925"/>
                  </a:lnTo>
                  <a:lnTo>
                    <a:pt x="16677" y="924"/>
                  </a:lnTo>
                  <a:lnTo>
                    <a:pt x="16685" y="925"/>
                  </a:lnTo>
                  <a:lnTo>
                    <a:pt x="16691" y="929"/>
                  </a:lnTo>
                  <a:lnTo>
                    <a:pt x="16695" y="936"/>
                  </a:lnTo>
                  <a:lnTo>
                    <a:pt x="16698" y="945"/>
                  </a:lnTo>
                  <a:lnTo>
                    <a:pt x="16695" y="966"/>
                  </a:lnTo>
                  <a:lnTo>
                    <a:pt x="16689" y="986"/>
                  </a:lnTo>
                  <a:lnTo>
                    <a:pt x="16679" y="1003"/>
                  </a:lnTo>
                  <a:lnTo>
                    <a:pt x="16666" y="1020"/>
                  </a:lnTo>
                  <a:lnTo>
                    <a:pt x="16650" y="1033"/>
                  </a:lnTo>
                  <a:lnTo>
                    <a:pt x="16632" y="1042"/>
                  </a:lnTo>
                  <a:lnTo>
                    <a:pt x="16612" y="1048"/>
                  </a:lnTo>
                  <a:lnTo>
                    <a:pt x="16591" y="1051"/>
                  </a:lnTo>
                  <a:lnTo>
                    <a:pt x="16572" y="1048"/>
                  </a:lnTo>
                  <a:lnTo>
                    <a:pt x="16556" y="1044"/>
                  </a:lnTo>
                  <a:lnTo>
                    <a:pt x="16539" y="1037"/>
                  </a:lnTo>
                  <a:lnTo>
                    <a:pt x="16523" y="1025"/>
                  </a:lnTo>
                  <a:lnTo>
                    <a:pt x="16511" y="1014"/>
                  </a:lnTo>
                  <a:lnTo>
                    <a:pt x="16500" y="998"/>
                  </a:lnTo>
                  <a:lnTo>
                    <a:pt x="16495" y="991"/>
                  </a:lnTo>
                  <a:lnTo>
                    <a:pt x="16491" y="982"/>
                  </a:lnTo>
                  <a:lnTo>
                    <a:pt x="16488" y="964"/>
                  </a:lnTo>
                  <a:lnTo>
                    <a:pt x="16485" y="945"/>
                  </a:lnTo>
                  <a:lnTo>
                    <a:pt x="16486" y="928"/>
                  </a:lnTo>
                  <a:lnTo>
                    <a:pt x="16490" y="910"/>
                  </a:lnTo>
                  <a:lnTo>
                    <a:pt x="16498" y="895"/>
                  </a:lnTo>
                  <a:lnTo>
                    <a:pt x="16507" y="879"/>
                  </a:lnTo>
                  <a:lnTo>
                    <a:pt x="16518" y="867"/>
                  </a:lnTo>
                  <a:lnTo>
                    <a:pt x="16532" y="856"/>
                  </a:lnTo>
                  <a:lnTo>
                    <a:pt x="16549" y="847"/>
                  </a:lnTo>
                  <a:lnTo>
                    <a:pt x="16549" y="796"/>
                  </a:lnTo>
                  <a:lnTo>
                    <a:pt x="16550" y="787"/>
                  </a:lnTo>
                  <a:lnTo>
                    <a:pt x="16556" y="782"/>
                  </a:lnTo>
                  <a:lnTo>
                    <a:pt x="16562" y="778"/>
                  </a:lnTo>
                  <a:lnTo>
                    <a:pt x="16568" y="777"/>
                  </a:lnTo>
                  <a:lnTo>
                    <a:pt x="16576" y="778"/>
                  </a:lnTo>
                  <a:lnTo>
                    <a:pt x="16582" y="782"/>
                  </a:lnTo>
                  <a:lnTo>
                    <a:pt x="16588" y="787"/>
                  </a:lnTo>
                  <a:lnTo>
                    <a:pt x="16589" y="796"/>
                  </a:lnTo>
                  <a:close/>
                  <a:moveTo>
                    <a:pt x="17183" y="112"/>
                  </a:moveTo>
                  <a:lnTo>
                    <a:pt x="17100" y="225"/>
                  </a:lnTo>
                  <a:lnTo>
                    <a:pt x="17100" y="309"/>
                  </a:lnTo>
                  <a:lnTo>
                    <a:pt x="17183" y="309"/>
                  </a:lnTo>
                  <a:lnTo>
                    <a:pt x="17183" y="112"/>
                  </a:lnTo>
                  <a:close/>
                  <a:moveTo>
                    <a:pt x="17059" y="309"/>
                  </a:moveTo>
                  <a:lnTo>
                    <a:pt x="17059" y="218"/>
                  </a:lnTo>
                  <a:lnTo>
                    <a:pt x="17063" y="207"/>
                  </a:lnTo>
                  <a:lnTo>
                    <a:pt x="17175" y="55"/>
                  </a:lnTo>
                  <a:lnTo>
                    <a:pt x="16382" y="309"/>
                  </a:lnTo>
                  <a:lnTo>
                    <a:pt x="16906" y="309"/>
                  </a:lnTo>
                  <a:lnTo>
                    <a:pt x="17015" y="309"/>
                  </a:lnTo>
                  <a:lnTo>
                    <a:pt x="17059" y="309"/>
                  </a:lnTo>
                  <a:close/>
                  <a:moveTo>
                    <a:pt x="17222" y="309"/>
                  </a:moveTo>
                  <a:lnTo>
                    <a:pt x="17388" y="309"/>
                  </a:lnTo>
                  <a:lnTo>
                    <a:pt x="17222" y="80"/>
                  </a:lnTo>
                  <a:lnTo>
                    <a:pt x="17222" y="309"/>
                  </a:lnTo>
                  <a:close/>
                  <a:moveTo>
                    <a:pt x="17183" y="481"/>
                  </a:moveTo>
                  <a:lnTo>
                    <a:pt x="17015" y="481"/>
                  </a:lnTo>
                  <a:lnTo>
                    <a:pt x="17007" y="478"/>
                  </a:lnTo>
                  <a:lnTo>
                    <a:pt x="17000" y="474"/>
                  </a:lnTo>
                  <a:lnTo>
                    <a:pt x="16995" y="468"/>
                  </a:lnTo>
                  <a:lnTo>
                    <a:pt x="16994" y="460"/>
                  </a:lnTo>
                  <a:lnTo>
                    <a:pt x="16994" y="349"/>
                  </a:lnTo>
                  <a:lnTo>
                    <a:pt x="16926" y="349"/>
                  </a:lnTo>
                  <a:lnTo>
                    <a:pt x="16926" y="552"/>
                  </a:lnTo>
                  <a:lnTo>
                    <a:pt x="17067" y="552"/>
                  </a:lnTo>
                  <a:lnTo>
                    <a:pt x="17183" y="552"/>
                  </a:lnTo>
                  <a:lnTo>
                    <a:pt x="17183" y="481"/>
                  </a:lnTo>
                  <a:close/>
                  <a:moveTo>
                    <a:pt x="17222" y="349"/>
                  </a:moveTo>
                  <a:lnTo>
                    <a:pt x="17222" y="460"/>
                  </a:lnTo>
                  <a:lnTo>
                    <a:pt x="17222" y="573"/>
                  </a:lnTo>
                  <a:lnTo>
                    <a:pt x="17222" y="1413"/>
                  </a:lnTo>
                  <a:lnTo>
                    <a:pt x="17222" y="2253"/>
                  </a:lnTo>
                  <a:lnTo>
                    <a:pt x="17220" y="2262"/>
                  </a:lnTo>
                  <a:lnTo>
                    <a:pt x="17216" y="2268"/>
                  </a:lnTo>
                  <a:lnTo>
                    <a:pt x="17209" y="2272"/>
                  </a:lnTo>
                  <a:lnTo>
                    <a:pt x="17202" y="2273"/>
                  </a:lnTo>
                  <a:lnTo>
                    <a:pt x="17194" y="2272"/>
                  </a:lnTo>
                  <a:lnTo>
                    <a:pt x="17188" y="2268"/>
                  </a:lnTo>
                  <a:lnTo>
                    <a:pt x="17184" y="2262"/>
                  </a:lnTo>
                  <a:lnTo>
                    <a:pt x="17183" y="2253"/>
                  </a:lnTo>
                  <a:lnTo>
                    <a:pt x="17183" y="1422"/>
                  </a:lnTo>
                  <a:lnTo>
                    <a:pt x="17183" y="592"/>
                  </a:lnTo>
                  <a:lnTo>
                    <a:pt x="17088" y="592"/>
                  </a:lnTo>
                  <a:lnTo>
                    <a:pt x="17088" y="1422"/>
                  </a:lnTo>
                  <a:lnTo>
                    <a:pt x="17088" y="2253"/>
                  </a:lnTo>
                  <a:lnTo>
                    <a:pt x="17085" y="2262"/>
                  </a:lnTo>
                  <a:lnTo>
                    <a:pt x="17081" y="2268"/>
                  </a:lnTo>
                  <a:lnTo>
                    <a:pt x="17075" y="2272"/>
                  </a:lnTo>
                  <a:lnTo>
                    <a:pt x="17067" y="2273"/>
                  </a:lnTo>
                  <a:lnTo>
                    <a:pt x="17059" y="2272"/>
                  </a:lnTo>
                  <a:lnTo>
                    <a:pt x="17053" y="2268"/>
                  </a:lnTo>
                  <a:lnTo>
                    <a:pt x="17049" y="2262"/>
                  </a:lnTo>
                  <a:lnTo>
                    <a:pt x="17047" y="2253"/>
                  </a:lnTo>
                  <a:lnTo>
                    <a:pt x="17047" y="1422"/>
                  </a:lnTo>
                  <a:lnTo>
                    <a:pt x="17047" y="592"/>
                  </a:lnTo>
                  <a:lnTo>
                    <a:pt x="16906" y="592"/>
                  </a:lnTo>
                  <a:lnTo>
                    <a:pt x="16898" y="590"/>
                  </a:lnTo>
                  <a:lnTo>
                    <a:pt x="16891" y="587"/>
                  </a:lnTo>
                  <a:lnTo>
                    <a:pt x="16888" y="580"/>
                  </a:lnTo>
                  <a:lnTo>
                    <a:pt x="16886" y="573"/>
                  </a:lnTo>
                  <a:lnTo>
                    <a:pt x="16886" y="349"/>
                  </a:lnTo>
                  <a:lnTo>
                    <a:pt x="16584" y="349"/>
                  </a:lnTo>
                  <a:lnTo>
                    <a:pt x="16584" y="740"/>
                  </a:lnTo>
                  <a:lnTo>
                    <a:pt x="16581" y="749"/>
                  </a:lnTo>
                  <a:lnTo>
                    <a:pt x="16577" y="755"/>
                  </a:lnTo>
                  <a:lnTo>
                    <a:pt x="16571" y="759"/>
                  </a:lnTo>
                  <a:lnTo>
                    <a:pt x="16563" y="761"/>
                  </a:lnTo>
                  <a:lnTo>
                    <a:pt x="16556" y="759"/>
                  </a:lnTo>
                  <a:lnTo>
                    <a:pt x="16549" y="755"/>
                  </a:lnTo>
                  <a:lnTo>
                    <a:pt x="16545" y="749"/>
                  </a:lnTo>
                  <a:lnTo>
                    <a:pt x="16544" y="740"/>
                  </a:lnTo>
                  <a:lnTo>
                    <a:pt x="16544" y="349"/>
                  </a:lnTo>
                  <a:lnTo>
                    <a:pt x="16255" y="349"/>
                  </a:lnTo>
                  <a:lnTo>
                    <a:pt x="16246" y="348"/>
                  </a:lnTo>
                  <a:lnTo>
                    <a:pt x="16239" y="344"/>
                  </a:lnTo>
                  <a:lnTo>
                    <a:pt x="16235" y="339"/>
                  </a:lnTo>
                  <a:lnTo>
                    <a:pt x="16232" y="332"/>
                  </a:lnTo>
                  <a:lnTo>
                    <a:pt x="16232" y="326"/>
                  </a:lnTo>
                  <a:lnTo>
                    <a:pt x="16235" y="319"/>
                  </a:lnTo>
                  <a:lnTo>
                    <a:pt x="16241" y="314"/>
                  </a:lnTo>
                  <a:lnTo>
                    <a:pt x="16249" y="310"/>
                  </a:lnTo>
                  <a:lnTo>
                    <a:pt x="17184" y="9"/>
                  </a:lnTo>
                  <a:lnTo>
                    <a:pt x="17188" y="5"/>
                  </a:lnTo>
                  <a:lnTo>
                    <a:pt x="17192" y="2"/>
                  </a:lnTo>
                  <a:lnTo>
                    <a:pt x="17203" y="0"/>
                  </a:lnTo>
                  <a:lnTo>
                    <a:pt x="17213" y="2"/>
                  </a:lnTo>
                  <a:lnTo>
                    <a:pt x="17220" y="10"/>
                  </a:lnTo>
                  <a:lnTo>
                    <a:pt x="17443" y="317"/>
                  </a:lnTo>
                  <a:lnTo>
                    <a:pt x="17447" y="323"/>
                  </a:lnTo>
                  <a:lnTo>
                    <a:pt x="17449" y="328"/>
                  </a:lnTo>
                  <a:lnTo>
                    <a:pt x="17447" y="339"/>
                  </a:lnTo>
                  <a:lnTo>
                    <a:pt x="17440" y="346"/>
                  </a:lnTo>
                  <a:lnTo>
                    <a:pt x="17427" y="349"/>
                  </a:lnTo>
                  <a:lnTo>
                    <a:pt x="17222" y="349"/>
                  </a:lnTo>
                  <a:close/>
                  <a:moveTo>
                    <a:pt x="17183" y="349"/>
                  </a:moveTo>
                  <a:lnTo>
                    <a:pt x="17034" y="349"/>
                  </a:lnTo>
                  <a:lnTo>
                    <a:pt x="17034" y="440"/>
                  </a:lnTo>
                  <a:lnTo>
                    <a:pt x="17183" y="440"/>
                  </a:lnTo>
                  <a:lnTo>
                    <a:pt x="17183" y="349"/>
                  </a:lnTo>
                  <a:close/>
                  <a:moveTo>
                    <a:pt x="15662" y="1363"/>
                  </a:moveTo>
                  <a:lnTo>
                    <a:pt x="15676" y="1370"/>
                  </a:lnTo>
                  <a:lnTo>
                    <a:pt x="15687" y="1379"/>
                  </a:lnTo>
                  <a:lnTo>
                    <a:pt x="15696" y="1391"/>
                  </a:lnTo>
                  <a:lnTo>
                    <a:pt x="15704" y="1404"/>
                  </a:lnTo>
                  <a:lnTo>
                    <a:pt x="15709" y="1417"/>
                  </a:lnTo>
                  <a:lnTo>
                    <a:pt x="15713" y="1431"/>
                  </a:lnTo>
                  <a:lnTo>
                    <a:pt x="15713" y="1461"/>
                  </a:lnTo>
                  <a:lnTo>
                    <a:pt x="15709" y="1477"/>
                  </a:lnTo>
                  <a:lnTo>
                    <a:pt x="15702" y="1491"/>
                  </a:lnTo>
                  <a:lnTo>
                    <a:pt x="15693" y="1503"/>
                  </a:lnTo>
                  <a:lnTo>
                    <a:pt x="15681" y="1515"/>
                  </a:lnTo>
                  <a:lnTo>
                    <a:pt x="15668" y="1524"/>
                  </a:lnTo>
                  <a:lnTo>
                    <a:pt x="15654" y="1530"/>
                  </a:lnTo>
                  <a:lnTo>
                    <a:pt x="15640" y="1534"/>
                  </a:lnTo>
                  <a:lnTo>
                    <a:pt x="15623" y="1535"/>
                  </a:lnTo>
                  <a:lnTo>
                    <a:pt x="15605" y="1534"/>
                  </a:lnTo>
                  <a:lnTo>
                    <a:pt x="15589" y="1529"/>
                  </a:lnTo>
                  <a:lnTo>
                    <a:pt x="15573" y="1520"/>
                  </a:lnTo>
                  <a:lnTo>
                    <a:pt x="15559" y="1509"/>
                  </a:lnTo>
                  <a:lnTo>
                    <a:pt x="15549" y="1496"/>
                  </a:lnTo>
                  <a:lnTo>
                    <a:pt x="15540" y="1480"/>
                  </a:lnTo>
                  <a:lnTo>
                    <a:pt x="15535" y="1464"/>
                  </a:lnTo>
                  <a:lnTo>
                    <a:pt x="15532" y="1445"/>
                  </a:lnTo>
                  <a:lnTo>
                    <a:pt x="15535" y="1437"/>
                  </a:lnTo>
                  <a:lnTo>
                    <a:pt x="15539" y="1431"/>
                  </a:lnTo>
                  <a:lnTo>
                    <a:pt x="15545" y="1427"/>
                  </a:lnTo>
                  <a:lnTo>
                    <a:pt x="15553" y="1425"/>
                  </a:lnTo>
                  <a:lnTo>
                    <a:pt x="15560" y="1427"/>
                  </a:lnTo>
                  <a:lnTo>
                    <a:pt x="15567" y="1431"/>
                  </a:lnTo>
                  <a:lnTo>
                    <a:pt x="15571" y="1437"/>
                  </a:lnTo>
                  <a:lnTo>
                    <a:pt x="15573" y="1445"/>
                  </a:lnTo>
                  <a:lnTo>
                    <a:pt x="15573" y="1455"/>
                  </a:lnTo>
                  <a:lnTo>
                    <a:pt x="15577" y="1465"/>
                  </a:lnTo>
                  <a:lnTo>
                    <a:pt x="15581" y="1474"/>
                  </a:lnTo>
                  <a:lnTo>
                    <a:pt x="15587" y="1480"/>
                  </a:lnTo>
                  <a:lnTo>
                    <a:pt x="15595" y="1487"/>
                  </a:lnTo>
                  <a:lnTo>
                    <a:pt x="15604" y="1492"/>
                  </a:lnTo>
                  <a:lnTo>
                    <a:pt x="15623" y="1496"/>
                  </a:lnTo>
                  <a:lnTo>
                    <a:pt x="15641" y="1492"/>
                  </a:lnTo>
                  <a:lnTo>
                    <a:pt x="15655" y="1484"/>
                  </a:lnTo>
                  <a:lnTo>
                    <a:pt x="15662" y="1478"/>
                  </a:lnTo>
                  <a:lnTo>
                    <a:pt x="15667" y="1470"/>
                  </a:lnTo>
                  <a:lnTo>
                    <a:pt x="15673" y="1455"/>
                  </a:lnTo>
                  <a:lnTo>
                    <a:pt x="15675" y="1436"/>
                  </a:lnTo>
                  <a:lnTo>
                    <a:pt x="15669" y="1423"/>
                  </a:lnTo>
                  <a:lnTo>
                    <a:pt x="15662" y="1413"/>
                  </a:lnTo>
                  <a:lnTo>
                    <a:pt x="15652" y="1405"/>
                  </a:lnTo>
                  <a:lnTo>
                    <a:pt x="15631" y="1390"/>
                  </a:lnTo>
                  <a:lnTo>
                    <a:pt x="15625" y="1379"/>
                  </a:lnTo>
                  <a:lnTo>
                    <a:pt x="15622" y="1365"/>
                  </a:lnTo>
                  <a:lnTo>
                    <a:pt x="15622" y="1323"/>
                  </a:lnTo>
                  <a:lnTo>
                    <a:pt x="15623" y="1314"/>
                  </a:lnTo>
                  <a:lnTo>
                    <a:pt x="15628" y="1308"/>
                  </a:lnTo>
                  <a:lnTo>
                    <a:pt x="15635" y="1305"/>
                  </a:lnTo>
                  <a:lnTo>
                    <a:pt x="15643" y="1304"/>
                  </a:lnTo>
                  <a:lnTo>
                    <a:pt x="15649" y="1305"/>
                  </a:lnTo>
                  <a:lnTo>
                    <a:pt x="15655" y="1308"/>
                  </a:lnTo>
                  <a:lnTo>
                    <a:pt x="15660" y="1314"/>
                  </a:lnTo>
                  <a:lnTo>
                    <a:pt x="15662" y="1323"/>
                  </a:lnTo>
                  <a:lnTo>
                    <a:pt x="15662" y="1363"/>
                  </a:lnTo>
                  <a:close/>
                  <a:moveTo>
                    <a:pt x="15667" y="963"/>
                  </a:moveTo>
                  <a:lnTo>
                    <a:pt x="15667" y="1277"/>
                  </a:lnTo>
                  <a:lnTo>
                    <a:pt x="15664" y="1286"/>
                  </a:lnTo>
                  <a:lnTo>
                    <a:pt x="15660" y="1292"/>
                  </a:lnTo>
                  <a:lnTo>
                    <a:pt x="15654" y="1296"/>
                  </a:lnTo>
                  <a:lnTo>
                    <a:pt x="15646" y="1298"/>
                  </a:lnTo>
                  <a:lnTo>
                    <a:pt x="15639" y="1296"/>
                  </a:lnTo>
                  <a:lnTo>
                    <a:pt x="15632" y="1292"/>
                  </a:lnTo>
                  <a:lnTo>
                    <a:pt x="15628" y="1286"/>
                  </a:lnTo>
                  <a:lnTo>
                    <a:pt x="15627" y="1277"/>
                  </a:lnTo>
                  <a:lnTo>
                    <a:pt x="15627" y="963"/>
                  </a:lnTo>
                  <a:lnTo>
                    <a:pt x="15385" y="963"/>
                  </a:lnTo>
                  <a:lnTo>
                    <a:pt x="15385" y="1139"/>
                  </a:lnTo>
                  <a:lnTo>
                    <a:pt x="15384" y="1147"/>
                  </a:lnTo>
                  <a:lnTo>
                    <a:pt x="15378" y="1153"/>
                  </a:lnTo>
                  <a:lnTo>
                    <a:pt x="15372" y="1157"/>
                  </a:lnTo>
                  <a:lnTo>
                    <a:pt x="15366" y="1158"/>
                  </a:lnTo>
                  <a:lnTo>
                    <a:pt x="15253" y="1158"/>
                  </a:lnTo>
                  <a:lnTo>
                    <a:pt x="15253" y="1705"/>
                  </a:lnTo>
                  <a:lnTo>
                    <a:pt x="15253" y="2253"/>
                  </a:lnTo>
                  <a:lnTo>
                    <a:pt x="15250" y="2262"/>
                  </a:lnTo>
                  <a:lnTo>
                    <a:pt x="15246" y="2268"/>
                  </a:lnTo>
                  <a:lnTo>
                    <a:pt x="15240" y="2272"/>
                  </a:lnTo>
                  <a:lnTo>
                    <a:pt x="15232" y="2273"/>
                  </a:lnTo>
                  <a:lnTo>
                    <a:pt x="15225" y="2272"/>
                  </a:lnTo>
                  <a:lnTo>
                    <a:pt x="15218" y="2268"/>
                  </a:lnTo>
                  <a:lnTo>
                    <a:pt x="15214" y="2262"/>
                  </a:lnTo>
                  <a:lnTo>
                    <a:pt x="15213" y="2253"/>
                  </a:lnTo>
                  <a:lnTo>
                    <a:pt x="15213" y="1705"/>
                  </a:lnTo>
                  <a:lnTo>
                    <a:pt x="15213" y="1158"/>
                  </a:lnTo>
                  <a:lnTo>
                    <a:pt x="15141" y="1158"/>
                  </a:lnTo>
                  <a:lnTo>
                    <a:pt x="15141" y="1705"/>
                  </a:lnTo>
                  <a:lnTo>
                    <a:pt x="15141" y="2253"/>
                  </a:lnTo>
                  <a:lnTo>
                    <a:pt x="15140" y="2262"/>
                  </a:lnTo>
                  <a:lnTo>
                    <a:pt x="15135" y="2268"/>
                  </a:lnTo>
                  <a:lnTo>
                    <a:pt x="15128" y="2272"/>
                  </a:lnTo>
                  <a:lnTo>
                    <a:pt x="15122" y="2273"/>
                  </a:lnTo>
                  <a:lnTo>
                    <a:pt x="15114" y="2272"/>
                  </a:lnTo>
                  <a:lnTo>
                    <a:pt x="15108" y="2268"/>
                  </a:lnTo>
                  <a:lnTo>
                    <a:pt x="15103" y="2262"/>
                  </a:lnTo>
                  <a:lnTo>
                    <a:pt x="15101" y="2253"/>
                  </a:lnTo>
                  <a:lnTo>
                    <a:pt x="15101" y="1695"/>
                  </a:lnTo>
                  <a:lnTo>
                    <a:pt x="15101" y="1139"/>
                  </a:lnTo>
                  <a:lnTo>
                    <a:pt x="15101" y="1047"/>
                  </a:lnTo>
                  <a:lnTo>
                    <a:pt x="15101" y="963"/>
                  </a:lnTo>
                  <a:lnTo>
                    <a:pt x="14931" y="963"/>
                  </a:lnTo>
                  <a:lnTo>
                    <a:pt x="14918" y="960"/>
                  </a:lnTo>
                  <a:lnTo>
                    <a:pt x="14913" y="956"/>
                  </a:lnTo>
                  <a:lnTo>
                    <a:pt x="14910" y="952"/>
                  </a:lnTo>
                  <a:lnTo>
                    <a:pt x="14909" y="947"/>
                  </a:lnTo>
                  <a:lnTo>
                    <a:pt x="14909" y="942"/>
                  </a:lnTo>
                  <a:lnTo>
                    <a:pt x="14914" y="931"/>
                  </a:lnTo>
                  <a:lnTo>
                    <a:pt x="15105" y="680"/>
                  </a:lnTo>
                  <a:lnTo>
                    <a:pt x="15116" y="675"/>
                  </a:lnTo>
                  <a:lnTo>
                    <a:pt x="15127" y="674"/>
                  </a:lnTo>
                  <a:lnTo>
                    <a:pt x="15907" y="924"/>
                  </a:lnTo>
                  <a:lnTo>
                    <a:pt x="15920" y="933"/>
                  </a:lnTo>
                  <a:lnTo>
                    <a:pt x="15922" y="940"/>
                  </a:lnTo>
                  <a:lnTo>
                    <a:pt x="15923" y="946"/>
                  </a:lnTo>
                  <a:lnTo>
                    <a:pt x="15921" y="952"/>
                  </a:lnTo>
                  <a:lnTo>
                    <a:pt x="15916" y="957"/>
                  </a:lnTo>
                  <a:lnTo>
                    <a:pt x="15909" y="961"/>
                  </a:lnTo>
                  <a:lnTo>
                    <a:pt x="15900" y="963"/>
                  </a:lnTo>
                  <a:lnTo>
                    <a:pt x="15667" y="963"/>
                  </a:lnTo>
                  <a:close/>
                  <a:moveTo>
                    <a:pt x="15167" y="727"/>
                  </a:moveTo>
                  <a:lnTo>
                    <a:pt x="15240" y="828"/>
                  </a:lnTo>
                  <a:lnTo>
                    <a:pt x="15244" y="840"/>
                  </a:lnTo>
                  <a:lnTo>
                    <a:pt x="15244" y="923"/>
                  </a:lnTo>
                  <a:lnTo>
                    <a:pt x="15276" y="923"/>
                  </a:lnTo>
                  <a:lnTo>
                    <a:pt x="15366" y="923"/>
                  </a:lnTo>
                  <a:lnTo>
                    <a:pt x="15773" y="923"/>
                  </a:lnTo>
                  <a:lnTo>
                    <a:pt x="15167" y="727"/>
                  </a:lnTo>
                  <a:close/>
                  <a:moveTo>
                    <a:pt x="15203" y="923"/>
                  </a:moveTo>
                  <a:lnTo>
                    <a:pt x="15203" y="846"/>
                  </a:lnTo>
                  <a:lnTo>
                    <a:pt x="15141" y="762"/>
                  </a:lnTo>
                  <a:lnTo>
                    <a:pt x="15141" y="923"/>
                  </a:lnTo>
                  <a:lnTo>
                    <a:pt x="15203" y="923"/>
                  </a:lnTo>
                  <a:close/>
                  <a:moveTo>
                    <a:pt x="15101" y="752"/>
                  </a:moveTo>
                  <a:lnTo>
                    <a:pt x="14971" y="923"/>
                  </a:lnTo>
                  <a:lnTo>
                    <a:pt x="15101" y="923"/>
                  </a:lnTo>
                  <a:lnTo>
                    <a:pt x="15101" y="752"/>
                  </a:lnTo>
                  <a:close/>
                  <a:moveTo>
                    <a:pt x="15296" y="963"/>
                  </a:moveTo>
                  <a:lnTo>
                    <a:pt x="15296" y="1047"/>
                  </a:lnTo>
                  <a:lnTo>
                    <a:pt x="15295" y="1055"/>
                  </a:lnTo>
                  <a:lnTo>
                    <a:pt x="15290" y="1061"/>
                  </a:lnTo>
                  <a:lnTo>
                    <a:pt x="15283" y="1065"/>
                  </a:lnTo>
                  <a:lnTo>
                    <a:pt x="15276" y="1066"/>
                  </a:lnTo>
                  <a:lnTo>
                    <a:pt x="15141" y="1066"/>
                  </a:lnTo>
                  <a:lnTo>
                    <a:pt x="15141" y="1119"/>
                  </a:lnTo>
                  <a:lnTo>
                    <a:pt x="15232" y="1119"/>
                  </a:lnTo>
                  <a:lnTo>
                    <a:pt x="15345" y="1119"/>
                  </a:lnTo>
                  <a:lnTo>
                    <a:pt x="15345" y="963"/>
                  </a:lnTo>
                  <a:lnTo>
                    <a:pt x="15296" y="963"/>
                  </a:lnTo>
                  <a:close/>
                  <a:moveTo>
                    <a:pt x="15257" y="963"/>
                  </a:moveTo>
                  <a:lnTo>
                    <a:pt x="15141" y="963"/>
                  </a:lnTo>
                  <a:lnTo>
                    <a:pt x="15141" y="1027"/>
                  </a:lnTo>
                  <a:lnTo>
                    <a:pt x="15257" y="1027"/>
                  </a:lnTo>
                  <a:lnTo>
                    <a:pt x="15257" y="963"/>
                  </a:lnTo>
                  <a:close/>
                  <a:moveTo>
                    <a:pt x="12486" y="3681"/>
                  </a:moveTo>
                  <a:lnTo>
                    <a:pt x="12486" y="3792"/>
                  </a:lnTo>
                  <a:lnTo>
                    <a:pt x="12484" y="3800"/>
                  </a:lnTo>
                  <a:lnTo>
                    <a:pt x="12482" y="3805"/>
                  </a:lnTo>
                  <a:lnTo>
                    <a:pt x="12523" y="3838"/>
                  </a:lnTo>
                  <a:lnTo>
                    <a:pt x="12559" y="3875"/>
                  </a:lnTo>
                  <a:lnTo>
                    <a:pt x="12592" y="3918"/>
                  </a:lnTo>
                  <a:lnTo>
                    <a:pt x="12606" y="3939"/>
                  </a:lnTo>
                  <a:lnTo>
                    <a:pt x="12619" y="3962"/>
                  </a:lnTo>
                  <a:lnTo>
                    <a:pt x="12641" y="4011"/>
                  </a:lnTo>
                  <a:lnTo>
                    <a:pt x="12657" y="4062"/>
                  </a:lnTo>
                  <a:lnTo>
                    <a:pt x="12666" y="4116"/>
                  </a:lnTo>
                  <a:lnTo>
                    <a:pt x="12670" y="4171"/>
                  </a:lnTo>
                  <a:lnTo>
                    <a:pt x="12666" y="4226"/>
                  </a:lnTo>
                  <a:lnTo>
                    <a:pt x="12661" y="4265"/>
                  </a:lnTo>
                  <a:lnTo>
                    <a:pt x="12654" y="4304"/>
                  </a:lnTo>
                  <a:lnTo>
                    <a:pt x="13197" y="4304"/>
                  </a:lnTo>
                  <a:lnTo>
                    <a:pt x="13741" y="4304"/>
                  </a:lnTo>
                  <a:lnTo>
                    <a:pt x="13741" y="3764"/>
                  </a:lnTo>
                  <a:lnTo>
                    <a:pt x="13741" y="3225"/>
                  </a:lnTo>
                  <a:lnTo>
                    <a:pt x="13183" y="3225"/>
                  </a:lnTo>
                  <a:lnTo>
                    <a:pt x="12625" y="3225"/>
                  </a:lnTo>
                  <a:lnTo>
                    <a:pt x="12616" y="3222"/>
                  </a:lnTo>
                  <a:lnTo>
                    <a:pt x="12610" y="3218"/>
                  </a:lnTo>
                  <a:lnTo>
                    <a:pt x="12606" y="3212"/>
                  </a:lnTo>
                  <a:lnTo>
                    <a:pt x="12606" y="3204"/>
                  </a:lnTo>
                  <a:lnTo>
                    <a:pt x="12606" y="3196"/>
                  </a:lnTo>
                  <a:lnTo>
                    <a:pt x="12610" y="3190"/>
                  </a:lnTo>
                  <a:lnTo>
                    <a:pt x="12616" y="3186"/>
                  </a:lnTo>
                  <a:lnTo>
                    <a:pt x="12625" y="3184"/>
                  </a:lnTo>
                  <a:lnTo>
                    <a:pt x="12793" y="3184"/>
                  </a:lnTo>
                  <a:lnTo>
                    <a:pt x="12793" y="3031"/>
                  </a:lnTo>
                  <a:lnTo>
                    <a:pt x="12353" y="3031"/>
                  </a:lnTo>
                  <a:lnTo>
                    <a:pt x="12353" y="3184"/>
                  </a:lnTo>
                  <a:lnTo>
                    <a:pt x="12493" y="3184"/>
                  </a:lnTo>
                  <a:lnTo>
                    <a:pt x="12502" y="3186"/>
                  </a:lnTo>
                  <a:lnTo>
                    <a:pt x="12509" y="3190"/>
                  </a:lnTo>
                  <a:lnTo>
                    <a:pt x="12512" y="3196"/>
                  </a:lnTo>
                  <a:lnTo>
                    <a:pt x="12514" y="3204"/>
                  </a:lnTo>
                  <a:lnTo>
                    <a:pt x="12512" y="3212"/>
                  </a:lnTo>
                  <a:lnTo>
                    <a:pt x="12509" y="3218"/>
                  </a:lnTo>
                  <a:lnTo>
                    <a:pt x="12502" y="3222"/>
                  </a:lnTo>
                  <a:lnTo>
                    <a:pt x="12493" y="3225"/>
                  </a:lnTo>
                  <a:lnTo>
                    <a:pt x="12236" y="3225"/>
                  </a:lnTo>
                  <a:lnTo>
                    <a:pt x="12236" y="3670"/>
                  </a:lnTo>
                  <a:lnTo>
                    <a:pt x="12233" y="3679"/>
                  </a:lnTo>
                  <a:lnTo>
                    <a:pt x="12229" y="3685"/>
                  </a:lnTo>
                  <a:lnTo>
                    <a:pt x="12223" y="3689"/>
                  </a:lnTo>
                  <a:lnTo>
                    <a:pt x="12215" y="3690"/>
                  </a:lnTo>
                  <a:lnTo>
                    <a:pt x="12207" y="3689"/>
                  </a:lnTo>
                  <a:lnTo>
                    <a:pt x="12201" y="3685"/>
                  </a:lnTo>
                  <a:lnTo>
                    <a:pt x="12197" y="3679"/>
                  </a:lnTo>
                  <a:lnTo>
                    <a:pt x="12194" y="3670"/>
                  </a:lnTo>
                  <a:lnTo>
                    <a:pt x="12194" y="3204"/>
                  </a:lnTo>
                  <a:lnTo>
                    <a:pt x="12197" y="3196"/>
                  </a:lnTo>
                  <a:lnTo>
                    <a:pt x="12201" y="3190"/>
                  </a:lnTo>
                  <a:lnTo>
                    <a:pt x="12207" y="3186"/>
                  </a:lnTo>
                  <a:lnTo>
                    <a:pt x="12215" y="3184"/>
                  </a:lnTo>
                  <a:lnTo>
                    <a:pt x="12314" y="3184"/>
                  </a:lnTo>
                  <a:lnTo>
                    <a:pt x="12314" y="3011"/>
                  </a:lnTo>
                  <a:lnTo>
                    <a:pt x="12315" y="3003"/>
                  </a:lnTo>
                  <a:lnTo>
                    <a:pt x="12319" y="2997"/>
                  </a:lnTo>
                  <a:lnTo>
                    <a:pt x="12325" y="2993"/>
                  </a:lnTo>
                  <a:lnTo>
                    <a:pt x="12333" y="2991"/>
                  </a:lnTo>
                  <a:lnTo>
                    <a:pt x="12814" y="2991"/>
                  </a:lnTo>
                  <a:lnTo>
                    <a:pt x="12822" y="2993"/>
                  </a:lnTo>
                  <a:lnTo>
                    <a:pt x="12828" y="2997"/>
                  </a:lnTo>
                  <a:lnTo>
                    <a:pt x="12832" y="3003"/>
                  </a:lnTo>
                  <a:lnTo>
                    <a:pt x="12833" y="3011"/>
                  </a:lnTo>
                  <a:lnTo>
                    <a:pt x="12833" y="3184"/>
                  </a:lnTo>
                  <a:lnTo>
                    <a:pt x="13761" y="3184"/>
                  </a:lnTo>
                  <a:lnTo>
                    <a:pt x="13769" y="3186"/>
                  </a:lnTo>
                  <a:lnTo>
                    <a:pt x="13776" y="3190"/>
                  </a:lnTo>
                  <a:lnTo>
                    <a:pt x="13779" y="3196"/>
                  </a:lnTo>
                  <a:lnTo>
                    <a:pt x="13782" y="3204"/>
                  </a:lnTo>
                  <a:lnTo>
                    <a:pt x="13782" y="3764"/>
                  </a:lnTo>
                  <a:lnTo>
                    <a:pt x="13782" y="4324"/>
                  </a:lnTo>
                  <a:lnTo>
                    <a:pt x="13779" y="4332"/>
                  </a:lnTo>
                  <a:lnTo>
                    <a:pt x="13776" y="4338"/>
                  </a:lnTo>
                  <a:lnTo>
                    <a:pt x="13769" y="4342"/>
                  </a:lnTo>
                  <a:lnTo>
                    <a:pt x="13761" y="4343"/>
                  </a:lnTo>
                  <a:lnTo>
                    <a:pt x="13197" y="4343"/>
                  </a:lnTo>
                  <a:lnTo>
                    <a:pt x="12633" y="4343"/>
                  </a:lnTo>
                  <a:lnTo>
                    <a:pt x="12628" y="4347"/>
                  </a:lnTo>
                  <a:lnTo>
                    <a:pt x="12621" y="4349"/>
                  </a:lnTo>
                  <a:lnTo>
                    <a:pt x="12016" y="4349"/>
                  </a:lnTo>
                  <a:lnTo>
                    <a:pt x="11412" y="4349"/>
                  </a:lnTo>
                  <a:lnTo>
                    <a:pt x="11403" y="4346"/>
                  </a:lnTo>
                  <a:lnTo>
                    <a:pt x="11397" y="4341"/>
                  </a:lnTo>
                  <a:lnTo>
                    <a:pt x="11388" y="4334"/>
                  </a:lnTo>
                  <a:lnTo>
                    <a:pt x="11385" y="4329"/>
                  </a:lnTo>
                  <a:lnTo>
                    <a:pt x="11385" y="4323"/>
                  </a:lnTo>
                  <a:lnTo>
                    <a:pt x="11385" y="3936"/>
                  </a:lnTo>
                  <a:lnTo>
                    <a:pt x="11346" y="3930"/>
                  </a:lnTo>
                  <a:lnTo>
                    <a:pt x="11307" y="3924"/>
                  </a:lnTo>
                  <a:lnTo>
                    <a:pt x="11271" y="3913"/>
                  </a:lnTo>
                  <a:lnTo>
                    <a:pt x="11235" y="3898"/>
                  </a:lnTo>
                  <a:lnTo>
                    <a:pt x="11202" y="3881"/>
                  </a:lnTo>
                  <a:lnTo>
                    <a:pt x="11171" y="3860"/>
                  </a:lnTo>
                  <a:lnTo>
                    <a:pt x="11142" y="3837"/>
                  </a:lnTo>
                  <a:lnTo>
                    <a:pt x="11115" y="3811"/>
                  </a:lnTo>
                  <a:lnTo>
                    <a:pt x="11090" y="3783"/>
                  </a:lnTo>
                  <a:lnTo>
                    <a:pt x="11069" y="3753"/>
                  </a:lnTo>
                  <a:lnTo>
                    <a:pt x="11049" y="3721"/>
                  </a:lnTo>
                  <a:lnTo>
                    <a:pt x="11034" y="3686"/>
                  </a:lnTo>
                  <a:lnTo>
                    <a:pt x="11021" y="3650"/>
                  </a:lnTo>
                  <a:lnTo>
                    <a:pt x="11011" y="3613"/>
                  </a:lnTo>
                  <a:lnTo>
                    <a:pt x="11006" y="3575"/>
                  </a:lnTo>
                  <a:lnTo>
                    <a:pt x="11005" y="3535"/>
                  </a:lnTo>
                  <a:lnTo>
                    <a:pt x="11006" y="3494"/>
                  </a:lnTo>
                  <a:lnTo>
                    <a:pt x="11012" y="3453"/>
                  </a:lnTo>
                  <a:lnTo>
                    <a:pt x="11022" y="3415"/>
                  </a:lnTo>
                  <a:lnTo>
                    <a:pt x="11035" y="3379"/>
                  </a:lnTo>
                  <a:lnTo>
                    <a:pt x="11052" y="3343"/>
                  </a:lnTo>
                  <a:lnTo>
                    <a:pt x="11072" y="3310"/>
                  </a:lnTo>
                  <a:lnTo>
                    <a:pt x="11096" y="3280"/>
                  </a:lnTo>
                  <a:lnTo>
                    <a:pt x="11121" y="3251"/>
                  </a:lnTo>
                  <a:lnTo>
                    <a:pt x="11151" y="3226"/>
                  </a:lnTo>
                  <a:lnTo>
                    <a:pt x="11181" y="3203"/>
                  </a:lnTo>
                  <a:lnTo>
                    <a:pt x="11214" y="3182"/>
                  </a:lnTo>
                  <a:lnTo>
                    <a:pt x="11249" y="3166"/>
                  </a:lnTo>
                  <a:lnTo>
                    <a:pt x="11287" y="3152"/>
                  </a:lnTo>
                  <a:lnTo>
                    <a:pt x="11325" y="3143"/>
                  </a:lnTo>
                  <a:lnTo>
                    <a:pt x="11365" y="3136"/>
                  </a:lnTo>
                  <a:lnTo>
                    <a:pt x="11406" y="3134"/>
                  </a:lnTo>
                  <a:lnTo>
                    <a:pt x="11447" y="3136"/>
                  </a:lnTo>
                  <a:lnTo>
                    <a:pt x="11487" y="3143"/>
                  </a:lnTo>
                  <a:lnTo>
                    <a:pt x="11525" y="3152"/>
                  </a:lnTo>
                  <a:lnTo>
                    <a:pt x="11562" y="3166"/>
                  </a:lnTo>
                  <a:lnTo>
                    <a:pt x="11597" y="3182"/>
                  </a:lnTo>
                  <a:lnTo>
                    <a:pt x="11630" y="3203"/>
                  </a:lnTo>
                  <a:lnTo>
                    <a:pt x="11661" y="3226"/>
                  </a:lnTo>
                  <a:lnTo>
                    <a:pt x="11689" y="3251"/>
                  </a:lnTo>
                  <a:lnTo>
                    <a:pt x="11716" y="3280"/>
                  </a:lnTo>
                  <a:lnTo>
                    <a:pt x="11739" y="3310"/>
                  </a:lnTo>
                  <a:lnTo>
                    <a:pt x="11759" y="3343"/>
                  </a:lnTo>
                  <a:lnTo>
                    <a:pt x="11775" y="3379"/>
                  </a:lnTo>
                  <a:lnTo>
                    <a:pt x="11789" y="3415"/>
                  </a:lnTo>
                  <a:lnTo>
                    <a:pt x="11800" y="3453"/>
                  </a:lnTo>
                  <a:lnTo>
                    <a:pt x="11805" y="3494"/>
                  </a:lnTo>
                  <a:lnTo>
                    <a:pt x="11807" y="3535"/>
                  </a:lnTo>
                  <a:lnTo>
                    <a:pt x="11806" y="3575"/>
                  </a:lnTo>
                  <a:lnTo>
                    <a:pt x="11800" y="3613"/>
                  </a:lnTo>
                  <a:lnTo>
                    <a:pt x="11791" y="3650"/>
                  </a:lnTo>
                  <a:lnTo>
                    <a:pt x="11778" y="3686"/>
                  </a:lnTo>
                  <a:lnTo>
                    <a:pt x="11761" y="3721"/>
                  </a:lnTo>
                  <a:lnTo>
                    <a:pt x="11743" y="3753"/>
                  </a:lnTo>
                  <a:lnTo>
                    <a:pt x="11720" y="3783"/>
                  </a:lnTo>
                  <a:lnTo>
                    <a:pt x="11696" y="3811"/>
                  </a:lnTo>
                  <a:lnTo>
                    <a:pt x="11669" y="3837"/>
                  </a:lnTo>
                  <a:lnTo>
                    <a:pt x="11639" y="3860"/>
                  </a:lnTo>
                  <a:lnTo>
                    <a:pt x="11608" y="3881"/>
                  </a:lnTo>
                  <a:lnTo>
                    <a:pt x="11575" y="3898"/>
                  </a:lnTo>
                  <a:lnTo>
                    <a:pt x="11539" y="3913"/>
                  </a:lnTo>
                  <a:lnTo>
                    <a:pt x="11502" y="3924"/>
                  </a:lnTo>
                  <a:lnTo>
                    <a:pt x="11465" y="3932"/>
                  </a:lnTo>
                  <a:lnTo>
                    <a:pt x="11425" y="3936"/>
                  </a:lnTo>
                  <a:lnTo>
                    <a:pt x="11425" y="4205"/>
                  </a:lnTo>
                  <a:lnTo>
                    <a:pt x="11443" y="4178"/>
                  </a:lnTo>
                  <a:lnTo>
                    <a:pt x="11464" y="4153"/>
                  </a:lnTo>
                  <a:lnTo>
                    <a:pt x="11488" y="4130"/>
                  </a:lnTo>
                  <a:lnTo>
                    <a:pt x="11516" y="4108"/>
                  </a:lnTo>
                  <a:lnTo>
                    <a:pt x="11549" y="4090"/>
                  </a:lnTo>
                  <a:lnTo>
                    <a:pt x="11585" y="4076"/>
                  </a:lnTo>
                  <a:lnTo>
                    <a:pt x="11625" y="4067"/>
                  </a:lnTo>
                  <a:lnTo>
                    <a:pt x="11646" y="4065"/>
                  </a:lnTo>
                  <a:lnTo>
                    <a:pt x="11669" y="4065"/>
                  </a:lnTo>
                  <a:lnTo>
                    <a:pt x="11685" y="4066"/>
                  </a:lnTo>
                  <a:lnTo>
                    <a:pt x="11702" y="4069"/>
                  </a:lnTo>
                  <a:lnTo>
                    <a:pt x="11719" y="4074"/>
                  </a:lnTo>
                  <a:lnTo>
                    <a:pt x="11734" y="4080"/>
                  </a:lnTo>
                  <a:lnTo>
                    <a:pt x="11766" y="4092"/>
                  </a:lnTo>
                  <a:lnTo>
                    <a:pt x="11783" y="4095"/>
                  </a:lnTo>
                  <a:lnTo>
                    <a:pt x="11800" y="4097"/>
                  </a:lnTo>
                  <a:lnTo>
                    <a:pt x="11814" y="4095"/>
                  </a:lnTo>
                  <a:lnTo>
                    <a:pt x="11825" y="4090"/>
                  </a:lnTo>
                  <a:lnTo>
                    <a:pt x="11837" y="4084"/>
                  </a:lnTo>
                  <a:lnTo>
                    <a:pt x="11847" y="4076"/>
                  </a:lnTo>
                  <a:lnTo>
                    <a:pt x="11847" y="3213"/>
                  </a:lnTo>
                  <a:lnTo>
                    <a:pt x="11833" y="3208"/>
                  </a:lnTo>
                  <a:lnTo>
                    <a:pt x="11820" y="3199"/>
                  </a:lnTo>
                  <a:lnTo>
                    <a:pt x="11796" y="3182"/>
                  </a:lnTo>
                  <a:lnTo>
                    <a:pt x="11784" y="3173"/>
                  </a:lnTo>
                  <a:lnTo>
                    <a:pt x="11771" y="3167"/>
                  </a:lnTo>
                  <a:lnTo>
                    <a:pt x="11757" y="3163"/>
                  </a:lnTo>
                  <a:lnTo>
                    <a:pt x="11742" y="3163"/>
                  </a:lnTo>
                  <a:lnTo>
                    <a:pt x="11696" y="3170"/>
                  </a:lnTo>
                  <a:lnTo>
                    <a:pt x="11678" y="3172"/>
                  </a:lnTo>
                  <a:lnTo>
                    <a:pt x="11661" y="3171"/>
                  </a:lnTo>
                  <a:lnTo>
                    <a:pt x="11646" y="3166"/>
                  </a:lnTo>
                  <a:lnTo>
                    <a:pt x="11632" y="3156"/>
                  </a:lnTo>
                  <a:lnTo>
                    <a:pt x="11624" y="3148"/>
                  </a:lnTo>
                  <a:lnTo>
                    <a:pt x="11617" y="3139"/>
                  </a:lnTo>
                  <a:lnTo>
                    <a:pt x="11602" y="3115"/>
                  </a:lnTo>
                  <a:lnTo>
                    <a:pt x="11591" y="3093"/>
                  </a:lnTo>
                  <a:lnTo>
                    <a:pt x="11580" y="3079"/>
                  </a:lnTo>
                  <a:lnTo>
                    <a:pt x="11570" y="3070"/>
                  </a:lnTo>
                  <a:lnTo>
                    <a:pt x="11561" y="3065"/>
                  </a:lnTo>
                  <a:lnTo>
                    <a:pt x="11537" y="3060"/>
                  </a:lnTo>
                  <a:lnTo>
                    <a:pt x="11520" y="3055"/>
                  </a:lnTo>
                  <a:lnTo>
                    <a:pt x="11498" y="3047"/>
                  </a:lnTo>
                  <a:lnTo>
                    <a:pt x="11475" y="3033"/>
                  </a:lnTo>
                  <a:lnTo>
                    <a:pt x="11467" y="3024"/>
                  </a:lnTo>
                  <a:lnTo>
                    <a:pt x="11462" y="3015"/>
                  </a:lnTo>
                  <a:lnTo>
                    <a:pt x="11456" y="2996"/>
                  </a:lnTo>
                  <a:lnTo>
                    <a:pt x="11453" y="2974"/>
                  </a:lnTo>
                  <a:lnTo>
                    <a:pt x="11453" y="2953"/>
                  </a:lnTo>
                  <a:lnTo>
                    <a:pt x="11451" y="2933"/>
                  </a:lnTo>
                  <a:lnTo>
                    <a:pt x="11446" y="2913"/>
                  </a:lnTo>
                  <a:lnTo>
                    <a:pt x="11440" y="2904"/>
                  </a:lnTo>
                  <a:lnTo>
                    <a:pt x="11434" y="2896"/>
                  </a:lnTo>
                  <a:lnTo>
                    <a:pt x="11399" y="2864"/>
                  </a:lnTo>
                  <a:lnTo>
                    <a:pt x="11387" y="2851"/>
                  </a:lnTo>
                  <a:lnTo>
                    <a:pt x="11376" y="2837"/>
                  </a:lnTo>
                  <a:lnTo>
                    <a:pt x="11371" y="2823"/>
                  </a:lnTo>
                  <a:lnTo>
                    <a:pt x="11370" y="2805"/>
                  </a:lnTo>
                  <a:lnTo>
                    <a:pt x="11375" y="2783"/>
                  </a:lnTo>
                  <a:lnTo>
                    <a:pt x="11384" y="2757"/>
                  </a:lnTo>
                  <a:lnTo>
                    <a:pt x="11394" y="2734"/>
                  </a:lnTo>
                  <a:lnTo>
                    <a:pt x="11398" y="2722"/>
                  </a:lnTo>
                  <a:lnTo>
                    <a:pt x="11401" y="2711"/>
                  </a:lnTo>
                  <a:lnTo>
                    <a:pt x="11397" y="2689"/>
                  </a:lnTo>
                  <a:lnTo>
                    <a:pt x="11389" y="2670"/>
                  </a:lnTo>
                  <a:lnTo>
                    <a:pt x="11380" y="2650"/>
                  </a:lnTo>
                  <a:lnTo>
                    <a:pt x="11373" y="2633"/>
                  </a:lnTo>
                  <a:lnTo>
                    <a:pt x="11369" y="2613"/>
                  </a:lnTo>
                  <a:lnTo>
                    <a:pt x="11373" y="2593"/>
                  </a:lnTo>
                  <a:lnTo>
                    <a:pt x="11378" y="2581"/>
                  </a:lnTo>
                  <a:lnTo>
                    <a:pt x="11387" y="2570"/>
                  </a:lnTo>
                  <a:lnTo>
                    <a:pt x="11412" y="2543"/>
                  </a:lnTo>
                  <a:lnTo>
                    <a:pt x="11430" y="2526"/>
                  </a:lnTo>
                  <a:lnTo>
                    <a:pt x="11442" y="2512"/>
                  </a:lnTo>
                  <a:lnTo>
                    <a:pt x="11448" y="2502"/>
                  </a:lnTo>
                  <a:lnTo>
                    <a:pt x="11451" y="2492"/>
                  </a:lnTo>
                  <a:lnTo>
                    <a:pt x="11452" y="2466"/>
                  </a:lnTo>
                  <a:lnTo>
                    <a:pt x="11456" y="2427"/>
                  </a:lnTo>
                  <a:lnTo>
                    <a:pt x="11460" y="2413"/>
                  </a:lnTo>
                  <a:lnTo>
                    <a:pt x="11465" y="2401"/>
                  </a:lnTo>
                  <a:lnTo>
                    <a:pt x="11471" y="2392"/>
                  </a:lnTo>
                  <a:lnTo>
                    <a:pt x="11479" y="2384"/>
                  </a:lnTo>
                  <a:lnTo>
                    <a:pt x="11497" y="2374"/>
                  </a:lnTo>
                  <a:lnTo>
                    <a:pt x="11516" y="2368"/>
                  </a:lnTo>
                  <a:lnTo>
                    <a:pt x="11537" y="2363"/>
                  </a:lnTo>
                  <a:lnTo>
                    <a:pt x="11557" y="2356"/>
                  </a:lnTo>
                  <a:lnTo>
                    <a:pt x="11566" y="2351"/>
                  </a:lnTo>
                  <a:lnTo>
                    <a:pt x="11575" y="2346"/>
                  </a:lnTo>
                  <a:lnTo>
                    <a:pt x="11582" y="2340"/>
                  </a:lnTo>
                  <a:lnTo>
                    <a:pt x="11589" y="2331"/>
                  </a:lnTo>
                  <a:lnTo>
                    <a:pt x="11612" y="2291"/>
                  </a:lnTo>
                  <a:lnTo>
                    <a:pt x="11623" y="2275"/>
                  </a:lnTo>
                  <a:lnTo>
                    <a:pt x="11633" y="2263"/>
                  </a:lnTo>
                  <a:lnTo>
                    <a:pt x="11647" y="2254"/>
                  </a:lnTo>
                  <a:lnTo>
                    <a:pt x="11664" y="2249"/>
                  </a:lnTo>
                  <a:lnTo>
                    <a:pt x="11685" y="2248"/>
                  </a:lnTo>
                  <a:lnTo>
                    <a:pt x="11714" y="2251"/>
                  </a:lnTo>
                  <a:lnTo>
                    <a:pt x="11743" y="2257"/>
                  </a:lnTo>
                  <a:lnTo>
                    <a:pt x="11762" y="2257"/>
                  </a:lnTo>
                  <a:lnTo>
                    <a:pt x="11780" y="2249"/>
                  </a:lnTo>
                  <a:lnTo>
                    <a:pt x="11805" y="2231"/>
                  </a:lnTo>
                  <a:lnTo>
                    <a:pt x="11832" y="2213"/>
                  </a:lnTo>
                  <a:lnTo>
                    <a:pt x="11848" y="2207"/>
                  </a:lnTo>
                  <a:lnTo>
                    <a:pt x="11866" y="2204"/>
                  </a:lnTo>
                  <a:lnTo>
                    <a:pt x="11885" y="2207"/>
                  </a:lnTo>
                  <a:lnTo>
                    <a:pt x="11901" y="2213"/>
                  </a:lnTo>
                  <a:lnTo>
                    <a:pt x="11916" y="2222"/>
                  </a:lnTo>
                  <a:lnTo>
                    <a:pt x="11930" y="2232"/>
                  </a:lnTo>
                  <a:lnTo>
                    <a:pt x="11943" y="2243"/>
                  </a:lnTo>
                  <a:lnTo>
                    <a:pt x="11959" y="2251"/>
                  </a:lnTo>
                  <a:lnTo>
                    <a:pt x="11974" y="2257"/>
                  </a:lnTo>
                  <a:lnTo>
                    <a:pt x="11992" y="2257"/>
                  </a:lnTo>
                  <a:lnTo>
                    <a:pt x="12037" y="2250"/>
                  </a:lnTo>
                  <a:lnTo>
                    <a:pt x="12056" y="2248"/>
                  </a:lnTo>
                  <a:lnTo>
                    <a:pt x="12073" y="2249"/>
                  </a:lnTo>
                  <a:lnTo>
                    <a:pt x="12088" y="2254"/>
                  </a:lnTo>
                  <a:lnTo>
                    <a:pt x="12102" y="2264"/>
                  </a:lnTo>
                  <a:lnTo>
                    <a:pt x="12109" y="2272"/>
                  </a:lnTo>
                  <a:lnTo>
                    <a:pt x="12116" y="2281"/>
                  </a:lnTo>
                  <a:lnTo>
                    <a:pt x="12130" y="2305"/>
                  </a:lnTo>
                  <a:lnTo>
                    <a:pt x="12143" y="2327"/>
                  </a:lnTo>
                  <a:lnTo>
                    <a:pt x="12153" y="2341"/>
                  </a:lnTo>
                  <a:lnTo>
                    <a:pt x="12162" y="2350"/>
                  </a:lnTo>
                  <a:lnTo>
                    <a:pt x="12173" y="2355"/>
                  </a:lnTo>
                  <a:lnTo>
                    <a:pt x="12197" y="2360"/>
                  </a:lnTo>
                  <a:lnTo>
                    <a:pt x="12214" y="2365"/>
                  </a:lnTo>
                  <a:lnTo>
                    <a:pt x="12234" y="2373"/>
                  </a:lnTo>
                  <a:lnTo>
                    <a:pt x="12257" y="2388"/>
                  </a:lnTo>
                  <a:lnTo>
                    <a:pt x="12265" y="2396"/>
                  </a:lnTo>
                  <a:lnTo>
                    <a:pt x="12271" y="2405"/>
                  </a:lnTo>
                  <a:lnTo>
                    <a:pt x="12278" y="2425"/>
                  </a:lnTo>
                  <a:lnTo>
                    <a:pt x="12279" y="2446"/>
                  </a:lnTo>
                  <a:lnTo>
                    <a:pt x="12280" y="2466"/>
                  </a:lnTo>
                  <a:lnTo>
                    <a:pt x="12282" y="2488"/>
                  </a:lnTo>
                  <a:lnTo>
                    <a:pt x="12287" y="2507"/>
                  </a:lnTo>
                  <a:lnTo>
                    <a:pt x="12292" y="2516"/>
                  </a:lnTo>
                  <a:lnTo>
                    <a:pt x="12300" y="2524"/>
                  </a:lnTo>
                  <a:lnTo>
                    <a:pt x="12333" y="2556"/>
                  </a:lnTo>
                  <a:lnTo>
                    <a:pt x="12347" y="2569"/>
                  </a:lnTo>
                  <a:lnTo>
                    <a:pt x="12356" y="2583"/>
                  </a:lnTo>
                  <a:lnTo>
                    <a:pt x="12361" y="2598"/>
                  </a:lnTo>
                  <a:lnTo>
                    <a:pt x="12362" y="2615"/>
                  </a:lnTo>
                  <a:lnTo>
                    <a:pt x="12359" y="2636"/>
                  </a:lnTo>
                  <a:lnTo>
                    <a:pt x="12348" y="2663"/>
                  </a:lnTo>
                  <a:lnTo>
                    <a:pt x="12337" y="2690"/>
                  </a:lnTo>
                  <a:lnTo>
                    <a:pt x="12333" y="2711"/>
                  </a:lnTo>
                  <a:lnTo>
                    <a:pt x="12336" y="2731"/>
                  </a:lnTo>
                  <a:lnTo>
                    <a:pt x="12343" y="2750"/>
                  </a:lnTo>
                  <a:lnTo>
                    <a:pt x="12352" y="2769"/>
                  </a:lnTo>
                  <a:lnTo>
                    <a:pt x="12360" y="2787"/>
                  </a:lnTo>
                  <a:lnTo>
                    <a:pt x="12364" y="2806"/>
                  </a:lnTo>
                  <a:lnTo>
                    <a:pt x="12360" y="2828"/>
                  </a:lnTo>
                  <a:lnTo>
                    <a:pt x="12355" y="2838"/>
                  </a:lnTo>
                  <a:lnTo>
                    <a:pt x="12347" y="2851"/>
                  </a:lnTo>
                  <a:lnTo>
                    <a:pt x="12321" y="2877"/>
                  </a:lnTo>
                  <a:lnTo>
                    <a:pt x="12302" y="2893"/>
                  </a:lnTo>
                  <a:lnTo>
                    <a:pt x="12291" y="2907"/>
                  </a:lnTo>
                  <a:lnTo>
                    <a:pt x="12284" y="2918"/>
                  </a:lnTo>
                  <a:lnTo>
                    <a:pt x="12282" y="2929"/>
                  </a:lnTo>
                  <a:lnTo>
                    <a:pt x="12282" y="2953"/>
                  </a:lnTo>
                  <a:lnTo>
                    <a:pt x="12278" y="2993"/>
                  </a:lnTo>
                  <a:lnTo>
                    <a:pt x="12274" y="3007"/>
                  </a:lnTo>
                  <a:lnTo>
                    <a:pt x="12269" y="3019"/>
                  </a:lnTo>
                  <a:lnTo>
                    <a:pt x="12262" y="3028"/>
                  </a:lnTo>
                  <a:lnTo>
                    <a:pt x="12255" y="3035"/>
                  </a:lnTo>
                  <a:lnTo>
                    <a:pt x="12237" y="3046"/>
                  </a:lnTo>
                  <a:lnTo>
                    <a:pt x="12216" y="3053"/>
                  </a:lnTo>
                  <a:lnTo>
                    <a:pt x="12196" y="3058"/>
                  </a:lnTo>
                  <a:lnTo>
                    <a:pt x="12177" y="3065"/>
                  </a:lnTo>
                  <a:lnTo>
                    <a:pt x="12168" y="3069"/>
                  </a:lnTo>
                  <a:lnTo>
                    <a:pt x="12159" y="3074"/>
                  </a:lnTo>
                  <a:lnTo>
                    <a:pt x="12151" y="3081"/>
                  </a:lnTo>
                  <a:lnTo>
                    <a:pt x="12144" y="3089"/>
                  </a:lnTo>
                  <a:lnTo>
                    <a:pt x="12121" y="3130"/>
                  </a:lnTo>
                  <a:lnTo>
                    <a:pt x="12111" y="3145"/>
                  </a:lnTo>
                  <a:lnTo>
                    <a:pt x="12100" y="3158"/>
                  </a:lnTo>
                  <a:lnTo>
                    <a:pt x="12087" y="3167"/>
                  </a:lnTo>
                  <a:lnTo>
                    <a:pt x="12070" y="3171"/>
                  </a:lnTo>
                  <a:lnTo>
                    <a:pt x="12048" y="3172"/>
                  </a:lnTo>
                  <a:lnTo>
                    <a:pt x="12020" y="3168"/>
                  </a:lnTo>
                  <a:lnTo>
                    <a:pt x="11989" y="3163"/>
                  </a:lnTo>
                  <a:lnTo>
                    <a:pt x="11971" y="3163"/>
                  </a:lnTo>
                  <a:lnTo>
                    <a:pt x="11953" y="3172"/>
                  </a:lnTo>
                  <a:lnTo>
                    <a:pt x="11929" y="3189"/>
                  </a:lnTo>
                  <a:lnTo>
                    <a:pt x="11910" y="3202"/>
                  </a:lnTo>
                  <a:lnTo>
                    <a:pt x="11887" y="3213"/>
                  </a:lnTo>
                  <a:lnTo>
                    <a:pt x="11887" y="4017"/>
                  </a:lnTo>
                  <a:lnTo>
                    <a:pt x="11933" y="3925"/>
                  </a:lnTo>
                  <a:lnTo>
                    <a:pt x="11961" y="3877"/>
                  </a:lnTo>
                  <a:lnTo>
                    <a:pt x="11994" y="3829"/>
                  </a:lnTo>
                  <a:lnTo>
                    <a:pt x="12014" y="3808"/>
                  </a:lnTo>
                  <a:lnTo>
                    <a:pt x="12035" y="3787"/>
                  </a:lnTo>
                  <a:lnTo>
                    <a:pt x="12060" y="3769"/>
                  </a:lnTo>
                  <a:lnTo>
                    <a:pt x="12073" y="3762"/>
                  </a:lnTo>
                  <a:lnTo>
                    <a:pt x="12085" y="3754"/>
                  </a:lnTo>
                  <a:lnTo>
                    <a:pt x="12115" y="3741"/>
                  </a:lnTo>
                  <a:lnTo>
                    <a:pt x="12148" y="3731"/>
                  </a:lnTo>
                  <a:lnTo>
                    <a:pt x="12184" y="3725"/>
                  </a:lnTo>
                  <a:lnTo>
                    <a:pt x="12224" y="3723"/>
                  </a:lnTo>
                  <a:lnTo>
                    <a:pt x="12283" y="3727"/>
                  </a:lnTo>
                  <a:lnTo>
                    <a:pt x="12341" y="3739"/>
                  </a:lnTo>
                  <a:lnTo>
                    <a:pt x="12368" y="3748"/>
                  </a:lnTo>
                  <a:lnTo>
                    <a:pt x="12395" y="3758"/>
                  </a:lnTo>
                  <a:lnTo>
                    <a:pt x="12420" y="3769"/>
                  </a:lnTo>
                  <a:lnTo>
                    <a:pt x="12446" y="3782"/>
                  </a:lnTo>
                  <a:lnTo>
                    <a:pt x="12446" y="3681"/>
                  </a:lnTo>
                  <a:lnTo>
                    <a:pt x="12447" y="3672"/>
                  </a:lnTo>
                  <a:lnTo>
                    <a:pt x="12452" y="3666"/>
                  </a:lnTo>
                  <a:lnTo>
                    <a:pt x="12459" y="3662"/>
                  </a:lnTo>
                  <a:lnTo>
                    <a:pt x="12465" y="3661"/>
                  </a:lnTo>
                  <a:lnTo>
                    <a:pt x="12473" y="3662"/>
                  </a:lnTo>
                  <a:lnTo>
                    <a:pt x="12479" y="3666"/>
                  </a:lnTo>
                  <a:lnTo>
                    <a:pt x="12484" y="3672"/>
                  </a:lnTo>
                  <a:lnTo>
                    <a:pt x="12486" y="3681"/>
                  </a:lnTo>
                  <a:close/>
                  <a:moveTo>
                    <a:pt x="12630" y="4171"/>
                  </a:moveTo>
                  <a:lnTo>
                    <a:pt x="12628" y="4130"/>
                  </a:lnTo>
                  <a:lnTo>
                    <a:pt x="12621" y="4089"/>
                  </a:lnTo>
                  <a:lnTo>
                    <a:pt x="12613" y="4051"/>
                  </a:lnTo>
                  <a:lnTo>
                    <a:pt x="12598" y="4012"/>
                  </a:lnTo>
                  <a:lnTo>
                    <a:pt x="12582" y="3976"/>
                  </a:lnTo>
                  <a:lnTo>
                    <a:pt x="12561" y="3943"/>
                  </a:lnTo>
                  <a:lnTo>
                    <a:pt x="12537" y="3911"/>
                  </a:lnTo>
                  <a:lnTo>
                    <a:pt x="12511" y="3883"/>
                  </a:lnTo>
                  <a:lnTo>
                    <a:pt x="12482" y="3856"/>
                  </a:lnTo>
                  <a:lnTo>
                    <a:pt x="12451" y="3833"/>
                  </a:lnTo>
                  <a:lnTo>
                    <a:pt x="12418" y="3813"/>
                  </a:lnTo>
                  <a:lnTo>
                    <a:pt x="12382" y="3795"/>
                  </a:lnTo>
                  <a:lnTo>
                    <a:pt x="12345" y="3781"/>
                  </a:lnTo>
                  <a:lnTo>
                    <a:pt x="12306" y="3772"/>
                  </a:lnTo>
                  <a:lnTo>
                    <a:pt x="12265" y="3765"/>
                  </a:lnTo>
                  <a:lnTo>
                    <a:pt x="12224" y="3763"/>
                  </a:lnTo>
                  <a:lnTo>
                    <a:pt x="12197" y="3764"/>
                  </a:lnTo>
                  <a:lnTo>
                    <a:pt x="12173" y="3767"/>
                  </a:lnTo>
                  <a:lnTo>
                    <a:pt x="12150" y="3772"/>
                  </a:lnTo>
                  <a:lnTo>
                    <a:pt x="12128" y="3780"/>
                  </a:lnTo>
                  <a:lnTo>
                    <a:pt x="12089" y="3797"/>
                  </a:lnTo>
                  <a:lnTo>
                    <a:pt x="12073" y="3809"/>
                  </a:lnTo>
                  <a:lnTo>
                    <a:pt x="12057" y="3822"/>
                  </a:lnTo>
                  <a:lnTo>
                    <a:pt x="12029" y="3850"/>
                  </a:lnTo>
                  <a:lnTo>
                    <a:pt x="12005" y="3881"/>
                  </a:lnTo>
                  <a:lnTo>
                    <a:pt x="11984" y="3915"/>
                  </a:lnTo>
                  <a:lnTo>
                    <a:pt x="11965" y="3950"/>
                  </a:lnTo>
                  <a:lnTo>
                    <a:pt x="11932" y="4017"/>
                  </a:lnTo>
                  <a:lnTo>
                    <a:pt x="11915" y="4049"/>
                  </a:lnTo>
                  <a:lnTo>
                    <a:pt x="11897" y="4077"/>
                  </a:lnTo>
                  <a:lnTo>
                    <a:pt x="11878" y="4102"/>
                  </a:lnTo>
                  <a:lnTo>
                    <a:pt x="11866" y="4112"/>
                  </a:lnTo>
                  <a:lnTo>
                    <a:pt x="11855" y="4120"/>
                  </a:lnTo>
                  <a:lnTo>
                    <a:pt x="11843" y="4127"/>
                  </a:lnTo>
                  <a:lnTo>
                    <a:pt x="11830" y="4132"/>
                  </a:lnTo>
                  <a:lnTo>
                    <a:pt x="11800" y="4136"/>
                  </a:lnTo>
                  <a:lnTo>
                    <a:pt x="11783" y="4135"/>
                  </a:lnTo>
                  <a:lnTo>
                    <a:pt x="11766" y="4131"/>
                  </a:lnTo>
                  <a:lnTo>
                    <a:pt x="11750" y="4126"/>
                  </a:lnTo>
                  <a:lnTo>
                    <a:pt x="11734" y="4120"/>
                  </a:lnTo>
                  <a:lnTo>
                    <a:pt x="11702" y="4109"/>
                  </a:lnTo>
                  <a:lnTo>
                    <a:pt x="11685" y="4106"/>
                  </a:lnTo>
                  <a:lnTo>
                    <a:pt x="11669" y="4104"/>
                  </a:lnTo>
                  <a:lnTo>
                    <a:pt x="11625" y="4108"/>
                  </a:lnTo>
                  <a:lnTo>
                    <a:pt x="11603" y="4112"/>
                  </a:lnTo>
                  <a:lnTo>
                    <a:pt x="11584" y="4118"/>
                  </a:lnTo>
                  <a:lnTo>
                    <a:pt x="11565" y="4127"/>
                  </a:lnTo>
                  <a:lnTo>
                    <a:pt x="11546" y="4136"/>
                  </a:lnTo>
                  <a:lnTo>
                    <a:pt x="11529" y="4148"/>
                  </a:lnTo>
                  <a:lnTo>
                    <a:pt x="11512" y="4161"/>
                  </a:lnTo>
                  <a:lnTo>
                    <a:pt x="11498" y="4175"/>
                  </a:lnTo>
                  <a:lnTo>
                    <a:pt x="11484" y="4190"/>
                  </a:lnTo>
                  <a:lnTo>
                    <a:pt x="11471" y="4208"/>
                  </a:lnTo>
                  <a:lnTo>
                    <a:pt x="11461" y="4226"/>
                  </a:lnTo>
                  <a:lnTo>
                    <a:pt x="11452" y="4245"/>
                  </a:lnTo>
                  <a:lnTo>
                    <a:pt x="11444" y="4265"/>
                  </a:lnTo>
                  <a:lnTo>
                    <a:pt x="11438" y="4286"/>
                  </a:lnTo>
                  <a:lnTo>
                    <a:pt x="11434" y="4309"/>
                  </a:lnTo>
                  <a:lnTo>
                    <a:pt x="12171" y="4309"/>
                  </a:lnTo>
                  <a:lnTo>
                    <a:pt x="12177" y="4305"/>
                  </a:lnTo>
                  <a:lnTo>
                    <a:pt x="12184" y="4304"/>
                  </a:lnTo>
                  <a:lnTo>
                    <a:pt x="12609" y="4304"/>
                  </a:lnTo>
                  <a:lnTo>
                    <a:pt x="12618" y="4271"/>
                  </a:lnTo>
                  <a:lnTo>
                    <a:pt x="12625" y="4239"/>
                  </a:lnTo>
                  <a:lnTo>
                    <a:pt x="12629" y="4204"/>
                  </a:lnTo>
                  <a:lnTo>
                    <a:pt x="12630" y="4171"/>
                  </a:lnTo>
                  <a:close/>
                  <a:moveTo>
                    <a:pt x="11425" y="3810"/>
                  </a:moveTo>
                  <a:lnTo>
                    <a:pt x="11524" y="3712"/>
                  </a:lnTo>
                  <a:lnTo>
                    <a:pt x="11532" y="3707"/>
                  </a:lnTo>
                  <a:lnTo>
                    <a:pt x="11539" y="3705"/>
                  </a:lnTo>
                  <a:lnTo>
                    <a:pt x="11547" y="3707"/>
                  </a:lnTo>
                  <a:lnTo>
                    <a:pt x="11553" y="3712"/>
                  </a:lnTo>
                  <a:lnTo>
                    <a:pt x="11557" y="3717"/>
                  </a:lnTo>
                  <a:lnTo>
                    <a:pt x="11558" y="3725"/>
                  </a:lnTo>
                  <a:lnTo>
                    <a:pt x="11557" y="3732"/>
                  </a:lnTo>
                  <a:lnTo>
                    <a:pt x="11553" y="3740"/>
                  </a:lnTo>
                  <a:lnTo>
                    <a:pt x="11426" y="3866"/>
                  </a:lnTo>
                  <a:lnTo>
                    <a:pt x="11425" y="3895"/>
                  </a:lnTo>
                  <a:lnTo>
                    <a:pt x="11460" y="3892"/>
                  </a:lnTo>
                  <a:lnTo>
                    <a:pt x="11494" y="3884"/>
                  </a:lnTo>
                  <a:lnTo>
                    <a:pt x="11528" y="3874"/>
                  </a:lnTo>
                  <a:lnTo>
                    <a:pt x="11558" y="3861"/>
                  </a:lnTo>
                  <a:lnTo>
                    <a:pt x="11589" y="3846"/>
                  </a:lnTo>
                  <a:lnTo>
                    <a:pt x="11617" y="3828"/>
                  </a:lnTo>
                  <a:lnTo>
                    <a:pt x="11643" y="3806"/>
                  </a:lnTo>
                  <a:lnTo>
                    <a:pt x="11667" y="3783"/>
                  </a:lnTo>
                  <a:lnTo>
                    <a:pt x="11689" y="3758"/>
                  </a:lnTo>
                  <a:lnTo>
                    <a:pt x="11710" y="3731"/>
                  </a:lnTo>
                  <a:lnTo>
                    <a:pt x="11726" y="3702"/>
                  </a:lnTo>
                  <a:lnTo>
                    <a:pt x="11741" y="3671"/>
                  </a:lnTo>
                  <a:lnTo>
                    <a:pt x="11752" y="3639"/>
                  </a:lnTo>
                  <a:lnTo>
                    <a:pt x="11761" y="3606"/>
                  </a:lnTo>
                  <a:lnTo>
                    <a:pt x="11766" y="3571"/>
                  </a:lnTo>
                  <a:lnTo>
                    <a:pt x="11767" y="3535"/>
                  </a:lnTo>
                  <a:lnTo>
                    <a:pt x="11765" y="3498"/>
                  </a:lnTo>
                  <a:lnTo>
                    <a:pt x="11760" y="3462"/>
                  </a:lnTo>
                  <a:lnTo>
                    <a:pt x="11751" y="3428"/>
                  </a:lnTo>
                  <a:lnTo>
                    <a:pt x="11739" y="3395"/>
                  </a:lnTo>
                  <a:lnTo>
                    <a:pt x="11724" y="3363"/>
                  </a:lnTo>
                  <a:lnTo>
                    <a:pt x="11706" y="3333"/>
                  </a:lnTo>
                  <a:lnTo>
                    <a:pt x="11684" y="3305"/>
                  </a:lnTo>
                  <a:lnTo>
                    <a:pt x="11661" y="3280"/>
                  </a:lnTo>
                  <a:lnTo>
                    <a:pt x="11635" y="3257"/>
                  </a:lnTo>
                  <a:lnTo>
                    <a:pt x="11608" y="3236"/>
                  </a:lnTo>
                  <a:lnTo>
                    <a:pt x="11578" y="3218"/>
                  </a:lnTo>
                  <a:lnTo>
                    <a:pt x="11547" y="3203"/>
                  </a:lnTo>
                  <a:lnTo>
                    <a:pt x="11530" y="3196"/>
                  </a:lnTo>
                  <a:lnTo>
                    <a:pt x="11514" y="3190"/>
                  </a:lnTo>
                  <a:lnTo>
                    <a:pt x="11479" y="3181"/>
                  </a:lnTo>
                  <a:lnTo>
                    <a:pt x="11443" y="3176"/>
                  </a:lnTo>
                  <a:lnTo>
                    <a:pt x="11406" y="3175"/>
                  </a:lnTo>
                  <a:lnTo>
                    <a:pt x="11369" y="3176"/>
                  </a:lnTo>
                  <a:lnTo>
                    <a:pt x="11333" y="3181"/>
                  </a:lnTo>
                  <a:lnTo>
                    <a:pt x="11298" y="3190"/>
                  </a:lnTo>
                  <a:lnTo>
                    <a:pt x="11265" y="3203"/>
                  </a:lnTo>
                  <a:lnTo>
                    <a:pt x="11233" y="3218"/>
                  </a:lnTo>
                  <a:lnTo>
                    <a:pt x="11203" y="3236"/>
                  </a:lnTo>
                  <a:lnTo>
                    <a:pt x="11175" y="3257"/>
                  </a:lnTo>
                  <a:lnTo>
                    <a:pt x="11149" y="3280"/>
                  </a:lnTo>
                  <a:lnTo>
                    <a:pt x="11126" y="3305"/>
                  </a:lnTo>
                  <a:lnTo>
                    <a:pt x="11106" y="3333"/>
                  </a:lnTo>
                  <a:lnTo>
                    <a:pt x="11088" y="3363"/>
                  </a:lnTo>
                  <a:lnTo>
                    <a:pt x="11072" y="3395"/>
                  </a:lnTo>
                  <a:lnTo>
                    <a:pt x="11066" y="3411"/>
                  </a:lnTo>
                  <a:lnTo>
                    <a:pt x="11060" y="3428"/>
                  </a:lnTo>
                  <a:lnTo>
                    <a:pt x="11051" y="3462"/>
                  </a:lnTo>
                  <a:lnTo>
                    <a:pt x="11046" y="3498"/>
                  </a:lnTo>
                  <a:lnTo>
                    <a:pt x="11044" y="3535"/>
                  </a:lnTo>
                  <a:lnTo>
                    <a:pt x="11046" y="3570"/>
                  </a:lnTo>
                  <a:lnTo>
                    <a:pt x="11051" y="3606"/>
                  </a:lnTo>
                  <a:lnTo>
                    <a:pt x="11060" y="3639"/>
                  </a:lnTo>
                  <a:lnTo>
                    <a:pt x="11070" y="3671"/>
                  </a:lnTo>
                  <a:lnTo>
                    <a:pt x="11085" y="3702"/>
                  </a:lnTo>
                  <a:lnTo>
                    <a:pt x="11102" y="3731"/>
                  </a:lnTo>
                  <a:lnTo>
                    <a:pt x="11121" y="3758"/>
                  </a:lnTo>
                  <a:lnTo>
                    <a:pt x="11143" y="3783"/>
                  </a:lnTo>
                  <a:lnTo>
                    <a:pt x="11167" y="3806"/>
                  </a:lnTo>
                  <a:lnTo>
                    <a:pt x="11193" y="3827"/>
                  </a:lnTo>
                  <a:lnTo>
                    <a:pt x="11221" y="3846"/>
                  </a:lnTo>
                  <a:lnTo>
                    <a:pt x="11252" y="3861"/>
                  </a:lnTo>
                  <a:lnTo>
                    <a:pt x="11283" y="3874"/>
                  </a:lnTo>
                  <a:lnTo>
                    <a:pt x="11316" y="3884"/>
                  </a:lnTo>
                  <a:lnTo>
                    <a:pt x="11349" y="3891"/>
                  </a:lnTo>
                  <a:lnTo>
                    <a:pt x="11385" y="3895"/>
                  </a:lnTo>
                  <a:lnTo>
                    <a:pt x="11385" y="3757"/>
                  </a:lnTo>
                  <a:lnTo>
                    <a:pt x="11258" y="3631"/>
                  </a:lnTo>
                  <a:lnTo>
                    <a:pt x="11253" y="3624"/>
                  </a:lnTo>
                  <a:lnTo>
                    <a:pt x="11252" y="3616"/>
                  </a:lnTo>
                  <a:lnTo>
                    <a:pt x="11255" y="3608"/>
                  </a:lnTo>
                  <a:lnTo>
                    <a:pt x="11258" y="3602"/>
                  </a:lnTo>
                  <a:lnTo>
                    <a:pt x="11265" y="3598"/>
                  </a:lnTo>
                  <a:lnTo>
                    <a:pt x="11271" y="3597"/>
                  </a:lnTo>
                  <a:lnTo>
                    <a:pt x="11279" y="3598"/>
                  </a:lnTo>
                  <a:lnTo>
                    <a:pt x="11287" y="3602"/>
                  </a:lnTo>
                  <a:lnTo>
                    <a:pt x="11385" y="3700"/>
                  </a:lnTo>
                  <a:lnTo>
                    <a:pt x="11385" y="3589"/>
                  </a:lnTo>
                  <a:lnTo>
                    <a:pt x="11385" y="3581"/>
                  </a:lnTo>
                  <a:lnTo>
                    <a:pt x="11385" y="3447"/>
                  </a:lnTo>
                  <a:lnTo>
                    <a:pt x="11387" y="3439"/>
                  </a:lnTo>
                  <a:lnTo>
                    <a:pt x="11392" y="3433"/>
                  </a:lnTo>
                  <a:lnTo>
                    <a:pt x="11398" y="3429"/>
                  </a:lnTo>
                  <a:lnTo>
                    <a:pt x="11405" y="3428"/>
                  </a:lnTo>
                  <a:lnTo>
                    <a:pt x="11412" y="3429"/>
                  </a:lnTo>
                  <a:lnTo>
                    <a:pt x="11419" y="3433"/>
                  </a:lnTo>
                  <a:lnTo>
                    <a:pt x="11424" y="3439"/>
                  </a:lnTo>
                  <a:lnTo>
                    <a:pt x="11425" y="3447"/>
                  </a:lnTo>
                  <a:lnTo>
                    <a:pt x="11425" y="3537"/>
                  </a:lnTo>
                  <a:lnTo>
                    <a:pt x="11517" y="3445"/>
                  </a:lnTo>
                  <a:lnTo>
                    <a:pt x="11525" y="3439"/>
                  </a:lnTo>
                  <a:lnTo>
                    <a:pt x="11533" y="3438"/>
                  </a:lnTo>
                  <a:lnTo>
                    <a:pt x="11541" y="3441"/>
                  </a:lnTo>
                  <a:lnTo>
                    <a:pt x="11546" y="3445"/>
                  </a:lnTo>
                  <a:lnTo>
                    <a:pt x="11551" y="3451"/>
                  </a:lnTo>
                  <a:lnTo>
                    <a:pt x="11552" y="3457"/>
                  </a:lnTo>
                  <a:lnTo>
                    <a:pt x="11551" y="3465"/>
                  </a:lnTo>
                  <a:lnTo>
                    <a:pt x="11546" y="3473"/>
                  </a:lnTo>
                  <a:lnTo>
                    <a:pt x="11425" y="3593"/>
                  </a:lnTo>
                  <a:lnTo>
                    <a:pt x="11425" y="3810"/>
                  </a:lnTo>
                  <a:close/>
                  <a:moveTo>
                    <a:pt x="11847" y="2875"/>
                  </a:moveTo>
                  <a:lnTo>
                    <a:pt x="11847" y="2753"/>
                  </a:lnTo>
                  <a:lnTo>
                    <a:pt x="11743" y="2650"/>
                  </a:lnTo>
                  <a:lnTo>
                    <a:pt x="11738" y="2643"/>
                  </a:lnTo>
                  <a:lnTo>
                    <a:pt x="11737" y="2635"/>
                  </a:lnTo>
                  <a:lnTo>
                    <a:pt x="11739" y="2627"/>
                  </a:lnTo>
                  <a:lnTo>
                    <a:pt x="11743" y="2622"/>
                  </a:lnTo>
                  <a:lnTo>
                    <a:pt x="11750" y="2617"/>
                  </a:lnTo>
                  <a:lnTo>
                    <a:pt x="11757" y="2616"/>
                  </a:lnTo>
                  <a:lnTo>
                    <a:pt x="11764" y="2617"/>
                  </a:lnTo>
                  <a:lnTo>
                    <a:pt x="11771" y="2622"/>
                  </a:lnTo>
                  <a:lnTo>
                    <a:pt x="11847" y="2696"/>
                  </a:lnTo>
                  <a:lnTo>
                    <a:pt x="11847" y="2643"/>
                  </a:lnTo>
                  <a:lnTo>
                    <a:pt x="11848" y="2634"/>
                  </a:lnTo>
                  <a:lnTo>
                    <a:pt x="11853" y="2627"/>
                  </a:lnTo>
                  <a:lnTo>
                    <a:pt x="11860" y="2624"/>
                  </a:lnTo>
                  <a:lnTo>
                    <a:pt x="11866" y="2622"/>
                  </a:lnTo>
                  <a:lnTo>
                    <a:pt x="11874" y="2624"/>
                  </a:lnTo>
                  <a:lnTo>
                    <a:pt x="11880" y="2627"/>
                  </a:lnTo>
                  <a:lnTo>
                    <a:pt x="11885" y="2634"/>
                  </a:lnTo>
                  <a:lnTo>
                    <a:pt x="11887" y="2643"/>
                  </a:lnTo>
                  <a:lnTo>
                    <a:pt x="11887" y="2741"/>
                  </a:lnTo>
                  <a:lnTo>
                    <a:pt x="11887" y="2748"/>
                  </a:lnTo>
                  <a:lnTo>
                    <a:pt x="11887" y="2831"/>
                  </a:lnTo>
                  <a:lnTo>
                    <a:pt x="12024" y="2693"/>
                  </a:lnTo>
                  <a:lnTo>
                    <a:pt x="12032" y="2688"/>
                  </a:lnTo>
                  <a:lnTo>
                    <a:pt x="12039" y="2686"/>
                  </a:lnTo>
                  <a:lnTo>
                    <a:pt x="12047" y="2689"/>
                  </a:lnTo>
                  <a:lnTo>
                    <a:pt x="12052" y="2693"/>
                  </a:lnTo>
                  <a:lnTo>
                    <a:pt x="12057" y="2699"/>
                  </a:lnTo>
                  <a:lnTo>
                    <a:pt x="12059" y="2707"/>
                  </a:lnTo>
                  <a:lnTo>
                    <a:pt x="12057" y="2714"/>
                  </a:lnTo>
                  <a:lnTo>
                    <a:pt x="12052" y="2721"/>
                  </a:lnTo>
                  <a:lnTo>
                    <a:pt x="11887" y="2887"/>
                  </a:lnTo>
                  <a:lnTo>
                    <a:pt x="11887" y="2960"/>
                  </a:lnTo>
                  <a:lnTo>
                    <a:pt x="11887" y="2968"/>
                  </a:lnTo>
                  <a:lnTo>
                    <a:pt x="11887" y="3172"/>
                  </a:lnTo>
                  <a:lnTo>
                    <a:pt x="11897" y="3164"/>
                  </a:lnTo>
                  <a:lnTo>
                    <a:pt x="11907" y="3156"/>
                  </a:lnTo>
                  <a:lnTo>
                    <a:pt x="11919" y="3147"/>
                  </a:lnTo>
                  <a:lnTo>
                    <a:pt x="11932" y="3138"/>
                  </a:lnTo>
                  <a:lnTo>
                    <a:pt x="11947" y="3130"/>
                  </a:lnTo>
                  <a:lnTo>
                    <a:pt x="11968" y="3126"/>
                  </a:lnTo>
                  <a:lnTo>
                    <a:pt x="11993" y="3125"/>
                  </a:lnTo>
                  <a:lnTo>
                    <a:pt x="12027" y="3129"/>
                  </a:lnTo>
                  <a:lnTo>
                    <a:pt x="12043" y="3131"/>
                  </a:lnTo>
                  <a:lnTo>
                    <a:pt x="12056" y="3131"/>
                  </a:lnTo>
                  <a:lnTo>
                    <a:pt x="12066" y="3129"/>
                  </a:lnTo>
                  <a:lnTo>
                    <a:pt x="12075" y="3125"/>
                  </a:lnTo>
                  <a:lnTo>
                    <a:pt x="12088" y="3112"/>
                  </a:lnTo>
                  <a:lnTo>
                    <a:pt x="12097" y="3097"/>
                  </a:lnTo>
                  <a:lnTo>
                    <a:pt x="12106" y="3078"/>
                  </a:lnTo>
                  <a:lnTo>
                    <a:pt x="12118" y="3058"/>
                  </a:lnTo>
                  <a:lnTo>
                    <a:pt x="12135" y="3040"/>
                  </a:lnTo>
                  <a:lnTo>
                    <a:pt x="12148" y="3033"/>
                  </a:lnTo>
                  <a:lnTo>
                    <a:pt x="12162" y="3026"/>
                  </a:lnTo>
                  <a:lnTo>
                    <a:pt x="12211" y="3012"/>
                  </a:lnTo>
                  <a:lnTo>
                    <a:pt x="12224" y="3007"/>
                  </a:lnTo>
                  <a:lnTo>
                    <a:pt x="12232" y="3001"/>
                  </a:lnTo>
                  <a:lnTo>
                    <a:pt x="12237" y="2992"/>
                  </a:lnTo>
                  <a:lnTo>
                    <a:pt x="12238" y="2978"/>
                  </a:lnTo>
                  <a:lnTo>
                    <a:pt x="12242" y="2928"/>
                  </a:lnTo>
                  <a:lnTo>
                    <a:pt x="12244" y="2911"/>
                  </a:lnTo>
                  <a:lnTo>
                    <a:pt x="12250" y="2897"/>
                  </a:lnTo>
                  <a:lnTo>
                    <a:pt x="12262" y="2875"/>
                  </a:lnTo>
                  <a:lnTo>
                    <a:pt x="12270" y="2868"/>
                  </a:lnTo>
                  <a:lnTo>
                    <a:pt x="12279" y="2860"/>
                  </a:lnTo>
                  <a:lnTo>
                    <a:pt x="12296" y="2847"/>
                  </a:lnTo>
                  <a:lnTo>
                    <a:pt x="12310" y="2836"/>
                  </a:lnTo>
                  <a:lnTo>
                    <a:pt x="12315" y="2828"/>
                  </a:lnTo>
                  <a:lnTo>
                    <a:pt x="12319" y="2821"/>
                  </a:lnTo>
                  <a:lnTo>
                    <a:pt x="12320" y="2812"/>
                  </a:lnTo>
                  <a:lnTo>
                    <a:pt x="12320" y="2801"/>
                  </a:lnTo>
                  <a:lnTo>
                    <a:pt x="12312" y="2773"/>
                  </a:lnTo>
                  <a:lnTo>
                    <a:pt x="12300" y="2743"/>
                  </a:lnTo>
                  <a:lnTo>
                    <a:pt x="12294" y="2727"/>
                  </a:lnTo>
                  <a:lnTo>
                    <a:pt x="12293" y="2711"/>
                  </a:lnTo>
                  <a:lnTo>
                    <a:pt x="12294" y="2693"/>
                  </a:lnTo>
                  <a:lnTo>
                    <a:pt x="12300" y="2676"/>
                  </a:lnTo>
                  <a:lnTo>
                    <a:pt x="12318" y="2629"/>
                  </a:lnTo>
                  <a:lnTo>
                    <a:pt x="12323" y="2616"/>
                  </a:lnTo>
                  <a:lnTo>
                    <a:pt x="12323" y="2606"/>
                  </a:lnTo>
                  <a:lnTo>
                    <a:pt x="12319" y="2598"/>
                  </a:lnTo>
                  <a:lnTo>
                    <a:pt x="12309" y="2588"/>
                  </a:lnTo>
                  <a:lnTo>
                    <a:pt x="12271" y="2553"/>
                  </a:lnTo>
                  <a:lnTo>
                    <a:pt x="12261" y="2540"/>
                  </a:lnTo>
                  <a:lnTo>
                    <a:pt x="12252" y="2529"/>
                  </a:lnTo>
                  <a:lnTo>
                    <a:pt x="12247" y="2516"/>
                  </a:lnTo>
                  <a:lnTo>
                    <a:pt x="12243" y="2505"/>
                  </a:lnTo>
                  <a:lnTo>
                    <a:pt x="12242" y="2483"/>
                  </a:lnTo>
                  <a:lnTo>
                    <a:pt x="12242" y="2461"/>
                  </a:lnTo>
                  <a:lnTo>
                    <a:pt x="12241" y="2443"/>
                  </a:lnTo>
                  <a:lnTo>
                    <a:pt x="12238" y="2434"/>
                  </a:lnTo>
                  <a:lnTo>
                    <a:pt x="12236" y="2427"/>
                  </a:lnTo>
                  <a:lnTo>
                    <a:pt x="12229" y="2419"/>
                  </a:lnTo>
                  <a:lnTo>
                    <a:pt x="12220" y="2413"/>
                  </a:lnTo>
                  <a:lnTo>
                    <a:pt x="12209" y="2406"/>
                  </a:lnTo>
                  <a:lnTo>
                    <a:pt x="12193" y="2401"/>
                  </a:lnTo>
                  <a:lnTo>
                    <a:pt x="12164" y="2393"/>
                  </a:lnTo>
                  <a:lnTo>
                    <a:pt x="12143" y="2384"/>
                  </a:lnTo>
                  <a:lnTo>
                    <a:pt x="12129" y="2376"/>
                  </a:lnTo>
                  <a:lnTo>
                    <a:pt x="12120" y="2365"/>
                  </a:lnTo>
                  <a:lnTo>
                    <a:pt x="12106" y="2340"/>
                  </a:lnTo>
                  <a:lnTo>
                    <a:pt x="12096" y="2322"/>
                  </a:lnTo>
                  <a:lnTo>
                    <a:pt x="12082" y="2301"/>
                  </a:lnTo>
                  <a:lnTo>
                    <a:pt x="12077" y="2295"/>
                  </a:lnTo>
                  <a:lnTo>
                    <a:pt x="12070" y="2291"/>
                  </a:lnTo>
                  <a:lnTo>
                    <a:pt x="12055" y="2287"/>
                  </a:lnTo>
                  <a:lnTo>
                    <a:pt x="12038" y="2289"/>
                  </a:lnTo>
                  <a:lnTo>
                    <a:pt x="12020" y="2292"/>
                  </a:lnTo>
                  <a:lnTo>
                    <a:pt x="12000" y="2296"/>
                  </a:lnTo>
                  <a:lnTo>
                    <a:pt x="11978" y="2296"/>
                  </a:lnTo>
                  <a:lnTo>
                    <a:pt x="11955" y="2292"/>
                  </a:lnTo>
                  <a:lnTo>
                    <a:pt x="11930" y="2281"/>
                  </a:lnTo>
                  <a:lnTo>
                    <a:pt x="11900" y="2259"/>
                  </a:lnTo>
                  <a:lnTo>
                    <a:pt x="11882" y="2248"/>
                  </a:lnTo>
                  <a:lnTo>
                    <a:pt x="11866" y="2244"/>
                  </a:lnTo>
                  <a:lnTo>
                    <a:pt x="11851" y="2246"/>
                  </a:lnTo>
                  <a:lnTo>
                    <a:pt x="11843" y="2250"/>
                  </a:lnTo>
                  <a:lnTo>
                    <a:pt x="11837" y="2254"/>
                  </a:lnTo>
                  <a:lnTo>
                    <a:pt x="11812" y="2276"/>
                  </a:lnTo>
                  <a:lnTo>
                    <a:pt x="11796" y="2286"/>
                  </a:lnTo>
                  <a:lnTo>
                    <a:pt x="11774" y="2294"/>
                  </a:lnTo>
                  <a:lnTo>
                    <a:pt x="11744" y="2295"/>
                  </a:lnTo>
                  <a:lnTo>
                    <a:pt x="11726" y="2294"/>
                  </a:lnTo>
                  <a:lnTo>
                    <a:pt x="11706" y="2291"/>
                  </a:lnTo>
                  <a:lnTo>
                    <a:pt x="11691" y="2289"/>
                  </a:lnTo>
                  <a:lnTo>
                    <a:pt x="11676" y="2289"/>
                  </a:lnTo>
                  <a:lnTo>
                    <a:pt x="11666" y="2291"/>
                  </a:lnTo>
                  <a:lnTo>
                    <a:pt x="11658" y="2295"/>
                  </a:lnTo>
                  <a:lnTo>
                    <a:pt x="11646" y="2308"/>
                  </a:lnTo>
                  <a:lnTo>
                    <a:pt x="11637" y="2324"/>
                  </a:lnTo>
                  <a:lnTo>
                    <a:pt x="11628" y="2342"/>
                  </a:lnTo>
                  <a:lnTo>
                    <a:pt x="11616" y="2361"/>
                  </a:lnTo>
                  <a:lnTo>
                    <a:pt x="11598" y="2379"/>
                  </a:lnTo>
                  <a:lnTo>
                    <a:pt x="11585" y="2387"/>
                  </a:lnTo>
                  <a:lnTo>
                    <a:pt x="11570" y="2393"/>
                  </a:lnTo>
                  <a:lnTo>
                    <a:pt x="11521" y="2409"/>
                  </a:lnTo>
                  <a:lnTo>
                    <a:pt x="11508" y="2414"/>
                  </a:lnTo>
                  <a:lnTo>
                    <a:pt x="11501" y="2419"/>
                  </a:lnTo>
                  <a:lnTo>
                    <a:pt x="11497" y="2428"/>
                  </a:lnTo>
                  <a:lnTo>
                    <a:pt x="11494" y="2442"/>
                  </a:lnTo>
                  <a:lnTo>
                    <a:pt x="11491" y="2492"/>
                  </a:lnTo>
                  <a:lnTo>
                    <a:pt x="11488" y="2509"/>
                  </a:lnTo>
                  <a:lnTo>
                    <a:pt x="11484" y="2523"/>
                  </a:lnTo>
                  <a:lnTo>
                    <a:pt x="11470" y="2544"/>
                  </a:lnTo>
                  <a:lnTo>
                    <a:pt x="11462" y="2552"/>
                  </a:lnTo>
                  <a:lnTo>
                    <a:pt x="11455" y="2560"/>
                  </a:lnTo>
                  <a:lnTo>
                    <a:pt x="11438" y="2572"/>
                  </a:lnTo>
                  <a:lnTo>
                    <a:pt x="11424" y="2585"/>
                  </a:lnTo>
                  <a:lnTo>
                    <a:pt x="11419" y="2592"/>
                  </a:lnTo>
                  <a:lnTo>
                    <a:pt x="11415" y="2599"/>
                  </a:lnTo>
                  <a:lnTo>
                    <a:pt x="11412" y="2608"/>
                  </a:lnTo>
                  <a:lnTo>
                    <a:pt x="11412" y="2620"/>
                  </a:lnTo>
                  <a:lnTo>
                    <a:pt x="11421" y="2647"/>
                  </a:lnTo>
                  <a:lnTo>
                    <a:pt x="11434" y="2677"/>
                  </a:lnTo>
                  <a:lnTo>
                    <a:pt x="11438" y="2694"/>
                  </a:lnTo>
                  <a:lnTo>
                    <a:pt x="11440" y="2711"/>
                  </a:lnTo>
                  <a:lnTo>
                    <a:pt x="11438" y="2732"/>
                  </a:lnTo>
                  <a:lnTo>
                    <a:pt x="11432" y="2751"/>
                  </a:lnTo>
                  <a:lnTo>
                    <a:pt x="11416" y="2782"/>
                  </a:lnTo>
                  <a:lnTo>
                    <a:pt x="11411" y="2797"/>
                  </a:lnTo>
                  <a:lnTo>
                    <a:pt x="11411" y="2805"/>
                  </a:lnTo>
                  <a:lnTo>
                    <a:pt x="11412" y="2812"/>
                  </a:lnTo>
                  <a:lnTo>
                    <a:pt x="11420" y="2828"/>
                  </a:lnTo>
                  <a:lnTo>
                    <a:pt x="11438" y="2847"/>
                  </a:lnTo>
                  <a:lnTo>
                    <a:pt x="11461" y="2868"/>
                  </a:lnTo>
                  <a:lnTo>
                    <a:pt x="11476" y="2884"/>
                  </a:lnTo>
                  <a:lnTo>
                    <a:pt x="11484" y="2899"/>
                  </a:lnTo>
                  <a:lnTo>
                    <a:pt x="11488" y="2911"/>
                  </a:lnTo>
                  <a:lnTo>
                    <a:pt x="11491" y="2941"/>
                  </a:lnTo>
                  <a:lnTo>
                    <a:pt x="11491" y="2960"/>
                  </a:lnTo>
                  <a:lnTo>
                    <a:pt x="11494" y="2985"/>
                  </a:lnTo>
                  <a:lnTo>
                    <a:pt x="11502" y="3000"/>
                  </a:lnTo>
                  <a:lnTo>
                    <a:pt x="11514" y="3010"/>
                  </a:lnTo>
                  <a:lnTo>
                    <a:pt x="11529" y="3015"/>
                  </a:lnTo>
                  <a:lnTo>
                    <a:pt x="11547" y="3020"/>
                  </a:lnTo>
                  <a:lnTo>
                    <a:pt x="11567" y="3026"/>
                  </a:lnTo>
                  <a:lnTo>
                    <a:pt x="11587" y="3034"/>
                  </a:lnTo>
                  <a:lnTo>
                    <a:pt x="11606" y="3048"/>
                  </a:lnTo>
                  <a:lnTo>
                    <a:pt x="11615" y="3057"/>
                  </a:lnTo>
                  <a:lnTo>
                    <a:pt x="11623" y="3069"/>
                  </a:lnTo>
                  <a:lnTo>
                    <a:pt x="11648" y="3112"/>
                  </a:lnTo>
                  <a:lnTo>
                    <a:pt x="11656" y="3124"/>
                  </a:lnTo>
                  <a:lnTo>
                    <a:pt x="11664" y="3130"/>
                  </a:lnTo>
                  <a:lnTo>
                    <a:pt x="11673" y="3133"/>
                  </a:lnTo>
                  <a:lnTo>
                    <a:pt x="11687" y="3131"/>
                  </a:lnTo>
                  <a:lnTo>
                    <a:pt x="11737" y="3124"/>
                  </a:lnTo>
                  <a:lnTo>
                    <a:pt x="11757" y="3124"/>
                  </a:lnTo>
                  <a:lnTo>
                    <a:pt x="11774" y="3126"/>
                  </a:lnTo>
                  <a:lnTo>
                    <a:pt x="11789" y="3131"/>
                  </a:lnTo>
                  <a:lnTo>
                    <a:pt x="11803" y="3139"/>
                  </a:lnTo>
                  <a:lnTo>
                    <a:pt x="11826" y="3156"/>
                  </a:lnTo>
                  <a:lnTo>
                    <a:pt x="11847" y="3171"/>
                  </a:lnTo>
                  <a:lnTo>
                    <a:pt x="11847" y="2973"/>
                  </a:lnTo>
                  <a:lnTo>
                    <a:pt x="11769" y="2895"/>
                  </a:lnTo>
                  <a:lnTo>
                    <a:pt x="11764" y="2887"/>
                  </a:lnTo>
                  <a:lnTo>
                    <a:pt x="11762" y="2879"/>
                  </a:lnTo>
                  <a:lnTo>
                    <a:pt x="11765" y="2873"/>
                  </a:lnTo>
                  <a:lnTo>
                    <a:pt x="11769" y="2867"/>
                  </a:lnTo>
                  <a:lnTo>
                    <a:pt x="11775" y="2863"/>
                  </a:lnTo>
                  <a:lnTo>
                    <a:pt x="11782" y="2860"/>
                  </a:lnTo>
                  <a:lnTo>
                    <a:pt x="11789" y="2861"/>
                  </a:lnTo>
                  <a:lnTo>
                    <a:pt x="11797" y="2867"/>
                  </a:lnTo>
                  <a:lnTo>
                    <a:pt x="11847" y="2916"/>
                  </a:lnTo>
                  <a:lnTo>
                    <a:pt x="11847" y="2882"/>
                  </a:lnTo>
                  <a:lnTo>
                    <a:pt x="11847" y="2875"/>
                  </a:lnTo>
                  <a:close/>
                  <a:moveTo>
                    <a:pt x="11887" y="2960"/>
                  </a:moveTo>
                  <a:lnTo>
                    <a:pt x="11887" y="2968"/>
                  </a:lnTo>
                  <a:lnTo>
                    <a:pt x="11887" y="2960"/>
                  </a:lnTo>
                  <a:close/>
                  <a:moveTo>
                    <a:pt x="11887" y="2741"/>
                  </a:moveTo>
                  <a:lnTo>
                    <a:pt x="11887" y="2748"/>
                  </a:lnTo>
                  <a:lnTo>
                    <a:pt x="11887" y="2741"/>
                  </a:lnTo>
                  <a:close/>
                  <a:moveTo>
                    <a:pt x="11847" y="2882"/>
                  </a:moveTo>
                  <a:lnTo>
                    <a:pt x="11847" y="2875"/>
                  </a:lnTo>
                  <a:lnTo>
                    <a:pt x="11847" y="2882"/>
                  </a:lnTo>
                  <a:close/>
                  <a:moveTo>
                    <a:pt x="9740" y="1741"/>
                  </a:moveTo>
                  <a:lnTo>
                    <a:pt x="9740" y="1619"/>
                  </a:lnTo>
                  <a:lnTo>
                    <a:pt x="9741" y="1611"/>
                  </a:lnTo>
                  <a:lnTo>
                    <a:pt x="9747" y="1604"/>
                  </a:lnTo>
                  <a:lnTo>
                    <a:pt x="9753" y="1601"/>
                  </a:lnTo>
                  <a:lnTo>
                    <a:pt x="9761" y="1599"/>
                  </a:lnTo>
                  <a:lnTo>
                    <a:pt x="10006" y="1599"/>
                  </a:lnTo>
                  <a:lnTo>
                    <a:pt x="10013" y="1601"/>
                  </a:lnTo>
                  <a:lnTo>
                    <a:pt x="10020" y="1604"/>
                  </a:lnTo>
                  <a:lnTo>
                    <a:pt x="10024" y="1611"/>
                  </a:lnTo>
                  <a:lnTo>
                    <a:pt x="10026" y="1619"/>
                  </a:lnTo>
                  <a:lnTo>
                    <a:pt x="10026" y="1741"/>
                  </a:lnTo>
                  <a:lnTo>
                    <a:pt x="10978" y="1741"/>
                  </a:lnTo>
                  <a:lnTo>
                    <a:pt x="10987" y="1744"/>
                  </a:lnTo>
                  <a:lnTo>
                    <a:pt x="10994" y="1749"/>
                  </a:lnTo>
                  <a:lnTo>
                    <a:pt x="11211" y="2048"/>
                  </a:lnTo>
                  <a:lnTo>
                    <a:pt x="11235" y="2048"/>
                  </a:lnTo>
                  <a:lnTo>
                    <a:pt x="11242" y="2051"/>
                  </a:lnTo>
                  <a:lnTo>
                    <a:pt x="11248" y="2055"/>
                  </a:lnTo>
                  <a:lnTo>
                    <a:pt x="11253" y="2061"/>
                  </a:lnTo>
                  <a:lnTo>
                    <a:pt x="11255" y="2069"/>
                  </a:lnTo>
                  <a:lnTo>
                    <a:pt x="11255" y="2241"/>
                  </a:lnTo>
                  <a:lnTo>
                    <a:pt x="11253" y="2249"/>
                  </a:lnTo>
                  <a:lnTo>
                    <a:pt x="11248" y="2255"/>
                  </a:lnTo>
                  <a:lnTo>
                    <a:pt x="11242" y="2260"/>
                  </a:lnTo>
                  <a:lnTo>
                    <a:pt x="11235" y="2262"/>
                  </a:lnTo>
                  <a:lnTo>
                    <a:pt x="11224" y="2262"/>
                  </a:lnTo>
                  <a:lnTo>
                    <a:pt x="11224" y="3107"/>
                  </a:lnTo>
                  <a:lnTo>
                    <a:pt x="11223" y="3116"/>
                  </a:lnTo>
                  <a:lnTo>
                    <a:pt x="11217" y="3122"/>
                  </a:lnTo>
                  <a:lnTo>
                    <a:pt x="11211" y="3126"/>
                  </a:lnTo>
                  <a:lnTo>
                    <a:pt x="11205" y="3127"/>
                  </a:lnTo>
                  <a:lnTo>
                    <a:pt x="11197" y="3126"/>
                  </a:lnTo>
                  <a:lnTo>
                    <a:pt x="11190" y="3122"/>
                  </a:lnTo>
                  <a:lnTo>
                    <a:pt x="11185" y="3116"/>
                  </a:lnTo>
                  <a:lnTo>
                    <a:pt x="11184" y="3107"/>
                  </a:lnTo>
                  <a:lnTo>
                    <a:pt x="11184" y="2262"/>
                  </a:lnTo>
                  <a:lnTo>
                    <a:pt x="10285" y="2262"/>
                  </a:lnTo>
                  <a:lnTo>
                    <a:pt x="9388" y="2262"/>
                  </a:lnTo>
                  <a:lnTo>
                    <a:pt x="9388" y="3282"/>
                  </a:lnTo>
                  <a:lnTo>
                    <a:pt x="9388" y="4304"/>
                  </a:lnTo>
                  <a:lnTo>
                    <a:pt x="10285" y="4304"/>
                  </a:lnTo>
                  <a:lnTo>
                    <a:pt x="11184" y="4304"/>
                  </a:lnTo>
                  <a:lnTo>
                    <a:pt x="11184" y="3976"/>
                  </a:lnTo>
                  <a:lnTo>
                    <a:pt x="11185" y="3969"/>
                  </a:lnTo>
                  <a:lnTo>
                    <a:pt x="11190" y="3962"/>
                  </a:lnTo>
                  <a:lnTo>
                    <a:pt x="11197" y="3959"/>
                  </a:lnTo>
                  <a:lnTo>
                    <a:pt x="11205" y="3957"/>
                  </a:lnTo>
                  <a:lnTo>
                    <a:pt x="11211" y="3959"/>
                  </a:lnTo>
                  <a:lnTo>
                    <a:pt x="11217" y="3962"/>
                  </a:lnTo>
                  <a:lnTo>
                    <a:pt x="11223" y="3969"/>
                  </a:lnTo>
                  <a:lnTo>
                    <a:pt x="11224" y="3976"/>
                  </a:lnTo>
                  <a:lnTo>
                    <a:pt x="11224" y="4324"/>
                  </a:lnTo>
                  <a:lnTo>
                    <a:pt x="11223" y="4332"/>
                  </a:lnTo>
                  <a:lnTo>
                    <a:pt x="11217" y="4338"/>
                  </a:lnTo>
                  <a:lnTo>
                    <a:pt x="11211" y="4342"/>
                  </a:lnTo>
                  <a:lnTo>
                    <a:pt x="11205" y="4343"/>
                  </a:lnTo>
                  <a:lnTo>
                    <a:pt x="10285" y="4343"/>
                  </a:lnTo>
                  <a:lnTo>
                    <a:pt x="9367" y="4343"/>
                  </a:lnTo>
                  <a:lnTo>
                    <a:pt x="9361" y="4342"/>
                  </a:lnTo>
                  <a:lnTo>
                    <a:pt x="9354" y="4338"/>
                  </a:lnTo>
                  <a:lnTo>
                    <a:pt x="9349" y="4332"/>
                  </a:lnTo>
                  <a:lnTo>
                    <a:pt x="9348" y="4324"/>
                  </a:lnTo>
                  <a:lnTo>
                    <a:pt x="9348" y="3808"/>
                  </a:lnTo>
                  <a:lnTo>
                    <a:pt x="9348" y="3292"/>
                  </a:lnTo>
                  <a:lnTo>
                    <a:pt x="9348" y="2777"/>
                  </a:lnTo>
                  <a:lnTo>
                    <a:pt x="9348" y="2262"/>
                  </a:lnTo>
                  <a:lnTo>
                    <a:pt x="9336" y="2262"/>
                  </a:lnTo>
                  <a:lnTo>
                    <a:pt x="9329" y="2260"/>
                  </a:lnTo>
                  <a:lnTo>
                    <a:pt x="9322" y="2255"/>
                  </a:lnTo>
                  <a:lnTo>
                    <a:pt x="9318" y="2249"/>
                  </a:lnTo>
                  <a:lnTo>
                    <a:pt x="9317" y="2241"/>
                  </a:lnTo>
                  <a:lnTo>
                    <a:pt x="9317" y="2069"/>
                  </a:lnTo>
                  <a:lnTo>
                    <a:pt x="9318" y="2061"/>
                  </a:lnTo>
                  <a:lnTo>
                    <a:pt x="9322" y="2055"/>
                  </a:lnTo>
                  <a:lnTo>
                    <a:pt x="9329" y="2051"/>
                  </a:lnTo>
                  <a:lnTo>
                    <a:pt x="9336" y="2048"/>
                  </a:lnTo>
                  <a:lnTo>
                    <a:pt x="9364" y="2048"/>
                  </a:lnTo>
                  <a:lnTo>
                    <a:pt x="9581" y="1749"/>
                  </a:lnTo>
                  <a:lnTo>
                    <a:pt x="9589" y="1744"/>
                  </a:lnTo>
                  <a:lnTo>
                    <a:pt x="9598" y="1741"/>
                  </a:lnTo>
                  <a:lnTo>
                    <a:pt x="9740" y="1741"/>
                  </a:lnTo>
                  <a:close/>
                  <a:moveTo>
                    <a:pt x="9985" y="1741"/>
                  </a:moveTo>
                  <a:lnTo>
                    <a:pt x="9985" y="1639"/>
                  </a:lnTo>
                  <a:lnTo>
                    <a:pt x="9780" y="1639"/>
                  </a:lnTo>
                  <a:lnTo>
                    <a:pt x="9780" y="1741"/>
                  </a:lnTo>
                  <a:lnTo>
                    <a:pt x="9799" y="1741"/>
                  </a:lnTo>
                  <a:lnTo>
                    <a:pt x="9808" y="1743"/>
                  </a:lnTo>
                  <a:lnTo>
                    <a:pt x="9815" y="1748"/>
                  </a:lnTo>
                  <a:lnTo>
                    <a:pt x="9818" y="1754"/>
                  </a:lnTo>
                  <a:lnTo>
                    <a:pt x="9820" y="1762"/>
                  </a:lnTo>
                  <a:lnTo>
                    <a:pt x="9818" y="1768"/>
                  </a:lnTo>
                  <a:lnTo>
                    <a:pt x="9815" y="1775"/>
                  </a:lnTo>
                  <a:lnTo>
                    <a:pt x="9808" y="1780"/>
                  </a:lnTo>
                  <a:lnTo>
                    <a:pt x="9799" y="1781"/>
                  </a:lnTo>
                  <a:lnTo>
                    <a:pt x="9607" y="1781"/>
                  </a:lnTo>
                  <a:lnTo>
                    <a:pt x="9413" y="2048"/>
                  </a:lnTo>
                  <a:lnTo>
                    <a:pt x="10288" y="2048"/>
                  </a:lnTo>
                  <a:lnTo>
                    <a:pt x="11162" y="2048"/>
                  </a:lnTo>
                  <a:lnTo>
                    <a:pt x="10967" y="1781"/>
                  </a:lnTo>
                  <a:lnTo>
                    <a:pt x="9953" y="1781"/>
                  </a:lnTo>
                  <a:lnTo>
                    <a:pt x="9944" y="1780"/>
                  </a:lnTo>
                  <a:lnTo>
                    <a:pt x="9938" y="1775"/>
                  </a:lnTo>
                  <a:lnTo>
                    <a:pt x="9934" y="1768"/>
                  </a:lnTo>
                  <a:lnTo>
                    <a:pt x="9933" y="1762"/>
                  </a:lnTo>
                  <a:lnTo>
                    <a:pt x="9934" y="1754"/>
                  </a:lnTo>
                  <a:lnTo>
                    <a:pt x="9938" y="1748"/>
                  </a:lnTo>
                  <a:lnTo>
                    <a:pt x="9944" y="1743"/>
                  </a:lnTo>
                  <a:lnTo>
                    <a:pt x="9953" y="1741"/>
                  </a:lnTo>
                  <a:lnTo>
                    <a:pt x="9985" y="1741"/>
                  </a:lnTo>
                  <a:close/>
                  <a:moveTo>
                    <a:pt x="9372" y="2089"/>
                  </a:moveTo>
                  <a:lnTo>
                    <a:pt x="9357" y="2089"/>
                  </a:lnTo>
                  <a:lnTo>
                    <a:pt x="9357" y="2222"/>
                  </a:lnTo>
                  <a:lnTo>
                    <a:pt x="10285" y="2222"/>
                  </a:lnTo>
                  <a:lnTo>
                    <a:pt x="11215" y="2222"/>
                  </a:lnTo>
                  <a:lnTo>
                    <a:pt x="11215" y="2089"/>
                  </a:lnTo>
                  <a:lnTo>
                    <a:pt x="11205" y="2089"/>
                  </a:lnTo>
                  <a:lnTo>
                    <a:pt x="11198" y="2089"/>
                  </a:lnTo>
                  <a:lnTo>
                    <a:pt x="10288" y="2089"/>
                  </a:lnTo>
                  <a:lnTo>
                    <a:pt x="9379" y="2089"/>
                  </a:lnTo>
                  <a:lnTo>
                    <a:pt x="9372" y="2089"/>
                  </a:lnTo>
                  <a:close/>
                  <a:moveTo>
                    <a:pt x="11205" y="2089"/>
                  </a:moveTo>
                  <a:lnTo>
                    <a:pt x="11198" y="2089"/>
                  </a:lnTo>
                  <a:lnTo>
                    <a:pt x="11205" y="2089"/>
                  </a:lnTo>
                  <a:close/>
                  <a:moveTo>
                    <a:pt x="9379" y="2089"/>
                  </a:moveTo>
                  <a:lnTo>
                    <a:pt x="9372" y="2089"/>
                  </a:lnTo>
                  <a:lnTo>
                    <a:pt x="9379" y="2089"/>
                  </a:lnTo>
                  <a:close/>
                  <a:moveTo>
                    <a:pt x="11106" y="1136"/>
                  </a:moveTo>
                  <a:lnTo>
                    <a:pt x="11083" y="1126"/>
                  </a:lnTo>
                  <a:lnTo>
                    <a:pt x="11056" y="1122"/>
                  </a:lnTo>
                  <a:lnTo>
                    <a:pt x="11035" y="1125"/>
                  </a:lnTo>
                  <a:lnTo>
                    <a:pt x="11017" y="1130"/>
                  </a:lnTo>
                  <a:lnTo>
                    <a:pt x="10999" y="1140"/>
                  </a:lnTo>
                  <a:lnTo>
                    <a:pt x="10985" y="1152"/>
                  </a:lnTo>
                  <a:lnTo>
                    <a:pt x="10972" y="1167"/>
                  </a:lnTo>
                  <a:lnTo>
                    <a:pt x="10963" y="1185"/>
                  </a:lnTo>
                  <a:lnTo>
                    <a:pt x="10957" y="1204"/>
                  </a:lnTo>
                  <a:lnTo>
                    <a:pt x="10956" y="1225"/>
                  </a:lnTo>
                  <a:lnTo>
                    <a:pt x="10958" y="1246"/>
                  </a:lnTo>
                  <a:lnTo>
                    <a:pt x="11683" y="1245"/>
                  </a:lnTo>
                  <a:lnTo>
                    <a:pt x="11683" y="1227"/>
                  </a:lnTo>
                  <a:lnTo>
                    <a:pt x="11682" y="1208"/>
                  </a:lnTo>
                  <a:lnTo>
                    <a:pt x="11675" y="1190"/>
                  </a:lnTo>
                  <a:lnTo>
                    <a:pt x="11666" y="1174"/>
                  </a:lnTo>
                  <a:lnTo>
                    <a:pt x="11653" y="1159"/>
                  </a:lnTo>
                  <a:lnTo>
                    <a:pt x="11647" y="1153"/>
                  </a:lnTo>
                  <a:lnTo>
                    <a:pt x="11639" y="1148"/>
                  </a:lnTo>
                  <a:lnTo>
                    <a:pt x="11621" y="1139"/>
                  </a:lnTo>
                  <a:lnTo>
                    <a:pt x="11603" y="1133"/>
                  </a:lnTo>
                  <a:lnTo>
                    <a:pt x="11583" y="1131"/>
                  </a:lnTo>
                  <a:lnTo>
                    <a:pt x="11558" y="1134"/>
                  </a:lnTo>
                  <a:lnTo>
                    <a:pt x="11542" y="1138"/>
                  </a:lnTo>
                  <a:lnTo>
                    <a:pt x="11523" y="1139"/>
                  </a:lnTo>
                  <a:lnTo>
                    <a:pt x="11489" y="1133"/>
                  </a:lnTo>
                  <a:lnTo>
                    <a:pt x="11489" y="1113"/>
                  </a:lnTo>
                  <a:lnTo>
                    <a:pt x="11487" y="1096"/>
                  </a:lnTo>
                  <a:lnTo>
                    <a:pt x="11482" y="1078"/>
                  </a:lnTo>
                  <a:lnTo>
                    <a:pt x="11476" y="1061"/>
                  </a:lnTo>
                  <a:lnTo>
                    <a:pt x="11469" y="1044"/>
                  </a:lnTo>
                  <a:lnTo>
                    <a:pt x="11460" y="1030"/>
                  </a:lnTo>
                  <a:lnTo>
                    <a:pt x="11451" y="1016"/>
                  </a:lnTo>
                  <a:lnTo>
                    <a:pt x="11439" y="1002"/>
                  </a:lnTo>
                  <a:lnTo>
                    <a:pt x="11412" y="980"/>
                  </a:lnTo>
                  <a:lnTo>
                    <a:pt x="11383" y="964"/>
                  </a:lnTo>
                  <a:lnTo>
                    <a:pt x="11366" y="957"/>
                  </a:lnTo>
                  <a:lnTo>
                    <a:pt x="11349" y="954"/>
                  </a:lnTo>
                  <a:lnTo>
                    <a:pt x="11312" y="950"/>
                  </a:lnTo>
                  <a:lnTo>
                    <a:pt x="11278" y="954"/>
                  </a:lnTo>
                  <a:lnTo>
                    <a:pt x="11261" y="957"/>
                  </a:lnTo>
                  <a:lnTo>
                    <a:pt x="11246" y="963"/>
                  </a:lnTo>
                  <a:lnTo>
                    <a:pt x="11230" y="970"/>
                  </a:lnTo>
                  <a:lnTo>
                    <a:pt x="11216" y="978"/>
                  </a:lnTo>
                  <a:lnTo>
                    <a:pt x="11190" y="998"/>
                  </a:lnTo>
                  <a:lnTo>
                    <a:pt x="11170" y="1024"/>
                  </a:lnTo>
                  <a:lnTo>
                    <a:pt x="11153" y="1053"/>
                  </a:lnTo>
                  <a:lnTo>
                    <a:pt x="11147" y="1069"/>
                  </a:lnTo>
                  <a:lnTo>
                    <a:pt x="11142" y="1085"/>
                  </a:lnTo>
                  <a:lnTo>
                    <a:pt x="11138" y="1102"/>
                  </a:lnTo>
                  <a:lnTo>
                    <a:pt x="11137" y="1120"/>
                  </a:lnTo>
                  <a:lnTo>
                    <a:pt x="11134" y="1131"/>
                  </a:lnTo>
                  <a:lnTo>
                    <a:pt x="11126" y="1138"/>
                  </a:lnTo>
                  <a:lnTo>
                    <a:pt x="11122" y="1139"/>
                  </a:lnTo>
                  <a:lnTo>
                    <a:pt x="11117" y="1140"/>
                  </a:lnTo>
                  <a:lnTo>
                    <a:pt x="11106" y="1136"/>
                  </a:lnTo>
                  <a:close/>
                  <a:moveTo>
                    <a:pt x="11528" y="1106"/>
                  </a:moveTo>
                  <a:lnTo>
                    <a:pt x="11539" y="1098"/>
                  </a:lnTo>
                  <a:lnTo>
                    <a:pt x="11555" y="1094"/>
                  </a:lnTo>
                  <a:lnTo>
                    <a:pt x="11583" y="1090"/>
                  </a:lnTo>
                  <a:lnTo>
                    <a:pt x="11611" y="1094"/>
                  </a:lnTo>
                  <a:lnTo>
                    <a:pt x="11624" y="1097"/>
                  </a:lnTo>
                  <a:lnTo>
                    <a:pt x="11637" y="1102"/>
                  </a:lnTo>
                  <a:lnTo>
                    <a:pt x="11660" y="1115"/>
                  </a:lnTo>
                  <a:lnTo>
                    <a:pt x="11682" y="1131"/>
                  </a:lnTo>
                  <a:lnTo>
                    <a:pt x="11698" y="1151"/>
                  </a:lnTo>
                  <a:lnTo>
                    <a:pt x="11712" y="1174"/>
                  </a:lnTo>
                  <a:lnTo>
                    <a:pt x="11720" y="1199"/>
                  </a:lnTo>
                  <a:lnTo>
                    <a:pt x="11723" y="1213"/>
                  </a:lnTo>
                  <a:lnTo>
                    <a:pt x="11723" y="1227"/>
                  </a:lnTo>
                  <a:lnTo>
                    <a:pt x="11723" y="1243"/>
                  </a:lnTo>
                  <a:lnTo>
                    <a:pt x="11721" y="1262"/>
                  </a:lnTo>
                  <a:lnTo>
                    <a:pt x="11714" y="1278"/>
                  </a:lnTo>
                  <a:lnTo>
                    <a:pt x="11707" y="1284"/>
                  </a:lnTo>
                  <a:lnTo>
                    <a:pt x="11700" y="1285"/>
                  </a:lnTo>
                  <a:lnTo>
                    <a:pt x="10943" y="1286"/>
                  </a:lnTo>
                  <a:lnTo>
                    <a:pt x="10934" y="1285"/>
                  </a:lnTo>
                  <a:lnTo>
                    <a:pt x="10928" y="1280"/>
                  </a:lnTo>
                  <a:lnTo>
                    <a:pt x="10924" y="1271"/>
                  </a:lnTo>
                  <a:lnTo>
                    <a:pt x="10920" y="1262"/>
                  </a:lnTo>
                  <a:lnTo>
                    <a:pt x="10916" y="1240"/>
                  </a:lnTo>
                  <a:lnTo>
                    <a:pt x="10915" y="1225"/>
                  </a:lnTo>
                  <a:lnTo>
                    <a:pt x="10919" y="1197"/>
                  </a:lnTo>
                  <a:lnTo>
                    <a:pt x="10926" y="1170"/>
                  </a:lnTo>
                  <a:lnTo>
                    <a:pt x="10939" y="1145"/>
                  </a:lnTo>
                  <a:lnTo>
                    <a:pt x="10956" y="1125"/>
                  </a:lnTo>
                  <a:lnTo>
                    <a:pt x="10978" y="1107"/>
                  </a:lnTo>
                  <a:lnTo>
                    <a:pt x="10989" y="1099"/>
                  </a:lnTo>
                  <a:lnTo>
                    <a:pt x="11001" y="1094"/>
                  </a:lnTo>
                  <a:lnTo>
                    <a:pt x="11028" y="1085"/>
                  </a:lnTo>
                  <a:lnTo>
                    <a:pt x="11042" y="1083"/>
                  </a:lnTo>
                  <a:lnTo>
                    <a:pt x="11056" y="1083"/>
                  </a:lnTo>
                  <a:lnTo>
                    <a:pt x="11079" y="1084"/>
                  </a:lnTo>
                  <a:lnTo>
                    <a:pt x="11101" y="1089"/>
                  </a:lnTo>
                  <a:lnTo>
                    <a:pt x="11110" y="1052"/>
                  </a:lnTo>
                  <a:lnTo>
                    <a:pt x="11126" y="1019"/>
                  </a:lnTo>
                  <a:lnTo>
                    <a:pt x="11147" y="988"/>
                  </a:lnTo>
                  <a:lnTo>
                    <a:pt x="11173" y="961"/>
                  </a:lnTo>
                  <a:lnTo>
                    <a:pt x="11202" y="940"/>
                  </a:lnTo>
                  <a:lnTo>
                    <a:pt x="11237" y="923"/>
                  </a:lnTo>
                  <a:lnTo>
                    <a:pt x="11274" y="913"/>
                  </a:lnTo>
                  <a:lnTo>
                    <a:pt x="11312" y="910"/>
                  </a:lnTo>
                  <a:lnTo>
                    <a:pt x="11355" y="914"/>
                  </a:lnTo>
                  <a:lnTo>
                    <a:pt x="11374" y="918"/>
                  </a:lnTo>
                  <a:lnTo>
                    <a:pt x="11393" y="925"/>
                  </a:lnTo>
                  <a:lnTo>
                    <a:pt x="11428" y="942"/>
                  </a:lnTo>
                  <a:lnTo>
                    <a:pt x="11444" y="954"/>
                  </a:lnTo>
                  <a:lnTo>
                    <a:pt x="11458" y="966"/>
                  </a:lnTo>
                  <a:lnTo>
                    <a:pt x="11473" y="980"/>
                  </a:lnTo>
                  <a:lnTo>
                    <a:pt x="11485" y="996"/>
                  </a:lnTo>
                  <a:lnTo>
                    <a:pt x="11506" y="1029"/>
                  </a:lnTo>
                  <a:lnTo>
                    <a:pt x="11514" y="1047"/>
                  </a:lnTo>
                  <a:lnTo>
                    <a:pt x="11520" y="1066"/>
                  </a:lnTo>
                  <a:lnTo>
                    <a:pt x="11525" y="1085"/>
                  </a:lnTo>
                  <a:lnTo>
                    <a:pt x="11528" y="1106"/>
                  </a:lnTo>
                  <a:close/>
                  <a:moveTo>
                    <a:pt x="13515" y="644"/>
                  </a:moveTo>
                  <a:lnTo>
                    <a:pt x="13404" y="644"/>
                  </a:lnTo>
                  <a:lnTo>
                    <a:pt x="13404" y="754"/>
                  </a:lnTo>
                  <a:lnTo>
                    <a:pt x="13515" y="754"/>
                  </a:lnTo>
                  <a:lnTo>
                    <a:pt x="13515" y="644"/>
                  </a:lnTo>
                  <a:close/>
                  <a:moveTo>
                    <a:pt x="13534" y="605"/>
                  </a:moveTo>
                  <a:lnTo>
                    <a:pt x="13542" y="606"/>
                  </a:lnTo>
                  <a:lnTo>
                    <a:pt x="13549" y="611"/>
                  </a:lnTo>
                  <a:lnTo>
                    <a:pt x="13552" y="617"/>
                  </a:lnTo>
                  <a:lnTo>
                    <a:pt x="13555" y="624"/>
                  </a:lnTo>
                  <a:lnTo>
                    <a:pt x="13555" y="754"/>
                  </a:lnTo>
                  <a:lnTo>
                    <a:pt x="14078" y="754"/>
                  </a:lnTo>
                  <a:lnTo>
                    <a:pt x="14086" y="757"/>
                  </a:lnTo>
                  <a:lnTo>
                    <a:pt x="14092" y="761"/>
                  </a:lnTo>
                  <a:lnTo>
                    <a:pt x="14097" y="767"/>
                  </a:lnTo>
                  <a:lnTo>
                    <a:pt x="14099" y="775"/>
                  </a:lnTo>
                  <a:lnTo>
                    <a:pt x="14099" y="1471"/>
                  </a:lnTo>
                  <a:lnTo>
                    <a:pt x="14099" y="2170"/>
                  </a:lnTo>
                  <a:lnTo>
                    <a:pt x="14097" y="2177"/>
                  </a:lnTo>
                  <a:lnTo>
                    <a:pt x="14092" y="2184"/>
                  </a:lnTo>
                  <a:lnTo>
                    <a:pt x="14086" y="2188"/>
                  </a:lnTo>
                  <a:lnTo>
                    <a:pt x="14078" y="2189"/>
                  </a:lnTo>
                  <a:lnTo>
                    <a:pt x="14072" y="2188"/>
                  </a:lnTo>
                  <a:lnTo>
                    <a:pt x="14065" y="2184"/>
                  </a:lnTo>
                  <a:lnTo>
                    <a:pt x="14060" y="2177"/>
                  </a:lnTo>
                  <a:lnTo>
                    <a:pt x="14059" y="2170"/>
                  </a:lnTo>
                  <a:lnTo>
                    <a:pt x="14059" y="1482"/>
                  </a:lnTo>
                  <a:lnTo>
                    <a:pt x="14059" y="795"/>
                  </a:lnTo>
                  <a:lnTo>
                    <a:pt x="13534" y="795"/>
                  </a:lnTo>
                  <a:lnTo>
                    <a:pt x="13384" y="795"/>
                  </a:lnTo>
                  <a:lnTo>
                    <a:pt x="13150" y="795"/>
                  </a:lnTo>
                  <a:lnTo>
                    <a:pt x="13141" y="793"/>
                  </a:lnTo>
                  <a:lnTo>
                    <a:pt x="13134" y="789"/>
                  </a:lnTo>
                  <a:lnTo>
                    <a:pt x="13131" y="782"/>
                  </a:lnTo>
                  <a:lnTo>
                    <a:pt x="13129" y="775"/>
                  </a:lnTo>
                  <a:lnTo>
                    <a:pt x="13131" y="767"/>
                  </a:lnTo>
                  <a:lnTo>
                    <a:pt x="13134" y="761"/>
                  </a:lnTo>
                  <a:lnTo>
                    <a:pt x="13141" y="757"/>
                  </a:lnTo>
                  <a:lnTo>
                    <a:pt x="13150" y="754"/>
                  </a:lnTo>
                  <a:lnTo>
                    <a:pt x="13201" y="754"/>
                  </a:lnTo>
                  <a:lnTo>
                    <a:pt x="13201" y="612"/>
                  </a:lnTo>
                  <a:lnTo>
                    <a:pt x="12798" y="612"/>
                  </a:lnTo>
                  <a:lnTo>
                    <a:pt x="12798" y="754"/>
                  </a:lnTo>
                  <a:lnTo>
                    <a:pt x="12852" y="754"/>
                  </a:lnTo>
                  <a:lnTo>
                    <a:pt x="12861" y="757"/>
                  </a:lnTo>
                  <a:lnTo>
                    <a:pt x="12868" y="761"/>
                  </a:lnTo>
                  <a:lnTo>
                    <a:pt x="12872" y="767"/>
                  </a:lnTo>
                  <a:lnTo>
                    <a:pt x="12873" y="775"/>
                  </a:lnTo>
                  <a:lnTo>
                    <a:pt x="12872" y="782"/>
                  </a:lnTo>
                  <a:lnTo>
                    <a:pt x="12868" y="789"/>
                  </a:lnTo>
                  <a:lnTo>
                    <a:pt x="12861" y="793"/>
                  </a:lnTo>
                  <a:lnTo>
                    <a:pt x="12852" y="795"/>
                  </a:lnTo>
                  <a:lnTo>
                    <a:pt x="12664" y="795"/>
                  </a:lnTo>
                  <a:lnTo>
                    <a:pt x="12664" y="1810"/>
                  </a:lnTo>
                  <a:lnTo>
                    <a:pt x="12664" y="2826"/>
                  </a:lnTo>
                  <a:lnTo>
                    <a:pt x="12661" y="2835"/>
                  </a:lnTo>
                  <a:lnTo>
                    <a:pt x="12657" y="2840"/>
                  </a:lnTo>
                  <a:lnTo>
                    <a:pt x="12651" y="2844"/>
                  </a:lnTo>
                  <a:lnTo>
                    <a:pt x="12643" y="2845"/>
                  </a:lnTo>
                  <a:lnTo>
                    <a:pt x="12636" y="2844"/>
                  </a:lnTo>
                  <a:lnTo>
                    <a:pt x="12629" y="2840"/>
                  </a:lnTo>
                  <a:lnTo>
                    <a:pt x="12625" y="2835"/>
                  </a:lnTo>
                  <a:lnTo>
                    <a:pt x="12624" y="2826"/>
                  </a:lnTo>
                  <a:lnTo>
                    <a:pt x="12624" y="2313"/>
                  </a:lnTo>
                  <a:lnTo>
                    <a:pt x="12624" y="1800"/>
                  </a:lnTo>
                  <a:lnTo>
                    <a:pt x="12624" y="1287"/>
                  </a:lnTo>
                  <a:lnTo>
                    <a:pt x="12624" y="775"/>
                  </a:lnTo>
                  <a:lnTo>
                    <a:pt x="12625" y="767"/>
                  </a:lnTo>
                  <a:lnTo>
                    <a:pt x="12629" y="761"/>
                  </a:lnTo>
                  <a:lnTo>
                    <a:pt x="12636" y="757"/>
                  </a:lnTo>
                  <a:lnTo>
                    <a:pt x="12643" y="754"/>
                  </a:lnTo>
                  <a:lnTo>
                    <a:pt x="12759" y="754"/>
                  </a:lnTo>
                  <a:lnTo>
                    <a:pt x="12759" y="592"/>
                  </a:lnTo>
                  <a:lnTo>
                    <a:pt x="12760" y="584"/>
                  </a:lnTo>
                  <a:lnTo>
                    <a:pt x="12764" y="578"/>
                  </a:lnTo>
                  <a:lnTo>
                    <a:pt x="12770" y="574"/>
                  </a:lnTo>
                  <a:lnTo>
                    <a:pt x="12778" y="573"/>
                  </a:lnTo>
                  <a:lnTo>
                    <a:pt x="13220" y="573"/>
                  </a:lnTo>
                  <a:lnTo>
                    <a:pt x="13228" y="574"/>
                  </a:lnTo>
                  <a:lnTo>
                    <a:pt x="13234" y="578"/>
                  </a:lnTo>
                  <a:lnTo>
                    <a:pt x="13240" y="584"/>
                  </a:lnTo>
                  <a:lnTo>
                    <a:pt x="13241" y="592"/>
                  </a:lnTo>
                  <a:lnTo>
                    <a:pt x="13241" y="754"/>
                  </a:lnTo>
                  <a:lnTo>
                    <a:pt x="13364" y="754"/>
                  </a:lnTo>
                  <a:lnTo>
                    <a:pt x="13364" y="624"/>
                  </a:lnTo>
                  <a:lnTo>
                    <a:pt x="13365" y="617"/>
                  </a:lnTo>
                  <a:lnTo>
                    <a:pt x="13370" y="611"/>
                  </a:lnTo>
                  <a:lnTo>
                    <a:pt x="13377" y="606"/>
                  </a:lnTo>
                  <a:lnTo>
                    <a:pt x="13384" y="605"/>
                  </a:lnTo>
                  <a:lnTo>
                    <a:pt x="13534" y="605"/>
                  </a:lnTo>
                  <a:close/>
                  <a:moveTo>
                    <a:pt x="15835" y="2587"/>
                  </a:moveTo>
                  <a:lnTo>
                    <a:pt x="15677" y="2587"/>
                  </a:lnTo>
                  <a:lnTo>
                    <a:pt x="15677" y="3445"/>
                  </a:lnTo>
                  <a:lnTo>
                    <a:pt x="15677" y="4304"/>
                  </a:lnTo>
                  <a:lnTo>
                    <a:pt x="16008" y="4304"/>
                  </a:lnTo>
                  <a:lnTo>
                    <a:pt x="16008" y="3419"/>
                  </a:lnTo>
                  <a:lnTo>
                    <a:pt x="16008" y="2534"/>
                  </a:lnTo>
                  <a:lnTo>
                    <a:pt x="16009" y="2525"/>
                  </a:lnTo>
                  <a:lnTo>
                    <a:pt x="16012" y="2519"/>
                  </a:lnTo>
                  <a:lnTo>
                    <a:pt x="16016" y="2515"/>
                  </a:lnTo>
                  <a:lnTo>
                    <a:pt x="16021" y="2511"/>
                  </a:lnTo>
                  <a:lnTo>
                    <a:pt x="16027" y="2511"/>
                  </a:lnTo>
                  <a:lnTo>
                    <a:pt x="16032" y="2512"/>
                  </a:lnTo>
                  <a:lnTo>
                    <a:pt x="16039" y="2516"/>
                  </a:lnTo>
                  <a:lnTo>
                    <a:pt x="16045" y="2523"/>
                  </a:lnTo>
                  <a:lnTo>
                    <a:pt x="16536" y="3199"/>
                  </a:lnTo>
                  <a:lnTo>
                    <a:pt x="16536" y="2534"/>
                  </a:lnTo>
                  <a:lnTo>
                    <a:pt x="16538" y="2525"/>
                  </a:lnTo>
                  <a:lnTo>
                    <a:pt x="16540" y="2519"/>
                  </a:lnTo>
                  <a:lnTo>
                    <a:pt x="16544" y="2515"/>
                  </a:lnTo>
                  <a:lnTo>
                    <a:pt x="16549" y="2511"/>
                  </a:lnTo>
                  <a:lnTo>
                    <a:pt x="16556" y="2511"/>
                  </a:lnTo>
                  <a:lnTo>
                    <a:pt x="16562" y="2512"/>
                  </a:lnTo>
                  <a:lnTo>
                    <a:pt x="16567" y="2516"/>
                  </a:lnTo>
                  <a:lnTo>
                    <a:pt x="16573" y="2523"/>
                  </a:lnTo>
                  <a:lnTo>
                    <a:pt x="17076" y="3214"/>
                  </a:lnTo>
                  <a:lnTo>
                    <a:pt x="17076" y="2534"/>
                  </a:lnTo>
                  <a:lnTo>
                    <a:pt x="17077" y="2525"/>
                  </a:lnTo>
                  <a:lnTo>
                    <a:pt x="17080" y="2519"/>
                  </a:lnTo>
                  <a:lnTo>
                    <a:pt x="17084" y="2515"/>
                  </a:lnTo>
                  <a:lnTo>
                    <a:pt x="17089" y="2511"/>
                  </a:lnTo>
                  <a:lnTo>
                    <a:pt x="17094" y="2511"/>
                  </a:lnTo>
                  <a:lnTo>
                    <a:pt x="17100" y="2512"/>
                  </a:lnTo>
                  <a:lnTo>
                    <a:pt x="17107" y="2516"/>
                  </a:lnTo>
                  <a:lnTo>
                    <a:pt x="17112" y="2523"/>
                  </a:lnTo>
                  <a:lnTo>
                    <a:pt x="17640" y="3249"/>
                  </a:lnTo>
                  <a:lnTo>
                    <a:pt x="17644" y="3258"/>
                  </a:lnTo>
                  <a:lnTo>
                    <a:pt x="17644" y="3265"/>
                  </a:lnTo>
                  <a:lnTo>
                    <a:pt x="17642" y="3272"/>
                  </a:lnTo>
                  <a:lnTo>
                    <a:pt x="17636" y="3277"/>
                  </a:lnTo>
                  <a:lnTo>
                    <a:pt x="17630" y="3281"/>
                  </a:lnTo>
                  <a:lnTo>
                    <a:pt x="17622" y="3281"/>
                  </a:lnTo>
                  <a:lnTo>
                    <a:pt x="17615" y="3280"/>
                  </a:lnTo>
                  <a:lnTo>
                    <a:pt x="17608" y="3273"/>
                  </a:lnTo>
                  <a:lnTo>
                    <a:pt x="17116" y="2595"/>
                  </a:lnTo>
                  <a:lnTo>
                    <a:pt x="17116" y="3262"/>
                  </a:lnTo>
                  <a:lnTo>
                    <a:pt x="17113" y="3271"/>
                  </a:lnTo>
                  <a:lnTo>
                    <a:pt x="17108" y="3278"/>
                  </a:lnTo>
                  <a:lnTo>
                    <a:pt x="17099" y="3281"/>
                  </a:lnTo>
                  <a:lnTo>
                    <a:pt x="17090" y="3281"/>
                  </a:lnTo>
                  <a:lnTo>
                    <a:pt x="17080" y="3281"/>
                  </a:lnTo>
                  <a:lnTo>
                    <a:pt x="17074" y="3278"/>
                  </a:lnTo>
                  <a:lnTo>
                    <a:pt x="17070" y="3273"/>
                  </a:lnTo>
                  <a:lnTo>
                    <a:pt x="16577" y="2595"/>
                  </a:lnTo>
                  <a:lnTo>
                    <a:pt x="16577" y="3258"/>
                  </a:lnTo>
                  <a:lnTo>
                    <a:pt x="16577" y="3264"/>
                  </a:lnTo>
                  <a:lnTo>
                    <a:pt x="16575" y="3269"/>
                  </a:lnTo>
                  <a:lnTo>
                    <a:pt x="16571" y="3276"/>
                  </a:lnTo>
                  <a:lnTo>
                    <a:pt x="16563" y="3281"/>
                  </a:lnTo>
                  <a:lnTo>
                    <a:pt x="16554" y="3281"/>
                  </a:lnTo>
                  <a:lnTo>
                    <a:pt x="16547" y="3278"/>
                  </a:lnTo>
                  <a:lnTo>
                    <a:pt x="16541" y="3276"/>
                  </a:lnTo>
                  <a:lnTo>
                    <a:pt x="16539" y="3271"/>
                  </a:lnTo>
                  <a:lnTo>
                    <a:pt x="16049" y="2595"/>
                  </a:lnTo>
                  <a:lnTo>
                    <a:pt x="16049" y="3450"/>
                  </a:lnTo>
                  <a:lnTo>
                    <a:pt x="16049" y="4304"/>
                  </a:lnTo>
                  <a:lnTo>
                    <a:pt x="16844" y="4304"/>
                  </a:lnTo>
                  <a:lnTo>
                    <a:pt x="16853" y="4305"/>
                  </a:lnTo>
                  <a:lnTo>
                    <a:pt x="16859" y="4310"/>
                  </a:lnTo>
                  <a:lnTo>
                    <a:pt x="16863" y="4317"/>
                  </a:lnTo>
                  <a:lnTo>
                    <a:pt x="16865" y="4324"/>
                  </a:lnTo>
                  <a:lnTo>
                    <a:pt x="16863" y="4331"/>
                  </a:lnTo>
                  <a:lnTo>
                    <a:pt x="16859" y="4337"/>
                  </a:lnTo>
                  <a:lnTo>
                    <a:pt x="16853" y="4342"/>
                  </a:lnTo>
                  <a:lnTo>
                    <a:pt x="16844" y="4343"/>
                  </a:lnTo>
                  <a:lnTo>
                    <a:pt x="16250" y="4343"/>
                  </a:lnTo>
                  <a:lnTo>
                    <a:pt x="15657" y="4343"/>
                  </a:lnTo>
                  <a:lnTo>
                    <a:pt x="14760" y="4343"/>
                  </a:lnTo>
                  <a:lnTo>
                    <a:pt x="13864" y="4343"/>
                  </a:lnTo>
                  <a:lnTo>
                    <a:pt x="13856" y="4342"/>
                  </a:lnTo>
                  <a:lnTo>
                    <a:pt x="13850" y="4338"/>
                  </a:lnTo>
                  <a:lnTo>
                    <a:pt x="13846" y="4332"/>
                  </a:lnTo>
                  <a:lnTo>
                    <a:pt x="13843" y="4324"/>
                  </a:lnTo>
                  <a:lnTo>
                    <a:pt x="13843" y="3455"/>
                  </a:lnTo>
                  <a:lnTo>
                    <a:pt x="13843" y="2587"/>
                  </a:lnTo>
                  <a:lnTo>
                    <a:pt x="13686" y="2587"/>
                  </a:lnTo>
                  <a:lnTo>
                    <a:pt x="13677" y="2585"/>
                  </a:lnTo>
                  <a:lnTo>
                    <a:pt x="13670" y="2581"/>
                  </a:lnTo>
                  <a:lnTo>
                    <a:pt x="13667" y="2575"/>
                  </a:lnTo>
                  <a:lnTo>
                    <a:pt x="13665" y="2567"/>
                  </a:lnTo>
                  <a:lnTo>
                    <a:pt x="13667" y="2560"/>
                  </a:lnTo>
                  <a:lnTo>
                    <a:pt x="13670" y="2553"/>
                  </a:lnTo>
                  <a:lnTo>
                    <a:pt x="13677" y="2549"/>
                  </a:lnTo>
                  <a:lnTo>
                    <a:pt x="13686" y="2547"/>
                  </a:lnTo>
                  <a:lnTo>
                    <a:pt x="13963" y="2547"/>
                  </a:lnTo>
                  <a:lnTo>
                    <a:pt x="13963" y="2374"/>
                  </a:lnTo>
                  <a:lnTo>
                    <a:pt x="13964" y="2367"/>
                  </a:lnTo>
                  <a:lnTo>
                    <a:pt x="13968" y="2360"/>
                  </a:lnTo>
                  <a:lnTo>
                    <a:pt x="13974" y="2355"/>
                  </a:lnTo>
                  <a:lnTo>
                    <a:pt x="13982" y="2354"/>
                  </a:lnTo>
                  <a:lnTo>
                    <a:pt x="14750" y="2354"/>
                  </a:lnTo>
                  <a:lnTo>
                    <a:pt x="15519" y="2354"/>
                  </a:lnTo>
                  <a:lnTo>
                    <a:pt x="15527" y="2355"/>
                  </a:lnTo>
                  <a:lnTo>
                    <a:pt x="15534" y="2360"/>
                  </a:lnTo>
                  <a:lnTo>
                    <a:pt x="15537" y="2367"/>
                  </a:lnTo>
                  <a:lnTo>
                    <a:pt x="15539" y="2374"/>
                  </a:lnTo>
                  <a:lnTo>
                    <a:pt x="15539" y="2547"/>
                  </a:lnTo>
                  <a:lnTo>
                    <a:pt x="15835" y="2547"/>
                  </a:lnTo>
                  <a:lnTo>
                    <a:pt x="15844" y="2549"/>
                  </a:lnTo>
                  <a:lnTo>
                    <a:pt x="15850" y="2553"/>
                  </a:lnTo>
                  <a:lnTo>
                    <a:pt x="15854" y="2560"/>
                  </a:lnTo>
                  <a:lnTo>
                    <a:pt x="15855" y="2567"/>
                  </a:lnTo>
                  <a:lnTo>
                    <a:pt x="15854" y="2575"/>
                  </a:lnTo>
                  <a:lnTo>
                    <a:pt x="15850" y="2581"/>
                  </a:lnTo>
                  <a:lnTo>
                    <a:pt x="15844" y="2585"/>
                  </a:lnTo>
                  <a:lnTo>
                    <a:pt x="15835" y="2587"/>
                  </a:lnTo>
                  <a:close/>
                  <a:moveTo>
                    <a:pt x="15636" y="2587"/>
                  </a:moveTo>
                  <a:lnTo>
                    <a:pt x="14760" y="2587"/>
                  </a:lnTo>
                  <a:lnTo>
                    <a:pt x="13885" y="2587"/>
                  </a:lnTo>
                  <a:lnTo>
                    <a:pt x="13885" y="3445"/>
                  </a:lnTo>
                  <a:lnTo>
                    <a:pt x="13885" y="4304"/>
                  </a:lnTo>
                  <a:lnTo>
                    <a:pt x="14760" y="4304"/>
                  </a:lnTo>
                  <a:lnTo>
                    <a:pt x="15636" y="4304"/>
                  </a:lnTo>
                  <a:lnTo>
                    <a:pt x="15636" y="3445"/>
                  </a:lnTo>
                  <a:lnTo>
                    <a:pt x="15636" y="2587"/>
                  </a:lnTo>
                  <a:close/>
                  <a:moveTo>
                    <a:pt x="14002" y="2547"/>
                  </a:moveTo>
                  <a:lnTo>
                    <a:pt x="14750" y="2547"/>
                  </a:lnTo>
                  <a:lnTo>
                    <a:pt x="15499" y="2547"/>
                  </a:lnTo>
                  <a:lnTo>
                    <a:pt x="15499" y="2393"/>
                  </a:lnTo>
                  <a:lnTo>
                    <a:pt x="14750" y="2393"/>
                  </a:lnTo>
                  <a:lnTo>
                    <a:pt x="14002" y="2393"/>
                  </a:lnTo>
                  <a:lnTo>
                    <a:pt x="14002" y="2547"/>
                  </a:lnTo>
                  <a:close/>
                  <a:moveTo>
                    <a:pt x="15171" y="3639"/>
                  </a:moveTo>
                  <a:lnTo>
                    <a:pt x="15171" y="3751"/>
                  </a:lnTo>
                  <a:lnTo>
                    <a:pt x="15168" y="3760"/>
                  </a:lnTo>
                  <a:lnTo>
                    <a:pt x="15164" y="3765"/>
                  </a:lnTo>
                  <a:lnTo>
                    <a:pt x="15158" y="3769"/>
                  </a:lnTo>
                  <a:lnTo>
                    <a:pt x="15150" y="3771"/>
                  </a:lnTo>
                  <a:lnTo>
                    <a:pt x="15142" y="3769"/>
                  </a:lnTo>
                  <a:lnTo>
                    <a:pt x="15136" y="3765"/>
                  </a:lnTo>
                  <a:lnTo>
                    <a:pt x="15132" y="3760"/>
                  </a:lnTo>
                  <a:lnTo>
                    <a:pt x="15131" y="3751"/>
                  </a:lnTo>
                  <a:lnTo>
                    <a:pt x="15131" y="3639"/>
                  </a:lnTo>
                  <a:lnTo>
                    <a:pt x="15132" y="3630"/>
                  </a:lnTo>
                  <a:lnTo>
                    <a:pt x="15136" y="3624"/>
                  </a:lnTo>
                  <a:lnTo>
                    <a:pt x="15142" y="3620"/>
                  </a:lnTo>
                  <a:lnTo>
                    <a:pt x="15150" y="3618"/>
                  </a:lnTo>
                  <a:lnTo>
                    <a:pt x="15158" y="3620"/>
                  </a:lnTo>
                  <a:lnTo>
                    <a:pt x="15164" y="3624"/>
                  </a:lnTo>
                  <a:lnTo>
                    <a:pt x="15168" y="3630"/>
                  </a:lnTo>
                  <a:lnTo>
                    <a:pt x="15171" y="3639"/>
                  </a:lnTo>
                  <a:close/>
                  <a:moveTo>
                    <a:pt x="14908" y="3639"/>
                  </a:moveTo>
                  <a:lnTo>
                    <a:pt x="14908" y="3751"/>
                  </a:lnTo>
                  <a:lnTo>
                    <a:pt x="14905" y="3760"/>
                  </a:lnTo>
                  <a:lnTo>
                    <a:pt x="14901" y="3765"/>
                  </a:lnTo>
                  <a:lnTo>
                    <a:pt x="14895" y="3769"/>
                  </a:lnTo>
                  <a:lnTo>
                    <a:pt x="14887" y="3771"/>
                  </a:lnTo>
                  <a:lnTo>
                    <a:pt x="14880" y="3769"/>
                  </a:lnTo>
                  <a:lnTo>
                    <a:pt x="14873" y="3765"/>
                  </a:lnTo>
                  <a:lnTo>
                    <a:pt x="14869" y="3760"/>
                  </a:lnTo>
                  <a:lnTo>
                    <a:pt x="14867" y="3751"/>
                  </a:lnTo>
                  <a:lnTo>
                    <a:pt x="14867" y="3639"/>
                  </a:lnTo>
                  <a:lnTo>
                    <a:pt x="14869" y="3630"/>
                  </a:lnTo>
                  <a:lnTo>
                    <a:pt x="14873" y="3624"/>
                  </a:lnTo>
                  <a:lnTo>
                    <a:pt x="14880" y="3620"/>
                  </a:lnTo>
                  <a:lnTo>
                    <a:pt x="14887" y="3618"/>
                  </a:lnTo>
                  <a:lnTo>
                    <a:pt x="14895" y="3620"/>
                  </a:lnTo>
                  <a:lnTo>
                    <a:pt x="14901" y="3624"/>
                  </a:lnTo>
                  <a:lnTo>
                    <a:pt x="14905" y="3630"/>
                  </a:lnTo>
                  <a:lnTo>
                    <a:pt x="14908" y="3639"/>
                  </a:lnTo>
                  <a:close/>
                  <a:moveTo>
                    <a:pt x="14644" y="3639"/>
                  </a:moveTo>
                  <a:lnTo>
                    <a:pt x="14644" y="3751"/>
                  </a:lnTo>
                  <a:lnTo>
                    <a:pt x="14642" y="3760"/>
                  </a:lnTo>
                  <a:lnTo>
                    <a:pt x="14637" y="3765"/>
                  </a:lnTo>
                  <a:lnTo>
                    <a:pt x="14631" y="3769"/>
                  </a:lnTo>
                  <a:lnTo>
                    <a:pt x="14624" y="3771"/>
                  </a:lnTo>
                  <a:lnTo>
                    <a:pt x="14617" y="3769"/>
                  </a:lnTo>
                  <a:lnTo>
                    <a:pt x="14610" y="3765"/>
                  </a:lnTo>
                  <a:lnTo>
                    <a:pt x="14606" y="3760"/>
                  </a:lnTo>
                  <a:lnTo>
                    <a:pt x="14604" y="3751"/>
                  </a:lnTo>
                  <a:lnTo>
                    <a:pt x="14604" y="3639"/>
                  </a:lnTo>
                  <a:lnTo>
                    <a:pt x="14606" y="3630"/>
                  </a:lnTo>
                  <a:lnTo>
                    <a:pt x="14610" y="3624"/>
                  </a:lnTo>
                  <a:lnTo>
                    <a:pt x="14617" y="3620"/>
                  </a:lnTo>
                  <a:lnTo>
                    <a:pt x="14624" y="3618"/>
                  </a:lnTo>
                  <a:lnTo>
                    <a:pt x="14631" y="3620"/>
                  </a:lnTo>
                  <a:lnTo>
                    <a:pt x="14637" y="3624"/>
                  </a:lnTo>
                  <a:lnTo>
                    <a:pt x="14642" y="3630"/>
                  </a:lnTo>
                  <a:lnTo>
                    <a:pt x="14644" y="3639"/>
                  </a:lnTo>
                  <a:close/>
                  <a:moveTo>
                    <a:pt x="14381" y="3639"/>
                  </a:moveTo>
                  <a:lnTo>
                    <a:pt x="14381" y="3751"/>
                  </a:lnTo>
                  <a:lnTo>
                    <a:pt x="14379" y="3760"/>
                  </a:lnTo>
                  <a:lnTo>
                    <a:pt x="14374" y="3765"/>
                  </a:lnTo>
                  <a:lnTo>
                    <a:pt x="14368" y="3769"/>
                  </a:lnTo>
                  <a:lnTo>
                    <a:pt x="14362" y="3771"/>
                  </a:lnTo>
                  <a:lnTo>
                    <a:pt x="14354" y="3769"/>
                  </a:lnTo>
                  <a:lnTo>
                    <a:pt x="14347" y="3765"/>
                  </a:lnTo>
                  <a:lnTo>
                    <a:pt x="14342" y="3760"/>
                  </a:lnTo>
                  <a:lnTo>
                    <a:pt x="14341" y="3751"/>
                  </a:lnTo>
                  <a:lnTo>
                    <a:pt x="14341" y="3639"/>
                  </a:lnTo>
                  <a:lnTo>
                    <a:pt x="14342" y="3630"/>
                  </a:lnTo>
                  <a:lnTo>
                    <a:pt x="14347" y="3624"/>
                  </a:lnTo>
                  <a:lnTo>
                    <a:pt x="14354" y="3620"/>
                  </a:lnTo>
                  <a:lnTo>
                    <a:pt x="14362" y="3618"/>
                  </a:lnTo>
                  <a:lnTo>
                    <a:pt x="14368" y="3620"/>
                  </a:lnTo>
                  <a:lnTo>
                    <a:pt x="14374" y="3624"/>
                  </a:lnTo>
                  <a:lnTo>
                    <a:pt x="14379" y="3630"/>
                  </a:lnTo>
                  <a:lnTo>
                    <a:pt x="14381" y="3639"/>
                  </a:lnTo>
                  <a:close/>
                  <a:moveTo>
                    <a:pt x="14118" y="3639"/>
                  </a:moveTo>
                  <a:lnTo>
                    <a:pt x="14118" y="3751"/>
                  </a:lnTo>
                  <a:lnTo>
                    <a:pt x="14117" y="3760"/>
                  </a:lnTo>
                  <a:lnTo>
                    <a:pt x="14111" y="3765"/>
                  </a:lnTo>
                  <a:lnTo>
                    <a:pt x="14105" y="3769"/>
                  </a:lnTo>
                  <a:lnTo>
                    <a:pt x="14097" y="3771"/>
                  </a:lnTo>
                  <a:lnTo>
                    <a:pt x="14091" y="3769"/>
                  </a:lnTo>
                  <a:lnTo>
                    <a:pt x="14085" y="3765"/>
                  </a:lnTo>
                  <a:lnTo>
                    <a:pt x="14079" y="3760"/>
                  </a:lnTo>
                  <a:lnTo>
                    <a:pt x="14078" y="3751"/>
                  </a:lnTo>
                  <a:lnTo>
                    <a:pt x="14078" y="3639"/>
                  </a:lnTo>
                  <a:lnTo>
                    <a:pt x="14079" y="3630"/>
                  </a:lnTo>
                  <a:lnTo>
                    <a:pt x="14085" y="3624"/>
                  </a:lnTo>
                  <a:lnTo>
                    <a:pt x="14091" y="3620"/>
                  </a:lnTo>
                  <a:lnTo>
                    <a:pt x="14097" y="3618"/>
                  </a:lnTo>
                  <a:lnTo>
                    <a:pt x="14105" y="3620"/>
                  </a:lnTo>
                  <a:lnTo>
                    <a:pt x="14111" y="3624"/>
                  </a:lnTo>
                  <a:lnTo>
                    <a:pt x="14117" y="3630"/>
                  </a:lnTo>
                  <a:lnTo>
                    <a:pt x="14118" y="3639"/>
                  </a:lnTo>
                  <a:close/>
                  <a:moveTo>
                    <a:pt x="15434" y="3392"/>
                  </a:moveTo>
                  <a:lnTo>
                    <a:pt x="15434" y="3505"/>
                  </a:lnTo>
                  <a:lnTo>
                    <a:pt x="15432" y="3514"/>
                  </a:lnTo>
                  <a:lnTo>
                    <a:pt x="15427" y="3520"/>
                  </a:lnTo>
                  <a:lnTo>
                    <a:pt x="15421" y="3524"/>
                  </a:lnTo>
                  <a:lnTo>
                    <a:pt x="15413" y="3524"/>
                  </a:lnTo>
                  <a:lnTo>
                    <a:pt x="15407" y="3524"/>
                  </a:lnTo>
                  <a:lnTo>
                    <a:pt x="15400" y="3520"/>
                  </a:lnTo>
                  <a:lnTo>
                    <a:pt x="15395" y="3514"/>
                  </a:lnTo>
                  <a:lnTo>
                    <a:pt x="15394" y="3505"/>
                  </a:lnTo>
                  <a:lnTo>
                    <a:pt x="15394" y="3392"/>
                  </a:lnTo>
                  <a:lnTo>
                    <a:pt x="15395" y="3383"/>
                  </a:lnTo>
                  <a:lnTo>
                    <a:pt x="15400" y="3378"/>
                  </a:lnTo>
                  <a:lnTo>
                    <a:pt x="15407" y="3374"/>
                  </a:lnTo>
                  <a:lnTo>
                    <a:pt x="15413" y="3373"/>
                  </a:lnTo>
                  <a:lnTo>
                    <a:pt x="15421" y="3374"/>
                  </a:lnTo>
                  <a:lnTo>
                    <a:pt x="15427" y="3378"/>
                  </a:lnTo>
                  <a:lnTo>
                    <a:pt x="15432" y="3383"/>
                  </a:lnTo>
                  <a:lnTo>
                    <a:pt x="15434" y="3392"/>
                  </a:lnTo>
                  <a:close/>
                  <a:moveTo>
                    <a:pt x="15171" y="3392"/>
                  </a:moveTo>
                  <a:lnTo>
                    <a:pt x="15171" y="3505"/>
                  </a:lnTo>
                  <a:lnTo>
                    <a:pt x="15168" y="3514"/>
                  </a:lnTo>
                  <a:lnTo>
                    <a:pt x="15164" y="3520"/>
                  </a:lnTo>
                  <a:lnTo>
                    <a:pt x="15158" y="3524"/>
                  </a:lnTo>
                  <a:lnTo>
                    <a:pt x="15150" y="3524"/>
                  </a:lnTo>
                  <a:lnTo>
                    <a:pt x="15142" y="3524"/>
                  </a:lnTo>
                  <a:lnTo>
                    <a:pt x="15136" y="3520"/>
                  </a:lnTo>
                  <a:lnTo>
                    <a:pt x="15132" y="3514"/>
                  </a:lnTo>
                  <a:lnTo>
                    <a:pt x="15131" y="3505"/>
                  </a:lnTo>
                  <a:lnTo>
                    <a:pt x="15131" y="3392"/>
                  </a:lnTo>
                  <a:lnTo>
                    <a:pt x="15132" y="3383"/>
                  </a:lnTo>
                  <a:lnTo>
                    <a:pt x="15136" y="3378"/>
                  </a:lnTo>
                  <a:lnTo>
                    <a:pt x="15142" y="3374"/>
                  </a:lnTo>
                  <a:lnTo>
                    <a:pt x="15150" y="3373"/>
                  </a:lnTo>
                  <a:lnTo>
                    <a:pt x="15158" y="3374"/>
                  </a:lnTo>
                  <a:lnTo>
                    <a:pt x="15164" y="3378"/>
                  </a:lnTo>
                  <a:lnTo>
                    <a:pt x="15168" y="3383"/>
                  </a:lnTo>
                  <a:lnTo>
                    <a:pt x="15171" y="3392"/>
                  </a:lnTo>
                  <a:close/>
                  <a:moveTo>
                    <a:pt x="14908" y="3392"/>
                  </a:moveTo>
                  <a:lnTo>
                    <a:pt x="14908" y="3505"/>
                  </a:lnTo>
                  <a:lnTo>
                    <a:pt x="14905" y="3514"/>
                  </a:lnTo>
                  <a:lnTo>
                    <a:pt x="14901" y="3520"/>
                  </a:lnTo>
                  <a:lnTo>
                    <a:pt x="14895" y="3524"/>
                  </a:lnTo>
                  <a:lnTo>
                    <a:pt x="14887" y="3524"/>
                  </a:lnTo>
                  <a:lnTo>
                    <a:pt x="14880" y="3524"/>
                  </a:lnTo>
                  <a:lnTo>
                    <a:pt x="14873" y="3520"/>
                  </a:lnTo>
                  <a:lnTo>
                    <a:pt x="14869" y="3514"/>
                  </a:lnTo>
                  <a:lnTo>
                    <a:pt x="14867" y="3505"/>
                  </a:lnTo>
                  <a:lnTo>
                    <a:pt x="14867" y="3392"/>
                  </a:lnTo>
                  <a:lnTo>
                    <a:pt x="14869" y="3383"/>
                  </a:lnTo>
                  <a:lnTo>
                    <a:pt x="14873" y="3378"/>
                  </a:lnTo>
                  <a:lnTo>
                    <a:pt x="14880" y="3374"/>
                  </a:lnTo>
                  <a:lnTo>
                    <a:pt x="14887" y="3373"/>
                  </a:lnTo>
                  <a:lnTo>
                    <a:pt x="14895" y="3374"/>
                  </a:lnTo>
                  <a:lnTo>
                    <a:pt x="14901" y="3378"/>
                  </a:lnTo>
                  <a:lnTo>
                    <a:pt x="14905" y="3383"/>
                  </a:lnTo>
                  <a:lnTo>
                    <a:pt x="14908" y="3392"/>
                  </a:lnTo>
                  <a:close/>
                  <a:moveTo>
                    <a:pt x="14644" y="3392"/>
                  </a:moveTo>
                  <a:lnTo>
                    <a:pt x="14644" y="3505"/>
                  </a:lnTo>
                  <a:lnTo>
                    <a:pt x="14642" y="3514"/>
                  </a:lnTo>
                  <a:lnTo>
                    <a:pt x="14637" y="3520"/>
                  </a:lnTo>
                  <a:lnTo>
                    <a:pt x="14631" y="3524"/>
                  </a:lnTo>
                  <a:lnTo>
                    <a:pt x="14624" y="3524"/>
                  </a:lnTo>
                  <a:lnTo>
                    <a:pt x="14617" y="3524"/>
                  </a:lnTo>
                  <a:lnTo>
                    <a:pt x="14610" y="3520"/>
                  </a:lnTo>
                  <a:lnTo>
                    <a:pt x="14606" y="3514"/>
                  </a:lnTo>
                  <a:lnTo>
                    <a:pt x="14604" y="3505"/>
                  </a:lnTo>
                  <a:lnTo>
                    <a:pt x="14604" y="3392"/>
                  </a:lnTo>
                  <a:lnTo>
                    <a:pt x="14606" y="3383"/>
                  </a:lnTo>
                  <a:lnTo>
                    <a:pt x="14610" y="3378"/>
                  </a:lnTo>
                  <a:lnTo>
                    <a:pt x="14617" y="3374"/>
                  </a:lnTo>
                  <a:lnTo>
                    <a:pt x="14624" y="3373"/>
                  </a:lnTo>
                  <a:lnTo>
                    <a:pt x="14631" y="3374"/>
                  </a:lnTo>
                  <a:lnTo>
                    <a:pt x="14637" y="3378"/>
                  </a:lnTo>
                  <a:lnTo>
                    <a:pt x="14642" y="3383"/>
                  </a:lnTo>
                  <a:lnTo>
                    <a:pt x="14644" y="3392"/>
                  </a:lnTo>
                  <a:close/>
                  <a:moveTo>
                    <a:pt x="14381" y="3392"/>
                  </a:moveTo>
                  <a:lnTo>
                    <a:pt x="14381" y="3505"/>
                  </a:lnTo>
                  <a:lnTo>
                    <a:pt x="14379" y="3514"/>
                  </a:lnTo>
                  <a:lnTo>
                    <a:pt x="14374" y="3520"/>
                  </a:lnTo>
                  <a:lnTo>
                    <a:pt x="14368" y="3524"/>
                  </a:lnTo>
                  <a:lnTo>
                    <a:pt x="14362" y="3524"/>
                  </a:lnTo>
                  <a:lnTo>
                    <a:pt x="14354" y="3524"/>
                  </a:lnTo>
                  <a:lnTo>
                    <a:pt x="14347" y="3520"/>
                  </a:lnTo>
                  <a:lnTo>
                    <a:pt x="14342" y="3514"/>
                  </a:lnTo>
                  <a:lnTo>
                    <a:pt x="14341" y="3505"/>
                  </a:lnTo>
                  <a:lnTo>
                    <a:pt x="14341" y="3392"/>
                  </a:lnTo>
                  <a:lnTo>
                    <a:pt x="14342" y="3383"/>
                  </a:lnTo>
                  <a:lnTo>
                    <a:pt x="14347" y="3378"/>
                  </a:lnTo>
                  <a:lnTo>
                    <a:pt x="14354" y="3374"/>
                  </a:lnTo>
                  <a:lnTo>
                    <a:pt x="14362" y="3373"/>
                  </a:lnTo>
                  <a:lnTo>
                    <a:pt x="14368" y="3374"/>
                  </a:lnTo>
                  <a:lnTo>
                    <a:pt x="14374" y="3378"/>
                  </a:lnTo>
                  <a:lnTo>
                    <a:pt x="14379" y="3383"/>
                  </a:lnTo>
                  <a:lnTo>
                    <a:pt x="14381" y="3392"/>
                  </a:lnTo>
                  <a:close/>
                  <a:moveTo>
                    <a:pt x="14118" y="3392"/>
                  </a:moveTo>
                  <a:lnTo>
                    <a:pt x="14118" y="3505"/>
                  </a:lnTo>
                  <a:lnTo>
                    <a:pt x="14117" y="3514"/>
                  </a:lnTo>
                  <a:lnTo>
                    <a:pt x="14111" y="3520"/>
                  </a:lnTo>
                  <a:lnTo>
                    <a:pt x="14105" y="3524"/>
                  </a:lnTo>
                  <a:lnTo>
                    <a:pt x="14097" y="3524"/>
                  </a:lnTo>
                  <a:lnTo>
                    <a:pt x="14091" y="3524"/>
                  </a:lnTo>
                  <a:lnTo>
                    <a:pt x="14085" y="3520"/>
                  </a:lnTo>
                  <a:lnTo>
                    <a:pt x="14079" y="3514"/>
                  </a:lnTo>
                  <a:lnTo>
                    <a:pt x="14078" y="3505"/>
                  </a:lnTo>
                  <a:lnTo>
                    <a:pt x="14078" y="3392"/>
                  </a:lnTo>
                  <a:lnTo>
                    <a:pt x="14079" y="3383"/>
                  </a:lnTo>
                  <a:lnTo>
                    <a:pt x="14085" y="3378"/>
                  </a:lnTo>
                  <a:lnTo>
                    <a:pt x="14091" y="3374"/>
                  </a:lnTo>
                  <a:lnTo>
                    <a:pt x="14097" y="3373"/>
                  </a:lnTo>
                  <a:lnTo>
                    <a:pt x="14105" y="3374"/>
                  </a:lnTo>
                  <a:lnTo>
                    <a:pt x="14111" y="3378"/>
                  </a:lnTo>
                  <a:lnTo>
                    <a:pt x="14117" y="3383"/>
                  </a:lnTo>
                  <a:lnTo>
                    <a:pt x="14118" y="3392"/>
                  </a:lnTo>
                  <a:close/>
                  <a:moveTo>
                    <a:pt x="15434" y="3145"/>
                  </a:moveTo>
                  <a:lnTo>
                    <a:pt x="15434" y="3258"/>
                  </a:lnTo>
                  <a:lnTo>
                    <a:pt x="15432" y="3267"/>
                  </a:lnTo>
                  <a:lnTo>
                    <a:pt x="15427" y="3273"/>
                  </a:lnTo>
                  <a:lnTo>
                    <a:pt x="15421" y="3277"/>
                  </a:lnTo>
                  <a:lnTo>
                    <a:pt x="15413" y="3278"/>
                  </a:lnTo>
                  <a:lnTo>
                    <a:pt x="15407" y="3277"/>
                  </a:lnTo>
                  <a:lnTo>
                    <a:pt x="15400" y="3273"/>
                  </a:lnTo>
                  <a:lnTo>
                    <a:pt x="15395" y="3267"/>
                  </a:lnTo>
                  <a:lnTo>
                    <a:pt x="15394" y="3258"/>
                  </a:lnTo>
                  <a:lnTo>
                    <a:pt x="15394" y="3145"/>
                  </a:lnTo>
                  <a:lnTo>
                    <a:pt x="15395" y="3138"/>
                  </a:lnTo>
                  <a:lnTo>
                    <a:pt x="15400" y="3131"/>
                  </a:lnTo>
                  <a:lnTo>
                    <a:pt x="15407" y="3127"/>
                  </a:lnTo>
                  <a:lnTo>
                    <a:pt x="15413" y="3126"/>
                  </a:lnTo>
                  <a:lnTo>
                    <a:pt x="15421" y="3127"/>
                  </a:lnTo>
                  <a:lnTo>
                    <a:pt x="15427" y="3131"/>
                  </a:lnTo>
                  <a:lnTo>
                    <a:pt x="15432" y="3138"/>
                  </a:lnTo>
                  <a:lnTo>
                    <a:pt x="15434" y="3145"/>
                  </a:lnTo>
                  <a:close/>
                  <a:moveTo>
                    <a:pt x="15171" y="3145"/>
                  </a:moveTo>
                  <a:lnTo>
                    <a:pt x="15171" y="3258"/>
                  </a:lnTo>
                  <a:lnTo>
                    <a:pt x="15168" y="3267"/>
                  </a:lnTo>
                  <a:lnTo>
                    <a:pt x="15164" y="3273"/>
                  </a:lnTo>
                  <a:lnTo>
                    <a:pt x="15158" y="3277"/>
                  </a:lnTo>
                  <a:lnTo>
                    <a:pt x="15150" y="3278"/>
                  </a:lnTo>
                  <a:lnTo>
                    <a:pt x="15142" y="3277"/>
                  </a:lnTo>
                  <a:lnTo>
                    <a:pt x="15136" y="3273"/>
                  </a:lnTo>
                  <a:lnTo>
                    <a:pt x="15132" y="3267"/>
                  </a:lnTo>
                  <a:lnTo>
                    <a:pt x="15131" y="3258"/>
                  </a:lnTo>
                  <a:lnTo>
                    <a:pt x="15131" y="3145"/>
                  </a:lnTo>
                  <a:lnTo>
                    <a:pt x="15132" y="3138"/>
                  </a:lnTo>
                  <a:lnTo>
                    <a:pt x="15136" y="3131"/>
                  </a:lnTo>
                  <a:lnTo>
                    <a:pt x="15142" y="3127"/>
                  </a:lnTo>
                  <a:lnTo>
                    <a:pt x="15150" y="3126"/>
                  </a:lnTo>
                  <a:lnTo>
                    <a:pt x="15158" y="3127"/>
                  </a:lnTo>
                  <a:lnTo>
                    <a:pt x="15164" y="3131"/>
                  </a:lnTo>
                  <a:lnTo>
                    <a:pt x="15168" y="3138"/>
                  </a:lnTo>
                  <a:lnTo>
                    <a:pt x="15171" y="3145"/>
                  </a:lnTo>
                  <a:close/>
                  <a:moveTo>
                    <a:pt x="14908" y="3145"/>
                  </a:moveTo>
                  <a:lnTo>
                    <a:pt x="14908" y="3258"/>
                  </a:lnTo>
                  <a:lnTo>
                    <a:pt x="14905" y="3267"/>
                  </a:lnTo>
                  <a:lnTo>
                    <a:pt x="14901" y="3273"/>
                  </a:lnTo>
                  <a:lnTo>
                    <a:pt x="14895" y="3277"/>
                  </a:lnTo>
                  <a:lnTo>
                    <a:pt x="14887" y="3278"/>
                  </a:lnTo>
                  <a:lnTo>
                    <a:pt x="14880" y="3277"/>
                  </a:lnTo>
                  <a:lnTo>
                    <a:pt x="14873" y="3273"/>
                  </a:lnTo>
                  <a:lnTo>
                    <a:pt x="14869" y="3267"/>
                  </a:lnTo>
                  <a:lnTo>
                    <a:pt x="14867" y="3258"/>
                  </a:lnTo>
                  <a:lnTo>
                    <a:pt x="14867" y="3145"/>
                  </a:lnTo>
                  <a:lnTo>
                    <a:pt x="14869" y="3138"/>
                  </a:lnTo>
                  <a:lnTo>
                    <a:pt x="14873" y="3131"/>
                  </a:lnTo>
                  <a:lnTo>
                    <a:pt x="14880" y="3127"/>
                  </a:lnTo>
                  <a:lnTo>
                    <a:pt x="14887" y="3126"/>
                  </a:lnTo>
                  <a:lnTo>
                    <a:pt x="14895" y="3127"/>
                  </a:lnTo>
                  <a:lnTo>
                    <a:pt x="14901" y="3131"/>
                  </a:lnTo>
                  <a:lnTo>
                    <a:pt x="14905" y="3138"/>
                  </a:lnTo>
                  <a:lnTo>
                    <a:pt x="14908" y="3145"/>
                  </a:lnTo>
                  <a:close/>
                  <a:moveTo>
                    <a:pt x="14644" y="3145"/>
                  </a:moveTo>
                  <a:lnTo>
                    <a:pt x="14644" y="3258"/>
                  </a:lnTo>
                  <a:lnTo>
                    <a:pt x="14642" y="3267"/>
                  </a:lnTo>
                  <a:lnTo>
                    <a:pt x="14637" y="3273"/>
                  </a:lnTo>
                  <a:lnTo>
                    <a:pt x="14631" y="3277"/>
                  </a:lnTo>
                  <a:lnTo>
                    <a:pt x="14624" y="3278"/>
                  </a:lnTo>
                  <a:lnTo>
                    <a:pt x="14617" y="3277"/>
                  </a:lnTo>
                  <a:lnTo>
                    <a:pt x="14610" y="3273"/>
                  </a:lnTo>
                  <a:lnTo>
                    <a:pt x="14606" y="3267"/>
                  </a:lnTo>
                  <a:lnTo>
                    <a:pt x="14604" y="3258"/>
                  </a:lnTo>
                  <a:lnTo>
                    <a:pt x="14604" y="3145"/>
                  </a:lnTo>
                  <a:lnTo>
                    <a:pt x="14606" y="3138"/>
                  </a:lnTo>
                  <a:lnTo>
                    <a:pt x="14610" y="3131"/>
                  </a:lnTo>
                  <a:lnTo>
                    <a:pt x="14617" y="3127"/>
                  </a:lnTo>
                  <a:lnTo>
                    <a:pt x="14624" y="3126"/>
                  </a:lnTo>
                  <a:lnTo>
                    <a:pt x="14631" y="3127"/>
                  </a:lnTo>
                  <a:lnTo>
                    <a:pt x="14637" y="3131"/>
                  </a:lnTo>
                  <a:lnTo>
                    <a:pt x="14642" y="3138"/>
                  </a:lnTo>
                  <a:lnTo>
                    <a:pt x="14644" y="3145"/>
                  </a:lnTo>
                  <a:close/>
                  <a:moveTo>
                    <a:pt x="14381" y="3145"/>
                  </a:moveTo>
                  <a:lnTo>
                    <a:pt x="14381" y="3258"/>
                  </a:lnTo>
                  <a:lnTo>
                    <a:pt x="14379" y="3267"/>
                  </a:lnTo>
                  <a:lnTo>
                    <a:pt x="14374" y="3273"/>
                  </a:lnTo>
                  <a:lnTo>
                    <a:pt x="14368" y="3277"/>
                  </a:lnTo>
                  <a:lnTo>
                    <a:pt x="14362" y="3278"/>
                  </a:lnTo>
                  <a:lnTo>
                    <a:pt x="14354" y="3277"/>
                  </a:lnTo>
                  <a:lnTo>
                    <a:pt x="14347" y="3273"/>
                  </a:lnTo>
                  <a:lnTo>
                    <a:pt x="14342" y="3267"/>
                  </a:lnTo>
                  <a:lnTo>
                    <a:pt x="14341" y="3258"/>
                  </a:lnTo>
                  <a:lnTo>
                    <a:pt x="14341" y="3145"/>
                  </a:lnTo>
                  <a:lnTo>
                    <a:pt x="14342" y="3138"/>
                  </a:lnTo>
                  <a:lnTo>
                    <a:pt x="14347" y="3131"/>
                  </a:lnTo>
                  <a:lnTo>
                    <a:pt x="14354" y="3127"/>
                  </a:lnTo>
                  <a:lnTo>
                    <a:pt x="14362" y="3126"/>
                  </a:lnTo>
                  <a:lnTo>
                    <a:pt x="14368" y="3127"/>
                  </a:lnTo>
                  <a:lnTo>
                    <a:pt x="14374" y="3131"/>
                  </a:lnTo>
                  <a:lnTo>
                    <a:pt x="14379" y="3138"/>
                  </a:lnTo>
                  <a:lnTo>
                    <a:pt x="14381" y="3145"/>
                  </a:lnTo>
                  <a:close/>
                  <a:moveTo>
                    <a:pt x="14118" y="3145"/>
                  </a:moveTo>
                  <a:lnTo>
                    <a:pt x="14118" y="3258"/>
                  </a:lnTo>
                  <a:lnTo>
                    <a:pt x="14117" y="3267"/>
                  </a:lnTo>
                  <a:lnTo>
                    <a:pt x="14111" y="3273"/>
                  </a:lnTo>
                  <a:lnTo>
                    <a:pt x="14105" y="3277"/>
                  </a:lnTo>
                  <a:lnTo>
                    <a:pt x="14097" y="3278"/>
                  </a:lnTo>
                  <a:lnTo>
                    <a:pt x="14091" y="3277"/>
                  </a:lnTo>
                  <a:lnTo>
                    <a:pt x="14085" y="3273"/>
                  </a:lnTo>
                  <a:lnTo>
                    <a:pt x="14079" y="3267"/>
                  </a:lnTo>
                  <a:lnTo>
                    <a:pt x="14078" y="3258"/>
                  </a:lnTo>
                  <a:lnTo>
                    <a:pt x="14078" y="3145"/>
                  </a:lnTo>
                  <a:lnTo>
                    <a:pt x="14079" y="3138"/>
                  </a:lnTo>
                  <a:lnTo>
                    <a:pt x="14085" y="3131"/>
                  </a:lnTo>
                  <a:lnTo>
                    <a:pt x="14091" y="3127"/>
                  </a:lnTo>
                  <a:lnTo>
                    <a:pt x="14097" y="3126"/>
                  </a:lnTo>
                  <a:lnTo>
                    <a:pt x="14105" y="3127"/>
                  </a:lnTo>
                  <a:lnTo>
                    <a:pt x="14111" y="3131"/>
                  </a:lnTo>
                  <a:lnTo>
                    <a:pt x="14117" y="3138"/>
                  </a:lnTo>
                  <a:lnTo>
                    <a:pt x="14118" y="3145"/>
                  </a:lnTo>
                  <a:close/>
                  <a:moveTo>
                    <a:pt x="15434" y="2900"/>
                  </a:moveTo>
                  <a:lnTo>
                    <a:pt x="15434" y="3011"/>
                  </a:lnTo>
                  <a:lnTo>
                    <a:pt x="15432" y="3020"/>
                  </a:lnTo>
                  <a:lnTo>
                    <a:pt x="15427" y="3026"/>
                  </a:lnTo>
                  <a:lnTo>
                    <a:pt x="15421" y="3030"/>
                  </a:lnTo>
                  <a:lnTo>
                    <a:pt x="15413" y="3031"/>
                  </a:lnTo>
                  <a:lnTo>
                    <a:pt x="15407" y="3030"/>
                  </a:lnTo>
                  <a:lnTo>
                    <a:pt x="15400" y="3026"/>
                  </a:lnTo>
                  <a:lnTo>
                    <a:pt x="15395" y="3020"/>
                  </a:lnTo>
                  <a:lnTo>
                    <a:pt x="15394" y="3011"/>
                  </a:lnTo>
                  <a:lnTo>
                    <a:pt x="15394" y="2900"/>
                  </a:lnTo>
                  <a:lnTo>
                    <a:pt x="15395" y="2891"/>
                  </a:lnTo>
                  <a:lnTo>
                    <a:pt x="15400" y="2884"/>
                  </a:lnTo>
                  <a:lnTo>
                    <a:pt x="15407" y="2881"/>
                  </a:lnTo>
                  <a:lnTo>
                    <a:pt x="15413" y="2879"/>
                  </a:lnTo>
                  <a:lnTo>
                    <a:pt x="15421" y="2881"/>
                  </a:lnTo>
                  <a:lnTo>
                    <a:pt x="15427" y="2884"/>
                  </a:lnTo>
                  <a:lnTo>
                    <a:pt x="15432" y="2891"/>
                  </a:lnTo>
                  <a:lnTo>
                    <a:pt x="15434" y="2900"/>
                  </a:lnTo>
                  <a:close/>
                  <a:moveTo>
                    <a:pt x="15171" y="2900"/>
                  </a:moveTo>
                  <a:lnTo>
                    <a:pt x="15171" y="3011"/>
                  </a:lnTo>
                  <a:lnTo>
                    <a:pt x="15168" y="3020"/>
                  </a:lnTo>
                  <a:lnTo>
                    <a:pt x="15164" y="3026"/>
                  </a:lnTo>
                  <a:lnTo>
                    <a:pt x="15158" y="3030"/>
                  </a:lnTo>
                  <a:lnTo>
                    <a:pt x="15150" y="3031"/>
                  </a:lnTo>
                  <a:lnTo>
                    <a:pt x="15142" y="3030"/>
                  </a:lnTo>
                  <a:lnTo>
                    <a:pt x="15136" y="3026"/>
                  </a:lnTo>
                  <a:lnTo>
                    <a:pt x="15132" y="3020"/>
                  </a:lnTo>
                  <a:lnTo>
                    <a:pt x="15131" y="3011"/>
                  </a:lnTo>
                  <a:lnTo>
                    <a:pt x="15131" y="2900"/>
                  </a:lnTo>
                  <a:lnTo>
                    <a:pt x="15132" y="2891"/>
                  </a:lnTo>
                  <a:lnTo>
                    <a:pt x="15136" y="2884"/>
                  </a:lnTo>
                  <a:lnTo>
                    <a:pt x="15142" y="2881"/>
                  </a:lnTo>
                  <a:lnTo>
                    <a:pt x="15150" y="2879"/>
                  </a:lnTo>
                  <a:lnTo>
                    <a:pt x="15158" y="2881"/>
                  </a:lnTo>
                  <a:lnTo>
                    <a:pt x="15164" y="2884"/>
                  </a:lnTo>
                  <a:lnTo>
                    <a:pt x="15168" y="2891"/>
                  </a:lnTo>
                  <a:lnTo>
                    <a:pt x="15171" y="2900"/>
                  </a:lnTo>
                  <a:close/>
                  <a:moveTo>
                    <a:pt x="14908" y="2900"/>
                  </a:moveTo>
                  <a:lnTo>
                    <a:pt x="14908" y="3011"/>
                  </a:lnTo>
                  <a:lnTo>
                    <a:pt x="14905" y="3020"/>
                  </a:lnTo>
                  <a:lnTo>
                    <a:pt x="14901" y="3026"/>
                  </a:lnTo>
                  <a:lnTo>
                    <a:pt x="14895" y="3030"/>
                  </a:lnTo>
                  <a:lnTo>
                    <a:pt x="14887" y="3031"/>
                  </a:lnTo>
                  <a:lnTo>
                    <a:pt x="14880" y="3030"/>
                  </a:lnTo>
                  <a:lnTo>
                    <a:pt x="14873" y="3026"/>
                  </a:lnTo>
                  <a:lnTo>
                    <a:pt x="14869" y="3020"/>
                  </a:lnTo>
                  <a:lnTo>
                    <a:pt x="14867" y="3011"/>
                  </a:lnTo>
                  <a:lnTo>
                    <a:pt x="14867" y="2900"/>
                  </a:lnTo>
                  <a:lnTo>
                    <a:pt x="14869" y="2891"/>
                  </a:lnTo>
                  <a:lnTo>
                    <a:pt x="14873" y="2884"/>
                  </a:lnTo>
                  <a:lnTo>
                    <a:pt x="14880" y="2881"/>
                  </a:lnTo>
                  <a:lnTo>
                    <a:pt x="14887" y="2879"/>
                  </a:lnTo>
                  <a:lnTo>
                    <a:pt x="14895" y="2881"/>
                  </a:lnTo>
                  <a:lnTo>
                    <a:pt x="14901" y="2884"/>
                  </a:lnTo>
                  <a:lnTo>
                    <a:pt x="14905" y="2891"/>
                  </a:lnTo>
                  <a:lnTo>
                    <a:pt x="14908" y="2900"/>
                  </a:lnTo>
                  <a:close/>
                  <a:moveTo>
                    <a:pt x="14644" y="2900"/>
                  </a:moveTo>
                  <a:lnTo>
                    <a:pt x="14644" y="3011"/>
                  </a:lnTo>
                  <a:lnTo>
                    <a:pt x="14642" y="3020"/>
                  </a:lnTo>
                  <a:lnTo>
                    <a:pt x="14637" y="3026"/>
                  </a:lnTo>
                  <a:lnTo>
                    <a:pt x="14631" y="3030"/>
                  </a:lnTo>
                  <a:lnTo>
                    <a:pt x="14624" y="3031"/>
                  </a:lnTo>
                  <a:lnTo>
                    <a:pt x="14617" y="3030"/>
                  </a:lnTo>
                  <a:lnTo>
                    <a:pt x="14610" y="3026"/>
                  </a:lnTo>
                  <a:lnTo>
                    <a:pt x="14606" y="3020"/>
                  </a:lnTo>
                  <a:lnTo>
                    <a:pt x="14604" y="3011"/>
                  </a:lnTo>
                  <a:lnTo>
                    <a:pt x="14604" y="2900"/>
                  </a:lnTo>
                  <a:lnTo>
                    <a:pt x="14606" y="2891"/>
                  </a:lnTo>
                  <a:lnTo>
                    <a:pt x="14610" y="2884"/>
                  </a:lnTo>
                  <a:lnTo>
                    <a:pt x="14617" y="2881"/>
                  </a:lnTo>
                  <a:lnTo>
                    <a:pt x="14624" y="2879"/>
                  </a:lnTo>
                  <a:lnTo>
                    <a:pt x="14631" y="2881"/>
                  </a:lnTo>
                  <a:lnTo>
                    <a:pt x="14637" y="2884"/>
                  </a:lnTo>
                  <a:lnTo>
                    <a:pt x="14642" y="2891"/>
                  </a:lnTo>
                  <a:lnTo>
                    <a:pt x="14644" y="2900"/>
                  </a:lnTo>
                  <a:close/>
                  <a:moveTo>
                    <a:pt x="14381" y="2900"/>
                  </a:moveTo>
                  <a:lnTo>
                    <a:pt x="14381" y="3011"/>
                  </a:lnTo>
                  <a:lnTo>
                    <a:pt x="14379" y="3020"/>
                  </a:lnTo>
                  <a:lnTo>
                    <a:pt x="14374" y="3026"/>
                  </a:lnTo>
                  <a:lnTo>
                    <a:pt x="14368" y="3030"/>
                  </a:lnTo>
                  <a:lnTo>
                    <a:pt x="14362" y="3031"/>
                  </a:lnTo>
                  <a:lnTo>
                    <a:pt x="14354" y="3030"/>
                  </a:lnTo>
                  <a:lnTo>
                    <a:pt x="14347" y="3026"/>
                  </a:lnTo>
                  <a:lnTo>
                    <a:pt x="14342" y="3020"/>
                  </a:lnTo>
                  <a:lnTo>
                    <a:pt x="14341" y="3011"/>
                  </a:lnTo>
                  <a:lnTo>
                    <a:pt x="14341" y="2900"/>
                  </a:lnTo>
                  <a:lnTo>
                    <a:pt x="14342" y="2891"/>
                  </a:lnTo>
                  <a:lnTo>
                    <a:pt x="14347" y="2884"/>
                  </a:lnTo>
                  <a:lnTo>
                    <a:pt x="14354" y="2881"/>
                  </a:lnTo>
                  <a:lnTo>
                    <a:pt x="14362" y="2879"/>
                  </a:lnTo>
                  <a:lnTo>
                    <a:pt x="14368" y="2881"/>
                  </a:lnTo>
                  <a:lnTo>
                    <a:pt x="14374" y="2884"/>
                  </a:lnTo>
                  <a:lnTo>
                    <a:pt x="14379" y="2891"/>
                  </a:lnTo>
                  <a:lnTo>
                    <a:pt x="14381" y="2900"/>
                  </a:lnTo>
                  <a:close/>
                  <a:moveTo>
                    <a:pt x="14118" y="2900"/>
                  </a:moveTo>
                  <a:lnTo>
                    <a:pt x="14118" y="3011"/>
                  </a:lnTo>
                  <a:lnTo>
                    <a:pt x="14117" y="3020"/>
                  </a:lnTo>
                  <a:lnTo>
                    <a:pt x="14111" y="3026"/>
                  </a:lnTo>
                  <a:lnTo>
                    <a:pt x="14105" y="3030"/>
                  </a:lnTo>
                  <a:lnTo>
                    <a:pt x="14097" y="3031"/>
                  </a:lnTo>
                  <a:lnTo>
                    <a:pt x="14091" y="3030"/>
                  </a:lnTo>
                  <a:lnTo>
                    <a:pt x="14085" y="3026"/>
                  </a:lnTo>
                  <a:lnTo>
                    <a:pt x="14079" y="3020"/>
                  </a:lnTo>
                  <a:lnTo>
                    <a:pt x="14078" y="3011"/>
                  </a:lnTo>
                  <a:lnTo>
                    <a:pt x="14078" y="2900"/>
                  </a:lnTo>
                  <a:lnTo>
                    <a:pt x="14079" y="2891"/>
                  </a:lnTo>
                  <a:lnTo>
                    <a:pt x="14085" y="2884"/>
                  </a:lnTo>
                  <a:lnTo>
                    <a:pt x="14091" y="2881"/>
                  </a:lnTo>
                  <a:lnTo>
                    <a:pt x="14097" y="2879"/>
                  </a:lnTo>
                  <a:lnTo>
                    <a:pt x="14105" y="2881"/>
                  </a:lnTo>
                  <a:lnTo>
                    <a:pt x="14111" y="2884"/>
                  </a:lnTo>
                  <a:lnTo>
                    <a:pt x="14117" y="2891"/>
                  </a:lnTo>
                  <a:lnTo>
                    <a:pt x="14118" y="2900"/>
                  </a:lnTo>
                  <a:close/>
                  <a:moveTo>
                    <a:pt x="15434" y="3639"/>
                  </a:moveTo>
                  <a:lnTo>
                    <a:pt x="15434" y="3751"/>
                  </a:lnTo>
                  <a:lnTo>
                    <a:pt x="15432" y="3760"/>
                  </a:lnTo>
                  <a:lnTo>
                    <a:pt x="15427" y="3765"/>
                  </a:lnTo>
                  <a:lnTo>
                    <a:pt x="15421" y="3769"/>
                  </a:lnTo>
                  <a:lnTo>
                    <a:pt x="15413" y="3771"/>
                  </a:lnTo>
                  <a:lnTo>
                    <a:pt x="15407" y="3769"/>
                  </a:lnTo>
                  <a:lnTo>
                    <a:pt x="15400" y="3765"/>
                  </a:lnTo>
                  <a:lnTo>
                    <a:pt x="15395" y="3760"/>
                  </a:lnTo>
                  <a:lnTo>
                    <a:pt x="15394" y="3751"/>
                  </a:lnTo>
                  <a:lnTo>
                    <a:pt x="15394" y="3639"/>
                  </a:lnTo>
                  <a:lnTo>
                    <a:pt x="15395" y="3630"/>
                  </a:lnTo>
                  <a:lnTo>
                    <a:pt x="15400" y="3624"/>
                  </a:lnTo>
                  <a:lnTo>
                    <a:pt x="15407" y="3620"/>
                  </a:lnTo>
                  <a:lnTo>
                    <a:pt x="15413" y="3618"/>
                  </a:lnTo>
                  <a:lnTo>
                    <a:pt x="15421" y="3620"/>
                  </a:lnTo>
                  <a:lnTo>
                    <a:pt x="15427" y="3624"/>
                  </a:lnTo>
                  <a:lnTo>
                    <a:pt x="15432" y="3630"/>
                  </a:lnTo>
                  <a:lnTo>
                    <a:pt x="15434" y="3639"/>
                  </a:lnTo>
                  <a:close/>
                  <a:moveTo>
                    <a:pt x="18172" y="964"/>
                  </a:moveTo>
                  <a:lnTo>
                    <a:pt x="17643" y="964"/>
                  </a:lnTo>
                  <a:lnTo>
                    <a:pt x="17643" y="1019"/>
                  </a:lnTo>
                  <a:lnTo>
                    <a:pt x="18172" y="1019"/>
                  </a:lnTo>
                  <a:lnTo>
                    <a:pt x="18172" y="964"/>
                  </a:lnTo>
                  <a:close/>
                  <a:moveTo>
                    <a:pt x="17665" y="1323"/>
                  </a:moveTo>
                  <a:lnTo>
                    <a:pt x="18163" y="2010"/>
                  </a:lnTo>
                  <a:lnTo>
                    <a:pt x="18134" y="1058"/>
                  </a:lnTo>
                  <a:lnTo>
                    <a:pt x="17680" y="1058"/>
                  </a:lnTo>
                  <a:lnTo>
                    <a:pt x="17665" y="1322"/>
                  </a:lnTo>
                  <a:lnTo>
                    <a:pt x="17665" y="1323"/>
                  </a:lnTo>
                  <a:close/>
                  <a:moveTo>
                    <a:pt x="17638" y="1754"/>
                  </a:moveTo>
                  <a:lnTo>
                    <a:pt x="18179" y="2500"/>
                  </a:lnTo>
                  <a:lnTo>
                    <a:pt x="18166" y="2079"/>
                  </a:lnTo>
                  <a:lnTo>
                    <a:pt x="18161" y="2074"/>
                  </a:lnTo>
                  <a:lnTo>
                    <a:pt x="17661" y="1385"/>
                  </a:lnTo>
                  <a:lnTo>
                    <a:pt x="17638" y="1754"/>
                  </a:lnTo>
                  <a:close/>
                  <a:moveTo>
                    <a:pt x="17611" y="2186"/>
                  </a:moveTo>
                  <a:lnTo>
                    <a:pt x="18194" y="2989"/>
                  </a:lnTo>
                  <a:lnTo>
                    <a:pt x="18181" y="2571"/>
                  </a:lnTo>
                  <a:lnTo>
                    <a:pt x="17634" y="1817"/>
                  </a:lnTo>
                  <a:lnTo>
                    <a:pt x="17611" y="2186"/>
                  </a:lnTo>
                  <a:close/>
                  <a:moveTo>
                    <a:pt x="22919" y="2556"/>
                  </a:moveTo>
                  <a:lnTo>
                    <a:pt x="22895" y="2525"/>
                  </a:lnTo>
                  <a:lnTo>
                    <a:pt x="22869" y="2494"/>
                  </a:lnTo>
                  <a:lnTo>
                    <a:pt x="22841" y="2464"/>
                  </a:lnTo>
                  <a:lnTo>
                    <a:pt x="22812" y="2434"/>
                  </a:lnTo>
                  <a:lnTo>
                    <a:pt x="22748" y="2377"/>
                  </a:lnTo>
                  <a:lnTo>
                    <a:pt x="22714" y="2350"/>
                  </a:lnTo>
                  <a:lnTo>
                    <a:pt x="22678" y="2323"/>
                  </a:lnTo>
                  <a:lnTo>
                    <a:pt x="22603" y="2272"/>
                  </a:lnTo>
                  <a:lnTo>
                    <a:pt x="22522" y="2225"/>
                  </a:lnTo>
                  <a:lnTo>
                    <a:pt x="22436" y="2181"/>
                  </a:lnTo>
                  <a:lnTo>
                    <a:pt x="22346" y="2142"/>
                  </a:lnTo>
                  <a:lnTo>
                    <a:pt x="22250" y="2104"/>
                  </a:lnTo>
                  <a:lnTo>
                    <a:pt x="22151" y="2072"/>
                  </a:lnTo>
                  <a:lnTo>
                    <a:pt x="22048" y="2046"/>
                  </a:lnTo>
                  <a:lnTo>
                    <a:pt x="21995" y="2033"/>
                  </a:lnTo>
                  <a:lnTo>
                    <a:pt x="21941" y="2023"/>
                  </a:lnTo>
                  <a:lnTo>
                    <a:pt x="21831" y="2003"/>
                  </a:lnTo>
                  <a:lnTo>
                    <a:pt x="21774" y="1997"/>
                  </a:lnTo>
                  <a:lnTo>
                    <a:pt x="21718" y="1991"/>
                  </a:lnTo>
                  <a:lnTo>
                    <a:pt x="21601" y="1983"/>
                  </a:lnTo>
                  <a:lnTo>
                    <a:pt x="21483" y="1980"/>
                  </a:lnTo>
                  <a:lnTo>
                    <a:pt x="21365" y="1983"/>
                  </a:lnTo>
                  <a:lnTo>
                    <a:pt x="21249" y="1991"/>
                  </a:lnTo>
                  <a:lnTo>
                    <a:pt x="21136" y="2003"/>
                  </a:lnTo>
                  <a:lnTo>
                    <a:pt x="21026" y="2023"/>
                  </a:lnTo>
                  <a:lnTo>
                    <a:pt x="20972" y="2033"/>
                  </a:lnTo>
                  <a:lnTo>
                    <a:pt x="20919" y="2046"/>
                  </a:lnTo>
                  <a:lnTo>
                    <a:pt x="20815" y="2072"/>
                  </a:lnTo>
                  <a:lnTo>
                    <a:pt x="20717" y="2104"/>
                  </a:lnTo>
                  <a:lnTo>
                    <a:pt x="20622" y="2142"/>
                  </a:lnTo>
                  <a:lnTo>
                    <a:pt x="20531" y="2181"/>
                  </a:lnTo>
                  <a:lnTo>
                    <a:pt x="20445" y="2225"/>
                  </a:lnTo>
                  <a:lnTo>
                    <a:pt x="20364" y="2272"/>
                  </a:lnTo>
                  <a:lnTo>
                    <a:pt x="20288" y="2323"/>
                  </a:lnTo>
                  <a:lnTo>
                    <a:pt x="20219" y="2377"/>
                  </a:lnTo>
                  <a:lnTo>
                    <a:pt x="20187" y="2405"/>
                  </a:lnTo>
                  <a:lnTo>
                    <a:pt x="20155" y="2434"/>
                  </a:lnTo>
                  <a:lnTo>
                    <a:pt x="20125" y="2464"/>
                  </a:lnTo>
                  <a:lnTo>
                    <a:pt x="20098" y="2494"/>
                  </a:lnTo>
                  <a:lnTo>
                    <a:pt x="20047" y="2556"/>
                  </a:lnTo>
                  <a:lnTo>
                    <a:pt x="20765" y="2556"/>
                  </a:lnTo>
                  <a:lnTo>
                    <a:pt x="21483" y="2556"/>
                  </a:lnTo>
                  <a:lnTo>
                    <a:pt x="22201" y="2556"/>
                  </a:lnTo>
                  <a:lnTo>
                    <a:pt x="22919" y="2556"/>
                  </a:lnTo>
                  <a:close/>
                  <a:moveTo>
                    <a:pt x="21733" y="1952"/>
                  </a:moveTo>
                  <a:lnTo>
                    <a:pt x="21733" y="1794"/>
                  </a:lnTo>
                  <a:lnTo>
                    <a:pt x="21235" y="1794"/>
                  </a:lnTo>
                  <a:lnTo>
                    <a:pt x="21235" y="1952"/>
                  </a:lnTo>
                  <a:lnTo>
                    <a:pt x="21295" y="1947"/>
                  </a:lnTo>
                  <a:lnTo>
                    <a:pt x="21358" y="1943"/>
                  </a:lnTo>
                  <a:lnTo>
                    <a:pt x="21420" y="1941"/>
                  </a:lnTo>
                  <a:lnTo>
                    <a:pt x="21483" y="1939"/>
                  </a:lnTo>
                  <a:lnTo>
                    <a:pt x="21609" y="1943"/>
                  </a:lnTo>
                  <a:lnTo>
                    <a:pt x="21733" y="1952"/>
                  </a:lnTo>
                  <a:close/>
                  <a:moveTo>
                    <a:pt x="20024" y="2977"/>
                  </a:moveTo>
                  <a:lnTo>
                    <a:pt x="20754" y="2977"/>
                  </a:lnTo>
                  <a:lnTo>
                    <a:pt x="21483" y="2977"/>
                  </a:lnTo>
                  <a:lnTo>
                    <a:pt x="22213" y="2977"/>
                  </a:lnTo>
                  <a:lnTo>
                    <a:pt x="22943" y="2977"/>
                  </a:lnTo>
                  <a:lnTo>
                    <a:pt x="22943" y="2750"/>
                  </a:lnTo>
                  <a:lnTo>
                    <a:pt x="22213" y="2750"/>
                  </a:lnTo>
                  <a:lnTo>
                    <a:pt x="21483" y="2750"/>
                  </a:lnTo>
                  <a:lnTo>
                    <a:pt x="20754" y="2750"/>
                  </a:lnTo>
                  <a:lnTo>
                    <a:pt x="20024" y="2750"/>
                  </a:lnTo>
                  <a:lnTo>
                    <a:pt x="20024" y="2977"/>
                  </a:lnTo>
                  <a:close/>
                  <a:moveTo>
                    <a:pt x="20768" y="4017"/>
                  </a:moveTo>
                  <a:lnTo>
                    <a:pt x="20768" y="4324"/>
                  </a:lnTo>
                  <a:lnTo>
                    <a:pt x="20974" y="4324"/>
                  </a:lnTo>
                  <a:lnTo>
                    <a:pt x="20974" y="3670"/>
                  </a:lnTo>
                  <a:lnTo>
                    <a:pt x="20974" y="3016"/>
                  </a:lnTo>
                  <a:lnTo>
                    <a:pt x="20523" y="3016"/>
                  </a:lnTo>
                  <a:lnTo>
                    <a:pt x="20523" y="3670"/>
                  </a:lnTo>
                  <a:lnTo>
                    <a:pt x="20523" y="4324"/>
                  </a:lnTo>
                  <a:lnTo>
                    <a:pt x="20728" y="4324"/>
                  </a:lnTo>
                  <a:lnTo>
                    <a:pt x="20728" y="4017"/>
                  </a:lnTo>
                  <a:lnTo>
                    <a:pt x="20731" y="4008"/>
                  </a:lnTo>
                  <a:lnTo>
                    <a:pt x="20734" y="4002"/>
                  </a:lnTo>
                  <a:lnTo>
                    <a:pt x="20741" y="3998"/>
                  </a:lnTo>
                  <a:lnTo>
                    <a:pt x="20749" y="3997"/>
                  </a:lnTo>
                  <a:lnTo>
                    <a:pt x="20756" y="3998"/>
                  </a:lnTo>
                  <a:lnTo>
                    <a:pt x="20763" y="4002"/>
                  </a:lnTo>
                  <a:lnTo>
                    <a:pt x="20767" y="4008"/>
                  </a:lnTo>
                  <a:lnTo>
                    <a:pt x="20768" y="4017"/>
                  </a:lnTo>
                  <a:close/>
                  <a:moveTo>
                    <a:pt x="21260" y="4017"/>
                  </a:moveTo>
                  <a:lnTo>
                    <a:pt x="21260" y="4324"/>
                  </a:lnTo>
                  <a:lnTo>
                    <a:pt x="21467" y="4324"/>
                  </a:lnTo>
                  <a:lnTo>
                    <a:pt x="21467" y="3670"/>
                  </a:lnTo>
                  <a:lnTo>
                    <a:pt x="21467" y="3016"/>
                  </a:lnTo>
                  <a:lnTo>
                    <a:pt x="21014" y="3016"/>
                  </a:lnTo>
                  <a:lnTo>
                    <a:pt x="21014" y="3670"/>
                  </a:lnTo>
                  <a:lnTo>
                    <a:pt x="21014" y="4324"/>
                  </a:lnTo>
                  <a:lnTo>
                    <a:pt x="21220" y="4324"/>
                  </a:lnTo>
                  <a:lnTo>
                    <a:pt x="21220" y="4017"/>
                  </a:lnTo>
                  <a:lnTo>
                    <a:pt x="21222" y="4008"/>
                  </a:lnTo>
                  <a:lnTo>
                    <a:pt x="21227" y="4002"/>
                  </a:lnTo>
                  <a:lnTo>
                    <a:pt x="21233" y="3998"/>
                  </a:lnTo>
                  <a:lnTo>
                    <a:pt x="21241" y="3997"/>
                  </a:lnTo>
                  <a:lnTo>
                    <a:pt x="21247" y="3998"/>
                  </a:lnTo>
                  <a:lnTo>
                    <a:pt x="21254" y="4002"/>
                  </a:lnTo>
                  <a:lnTo>
                    <a:pt x="21259" y="4008"/>
                  </a:lnTo>
                  <a:lnTo>
                    <a:pt x="21260" y="4017"/>
                  </a:lnTo>
                  <a:close/>
                  <a:moveTo>
                    <a:pt x="21753" y="4017"/>
                  </a:moveTo>
                  <a:lnTo>
                    <a:pt x="21753" y="4324"/>
                  </a:lnTo>
                  <a:lnTo>
                    <a:pt x="21959" y="4324"/>
                  </a:lnTo>
                  <a:lnTo>
                    <a:pt x="21959" y="3670"/>
                  </a:lnTo>
                  <a:lnTo>
                    <a:pt x="21959" y="3016"/>
                  </a:lnTo>
                  <a:lnTo>
                    <a:pt x="21506" y="3016"/>
                  </a:lnTo>
                  <a:lnTo>
                    <a:pt x="21506" y="3670"/>
                  </a:lnTo>
                  <a:lnTo>
                    <a:pt x="21506" y="4324"/>
                  </a:lnTo>
                  <a:lnTo>
                    <a:pt x="21713" y="4324"/>
                  </a:lnTo>
                  <a:lnTo>
                    <a:pt x="21713" y="4017"/>
                  </a:lnTo>
                  <a:lnTo>
                    <a:pt x="21714" y="4008"/>
                  </a:lnTo>
                  <a:lnTo>
                    <a:pt x="21719" y="4002"/>
                  </a:lnTo>
                  <a:lnTo>
                    <a:pt x="21726" y="3998"/>
                  </a:lnTo>
                  <a:lnTo>
                    <a:pt x="21732" y="3997"/>
                  </a:lnTo>
                  <a:lnTo>
                    <a:pt x="21740" y="3998"/>
                  </a:lnTo>
                  <a:lnTo>
                    <a:pt x="21746" y="4002"/>
                  </a:lnTo>
                  <a:lnTo>
                    <a:pt x="21751" y="4008"/>
                  </a:lnTo>
                  <a:lnTo>
                    <a:pt x="21753" y="4017"/>
                  </a:lnTo>
                  <a:close/>
                  <a:moveTo>
                    <a:pt x="22245" y="4017"/>
                  </a:moveTo>
                  <a:lnTo>
                    <a:pt x="22245" y="4324"/>
                  </a:lnTo>
                  <a:lnTo>
                    <a:pt x="22450" y="4324"/>
                  </a:lnTo>
                  <a:lnTo>
                    <a:pt x="22450" y="3670"/>
                  </a:lnTo>
                  <a:lnTo>
                    <a:pt x="22450" y="3016"/>
                  </a:lnTo>
                  <a:lnTo>
                    <a:pt x="21999" y="3016"/>
                  </a:lnTo>
                  <a:lnTo>
                    <a:pt x="21999" y="3670"/>
                  </a:lnTo>
                  <a:lnTo>
                    <a:pt x="21999" y="4324"/>
                  </a:lnTo>
                  <a:lnTo>
                    <a:pt x="22205" y="4324"/>
                  </a:lnTo>
                  <a:lnTo>
                    <a:pt x="22205" y="4017"/>
                  </a:lnTo>
                  <a:lnTo>
                    <a:pt x="22207" y="4008"/>
                  </a:lnTo>
                  <a:lnTo>
                    <a:pt x="22210" y="4002"/>
                  </a:lnTo>
                  <a:lnTo>
                    <a:pt x="22217" y="3998"/>
                  </a:lnTo>
                  <a:lnTo>
                    <a:pt x="22224" y="3997"/>
                  </a:lnTo>
                  <a:lnTo>
                    <a:pt x="22232" y="3998"/>
                  </a:lnTo>
                  <a:lnTo>
                    <a:pt x="22239" y="4002"/>
                  </a:lnTo>
                  <a:lnTo>
                    <a:pt x="22242" y="4008"/>
                  </a:lnTo>
                  <a:lnTo>
                    <a:pt x="22245" y="4017"/>
                  </a:lnTo>
                  <a:close/>
                  <a:moveTo>
                    <a:pt x="22737" y="4017"/>
                  </a:moveTo>
                  <a:lnTo>
                    <a:pt x="22737" y="4324"/>
                  </a:lnTo>
                  <a:lnTo>
                    <a:pt x="22943" y="4324"/>
                  </a:lnTo>
                  <a:lnTo>
                    <a:pt x="22943" y="3670"/>
                  </a:lnTo>
                  <a:lnTo>
                    <a:pt x="22943" y="3016"/>
                  </a:lnTo>
                  <a:lnTo>
                    <a:pt x="22491" y="3016"/>
                  </a:lnTo>
                  <a:lnTo>
                    <a:pt x="22491" y="3670"/>
                  </a:lnTo>
                  <a:lnTo>
                    <a:pt x="22491" y="4324"/>
                  </a:lnTo>
                  <a:lnTo>
                    <a:pt x="22696" y="4324"/>
                  </a:lnTo>
                  <a:lnTo>
                    <a:pt x="22696" y="4017"/>
                  </a:lnTo>
                  <a:lnTo>
                    <a:pt x="22699" y="4008"/>
                  </a:lnTo>
                  <a:lnTo>
                    <a:pt x="22703" y="4002"/>
                  </a:lnTo>
                  <a:lnTo>
                    <a:pt x="22709" y="3998"/>
                  </a:lnTo>
                  <a:lnTo>
                    <a:pt x="22717" y="3997"/>
                  </a:lnTo>
                  <a:lnTo>
                    <a:pt x="22725" y="3998"/>
                  </a:lnTo>
                  <a:lnTo>
                    <a:pt x="22731" y="4002"/>
                  </a:lnTo>
                  <a:lnTo>
                    <a:pt x="22735" y="4008"/>
                  </a:lnTo>
                  <a:lnTo>
                    <a:pt x="22737" y="4017"/>
                  </a:lnTo>
                  <a:close/>
                  <a:moveTo>
                    <a:pt x="21727" y="1754"/>
                  </a:moveTo>
                  <a:lnTo>
                    <a:pt x="21714" y="1740"/>
                  </a:lnTo>
                  <a:lnTo>
                    <a:pt x="21696" y="1727"/>
                  </a:lnTo>
                  <a:lnTo>
                    <a:pt x="21673" y="1714"/>
                  </a:lnTo>
                  <a:lnTo>
                    <a:pt x="21645" y="1703"/>
                  </a:lnTo>
                  <a:lnTo>
                    <a:pt x="21612" y="1693"/>
                  </a:lnTo>
                  <a:lnTo>
                    <a:pt x="21573" y="1686"/>
                  </a:lnTo>
                  <a:lnTo>
                    <a:pt x="21531" y="1681"/>
                  </a:lnTo>
                  <a:lnTo>
                    <a:pt x="21483" y="1679"/>
                  </a:lnTo>
                  <a:lnTo>
                    <a:pt x="21437" y="1681"/>
                  </a:lnTo>
                  <a:lnTo>
                    <a:pt x="21394" y="1686"/>
                  </a:lnTo>
                  <a:lnTo>
                    <a:pt x="21356" y="1693"/>
                  </a:lnTo>
                  <a:lnTo>
                    <a:pt x="21322" y="1703"/>
                  </a:lnTo>
                  <a:lnTo>
                    <a:pt x="21294" y="1714"/>
                  </a:lnTo>
                  <a:lnTo>
                    <a:pt x="21270" y="1727"/>
                  </a:lnTo>
                  <a:lnTo>
                    <a:pt x="21253" y="1740"/>
                  </a:lnTo>
                  <a:lnTo>
                    <a:pt x="21241" y="1754"/>
                  </a:lnTo>
                  <a:lnTo>
                    <a:pt x="21727" y="1754"/>
                  </a:lnTo>
                  <a:close/>
                  <a:moveTo>
                    <a:pt x="19597" y="4131"/>
                  </a:moveTo>
                  <a:lnTo>
                    <a:pt x="19564" y="4135"/>
                  </a:lnTo>
                  <a:lnTo>
                    <a:pt x="19532" y="4145"/>
                  </a:lnTo>
                  <a:lnTo>
                    <a:pt x="19500" y="4154"/>
                  </a:lnTo>
                  <a:lnTo>
                    <a:pt x="19465" y="4159"/>
                  </a:lnTo>
                  <a:lnTo>
                    <a:pt x="19436" y="4154"/>
                  </a:lnTo>
                  <a:lnTo>
                    <a:pt x="19423" y="4149"/>
                  </a:lnTo>
                  <a:lnTo>
                    <a:pt x="19410" y="4143"/>
                  </a:lnTo>
                  <a:lnTo>
                    <a:pt x="19388" y="4125"/>
                  </a:lnTo>
                  <a:lnTo>
                    <a:pt x="19369" y="4100"/>
                  </a:lnTo>
                  <a:lnTo>
                    <a:pt x="19351" y="4072"/>
                  </a:lnTo>
                  <a:lnTo>
                    <a:pt x="19334" y="4040"/>
                  </a:lnTo>
                  <a:lnTo>
                    <a:pt x="19300" y="3973"/>
                  </a:lnTo>
                  <a:lnTo>
                    <a:pt x="19282" y="3937"/>
                  </a:lnTo>
                  <a:lnTo>
                    <a:pt x="19260" y="3904"/>
                  </a:lnTo>
                  <a:lnTo>
                    <a:pt x="19235" y="3872"/>
                  </a:lnTo>
                  <a:lnTo>
                    <a:pt x="19209" y="3843"/>
                  </a:lnTo>
                  <a:lnTo>
                    <a:pt x="19175" y="3820"/>
                  </a:lnTo>
                  <a:lnTo>
                    <a:pt x="19157" y="3810"/>
                  </a:lnTo>
                  <a:lnTo>
                    <a:pt x="19138" y="3801"/>
                  </a:lnTo>
                  <a:lnTo>
                    <a:pt x="19116" y="3795"/>
                  </a:lnTo>
                  <a:lnTo>
                    <a:pt x="19093" y="3790"/>
                  </a:lnTo>
                  <a:lnTo>
                    <a:pt x="19069" y="3787"/>
                  </a:lnTo>
                  <a:lnTo>
                    <a:pt x="19042" y="3786"/>
                  </a:lnTo>
                  <a:lnTo>
                    <a:pt x="19014" y="3790"/>
                  </a:lnTo>
                  <a:lnTo>
                    <a:pt x="19002" y="3795"/>
                  </a:lnTo>
                  <a:lnTo>
                    <a:pt x="18993" y="3801"/>
                  </a:lnTo>
                  <a:lnTo>
                    <a:pt x="18974" y="3817"/>
                  </a:lnTo>
                  <a:lnTo>
                    <a:pt x="18952" y="3836"/>
                  </a:lnTo>
                  <a:lnTo>
                    <a:pt x="18925" y="3854"/>
                  </a:lnTo>
                  <a:lnTo>
                    <a:pt x="18908" y="3863"/>
                  </a:lnTo>
                  <a:lnTo>
                    <a:pt x="18889" y="3869"/>
                  </a:lnTo>
                  <a:lnTo>
                    <a:pt x="18865" y="3875"/>
                  </a:lnTo>
                  <a:lnTo>
                    <a:pt x="18838" y="3881"/>
                  </a:lnTo>
                  <a:lnTo>
                    <a:pt x="18806" y="3884"/>
                  </a:lnTo>
                  <a:lnTo>
                    <a:pt x="18769" y="3886"/>
                  </a:lnTo>
                  <a:lnTo>
                    <a:pt x="18742" y="3883"/>
                  </a:lnTo>
                  <a:lnTo>
                    <a:pt x="18720" y="3879"/>
                  </a:lnTo>
                  <a:lnTo>
                    <a:pt x="18688" y="3868"/>
                  </a:lnTo>
                  <a:lnTo>
                    <a:pt x="18662" y="3855"/>
                  </a:lnTo>
                  <a:lnTo>
                    <a:pt x="18649" y="3851"/>
                  </a:lnTo>
                  <a:lnTo>
                    <a:pt x="18637" y="3850"/>
                  </a:lnTo>
                  <a:lnTo>
                    <a:pt x="18615" y="3851"/>
                  </a:lnTo>
                  <a:lnTo>
                    <a:pt x="18594" y="3856"/>
                  </a:lnTo>
                  <a:lnTo>
                    <a:pt x="18575" y="3864"/>
                  </a:lnTo>
                  <a:lnTo>
                    <a:pt x="18557" y="3875"/>
                  </a:lnTo>
                  <a:lnTo>
                    <a:pt x="18540" y="3888"/>
                  </a:lnTo>
                  <a:lnTo>
                    <a:pt x="18524" y="3902"/>
                  </a:lnTo>
                  <a:lnTo>
                    <a:pt x="18494" y="3936"/>
                  </a:lnTo>
                  <a:lnTo>
                    <a:pt x="18467" y="3973"/>
                  </a:lnTo>
                  <a:lnTo>
                    <a:pt x="18442" y="4011"/>
                  </a:lnTo>
                  <a:lnTo>
                    <a:pt x="18416" y="4047"/>
                  </a:lnTo>
                  <a:lnTo>
                    <a:pt x="18389" y="4077"/>
                  </a:lnTo>
                  <a:lnTo>
                    <a:pt x="18366" y="4097"/>
                  </a:lnTo>
                  <a:lnTo>
                    <a:pt x="18337" y="4116"/>
                  </a:lnTo>
                  <a:lnTo>
                    <a:pt x="18266" y="4155"/>
                  </a:lnTo>
                  <a:lnTo>
                    <a:pt x="18261" y="4161"/>
                  </a:lnTo>
                  <a:lnTo>
                    <a:pt x="18253" y="4163"/>
                  </a:lnTo>
                  <a:lnTo>
                    <a:pt x="18207" y="4191"/>
                  </a:lnTo>
                  <a:lnTo>
                    <a:pt x="18169" y="4221"/>
                  </a:lnTo>
                  <a:lnTo>
                    <a:pt x="18153" y="4236"/>
                  </a:lnTo>
                  <a:lnTo>
                    <a:pt x="18147" y="4245"/>
                  </a:lnTo>
                  <a:lnTo>
                    <a:pt x="18142" y="4253"/>
                  </a:lnTo>
                  <a:lnTo>
                    <a:pt x="18134" y="4269"/>
                  </a:lnTo>
                  <a:lnTo>
                    <a:pt x="18131" y="4287"/>
                  </a:lnTo>
                  <a:lnTo>
                    <a:pt x="18133" y="4308"/>
                  </a:lnTo>
                  <a:lnTo>
                    <a:pt x="18137" y="4329"/>
                  </a:lnTo>
                  <a:lnTo>
                    <a:pt x="18256" y="4329"/>
                  </a:lnTo>
                  <a:lnTo>
                    <a:pt x="18261" y="4329"/>
                  </a:lnTo>
                  <a:lnTo>
                    <a:pt x="19046" y="4329"/>
                  </a:lnTo>
                  <a:lnTo>
                    <a:pt x="19830" y="4329"/>
                  </a:lnTo>
                  <a:lnTo>
                    <a:pt x="19825" y="4308"/>
                  </a:lnTo>
                  <a:lnTo>
                    <a:pt x="19819" y="4286"/>
                  </a:lnTo>
                  <a:lnTo>
                    <a:pt x="19810" y="4265"/>
                  </a:lnTo>
                  <a:lnTo>
                    <a:pt x="19801" y="4248"/>
                  </a:lnTo>
                  <a:lnTo>
                    <a:pt x="19778" y="4213"/>
                  </a:lnTo>
                  <a:lnTo>
                    <a:pt x="19764" y="4198"/>
                  </a:lnTo>
                  <a:lnTo>
                    <a:pt x="19748" y="4185"/>
                  </a:lnTo>
                  <a:lnTo>
                    <a:pt x="19733" y="4172"/>
                  </a:lnTo>
                  <a:lnTo>
                    <a:pt x="19716" y="4162"/>
                  </a:lnTo>
                  <a:lnTo>
                    <a:pt x="19698" y="4153"/>
                  </a:lnTo>
                  <a:lnTo>
                    <a:pt x="19679" y="4145"/>
                  </a:lnTo>
                  <a:lnTo>
                    <a:pt x="19660" y="4139"/>
                  </a:lnTo>
                  <a:lnTo>
                    <a:pt x="19639" y="4134"/>
                  </a:lnTo>
                  <a:lnTo>
                    <a:pt x="19597" y="4131"/>
                  </a:lnTo>
                  <a:close/>
                  <a:moveTo>
                    <a:pt x="18860" y="2743"/>
                  </a:moveTo>
                  <a:lnTo>
                    <a:pt x="18742" y="2904"/>
                  </a:lnTo>
                  <a:lnTo>
                    <a:pt x="18742" y="3047"/>
                  </a:lnTo>
                  <a:lnTo>
                    <a:pt x="18794" y="3040"/>
                  </a:lnTo>
                  <a:lnTo>
                    <a:pt x="18803" y="3039"/>
                  </a:lnTo>
                  <a:lnTo>
                    <a:pt x="18811" y="3043"/>
                  </a:lnTo>
                  <a:lnTo>
                    <a:pt x="18815" y="3048"/>
                  </a:lnTo>
                  <a:lnTo>
                    <a:pt x="18819" y="3056"/>
                  </a:lnTo>
                  <a:lnTo>
                    <a:pt x="18819" y="3062"/>
                  </a:lnTo>
                  <a:lnTo>
                    <a:pt x="18816" y="3070"/>
                  </a:lnTo>
                  <a:lnTo>
                    <a:pt x="18811" y="3075"/>
                  </a:lnTo>
                  <a:lnTo>
                    <a:pt x="18802" y="3079"/>
                  </a:lnTo>
                  <a:lnTo>
                    <a:pt x="18773" y="3084"/>
                  </a:lnTo>
                  <a:lnTo>
                    <a:pt x="18742" y="3086"/>
                  </a:lnTo>
                  <a:lnTo>
                    <a:pt x="18742" y="3827"/>
                  </a:lnTo>
                  <a:lnTo>
                    <a:pt x="18741" y="3836"/>
                  </a:lnTo>
                  <a:lnTo>
                    <a:pt x="18735" y="3842"/>
                  </a:lnTo>
                  <a:lnTo>
                    <a:pt x="18751" y="3845"/>
                  </a:lnTo>
                  <a:lnTo>
                    <a:pt x="18769" y="3845"/>
                  </a:lnTo>
                  <a:lnTo>
                    <a:pt x="18798" y="3845"/>
                  </a:lnTo>
                  <a:lnTo>
                    <a:pt x="18825" y="3843"/>
                  </a:lnTo>
                  <a:lnTo>
                    <a:pt x="18850" y="3840"/>
                  </a:lnTo>
                  <a:lnTo>
                    <a:pt x="18871" y="3835"/>
                  </a:lnTo>
                  <a:lnTo>
                    <a:pt x="18892" y="3826"/>
                  </a:lnTo>
                  <a:lnTo>
                    <a:pt x="18911" y="3815"/>
                  </a:lnTo>
                  <a:lnTo>
                    <a:pt x="18952" y="3782"/>
                  </a:lnTo>
                  <a:lnTo>
                    <a:pt x="18973" y="3767"/>
                  </a:lnTo>
                  <a:lnTo>
                    <a:pt x="18982" y="3760"/>
                  </a:lnTo>
                  <a:lnTo>
                    <a:pt x="18992" y="3755"/>
                  </a:lnTo>
                  <a:lnTo>
                    <a:pt x="19015" y="3748"/>
                  </a:lnTo>
                  <a:lnTo>
                    <a:pt x="19042" y="3745"/>
                  </a:lnTo>
                  <a:lnTo>
                    <a:pt x="19075" y="3748"/>
                  </a:lnTo>
                  <a:lnTo>
                    <a:pt x="19107" y="3751"/>
                  </a:lnTo>
                  <a:lnTo>
                    <a:pt x="19135" y="3758"/>
                  </a:lnTo>
                  <a:lnTo>
                    <a:pt x="19162" y="3768"/>
                  </a:lnTo>
                  <a:lnTo>
                    <a:pt x="19187" y="3780"/>
                  </a:lnTo>
                  <a:lnTo>
                    <a:pt x="19209" y="3794"/>
                  </a:lnTo>
                  <a:lnTo>
                    <a:pt x="19229" y="3809"/>
                  </a:lnTo>
                  <a:lnTo>
                    <a:pt x="19248" y="3827"/>
                  </a:lnTo>
                  <a:lnTo>
                    <a:pt x="19282" y="3866"/>
                  </a:lnTo>
                  <a:lnTo>
                    <a:pt x="19311" y="3911"/>
                  </a:lnTo>
                  <a:lnTo>
                    <a:pt x="19338" y="3960"/>
                  </a:lnTo>
                  <a:lnTo>
                    <a:pt x="19364" y="4012"/>
                  </a:lnTo>
                  <a:lnTo>
                    <a:pt x="19369" y="4021"/>
                  </a:lnTo>
                  <a:lnTo>
                    <a:pt x="19369" y="3649"/>
                  </a:lnTo>
                  <a:lnTo>
                    <a:pt x="19334" y="3663"/>
                  </a:lnTo>
                  <a:lnTo>
                    <a:pt x="19319" y="3670"/>
                  </a:lnTo>
                  <a:lnTo>
                    <a:pt x="19302" y="3676"/>
                  </a:lnTo>
                  <a:lnTo>
                    <a:pt x="19284" y="3676"/>
                  </a:lnTo>
                  <a:lnTo>
                    <a:pt x="19275" y="3675"/>
                  </a:lnTo>
                  <a:lnTo>
                    <a:pt x="19265" y="3671"/>
                  </a:lnTo>
                  <a:lnTo>
                    <a:pt x="19255" y="3666"/>
                  </a:lnTo>
                  <a:lnTo>
                    <a:pt x="19244" y="3658"/>
                  </a:lnTo>
                  <a:lnTo>
                    <a:pt x="19221" y="3634"/>
                  </a:lnTo>
                  <a:lnTo>
                    <a:pt x="19205" y="3616"/>
                  </a:lnTo>
                  <a:lnTo>
                    <a:pt x="19191" y="3604"/>
                  </a:lnTo>
                  <a:lnTo>
                    <a:pt x="19180" y="3598"/>
                  </a:lnTo>
                  <a:lnTo>
                    <a:pt x="19169" y="3595"/>
                  </a:lnTo>
                  <a:lnTo>
                    <a:pt x="19144" y="3594"/>
                  </a:lnTo>
                  <a:lnTo>
                    <a:pt x="19105" y="3590"/>
                  </a:lnTo>
                  <a:lnTo>
                    <a:pt x="19091" y="3586"/>
                  </a:lnTo>
                  <a:lnTo>
                    <a:pt x="19079" y="3581"/>
                  </a:lnTo>
                  <a:lnTo>
                    <a:pt x="19062" y="3567"/>
                  </a:lnTo>
                  <a:lnTo>
                    <a:pt x="19052" y="3549"/>
                  </a:lnTo>
                  <a:lnTo>
                    <a:pt x="19044" y="3530"/>
                  </a:lnTo>
                  <a:lnTo>
                    <a:pt x="19039" y="3510"/>
                  </a:lnTo>
                  <a:lnTo>
                    <a:pt x="19033" y="3489"/>
                  </a:lnTo>
                  <a:lnTo>
                    <a:pt x="19029" y="3480"/>
                  </a:lnTo>
                  <a:lnTo>
                    <a:pt x="19024" y="3471"/>
                  </a:lnTo>
                  <a:lnTo>
                    <a:pt x="19016" y="3464"/>
                  </a:lnTo>
                  <a:lnTo>
                    <a:pt x="19009" y="3457"/>
                  </a:lnTo>
                  <a:lnTo>
                    <a:pt x="18967" y="3434"/>
                  </a:lnTo>
                  <a:lnTo>
                    <a:pt x="18952" y="3424"/>
                  </a:lnTo>
                  <a:lnTo>
                    <a:pt x="18939" y="3414"/>
                  </a:lnTo>
                  <a:lnTo>
                    <a:pt x="18930" y="3400"/>
                  </a:lnTo>
                  <a:lnTo>
                    <a:pt x="18926" y="3383"/>
                  </a:lnTo>
                  <a:lnTo>
                    <a:pt x="18925" y="3361"/>
                  </a:lnTo>
                  <a:lnTo>
                    <a:pt x="18929" y="3333"/>
                  </a:lnTo>
                  <a:lnTo>
                    <a:pt x="18934" y="3304"/>
                  </a:lnTo>
                  <a:lnTo>
                    <a:pt x="18934" y="3285"/>
                  </a:lnTo>
                  <a:lnTo>
                    <a:pt x="18925" y="3267"/>
                  </a:lnTo>
                  <a:lnTo>
                    <a:pt x="18908" y="3242"/>
                  </a:lnTo>
                  <a:lnTo>
                    <a:pt x="18891" y="3216"/>
                  </a:lnTo>
                  <a:lnTo>
                    <a:pt x="18884" y="3199"/>
                  </a:lnTo>
                  <a:lnTo>
                    <a:pt x="18882" y="3181"/>
                  </a:lnTo>
                  <a:lnTo>
                    <a:pt x="18884" y="3162"/>
                  </a:lnTo>
                  <a:lnTo>
                    <a:pt x="18891" y="3145"/>
                  </a:lnTo>
                  <a:lnTo>
                    <a:pt x="18908" y="3118"/>
                  </a:lnTo>
                  <a:lnTo>
                    <a:pt x="18923" y="3098"/>
                  </a:lnTo>
                  <a:lnTo>
                    <a:pt x="18930" y="3083"/>
                  </a:lnTo>
                  <a:lnTo>
                    <a:pt x="18934" y="3070"/>
                  </a:lnTo>
                  <a:lnTo>
                    <a:pt x="18935" y="3060"/>
                  </a:lnTo>
                  <a:lnTo>
                    <a:pt x="18929" y="3035"/>
                  </a:lnTo>
                  <a:lnTo>
                    <a:pt x="18925" y="2996"/>
                  </a:lnTo>
                  <a:lnTo>
                    <a:pt x="18928" y="2969"/>
                  </a:lnTo>
                  <a:lnTo>
                    <a:pt x="18932" y="2959"/>
                  </a:lnTo>
                  <a:lnTo>
                    <a:pt x="18938" y="2950"/>
                  </a:lnTo>
                  <a:lnTo>
                    <a:pt x="18944" y="2942"/>
                  </a:lnTo>
                  <a:lnTo>
                    <a:pt x="18952" y="2936"/>
                  </a:lnTo>
                  <a:lnTo>
                    <a:pt x="18970" y="2924"/>
                  </a:lnTo>
                  <a:lnTo>
                    <a:pt x="19007" y="2904"/>
                  </a:lnTo>
                  <a:lnTo>
                    <a:pt x="19023" y="2891"/>
                  </a:lnTo>
                  <a:lnTo>
                    <a:pt x="19033" y="2872"/>
                  </a:lnTo>
                  <a:lnTo>
                    <a:pt x="19047" y="2828"/>
                  </a:lnTo>
                  <a:lnTo>
                    <a:pt x="19053" y="2810"/>
                  </a:lnTo>
                  <a:lnTo>
                    <a:pt x="19061" y="2796"/>
                  </a:lnTo>
                  <a:lnTo>
                    <a:pt x="19073" y="2785"/>
                  </a:lnTo>
                  <a:lnTo>
                    <a:pt x="19088" y="2776"/>
                  </a:lnTo>
                  <a:lnTo>
                    <a:pt x="19109" y="2771"/>
                  </a:lnTo>
                  <a:lnTo>
                    <a:pt x="19138" y="2768"/>
                  </a:lnTo>
                  <a:lnTo>
                    <a:pt x="19162" y="2766"/>
                  </a:lnTo>
                  <a:lnTo>
                    <a:pt x="19180" y="2763"/>
                  </a:lnTo>
                  <a:lnTo>
                    <a:pt x="19192" y="2758"/>
                  </a:lnTo>
                  <a:lnTo>
                    <a:pt x="19201" y="2751"/>
                  </a:lnTo>
                  <a:lnTo>
                    <a:pt x="19216" y="2732"/>
                  </a:lnTo>
                  <a:lnTo>
                    <a:pt x="19228" y="2719"/>
                  </a:lnTo>
                  <a:lnTo>
                    <a:pt x="19243" y="2704"/>
                  </a:lnTo>
                  <a:lnTo>
                    <a:pt x="19265" y="2690"/>
                  </a:lnTo>
                  <a:lnTo>
                    <a:pt x="19274" y="2686"/>
                  </a:lnTo>
                  <a:lnTo>
                    <a:pt x="19284" y="2685"/>
                  </a:lnTo>
                  <a:lnTo>
                    <a:pt x="19302" y="2686"/>
                  </a:lnTo>
                  <a:lnTo>
                    <a:pt x="19319" y="2691"/>
                  </a:lnTo>
                  <a:lnTo>
                    <a:pt x="19352" y="2707"/>
                  </a:lnTo>
                  <a:lnTo>
                    <a:pt x="19370" y="2713"/>
                  </a:lnTo>
                  <a:lnTo>
                    <a:pt x="19388" y="2716"/>
                  </a:lnTo>
                  <a:lnTo>
                    <a:pt x="19410" y="2712"/>
                  </a:lnTo>
                  <a:lnTo>
                    <a:pt x="19429" y="2705"/>
                  </a:lnTo>
                  <a:lnTo>
                    <a:pt x="19448" y="2696"/>
                  </a:lnTo>
                  <a:lnTo>
                    <a:pt x="19466" y="2689"/>
                  </a:lnTo>
                  <a:lnTo>
                    <a:pt x="19486" y="2685"/>
                  </a:lnTo>
                  <a:lnTo>
                    <a:pt x="19506" y="2688"/>
                  </a:lnTo>
                  <a:lnTo>
                    <a:pt x="19518" y="2694"/>
                  </a:lnTo>
                  <a:lnTo>
                    <a:pt x="19529" y="2702"/>
                  </a:lnTo>
                  <a:lnTo>
                    <a:pt x="19556" y="2727"/>
                  </a:lnTo>
                  <a:lnTo>
                    <a:pt x="19573" y="2746"/>
                  </a:lnTo>
                  <a:lnTo>
                    <a:pt x="19586" y="2758"/>
                  </a:lnTo>
                  <a:lnTo>
                    <a:pt x="19597" y="2764"/>
                  </a:lnTo>
                  <a:lnTo>
                    <a:pt x="19607" y="2767"/>
                  </a:lnTo>
                  <a:lnTo>
                    <a:pt x="19633" y="2767"/>
                  </a:lnTo>
                  <a:lnTo>
                    <a:pt x="19673" y="2771"/>
                  </a:lnTo>
                  <a:lnTo>
                    <a:pt x="19687" y="2774"/>
                  </a:lnTo>
                  <a:lnTo>
                    <a:pt x="19698" y="2780"/>
                  </a:lnTo>
                  <a:lnTo>
                    <a:pt x="19715" y="2794"/>
                  </a:lnTo>
                  <a:lnTo>
                    <a:pt x="19725" y="2812"/>
                  </a:lnTo>
                  <a:lnTo>
                    <a:pt x="19732" y="2832"/>
                  </a:lnTo>
                  <a:lnTo>
                    <a:pt x="19737" y="2852"/>
                  </a:lnTo>
                  <a:lnTo>
                    <a:pt x="19743" y="2872"/>
                  </a:lnTo>
                  <a:lnTo>
                    <a:pt x="19748" y="2881"/>
                  </a:lnTo>
                  <a:lnTo>
                    <a:pt x="19754" y="2890"/>
                  </a:lnTo>
                  <a:lnTo>
                    <a:pt x="19760" y="2897"/>
                  </a:lnTo>
                  <a:lnTo>
                    <a:pt x="19769" y="2904"/>
                  </a:lnTo>
                  <a:lnTo>
                    <a:pt x="19809" y="2927"/>
                  </a:lnTo>
                  <a:lnTo>
                    <a:pt x="19825" y="2937"/>
                  </a:lnTo>
                  <a:lnTo>
                    <a:pt x="19837" y="2948"/>
                  </a:lnTo>
                  <a:lnTo>
                    <a:pt x="19846" y="2961"/>
                  </a:lnTo>
                  <a:lnTo>
                    <a:pt x="19851" y="2978"/>
                  </a:lnTo>
                  <a:lnTo>
                    <a:pt x="19852" y="3000"/>
                  </a:lnTo>
                  <a:lnTo>
                    <a:pt x="19848" y="3028"/>
                  </a:lnTo>
                  <a:lnTo>
                    <a:pt x="19843" y="3057"/>
                  </a:lnTo>
                  <a:lnTo>
                    <a:pt x="19843" y="3076"/>
                  </a:lnTo>
                  <a:lnTo>
                    <a:pt x="19851" y="3094"/>
                  </a:lnTo>
                  <a:lnTo>
                    <a:pt x="19869" y="3118"/>
                  </a:lnTo>
                  <a:lnTo>
                    <a:pt x="19887" y="3145"/>
                  </a:lnTo>
                  <a:lnTo>
                    <a:pt x="19893" y="3162"/>
                  </a:lnTo>
                  <a:lnTo>
                    <a:pt x="19896" y="3181"/>
                  </a:lnTo>
                  <a:lnTo>
                    <a:pt x="19893" y="3199"/>
                  </a:lnTo>
                  <a:lnTo>
                    <a:pt x="19887" y="3216"/>
                  </a:lnTo>
                  <a:lnTo>
                    <a:pt x="19878" y="3230"/>
                  </a:lnTo>
                  <a:lnTo>
                    <a:pt x="19868" y="3244"/>
                  </a:lnTo>
                  <a:lnTo>
                    <a:pt x="19857" y="3258"/>
                  </a:lnTo>
                  <a:lnTo>
                    <a:pt x="19848" y="3272"/>
                  </a:lnTo>
                  <a:lnTo>
                    <a:pt x="19843" y="3287"/>
                  </a:lnTo>
                  <a:lnTo>
                    <a:pt x="19843" y="3305"/>
                  </a:lnTo>
                  <a:lnTo>
                    <a:pt x="19850" y="3351"/>
                  </a:lnTo>
                  <a:lnTo>
                    <a:pt x="19852" y="3369"/>
                  </a:lnTo>
                  <a:lnTo>
                    <a:pt x="19851" y="3386"/>
                  </a:lnTo>
                  <a:lnTo>
                    <a:pt x="19846" y="3401"/>
                  </a:lnTo>
                  <a:lnTo>
                    <a:pt x="19836" y="3415"/>
                  </a:lnTo>
                  <a:lnTo>
                    <a:pt x="19819" y="3429"/>
                  </a:lnTo>
                  <a:lnTo>
                    <a:pt x="19795" y="3445"/>
                  </a:lnTo>
                  <a:lnTo>
                    <a:pt x="19773" y="3456"/>
                  </a:lnTo>
                  <a:lnTo>
                    <a:pt x="19759" y="3466"/>
                  </a:lnTo>
                  <a:lnTo>
                    <a:pt x="19750" y="3476"/>
                  </a:lnTo>
                  <a:lnTo>
                    <a:pt x="19745" y="3485"/>
                  </a:lnTo>
                  <a:lnTo>
                    <a:pt x="19739" y="3510"/>
                  </a:lnTo>
                  <a:lnTo>
                    <a:pt x="19734" y="3526"/>
                  </a:lnTo>
                  <a:lnTo>
                    <a:pt x="19727" y="3547"/>
                  </a:lnTo>
                  <a:lnTo>
                    <a:pt x="19711" y="3570"/>
                  </a:lnTo>
                  <a:lnTo>
                    <a:pt x="19704" y="3579"/>
                  </a:lnTo>
                  <a:lnTo>
                    <a:pt x="19695" y="3584"/>
                  </a:lnTo>
                  <a:lnTo>
                    <a:pt x="19674" y="3590"/>
                  </a:lnTo>
                  <a:lnTo>
                    <a:pt x="19653" y="3593"/>
                  </a:lnTo>
                  <a:lnTo>
                    <a:pt x="19632" y="3593"/>
                  </a:lnTo>
                  <a:lnTo>
                    <a:pt x="19611" y="3594"/>
                  </a:lnTo>
                  <a:lnTo>
                    <a:pt x="19592" y="3601"/>
                  </a:lnTo>
                  <a:lnTo>
                    <a:pt x="19583" y="3606"/>
                  </a:lnTo>
                  <a:lnTo>
                    <a:pt x="19575" y="3612"/>
                  </a:lnTo>
                  <a:lnTo>
                    <a:pt x="19543" y="3647"/>
                  </a:lnTo>
                  <a:lnTo>
                    <a:pt x="19530" y="3659"/>
                  </a:lnTo>
                  <a:lnTo>
                    <a:pt x="19516" y="3668"/>
                  </a:lnTo>
                  <a:lnTo>
                    <a:pt x="19501" y="3675"/>
                  </a:lnTo>
                  <a:lnTo>
                    <a:pt x="19484" y="3676"/>
                  </a:lnTo>
                  <a:lnTo>
                    <a:pt x="19462" y="3671"/>
                  </a:lnTo>
                  <a:lnTo>
                    <a:pt x="19436" y="3661"/>
                  </a:lnTo>
                  <a:lnTo>
                    <a:pt x="19409" y="3649"/>
                  </a:lnTo>
                  <a:lnTo>
                    <a:pt x="19409" y="4083"/>
                  </a:lnTo>
                  <a:lnTo>
                    <a:pt x="19409" y="4086"/>
                  </a:lnTo>
                  <a:lnTo>
                    <a:pt x="19420" y="4099"/>
                  </a:lnTo>
                  <a:lnTo>
                    <a:pt x="19434" y="4109"/>
                  </a:lnTo>
                  <a:lnTo>
                    <a:pt x="19448" y="4117"/>
                  </a:lnTo>
                  <a:lnTo>
                    <a:pt x="19465" y="4118"/>
                  </a:lnTo>
                  <a:lnTo>
                    <a:pt x="19498" y="4115"/>
                  </a:lnTo>
                  <a:lnTo>
                    <a:pt x="19530" y="4104"/>
                  </a:lnTo>
                  <a:lnTo>
                    <a:pt x="19564" y="4095"/>
                  </a:lnTo>
                  <a:lnTo>
                    <a:pt x="19597" y="4090"/>
                  </a:lnTo>
                  <a:lnTo>
                    <a:pt x="19629" y="4093"/>
                  </a:lnTo>
                  <a:lnTo>
                    <a:pt x="19660" y="4098"/>
                  </a:lnTo>
                  <a:lnTo>
                    <a:pt x="19688" y="4106"/>
                  </a:lnTo>
                  <a:lnTo>
                    <a:pt x="19715" y="4116"/>
                  </a:lnTo>
                  <a:lnTo>
                    <a:pt x="19739" y="4130"/>
                  </a:lnTo>
                  <a:lnTo>
                    <a:pt x="19761" y="4144"/>
                  </a:lnTo>
                  <a:lnTo>
                    <a:pt x="19782" y="4161"/>
                  </a:lnTo>
                  <a:lnTo>
                    <a:pt x="19800" y="4178"/>
                  </a:lnTo>
                  <a:lnTo>
                    <a:pt x="19830" y="4217"/>
                  </a:lnTo>
                  <a:lnTo>
                    <a:pt x="19842" y="4236"/>
                  </a:lnTo>
                  <a:lnTo>
                    <a:pt x="19852" y="4255"/>
                  </a:lnTo>
                  <a:lnTo>
                    <a:pt x="19861" y="4274"/>
                  </a:lnTo>
                  <a:lnTo>
                    <a:pt x="19866" y="4292"/>
                  </a:lnTo>
                  <a:lnTo>
                    <a:pt x="19871" y="4309"/>
                  </a:lnTo>
                  <a:lnTo>
                    <a:pt x="19874" y="4324"/>
                  </a:lnTo>
                  <a:lnTo>
                    <a:pt x="20236" y="4324"/>
                  </a:lnTo>
                  <a:lnTo>
                    <a:pt x="20236" y="4017"/>
                  </a:lnTo>
                  <a:lnTo>
                    <a:pt x="20238" y="4008"/>
                  </a:lnTo>
                  <a:lnTo>
                    <a:pt x="20242" y="4002"/>
                  </a:lnTo>
                  <a:lnTo>
                    <a:pt x="20248" y="3998"/>
                  </a:lnTo>
                  <a:lnTo>
                    <a:pt x="20256" y="3997"/>
                  </a:lnTo>
                  <a:lnTo>
                    <a:pt x="20264" y="3998"/>
                  </a:lnTo>
                  <a:lnTo>
                    <a:pt x="20270" y="4002"/>
                  </a:lnTo>
                  <a:lnTo>
                    <a:pt x="20274" y="4008"/>
                  </a:lnTo>
                  <a:lnTo>
                    <a:pt x="20277" y="4017"/>
                  </a:lnTo>
                  <a:lnTo>
                    <a:pt x="20277" y="4324"/>
                  </a:lnTo>
                  <a:lnTo>
                    <a:pt x="20482" y="4324"/>
                  </a:lnTo>
                  <a:lnTo>
                    <a:pt x="20482" y="3670"/>
                  </a:lnTo>
                  <a:lnTo>
                    <a:pt x="20482" y="3016"/>
                  </a:lnTo>
                  <a:lnTo>
                    <a:pt x="20024" y="3016"/>
                  </a:lnTo>
                  <a:lnTo>
                    <a:pt x="20024" y="3584"/>
                  </a:lnTo>
                  <a:lnTo>
                    <a:pt x="20024" y="4152"/>
                  </a:lnTo>
                  <a:lnTo>
                    <a:pt x="20023" y="4161"/>
                  </a:lnTo>
                  <a:lnTo>
                    <a:pt x="20018" y="4167"/>
                  </a:lnTo>
                  <a:lnTo>
                    <a:pt x="20011" y="4171"/>
                  </a:lnTo>
                  <a:lnTo>
                    <a:pt x="20005" y="4172"/>
                  </a:lnTo>
                  <a:lnTo>
                    <a:pt x="19997" y="4171"/>
                  </a:lnTo>
                  <a:lnTo>
                    <a:pt x="19991" y="4167"/>
                  </a:lnTo>
                  <a:lnTo>
                    <a:pt x="19986" y="4161"/>
                  </a:lnTo>
                  <a:lnTo>
                    <a:pt x="19984" y="4152"/>
                  </a:lnTo>
                  <a:lnTo>
                    <a:pt x="19984" y="3451"/>
                  </a:lnTo>
                  <a:lnTo>
                    <a:pt x="19984" y="2750"/>
                  </a:lnTo>
                  <a:lnTo>
                    <a:pt x="19946" y="2750"/>
                  </a:lnTo>
                  <a:lnTo>
                    <a:pt x="19939" y="2748"/>
                  </a:lnTo>
                  <a:lnTo>
                    <a:pt x="19933" y="2744"/>
                  </a:lnTo>
                  <a:lnTo>
                    <a:pt x="19928" y="2737"/>
                  </a:lnTo>
                  <a:lnTo>
                    <a:pt x="19927" y="2730"/>
                  </a:lnTo>
                  <a:lnTo>
                    <a:pt x="19927" y="2576"/>
                  </a:lnTo>
                  <a:lnTo>
                    <a:pt x="19928" y="2569"/>
                  </a:lnTo>
                  <a:lnTo>
                    <a:pt x="19933" y="2562"/>
                  </a:lnTo>
                  <a:lnTo>
                    <a:pt x="19939" y="2558"/>
                  </a:lnTo>
                  <a:lnTo>
                    <a:pt x="19946" y="2556"/>
                  </a:lnTo>
                  <a:lnTo>
                    <a:pt x="19998" y="2556"/>
                  </a:lnTo>
                  <a:lnTo>
                    <a:pt x="20041" y="2500"/>
                  </a:lnTo>
                  <a:lnTo>
                    <a:pt x="20089" y="2443"/>
                  </a:lnTo>
                  <a:lnTo>
                    <a:pt x="20116" y="2418"/>
                  </a:lnTo>
                  <a:lnTo>
                    <a:pt x="20143" y="2391"/>
                  </a:lnTo>
                  <a:lnTo>
                    <a:pt x="20201" y="2340"/>
                  </a:lnTo>
                  <a:lnTo>
                    <a:pt x="20264" y="2292"/>
                  </a:lnTo>
                  <a:lnTo>
                    <a:pt x="20331" y="2246"/>
                  </a:lnTo>
                  <a:lnTo>
                    <a:pt x="20402" y="2203"/>
                  </a:lnTo>
                  <a:lnTo>
                    <a:pt x="20477" y="2163"/>
                  </a:lnTo>
                  <a:lnTo>
                    <a:pt x="20556" y="2126"/>
                  </a:lnTo>
                  <a:lnTo>
                    <a:pt x="20638" y="2092"/>
                  </a:lnTo>
                  <a:lnTo>
                    <a:pt x="20681" y="2075"/>
                  </a:lnTo>
                  <a:lnTo>
                    <a:pt x="20724" y="2060"/>
                  </a:lnTo>
                  <a:lnTo>
                    <a:pt x="20813" y="2033"/>
                  </a:lnTo>
                  <a:lnTo>
                    <a:pt x="20904" y="2009"/>
                  </a:lnTo>
                  <a:lnTo>
                    <a:pt x="20999" y="1987"/>
                  </a:lnTo>
                  <a:lnTo>
                    <a:pt x="21095" y="1970"/>
                  </a:lnTo>
                  <a:lnTo>
                    <a:pt x="21194" y="1956"/>
                  </a:lnTo>
                  <a:lnTo>
                    <a:pt x="21194" y="1775"/>
                  </a:lnTo>
                  <a:lnTo>
                    <a:pt x="21196" y="1759"/>
                  </a:lnTo>
                  <a:lnTo>
                    <a:pt x="21200" y="1744"/>
                  </a:lnTo>
                  <a:lnTo>
                    <a:pt x="21209" y="1730"/>
                  </a:lnTo>
                  <a:lnTo>
                    <a:pt x="21219" y="1717"/>
                  </a:lnTo>
                  <a:lnTo>
                    <a:pt x="21232" y="1705"/>
                  </a:lnTo>
                  <a:lnTo>
                    <a:pt x="21247" y="1694"/>
                  </a:lnTo>
                  <a:lnTo>
                    <a:pt x="21265" y="1684"/>
                  </a:lnTo>
                  <a:lnTo>
                    <a:pt x="21285" y="1675"/>
                  </a:lnTo>
                  <a:lnTo>
                    <a:pt x="21329" y="1659"/>
                  </a:lnTo>
                  <a:lnTo>
                    <a:pt x="21378" y="1648"/>
                  </a:lnTo>
                  <a:lnTo>
                    <a:pt x="21429" y="1642"/>
                  </a:lnTo>
                  <a:lnTo>
                    <a:pt x="21483" y="1639"/>
                  </a:lnTo>
                  <a:lnTo>
                    <a:pt x="21537" y="1642"/>
                  </a:lnTo>
                  <a:lnTo>
                    <a:pt x="21590" y="1648"/>
                  </a:lnTo>
                  <a:lnTo>
                    <a:pt x="21614" y="1653"/>
                  </a:lnTo>
                  <a:lnTo>
                    <a:pt x="21638" y="1659"/>
                  </a:lnTo>
                  <a:lnTo>
                    <a:pt x="21660" y="1666"/>
                  </a:lnTo>
                  <a:lnTo>
                    <a:pt x="21682" y="1675"/>
                  </a:lnTo>
                  <a:lnTo>
                    <a:pt x="21719" y="1694"/>
                  </a:lnTo>
                  <a:lnTo>
                    <a:pt x="21747" y="1717"/>
                  </a:lnTo>
                  <a:lnTo>
                    <a:pt x="21759" y="1730"/>
                  </a:lnTo>
                  <a:lnTo>
                    <a:pt x="21767" y="1744"/>
                  </a:lnTo>
                  <a:lnTo>
                    <a:pt x="21772" y="1759"/>
                  </a:lnTo>
                  <a:lnTo>
                    <a:pt x="21773" y="1775"/>
                  </a:lnTo>
                  <a:lnTo>
                    <a:pt x="21773" y="1956"/>
                  </a:lnTo>
                  <a:lnTo>
                    <a:pt x="21872" y="1970"/>
                  </a:lnTo>
                  <a:lnTo>
                    <a:pt x="21969" y="1987"/>
                  </a:lnTo>
                  <a:lnTo>
                    <a:pt x="22063" y="2009"/>
                  </a:lnTo>
                  <a:lnTo>
                    <a:pt x="22155" y="2033"/>
                  </a:lnTo>
                  <a:lnTo>
                    <a:pt x="22244" y="2060"/>
                  </a:lnTo>
                  <a:lnTo>
                    <a:pt x="22328" y="2092"/>
                  </a:lnTo>
                  <a:lnTo>
                    <a:pt x="22412" y="2126"/>
                  </a:lnTo>
                  <a:lnTo>
                    <a:pt x="22490" y="2163"/>
                  </a:lnTo>
                  <a:lnTo>
                    <a:pt x="22566" y="2203"/>
                  </a:lnTo>
                  <a:lnTo>
                    <a:pt x="22601" y="2225"/>
                  </a:lnTo>
                  <a:lnTo>
                    <a:pt x="22636" y="2246"/>
                  </a:lnTo>
                  <a:lnTo>
                    <a:pt x="22703" y="2292"/>
                  </a:lnTo>
                  <a:lnTo>
                    <a:pt x="22766" y="2340"/>
                  </a:lnTo>
                  <a:lnTo>
                    <a:pt x="22795" y="2365"/>
                  </a:lnTo>
                  <a:lnTo>
                    <a:pt x="22825" y="2391"/>
                  </a:lnTo>
                  <a:lnTo>
                    <a:pt x="22877" y="2445"/>
                  </a:lnTo>
                  <a:lnTo>
                    <a:pt x="22926" y="2500"/>
                  </a:lnTo>
                  <a:lnTo>
                    <a:pt x="22969" y="2556"/>
                  </a:lnTo>
                  <a:lnTo>
                    <a:pt x="23021" y="2556"/>
                  </a:lnTo>
                  <a:lnTo>
                    <a:pt x="23028" y="2558"/>
                  </a:lnTo>
                  <a:lnTo>
                    <a:pt x="23035" y="2562"/>
                  </a:lnTo>
                  <a:lnTo>
                    <a:pt x="23039" y="2569"/>
                  </a:lnTo>
                  <a:lnTo>
                    <a:pt x="23040" y="2576"/>
                  </a:lnTo>
                  <a:lnTo>
                    <a:pt x="23040" y="2730"/>
                  </a:lnTo>
                  <a:lnTo>
                    <a:pt x="23039" y="2737"/>
                  </a:lnTo>
                  <a:lnTo>
                    <a:pt x="23035" y="2744"/>
                  </a:lnTo>
                  <a:lnTo>
                    <a:pt x="23028" y="2748"/>
                  </a:lnTo>
                  <a:lnTo>
                    <a:pt x="23021" y="2750"/>
                  </a:lnTo>
                  <a:lnTo>
                    <a:pt x="22982" y="2750"/>
                  </a:lnTo>
                  <a:lnTo>
                    <a:pt x="22982" y="3547"/>
                  </a:lnTo>
                  <a:lnTo>
                    <a:pt x="22982" y="4345"/>
                  </a:lnTo>
                  <a:lnTo>
                    <a:pt x="22981" y="4352"/>
                  </a:lnTo>
                  <a:lnTo>
                    <a:pt x="22977" y="4359"/>
                  </a:lnTo>
                  <a:lnTo>
                    <a:pt x="22971" y="4363"/>
                  </a:lnTo>
                  <a:lnTo>
                    <a:pt x="22963" y="4365"/>
                  </a:lnTo>
                  <a:lnTo>
                    <a:pt x="22717" y="4365"/>
                  </a:lnTo>
                  <a:lnTo>
                    <a:pt x="21733" y="4365"/>
                  </a:lnTo>
                  <a:lnTo>
                    <a:pt x="21241" y="4365"/>
                  </a:lnTo>
                  <a:lnTo>
                    <a:pt x="20749" y="4365"/>
                  </a:lnTo>
                  <a:lnTo>
                    <a:pt x="20257" y="4365"/>
                  </a:lnTo>
                  <a:lnTo>
                    <a:pt x="19865" y="4365"/>
                  </a:lnTo>
                  <a:lnTo>
                    <a:pt x="19859" y="4368"/>
                  </a:lnTo>
                  <a:lnTo>
                    <a:pt x="19852" y="4369"/>
                  </a:lnTo>
                  <a:lnTo>
                    <a:pt x="18987" y="4369"/>
                  </a:lnTo>
                  <a:lnTo>
                    <a:pt x="18122" y="4369"/>
                  </a:lnTo>
                  <a:lnTo>
                    <a:pt x="18119" y="4369"/>
                  </a:lnTo>
                  <a:lnTo>
                    <a:pt x="17558" y="4369"/>
                  </a:lnTo>
                  <a:lnTo>
                    <a:pt x="17549" y="4366"/>
                  </a:lnTo>
                  <a:lnTo>
                    <a:pt x="17543" y="4363"/>
                  </a:lnTo>
                  <a:lnTo>
                    <a:pt x="17540" y="4356"/>
                  </a:lnTo>
                  <a:lnTo>
                    <a:pt x="17539" y="4349"/>
                  </a:lnTo>
                  <a:lnTo>
                    <a:pt x="17540" y="4341"/>
                  </a:lnTo>
                  <a:lnTo>
                    <a:pt x="17543" y="4334"/>
                  </a:lnTo>
                  <a:lnTo>
                    <a:pt x="17549" y="4331"/>
                  </a:lnTo>
                  <a:lnTo>
                    <a:pt x="17558" y="4329"/>
                  </a:lnTo>
                  <a:lnTo>
                    <a:pt x="18096" y="4329"/>
                  </a:lnTo>
                  <a:lnTo>
                    <a:pt x="18092" y="4305"/>
                  </a:lnTo>
                  <a:lnTo>
                    <a:pt x="18090" y="4287"/>
                  </a:lnTo>
                  <a:lnTo>
                    <a:pt x="18094" y="4262"/>
                  </a:lnTo>
                  <a:lnTo>
                    <a:pt x="18103" y="4237"/>
                  </a:lnTo>
                  <a:lnTo>
                    <a:pt x="18116" y="4216"/>
                  </a:lnTo>
                  <a:lnTo>
                    <a:pt x="18134" y="4196"/>
                  </a:lnTo>
                  <a:lnTo>
                    <a:pt x="18155" y="4178"/>
                  </a:lnTo>
                  <a:lnTo>
                    <a:pt x="18178" y="4162"/>
                  </a:lnTo>
                  <a:lnTo>
                    <a:pt x="18230" y="4131"/>
                  </a:lnTo>
                  <a:lnTo>
                    <a:pt x="18213" y="3595"/>
                  </a:lnTo>
                  <a:lnTo>
                    <a:pt x="18197" y="3061"/>
                  </a:lnTo>
                  <a:lnTo>
                    <a:pt x="17607" y="2249"/>
                  </a:lnTo>
                  <a:lnTo>
                    <a:pt x="17579" y="2705"/>
                  </a:lnTo>
                  <a:lnTo>
                    <a:pt x="17576" y="2714"/>
                  </a:lnTo>
                  <a:lnTo>
                    <a:pt x="17571" y="2719"/>
                  </a:lnTo>
                  <a:lnTo>
                    <a:pt x="17557" y="2725"/>
                  </a:lnTo>
                  <a:lnTo>
                    <a:pt x="17551" y="2722"/>
                  </a:lnTo>
                  <a:lnTo>
                    <a:pt x="17544" y="2718"/>
                  </a:lnTo>
                  <a:lnTo>
                    <a:pt x="17540" y="2712"/>
                  </a:lnTo>
                  <a:lnTo>
                    <a:pt x="17539" y="2703"/>
                  </a:lnTo>
                  <a:lnTo>
                    <a:pt x="17570" y="2195"/>
                  </a:lnTo>
                  <a:lnTo>
                    <a:pt x="17571" y="2188"/>
                  </a:lnTo>
                  <a:lnTo>
                    <a:pt x="17597" y="1763"/>
                  </a:lnTo>
                  <a:lnTo>
                    <a:pt x="17597" y="1755"/>
                  </a:lnTo>
                  <a:lnTo>
                    <a:pt x="17640" y="1058"/>
                  </a:lnTo>
                  <a:lnTo>
                    <a:pt x="17622" y="1058"/>
                  </a:lnTo>
                  <a:lnTo>
                    <a:pt x="17615" y="1057"/>
                  </a:lnTo>
                  <a:lnTo>
                    <a:pt x="17608" y="1053"/>
                  </a:lnTo>
                  <a:lnTo>
                    <a:pt x="17604" y="1047"/>
                  </a:lnTo>
                  <a:lnTo>
                    <a:pt x="17603" y="1039"/>
                  </a:lnTo>
                  <a:lnTo>
                    <a:pt x="17603" y="943"/>
                  </a:lnTo>
                  <a:lnTo>
                    <a:pt x="17604" y="936"/>
                  </a:lnTo>
                  <a:lnTo>
                    <a:pt x="17608" y="929"/>
                  </a:lnTo>
                  <a:lnTo>
                    <a:pt x="17615" y="925"/>
                  </a:lnTo>
                  <a:lnTo>
                    <a:pt x="17622" y="924"/>
                  </a:lnTo>
                  <a:lnTo>
                    <a:pt x="18192" y="924"/>
                  </a:lnTo>
                  <a:lnTo>
                    <a:pt x="18199" y="925"/>
                  </a:lnTo>
                  <a:lnTo>
                    <a:pt x="18206" y="929"/>
                  </a:lnTo>
                  <a:lnTo>
                    <a:pt x="18211" y="936"/>
                  </a:lnTo>
                  <a:lnTo>
                    <a:pt x="18212" y="943"/>
                  </a:lnTo>
                  <a:lnTo>
                    <a:pt x="18212" y="1039"/>
                  </a:lnTo>
                  <a:lnTo>
                    <a:pt x="18211" y="1047"/>
                  </a:lnTo>
                  <a:lnTo>
                    <a:pt x="18206" y="1053"/>
                  </a:lnTo>
                  <a:lnTo>
                    <a:pt x="18199" y="1057"/>
                  </a:lnTo>
                  <a:lnTo>
                    <a:pt x="18192" y="1058"/>
                  </a:lnTo>
                  <a:lnTo>
                    <a:pt x="18174" y="1058"/>
                  </a:lnTo>
                  <a:lnTo>
                    <a:pt x="18201" y="1919"/>
                  </a:lnTo>
                  <a:lnTo>
                    <a:pt x="18930" y="1919"/>
                  </a:lnTo>
                  <a:lnTo>
                    <a:pt x="19661" y="1919"/>
                  </a:lnTo>
                  <a:lnTo>
                    <a:pt x="19698" y="1158"/>
                  </a:lnTo>
                  <a:lnTo>
                    <a:pt x="19736" y="399"/>
                  </a:lnTo>
                  <a:lnTo>
                    <a:pt x="19738" y="392"/>
                  </a:lnTo>
                  <a:lnTo>
                    <a:pt x="19742" y="386"/>
                  </a:lnTo>
                  <a:lnTo>
                    <a:pt x="19748" y="382"/>
                  </a:lnTo>
                  <a:lnTo>
                    <a:pt x="19756" y="381"/>
                  </a:lnTo>
                  <a:lnTo>
                    <a:pt x="20084" y="381"/>
                  </a:lnTo>
                  <a:lnTo>
                    <a:pt x="20092" y="382"/>
                  </a:lnTo>
                  <a:lnTo>
                    <a:pt x="20098" y="386"/>
                  </a:lnTo>
                  <a:lnTo>
                    <a:pt x="20102" y="392"/>
                  </a:lnTo>
                  <a:lnTo>
                    <a:pt x="20105" y="399"/>
                  </a:lnTo>
                  <a:lnTo>
                    <a:pt x="20142" y="1126"/>
                  </a:lnTo>
                  <a:lnTo>
                    <a:pt x="20181" y="1855"/>
                  </a:lnTo>
                  <a:lnTo>
                    <a:pt x="20179" y="1864"/>
                  </a:lnTo>
                  <a:lnTo>
                    <a:pt x="20175" y="1870"/>
                  </a:lnTo>
                  <a:lnTo>
                    <a:pt x="20169" y="1874"/>
                  </a:lnTo>
                  <a:lnTo>
                    <a:pt x="20161" y="1877"/>
                  </a:lnTo>
                  <a:lnTo>
                    <a:pt x="20147" y="1872"/>
                  </a:lnTo>
                  <a:lnTo>
                    <a:pt x="20143" y="1867"/>
                  </a:lnTo>
                  <a:lnTo>
                    <a:pt x="20141" y="1858"/>
                  </a:lnTo>
                  <a:lnTo>
                    <a:pt x="20102" y="1139"/>
                  </a:lnTo>
                  <a:lnTo>
                    <a:pt x="20065" y="420"/>
                  </a:lnTo>
                  <a:lnTo>
                    <a:pt x="19775" y="420"/>
                  </a:lnTo>
                  <a:lnTo>
                    <a:pt x="19737" y="1180"/>
                  </a:lnTo>
                  <a:lnTo>
                    <a:pt x="19700" y="1939"/>
                  </a:lnTo>
                  <a:lnTo>
                    <a:pt x="19700" y="1942"/>
                  </a:lnTo>
                  <a:lnTo>
                    <a:pt x="19698" y="1947"/>
                  </a:lnTo>
                  <a:lnTo>
                    <a:pt x="19695" y="1952"/>
                  </a:lnTo>
                  <a:lnTo>
                    <a:pt x="19688" y="1956"/>
                  </a:lnTo>
                  <a:lnTo>
                    <a:pt x="19682" y="1959"/>
                  </a:lnTo>
                  <a:lnTo>
                    <a:pt x="18942" y="1959"/>
                  </a:lnTo>
                  <a:lnTo>
                    <a:pt x="18202" y="1959"/>
                  </a:lnTo>
                  <a:lnTo>
                    <a:pt x="18221" y="2560"/>
                  </a:lnTo>
                  <a:lnTo>
                    <a:pt x="18221" y="2567"/>
                  </a:lnTo>
                  <a:lnTo>
                    <a:pt x="18244" y="3338"/>
                  </a:lnTo>
                  <a:lnTo>
                    <a:pt x="18269" y="4111"/>
                  </a:lnTo>
                  <a:lnTo>
                    <a:pt x="18320" y="4081"/>
                  </a:lnTo>
                  <a:lnTo>
                    <a:pt x="18342" y="4066"/>
                  </a:lnTo>
                  <a:lnTo>
                    <a:pt x="18361" y="4049"/>
                  </a:lnTo>
                  <a:lnTo>
                    <a:pt x="18392" y="4015"/>
                  </a:lnTo>
                  <a:lnTo>
                    <a:pt x="18419" y="3976"/>
                  </a:lnTo>
                  <a:lnTo>
                    <a:pt x="18447" y="3936"/>
                  </a:lnTo>
                  <a:lnTo>
                    <a:pt x="18475" y="3897"/>
                  </a:lnTo>
                  <a:lnTo>
                    <a:pt x="18506" y="3863"/>
                  </a:lnTo>
                  <a:lnTo>
                    <a:pt x="18524" y="3849"/>
                  </a:lnTo>
                  <a:lnTo>
                    <a:pt x="18542" y="3835"/>
                  </a:lnTo>
                  <a:lnTo>
                    <a:pt x="18562" y="3824"/>
                  </a:lnTo>
                  <a:lnTo>
                    <a:pt x="18585" y="3817"/>
                  </a:lnTo>
                  <a:lnTo>
                    <a:pt x="18610" y="3811"/>
                  </a:lnTo>
                  <a:lnTo>
                    <a:pt x="18637" y="3810"/>
                  </a:lnTo>
                  <a:lnTo>
                    <a:pt x="18656" y="3811"/>
                  </a:lnTo>
                  <a:lnTo>
                    <a:pt x="18673" y="3817"/>
                  </a:lnTo>
                  <a:lnTo>
                    <a:pt x="18702" y="3831"/>
                  </a:lnTo>
                  <a:lnTo>
                    <a:pt x="18702" y="3827"/>
                  </a:lnTo>
                  <a:lnTo>
                    <a:pt x="18702" y="3086"/>
                  </a:lnTo>
                  <a:lnTo>
                    <a:pt x="18664" y="3083"/>
                  </a:lnTo>
                  <a:lnTo>
                    <a:pt x="18625" y="3075"/>
                  </a:lnTo>
                  <a:lnTo>
                    <a:pt x="18588" y="3065"/>
                  </a:lnTo>
                  <a:lnTo>
                    <a:pt x="18553" y="3051"/>
                  </a:lnTo>
                  <a:lnTo>
                    <a:pt x="18519" y="3033"/>
                  </a:lnTo>
                  <a:lnTo>
                    <a:pt x="18488" y="3012"/>
                  </a:lnTo>
                  <a:lnTo>
                    <a:pt x="18458" y="2989"/>
                  </a:lnTo>
                  <a:lnTo>
                    <a:pt x="18431" y="2964"/>
                  </a:lnTo>
                  <a:lnTo>
                    <a:pt x="18407" y="2936"/>
                  </a:lnTo>
                  <a:lnTo>
                    <a:pt x="18385" y="2905"/>
                  </a:lnTo>
                  <a:lnTo>
                    <a:pt x="18366" y="2873"/>
                  </a:lnTo>
                  <a:lnTo>
                    <a:pt x="18349" y="2838"/>
                  </a:lnTo>
                  <a:lnTo>
                    <a:pt x="18337" y="2803"/>
                  </a:lnTo>
                  <a:lnTo>
                    <a:pt x="18328" y="2766"/>
                  </a:lnTo>
                  <a:lnTo>
                    <a:pt x="18322" y="2726"/>
                  </a:lnTo>
                  <a:lnTo>
                    <a:pt x="18320" y="2686"/>
                  </a:lnTo>
                  <a:lnTo>
                    <a:pt x="18322" y="2645"/>
                  </a:lnTo>
                  <a:lnTo>
                    <a:pt x="18328" y="2606"/>
                  </a:lnTo>
                  <a:lnTo>
                    <a:pt x="18338" y="2567"/>
                  </a:lnTo>
                  <a:lnTo>
                    <a:pt x="18352" y="2530"/>
                  </a:lnTo>
                  <a:lnTo>
                    <a:pt x="18369" y="2496"/>
                  </a:lnTo>
                  <a:lnTo>
                    <a:pt x="18388" y="2462"/>
                  </a:lnTo>
                  <a:lnTo>
                    <a:pt x="18412" y="2432"/>
                  </a:lnTo>
                  <a:lnTo>
                    <a:pt x="18438" y="2404"/>
                  </a:lnTo>
                  <a:lnTo>
                    <a:pt x="18466" y="2377"/>
                  </a:lnTo>
                  <a:lnTo>
                    <a:pt x="18497" y="2354"/>
                  </a:lnTo>
                  <a:lnTo>
                    <a:pt x="18530" y="2335"/>
                  </a:lnTo>
                  <a:lnTo>
                    <a:pt x="18565" y="2317"/>
                  </a:lnTo>
                  <a:lnTo>
                    <a:pt x="18602" y="2304"/>
                  </a:lnTo>
                  <a:lnTo>
                    <a:pt x="18640" y="2294"/>
                  </a:lnTo>
                  <a:lnTo>
                    <a:pt x="18680" y="2287"/>
                  </a:lnTo>
                  <a:lnTo>
                    <a:pt x="18721" y="2286"/>
                  </a:lnTo>
                  <a:lnTo>
                    <a:pt x="18764" y="2287"/>
                  </a:lnTo>
                  <a:lnTo>
                    <a:pt x="18803" y="2294"/>
                  </a:lnTo>
                  <a:lnTo>
                    <a:pt x="18842" y="2304"/>
                  </a:lnTo>
                  <a:lnTo>
                    <a:pt x="18879" y="2318"/>
                  </a:lnTo>
                  <a:lnTo>
                    <a:pt x="18914" y="2335"/>
                  </a:lnTo>
                  <a:lnTo>
                    <a:pt x="18947" y="2355"/>
                  </a:lnTo>
                  <a:lnTo>
                    <a:pt x="18978" y="2378"/>
                  </a:lnTo>
                  <a:lnTo>
                    <a:pt x="19007" y="2404"/>
                  </a:lnTo>
                  <a:lnTo>
                    <a:pt x="19033" y="2433"/>
                  </a:lnTo>
                  <a:lnTo>
                    <a:pt x="19056" y="2464"/>
                  </a:lnTo>
                  <a:lnTo>
                    <a:pt x="19075" y="2497"/>
                  </a:lnTo>
                  <a:lnTo>
                    <a:pt x="19092" y="2532"/>
                  </a:lnTo>
                  <a:lnTo>
                    <a:pt x="19106" y="2569"/>
                  </a:lnTo>
                  <a:lnTo>
                    <a:pt x="19115" y="2607"/>
                  </a:lnTo>
                  <a:lnTo>
                    <a:pt x="19121" y="2645"/>
                  </a:lnTo>
                  <a:lnTo>
                    <a:pt x="19124" y="2686"/>
                  </a:lnTo>
                  <a:lnTo>
                    <a:pt x="19121" y="2695"/>
                  </a:lnTo>
                  <a:lnTo>
                    <a:pt x="19118" y="2702"/>
                  </a:lnTo>
                  <a:lnTo>
                    <a:pt x="19111" y="2705"/>
                  </a:lnTo>
                  <a:lnTo>
                    <a:pt x="19103" y="2707"/>
                  </a:lnTo>
                  <a:lnTo>
                    <a:pt x="19096" y="2705"/>
                  </a:lnTo>
                  <a:lnTo>
                    <a:pt x="19089" y="2702"/>
                  </a:lnTo>
                  <a:lnTo>
                    <a:pt x="19085" y="2695"/>
                  </a:lnTo>
                  <a:lnTo>
                    <a:pt x="19083" y="2686"/>
                  </a:lnTo>
                  <a:lnTo>
                    <a:pt x="19082" y="2650"/>
                  </a:lnTo>
                  <a:lnTo>
                    <a:pt x="19076" y="2615"/>
                  </a:lnTo>
                  <a:lnTo>
                    <a:pt x="19067" y="2580"/>
                  </a:lnTo>
                  <a:lnTo>
                    <a:pt x="19055" y="2547"/>
                  </a:lnTo>
                  <a:lnTo>
                    <a:pt x="19041" y="2515"/>
                  </a:lnTo>
                  <a:lnTo>
                    <a:pt x="19023" y="2485"/>
                  </a:lnTo>
                  <a:lnTo>
                    <a:pt x="19002" y="2457"/>
                  </a:lnTo>
                  <a:lnTo>
                    <a:pt x="18978" y="2432"/>
                  </a:lnTo>
                  <a:lnTo>
                    <a:pt x="18952" y="2409"/>
                  </a:lnTo>
                  <a:lnTo>
                    <a:pt x="18925" y="2388"/>
                  </a:lnTo>
                  <a:lnTo>
                    <a:pt x="18894" y="2369"/>
                  </a:lnTo>
                  <a:lnTo>
                    <a:pt x="18864" y="2354"/>
                  </a:lnTo>
                  <a:lnTo>
                    <a:pt x="18830" y="2342"/>
                  </a:lnTo>
                  <a:lnTo>
                    <a:pt x="18796" y="2333"/>
                  </a:lnTo>
                  <a:lnTo>
                    <a:pt x="18758" y="2328"/>
                  </a:lnTo>
                  <a:lnTo>
                    <a:pt x="18721" y="2326"/>
                  </a:lnTo>
                  <a:lnTo>
                    <a:pt x="18684" y="2328"/>
                  </a:lnTo>
                  <a:lnTo>
                    <a:pt x="18648" y="2333"/>
                  </a:lnTo>
                  <a:lnTo>
                    <a:pt x="18614" y="2342"/>
                  </a:lnTo>
                  <a:lnTo>
                    <a:pt x="18580" y="2354"/>
                  </a:lnTo>
                  <a:lnTo>
                    <a:pt x="18549" y="2369"/>
                  </a:lnTo>
                  <a:lnTo>
                    <a:pt x="18520" y="2387"/>
                  </a:lnTo>
                  <a:lnTo>
                    <a:pt x="18492" y="2407"/>
                  </a:lnTo>
                  <a:lnTo>
                    <a:pt x="18466" y="2432"/>
                  </a:lnTo>
                  <a:lnTo>
                    <a:pt x="18443" y="2457"/>
                  </a:lnTo>
                  <a:lnTo>
                    <a:pt x="18421" y="2484"/>
                  </a:lnTo>
                  <a:lnTo>
                    <a:pt x="18403" y="2515"/>
                  </a:lnTo>
                  <a:lnTo>
                    <a:pt x="18388" y="2546"/>
                  </a:lnTo>
                  <a:lnTo>
                    <a:pt x="18381" y="2562"/>
                  </a:lnTo>
                  <a:lnTo>
                    <a:pt x="18376" y="2579"/>
                  </a:lnTo>
                  <a:lnTo>
                    <a:pt x="18367" y="2613"/>
                  </a:lnTo>
                  <a:lnTo>
                    <a:pt x="18362" y="2649"/>
                  </a:lnTo>
                  <a:lnTo>
                    <a:pt x="18360" y="2686"/>
                  </a:lnTo>
                  <a:lnTo>
                    <a:pt x="18362" y="2722"/>
                  </a:lnTo>
                  <a:lnTo>
                    <a:pt x="18367" y="2757"/>
                  </a:lnTo>
                  <a:lnTo>
                    <a:pt x="18375" y="2790"/>
                  </a:lnTo>
                  <a:lnTo>
                    <a:pt x="18387" y="2823"/>
                  </a:lnTo>
                  <a:lnTo>
                    <a:pt x="18401" y="2854"/>
                  </a:lnTo>
                  <a:lnTo>
                    <a:pt x="18417" y="2882"/>
                  </a:lnTo>
                  <a:lnTo>
                    <a:pt x="18438" y="2910"/>
                  </a:lnTo>
                  <a:lnTo>
                    <a:pt x="18460" y="2936"/>
                  </a:lnTo>
                  <a:lnTo>
                    <a:pt x="18484" y="2959"/>
                  </a:lnTo>
                  <a:lnTo>
                    <a:pt x="18510" y="2979"/>
                  </a:lnTo>
                  <a:lnTo>
                    <a:pt x="18538" y="2997"/>
                  </a:lnTo>
                  <a:lnTo>
                    <a:pt x="18569" y="3014"/>
                  </a:lnTo>
                  <a:lnTo>
                    <a:pt x="18599" y="3026"/>
                  </a:lnTo>
                  <a:lnTo>
                    <a:pt x="18633" y="3037"/>
                  </a:lnTo>
                  <a:lnTo>
                    <a:pt x="18667" y="3043"/>
                  </a:lnTo>
                  <a:lnTo>
                    <a:pt x="18702" y="3047"/>
                  </a:lnTo>
                  <a:lnTo>
                    <a:pt x="18702" y="3011"/>
                  </a:lnTo>
                  <a:lnTo>
                    <a:pt x="18701" y="3008"/>
                  </a:lnTo>
                  <a:lnTo>
                    <a:pt x="18597" y="2865"/>
                  </a:lnTo>
                  <a:lnTo>
                    <a:pt x="18593" y="2858"/>
                  </a:lnTo>
                  <a:lnTo>
                    <a:pt x="18593" y="2850"/>
                  </a:lnTo>
                  <a:lnTo>
                    <a:pt x="18596" y="2842"/>
                  </a:lnTo>
                  <a:lnTo>
                    <a:pt x="18601" y="2837"/>
                  </a:lnTo>
                  <a:lnTo>
                    <a:pt x="18607" y="2835"/>
                  </a:lnTo>
                  <a:lnTo>
                    <a:pt x="18615" y="2833"/>
                  </a:lnTo>
                  <a:lnTo>
                    <a:pt x="18623" y="2836"/>
                  </a:lnTo>
                  <a:lnTo>
                    <a:pt x="18629" y="2842"/>
                  </a:lnTo>
                  <a:lnTo>
                    <a:pt x="18702" y="2943"/>
                  </a:lnTo>
                  <a:lnTo>
                    <a:pt x="18702" y="2901"/>
                  </a:lnTo>
                  <a:lnTo>
                    <a:pt x="18702" y="2895"/>
                  </a:lnTo>
                  <a:lnTo>
                    <a:pt x="18702" y="2744"/>
                  </a:lnTo>
                  <a:lnTo>
                    <a:pt x="18606" y="2611"/>
                  </a:lnTo>
                  <a:lnTo>
                    <a:pt x="18602" y="2603"/>
                  </a:lnTo>
                  <a:lnTo>
                    <a:pt x="18602" y="2595"/>
                  </a:lnTo>
                  <a:lnTo>
                    <a:pt x="18606" y="2588"/>
                  </a:lnTo>
                  <a:lnTo>
                    <a:pt x="18611" y="2583"/>
                  </a:lnTo>
                  <a:lnTo>
                    <a:pt x="18617" y="2580"/>
                  </a:lnTo>
                  <a:lnTo>
                    <a:pt x="18625" y="2579"/>
                  </a:lnTo>
                  <a:lnTo>
                    <a:pt x="18633" y="2581"/>
                  </a:lnTo>
                  <a:lnTo>
                    <a:pt x="18639" y="2588"/>
                  </a:lnTo>
                  <a:lnTo>
                    <a:pt x="18702" y="2675"/>
                  </a:lnTo>
                  <a:lnTo>
                    <a:pt x="18702" y="2599"/>
                  </a:lnTo>
                  <a:lnTo>
                    <a:pt x="18705" y="2590"/>
                  </a:lnTo>
                  <a:lnTo>
                    <a:pt x="18708" y="2584"/>
                  </a:lnTo>
                  <a:lnTo>
                    <a:pt x="18715" y="2580"/>
                  </a:lnTo>
                  <a:lnTo>
                    <a:pt x="18723" y="2579"/>
                  </a:lnTo>
                  <a:lnTo>
                    <a:pt x="18730" y="2580"/>
                  </a:lnTo>
                  <a:lnTo>
                    <a:pt x="18737" y="2584"/>
                  </a:lnTo>
                  <a:lnTo>
                    <a:pt x="18741" y="2590"/>
                  </a:lnTo>
                  <a:lnTo>
                    <a:pt x="18742" y="2599"/>
                  </a:lnTo>
                  <a:lnTo>
                    <a:pt x="18742" y="2734"/>
                  </a:lnTo>
                  <a:lnTo>
                    <a:pt x="18742" y="2740"/>
                  </a:lnTo>
                  <a:lnTo>
                    <a:pt x="18742" y="2836"/>
                  </a:lnTo>
                  <a:lnTo>
                    <a:pt x="18828" y="2718"/>
                  </a:lnTo>
                  <a:lnTo>
                    <a:pt x="18834" y="2712"/>
                  </a:lnTo>
                  <a:lnTo>
                    <a:pt x="18842" y="2711"/>
                  </a:lnTo>
                  <a:lnTo>
                    <a:pt x="18856" y="2714"/>
                  </a:lnTo>
                  <a:lnTo>
                    <a:pt x="18861" y="2719"/>
                  </a:lnTo>
                  <a:lnTo>
                    <a:pt x="18864" y="2726"/>
                  </a:lnTo>
                  <a:lnTo>
                    <a:pt x="18864" y="2734"/>
                  </a:lnTo>
                  <a:lnTo>
                    <a:pt x="18860" y="2743"/>
                  </a:lnTo>
                  <a:close/>
                  <a:moveTo>
                    <a:pt x="20006" y="2597"/>
                  </a:moveTo>
                  <a:lnTo>
                    <a:pt x="19966" y="2597"/>
                  </a:lnTo>
                  <a:lnTo>
                    <a:pt x="19966" y="2709"/>
                  </a:lnTo>
                  <a:lnTo>
                    <a:pt x="20724" y="2709"/>
                  </a:lnTo>
                  <a:lnTo>
                    <a:pt x="21483" y="2709"/>
                  </a:lnTo>
                  <a:lnTo>
                    <a:pt x="22241" y="2709"/>
                  </a:lnTo>
                  <a:lnTo>
                    <a:pt x="23000" y="2709"/>
                  </a:lnTo>
                  <a:lnTo>
                    <a:pt x="23000" y="2597"/>
                  </a:lnTo>
                  <a:lnTo>
                    <a:pt x="22962" y="2597"/>
                  </a:lnTo>
                  <a:lnTo>
                    <a:pt x="22954" y="2597"/>
                  </a:lnTo>
                  <a:lnTo>
                    <a:pt x="22218" y="2597"/>
                  </a:lnTo>
                  <a:lnTo>
                    <a:pt x="21483" y="2597"/>
                  </a:lnTo>
                  <a:lnTo>
                    <a:pt x="20747" y="2597"/>
                  </a:lnTo>
                  <a:lnTo>
                    <a:pt x="20013" y="2597"/>
                  </a:lnTo>
                  <a:lnTo>
                    <a:pt x="20006" y="2597"/>
                  </a:lnTo>
                  <a:close/>
                  <a:moveTo>
                    <a:pt x="19369" y="3221"/>
                  </a:moveTo>
                  <a:lnTo>
                    <a:pt x="19369" y="3011"/>
                  </a:lnTo>
                  <a:lnTo>
                    <a:pt x="19370" y="3002"/>
                  </a:lnTo>
                  <a:lnTo>
                    <a:pt x="19375" y="2996"/>
                  </a:lnTo>
                  <a:lnTo>
                    <a:pt x="19382" y="2992"/>
                  </a:lnTo>
                  <a:lnTo>
                    <a:pt x="19388" y="2991"/>
                  </a:lnTo>
                  <a:lnTo>
                    <a:pt x="19396" y="2992"/>
                  </a:lnTo>
                  <a:lnTo>
                    <a:pt x="19402" y="2996"/>
                  </a:lnTo>
                  <a:lnTo>
                    <a:pt x="19407" y="3002"/>
                  </a:lnTo>
                  <a:lnTo>
                    <a:pt x="19409" y="3011"/>
                  </a:lnTo>
                  <a:lnTo>
                    <a:pt x="19409" y="3162"/>
                  </a:lnTo>
                  <a:lnTo>
                    <a:pt x="19442" y="3116"/>
                  </a:lnTo>
                  <a:lnTo>
                    <a:pt x="19448" y="3111"/>
                  </a:lnTo>
                  <a:lnTo>
                    <a:pt x="19456" y="3108"/>
                  </a:lnTo>
                  <a:lnTo>
                    <a:pt x="19470" y="3112"/>
                  </a:lnTo>
                  <a:lnTo>
                    <a:pt x="19475" y="3117"/>
                  </a:lnTo>
                  <a:lnTo>
                    <a:pt x="19478" y="3124"/>
                  </a:lnTo>
                  <a:lnTo>
                    <a:pt x="19478" y="3131"/>
                  </a:lnTo>
                  <a:lnTo>
                    <a:pt x="19474" y="3140"/>
                  </a:lnTo>
                  <a:lnTo>
                    <a:pt x="19409" y="3231"/>
                  </a:lnTo>
                  <a:lnTo>
                    <a:pt x="19409" y="3413"/>
                  </a:lnTo>
                  <a:lnTo>
                    <a:pt x="19432" y="3381"/>
                  </a:lnTo>
                  <a:lnTo>
                    <a:pt x="19438" y="3374"/>
                  </a:lnTo>
                  <a:lnTo>
                    <a:pt x="19446" y="3372"/>
                  </a:lnTo>
                  <a:lnTo>
                    <a:pt x="19460" y="3375"/>
                  </a:lnTo>
                  <a:lnTo>
                    <a:pt x="19465" y="3382"/>
                  </a:lnTo>
                  <a:lnTo>
                    <a:pt x="19468" y="3388"/>
                  </a:lnTo>
                  <a:lnTo>
                    <a:pt x="19468" y="3396"/>
                  </a:lnTo>
                  <a:lnTo>
                    <a:pt x="19464" y="3404"/>
                  </a:lnTo>
                  <a:lnTo>
                    <a:pt x="19409" y="3480"/>
                  </a:lnTo>
                  <a:lnTo>
                    <a:pt x="19409" y="3491"/>
                  </a:lnTo>
                  <a:lnTo>
                    <a:pt x="19409" y="3498"/>
                  </a:lnTo>
                  <a:lnTo>
                    <a:pt x="19409" y="3608"/>
                  </a:lnTo>
                  <a:lnTo>
                    <a:pt x="19425" y="3613"/>
                  </a:lnTo>
                  <a:lnTo>
                    <a:pt x="19441" y="3620"/>
                  </a:lnTo>
                  <a:lnTo>
                    <a:pt x="19455" y="3627"/>
                  </a:lnTo>
                  <a:lnTo>
                    <a:pt x="19468" y="3632"/>
                  </a:lnTo>
                  <a:lnTo>
                    <a:pt x="19480" y="3635"/>
                  </a:lnTo>
                  <a:lnTo>
                    <a:pt x="19488" y="3635"/>
                  </a:lnTo>
                  <a:lnTo>
                    <a:pt x="19494" y="3632"/>
                  </a:lnTo>
                  <a:lnTo>
                    <a:pt x="19501" y="3630"/>
                  </a:lnTo>
                  <a:lnTo>
                    <a:pt x="19509" y="3625"/>
                  </a:lnTo>
                  <a:lnTo>
                    <a:pt x="19525" y="3608"/>
                  </a:lnTo>
                  <a:lnTo>
                    <a:pt x="19547" y="3585"/>
                  </a:lnTo>
                  <a:lnTo>
                    <a:pt x="19562" y="3570"/>
                  </a:lnTo>
                  <a:lnTo>
                    <a:pt x="19577" y="3562"/>
                  </a:lnTo>
                  <a:lnTo>
                    <a:pt x="19591" y="3558"/>
                  </a:lnTo>
                  <a:lnTo>
                    <a:pt x="19620" y="3556"/>
                  </a:lnTo>
                  <a:lnTo>
                    <a:pt x="19639" y="3554"/>
                  </a:lnTo>
                  <a:lnTo>
                    <a:pt x="19664" y="3552"/>
                  </a:lnTo>
                  <a:lnTo>
                    <a:pt x="19679" y="3544"/>
                  </a:lnTo>
                  <a:lnTo>
                    <a:pt x="19684" y="3539"/>
                  </a:lnTo>
                  <a:lnTo>
                    <a:pt x="19688" y="3533"/>
                  </a:lnTo>
                  <a:lnTo>
                    <a:pt x="19695" y="3517"/>
                  </a:lnTo>
                  <a:lnTo>
                    <a:pt x="19700" y="3499"/>
                  </a:lnTo>
                  <a:lnTo>
                    <a:pt x="19705" y="3479"/>
                  </a:lnTo>
                  <a:lnTo>
                    <a:pt x="19714" y="3460"/>
                  </a:lnTo>
                  <a:lnTo>
                    <a:pt x="19728" y="3441"/>
                  </a:lnTo>
                  <a:lnTo>
                    <a:pt x="19737" y="3432"/>
                  </a:lnTo>
                  <a:lnTo>
                    <a:pt x="19748" y="3424"/>
                  </a:lnTo>
                  <a:lnTo>
                    <a:pt x="19792" y="3398"/>
                  </a:lnTo>
                  <a:lnTo>
                    <a:pt x="19804" y="3391"/>
                  </a:lnTo>
                  <a:lnTo>
                    <a:pt x="19810" y="3383"/>
                  </a:lnTo>
                  <a:lnTo>
                    <a:pt x="19813" y="3373"/>
                  </a:lnTo>
                  <a:lnTo>
                    <a:pt x="19811" y="3360"/>
                  </a:lnTo>
                  <a:lnTo>
                    <a:pt x="19804" y="3310"/>
                  </a:lnTo>
                  <a:lnTo>
                    <a:pt x="19804" y="3286"/>
                  </a:lnTo>
                  <a:lnTo>
                    <a:pt x="19807" y="3265"/>
                  </a:lnTo>
                  <a:lnTo>
                    <a:pt x="19816" y="3248"/>
                  </a:lnTo>
                  <a:lnTo>
                    <a:pt x="19827" y="3232"/>
                  </a:lnTo>
                  <a:lnTo>
                    <a:pt x="19847" y="3207"/>
                  </a:lnTo>
                  <a:lnTo>
                    <a:pt x="19854" y="3194"/>
                  </a:lnTo>
                  <a:lnTo>
                    <a:pt x="19856" y="3181"/>
                  </a:lnTo>
                  <a:lnTo>
                    <a:pt x="19854" y="3164"/>
                  </a:lnTo>
                  <a:lnTo>
                    <a:pt x="19850" y="3158"/>
                  </a:lnTo>
                  <a:lnTo>
                    <a:pt x="19846" y="3152"/>
                  </a:lnTo>
                  <a:lnTo>
                    <a:pt x="19824" y="3126"/>
                  </a:lnTo>
                  <a:lnTo>
                    <a:pt x="19814" y="3109"/>
                  </a:lnTo>
                  <a:lnTo>
                    <a:pt x="19806" y="3088"/>
                  </a:lnTo>
                  <a:lnTo>
                    <a:pt x="19805" y="3060"/>
                  </a:lnTo>
                  <a:lnTo>
                    <a:pt x="19806" y="3042"/>
                  </a:lnTo>
                  <a:lnTo>
                    <a:pt x="19809" y="3020"/>
                  </a:lnTo>
                  <a:lnTo>
                    <a:pt x="19811" y="3005"/>
                  </a:lnTo>
                  <a:lnTo>
                    <a:pt x="19811" y="2992"/>
                  </a:lnTo>
                  <a:lnTo>
                    <a:pt x="19809" y="2982"/>
                  </a:lnTo>
                  <a:lnTo>
                    <a:pt x="19805" y="2973"/>
                  </a:lnTo>
                  <a:lnTo>
                    <a:pt x="19792" y="2960"/>
                  </a:lnTo>
                  <a:lnTo>
                    <a:pt x="19775" y="2951"/>
                  </a:lnTo>
                  <a:lnTo>
                    <a:pt x="19757" y="2942"/>
                  </a:lnTo>
                  <a:lnTo>
                    <a:pt x="19738" y="2930"/>
                  </a:lnTo>
                  <a:lnTo>
                    <a:pt x="19720" y="2913"/>
                  </a:lnTo>
                  <a:lnTo>
                    <a:pt x="19712" y="2900"/>
                  </a:lnTo>
                  <a:lnTo>
                    <a:pt x="19706" y="2884"/>
                  </a:lnTo>
                  <a:lnTo>
                    <a:pt x="19691" y="2837"/>
                  </a:lnTo>
                  <a:lnTo>
                    <a:pt x="19686" y="2824"/>
                  </a:lnTo>
                  <a:lnTo>
                    <a:pt x="19683" y="2819"/>
                  </a:lnTo>
                  <a:lnTo>
                    <a:pt x="19680" y="2815"/>
                  </a:lnTo>
                  <a:lnTo>
                    <a:pt x="19671" y="2812"/>
                  </a:lnTo>
                  <a:lnTo>
                    <a:pt x="19657" y="2810"/>
                  </a:lnTo>
                  <a:lnTo>
                    <a:pt x="19607" y="2806"/>
                  </a:lnTo>
                  <a:lnTo>
                    <a:pt x="19591" y="2803"/>
                  </a:lnTo>
                  <a:lnTo>
                    <a:pt x="19577" y="2799"/>
                  </a:lnTo>
                  <a:lnTo>
                    <a:pt x="19555" y="2786"/>
                  </a:lnTo>
                  <a:lnTo>
                    <a:pt x="19547" y="2778"/>
                  </a:lnTo>
                  <a:lnTo>
                    <a:pt x="19539" y="2769"/>
                  </a:lnTo>
                  <a:lnTo>
                    <a:pt x="19527" y="2753"/>
                  </a:lnTo>
                  <a:lnTo>
                    <a:pt x="19514" y="2739"/>
                  </a:lnTo>
                  <a:lnTo>
                    <a:pt x="19507" y="2734"/>
                  </a:lnTo>
                  <a:lnTo>
                    <a:pt x="19500" y="2730"/>
                  </a:lnTo>
                  <a:lnTo>
                    <a:pt x="19491" y="2727"/>
                  </a:lnTo>
                  <a:lnTo>
                    <a:pt x="19479" y="2728"/>
                  </a:lnTo>
                  <a:lnTo>
                    <a:pt x="19452" y="2736"/>
                  </a:lnTo>
                  <a:lnTo>
                    <a:pt x="19421" y="2749"/>
                  </a:lnTo>
                  <a:lnTo>
                    <a:pt x="19405" y="2754"/>
                  </a:lnTo>
                  <a:lnTo>
                    <a:pt x="19388" y="2755"/>
                  </a:lnTo>
                  <a:lnTo>
                    <a:pt x="19366" y="2753"/>
                  </a:lnTo>
                  <a:lnTo>
                    <a:pt x="19347" y="2746"/>
                  </a:lnTo>
                  <a:lnTo>
                    <a:pt x="19316" y="2731"/>
                  </a:lnTo>
                  <a:lnTo>
                    <a:pt x="19301" y="2727"/>
                  </a:lnTo>
                  <a:lnTo>
                    <a:pt x="19293" y="2726"/>
                  </a:lnTo>
                  <a:lnTo>
                    <a:pt x="19287" y="2727"/>
                  </a:lnTo>
                  <a:lnTo>
                    <a:pt x="19270" y="2736"/>
                  </a:lnTo>
                  <a:lnTo>
                    <a:pt x="19251" y="2753"/>
                  </a:lnTo>
                  <a:lnTo>
                    <a:pt x="19230" y="2776"/>
                  </a:lnTo>
                  <a:lnTo>
                    <a:pt x="19214" y="2791"/>
                  </a:lnTo>
                  <a:lnTo>
                    <a:pt x="19200" y="2799"/>
                  </a:lnTo>
                  <a:lnTo>
                    <a:pt x="19187" y="2804"/>
                  </a:lnTo>
                  <a:lnTo>
                    <a:pt x="19157" y="2805"/>
                  </a:lnTo>
                  <a:lnTo>
                    <a:pt x="19138" y="2806"/>
                  </a:lnTo>
                  <a:lnTo>
                    <a:pt x="19112" y="2810"/>
                  </a:lnTo>
                  <a:lnTo>
                    <a:pt x="19098" y="2817"/>
                  </a:lnTo>
                  <a:lnTo>
                    <a:pt x="19093" y="2822"/>
                  </a:lnTo>
                  <a:lnTo>
                    <a:pt x="19088" y="2828"/>
                  </a:lnTo>
                  <a:lnTo>
                    <a:pt x="19082" y="2844"/>
                  </a:lnTo>
                  <a:lnTo>
                    <a:pt x="19078" y="2863"/>
                  </a:lnTo>
                  <a:lnTo>
                    <a:pt x="19071" y="2882"/>
                  </a:lnTo>
                  <a:lnTo>
                    <a:pt x="19064" y="2902"/>
                  </a:lnTo>
                  <a:lnTo>
                    <a:pt x="19050" y="2920"/>
                  </a:lnTo>
                  <a:lnTo>
                    <a:pt x="19041" y="2929"/>
                  </a:lnTo>
                  <a:lnTo>
                    <a:pt x="19029" y="2937"/>
                  </a:lnTo>
                  <a:lnTo>
                    <a:pt x="18985" y="2962"/>
                  </a:lnTo>
                  <a:lnTo>
                    <a:pt x="18974" y="2970"/>
                  </a:lnTo>
                  <a:lnTo>
                    <a:pt x="18967" y="2978"/>
                  </a:lnTo>
                  <a:lnTo>
                    <a:pt x="18965" y="2988"/>
                  </a:lnTo>
                  <a:lnTo>
                    <a:pt x="18966" y="3002"/>
                  </a:lnTo>
                  <a:lnTo>
                    <a:pt x="18974" y="3052"/>
                  </a:lnTo>
                  <a:lnTo>
                    <a:pt x="18974" y="3079"/>
                  </a:lnTo>
                  <a:lnTo>
                    <a:pt x="18967" y="3101"/>
                  </a:lnTo>
                  <a:lnTo>
                    <a:pt x="18956" y="3121"/>
                  </a:lnTo>
                  <a:lnTo>
                    <a:pt x="18941" y="3143"/>
                  </a:lnTo>
                  <a:lnTo>
                    <a:pt x="18926" y="3164"/>
                  </a:lnTo>
                  <a:lnTo>
                    <a:pt x="18923" y="3172"/>
                  </a:lnTo>
                  <a:lnTo>
                    <a:pt x="18921" y="3181"/>
                  </a:lnTo>
                  <a:lnTo>
                    <a:pt x="18924" y="3196"/>
                  </a:lnTo>
                  <a:lnTo>
                    <a:pt x="18928" y="3204"/>
                  </a:lnTo>
                  <a:lnTo>
                    <a:pt x="18932" y="3211"/>
                  </a:lnTo>
                  <a:lnTo>
                    <a:pt x="18953" y="3235"/>
                  </a:lnTo>
                  <a:lnTo>
                    <a:pt x="18964" y="3251"/>
                  </a:lnTo>
                  <a:lnTo>
                    <a:pt x="18970" y="3273"/>
                  </a:lnTo>
                  <a:lnTo>
                    <a:pt x="18973" y="3303"/>
                  </a:lnTo>
                  <a:lnTo>
                    <a:pt x="18971" y="3320"/>
                  </a:lnTo>
                  <a:lnTo>
                    <a:pt x="18969" y="3341"/>
                  </a:lnTo>
                  <a:lnTo>
                    <a:pt x="18966" y="3356"/>
                  </a:lnTo>
                  <a:lnTo>
                    <a:pt x="18966" y="3369"/>
                  </a:lnTo>
                  <a:lnTo>
                    <a:pt x="18969" y="3381"/>
                  </a:lnTo>
                  <a:lnTo>
                    <a:pt x="18973" y="3388"/>
                  </a:lnTo>
                  <a:lnTo>
                    <a:pt x="18984" y="3401"/>
                  </a:lnTo>
                  <a:lnTo>
                    <a:pt x="19001" y="3410"/>
                  </a:lnTo>
                  <a:lnTo>
                    <a:pt x="19020" y="3419"/>
                  </a:lnTo>
                  <a:lnTo>
                    <a:pt x="19039" y="3430"/>
                  </a:lnTo>
                  <a:lnTo>
                    <a:pt x="19057" y="3448"/>
                  </a:lnTo>
                  <a:lnTo>
                    <a:pt x="19065" y="3461"/>
                  </a:lnTo>
                  <a:lnTo>
                    <a:pt x="19071" y="3476"/>
                  </a:lnTo>
                  <a:lnTo>
                    <a:pt x="19085" y="3524"/>
                  </a:lnTo>
                  <a:lnTo>
                    <a:pt x="19091" y="3538"/>
                  </a:lnTo>
                  <a:lnTo>
                    <a:pt x="19093" y="3542"/>
                  </a:lnTo>
                  <a:lnTo>
                    <a:pt x="19097" y="3546"/>
                  </a:lnTo>
                  <a:lnTo>
                    <a:pt x="19106" y="3549"/>
                  </a:lnTo>
                  <a:lnTo>
                    <a:pt x="19120" y="3551"/>
                  </a:lnTo>
                  <a:lnTo>
                    <a:pt x="19170" y="3556"/>
                  </a:lnTo>
                  <a:lnTo>
                    <a:pt x="19187" y="3558"/>
                  </a:lnTo>
                  <a:lnTo>
                    <a:pt x="19201" y="3562"/>
                  </a:lnTo>
                  <a:lnTo>
                    <a:pt x="19221" y="3576"/>
                  </a:lnTo>
                  <a:lnTo>
                    <a:pt x="19230" y="3584"/>
                  </a:lnTo>
                  <a:lnTo>
                    <a:pt x="19238" y="3592"/>
                  </a:lnTo>
                  <a:lnTo>
                    <a:pt x="19251" y="3608"/>
                  </a:lnTo>
                  <a:lnTo>
                    <a:pt x="19262" y="3622"/>
                  </a:lnTo>
                  <a:lnTo>
                    <a:pt x="19270" y="3627"/>
                  </a:lnTo>
                  <a:lnTo>
                    <a:pt x="19278" y="3631"/>
                  </a:lnTo>
                  <a:lnTo>
                    <a:pt x="19287" y="3634"/>
                  </a:lnTo>
                  <a:lnTo>
                    <a:pt x="19297" y="3634"/>
                  </a:lnTo>
                  <a:lnTo>
                    <a:pt x="19325" y="3625"/>
                  </a:lnTo>
                  <a:lnTo>
                    <a:pt x="19347" y="3616"/>
                  </a:lnTo>
                  <a:lnTo>
                    <a:pt x="19369" y="3608"/>
                  </a:lnTo>
                  <a:lnTo>
                    <a:pt x="19369" y="3506"/>
                  </a:lnTo>
                  <a:lnTo>
                    <a:pt x="19364" y="3502"/>
                  </a:lnTo>
                  <a:lnTo>
                    <a:pt x="19360" y="3498"/>
                  </a:lnTo>
                  <a:lnTo>
                    <a:pt x="19359" y="3487"/>
                  </a:lnTo>
                  <a:lnTo>
                    <a:pt x="19264" y="3358"/>
                  </a:lnTo>
                  <a:lnTo>
                    <a:pt x="19260" y="3349"/>
                  </a:lnTo>
                  <a:lnTo>
                    <a:pt x="19260" y="3341"/>
                  </a:lnTo>
                  <a:lnTo>
                    <a:pt x="19264" y="3335"/>
                  </a:lnTo>
                  <a:lnTo>
                    <a:pt x="19269" y="3329"/>
                  </a:lnTo>
                  <a:lnTo>
                    <a:pt x="19275" y="3326"/>
                  </a:lnTo>
                  <a:lnTo>
                    <a:pt x="19283" y="3326"/>
                  </a:lnTo>
                  <a:lnTo>
                    <a:pt x="19289" y="3328"/>
                  </a:lnTo>
                  <a:lnTo>
                    <a:pt x="19297" y="3333"/>
                  </a:lnTo>
                  <a:lnTo>
                    <a:pt x="19369" y="3433"/>
                  </a:lnTo>
                  <a:lnTo>
                    <a:pt x="19369" y="3320"/>
                  </a:lnTo>
                  <a:lnTo>
                    <a:pt x="19262" y="3176"/>
                  </a:lnTo>
                  <a:lnTo>
                    <a:pt x="19259" y="3167"/>
                  </a:lnTo>
                  <a:lnTo>
                    <a:pt x="19259" y="3159"/>
                  </a:lnTo>
                  <a:lnTo>
                    <a:pt x="19262" y="3153"/>
                  </a:lnTo>
                  <a:lnTo>
                    <a:pt x="19268" y="3148"/>
                  </a:lnTo>
                  <a:lnTo>
                    <a:pt x="19274" y="3144"/>
                  </a:lnTo>
                  <a:lnTo>
                    <a:pt x="19282" y="3144"/>
                  </a:lnTo>
                  <a:lnTo>
                    <a:pt x="19289" y="3147"/>
                  </a:lnTo>
                  <a:lnTo>
                    <a:pt x="19296" y="3152"/>
                  </a:lnTo>
                  <a:lnTo>
                    <a:pt x="19369" y="3253"/>
                  </a:lnTo>
                  <a:lnTo>
                    <a:pt x="19369" y="3227"/>
                  </a:lnTo>
                  <a:lnTo>
                    <a:pt x="19369" y="3221"/>
                  </a:lnTo>
                  <a:close/>
                  <a:moveTo>
                    <a:pt x="22962" y="2597"/>
                  </a:moveTo>
                  <a:lnTo>
                    <a:pt x="22954" y="2597"/>
                  </a:lnTo>
                  <a:lnTo>
                    <a:pt x="22962" y="2597"/>
                  </a:lnTo>
                  <a:close/>
                  <a:moveTo>
                    <a:pt x="20013" y="2597"/>
                  </a:moveTo>
                  <a:lnTo>
                    <a:pt x="20006" y="2597"/>
                  </a:lnTo>
                  <a:lnTo>
                    <a:pt x="20013" y="2597"/>
                  </a:lnTo>
                  <a:close/>
                  <a:moveTo>
                    <a:pt x="19409" y="3491"/>
                  </a:moveTo>
                  <a:lnTo>
                    <a:pt x="19409" y="3498"/>
                  </a:lnTo>
                  <a:lnTo>
                    <a:pt x="19409" y="3491"/>
                  </a:lnTo>
                  <a:close/>
                  <a:moveTo>
                    <a:pt x="19369" y="3227"/>
                  </a:moveTo>
                  <a:lnTo>
                    <a:pt x="19369" y="3221"/>
                  </a:lnTo>
                  <a:lnTo>
                    <a:pt x="19369" y="3227"/>
                  </a:lnTo>
                  <a:close/>
                  <a:moveTo>
                    <a:pt x="20708" y="1885"/>
                  </a:moveTo>
                  <a:lnTo>
                    <a:pt x="20672" y="1152"/>
                  </a:lnTo>
                  <a:lnTo>
                    <a:pt x="20636" y="420"/>
                  </a:lnTo>
                  <a:lnTo>
                    <a:pt x="20345" y="420"/>
                  </a:lnTo>
                  <a:lnTo>
                    <a:pt x="20306" y="1139"/>
                  </a:lnTo>
                  <a:lnTo>
                    <a:pt x="20269" y="1858"/>
                  </a:lnTo>
                  <a:lnTo>
                    <a:pt x="20268" y="1867"/>
                  </a:lnTo>
                  <a:lnTo>
                    <a:pt x="20263" y="1872"/>
                  </a:lnTo>
                  <a:lnTo>
                    <a:pt x="20256" y="1876"/>
                  </a:lnTo>
                  <a:lnTo>
                    <a:pt x="20248" y="1877"/>
                  </a:lnTo>
                  <a:lnTo>
                    <a:pt x="20241" y="1874"/>
                  </a:lnTo>
                  <a:lnTo>
                    <a:pt x="20234" y="1870"/>
                  </a:lnTo>
                  <a:lnTo>
                    <a:pt x="20231" y="1864"/>
                  </a:lnTo>
                  <a:lnTo>
                    <a:pt x="20229" y="1855"/>
                  </a:lnTo>
                  <a:lnTo>
                    <a:pt x="20268" y="1126"/>
                  </a:lnTo>
                  <a:lnTo>
                    <a:pt x="20306" y="399"/>
                  </a:lnTo>
                  <a:lnTo>
                    <a:pt x="20307" y="392"/>
                  </a:lnTo>
                  <a:lnTo>
                    <a:pt x="20313" y="386"/>
                  </a:lnTo>
                  <a:lnTo>
                    <a:pt x="20318" y="382"/>
                  </a:lnTo>
                  <a:lnTo>
                    <a:pt x="20325" y="381"/>
                  </a:lnTo>
                  <a:lnTo>
                    <a:pt x="20655" y="381"/>
                  </a:lnTo>
                  <a:lnTo>
                    <a:pt x="20661" y="382"/>
                  </a:lnTo>
                  <a:lnTo>
                    <a:pt x="20668" y="386"/>
                  </a:lnTo>
                  <a:lnTo>
                    <a:pt x="20673" y="392"/>
                  </a:lnTo>
                  <a:lnTo>
                    <a:pt x="20674" y="399"/>
                  </a:lnTo>
                  <a:lnTo>
                    <a:pt x="20710" y="1140"/>
                  </a:lnTo>
                  <a:lnTo>
                    <a:pt x="20747" y="1882"/>
                  </a:lnTo>
                  <a:lnTo>
                    <a:pt x="20746" y="1891"/>
                  </a:lnTo>
                  <a:lnTo>
                    <a:pt x="20742" y="1897"/>
                  </a:lnTo>
                  <a:lnTo>
                    <a:pt x="20736" y="1901"/>
                  </a:lnTo>
                  <a:lnTo>
                    <a:pt x="20728" y="1902"/>
                  </a:lnTo>
                  <a:lnTo>
                    <a:pt x="20715" y="1899"/>
                  </a:lnTo>
                  <a:lnTo>
                    <a:pt x="20710" y="1892"/>
                  </a:lnTo>
                  <a:lnTo>
                    <a:pt x="20708" y="1885"/>
                  </a:lnTo>
                  <a:close/>
                  <a:moveTo>
                    <a:pt x="2868" y="3476"/>
                  </a:moveTo>
                  <a:lnTo>
                    <a:pt x="2980" y="3323"/>
                  </a:lnTo>
                  <a:lnTo>
                    <a:pt x="2953" y="3268"/>
                  </a:lnTo>
                  <a:lnTo>
                    <a:pt x="2939" y="3245"/>
                  </a:lnTo>
                  <a:lnTo>
                    <a:pt x="2925" y="3225"/>
                  </a:lnTo>
                  <a:lnTo>
                    <a:pt x="2911" y="3207"/>
                  </a:lnTo>
                  <a:lnTo>
                    <a:pt x="2897" y="3193"/>
                  </a:lnTo>
                  <a:lnTo>
                    <a:pt x="2883" y="3181"/>
                  </a:lnTo>
                  <a:lnTo>
                    <a:pt x="2868" y="3175"/>
                  </a:lnTo>
                  <a:lnTo>
                    <a:pt x="2868" y="3476"/>
                  </a:lnTo>
                  <a:close/>
                  <a:moveTo>
                    <a:pt x="2998" y="3365"/>
                  </a:moveTo>
                  <a:lnTo>
                    <a:pt x="2868" y="3544"/>
                  </a:lnTo>
                  <a:lnTo>
                    <a:pt x="2868" y="3753"/>
                  </a:lnTo>
                  <a:lnTo>
                    <a:pt x="3045" y="3507"/>
                  </a:lnTo>
                  <a:lnTo>
                    <a:pt x="3027" y="3445"/>
                  </a:lnTo>
                  <a:lnTo>
                    <a:pt x="2998" y="3365"/>
                  </a:lnTo>
                  <a:close/>
                  <a:moveTo>
                    <a:pt x="2716" y="3324"/>
                  </a:moveTo>
                  <a:lnTo>
                    <a:pt x="2829" y="3479"/>
                  </a:lnTo>
                  <a:lnTo>
                    <a:pt x="2829" y="3173"/>
                  </a:lnTo>
                  <a:lnTo>
                    <a:pt x="2813" y="3181"/>
                  </a:lnTo>
                  <a:lnTo>
                    <a:pt x="2798" y="3193"/>
                  </a:lnTo>
                  <a:lnTo>
                    <a:pt x="2790" y="3199"/>
                  </a:lnTo>
                  <a:lnTo>
                    <a:pt x="2783" y="3207"/>
                  </a:lnTo>
                  <a:lnTo>
                    <a:pt x="2768" y="3225"/>
                  </a:lnTo>
                  <a:lnTo>
                    <a:pt x="2742" y="3269"/>
                  </a:lnTo>
                  <a:lnTo>
                    <a:pt x="2715" y="3323"/>
                  </a:lnTo>
                  <a:lnTo>
                    <a:pt x="2716" y="3324"/>
                  </a:lnTo>
                  <a:close/>
                  <a:moveTo>
                    <a:pt x="3060" y="3557"/>
                  </a:moveTo>
                  <a:lnTo>
                    <a:pt x="2868" y="3820"/>
                  </a:lnTo>
                  <a:lnTo>
                    <a:pt x="2868" y="4028"/>
                  </a:lnTo>
                  <a:lnTo>
                    <a:pt x="3089" y="3725"/>
                  </a:lnTo>
                  <a:lnTo>
                    <a:pt x="3094" y="3718"/>
                  </a:lnTo>
                  <a:lnTo>
                    <a:pt x="3080" y="3640"/>
                  </a:lnTo>
                  <a:lnTo>
                    <a:pt x="3060" y="3557"/>
                  </a:lnTo>
                  <a:close/>
                  <a:moveTo>
                    <a:pt x="2654" y="3515"/>
                  </a:moveTo>
                  <a:lnTo>
                    <a:pt x="2829" y="3754"/>
                  </a:lnTo>
                  <a:lnTo>
                    <a:pt x="2829" y="3547"/>
                  </a:lnTo>
                  <a:lnTo>
                    <a:pt x="2698" y="3367"/>
                  </a:lnTo>
                  <a:lnTo>
                    <a:pt x="2672" y="3437"/>
                  </a:lnTo>
                  <a:lnTo>
                    <a:pt x="2650" y="3511"/>
                  </a:lnTo>
                  <a:lnTo>
                    <a:pt x="2654" y="3515"/>
                  </a:lnTo>
                  <a:close/>
                  <a:moveTo>
                    <a:pt x="3103" y="3773"/>
                  </a:moveTo>
                  <a:lnTo>
                    <a:pt x="2868" y="4095"/>
                  </a:lnTo>
                  <a:lnTo>
                    <a:pt x="2868" y="4102"/>
                  </a:lnTo>
                  <a:lnTo>
                    <a:pt x="2893" y="4098"/>
                  </a:lnTo>
                  <a:lnTo>
                    <a:pt x="2917" y="4093"/>
                  </a:lnTo>
                  <a:lnTo>
                    <a:pt x="2940" y="4085"/>
                  </a:lnTo>
                  <a:lnTo>
                    <a:pt x="2962" y="4076"/>
                  </a:lnTo>
                  <a:lnTo>
                    <a:pt x="2983" y="4065"/>
                  </a:lnTo>
                  <a:lnTo>
                    <a:pt x="3003" y="4051"/>
                  </a:lnTo>
                  <a:lnTo>
                    <a:pt x="3021" y="4037"/>
                  </a:lnTo>
                  <a:lnTo>
                    <a:pt x="3038" y="4020"/>
                  </a:lnTo>
                  <a:lnTo>
                    <a:pt x="3067" y="3982"/>
                  </a:lnTo>
                  <a:lnTo>
                    <a:pt x="3079" y="3961"/>
                  </a:lnTo>
                  <a:lnTo>
                    <a:pt x="3089" y="3939"/>
                  </a:lnTo>
                  <a:lnTo>
                    <a:pt x="3097" y="3916"/>
                  </a:lnTo>
                  <a:lnTo>
                    <a:pt x="3103" y="3893"/>
                  </a:lnTo>
                  <a:lnTo>
                    <a:pt x="3107" y="3868"/>
                  </a:lnTo>
                  <a:lnTo>
                    <a:pt x="3108" y="3843"/>
                  </a:lnTo>
                  <a:lnTo>
                    <a:pt x="3107" y="3811"/>
                  </a:lnTo>
                  <a:lnTo>
                    <a:pt x="3103" y="3773"/>
                  </a:lnTo>
                  <a:close/>
                  <a:moveTo>
                    <a:pt x="2603" y="3719"/>
                  </a:moveTo>
                  <a:lnTo>
                    <a:pt x="2829" y="4012"/>
                  </a:lnTo>
                  <a:lnTo>
                    <a:pt x="2829" y="3822"/>
                  </a:lnTo>
                  <a:lnTo>
                    <a:pt x="2638" y="3560"/>
                  </a:lnTo>
                  <a:lnTo>
                    <a:pt x="2618" y="3644"/>
                  </a:lnTo>
                  <a:lnTo>
                    <a:pt x="2603" y="3719"/>
                  </a:lnTo>
                  <a:close/>
                  <a:moveTo>
                    <a:pt x="2784" y="1296"/>
                  </a:moveTo>
                  <a:lnTo>
                    <a:pt x="2784" y="1465"/>
                  </a:lnTo>
                  <a:lnTo>
                    <a:pt x="2781" y="1474"/>
                  </a:lnTo>
                  <a:lnTo>
                    <a:pt x="2777" y="1480"/>
                  </a:lnTo>
                  <a:lnTo>
                    <a:pt x="2771" y="1484"/>
                  </a:lnTo>
                  <a:lnTo>
                    <a:pt x="2763" y="1486"/>
                  </a:lnTo>
                  <a:lnTo>
                    <a:pt x="2756" y="1484"/>
                  </a:lnTo>
                  <a:lnTo>
                    <a:pt x="2749" y="1480"/>
                  </a:lnTo>
                  <a:lnTo>
                    <a:pt x="2745" y="1474"/>
                  </a:lnTo>
                  <a:lnTo>
                    <a:pt x="2743" y="1465"/>
                  </a:lnTo>
                  <a:lnTo>
                    <a:pt x="2743" y="1296"/>
                  </a:lnTo>
                  <a:lnTo>
                    <a:pt x="2650" y="1296"/>
                  </a:lnTo>
                  <a:lnTo>
                    <a:pt x="2650" y="1465"/>
                  </a:lnTo>
                  <a:lnTo>
                    <a:pt x="2649" y="1474"/>
                  </a:lnTo>
                  <a:lnTo>
                    <a:pt x="2644" y="1480"/>
                  </a:lnTo>
                  <a:lnTo>
                    <a:pt x="2638" y="1484"/>
                  </a:lnTo>
                  <a:lnTo>
                    <a:pt x="2631" y="1486"/>
                  </a:lnTo>
                  <a:lnTo>
                    <a:pt x="2624" y="1484"/>
                  </a:lnTo>
                  <a:lnTo>
                    <a:pt x="2617" y="1480"/>
                  </a:lnTo>
                  <a:lnTo>
                    <a:pt x="2612" y="1474"/>
                  </a:lnTo>
                  <a:lnTo>
                    <a:pt x="2611" y="1465"/>
                  </a:lnTo>
                  <a:lnTo>
                    <a:pt x="2611" y="1296"/>
                  </a:lnTo>
                  <a:lnTo>
                    <a:pt x="2518" y="1296"/>
                  </a:lnTo>
                  <a:lnTo>
                    <a:pt x="2518" y="1465"/>
                  </a:lnTo>
                  <a:lnTo>
                    <a:pt x="2516" y="1474"/>
                  </a:lnTo>
                  <a:lnTo>
                    <a:pt x="2512" y="1480"/>
                  </a:lnTo>
                  <a:lnTo>
                    <a:pt x="2506" y="1484"/>
                  </a:lnTo>
                  <a:lnTo>
                    <a:pt x="2498" y="1486"/>
                  </a:lnTo>
                  <a:lnTo>
                    <a:pt x="2490" y="1484"/>
                  </a:lnTo>
                  <a:lnTo>
                    <a:pt x="2484" y="1480"/>
                  </a:lnTo>
                  <a:lnTo>
                    <a:pt x="2480" y="1474"/>
                  </a:lnTo>
                  <a:lnTo>
                    <a:pt x="2477" y="1465"/>
                  </a:lnTo>
                  <a:lnTo>
                    <a:pt x="2477" y="1296"/>
                  </a:lnTo>
                  <a:lnTo>
                    <a:pt x="2385" y="1296"/>
                  </a:lnTo>
                  <a:lnTo>
                    <a:pt x="2385" y="1465"/>
                  </a:lnTo>
                  <a:lnTo>
                    <a:pt x="2384" y="1474"/>
                  </a:lnTo>
                  <a:lnTo>
                    <a:pt x="2379" y="1480"/>
                  </a:lnTo>
                  <a:lnTo>
                    <a:pt x="2372" y="1484"/>
                  </a:lnTo>
                  <a:lnTo>
                    <a:pt x="2366" y="1486"/>
                  </a:lnTo>
                  <a:lnTo>
                    <a:pt x="2358" y="1484"/>
                  </a:lnTo>
                  <a:lnTo>
                    <a:pt x="2352" y="1480"/>
                  </a:lnTo>
                  <a:lnTo>
                    <a:pt x="2347" y="1474"/>
                  </a:lnTo>
                  <a:lnTo>
                    <a:pt x="2345" y="1465"/>
                  </a:lnTo>
                  <a:lnTo>
                    <a:pt x="2345" y="1296"/>
                  </a:lnTo>
                  <a:lnTo>
                    <a:pt x="2282" y="1296"/>
                  </a:lnTo>
                  <a:lnTo>
                    <a:pt x="2282" y="1634"/>
                  </a:lnTo>
                  <a:lnTo>
                    <a:pt x="2852" y="1634"/>
                  </a:lnTo>
                  <a:lnTo>
                    <a:pt x="2852" y="1296"/>
                  </a:lnTo>
                  <a:lnTo>
                    <a:pt x="2784" y="1296"/>
                  </a:lnTo>
                  <a:close/>
                  <a:moveTo>
                    <a:pt x="332" y="4356"/>
                  </a:moveTo>
                  <a:lnTo>
                    <a:pt x="322" y="4359"/>
                  </a:lnTo>
                  <a:lnTo>
                    <a:pt x="313" y="4356"/>
                  </a:lnTo>
                  <a:lnTo>
                    <a:pt x="0" y="4356"/>
                  </a:lnTo>
                  <a:lnTo>
                    <a:pt x="0" y="4317"/>
                  </a:lnTo>
                  <a:lnTo>
                    <a:pt x="64" y="4317"/>
                  </a:lnTo>
                  <a:lnTo>
                    <a:pt x="64" y="3833"/>
                  </a:lnTo>
                  <a:lnTo>
                    <a:pt x="0" y="3833"/>
                  </a:lnTo>
                  <a:lnTo>
                    <a:pt x="0" y="3792"/>
                  </a:lnTo>
                  <a:lnTo>
                    <a:pt x="197" y="3792"/>
                  </a:lnTo>
                  <a:lnTo>
                    <a:pt x="206" y="3795"/>
                  </a:lnTo>
                  <a:lnTo>
                    <a:pt x="213" y="3799"/>
                  </a:lnTo>
                  <a:lnTo>
                    <a:pt x="217" y="3805"/>
                  </a:lnTo>
                  <a:lnTo>
                    <a:pt x="218" y="3813"/>
                  </a:lnTo>
                  <a:lnTo>
                    <a:pt x="217" y="3820"/>
                  </a:lnTo>
                  <a:lnTo>
                    <a:pt x="213" y="3827"/>
                  </a:lnTo>
                  <a:lnTo>
                    <a:pt x="206" y="3831"/>
                  </a:lnTo>
                  <a:lnTo>
                    <a:pt x="197" y="3833"/>
                  </a:lnTo>
                  <a:lnTo>
                    <a:pt x="104" y="3833"/>
                  </a:lnTo>
                  <a:lnTo>
                    <a:pt x="104" y="4317"/>
                  </a:lnTo>
                  <a:lnTo>
                    <a:pt x="303" y="4317"/>
                  </a:lnTo>
                  <a:lnTo>
                    <a:pt x="303" y="3544"/>
                  </a:lnTo>
                  <a:lnTo>
                    <a:pt x="303" y="2772"/>
                  </a:lnTo>
                  <a:lnTo>
                    <a:pt x="304" y="2764"/>
                  </a:lnTo>
                  <a:lnTo>
                    <a:pt x="308" y="2758"/>
                  </a:lnTo>
                  <a:lnTo>
                    <a:pt x="314" y="2753"/>
                  </a:lnTo>
                  <a:lnTo>
                    <a:pt x="322" y="2751"/>
                  </a:lnTo>
                  <a:lnTo>
                    <a:pt x="440" y="2751"/>
                  </a:lnTo>
                  <a:lnTo>
                    <a:pt x="440" y="2579"/>
                  </a:lnTo>
                  <a:lnTo>
                    <a:pt x="441" y="2571"/>
                  </a:lnTo>
                  <a:lnTo>
                    <a:pt x="446" y="2565"/>
                  </a:lnTo>
                  <a:lnTo>
                    <a:pt x="453" y="2560"/>
                  </a:lnTo>
                  <a:lnTo>
                    <a:pt x="460" y="2558"/>
                  </a:lnTo>
                  <a:lnTo>
                    <a:pt x="541" y="2558"/>
                  </a:lnTo>
                  <a:lnTo>
                    <a:pt x="1007" y="2558"/>
                  </a:lnTo>
                  <a:lnTo>
                    <a:pt x="1997" y="2558"/>
                  </a:lnTo>
                  <a:lnTo>
                    <a:pt x="2004" y="2560"/>
                  </a:lnTo>
                  <a:lnTo>
                    <a:pt x="2011" y="2565"/>
                  </a:lnTo>
                  <a:lnTo>
                    <a:pt x="2014" y="2571"/>
                  </a:lnTo>
                  <a:lnTo>
                    <a:pt x="2017" y="2579"/>
                  </a:lnTo>
                  <a:lnTo>
                    <a:pt x="2017" y="2751"/>
                  </a:lnTo>
                  <a:lnTo>
                    <a:pt x="2098" y="2751"/>
                  </a:lnTo>
                  <a:lnTo>
                    <a:pt x="2098" y="2203"/>
                  </a:lnTo>
                  <a:lnTo>
                    <a:pt x="2098" y="1654"/>
                  </a:lnTo>
                  <a:lnTo>
                    <a:pt x="2099" y="1647"/>
                  </a:lnTo>
                  <a:lnTo>
                    <a:pt x="2103" y="1640"/>
                  </a:lnTo>
                  <a:lnTo>
                    <a:pt x="2109" y="1635"/>
                  </a:lnTo>
                  <a:lnTo>
                    <a:pt x="2117" y="1634"/>
                  </a:lnTo>
                  <a:lnTo>
                    <a:pt x="2243" y="1634"/>
                  </a:lnTo>
                  <a:lnTo>
                    <a:pt x="2243" y="1276"/>
                  </a:lnTo>
                  <a:lnTo>
                    <a:pt x="2244" y="1268"/>
                  </a:lnTo>
                  <a:lnTo>
                    <a:pt x="2249" y="1262"/>
                  </a:lnTo>
                  <a:lnTo>
                    <a:pt x="2254" y="1258"/>
                  </a:lnTo>
                  <a:lnTo>
                    <a:pt x="2262" y="1257"/>
                  </a:lnTo>
                  <a:lnTo>
                    <a:pt x="2872" y="1257"/>
                  </a:lnTo>
                  <a:lnTo>
                    <a:pt x="2880" y="1258"/>
                  </a:lnTo>
                  <a:lnTo>
                    <a:pt x="2886" y="1262"/>
                  </a:lnTo>
                  <a:lnTo>
                    <a:pt x="2890" y="1268"/>
                  </a:lnTo>
                  <a:lnTo>
                    <a:pt x="2893" y="1276"/>
                  </a:lnTo>
                  <a:lnTo>
                    <a:pt x="2893" y="1634"/>
                  </a:lnTo>
                  <a:lnTo>
                    <a:pt x="3017" y="1634"/>
                  </a:lnTo>
                  <a:lnTo>
                    <a:pt x="3025" y="1635"/>
                  </a:lnTo>
                  <a:lnTo>
                    <a:pt x="3031" y="1640"/>
                  </a:lnTo>
                  <a:lnTo>
                    <a:pt x="3035" y="1647"/>
                  </a:lnTo>
                  <a:lnTo>
                    <a:pt x="3038" y="1654"/>
                  </a:lnTo>
                  <a:lnTo>
                    <a:pt x="3038" y="2434"/>
                  </a:lnTo>
                  <a:lnTo>
                    <a:pt x="3038" y="3214"/>
                  </a:lnTo>
                  <a:lnTo>
                    <a:pt x="3035" y="3223"/>
                  </a:lnTo>
                  <a:lnTo>
                    <a:pt x="3031" y="3230"/>
                  </a:lnTo>
                  <a:lnTo>
                    <a:pt x="3025" y="3234"/>
                  </a:lnTo>
                  <a:lnTo>
                    <a:pt x="3017" y="3235"/>
                  </a:lnTo>
                  <a:lnTo>
                    <a:pt x="3010" y="3234"/>
                  </a:lnTo>
                  <a:lnTo>
                    <a:pt x="3003" y="3230"/>
                  </a:lnTo>
                  <a:lnTo>
                    <a:pt x="2999" y="3223"/>
                  </a:lnTo>
                  <a:lnTo>
                    <a:pt x="2998" y="3214"/>
                  </a:lnTo>
                  <a:lnTo>
                    <a:pt x="2998" y="2443"/>
                  </a:lnTo>
                  <a:lnTo>
                    <a:pt x="2998" y="1674"/>
                  </a:lnTo>
                  <a:lnTo>
                    <a:pt x="2138" y="1674"/>
                  </a:lnTo>
                  <a:lnTo>
                    <a:pt x="2138" y="2333"/>
                  </a:lnTo>
                  <a:lnTo>
                    <a:pt x="2138" y="2994"/>
                  </a:lnTo>
                  <a:lnTo>
                    <a:pt x="2138" y="3655"/>
                  </a:lnTo>
                  <a:lnTo>
                    <a:pt x="2138" y="4317"/>
                  </a:lnTo>
                  <a:lnTo>
                    <a:pt x="2829" y="4317"/>
                  </a:lnTo>
                  <a:lnTo>
                    <a:pt x="2829" y="4141"/>
                  </a:lnTo>
                  <a:lnTo>
                    <a:pt x="2799" y="4138"/>
                  </a:lnTo>
                  <a:lnTo>
                    <a:pt x="2771" y="4132"/>
                  </a:lnTo>
                  <a:lnTo>
                    <a:pt x="2744" y="4123"/>
                  </a:lnTo>
                  <a:lnTo>
                    <a:pt x="2731" y="4118"/>
                  </a:lnTo>
                  <a:lnTo>
                    <a:pt x="2718" y="4113"/>
                  </a:lnTo>
                  <a:lnTo>
                    <a:pt x="2694" y="4099"/>
                  </a:lnTo>
                  <a:lnTo>
                    <a:pt x="2671" y="4084"/>
                  </a:lnTo>
                  <a:lnTo>
                    <a:pt x="2649" y="4067"/>
                  </a:lnTo>
                  <a:lnTo>
                    <a:pt x="2630" y="4048"/>
                  </a:lnTo>
                  <a:lnTo>
                    <a:pt x="2612" y="4026"/>
                  </a:lnTo>
                  <a:lnTo>
                    <a:pt x="2595" y="4005"/>
                  </a:lnTo>
                  <a:lnTo>
                    <a:pt x="2581" y="3980"/>
                  </a:lnTo>
                  <a:lnTo>
                    <a:pt x="2570" y="3955"/>
                  </a:lnTo>
                  <a:lnTo>
                    <a:pt x="2561" y="3929"/>
                  </a:lnTo>
                  <a:lnTo>
                    <a:pt x="2554" y="3901"/>
                  </a:lnTo>
                  <a:lnTo>
                    <a:pt x="2549" y="3873"/>
                  </a:lnTo>
                  <a:lnTo>
                    <a:pt x="2548" y="3843"/>
                  </a:lnTo>
                  <a:lnTo>
                    <a:pt x="2549" y="3813"/>
                  </a:lnTo>
                  <a:lnTo>
                    <a:pt x="2554" y="3773"/>
                  </a:lnTo>
                  <a:lnTo>
                    <a:pt x="2570" y="3675"/>
                  </a:lnTo>
                  <a:lnTo>
                    <a:pt x="2581" y="3617"/>
                  </a:lnTo>
                  <a:lnTo>
                    <a:pt x="2595" y="3558"/>
                  </a:lnTo>
                  <a:lnTo>
                    <a:pt x="2630" y="3436"/>
                  </a:lnTo>
                  <a:lnTo>
                    <a:pt x="2650" y="3377"/>
                  </a:lnTo>
                  <a:lnTo>
                    <a:pt x="2674" y="3320"/>
                  </a:lnTo>
                  <a:lnTo>
                    <a:pt x="2698" y="3268"/>
                  </a:lnTo>
                  <a:lnTo>
                    <a:pt x="2725" y="3222"/>
                  </a:lnTo>
                  <a:lnTo>
                    <a:pt x="2753" y="3185"/>
                  </a:lnTo>
                  <a:lnTo>
                    <a:pt x="2783" y="3156"/>
                  </a:lnTo>
                  <a:lnTo>
                    <a:pt x="2799" y="3144"/>
                  </a:lnTo>
                  <a:lnTo>
                    <a:pt x="2815" y="3136"/>
                  </a:lnTo>
                  <a:lnTo>
                    <a:pt x="2831" y="3133"/>
                  </a:lnTo>
                  <a:lnTo>
                    <a:pt x="2848" y="3130"/>
                  </a:lnTo>
                  <a:lnTo>
                    <a:pt x="2866" y="3133"/>
                  </a:lnTo>
                  <a:lnTo>
                    <a:pt x="2883" y="3138"/>
                  </a:lnTo>
                  <a:lnTo>
                    <a:pt x="2899" y="3145"/>
                  </a:lnTo>
                  <a:lnTo>
                    <a:pt x="2915" y="3157"/>
                  </a:lnTo>
                  <a:lnTo>
                    <a:pt x="2945" y="3187"/>
                  </a:lnTo>
                  <a:lnTo>
                    <a:pt x="2953" y="3196"/>
                  </a:lnTo>
                  <a:lnTo>
                    <a:pt x="2960" y="3205"/>
                  </a:lnTo>
                  <a:lnTo>
                    <a:pt x="2974" y="3226"/>
                  </a:lnTo>
                  <a:lnTo>
                    <a:pt x="3001" y="3272"/>
                  </a:lnTo>
                  <a:lnTo>
                    <a:pt x="3024" y="3323"/>
                  </a:lnTo>
                  <a:lnTo>
                    <a:pt x="3045" y="3377"/>
                  </a:lnTo>
                  <a:lnTo>
                    <a:pt x="3065" y="3433"/>
                  </a:lnTo>
                  <a:lnTo>
                    <a:pt x="3083" y="3492"/>
                  </a:lnTo>
                  <a:lnTo>
                    <a:pt x="3099" y="3551"/>
                  </a:lnTo>
                  <a:lnTo>
                    <a:pt x="3113" y="3609"/>
                  </a:lnTo>
                  <a:lnTo>
                    <a:pt x="3125" y="3666"/>
                  </a:lnTo>
                  <a:lnTo>
                    <a:pt x="3135" y="3719"/>
                  </a:lnTo>
                  <a:lnTo>
                    <a:pt x="3142" y="3767"/>
                  </a:lnTo>
                  <a:lnTo>
                    <a:pt x="3147" y="3809"/>
                  </a:lnTo>
                  <a:lnTo>
                    <a:pt x="3148" y="3843"/>
                  </a:lnTo>
                  <a:lnTo>
                    <a:pt x="3147" y="3873"/>
                  </a:lnTo>
                  <a:lnTo>
                    <a:pt x="3143" y="3901"/>
                  </a:lnTo>
                  <a:lnTo>
                    <a:pt x="3135" y="3929"/>
                  </a:lnTo>
                  <a:lnTo>
                    <a:pt x="3126" y="3955"/>
                  </a:lnTo>
                  <a:lnTo>
                    <a:pt x="3115" y="3980"/>
                  </a:lnTo>
                  <a:lnTo>
                    <a:pt x="3101" y="4005"/>
                  </a:lnTo>
                  <a:lnTo>
                    <a:pt x="3067" y="4048"/>
                  </a:lnTo>
                  <a:lnTo>
                    <a:pt x="3025" y="4084"/>
                  </a:lnTo>
                  <a:lnTo>
                    <a:pt x="3002" y="4099"/>
                  </a:lnTo>
                  <a:lnTo>
                    <a:pt x="2977" y="4113"/>
                  </a:lnTo>
                  <a:lnTo>
                    <a:pt x="2952" y="4123"/>
                  </a:lnTo>
                  <a:lnTo>
                    <a:pt x="2925" y="4132"/>
                  </a:lnTo>
                  <a:lnTo>
                    <a:pt x="2897" y="4138"/>
                  </a:lnTo>
                  <a:lnTo>
                    <a:pt x="2868" y="4141"/>
                  </a:lnTo>
                  <a:lnTo>
                    <a:pt x="2868" y="4317"/>
                  </a:lnTo>
                  <a:lnTo>
                    <a:pt x="2998" y="4317"/>
                  </a:lnTo>
                  <a:lnTo>
                    <a:pt x="2998" y="4193"/>
                  </a:lnTo>
                  <a:lnTo>
                    <a:pt x="2999" y="4184"/>
                  </a:lnTo>
                  <a:lnTo>
                    <a:pt x="3003" y="4177"/>
                  </a:lnTo>
                  <a:lnTo>
                    <a:pt x="3010" y="4173"/>
                  </a:lnTo>
                  <a:lnTo>
                    <a:pt x="3017" y="4172"/>
                  </a:lnTo>
                  <a:lnTo>
                    <a:pt x="3025" y="4173"/>
                  </a:lnTo>
                  <a:lnTo>
                    <a:pt x="3031" y="4177"/>
                  </a:lnTo>
                  <a:lnTo>
                    <a:pt x="3035" y="4184"/>
                  </a:lnTo>
                  <a:lnTo>
                    <a:pt x="3038" y="4193"/>
                  </a:lnTo>
                  <a:lnTo>
                    <a:pt x="3038" y="4332"/>
                  </a:lnTo>
                  <a:lnTo>
                    <a:pt x="3036" y="4340"/>
                  </a:lnTo>
                  <a:lnTo>
                    <a:pt x="3031" y="4346"/>
                  </a:lnTo>
                  <a:lnTo>
                    <a:pt x="3025" y="4354"/>
                  </a:lnTo>
                  <a:lnTo>
                    <a:pt x="3013" y="4356"/>
                  </a:lnTo>
                  <a:lnTo>
                    <a:pt x="2343" y="4356"/>
                  </a:lnTo>
                  <a:lnTo>
                    <a:pt x="1672" y="4356"/>
                  </a:lnTo>
                  <a:lnTo>
                    <a:pt x="1001" y="4356"/>
                  </a:lnTo>
                  <a:lnTo>
                    <a:pt x="332" y="4356"/>
                  </a:lnTo>
                  <a:close/>
                  <a:moveTo>
                    <a:pt x="1458" y="2791"/>
                  </a:moveTo>
                  <a:lnTo>
                    <a:pt x="900" y="2791"/>
                  </a:lnTo>
                  <a:lnTo>
                    <a:pt x="342" y="2791"/>
                  </a:lnTo>
                  <a:lnTo>
                    <a:pt x="342" y="3553"/>
                  </a:lnTo>
                  <a:lnTo>
                    <a:pt x="342" y="4317"/>
                  </a:lnTo>
                  <a:lnTo>
                    <a:pt x="1218" y="4317"/>
                  </a:lnTo>
                  <a:lnTo>
                    <a:pt x="2095" y="4317"/>
                  </a:lnTo>
                  <a:lnTo>
                    <a:pt x="2095" y="3553"/>
                  </a:lnTo>
                  <a:lnTo>
                    <a:pt x="2095" y="2791"/>
                  </a:lnTo>
                  <a:lnTo>
                    <a:pt x="1723" y="2791"/>
                  </a:lnTo>
                  <a:lnTo>
                    <a:pt x="1714" y="2790"/>
                  </a:lnTo>
                  <a:lnTo>
                    <a:pt x="1708" y="2786"/>
                  </a:lnTo>
                  <a:lnTo>
                    <a:pt x="1704" y="2780"/>
                  </a:lnTo>
                  <a:lnTo>
                    <a:pt x="1703" y="2772"/>
                  </a:lnTo>
                  <a:lnTo>
                    <a:pt x="1704" y="2764"/>
                  </a:lnTo>
                  <a:lnTo>
                    <a:pt x="1708" y="2758"/>
                  </a:lnTo>
                  <a:lnTo>
                    <a:pt x="1714" y="2754"/>
                  </a:lnTo>
                  <a:lnTo>
                    <a:pt x="1723" y="2751"/>
                  </a:lnTo>
                  <a:lnTo>
                    <a:pt x="1976" y="2751"/>
                  </a:lnTo>
                  <a:lnTo>
                    <a:pt x="1976" y="2598"/>
                  </a:lnTo>
                  <a:lnTo>
                    <a:pt x="1025" y="2598"/>
                  </a:lnTo>
                  <a:lnTo>
                    <a:pt x="1018" y="2602"/>
                  </a:lnTo>
                  <a:lnTo>
                    <a:pt x="1010" y="2603"/>
                  </a:lnTo>
                  <a:lnTo>
                    <a:pt x="544" y="2603"/>
                  </a:lnTo>
                  <a:lnTo>
                    <a:pt x="536" y="2602"/>
                  </a:lnTo>
                  <a:lnTo>
                    <a:pt x="531" y="2598"/>
                  </a:lnTo>
                  <a:lnTo>
                    <a:pt x="480" y="2598"/>
                  </a:lnTo>
                  <a:lnTo>
                    <a:pt x="480" y="2751"/>
                  </a:lnTo>
                  <a:lnTo>
                    <a:pt x="1458" y="2751"/>
                  </a:lnTo>
                  <a:lnTo>
                    <a:pt x="1467" y="2754"/>
                  </a:lnTo>
                  <a:lnTo>
                    <a:pt x="1473" y="2758"/>
                  </a:lnTo>
                  <a:lnTo>
                    <a:pt x="1477" y="2764"/>
                  </a:lnTo>
                  <a:lnTo>
                    <a:pt x="1478" y="2772"/>
                  </a:lnTo>
                  <a:lnTo>
                    <a:pt x="1477" y="2780"/>
                  </a:lnTo>
                  <a:lnTo>
                    <a:pt x="1473" y="2786"/>
                  </a:lnTo>
                  <a:lnTo>
                    <a:pt x="1467" y="2790"/>
                  </a:lnTo>
                  <a:lnTo>
                    <a:pt x="1458" y="2791"/>
                  </a:lnTo>
                  <a:close/>
                  <a:moveTo>
                    <a:pt x="2829" y="4085"/>
                  </a:moveTo>
                  <a:lnTo>
                    <a:pt x="2829" y="4077"/>
                  </a:lnTo>
                  <a:lnTo>
                    <a:pt x="2594" y="3774"/>
                  </a:lnTo>
                  <a:lnTo>
                    <a:pt x="2590" y="3814"/>
                  </a:lnTo>
                  <a:lnTo>
                    <a:pt x="2588" y="3843"/>
                  </a:lnTo>
                  <a:lnTo>
                    <a:pt x="2589" y="3868"/>
                  </a:lnTo>
                  <a:lnTo>
                    <a:pt x="2593" y="3893"/>
                  </a:lnTo>
                  <a:lnTo>
                    <a:pt x="2599" y="3916"/>
                  </a:lnTo>
                  <a:lnTo>
                    <a:pt x="2607" y="3939"/>
                  </a:lnTo>
                  <a:lnTo>
                    <a:pt x="2617" y="3961"/>
                  </a:lnTo>
                  <a:lnTo>
                    <a:pt x="2629" y="3982"/>
                  </a:lnTo>
                  <a:lnTo>
                    <a:pt x="2643" y="4002"/>
                  </a:lnTo>
                  <a:lnTo>
                    <a:pt x="2658" y="4020"/>
                  </a:lnTo>
                  <a:lnTo>
                    <a:pt x="2675" y="4037"/>
                  </a:lnTo>
                  <a:lnTo>
                    <a:pt x="2693" y="4051"/>
                  </a:lnTo>
                  <a:lnTo>
                    <a:pt x="2713" y="4065"/>
                  </a:lnTo>
                  <a:lnTo>
                    <a:pt x="2734" y="4076"/>
                  </a:lnTo>
                  <a:lnTo>
                    <a:pt x="2756" y="4085"/>
                  </a:lnTo>
                  <a:lnTo>
                    <a:pt x="2779" y="4093"/>
                  </a:lnTo>
                  <a:lnTo>
                    <a:pt x="2803" y="4098"/>
                  </a:lnTo>
                  <a:lnTo>
                    <a:pt x="2829" y="4102"/>
                  </a:lnTo>
                  <a:lnTo>
                    <a:pt x="2829" y="4093"/>
                  </a:lnTo>
                  <a:lnTo>
                    <a:pt x="2829" y="4085"/>
                  </a:lnTo>
                  <a:close/>
                  <a:moveTo>
                    <a:pt x="1903" y="3824"/>
                  </a:moveTo>
                  <a:lnTo>
                    <a:pt x="1903" y="3937"/>
                  </a:lnTo>
                  <a:lnTo>
                    <a:pt x="1902" y="3946"/>
                  </a:lnTo>
                  <a:lnTo>
                    <a:pt x="1896" y="3952"/>
                  </a:lnTo>
                  <a:lnTo>
                    <a:pt x="1890" y="3956"/>
                  </a:lnTo>
                  <a:lnTo>
                    <a:pt x="1882" y="3957"/>
                  </a:lnTo>
                  <a:lnTo>
                    <a:pt x="1876" y="3956"/>
                  </a:lnTo>
                  <a:lnTo>
                    <a:pt x="1870" y="3952"/>
                  </a:lnTo>
                  <a:lnTo>
                    <a:pt x="1864" y="3946"/>
                  </a:lnTo>
                  <a:lnTo>
                    <a:pt x="1863" y="3937"/>
                  </a:lnTo>
                  <a:lnTo>
                    <a:pt x="1863" y="3824"/>
                  </a:lnTo>
                  <a:lnTo>
                    <a:pt x="1864" y="3817"/>
                  </a:lnTo>
                  <a:lnTo>
                    <a:pt x="1870" y="3810"/>
                  </a:lnTo>
                  <a:lnTo>
                    <a:pt x="1876" y="3806"/>
                  </a:lnTo>
                  <a:lnTo>
                    <a:pt x="1882" y="3805"/>
                  </a:lnTo>
                  <a:lnTo>
                    <a:pt x="1890" y="3806"/>
                  </a:lnTo>
                  <a:lnTo>
                    <a:pt x="1896" y="3810"/>
                  </a:lnTo>
                  <a:lnTo>
                    <a:pt x="1902" y="3817"/>
                  </a:lnTo>
                  <a:lnTo>
                    <a:pt x="1903" y="3824"/>
                  </a:lnTo>
                  <a:close/>
                  <a:moveTo>
                    <a:pt x="587" y="3118"/>
                  </a:moveTo>
                  <a:lnTo>
                    <a:pt x="587" y="3231"/>
                  </a:lnTo>
                  <a:lnTo>
                    <a:pt x="586" y="3240"/>
                  </a:lnTo>
                  <a:lnTo>
                    <a:pt x="581" y="3246"/>
                  </a:lnTo>
                  <a:lnTo>
                    <a:pt x="574" y="3250"/>
                  </a:lnTo>
                  <a:lnTo>
                    <a:pt x="567" y="3251"/>
                  </a:lnTo>
                  <a:lnTo>
                    <a:pt x="560" y="3250"/>
                  </a:lnTo>
                  <a:lnTo>
                    <a:pt x="554" y="3246"/>
                  </a:lnTo>
                  <a:lnTo>
                    <a:pt x="549" y="3240"/>
                  </a:lnTo>
                  <a:lnTo>
                    <a:pt x="548" y="3231"/>
                  </a:lnTo>
                  <a:lnTo>
                    <a:pt x="548" y="3118"/>
                  </a:lnTo>
                  <a:lnTo>
                    <a:pt x="549" y="3111"/>
                  </a:lnTo>
                  <a:lnTo>
                    <a:pt x="554" y="3104"/>
                  </a:lnTo>
                  <a:lnTo>
                    <a:pt x="560" y="3101"/>
                  </a:lnTo>
                  <a:lnTo>
                    <a:pt x="567" y="3099"/>
                  </a:lnTo>
                  <a:lnTo>
                    <a:pt x="574" y="3101"/>
                  </a:lnTo>
                  <a:lnTo>
                    <a:pt x="581" y="3104"/>
                  </a:lnTo>
                  <a:lnTo>
                    <a:pt x="586" y="3111"/>
                  </a:lnTo>
                  <a:lnTo>
                    <a:pt x="587" y="3118"/>
                  </a:lnTo>
                  <a:close/>
                  <a:moveTo>
                    <a:pt x="850" y="3118"/>
                  </a:moveTo>
                  <a:lnTo>
                    <a:pt x="850" y="3231"/>
                  </a:lnTo>
                  <a:lnTo>
                    <a:pt x="849" y="3240"/>
                  </a:lnTo>
                  <a:lnTo>
                    <a:pt x="844" y="3246"/>
                  </a:lnTo>
                  <a:lnTo>
                    <a:pt x="837" y="3250"/>
                  </a:lnTo>
                  <a:lnTo>
                    <a:pt x="831" y="3251"/>
                  </a:lnTo>
                  <a:lnTo>
                    <a:pt x="823" y="3250"/>
                  </a:lnTo>
                  <a:lnTo>
                    <a:pt x="817" y="3246"/>
                  </a:lnTo>
                  <a:lnTo>
                    <a:pt x="812" y="3240"/>
                  </a:lnTo>
                  <a:lnTo>
                    <a:pt x="810" y="3231"/>
                  </a:lnTo>
                  <a:lnTo>
                    <a:pt x="810" y="3118"/>
                  </a:lnTo>
                  <a:lnTo>
                    <a:pt x="812" y="3111"/>
                  </a:lnTo>
                  <a:lnTo>
                    <a:pt x="817" y="3104"/>
                  </a:lnTo>
                  <a:lnTo>
                    <a:pt x="823" y="3101"/>
                  </a:lnTo>
                  <a:lnTo>
                    <a:pt x="831" y="3099"/>
                  </a:lnTo>
                  <a:lnTo>
                    <a:pt x="837" y="3101"/>
                  </a:lnTo>
                  <a:lnTo>
                    <a:pt x="844" y="3104"/>
                  </a:lnTo>
                  <a:lnTo>
                    <a:pt x="849" y="3111"/>
                  </a:lnTo>
                  <a:lnTo>
                    <a:pt x="850" y="3118"/>
                  </a:lnTo>
                  <a:close/>
                  <a:moveTo>
                    <a:pt x="1113" y="3118"/>
                  </a:moveTo>
                  <a:lnTo>
                    <a:pt x="1113" y="3231"/>
                  </a:lnTo>
                  <a:lnTo>
                    <a:pt x="1112" y="3240"/>
                  </a:lnTo>
                  <a:lnTo>
                    <a:pt x="1107" y="3246"/>
                  </a:lnTo>
                  <a:lnTo>
                    <a:pt x="1100" y="3250"/>
                  </a:lnTo>
                  <a:lnTo>
                    <a:pt x="1094" y="3251"/>
                  </a:lnTo>
                  <a:lnTo>
                    <a:pt x="1086" y="3250"/>
                  </a:lnTo>
                  <a:lnTo>
                    <a:pt x="1080" y="3246"/>
                  </a:lnTo>
                  <a:lnTo>
                    <a:pt x="1076" y="3240"/>
                  </a:lnTo>
                  <a:lnTo>
                    <a:pt x="1073" y="3231"/>
                  </a:lnTo>
                  <a:lnTo>
                    <a:pt x="1073" y="3118"/>
                  </a:lnTo>
                  <a:lnTo>
                    <a:pt x="1076" y="3111"/>
                  </a:lnTo>
                  <a:lnTo>
                    <a:pt x="1080" y="3104"/>
                  </a:lnTo>
                  <a:lnTo>
                    <a:pt x="1086" y="3101"/>
                  </a:lnTo>
                  <a:lnTo>
                    <a:pt x="1094" y="3099"/>
                  </a:lnTo>
                  <a:lnTo>
                    <a:pt x="1100" y="3101"/>
                  </a:lnTo>
                  <a:lnTo>
                    <a:pt x="1107" y="3104"/>
                  </a:lnTo>
                  <a:lnTo>
                    <a:pt x="1112" y="3111"/>
                  </a:lnTo>
                  <a:lnTo>
                    <a:pt x="1113" y="3118"/>
                  </a:lnTo>
                  <a:close/>
                  <a:moveTo>
                    <a:pt x="1377" y="3118"/>
                  </a:moveTo>
                  <a:lnTo>
                    <a:pt x="1377" y="3231"/>
                  </a:lnTo>
                  <a:lnTo>
                    <a:pt x="1375" y="3240"/>
                  </a:lnTo>
                  <a:lnTo>
                    <a:pt x="1371" y="3246"/>
                  </a:lnTo>
                  <a:lnTo>
                    <a:pt x="1364" y="3250"/>
                  </a:lnTo>
                  <a:lnTo>
                    <a:pt x="1357" y="3251"/>
                  </a:lnTo>
                  <a:lnTo>
                    <a:pt x="1349" y="3250"/>
                  </a:lnTo>
                  <a:lnTo>
                    <a:pt x="1343" y="3246"/>
                  </a:lnTo>
                  <a:lnTo>
                    <a:pt x="1339" y="3240"/>
                  </a:lnTo>
                  <a:lnTo>
                    <a:pt x="1336" y="3231"/>
                  </a:lnTo>
                  <a:lnTo>
                    <a:pt x="1336" y="3118"/>
                  </a:lnTo>
                  <a:lnTo>
                    <a:pt x="1339" y="3111"/>
                  </a:lnTo>
                  <a:lnTo>
                    <a:pt x="1343" y="3104"/>
                  </a:lnTo>
                  <a:lnTo>
                    <a:pt x="1349" y="3101"/>
                  </a:lnTo>
                  <a:lnTo>
                    <a:pt x="1357" y="3099"/>
                  </a:lnTo>
                  <a:lnTo>
                    <a:pt x="1364" y="3101"/>
                  </a:lnTo>
                  <a:lnTo>
                    <a:pt x="1371" y="3104"/>
                  </a:lnTo>
                  <a:lnTo>
                    <a:pt x="1375" y="3111"/>
                  </a:lnTo>
                  <a:lnTo>
                    <a:pt x="1377" y="3118"/>
                  </a:lnTo>
                  <a:close/>
                  <a:moveTo>
                    <a:pt x="1640" y="3118"/>
                  </a:moveTo>
                  <a:lnTo>
                    <a:pt x="1640" y="3231"/>
                  </a:lnTo>
                  <a:lnTo>
                    <a:pt x="1637" y="3240"/>
                  </a:lnTo>
                  <a:lnTo>
                    <a:pt x="1634" y="3246"/>
                  </a:lnTo>
                  <a:lnTo>
                    <a:pt x="1627" y="3250"/>
                  </a:lnTo>
                  <a:lnTo>
                    <a:pt x="1620" y="3251"/>
                  </a:lnTo>
                  <a:lnTo>
                    <a:pt x="1612" y="3250"/>
                  </a:lnTo>
                  <a:lnTo>
                    <a:pt x="1605" y="3246"/>
                  </a:lnTo>
                  <a:lnTo>
                    <a:pt x="1602" y="3240"/>
                  </a:lnTo>
                  <a:lnTo>
                    <a:pt x="1600" y="3231"/>
                  </a:lnTo>
                  <a:lnTo>
                    <a:pt x="1600" y="3118"/>
                  </a:lnTo>
                  <a:lnTo>
                    <a:pt x="1602" y="3111"/>
                  </a:lnTo>
                  <a:lnTo>
                    <a:pt x="1605" y="3104"/>
                  </a:lnTo>
                  <a:lnTo>
                    <a:pt x="1612" y="3101"/>
                  </a:lnTo>
                  <a:lnTo>
                    <a:pt x="1620" y="3099"/>
                  </a:lnTo>
                  <a:lnTo>
                    <a:pt x="1627" y="3101"/>
                  </a:lnTo>
                  <a:lnTo>
                    <a:pt x="1634" y="3104"/>
                  </a:lnTo>
                  <a:lnTo>
                    <a:pt x="1637" y="3111"/>
                  </a:lnTo>
                  <a:lnTo>
                    <a:pt x="1640" y="3118"/>
                  </a:lnTo>
                  <a:close/>
                  <a:moveTo>
                    <a:pt x="1903" y="3118"/>
                  </a:moveTo>
                  <a:lnTo>
                    <a:pt x="1903" y="3231"/>
                  </a:lnTo>
                  <a:lnTo>
                    <a:pt x="1902" y="3240"/>
                  </a:lnTo>
                  <a:lnTo>
                    <a:pt x="1896" y="3246"/>
                  </a:lnTo>
                  <a:lnTo>
                    <a:pt x="1890" y="3250"/>
                  </a:lnTo>
                  <a:lnTo>
                    <a:pt x="1882" y="3251"/>
                  </a:lnTo>
                  <a:lnTo>
                    <a:pt x="1876" y="3250"/>
                  </a:lnTo>
                  <a:lnTo>
                    <a:pt x="1870" y="3246"/>
                  </a:lnTo>
                  <a:lnTo>
                    <a:pt x="1864" y="3240"/>
                  </a:lnTo>
                  <a:lnTo>
                    <a:pt x="1863" y="3231"/>
                  </a:lnTo>
                  <a:lnTo>
                    <a:pt x="1863" y="3118"/>
                  </a:lnTo>
                  <a:lnTo>
                    <a:pt x="1864" y="3111"/>
                  </a:lnTo>
                  <a:lnTo>
                    <a:pt x="1870" y="3104"/>
                  </a:lnTo>
                  <a:lnTo>
                    <a:pt x="1876" y="3101"/>
                  </a:lnTo>
                  <a:lnTo>
                    <a:pt x="1882" y="3099"/>
                  </a:lnTo>
                  <a:lnTo>
                    <a:pt x="1890" y="3101"/>
                  </a:lnTo>
                  <a:lnTo>
                    <a:pt x="1896" y="3104"/>
                  </a:lnTo>
                  <a:lnTo>
                    <a:pt x="1902" y="3111"/>
                  </a:lnTo>
                  <a:lnTo>
                    <a:pt x="1903" y="3118"/>
                  </a:lnTo>
                  <a:close/>
                  <a:moveTo>
                    <a:pt x="587" y="3354"/>
                  </a:moveTo>
                  <a:lnTo>
                    <a:pt x="587" y="3466"/>
                  </a:lnTo>
                  <a:lnTo>
                    <a:pt x="586" y="3475"/>
                  </a:lnTo>
                  <a:lnTo>
                    <a:pt x="581" y="3482"/>
                  </a:lnTo>
                  <a:lnTo>
                    <a:pt x="574" y="3485"/>
                  </a:lnTo>
                  <a:lnTo>
                    <a:pt x="567" y="3487"/>
                  </a:lnTo>
                  <a:lnTo>
                    <a:pt x="560" y="3485"/>
                  </a:lnTo>
                  <a:lnTo>
                    <a:pt x="554" y="3482"/>
                  </a:lnTo>
                  <a:lnTo>
                    <a:pt x="549" y="3475"/>
                  </a:lnTo>
                  <a:lnTo>
                    <a:pt x="548" y="3466"/>
                  </a:lnTo>
                  <a:lnTo>
                    <a:pt x="548" y="3354"/>
                  </a:lnTo>
                  <a:lnTo>
                    <a:pt x="549" y="3346"/>
                  </a:lnTo>
                  <a:lnTo>
                    <a:pt x="554" y="3340"/>
                  </a:lnTo>
                  <a:lnTo>
                    <a:pt x="560" y="3336"/>
                  </a:lnTo>
                  <a:lnTo>
                    <a:pt x="567" y="3335"/>
                  </a:lnTo>
                  <a:lnTo>
                    <a:pt x="574" y="3336"/>
                  </a:lnTo>
                  <a:lnTo>
                    <a:pt x="581" y="3340"/>
                  </a:lnTo>
                  <a:lnTo>
                    <a:pt x="586" y="3346"/>
                  </a:lnTo>
                  <a:lnTo>
                    <a:pt x="587" y="3354"/>
                  </a:lnTo>
                  <a:close/>
                  <a:moveTo>
                    <a:pt x="850" y="3354"/>
                  </a:moveTo>
                  <a:lnTo>
                    <a:pt x="850" y="3466"/>
                  </a:lnTo>
                  <a:lnTo>
                    <a:pt x="849" y="3475"/>
                  </a:lnTo>
                  <a:lnTo>
                    <a:pt x="844" y="3482"/>
                  </a:lnTo>
                  <a:lnTo>
                    <a:pt x="837" y="3485"/>
                  </a:lnTo>
                  <a:lnTo>
                    <a:pt x="831" y="3487"/>
                  </a:lnTo>
                  <a:lnTo>
                    <a:pt x="823" y="3485"/>
                  </a:lnTo>
                  <a:lnTo>
                    <a:pt x="817" y="3482"/>
                  </a:lnTo>
                  <a:lnTo>
                    <a:pt x="812" y="3475"/>
                  </a:lnTo>
                  <a:lnTo>
                    <a:pt x="810" y="3466"/>
                  </a:lnTo>
                  <a:lnTo>
                    <a:pt x="810" y="3354"/>
                  </a:lnTo>
                  <a:lnTo>
                    <a:pt x="812" y="3346"/>
                  </a:lnTo>
                  <a:lnTo>
                    <a:pt x="817" y="3340"/>
                  </a:lnTo>
                  <a:lnTo>
                    <a:pt x="823" y="3336"/>
                  </a:lnTo>
                  <a:lnTo>
                    <a:pt x="831" y="3335"/>
                  </a:lnTo>
                  <a:lnTo>
                    <a:pt x="837" y="3336"/>
                  </a:lnTo>
                  <a:lnTo>
                    <a:pt x="844" y="3340"/>
                  </a:lnTo>
                  <a:lnTo>
                    <a:pt x="849" y="3346"/>
                  </a:lnTo>
                  <a:lnTo>
                    <a:pt x="850" y="3354"/>
                  </a:lnTo>
                  <a:close/>
                  <a:moveTo>
                    <a:pt x="1113" y="3354"/>
                  </a:moveTo>
                  <a:lnTo>
                    <a:pt x="1113" y="3466"/>
                  </a:lnTo>
                  <a:lnTo>
                    <a:pt x="1112" y="3475"/>
                  </a:lnTo>
                  <a:lnTo>
                    <a:pt x="1107" y="3482"/>
                  </a:lnTo>
                  <a:lnTo>
                    <a:pt x="1100" y="3485"/>
                  </a:lnTo>
                  <a:lnTo>
                    <a:pt x="1094" y="3487"/>
                  </a:lnTo>
                  <a:lnTo>
                    <a:pt x="1086" y="3485"/>
                  </a:lnTo>
                  <a:lnTo>
                    <a:pt x="1080" y="3482"/>
                  </a:lnTo>
                  <a:lnTo>
                    <a:pt x="1076" y="3475"/>
                  </a:lnTo>
                  <a:lnTo>
                    <a:pt x="1073" y="3466"/>
                  </a:lnTo>
                  <a:lnTo>
                    <a:pt x="1073" y="3354"/>
                  </a:lnTo>
                  <a:lnTo>
                    <a:pt x="1076" y="3346"/>
                  </a:lnTo>
                  <a:lnTo>
                    <a:pt x="1080" y="3340"/>
                  </a:lnTo>
                  <a:lnTo>
                    <a:pt x="1086" y="3336"/>
                  </a:lnTo>
                  <a:lnTo>
                    <a:pt x="1094" y="3335"/>
                  </a:lnTo>
                  <a:lnTo>
                    <a:pt x="1100" y="3336"/>
                  </a:lnTo>
                  <a:lnTo>
                    <a:pt x="1107" y="3340"/>
                  </a:lnTo>
                  <a:lnTo>
                    <a:pt x="1112" y="3346"/>
                  </a:lnTo>
                  <a:lnTo>
                    <a:pt x="1113" y="3354"/>
                  </a:lnTo>
                  <a:close/>
                  <a:moveTo>
                    <a:pt x="1377" y="3354"/>
                  </a:moveTo>
                  <a:lnTo>
                    <a:pt x="1377" y="3466"/>
                  </a:lnTo>
                  <a:lnTo>
                    <a:pt x="1375" y="3475"/>
                  </a:lnTo>
                  <a:lnTo>
                    <a:pt x="1371" y="3482"/>
                  </a:lnTo>
                  <a:lnTo>
                    <a:pt x="1364" y="3485"/>
                  </a:lnTo>
                  <a:lnTo>
                    <a:pt x="1357" y="3487"/>
                  </a:lnTo>
                  <a:lnTo>
                    <a:pt x="1349" y="3485"/>
                  </a:lnTo>
                  <a:lnTo>
                    <a:pt x="1343" y="3482"/>
                  </a:lnTo>
                  <a:lnTo>
                    <a:pt x="1339" y="3475"/>
                  </a:lnTo>
                  <a:lnTo>
                    <a:pt x="1336" y="3466"/>
                  </a:lnTo>
                  <a:lnTo>
                    <a:pt x="1336" y="3354"/>
                  </a:lnTo>
                  <a:lnTo>
                    <a:pt x="1339" y="3346"/>
                  </a:lnTo>
                  <a:lnTo>
                    <a:pt x="1343" y="3340"/>
                  </a:lnTo>
                  <a:lnTo>
                    <a:pt x="1349" y="3336"/>
                  </a:lnTo>
                  <a:lnTo>
                    <a:pt x="1357" y="3335"/>
                  </a:lnTo>
                  <a:lnTo>
                    <a:pt x="1364" y="3336"/>
                  </a:lnTo>
                  <a:lnTo>
                    <a:pt x="1371" y="3340"/>
                  </a:lnTo>
                  <a:lnTo>
                    <a:pt x="1375" y="3346"/>
                  </a:lnTo>
                  <a:lnTo>
                    <a:pt x="1377" y="3354"/>
                  </a:lnTo>
                  <a:close/>
                  <a:moveTo>
                    <a:pt x="1640" y="3354"/>
                  </a:moveTo>
                  <a:lnTo>
                    <a:pt x="1640" y="3466"/>
                  </a:lnTo>
                  <a:lnTo>
                    <a:pt x="1637" y="3475"/>
                  </a:lnTo>
                  <a:lnTo>
                    <a:pt x="1634" y="3482"/>
                  </a:lnTo>
                  <a:lnTo>
                    <a:pt x="1627" y="3485"/>
                  </a:lnTo>
                  <a:lnTo>
                    <a:pt x="1620" y="3487"/>
                  </a:lnTo>
                  <a:lnTo>
                    <a:pt x="1612" y="3485"/>
                  </a:lnTo>
                  <a:lnTo>
                    <a:pt x="1605" y="3482"/>
                  </a:lnTo>
                  <a:lnTo>
                    <a:pt x="1602" y="3475"/>
                  </a:lnTo>
                  <a:lnTo>
                    <a:pt x="1600" y="3466"/>
                  </a:lnTo>
                  <a:lnTo>
                    <a:pt x="1600" y="3354"/>
                  </a:lnTo>
                  <a:lnTo>
                    <a:pt x="1602" y="3346"/>
                  </a:lnTo>
                  <a:lnTo>
                    <a:pt x="1605" y="3340"/>
                  </a:lnTo>
                  <a:lnTo>
                    <a:pt x="1612" y="3336"/>
                  </a:lnTo>
                  <a:lnTo>
                    <a:pt x="1620" y="3335"/>
                  </a:lnTo>
                  <a:lnTo>
                    <a:pt x="1627" y="3336"/>
                  </a:lnTo>
                  <a:lnTo>
                    <a:pt x="1634" y="3340"/>
                  </a:lnTo>
                  <a:lnTo>
                    <a:pt x="1637" y="3346"/>
                  </a:lnTo>
                  <a:lnTo>
                    <a:pt x="1640" y="3354"/>
                  </a:lnTo>
                  <a:close/>
                  <a:moveTo>
                    <a:pt x="1903" y="3354"/>
                  </a:moveTo>
                  <a:lnTo>
                    <a:pt x="1903" y="3466"/>
                  </a:lnTo>
                  <a:lnTo>
                    <a:pt x="1902" y="3475"/>
                  </a:lnTo>
                  <a:lnTo>
                    <a:pt x="1896" y="3482"/>
                  </a:lnTo>
                  <a:lnTo>
                    <a:pt x="1890" y="3485"/>
                  </a:lnTo>
                  <a:lnTo>
                    <a:pt x="1882" y="3487"/>
                  </a:lnTo>
                  <a:lnTo>
                    <a:pt x="1876" y="3485"/>
                  </a:lnTo>
                  <a:lnTo>
                    <a:pt x="1870" y="3482"/>
                  </a:lnTo>
                  <a:lnTo>
                    <a:pt x="1864" y="3475"/>
                  </a:lnTo>
                  <a:lnTo>
                    <a:pt x="1863" y="3466"/>
                  </a:lnTo>
                  <a:lnTo>
                    <a:pt x="1863" y="3354"/>
                  </a:lnTo>
                  <a:lnTo>
                    <a:pt x="1864" y="3346"/>
                  </a:lnTo>
                  <a:lnTo>
                    <a:pt x="1870" y="3340"/>
                  </a:lnTo>
                  <a:lnTo>
                    <a:pt x="1876" y="3336"/>
                  </a:lnTo>
                  <a:lnTo>
                    <a:pt x="1882" y="3335"/>
                  </a:lnTo>
                  <a:lnTo>
                    <a:pt x="1890" y="3336"/>
                  </a:lnTo>
                  <a:lnTo>
                    <a:pt x="1896" y="3340"/>
                  </a:lnTo>
                  <a:lnTo>
                    <a:pt x="1902" y="3346"/>
                  </a:lnTo>
                  <a:lnTo>
                    <a:pt x="1903" y="3354"/>
                  </a:lnTo>
                  <a:close/>
                  <a:moveTo>
                    <a:pt x="587" y="3589"/>
                  </a:moveTo>
                  <a:lnTo>
                    <a:pt x="587" y="3702"/>
                  </a:lnTo>
                  <a:lnTo>
                    <a:pt x="586" y="3710"/>
                  </a:lnTo>
                  <a:lnTo>
                    <a:pt x="581" y="3717"/>
                  </a:lnTo>
                  <a:lnTo>
                    <a:pt x="574" y="3721"/>
                  </a:lnTo>
                  <a:lnTo>
                    <a:pt x="567" y="3722"/>
                  </a:lnTo>
                  <a:lnTo>
                    <a:pt x="560" y="3721"/>
                  </a:lnTo>
                  <a:lnTo>
                    <a:pt x="554" y="3717"/>
                  </a:lnTo>
                  <a:lnTo>
                    <a:pt x="549" y="3710"/>
                  </a:lnTo>
                  <a:lnTo>
                    <a:pt x="548" y="3702"/>
                  </a:lnTo>
                  <a:lnTo>
                    <a:pt x="548" y="3589"/>
                  </a:lnTo>
                  <a:lnTo>
                    <a:pt x="549" y="3581"/>
                  </a:lnTo>
                  <a:lnTo>
                    <a:pt x="554" y="3575"/>
                  </a:lnTo>
                  <a:lnTo>
                    <a:pt x="560" y="3571"/>
                  </a:lnTo>
                  <a:lnTo>
                    <a:pt x="567" y="3570"/>
                  </a:lnTo>
                  <a:lnTo>
                    <a:pt x="574" y="3571"/>
                  </a:lnTo>
                  <a:lnTo>
                    <a:pt x="581" y="3575"/>
                  </a:lnTo>
                  <a:lnTo>
                    <a:pt x="586" y="3581"/>
                  </a:lnTo>
                  <a:lnTo>
                    <a:pt x="587" y="3589"/>
                  </a:lnTo>
                  <a:close/>
                  <a:moveTo>
                    <a:pt x="850" y="3589"/>
                  </a:moveTo>
                  <a:lnTo>
                    <a:pt x="850" y="3702"/>
                  </a:lnTo>
                  <a:lnTo>
                    <a:pt x="849" y="3710"/>
                  </a:lnTo>
                  <a:lnTo>
                    <a:pt x="844" y="3717"/>
                  </a:lnTo>
                  <a:lnTo>
                    <a:pt x="837" y="3721"/>
                  </a:lnTo>
                  <a:lnTo>
                    <a:pt x="831" y="3722"/>
                  </a:lnTo>
                  <a:lnTo>
                    <a:pt x="823" y="3721"/>
                  </a:lnTo>
                  <a:lnTo>
                    <a:pt x="817" y="3717"/>
                  </a:lnTo>
                  <a:lnTo>
                    <a:pt x="812" y="3710"/>
                  </a:lnTo>
                  <a:lnTo>
                    <a:pt x="810" y="3702"/>
                  </a:lnTo>
                  <a:lnTo>
                    <a:pt x="810" y="3589"/>
                  </a:lnTo>
                  <a:lnTo>
                    <a:pt x="812" y="3581"/>
                  </a:lnTo>
                  <a:lnTo>
                    <a:pt x="817" y="3575"/>
                  </a:lnTo>
                  <a:lnTo>
                    <a:pt x="823" y="3571"/>
                  </a:lnTo>
                  <a:lnTo>
                    <a:pt x="831" y="3570"/>
                  </a:lnTo>
                  <a:lnTo>
                    <a:pt x="837" y="3571"/>
                  </a:lnTo>
                  <a:lnTo>
                    <a:pt x="844" y="3575"/>
                  </a:lnTo>
                  <a:lnTo>
                    <a:pt x="849" y="3581"/>
                  </a:lnTo>
                  <a:lnTo>
                    <a:pt x="850" y="3589"/>
                  </a:lnTo>
                  <a:close/>
                  <a:moveTo>
                    <a:pt x="1113" y="3589"/>
                  </a:moveTo>
                  <a:lnTo>
                    <a:pt x="1113" y="3702"/>
                  </a:lnTo>
                  <a:lnTo>
                    <a:pt x="1112" y="3710"/>
                  </a:lnTo>
                  <a:lnTo>
                    <a:pt x="1107" y="3717"/>
                  </a:lnTo>
                  <a:lnTo>
                    <a:pt x="1100" y="3721"/>
                  </a:lnTo>
                  <a:lnTo>
                    <a:pt x="1094" y="3722"/>
                  </a:lnTo>
                  <a:lnTo>
                    <a:pt x="1086" y="3721"/>
                  </a:lnTo>
                  <a:lnTo>
                    <a:pt x="1080" y="3717"/>
                  </a:lnTo>
                  <a:lnTo>
                    <a:pt x="1076" y="3710"/>
                  </a:lnTo>
                  <a:lnTo>
                    <a:pt x="1073" y="3702"/>
                  </a:lnTo>
                  <a:lnTo>
                    <a:pt x="1073" y="3589"/>
                  </a:lnTo>
                  <a:lnTo>
                    <a:pt x="1076" y="3581"/>
                  </a:lnTo>
                  <a:lnTo>
                    <a:pt x="1080" y="3575"/>
                  </a:lnTo>
                  <a:lnTo>
                    <a:pt x="1086" y="3571"/>
                  </a:lnTo>
                  <a:lnTo>
                    <a:pt x="1094" y="3570"/>
                  </a:lnTo>
                  <a:lnTo>
                    <a:pt x="1100" y="3571"/>
                  </a:lnTo>
                  <a:lnTo>
                    <a:pt x="1107" y="3575"/>
                  </a:lnTo>
                  <a:lnTo>
                    <a:pt x="1112" y="3581"/>
                  </a:lnTo>
                  <a:lnTo>
                    <a:pt x="1113" y="3589"/>
                  </a:lnTo>
                  <a:close/>
                  <a:moveTo>
                    <a:pt x="1377" y="3589"/>
                  </a:moveTo>
                  <a:lnTo>
                    <a:pt x="1377" y="3702"/>
                  </a:lnTo>
                  <a:lnTo>
                    <a:pt x="1375" y="3710"/>
                  </a:lnTo>
                  <a:lnTo>
                    <a:pt x="1371" y="3717"/>
                  </a:lnTo>
                  <a:lnTo>
                    <a:pt x="1364" y="3721"/>
                  </a:lnTo>
                  <a:lnTo>
                    <a:pt x="1357" y="3722"/>
                  </a:lnTo>
                  <a:lnTo>
                    <a:pt x="1349" y="3721"/>
                  </a:lnTo>
                  <a:lnTo>
                    <a:pt x="1343" y="3717"/>
                  </a:lnTo>
                  <a:lnTo>
                    <a:pt x="1339" y="3710"/>
                  </a:lnTo>
                  <a:lnTo>
                    <a:pt x="1336" y="3702"/>
                  </a:lnTo>
                  <a:lnTo>
                    <a:pt x="1336" y="3589"/>
                  </a:lnTo>
                  <a:lnTo>
                    <a:pt x="1339" y="3581"/>
                  </a:lnTo>
                  <a:lnTo>
                    <a:pt x="1343" y="3575"/>
                  </a:lnTo>
                  <a:lnTo>
                    <a:pt x="1349" y="3571"/>
                  </a:lnTo>
                  <a:lnTo>
                    <a:pt x="1357" y="3570"/>
                  </a:lnTo>
                  <a:lnTo>
                    <a:pt x="1364" y="3571"/>
                  </a:lnTo>
                  <a:lnTo>
                    <a:pt x="1371" y="3575"/>
                  </a:lnTo>
                  <a:lnTo>
                    <a:pt x="1375" y="3581"/>
                  </a:lnTo>
                  <a:lnTo>
                    <a:pt x="1377" y="3589"/>
                  </a:lnTo>
                  <a:close/>
                  <a:moveTo>
                    <a:pt x="1640" y="3589"/>
                  </a:moveTo>
                  <a:lnTo>
                    <a:pt x="1640" y="3702"/>
                  </a:lnTo>
                  <a:lnTo>
                    <a:pt x="1637" y="3710"/>
                  </a:lnTo>
                  <a:lnTo>
                    <a:pt x="1634" y="3717"/>
                  </a:lnTo>
                  <a:lnTo>
                    <a:pt x="1627" y="3721"/>
                  </a:lnTo>
                  <a:lnTo>
                    <a:pt x="1620" y="3722"/>
                  </a:lnTo>
                  <a:lnTo>
                    <a:pt x="1612" y="3721"/>
                  </a:lnTo>
                  <a:lnTo>
                    <a:pt x="1605" y="3717"/>
                  </a:lnTo>
                  <a:lnTo>
                    <a:pt x="1602" y="3710"/>
                  </a:lnTo>
                  <a:lnTo>
                    <a:pt x="1600" y="3702"/>
                  </a:lnTo>
                  <a:lnTo>
                    <a:pt x="1600" y="3589"/>
                  </a:lnTo>
                  <a:lnTo>
                    <a:pt x="1602" y="3581"/>
                  </a:lnTo>
                  <a:lnTo>
                    <a:pt x="1605" y="3575"/>
                  </a:lnTo>
                  <a:lnTo>
                    <a:pt x="1612" y="3571"/>
                  </a:lnTo>
                  <a:lnTo>
                    <a:pt x="1620" y="3570"/>
                  </a:lnTo>
                  <a:lnTo>
                    <a:pt x="1627" y="3571"/>
                  </a:lnTo>
                  <a:lnTo>
                    <a:pt x="1634" y="3575"/>
                  </a:lnTo>
                  <a:lnTo>
                    <a:pt x="1637" y="3581"/>
                  </a:lnTo>
                  <a:lnTo>
                    <a:pt x="1640" y="3589"/>
                  </a:lnTo>
                  <a:close/>
                  <a:moveTo>
                    <a:pt x="1903" y="3589"/>
                  </a:moveTo>
                  <a:lnTo>
                    <a:pt x="1903" y="3702"/>
                  </a:lnTo>
                  <a:lnTo>
                    <a:pt x="1902" y="3710"/>
                  </a:lnTo>
                  <a:lnTo>
                    <a:pt x="1896" y="3717"/>
                  </a:lnTo>
                  <a:lnTo>
                    <a:pt x="1890" y="3721"/>
                  </a:lnTo>
                  <a:lnTo>
                    <a:pt x="1882" y="3722"/>
                  </a:lnTo>
                  <a:lnTo>
                    <a:pt x="1876" y="3721"/>
                  </a:lnTo>
                  <a:lnTo>
                    <a:pt x="1870" y="3717"/>
                  </a:lnTo>
                  <a:lnTo>
                    <a:pt x="1864" y="3710"/>
                  </a:lnTo>
                  <a:lnTo>
                    <a:pt x="1863" y="3702"/>
                  </a:lnTo>
                  <a:lnTo>
                    <a:pt x="1863" y="3589"/>
                  </a:lnTo>
                  <a:lnTo>
                    <a:pt x="1864" y="3581"/>
                  </a:lnTo>
                  <a:lnTo>
                    <a:pt x="1870" y="3575"/>
                  </a:lnTo>
                  <a:lnTo>
                    <a:pt x="1876" y="3571"/>
                  </a:lnTo>
                  <a:lnTo>
                    <a:pt x="1882" y="3570"/>
                  </a:lnTo>
                  <a:lnTo>
                    <a:pt x="1890" y="3571"/>
                  </a:lnTo>
                  <a:lnTo>
                    <a:pt x="1896" y="3575"/>
                  </a:lnTo>
                  <a:lnTo>
                    <a:pt x="1902" y="3581"/>
                  </a:lnTo>
                  <a:lnTo>
                    <a:pt x="1903" y="3589"/>
                  </a:lnTo>
                  <a:close/>
                  <a:moveTo>
                    <a:pt x="587" y="3824"/>
                  </a:moveTo>
                  <a:lnTo>
                    <a:pt x="587" y="3937"/>
                  </a:lnTo>
                  <a:lnTo>
                    <a:pt x="586" y="3946"/>
                  </a:lnTo>
                  <a:lnTo>
                    <a:pt x="581" y="3952"/>
                  </a:lnTo>
                  <a:lnTo>
                    <a:pt x="574" y="3956"/>
                  </a:lnTo>
                  <a:lnTo>
                    <a:pt x="567" y="3957"/>
                  </a:lnTo>
                  <a:lnTo>
                    <a:pt x="560" y="3956"/>
                  </a:lnTo>
                  <a:lnTo>
                    <a:pt x="554" y="3952"/>
                  </a:lnTo>
                  <a:lnTo>
                    <a:pt x="549" y="3946"/>
                  </a:lnTo>
                  <a:lnTo>
                    <a:pt x="548" y="3937"/>
                  </a:lnTo>
                  <a:lnTo>
                    <a:pt x="548" y="3824"/>
                  </a:lnTo>
                  <a:lnTo>
                    <a:pt x="549" y="3817"/>
                  </a:lnTo>
                  <a:lnTo>
                    <a:pt x="554" y="3810"/>
                  </a:lnTo>
                  <a:lnTo>
                    <a:pt x="560" y="3806"/>
                  </a:lnTo>
                  <a:lnTo>
                    <a:pt x="567" y="3805"/>
                  </a:lnTo>
                  <a:lnTo>
                    <a:pt x="574" y="3806"/>
                  </a:lnTo>
                  <a:lnTo>
                    <a:pt x="581" y="3810"/>
                  </a:lnTo>
                  <a:lnTo>
                    <a:pt x="586" y="3817"/>
                  </a:lnTo>
                  <a:lnTo>
                    <a:pt x="587" y="3824"/>
                  </a:lnTo>
                  <a:close/>
                  <a:moveTo>
                    <a:pt x="850" y="3824"/>
                  </a:moveTo>
                  <a:lnTo>
                    <a:pt x="850" y="3937"/>
                  </a:lnTo>
                  <a:lnTo>
                    <a:pt x="849" y="3946"/>
                  </a:lnTo>
                  <a:lnTo>
                    <a:pt x="844" y="3952"/>
                  </a:lnTo>
                  <a:lnTo>
                    <a:pt x="837" y="3956"/>
                  </a:lnTo>
                  <a:lnTo>
                    <a:pt x="831" y="3957"/>
                  </a:lnTo>
                  <a:lnTo>
                    <a:pt x="823" y="3956"/>
                  </a:lnTo>
                  <a:lnTo>
                    <a:pt x="817" y="3952"/>
                  </a:lnTo>
                  <a:lnTo>
                    <a:pt x="812" y="3946"/>
                  </a:lnTo>
                  <a:lnTo>
                    <a:pt x="810" y="3937"/>
                  </a:lnTo>
                  <a:lnTo>
                    <a:pt x="810" y="3824"/>
                  </a:lnTo>
                  <a:lnTo>
                    <a:pt x="812" y="3817"/>
                  </a:lnTo>
                  <a:lnTo>
                    <a:pt x="817" y="3810"/>
                  </a:lnTo>
                  <a:lnTo>
                    <a:pt x="823" y="3806"/>
                  </a:lnTo>
                  <a:lnTo>
                    <a:pt x="831" y="3805"/>
                  </a:lnTo>
                  <a:lnTo>
                    <a:pt x="837" y="3806"/>
                  </a:lnTo>
                  <a:lnTo>
                    <a:pt x="844" y="3810"/>
                  </a:lnTo>
                  <a:lnTo>
                    <a:pt x="849" y="3817"/>
                  </a:lnTo>
                  <a:lnTo>
                    <a:pt x="850" y="3824"/>
                  </a:lnTo>
                  <a:close/>
                  <a:moveTo>
                    <a:pt x="1113" y="3824"/>
                  </a:moveTo>
                  <a:lnTo>
                    <a:pt x="1113" y="3937"/>
                  </a:lnTo>
                  <a:lnTo>
                    <a:pt x="1112" y="3946"/>
                  </a:lnTo>
                  <a:lnTo>
                    <a:pt x="1107" y="3952"/>
                  </a:lnTo>
                  <a:lnTo>
                    <a:pt x="1100" y="3956"/>
                  </a:lnTo>
                  <a:lnTo>
                    <a:pt x="1094" y="3957"/>
                  </a:lnTo>
                  <a:lnTo>
                    <a:pt x="1086" y="3956"/>
                  </a:lnTo>
                  <a:lnTo>
                    <a:pt x="1080" y="3952"/>
                  </a:lnTo>
                  <a:lnTo>
                    <a:pt x="1076" y="3946"/>
                  </a:lnTo>
                  <a:lnTo>
                    <a:pt x="1073" y="3937"/>
                  </a:lnTo>
                  <a:lnTo>
                    <a:pt x="1073" y="3824"/>
                  </a:lnTo>
                  <a:lnTo>
                    <a:pt x="1076" y="3817"/>
                  </a:lnTo>
                  <a:lnTo>
                    <a:pt x="1080" y="3810"/>
                  </a:lnTo>
                  <a:lnTo>
                    <a:pt x="1086" y="3806"/>
                  </a:lnTo>
                  <a:lnTo>
                    <a:pt x="1094" y="3805"/>
                  </a:lnTo>
                  <a:lnTo>
                    <a:pt x="1100" y="3806"/>
                  </a:lnTo>
                  <a:lnTo>
                    <a:pt x="1107" y="3810"/>
                  </a:lnTo>
                  <a:lnTo>
                    <a:pt x="1112" y="3817"/>
                  </a:lnTo>
                  <a:lnTo>
                    <a:pt x="1113" y="3824"/>
                  </a:lnTo>
                  <a:close/>
                  <a:moveTo>
                    <a:pt x="1377" y="3824"/>
                  </a:moveTo>
                  <a:lnTo>
                    <a:pt x="1377" y="3937"/>
                  </a:lnTo>
                  <a:lnTo>
                    <a:pt x="1375" y="3946"/>
                  </a:lnTo>
                  <a:lnTo>
                    <a:pt x="1371" y="3952"/>
                  </a:lnTo>
                  <a:lnTo>
                    <a:pt x="1364" y="3956"/>
                  </a:lnTo>
                  <a:lnTo>
                    <a:pt x="1357" y="3957"/>
                  </a:lnTo>
                  <a:lnTo>
                    <a:pt x="1349" y="3956"/>
                  </a:lnTo>
                  <a:lnTo>
                    <a:pt x="1343" y="3952"/>
                  </a:lnTo>
                  <a:lnTo>
                    <a:pt x="1339" y="3946"/>
                  </a:lnTo>
                  <a:lnTo>
                    <a:pt x="1336" y="3937"/>
                  </a:lnTo>
                  <a:lnTo>
                    <a:pt x="1336" y="3824"/>
                  </a:lnTo>
                  <a:lnTo>
                    <a:pt x="1339" y="3817"/>
                  </a:lnTo>
                  <a:lnTo>
                    <a:pt x="1343" y="3810"/>
                  </a:lnTo>
                  <a:lnTo>
                    <a:pt x="1349" y="3806"/>
                  </a:lnTo>
                  <a:lnTo>
                    <a:pt x="1357" y="3805"/>
                  </a:lnTo>
                  <a:lnTo>
                    <a:pt x="1364" y="3806"/>
                  </a:lnTo>
                  <a:lnTo>
                    <a:pt x="1371" y="3810"/>
                  </a:lnTo>
                  <a:lnTo>
                    <a:pt x="1375" y="3817"/>
                  </a:lnTo>
                  <a:lnTo>
                    <a:pt x="1377" y="3824"/>
                  </a:lnTo>
                  <a:close/>
                  <a:moveTo>
                    <a:pt x="1640" y="3824"/>
                  </a:moveTo>
                  <a:lnTo>
                    <a:pt x="1640" y="3937"/>
                  </a:lnTo>
                  <a:lnTo>
                    <a:pt x="1637" y="3946"/>
                  </a:lnTo>
                  <a:lnTo>
                    <a:pt x="1634" y="3952"/>
                  </a:lnTo>
                  <a:lnTo>
                    <a:pt x="1627" y="3956"/>
                  </a:lnTo>
                  <a:lnTo>
                    <a:pt x="1620" y="3957"/>
                  </a:lnTo>
                  <a:lnTo>
                    <a:pt x="1612" y="3956"/>
                  </a:lnTo>
                  <a:lnTo>
                    <a:pt x="1605" y="3952"/>
                  </a:lnTo>
                  <a:lnTo>
                    <a:pt x="1602" y="3946"/>
                  </a:lnTo>
                  <a:lnTo>
                    <a:pt x="1600" y="3937"/>
                  </a:lnTo>
                  <a:lnTo>
                    <a:pt x="1600" y="3824"/>
                  </a:lnTo>
                  <a:lnTo>
                    <a:pt x="1602" y="3817"/>
                  </a:lnTo>
                  <a:lnTo>
                    <a:pt x="1605" y="3810"/>
                  </a:lnTo>
                  <a:lnTo>
                    <a:pt x="1612" y="3806"/>
                  </a:lnTo>
                  <a:lnTo>
                    <a:pt x="1620" y="3805"/>
                  </a:lnTo>
                  <a:lnTo>
                    <a:pt x="1627" y="3806"/>
                  </a:lnTo>
                  <a:lnTo>
                    <a:pt x="1634" y="3810"/>
                  </a:lnTo>
                  <a:lnTo>
                    <a:pt x="1637" y="3817"/>
                  </a:lnTo>
                  <a:lnTo>
                    <a:pt x="1640" y="3824"/>
                  </a:lnTo>
                  <a:close/>
                  <a:moveTo>
                    <a:pt x="2829" y="4093"/>
                  </a:moveTo>
                  <a:lnTo>
                    <a:pt x="2829" y="4085"/>
                  </a:lnTo>
                  <a:lnTo>
                    <a:pt x="2829" y="4093"/>
                  </a:lnTo>
                  <a:close/>
                  <a:moveTo>
                    <a:pt x="0" y="915"/>
                  </a:moveTo>
                  <a:lnTo>
                    <a:pt x="492" y="915"/>
                  </a:lnTo>
                  <a:lnTo>
                    <a:pt x="500" y="917"/>
                  </a:lnTo>
                  <a:lnTo>
                    <a:pt x="507" y="922"/>
                  </a:lnTo>
                  <a:lnTo>
                    <a:pt x="512" y="928"/>
                  </a:lnTo>
                  <a:lnTo>
                    <a:pt x="513" y="936"/>
                  </a:lnTo>
                  <a:lnTo>
                    <a:pt x="513" y="1633"/>
                  </a:lnTo>
                  <a:lnTo>
                    <a:pt x="513" y="2329"/>
                  </a:lnTo>
                  <a:lnTo>
                    <a:pt x="512" y="2338"/>
                  </a:lnTo>
                  <a:lnTo>
                    <a:pt x="507" y="2345"/>
                  </a:lnTo>
                  <a:lnTo>
                    <a:pt x="500" y="2349"/>
                  </a:lnTo>
                  <a:lnTo>
                    <a:pt x="492" y="2350"/>
                  </a:lnTo>
                  <a:lnTo>
                    <a:pt x="486" y="2349"/>
                  </a:lnTo>
                  <a:lnTo>
                    <a:pt x="480" y="2345"/>
                  </a:lnTo>
                  <a:lnTo>
                    <a:pt x="474" y="2338"/>
                  </a:lnTo>
                  <a:lnTo>
                    <a:pt x="473" y="2329"/>
                  </a:lnTo>
                  <a:lnTo>
                    <a:pt x="473" y="1642"/>
                  </a:lnTo>
                  <a:lnTo>
                    <a:pt x="473" y="955"/>
                  </a:lnTo>
                  <a:lnTo>
                    <a:pt x="0" y="955"/>
                  </a:lnTo>
                  <a:lnTo>
                    <a:pt x="0" y="915"/>
                  </a:lnTo>
                  <a:close/>
                  <a:moveTo>
                    <a:pt x="190" y="1345"/>
                  </a:moveTo>
                  <a:lnTo>
                    <a:pt x="190" y="1450"/>
                  </a:lnTo>
                  <a:lnTo>
                    <a:pt x="188" y="1457"/>
                  </a:lnTo>
                  <a:lnTo>
                    <a:pt x="183" y="1464"/>
                  </a:lnTo>
                  <a:lnTo>
                    <a:pt x="177" y="1468"/>
                  </a:lnTo>
                  <a:lnTo>
                    <a:pt x="171" y="1469"/>
                  </a:lnTo>
                  <a:lnTo>
                    <a:pt x="163" y="1468"/>
                  </a:lnTo>
                  <a:lnTo>
                    <a:pt x="156" y="1464"/>
                  </a:lnTo>
                  <a:lnTo>
                    <a:pt x="151" y="1457"/>
                  </a:lnTo>
                  <a:lnTo>
                    <a:pt x="150" y="1450"/>
                  </a:lnTo>
                  <a:lnTo>
                    <a:pt x="150" y="1345"/>
                  </a:lnTo>
                  <a:lnTo>
                    <a:pt x="151" y="1337"/>
                  </a:lnTo>
                  <a:lnTo>
                    <a:pt x="156" y="1331"/>
                  </a:lnTo>
                  <a:lnTo>
                    <a:pt x="163" y="1327"/>
                  </a:lnTo>
                  <a:lnTo>
                    <a:pt x="171" y="1326"/>
                  </a:lnTo>
                  <a:lnTo>
                    <a:pt x="177" y="1327"/>
                  </a:lnTo>
                  <a:lnTo>
                    <a:pt x="183" y="1331"/>
                  </a:lnTo>
                  <a:lnTo>
                    <a:pt x="188" y="1337"/>
                  </a:lnTo>
                  <a:lnTo>
                    <a:pt x="190" y="1345"/>
                  </a:lnTo>
                  <a:close/>
                  <a:moveTo>
                    <a:pt x="190" y="1576"/>
                  </a:moveTo>
                  <a:lnTo>
                    <a:pt x="190" y="1680"/>
                  </a:lnTo>
                  <a:lnTo>
                    <a:pt x="188" y="1689"/>
                  </a:lnTo>
                  <a:lnTo>
                    <a:pt x="183" y="1695"/>
                  </a:lnTo>
                  <a:lnTo>
                    <a:pt x="177" y="1699"/>
                  </a:lnTo>
                  <a:lnTo>
                    <a:pt x="171" y="1700"/>
                  </a:lnTo>
                  <a:lnTo>
                    <a:pt x="163" y="1699"/>
                  </a:lnTo>
                  <a:lnTo>
                    <a:pt x="156" y="1695"/>
                  </a:lnTo>
                  <a:lnTo>
                    <a:pt x="151" y="1689"/>
                  </a:lnTo>
                  <a:lnTo>
                    <a:pt x="150" y="1680"/>
                  </a:lnTo>
                  <a:lnTo>
                    <a:pt x="150" y="1576"/>
                  </a:lnTo>
                  <a:lnTo>
                    <a:pt x="151" y="1567"/>
                  </a:lnTo>
                  <a:lnTo>
                    <a:pt x="156" y="1561"/>
                  </a:lnTo>
                  <a:lnTo>
                    <a:pt x="163" y="1558"/>
                  </a:lnTo>
                  <a:lnTo>
                    <a:pt x="171" y="1557"/>
                  </a:lnTo>
                  <a:lnTo>
                    <a:pt x="177" y="1558"/>
                  </a:lnTo>
                  <a:lnTo>
                    <a:pt x="183" y="1561"/>
                  </a:lnTo>
                  <a:lnTo>
                    <a:pt x="188" y="1567"/>
                  </a:lnTo>
                  <a:lnTo>
                    <a:pt x="190" y="1576"/>
                  </a:lnTo>
                  <a:close/>
                  <a:moveTo>
                    <a:pt x="190" y="1808"/>
                  </a:moveTo>
                  <a:lnTo>
                    <a:pt x="190" y="1911"/>
                  </a:lnTo>
                  <a:lnTo>
                    <a:pt x="188" y="1920"/>
                  </a:lnTo>
                  <a:lnTo>
                    <a:pt x="183" y="1927"/>
                  </a:lnTo>
                  <a:lnTo>
                    <a:pt x="177" y="1931"/>
                  </a:lnTo>
                  <a:lnTo>
                    <a:pt x="171" y="1932"/>
                  </a:lnTo>
                  <a:lnTo>
                    <a:pt x="163" y="1931"/>
                  </a:lnTo>
                  <a:lnTo>
                    <a:pt x="156" y="1927"/>
                  </a:lnTo>
                  <a:lnTo>
                    <a:pt x="151" y="1920"/>
                  </a:lnTo>
                  <a:lnTo>
                    <a:pt x="150" y="1911"/>
                  </a:lnTo>
                  <a:lnTo>
                    <a:pt x="150" y="1808"/>
                  </a:lnTo>
                  <a:lnTo>
                    <a:pt x="151" y="1799"/>
                  </a:lnTo>
                  <a:lnTo>
                    <a:pt x="156" y="1792"/>
                  </a:lnTo>
                  <a:lnTo>
                    <a:pt x="163" y="1789"/>
                  </a:lnTo>
                  <a:lnTo>
                    <a:pt x="171" y="1787"/>
                  </a:lnTo>
                  <a:lnTo>
                    <a:pt x="177" y="1789"/>
                  </a:lnTo>
                  <a:lnTo>
                    <a:pt x="183" y="1792"/>
                  </a:lnTo>
                  <a:lnTo>
                    <a:pt x="188" y="1799"/>
                  </a:lnTo>
                  <a:lnTo>
                    <a:pt x="190" y="1808"/>
                  </a:lnTo>
                  <a:close/>
                  <a:moveTo>
                    <a:pt x="190" y="2039"/>
                  </a:moveTo>
                  <a:lnTo>
                    <a:pt x="190" y="2143"/>
                  </a:lnTo>
                  <a:lnTo>
                    <a:pt x="188" y="2150"/>
                  </a:lnTo>
                  <a:lnTo>
                    <a:pt x="183" y="2157"/>
                  </a:lnTo>
                  <a:lnTo>
                    <a:pt x="177" y="2161"/>
                  </a:lnTo>
                  <a:lnTo>
                    <a:pt x="171" y="2162"/>
                  </a:lnTo>
                  <a:lnTo>
                    <a:pt x="163" y="2161"/>
                  </a:lnTo>
                  <a:lnTo>
                    <a:pt x="156" y="2157"/>
                  </a:lnTo>
                  <a:lnTo>
                    <a:pt x="151" y="2150"/>
                  </a:lnTo>
                  <a:lnTo>
                    <a:pt x="150" y="2143"/>
                  </a:lnTo>
                  <a:lnTo>
                    <a:pt x="150" y="2039"/>
                  </a:lnTo>
                  <a:lnTo>
                    <a:pt x="151" y="2030"/>
                  </a:lnTo>
                  <a:lnTo>
                    <a:pt x="156" y="2024"/>
                  </a:lnTo>
                  <a:lnTo>
                    <a:pt x="163" y="2020"/>
                  </a:lnTo>
                  <a:lnTo>
                    <a:pt x="171" y="2019"/>
                  </a:lnTo>
                  <a:lnTo>
                    <a:pt x="177" y="2020"/>
                  </a:lnTo>
                  <a:lnTo>
                    <a:pt x="183" y="2024"/>
                  </a:lnTo>
                  <a:lnTo>
                    <a:pt x="188" y="2030"/>
                  </a:lnTo>
                  <a:lnTo>
                    <a:pt x="190" y="2039"/>
                  </a:lnTo>
                  <a:close/>
                  <a:moveTo>
                    <a:pt x="190" y="2269"/>
                  </a:moveTo>
                  <a:lnTo>
                    <a:pt x="190" y="2373"/>
                  </a:lnTo>
                  <a:lnTo>
                    <a:pt x="188" y="2382"/>
                  </a:lnTo>
                  <a:lnTo>
                    <a:pt x="183" y="2388"/>
                  </a:lnTo>
                  <a:lnTo>
                    <a:pt x="177" y="2392"/>
                  </a:lnTo>
                  <a:lnTo>
                    <a:pt x="171" y="2393"/>
                  </a:lnTo>
                  <a:lnTo>
                    <a:pt x="163" y="2392"/>
                  </a:lnTo>
                  <a:lnTo>
                    <a:pt x="156" y="2388"/>
                  </a:lnTo>
                  <a:lnTo>
                    <a:pt x="151" y="2382"/>
                  </a:lnTo>
                  <a:lnTo>
                    <a:pt x="150" y="2373"/>
                  </a:lnTo>
                  <a:lnTo>
                    <a:pt x="150" y="2269"/>
                  </a:lnTo>
                  <a:lnTo>
                    <a:pt x="151" y="2260"/>
                  </a:lnTo>
                  <a:lnTo>
                    <a:pt x="156" y="2255"/>
                  </a:lnTo>
                  <a:lnTo>
                    <a:pt x="163" y="2251"/>
                  </a:lnTo>
                  <a:lnTo>
                    <a:pt x="171" y="2250"/>
                  </a:lnTo>
                  <a:lnTo>
                    <a:pt x="177" y="2251"/>
                  </a:lnTo>
                  <a:lnTo>
                    <a:pt x="183" y="2255"/>
                  </a:lnTo>
                  <a:lnTo>
                    <a:pt x="188" y="2260"/>
                  </a:lnTo>
                  <a:lnTo>
                    <a:pt x="190" y="2269"/>
                  </a:lnTo>
                  <a:close/>
                  <a:moveTo>
                    <a:pt x="190" y="2501"/>
                  </a:moveTo>
                  <a:lnTo>
                    <a:pt x="190" y="2604"/>
                  </a:lnTo>
                  <a:lnTo>
                    <a:pt x="188" y="2613"/>
                  </a:lnTo>
                  <a:lnTo>
                    <a:pt x="183" y="2620"/>
                  </a:lnTo>
                  <a:lnTo>
                    <a:pt x="177" y="2624"/>
                  </a:lnTo>
                  <a:lnTo>
                    <a:pt x="171" y="2625"/>
                  </a:lnTo>
                  <a:lnTo>
                    <a:pt x="163" y="2624"/>
                  </a:lnTo>
                  <a:lnTo>
                    <a:pt x="156" y="2620"/>
                  </a:lnTo>
                  <a:lnTo>
                    <a:pt x="151" y="2613"/>
                  </a:lnTo>
                  <a:lnTo>
                    <a:pt x="150" y="2604"/>
                  </a:lnTo>
                  <a:lnTo>
                    <a:pt x="150" y="2501"/>
                  </a:lnTo>
                  <a:lnTo>
                    <a:pt x="151" y="2492"/>
                  </a:lnTo>
                  <a:lnTo>
                    <a:pt x="156" y="2485"/>
                  </a:lnTo>
                  <a:lnTo>
                    <a:pt x="163" y="2482"/>
                  </a:lnTo>
                  <a:lnTo>
                    <a:pt x="171" y="2480"/>
                  </a:lnTo>
                  <a:lnTo>
                    <a:pt x="177" y="2482"/>
                  </a:lnTo>
                  <a:lnTo>
                    <a:pt x="183" y="2485"/>
                  </a:lnTo>
                  <a:lnTo>
                    <a:pt x="188" y="2492"/>
                  </a:lnTo>
                  <a:lnTo>
                    <a:pt x="190" y="2501"/>
                  </a:lnTo>
                  <a:close/>
                  <a:moveTo>
                    <a:pt x="190" y="2732"/>
                  </a:moveTo>
                  <a:lnTo>
                    <a:pt x="190" y="2836"/>
                  </a:lnTo>
                  <a:lnTo>
                    <a:pt x="188" y="2845"/>
                  </a:lnTo>
                  <a:lnTo>
                    <a:pt x="183" y="2850"/>
                  </a:lnTo>
                  <a:lnTo>
                    <a:pt x="177" y="2854"/>
                  </a:lnTo>
                  <a:lnTo>
                    <a:pt x="171" y="2855"/>
                  </a:lnTo>
                  <a:lnTo>
                    <a:pt x="163" y="2854"/>
                  </a:lnTo>
                  <a:lnTo>
                    <a:pt x="156" y="2850"/>
                  </a:lnTo>
                  <a:lnTo>
                    <a:pt x="151" y="2845"/>
                  </a:lnTo>
                  <a:lnTo>
                    <a:pt x="150" y="2836"/>
                  </a:lnTo>
                  <a:lnTo>
                    <a:pt x="150" y="2732"/>
                  </a:lnTo>
                  <a:lnTo>
                    <a:pt x="151" y="2723"/>
                  </a:lnTo>
                  <a:lnTo>
                    <a:pt x="156" y="2717"/>
                  </a:lnTo>
                  <a:lnTo>
                    <a:pt x="163" y="2713"/>
                  </a:lnTo>
                  <a:lnTo>
                    <a:pt x="171" y="2712"/>
                  </a:lnTo>
                  <a:lnTo>
                    <a:pt x="177" y="2713"/>
                  </a:lnTo>
                  <a:lnTo>
                    <a:pt x="183" y="2717"/>
                  </a:lnTo>
                  <a:lnTo>
                    <a:pt x="188" y="2723"/>
                  </a:lnTo>
                  <a:lnTo>
                    <a:pt x="190" y="2732"/>
                  </a:lnTo>
                  <a:close/>
                  <a:moveTo>
                    <a:pt x="190" y="2962"/>
                  </a:moveTo>
                  <a:lnTo>
                    <a:pt x="190" y="3066"/>
                  </a:lnTo>
                  <a:lnTo>
                    <a:pt x="188" y="3075"/>
                  </a:lnTo>
                  <a:lnTo>
                    <a:pt x="183" y="3081"/>
                  </a:lnTo>
                  <a:lnTo>
                    <a:pt x="177" y="3085"/>
                  </a:lnTo>
                  <a:lnTo>
                    <a:pt x="171" y="3086"/>
                  </a:lnTo>
                  <a:lnTo>
                    <a:pt x="163" y="3085"/>
                  </a:lnTo>
                  <a:lnTo>
                    <a:pt x="156" y="3081"/>
                  </a:lnTo>
                  <a:lnTo>
                    <a:pt x="151" y="3075"/>
                  </a:lnTo>
                  <a:lnTo>
                    <a:pt x="150" y="3066"/>
                  </a:lnTo>
                  <a:lnTo>
                    <a:pt x="150" y="2962"/>
                  </a:lnTo>
                  <a:lnTo>
                    <a:pt x="151" y="2953"/>
                  </a:lnTo>
                  <a:lnTo>
                    <a:pt x="156" y="2948"/>
                  </a:lnTo>
                  <a:lnTo>
                    <a:pt x="163" y="2945"/>
                  </a:lnTo>
                  <a:lnTo>
                    <a:pt x="171" y="2943"/>
                  </a:lnTo>
                  <a:lnTo>
                    <a:pt x="177" y="2945"/>
                  </a:lnTo>
                  <a:lnTo>
                    <a:pt x="183" y="2948"/>
                  </a:lnTo>
                  <a:lnTo>
                    <a:pt x="188" y="2953"/>
                  </a:lnTo>
                  <a:lnTo>
                    <a:pt x="190" y="2962"/>
                  </a:lnTo>
                  <a:close/>
                  <a:moveTo>
                    <a:pt x="2375" y="1897"/>
                  </a:moveTo>
                  <a:lnTo>
                    <a:pt x="2375" y="2001"/>
                  </a:lnTo>
                  <a:lnTo>
                    <a:pt x="2372" y="2010"/>
                  </a:lnTo>
                  <a:lnTo>
                    <a:pt x="2368" y="2016"/>
                  </a:lnTo>
                  <a:lnTo>
                    <a:pt x="2362" y="2020"/>
                  </a:lnTo>
                  <a:lnTo>
                    <a:pt x="2354" y="2021"/>
                  </a:lnTo>
                  <a:lnTo>
                    <a:pt x="2347" y="2020"/>
                  </a:lnTo>
                  <a:lnTo>
                    <a:pt x="2340" y="2016"/>
                  </a:lnTo>
                  <a:lnTo>
                    <a:pt x="2336" y="2010"/>
                  </a:lnTo>
                  <a:lnTo>
                    <a:pt x="2334" y="2001"/>
                  </a:lnTo>
                  <a:lnTo>
                    <a:pt x="2334" y="1897"/>
                  </a:lnTo>
                  <a:lnTo>
                    <a:pt x="2336" y="1888"/>
                  </a:lnTo>
                  <a:lnTo>
                    <a:pt x="2340" y="1882"/>
                  </a:lnTo>
                  <a:lnTo>
                    <a:pt x="2347" y="1878"/>
                  </a:lnTo>
                  <a:lnTo>
                    <a:pt x="2354" y="1877"/>
                  </a:lnTo>
                  <a:lnTo>
                    <a:pt x="2362" y="1878"/>
                  </a:lnTo>
                  <a:lnTo>
                    <a:pt x="2368" y="1882"/>
                  </a:lnTo>
                  <a:lnTo>
                    <a:pt x="2372" y="1888"/>
                  </a:lnTo>
                  <a:lnTo>
                    <a:pt x="2375" y="1897"/>
                  </a:lnTo>
                  <a:close/>
                  <a:moveTo>
                    <a:pt x="2589" y="1897"/>
                  </a:moveTo>
                  <a:lnTo>
                    <a:pt x="2589" y="2001"/>
                  </a:lnTo>
                  <a:lnTo>
                    <a:pt x="2588" y="2010"/>
                  </a:lnTo>
                  <a:lnTo>
                    <a:pt x="2583" y="2016"/>
                  </a:lnTo>
                  <a:lnTo>
                    <a:pt x="2576" y="2020"/>
                  </a:lnTo>
                  <a:lnTo>
                    <a:pt x="2570" y="2021"/>
                  </a:lnTo>
                  <a:lnTo>
                    <a:pt x="2562" y="2020"/>
                  </a:lnTo>
                  <a:lnTo>
                    <a:pt x="2556" y="2016"/>
                  </a:lnTo>
                  <a:lnTo>
                    <a:pt x="2550" y="2010"/>
                  </a:lnTo>
                  <a:lnTo>
                    <a:pt x="2549" y="2001"/>
                  </a:lnTo>
                  <a:lnTo>
                    <a:pt x="2549" y="1897"/>
                  </a:lnTo>
                  <a:lnTo>
                    <a:pt x="2550" y="1888"/>
                  </a:lnTo>
                  <a:lnTo>
                    <a:pt x="2556" y="1882"/>
                  </a:lnTo>
                  <a:lnTo>
                    <a:pt x="2562" y="1878"/>
                  </a:lnTo>
                  <a:lnTo>
                    <a:pt x="2570" y="1877"/>
                  </a:lnTo>
                  <a:lnTo>
                    <a:pt x="2576" y="1878"/>
                  </a:lnTo>
                  <a:lnTo>
                    <a:pt x="2583" y="1882"/>
                  </a:lnTo>
                  <a:lnTo>
                    <a:pt x="2588" y="1888"/>
                  </a:lnTo>
                  <a:lnTo>
                    <a:pt x="2589" y="1897"/>
                  </a:lnTo>
                  <a:close/>
                  <a:moveTo>
                    <a:pt x="2804" y="1897"/>
                  </a:moveTo>
                  <a:lnTo>
                    <a:pt x="2804" y="2001"/>
                  </a:lnTo>
                  <a:lnTo>
                    <a:pt x="2803" y="2010"/>
                  </a:lnTo>
                  <a:lnTo>
                    <a:pt x="2798" y="2016"/>
                  </a:lnTo>
                  <a:lnTo>
                    <a:pt x="2792" y="2020"/>
                  </a:lnTo>
                  <a:lnTo>
                    <a:pt x="2784" y="2021"/>
                  </a:lnTo>
                  <a:lnTo>
                    <a:pt x="2777" y="2020"/>
                  </a:lnTo>
                  <a:lnTo>
                    <a:pt x="2771" y="2016"/>
                  </a:lnTo>
                  <a:lnTo>
                    <a:pt x="2766" y="2010"/>
                  </a:lnTo>
                  <a:lnTo>
                    <a:pt x="2765" y="2001"/>
                  </a:lnTo>
                  <a:lnTo>
                    <a:pt x="2765" y="1897"/>
                  </a:lnTo>
                  <a:lnTo>
                    <a:pt x="2766" y="1888"/>
                  </a:lnTo>
                  <a:lnTo>
                    <a:pt x="2771" y="1882"/>
                  </a:lnTo>
                  <a:lnTo>
                    <a:pt x="2777" y="1878"/>
                  </a:lnTo>
                  <a:lnTo>
                    <a:pt x="2784" y="1877"/>
                  </a:lnTo>
                  <a:lnTo>
                    <a:pt x="2792" y="1878"/>
                  </a:lnTo>
                  <a:lnTo>
                    <a:pt x="2798" y="1882"/>
                  </a:lnTo>
                  <a:lnTo>
                    <a:pt x="2803" y="1888"/>
                  </a:lnTo>
                  <a:lnTo>
                    <a:pt x="2804" y="1897"/>
                  </a:lnTo>
                  <a:close/>
                  <a:moveTo>
                    <a:pt x="2375" y="2245"/>
                  </a:moveTo>
                  <a:lnTo>
                    <a:pt x="2375" y="2349"/>
                  </a:lnTo>
                  <a:lnTo>
                    <a:pt x="2372" y="2358"/>
                  </a:lnTo>
                  <a:lnTo>
                    <a:pt x="2368" y="2364"/>
                  </a:lnTo>
                  <a:lnTo>
                    <a:pt x="2362" y="2368"/>
                  </a:lnTo>
                  <a:lnTo>
                    <a:pt x="2354" y="2369"/>
                  </a:lnTo>
                  <a:lnTo>
                    <a:pt x="2347" y="2368"/>
                  </a:lnTo>
                  <a:lnTo>
                    <a:pt x="2340" y="2364"/>
                  </a:lnTo>
                  <a:lnTo>
                    <a:pt x="2336" y="2358"/>
                  </a:lnTo>
                  <a:lnTo>
                    <a:pt x="2334" y="2349"/>
                  </a:lnTo>
                  <a:lnTo>
                    <a:pt x="2334" y="2245"/>
                  </a:lnTo>
                  <a:lnTo>
                    <a:pt x="2336" y="2236"/>
                  </a:lnTo>
                  <a:lnTo>
                    <a:pt x="2340" y="2230"/>
                  </a:lnTo>
                  <a:lnTo>
                    <a:pt x="2347" y="2226"/>
                  </a:lnTo>
                  <a:lnTo>
                    <a:pt x="2354" y="2225"/>
                  </a:lnTo>
                  <a:lnTo>
                    <a:pt x="2362" y="2226"/>
                  </a:lnTo>
                  <a:lnTo>
                    <a:pt x="2368" y="2230"/>
                  </a:lnTo>
                  <a:lnTo>
                    <a:pt x="2372" y="2236"/>
                  </a:lnTo>
                  <a:lnTo>
                    <a:pt x="2375" y="2245"/>
                  </a:lnTo>
                  <a:close/>
                  <a:moveTo>
                    <a:pt x="2589" y="2245"/>
                  </a:moveTo>
                  <a:lnTo>
                    <a:pt x="2589" y="2349"/>
                  </a:lnTo>
                  <a:lnTo>
                    <a:pt x="2588" y="2358"/>
                  </a:lnTo>
                  <a:lnTo>
                    <a:pt x="2583" y="2364"/>
                  </a:lnTo>
                  <a:lnTo>
                    <a:pt x="2576" y="2368"/>
                  </a:lnTo>
                  <a:lnTo>
                    <a:pt x="2570" y="2369"/>
                  </a:lnTo>
                  <a:lnTo>
                    <a:pt x="2562" y="2368"/>
                  </a:lnTo>
                  <a:lnTo>
                    <a:pt x="2556" y="2364"/>
                  </a:lnTo>
                  <a:lnTo>
                    <a:pt x="2550" y="2358"/>
                  </a:lnTo>
                  <a:lnTo>
                    <a:pt x="2549" y="2349"/>
                  </a:lnTo>
                  <a:lnTo>
                    <a:pt x="2549" y="2245"/>
                  </a:lnTo>
                  <a:lnTo>
                    <a:pt x="2550" y="2236"/>
                  </a:lnTo>
                  <a:lnTo>
                    <a:pt x="2556" y="2230"/>
                  </a:lnTo>
                  <a:lnTo>
                    <a:pt x="2562" y="2226"/>
                  </a:lnTo>
                  <a:lnTo>
                    <a:pt x="2570" y="2225"/>
                  </a:lnTo>
                  <a:lnTo>
                    <a:pt x="2576" y="2226"/>
                  </a:lnTo>
                  <a:lnTo>
                    <a:pt x="2583" y="2230"/>
                  </a:lnTo>
                  <a:lnTo>
                    <a:pt x="2588" y="2236"/>
                  </a:lnTo>
                  <a:lnTo>
                    <a:pt x="2589" y="2245"/>
                  </a:lnTo>
                  <a:close/>
                  <a:moveTo>
                    <a:pt x="2804" y="2245"/>
                  </a:moveTo>
                  <a:lnTo>
                    <a:pt x="2804" y="2349"/>
                  </a:lnTo>
                  <a:lnTo>
                    <a:pt x="2803" y="2358"/>
                  </a:lnTo>
                  <a:lnTo>
                    <a:pt x="2798" y="2364"/>
                  </a:lnTo>
                  <a:lnTo>
                    <a:pt x="2792" y="2368"/>
                  </a:lnTo>
                  <a:lnTo>
                    <a:pt x="2784" y="2369"/>
                  </a:lnTo>
                  <a:lnTo>
                    <a:pt x="2777" y="2368"/>
                  </a:lnTo>
                  <a:lnTo>
                    <a:pt x="2771" y="2364"/>
                  </a:lnTo>
                  <a:lnTo>
                    <a:pt x="2766" y="2358"/>
                  </a:lnTo>
                  <a:lnTo>
                    <a:pt x="2765" y="2349"/>
                  </a:lnTo>
                  <a:lnTo>
                    <a:pt x="2765" y="2245"/>
                  </a:lnTo>
                  <a:lnTo>
                    <a:pt x="2766" y="2236"/>
                  </a:lnTo>
                  <a:lnTo>
                    <a:pt x="2771" y="2230"/>
                  </a:lnTo>
                  <a:lnTo>
                    <a:pt x="2777" y="2226"/>
                  </a:lnTo>
                  <a:lnTo>
                    <a:pt x="2784" y="2225"/>
                  </a:lnTo>
                  <a:lnTo>
                    <a:pt x="2792" y="2226"/>
                  </a:lnTo>
                  <a:lnTo>
                    <a:pt x="2798" y="2230"/>
                  </a:lnTo>
                  <a:lnTo>
                    <a:pt x="2803" y="2236"/>
                  </a:lnTo>
                  <a:lnTo>
                    <a:pt x="2804" y="2245"/>
                  </a:lnTo>
                  <a:close/>
                  <a:moveTo>
                    <a:pt x="2375" y="2593"/>
                  </a:moveTo>
                  <a:lnTo>
                    <a:pt x="2375" y="2696"/>
                  </a:lnTo>
                  <a:lnTo>
                    <a:pt x="2372" y="2705"/>
                  </a:lnTo>
                  <a:lnTo>
                    <a:pt x="2368" y="2712"/>
                  </a:lnTo>
                  <a:lnTo>
                    <a:pt x="2362" y="2716"/>
                  </a:lnTo>
                  <a:lnTo>
                    <a:pt x="2354" y="2717"/>
                  </a:lnTo>
                  <a:lnTo>
                    <a:pt x="2347" y="2716"/>
                  </a:lnTo>
                  <a:lnTo>
                    <a:pt x="2340" y="2712"/>
                  </a:lnTo>
                  <a:lnTo>
                    <a:pt x="2336" y="2705"/>
                  </a:lnTo>
                  <a:lnTo>
                    <a:pt x="2334" y="2696"/>
                  </a:lnTo>
                  <a:lnTo>
                    <a:pt x="2334" y="2593"/>
                  </a:lnTo>
                  <a:lnTo>
                    <a:pt x="2336" y="2584"/>
                  </a:lnTo>
                  <a:lnTo>
                    <a:pt x="2340" y="2578"/>
                  </a:lnTo>
                  <a:lnTo>
                    <a:pt x="2347" y="2574"/>
                  </a:lnTo>
                  <a:lnTo>
                    <a:pt x="2354" y="2572"/>
                  </a:lnTo>
                  <a:lnTo>
                    <a:pt x="2362" y="2574"/>
                  </a:lnTo>
                  <a:lnTo>
                    <a:pt x="2368" y="2578"/>
                  </a:lnTo>
                  <a:lnTo>
                    <a:pt x="2372" y="2584"/>
                  </a:lnTo>
                  <a:lnTo>
                    <a:pt x="2375" y="2593"/>
                  </a:lnTo>
                  <a:close/>
                  <a:moveTo>
                    <a:pt x="2589" y="2593"/>
                  </a:moveTo>
                  <a:lnTo>
                    <a:pt x="2589" y="2696"/>
                  </a:lnTo>
                  <a:lnTo>
                    <a:pt x="2588" y="2705"/>
                  </a:lnTo>
                  <a:lnTo>
                    <a:pt x="2583" y="2712"/>
                  </a:lnTo>
                  <a:lnTo>
                    <a:pt x="2576" y="2716"/>
                  </a:lnTo>
                  <a:lnTo>
                    <a:pt x="2570" y="2717"/>
                  </a:lnTo>
                  <a:lnTo>
                    <a:pt x="2562" y="2716"/>
                  </a:lnTo>
                  <a:lnTo>
                    <a:pt x="2556" y="2712"/>
                  </a:lnTo>
                  <a:lnTo>
                    <a:pt x="2550" y="2705"/>
                  </a:lnTo>
                  <a:lnTo>
                    <a:pt x="2549" y="2696"/>
                  </a:lnTo>
                  <a:lnTo>
                    <a:pt x="2549" y="2593"/>
                  </a:lnTo>
                  <a:lnTo>
                    <a:pt x="2550" y="2584"/>
                  </a:lnTo>
                  <a:lnTo>
                    <a:pt x="2556" y="2578"/>
                  </a:lnTo>
                  <a:lnTo>
                    <a:pt x="2562" y="2574"/>
                  </a:lnTo>
                  <a:lnTo>
                    <a:pt x="2570" y="2572"/>
                  </a:lnTo>
                  <a:lnTo>
                    <a:pt x="2576" y="2574"/>
                  </a:lnTo>
                  <a:lnTo>
                    <a:pt x="2583" y="2578"/>
                  </a:lnTo>
                  <a:lnTo>
                    <a:pt x="2588" y="2584"/>
                  </a:lnTo>
                  <a:lnTo>
                    <a:pt x="2589" y="2593"/>
                  </a:lnTo>
                  <a:close/>
                  <a:moveTo>
                    <a:pt x="2804" y="2593"/>
                  </a:moveTo>
                  <a:lnTo>
                    <a:pt x="2804" y="2696"/>
                  </a:lnTo>
                  <a:lnTo>
                    <a:pt x="2803" y="2705"/>
                  </a:lnTo>
                  <a:lnTo>
                    <a:pt x="2798" y="2712"/>
                  </a:lnTo>
                  <a:lnTo>
                    <a:pt x="2792" y="2716"/>
                  </a:lnTo>
                  <a:lnTo>
                    <a:pt x="2784" y="2717"/>
                  </a:lnTo>
                  <a:lnTo>
                    <a:pt x="2777" y="2716"/>
                  </a:lnTo>
                  <a:lnTo>
                    <a:pt x="2771" y="2712"/>
                  </a:lnTo>
                  <a:lnTo>
                    <a:pt x="2766" y="2705"/>
                  </a:lnTo>
                  <a:lnTo>
                    <a:pt x="2765" y="2696"/>
                  </a:lnTo>
                  <a:lnTo>
                    <a:pt x="2765" y="2593"/>
                  </a:lnTo>
                  <a:lnTo>
                    <a:pt x="2766" y="2584"/>
                  </a:lnTo>
                  <a:lnTo>
                    <a:pt x="2771" y="2578"/>
                  </a:lnTo>
                  <a:lnTo>
                    <a:pt x="2777" y="2574"/>
                  </a:lnTo>
                  <a:lnTo>
                    <a:pt x="2784" y="2572"/>
                  </a:lnTo>
                  <a:lnTo>
                    <a:pt x="2792" y="2574"/>
                  </a:lnTo>
                  <a:lnTo>
                    <a:pt x="2798" y="2578"/>
                  </a:lnTo>
                  <a:lnTo>
                    <a:pt x="2803" y="2584"/>
                  </a:lnTo>
                  <a:lnTo>
                    <a:pt x="2804" y="2593"/>
                  </a:lnTo>
                  <a:close/>
                  <a:moveTo>
                    <a:pt x="2375" y="2941"/>
                  </a:moveTo>
                  <a:lnTo>
                    <a:pt x="2375" y="3044"/>
                  </a:lnTo>
                  <a:lnTo>
                    <a:pt x="2372" y="3053"/>
                  </a:lnTo>
                  <a:lnTo>
                    <a:pt x="2368" y="3060"/>
                  </a:lnTo>
                  <a:lnTo>
                    <a:pt x="2362" y="3063"/>
                  </a:lnTo>
                  <a:lnTo>
                    <a:pt x="2354" y="3065"/>
                  </a:lnTo>
                  <a:lnTo>
                    <a:pt x="2347" y="3063"/>
                  </a:lnTo>
                  <a:lnTo>
                    <a:pt x="2340" y="3060"/>
                  </a:lnTo>
                  <a:lnTo>
                    <a:pt x="2336" y="3053"/>
                  </a:lnTo>
                  <a:lnTo>
                    <a:pt x="2334" y="3044"/>
                  </a:lnTo>
                  <a:lnTo>
                    <a:pt x="2334" y="2941"/>
                  </a:lnTo>
                  <a:lnTo>
                    <a:pt x="2336" y="2932"/>
                  </a:lnTo>
                  <a:lnTo>
                    <a:pt x="2340" y="2925"/>
                  </a:lnTo>
                  <a:lnTo>
                    <a:pt x="2347" y="2922"/>
                  </a:lnTo>
                  <a:lnTo>
                    <a:pt x="2354" y="2920"/>
                  </a:lnTo>
                  <a:lnTo>
                    <a:pt x="2362" y="2922"/>
                  </a:lnTo>
                  <a:lnTo>
                    <a:pt x="2368" y="2925"/>
                  </a:lnTo>
                  <a:lnTo>
                    <a:pt x="2372" y="2932"/>
                  </a:lnTo>
                  <a:lnTo>
                    <a:pt x="2375" y="2941"/>
                  </a:lnTo>
                  <a:close/>
                  <a:moveTo>
                    <a:pt x="2589" y="2941"/>
                  </a:moveTo>
                  <a:lnTo>
                    <a:pt x="2589" y="3044"/>
                  </a:lnTo>
                  <a:lnTo>
                    <a:pt x="2588" y="3053"/>
                  </a:lnTo>
                  <a:lnTo>
                    <a:pt x="2583" y="3060"/>
                  </a:lnTo>
                  <a:lnTo>
                    <a:pt x="2576" y="3063"/>
                  </a:lnTo>
                  <a:lnTo>
                    <a:pt x="2570" y="3065"/>
                  </a:lnTo>
                  <a:lnTo>
                    <a:pt x="2562" y="3063"/>
                  </a:lnTo>
                  <a:lnTo>
                    <a:pt x="2556" y="3060"/>
                  </a:lnTo>
                  <a:lnTo>
                    <a:pt x="2550" y="3053"/>
                  </a:lnTo>
                  <a:lnTo>
                    <a:pt x="2549" y="3044"/>
                  </a:lnTo>
                  <a:lnTo>
                    <a:pt x="2549" y="2941"/>
                  </a:lnTo>
                  <a:lnTo>
                    <a:pt x="2550" y="2932"/>
                  </a:lnTo>
                  <a:lnTo>
                    <a:pt x="2556" y="2925"/>
                  </a:lnTo>
                  <a:lnTo>
                    <a:pt x="2562" y="2922"/>
                  </a:lnTo>
                  <a:lnTo>
                    <a:pt x="2570" y="2920"/>
                  </a:lnTo>
                  <a:lnTo>
                    <a:pt x="2576" y="2922"/>
                  </a:lnTo>
                  <a:lnTo>
                    <a:pt x="2583" y="2925"/>
                  </a:lnTo>
                  <a:lnTo>
                    <a:pt x="2588" y="2932"/>
                  </a:lnTo>
                  <a:lnTo>
                    <a:pt x="2589" y="2941"/>
                  </a:lnTo>
                  <a:close/>
                  <a:moveTo>
                    <a:pt x="2804" y="2941"/>
                  </a:moveTo>
                  <a:lnTo>
                    <a:pt x="2804" y="3044"/>
                  </a:lnTo>
                  <a:lnTo>
                    <a:pt x="2803" y="3053"/>
                  </a:lnTo>
                  <a:lnTo>
                    <a:pt x="2798" y="3060"/>
                  </a:lnTo>
                  <a:lnTo>
                    <a:pt x="2792" y="3063"/>
                  </a:lnTo>
                  <a:lnTo>
                    <a:pt x="2784" y="3065"/>
                  </a:lnTo>
                  <a:lnTo>
                    <a:pt x="2777" y="3063"/>
                  </a:lnTo>
                  <a:lnTo>
                    <a:pt x="2771" y="3060"/>
                  </a:lnTo>
                  <a:lnTo>
                    <a:pt x="2766" y="3053"/>
                  </a:lnTo>
                  <a:lnTo>
                    <a:pt x="2765" y="3044"/>
                  </a:lnTo>
                  <a:lnTo>
                    <a:pt x="2765" y="2941"/>
                  </a:lnTo>
                  <a:lnTo>
                    <a:pt x="2766" y="2932"/>
                  </a:lnTo>
                  <a:lnTo>
                    <a:pt x="2771" y="2925"/>
                  </a:lnTo>
                  <a:lnTo>
                    <a:pt x="2777" y="2922"/>
                  </a:lnTo>
                  <a:lnTo>
                    <a:pt x="2784" y="2920"/>
                  </a:lnTo>
                  <a:lnTo>
                    <a:pt x="2792" y="2922"/>
                  </a:lnTo>
                  <a:lnTo>
                    <a:pt x="2798" y="2925"/>
                  </a:lnTo>
                  <a:lnTo>
                    <a:pt x="2803" y="2932"/>
                  </a:lnTo>
                  <a:lnTo>
                    <a:pt x="2804" y="2941"/>
                  </a:lnTo>
                  <a:close/>
                  <a:moveTo>
                    <a:pt x="6888" y="1521"/>
                  </a:moveTo>
                  <a:lnTo>
                    <a:pt x="6778" y="1521"/>
                  </a:lnTo>
                  <a:lnTo>
                    <a:pt x="6778" y="1631"/>
                  </a:lnTo>
                  <a:lnTo>
                    <a:pt x="6888" y="1631"/>
                  </a:lnTo>
                  <a:lnTo>
                    <a:pt x="6888" y="1521"/>
                  </a:lnTo>
                  <a:close/>
                  <a:moveTo>
                    <a:pt x="7276" y="2772"/>
                  </a:moveTo>
                  <a:lnTo>
                    <a:pt x="7276" y="2585"/>
                  </a:lnTo>
                  <a:lnTo>
                    <a:pt x="7276" y="2277"/>
                  </a:lnTo>
                  <a:lnTo>
                    <a:pt x="7277" y="2271"/>
                  </a:lnTo>
                  <a:lnTo>
                    <a:pt x="7277" y="1671"/>
                  </a:lnTo>
                  <a:lnTo>
                    <a:pt x="6909" y="1671"/>
                  </a:lnTo>
                  <a:lnTo>
                    <a:pt x="6758" y="1671"/>
                  </a:lnTo>
                  <a:lnTo>
                    <a:pt x="6469" y="1671"/>
                  </a:lnTo>
                  <a:lnTo>
                    <a:pt x="6460" y="1670"/>
                  </a:lnTo>
                  <a:lnTo>
                    <a:pt x="6454" y="1665"/>
                  </a:lnTo>
                  <a:lnTo>
                    <a:pt x="6450" y="1658"/>
                  </a:lnTo>
                  <a:lnTo>
                    <a:pt x="6449" y="1652"/>
                  </a:lnTo>
                  <a:lnTo>
                    <a:pt x="6450" y="1644"/>
                  </a:lnTo>
                  <a:lnTo>
                    <a:pt x="6454" y="1638"/>
                  </a:lnTo>
                  <a:lnTo>
                    <a:pt x="6460" y="1633"/>
                  </a:lnTo>
                  <a:lnTo>
                    <a:pt x="6469" y="1631"/>
                  </a:lnTo>
                  <a:lnTo>
                    <a:pt x="6574" y="1631"/>
                  </a:lnTo>
                  <a:lnTo>
                    <a:pt x="6574" y="1488"/>
                  </a:lnTo>
                  <a:lnTo>
                    <a:pt x="6172" y="1488"/>
                  </a:lnTo>
                  <a:lnTo>
                    <a:pt x="6172" y="1631"/>
                  </a:lnTo>
                  <a:lnTo>
                    <a:pt x="6204" y="1631"/>
                  </a:lnTo>
                  <a:lnTo>
                    <a:pt x="6213" y="1633"/>
                  </a:lnTo>
                  <a:lnTo>
                    <a:pt x="6219" y="1638"/>
                  </a:lnTo>
                  <a:lnTo>
                    <a:pt x="6223" y="1644"/>
                  </a:lnTo>
                  <a:lnTo>
                    <a:pt x="6224" y="1652"/>
                  </a:lnTo>
                  <a:lnTo>
                    <a:pt x="6223" y="1658"/>
                  </a:lnTo>
                  <a:lnTo>
                    <a:pt x="6219" y="1665"/>
                  </a:lnTo>
                  <a:lnTo>
                    <a:pt x="6213" y="1670"/>
                  </a:lnTo>
                  <a:lnTo>
                    <a:pt x="6204" y="1671"/>
                  </a:lnTo>
                  <a:lnTo>
                    <a:pt x="6037" y="1671"/>
                  </a:lnTo>
                  <a:lnTo>
                    <a:pt x="6037" y="2332"/>
                  </a:lnTo>
                  <a:lnTo>
                    <a:pt x="6037" y="2993"/>
                  </a:lnTo>
                  <a:lnTo>
                    <a:pt x="6037" y="3654"/>
                  </a:lnTo>
                  <a:lnTo>
                    <a:pt x="6037" y="4317"/>
                  </a:lnTo>
                  <a:lnTo>
                    <a:pt x="6656" y="4317"/>
                  </a:lnTo>
                  <a:lnTo>
                    <a:pt x="7276" y="4317"/>
                  </a:lnTo>
                  <a:lnTo>
                    <a:pt x="7276" y="3544"/>
                  </a:lnTo>
                  <a:lnTo>
                    <a:pt x="7276" y="2772"/>
                  </a:lnTo>
                  <a:close/>
                  <a:moveTo>
                    <a:pt x="9050" y="2792"/>
                  </a:moveTo>
                  <a:lnTo>
                    <a:pt x="8182" y="2792"/>
                  </a:lnTo>
                  <a:lnTo>
                    <a:pt x="7315" y="2792"/>
                  </a:lnTo>
                  <a:lnTo>
                    <a:pt x="7315" y="3554"/>
                  </a:lnTo>
                  <a:lnTo>
                    <a:pt x="7315" y="4317"/>
                  </a:lnTo>
                  <a:lnTo>
                    <a:pt x="8182" y="4317"/>
                  </a:lnTo>
                  <a:lnTo>
                    <a:pt x="9050" y="4317"/>
                  </a:lnTo>
                  <a:lnTo>
                    <a:pt x="9050" y="3554"/>
                  </a:lnTo>
                  <a:lnTo>
                    <a:pt x="9050" y="2792"/>
                  </a:lnTo>
                  <a:close/>
                  <a:moveTo>
                    <a:pt x="8412" y="2258"/>
                  </a:moveTo>
                  <a:lnTo>
                    <a:pt x="8412" y="2135"/>
                  </a:lnTo>
                  <a:lnTo>
                    <a:pt x="8413" y="2127"/>
                  </a:lnTo>
                  <a:lnTo>
                    <a:pt x="8418" y="2121"/>
                  </a:lnTo>
                  <a:lnTo>
                    <a:pt x="8425" y="2117"/>
                  </a:lnTo>
                  <a:lnTo>
                    <a:pt x="8432" y="2116"/>
                  </a:lnTo>
                  <a:lnTo>
                    <a:pt x="8677" y="2116"/>
                  </a:lnTo>
                  <a:lnTo>
                    <a:pt x="8685" y="2117"/>
                  </a:lnTo>
                  <a:lnTo>
                    <a:pt x="8691" y="2121"/>
                  </a:lnTo>
                  <a:lnTo>
                    <a:pt x="8695" y="2127"/>
                  </a:lnTo>
                  <a:lnTo>
                    <a:pt x="8698" y="2135"/>
                  </a:lnTo>
                  <a:lnTo>
                    <a:pt x="8698" y="2258"/>
                  </a:lnTo>
                  <a:lnTo>
                    <a:pt x="8853" y="2258"/>
                  </a:lnTo>
                  <a:lnTo>
                    <a:pt x="8868" y="2266"/>
                  </a:lnTo>
                  <a:lnTo>
                    <a:pt x="9089" y="2565"/>
                  </a:lnTo>
                  <a:lnTo>
                    <a:pt x="9100" y="2565"/>
                  </a:lnTo>
                  <a:lnTo>
                    <a:pt x="9108" y="2566"/>
                  </a:lnTo>
                  <a:lnTo>
                    <a:pt x="9114" y="2571"/>
                  </a:lnTo>
                  <a:lnTo>
                    <a:pt x="9120" y="2578"/>
                  </a:lnTo>
                  <a:lnTo>
                    <a:pt x="9121" y="2585"/>
                  </a:lnTo>
                  <a:lnTo>
                    <a:pt x="9121" y="2772"/>
                  </a:lnTo>
                  <a:lnTo>
                    <a:pt x="9120" y="2780"/>
                  </a:lnTo>
                  <a:lnTo>
                    <a:pt x="9114" y="2786"/>
                  </a:lnTo>
                  <a:lnTo>
                    <a:pt x="9108" y="2791"/>
                  </a:lnTo>
                  <a:lnTo>
                    <a:pt x="9100" y="2792"/>
                  </a:lnTo>
                  <a:lnTo>
                    <a:pt x="9090" y="2792"/>
                  </a:lnTo>
                  <a:lnTo>
                    <a:pt x="9090" y="3563"/>
                  </a:lnTo>
                  <a:lnTo>
                    <a:pt x="9090" y="4336"/>
                  </a:lnTo>
                  <a:lnTo>
                    <a:pt x="9089" y="4343"/>
                  </a:lnTo>
                  <a:lnTo>
                    <a:pt x="9084" y="4350"/>
                  </a:lnTo>
                  <a:lnTo>
                    <a:pt x="9077" y="4355"/>
                  </a:lnTo>
                  <a:lnTo>
                    <a:pt x="9070" y="4356"/>
                  </a:lnTo>
                  <a:lnTo>
                    <a:pt x="8184" y="4356"/>
                  </a:lnTo>
                  <a:lnTo>
                    <a:pt x="7297" y="4356"/>
                  </a:lnTo>
                  <a:lnTo>
                    <a:pt x="7295" y="4356"/>
                  </a:lnTo>
                  <a:lnTo>
                    <a:pt x="6656" y="4356"/>
                  </a:lnTo>
                  <a:lnTo>
                    <a:pt x="6018" y="4356"/>
                  </a:lnTo>
                  <a:lnTo>
                    <a:pt x="6010" y="4355"/>
                  </a:lnTo>
                  <a:lnTo>
                    <a:pt x="6004" y="4350"/>
                  </a:lnTo>
                  <a:lnTo>
                    <a:pt x="5999" y="4343"/>
                  </a:lnTo>
                  <a:lnTo>
                    <a:pt x="5997" y="4336"/>
                  </a:lnTo>
                  <a:lnTo>
                    <a:pt x="5997" y="3664"/>
                  </a:lnTo>
                  <a:lnTo>
                    <a:pt x="5997" y="2993"/>
                  </a:lnTo>
                  <a:lnTo>
                    <a:pt x="5997" y="2322"/>
                  </a:lnTo>
                  <a:lnTo>
                    <a:pt x="5997" y="1652"/>
                  </a:lnTo>
                  <a:lnTo>
                    <a:pt x="5999" y="1644"/>
                  </a:lnTo>
                  <a:lnTo>
                    <a:pt x="6004" y="1638"/>
                  </a:lnTo>
                  <a:lnTo>
                    <a:pt x="6010" y="1633"/>
                  </a:lnTo>
                  <a:lnTo>
                    <a:pt x="6018" y="1631"/>
                  </a:lnTo>
                  <a:lnTo>
                    <a:pt x="6132" y="1631"/>
                  </a:lnTo>
                  <a:lnTo>
                    <a:pt x="6132" y="1469"/>
                  </a:lnTo>
                  <a:lnTo>
                    <a:pt x="6133" y="1461"/>
                  </a:lnTo>
                  <a:lnTo>
                    <a:pt x="6138" y="1455"/>
                  </a:lnTo>
                  <a:lnTo>
                    <a:pt x="6145" y="1451"/>
                  </a:lnTo>
                  <a:lnTo>
                    <a:pt x="6152" y="1448"/>
                  </a:lnTo>
                  <a:lnTo>
                    <a:pt x="6595" y="1448"/>
                  </a:lnTo>
                  <a:lnTo>
                    <a:pt x="6602" y="1451"/>
                  </a:lnTo>
                  <a:lnTo>
                    <a:pt x="6609" y="1455"/>
                  </a:lnTo>
                  <a:lnTo>
                    <a:pt x="6613" y="1461"/>
                  </a:lnTo>
                  <a:lnTo>
                    <a:pt x="6614" y="1469"/>
                  </a:lnTo>
                  <a:lnTo>
                    <a:pt x="6614" y="1631"/>
                  </a:lnTo>
                  <a:lnTo>
                    <a:pt x="6738" y="1631"/>
                  </a:lnTo>
                  <a:lnTo>
                    <a:pt x="6738" y="1501"/>
                  </a:lnTo>
                  <a:lnTo>
                    <a:pt x="6740" y="1493"/>
                  </a:lnTo>
                  <a:lnTo>
                    <a:pt x="6744" y="1487"/>
                  </a:lnTo>
                  <a:lnTo>
                    <a:pt x="6750" y="1483"/>
                  </a:lnTo>
                  <a:lnTo>
                    <a:pt x="6758" y="1480"/>
                  </a:lnTo>
                  <a:lnTo>
                    <a:pt x="6909" y="1480"/>
                  </a:lnTo>
                  <a:lnTo>
                    <a:pt x="6917" y="1483"/>
                  </a:lnTo>
                  <a:lnTo>
                    <a:pt x="6923" y="1487"/>
                  </a:lnTo>
                  <a:lnTo>
                    <a:pt x="6927" y="1493"/>
                  </a:lnTo>
                  <a:lnTo>
                    <a:pt x="6928" y="1501"/>
                  </a:lnTo>
                  <a:lnTo>
                    <a:pt x="6928" y="1631"/>
                  </a:lnTo>
                  <a:lnTo>
                    <a:pt x="7297" y="1631"/>
                  </a:lnTo>
                  <a:lnTo>
                    <a:pt x="7305" y="1633"/>
                  </a:lnTo>
                  <a:lnTo>
                    <a:pt x="7312" y="1638"/>
                  </a:lnTo>
                  <a:lnTo>
                    <a:pt x="7315" y="1644"/>
                  </a:lnTo>
                  <a:lnTo>
                    <a:pt x="7317" y="1652"/>
                  </a:lnTo>
                  <a:lnTo>
                    <a:pt x="7317" y="2258"/>
                  </a:lnTo>
                  <a:lnTo>
                    <a:pt x="7864" y="2258"/>
                  </a:lnTo>
                  <a:lnTo>
                    <a:pt x="8412" y="2258"/>
                  </a:lnTo>
                  <a:close/>
                  <a:moveTo>
                    <a:pt x="8657" y="2258"/>
                  </a:moveTo>
                  <a:lnTo>
                    <a:pt x="8657" y="2156"/>
                  </a:lnTo>
                  <a:lnTo>
                    <a:pt x="8452" y="2156"/>
                  </a:lnTo>
                  <a:lnTo>
                    <a:pt x="8452" y="2258"/>
                  </a:lnTo>
                  <a:lnTo>
                    <a:pt x="8482" y="2258"/>
                  </a:lnTo>
                  <a:lnTo>
                    <a:pt x="8491" y="2259"/>
                  </a:lnTo>
                  <a:lnTo>
                    <a:pt x="8496" y="2264"/>
                  </a:lnTo>
                  <a:lnTo>
                    <a:pt x="8500" y="2271"/>
                  </a:lnTo>
                  <a:lnTo>
                    <a:pt x="8502" y="2277"/>
                  </a:lnTo>
                  <a:lnTo>
                    <a:pt x="8500" y="2285"/>
                  </a:lnTo>
                  <a:lnTo>
                    <a:pt x="8496" y="2291"/>
                  </a:lnTo>
                  <a:lnTo>
                    <a:pt x="8491" y="2296"/>
                  </a:lnTo>
                  <a:lnTo>
                    <a:pt x="8482" y="2298"/>
                  </a:lnTo>
                  <a:lnTo>
                    <a:pt x="7899" y="2298"/>
                  </a:lnTo>
                  <a:lnTo>
                    <a:pt x="7315" y="2298"/>
                  </a:lnTo>
                  <a:lnTo>
                    <a:pt x="7315" y="2565"/>
                  </a:lnTo>
                  <a:lnTo>
                    <a:pt x="8177" y="2565"/>
                  </a:lnTo>
                  <a:lnTo>
                    <a:pt x="9039" y="2565"/>
                  </a:lnTo>
                  <a:lnTo>
                    <a:pt x="8843" y="2298"/>
                  </a:lnTo>
                  <a:lnTo>
                    <a:pt x="8637" y="2298"/>
                  </a:lnTo>
                  <a:lnTo>
                    <a:pt x="8630" y="2296"/>
                  </a:lnTo>
                  <a:lnTo>
                    <a:pt x="8623" y="2291"/>
                  </a:lnTo>
                  <a:lnTo>
                    <a:pt x="8619" y="2285"/>
                  </a:lnTo>
                  <a:lnTo>
                    <a:pt x="8618" y="2277"/>
                  </a:lnTo>
                  <a:lnTo>
                    <a:pt x="8619" y="2271"/>
                  </a:lnTo>
                  <a:lnTo>
                    <a:pt x="8623" y="2264"/>
                  </a:lnTo>
                  <a:lnTo>
                    <a:pt x="8630" y="2259"/>
                  </a:lnTo>
                  <a:lnTo>
                    <a:pt x="8637" y="2258"/>
                  </a:lnTo>
                  <a:lnTo>
                    <a:pt x="8657" y="2258"/>
                  </a:lnTo>
                  <a:close/>
                  <a:moveTo>
                    <a:pt x="9075" y="2604"/>
                  </a:moveTo>
                  <a:lnTo>
                    <a:pt x="8195" y="2604"/>
                  </a:lnTo>
                  <a:lnTo>
                    <a:pt x="7315" y="2604"/>
                  </a:lnTo>
                  <a:lnTo>
                    <a:pt x="7315" y="2753"/>
                  </a:lnTo>
                  <a:lnTo>
                    <a:pt x="8192" y="2753"/>
                  </a:lnTo>
                  <a:lnTo>
                    <a:pt x="9070" y="2753"/>
                  </a:lnTo>
                  <a:lnTo>
                    <a:pt x="9081" y="2753"/>
                  </a:lnTo>
                  <a:lnTo>
                    <a:pt x="9081" y="2604"/>
                  </a:lnTo>
                  <a:lnTo>
                    <a:pt x="9075" y="2604"/>
                  </a:lnTo>
                  <a:close/>
                  <a:moveTo>
                    <a:pt x="6236" y="1893"/>
                  </a:moveTo>
                  <a:lnTo>
                    <a:pt x="6369" y="1893"/>
                  </a:lnTo>
                  <a:lnTo>
                    <a:pt x="6378" y="1895"/>
                  </a:lnTo>
                  <a:lnTo>
                    <a:pt x="6384" y="1900"/>
                  </a:lnTo>
                  <a:lnTo>
                    <a:pt x="6387" y="1906"/>
                  </a:lnTo>
                  <a:lnTo>
                    <a:pt x="6388" y="1913"/>
                  </a:lnTo>
                  <a:lnTo>
                    <a:pt x="6387" y="1920"/>
                  </a:lnTo>
                  <a:lnTo>
                    <a:pt x="6384" y="1927"/>
                  </a:lnTo>
                  <a:lnTo>
                    <a:pt x="6378" y="1932"/>
                  </a:lnTo>
                  <a:lnTo>
                    <a:pt x="6369" y="1933"/>
                  </a:lnTo>
                  <a:lnTo>
                    <a:pt x="6236" y="1933"/>
                  </a:lnTo>
                  <a:lnTo>
                    <a:pt x="6227" y="1932"/>
                  </a:lnTo>
                  <a:lnTo>
                    <a:pt x="6220" y="1927"/>
                  </a:lnTo>
                  <a:lnTo>
                    <a:pt x="6216" y="1920"/>
                  </a:lnTo>
                  <a:lnTo>
                    <a:pt x="6215" y="1913"/>
                  </a:lnTo>
                  <a:lnTo>
                    <a:pt x="6216" y="1906"/>
                  </a:lnTo>
                  <a:lnTo>
                    <a:pt x="6220" y="1900"/>
                  </a:lnTo>
                  <a:lnTo>
                    <a:pt x="6227" y="1895"/>
                  </a:lnTo>
                  <a:lnTo>
                    <a:pt x="6236" y="1893"/>
                  </a:lnTo>
                  <a:close/>
                  <a:moveTo>
                    <a:pt x="6472" y="1893"/>
                  </a:moveTo>
                  <a:lnTo>
                    <a:pt x="6605" y="1893"/>
                  </a:lnTo>
                  <a:lnTo>
                    <a:pt x="6614" y="1895"/>
                  </a:lnTo>
                  <a:lnTo>
                    <a:pt x="6620" y="1900"/>
                  </a:lnTo>
                  <a:lnTo>
                    <a:pt x="6624" y="1906"/>
                  </a:lnTo>
                  <a:lnTo>
                    <a:pt x="6626" y="1913"/>
                  </a:lnTo>
                  <a:lnTo>
                    <a:pt x="6624" y="1920"/>
                  </a:lnTo>
                  <a:lnTo>
                    <a:pt x="6620" y="1927"/>
                  </a:lnTo>
                  <a:lnTo>
                    <a:pt x="6614" y="1932"/>
                  </a:lnTo>
                  <a:lnTo>
                    <a:pt x="6605" y="1933"/>
                  </a:lnTo>
                  <a:lnTo>
                    <a:pt x="6472" y="1933"/>
                  </a:lnTo>
                  <a:lnTo>
                    <a:pt x="6464" y="1932"/>
                  </a:lnTo>
                  <a:lnTo>
                    <a:pt x="6458" y="1927"/>
                  </a:lnTo>
                  <a:lnTo>
                    <a:pt x="6454" y="1920"/>
                  </a:lnTo>
                  <a:lnTo>
                    <a:pt x="6452" y="1913"/>
                  </a:lnTo>
                  <a:lnTo>
                    <a:pt x="6454" y="1906"/>
                  </a:lnTo>
                  <a:lnTo>
                    <a:pt x="6458" y="1900"/>
                  </a:lnTo>
                  <a:lnTo>
                    <a:pt x="6464" y="1895"/>
                  </a:lnTo>
                  <a:lnTo>
                    <a:pt x="6472" y="1893"/>
                  </a:lnTo>
                  <a:close/>
                  <a:moveTo>
                    <a:pt x="6709" y="1893"/>
                  </a:moveTo>
                  <a:lnTo>
                    <a:pt x="6842" y="1893"/>
                  </a:lnTo>
                  <a:lnTo>
                    <a:pt x="6851" y="1895"/>
                  </a:lnTo>
                  <a:lnTo>
                    <a:pt x="6858" y="1900"/>
                  </a:lnTo>
                  <a:lnTo>
                    <a:pt x="6861" y="1906"/>
                  </a:lnTo>
                  <a:lnTo>
                    <a:pt x="6863" y="1913"/>
                  </a:lnTo>
                  <a:lnTo>
                    <a:pt x="6861" y="1920"/>
                  </a:lnTo>
                  <a:lnTo>
                    <a:pt x="6858" y="1927"/>
                  </a:lnTo>
                  <a:lnTo>
                    <a:pt x="6851" y="1932"/>
                  </a:lnTo>
                  <a:lnTo>
                    <a:pt x="6842" y="1933"/>
                  </a:lnTo>
                  <a:lnTo>
                    <a:pt x="6709" y="1933"/>
                  </a:lnTo>
                  <a:lnTo>
                    <a:pt x="6700" y="1932"/>
                  </a:lnTo>
                  <a:lnTo>
                    <a:pt x="6693" y="1927"/>
                  </a:lnTo>
                  <a:lnTo>
                    <a:pt x="6690" y="1920"/>
                  </a:lnTo>
                  <a:lnTo>
                    <a:pt x="6688" y="1913"/>
                  </a:lnTo>
                  <a:lnTo>
                    <a:pt x="6690" y="1906"/>
                  </a:lnTo>
                  <a:lnTo>
                    <a:pt x="6693" y="1900"/>
                  </a:lnTo>
                  <a:lnTo>
                    <a:pt x="6700" y="1895"/>
                  </a:lnTo>
                  <a:lnTo>
                    <a:pt x="6709" y="1893"/>
                  </a:lnTo>
                  <a:close/>
                  <a:moveTo>
                    <a:pt x="6946" y="1893"/>
                  </a:moveTo>
                  <a:lnTo>
                    <a:pt x="7078" y="1893"/>
                  </a:lnTo>
                  <a:lnTo>
                    <a:pt x="7087" y="1895"/>
                  </a:lnTo>
                  <a:lnTo>
                    <a:pt x="7094" y="1900"/>
                  </a:lnTo>
                  <a:lnTo>
                    <a:pt x="7097" y="1906"/>
                  </a:lnTo>
                  <a:lnTo>
                    <a:pt x="7099" y="1913"/>
                  </a:lnTo>
                  <a:lnTo>
                    <a:pt x="7097" y="1920"/>
                  </a:lnTo>
                  <a:lnTo>
                    <a:pt x="7094" y="1927"/>
                  </a:lnTo>
                  <a:lnTo>
                    <a:pt x="7087" y="1932"/>
                  </a:lnTo>
                  <a:lnTo>
                    <a:pt x="7078" y="1933"/>
                  </a:lnTo>
                  <a:lnTo>
                    <a:pt x="6946" y="1933"/>
                  </a:lnTo>
                  <a:lnTo>
                    <a:pt x="6937" y="1932"/>
                  </a:lnTo>
                  <a:lnTo>
                    <a:pt x="6931" y="1927"/>
                  </a:lnTo>
                  <a:lnTo>
                    <a:pt x="6927" y="1920"/>
                  </a:lnTo>
                  <a:lnTo>
                    <a:pt x="6926" y="1913"/>
                  </a:lnTo>
                  <a:lnTo>
                    <a:pt x="6927" y="1906"/>
                  </a:lnTo>
                  <a:lnTo>
                    <a:pt x="6931" y="1900"/>
                  </a:lnTo>
                  <a:lnTo>
                    <a:pt x="6937" y="1895"/>
                  </a:lnTo>
                  <a:lnTo>
                    <a:pt x="6946" y="1893"/>
                  </a:lnTo>
                  <a:close/>
                  <a:moveTo>
                    <a:pt x="6236" y="2156"/>
                  </a:moveTo>
                  <a:lnTo>
                    <a:pt x="6369" y="2156"/>
                  </a:lnTo>
                  <a:lnTo>
                    <a:pt x="6378" y="2158"/>
                  </a:lnTo>
                  <a:lnTo>
                    <a:pt x="6384" y="2162"/>
                  </a:lnTo>
                  <a:lnTo>
                    <a:pt x="6387" y="2168"/>
                  </a:lnTo>
                  <a:lnTo>
                    <a:pt x="6388" y="2176"/>
                  </a:lnTo>
                  <a:lnTo>
                    <a:pt x="6387" y="2184"/>
                  </a:lnTo>
                  <a:lnTo>
                    <a:pt x="6384" y="2190"/>
                  </a:lnTo>
                  <a:lnTo>
                    <a:pt x="6378" y="2194"/>
                  </a:lnTo>
                  <a:lnTo>
                    <a:pt x="6369" y="2197"/>
                  </a:lnTo>
                  <a:lnTo>
                    <a:pt x="6236" y="2197"/>
                  </a:lnTo>
                  <a:lnTo>
                    <a:pt x="6227" y="2194"/>
                  </a:lnTo>
                  <a:lnTo>
                    <a:pt x="6220" y="2190"/>
                  </a:lnTo>
                  <a:lnTo>
                    <a:pt x="6216" y="2184"/>
                  </a:lnTo>
                  <a:lnTo>
                    <a:pt x="6215" y="2176"/>
                  </a:lnTo>
                  <a:lnTo>
                    <a:pt x="6216" y="2168"/>
                  </a:lnTo>
                  <a:lnTo>
                    <a:pt x="6220" y="2162"/>
                  </a:lnTo>
                  <a:lnTo>
                    <a:pt x="6227" y="2158"/>
                  </a:lnTo>
                  <a:lnTo>
                    <a:pt x="6236" y="2156"/>
                  </a:lnTo>
                  <a:close/>
                  <a:moveTo>
                    <a:pt x="6472" y="2156"/>
                  </a:moveTo>
                  <a:lnTo>
                    <a:pt x="6605" y="2156"/>
                  </a:lnTo>
                  <a:lnTo>
                    <a:pt x="6614" y="2158"/>
                  </a:lnTo>
                  <a:lnTo>
                    <a:pt x="6620" y="2162"/>
                  </a:lnTo>
                  <a:lnTo>
                    <a:pt x="6624" y="2168"/>
                  </a:lnTo>
                  <a:lnTo>
                    <a:pt x="6626" y="2176"/>
                  </a:lnTo>
                  <a:lnTo>
                    <a:pt x="6624" y="2184"/>
                  </a:lnTo>
                  <a:lnTo>
                    <a:pt x="6620" y="2190"/>
                  </a:lnTo>
                  <a:lnTo>
                    <a:pt x="6614" y="2194"/>
                  </a:lnTo>
                  <a:lnTo>
                    <a:pt x="6605" y="2197"/>
                  </a:lnTo>
                  <a:lnTo>
                    <a:pt x="6472" y="2197"/>
                  </a:lnTo>
                  <a:lnTo>
                    <a:pt x="6464" y="2194"/>
                  </a:lnTo>
                  <a:lnTo>
                    <a:pt x="6458" y="2190"/>
                  </a:lnTo>
                  <a:lnTo>
                    <a:pt x="6454" y="2184"/>
                  </a:lnTo>
                  <a:lnTo>
                    <a:pt x="6452" y="2176"/>
                  </a:lnTo>
                  <a:lnTo>
                    <a:pt x="6454" y="2168"/>
                  </a:lnTo>
                  <a:lnTo>
                    <a:pt x="6458" y="2162"/>
                  </a:lnTo>
                  <a:lnTo>
                    <a:pt x="6464" y="2158"/>
                  </a:lnTo>
                  <a:lnTo>
                    <a:pt x="6472" y="2156"/>
                  </a:lnTo>
                  <a:close/>
                  <a:moveTo>
                    <a:pt x="6709" y="2156"/>
                  </a:moveTo>
                  <a:lnTo>
                    <a:pt x="6842" y="2156"/>
                  </a:lnTo>
                  <a:lnTo>
                    <a:pt x="6851" y="2158"/>
                  </a:lnTo>
                  <a:lnTo>
                    <a:pt x="6858" y="2162"/>
                  </a:lnTo>
                  <a:lnTo>
                    <a:pt x="6861" y="2168"/>
                  </a:lnTo>
                  <a:lnTo>
                    <a:pt x="6863" y="2176"/>
                  </a:lnTo>
                  <a:lnTo>
                    <a:pt x="6861" y="2184"/>
                  </a:lnTo>
                  <a:lnTo>
                    <a:pt x="6858" y="2190"/>
                  </a:lnTo>
                  <a:lnTo>
                    <a:pt x="6851" y="2194"/>
                  </a:lnTo>
                  <a:lnTo>
                    <a:pt x="6842" y="2197"/>
                  </a:lnTo>
                  <a:lnTo>
                    <a:pt x="6709" y="2197"/>
                  </a:lnTo>
                  <a:lnTo>
                    <a:pt x="6700" y="2194"/>
                  </a:lnTo>
                  <a:lnTo>
                    <a:pt x="6693" y="2190"/>
                  </a:lnTo>
                  <a:lnTo>
                    <a:pt x="6690" y="2184"/>
                  </a:lnTo>
                  <a:lnTo>
                    <a:pt x="6688" y="2176"/>
                  </a:lnTo>
                  <a:lnTo>
                    <a:pt x="6690" y="2168"/>
                  </a:lnTo>
                  <a:lnTo>
                    <a:pt x="6693" y="2162"/>
                  </a:lnTo>
                  <a:lnTo>
                    <a:pt x="6700" y="2158"/>
                  </a:lnTo>
                  <a:lnTo>
                    <a:pt x="6709" y="2156"/>
                  </a:lnTo>
                  <a:close/>
                  <a:moveTo>
                    <a:pt x="6946" y="2156"/>
                  </a:moveTo>
                  <a:lnTo>
                    <a:pt x="7078" y="2156"/>
                  </a:lnTo>
                  <a:lnTo>
                    <a:pt x="7087" y="2158"/>
                  </a:lnTo>
                  <a:lnTo>
                    <a:pt x="7094" y="2162"/>
                  </a:lnTo>
                  <a:lnTo>
                    <a:pt x="7097" y="2168"/>
                  </a:lnTo>
                  <a:lnTo>
                    <a:pt x="7099" y="2176"/>
                  </a:lnTo>
                  <a:lnTo>
                    <a:pt x="7097" y="2184"/>
                  </a:lnTo>
                  <a:lnTo>
                    <a:pt x="7094" y="2190"/>
                  </a:lnTo>
                  <a:lnTo>
                    <a:pt x="7087" y="2194"/>
                  </a:lnTo>
                  <a:lnTo>
                    <a:pt x="7078" y="2197"/>
                  </a:lnTo>
                  <a:lnTo>
                    <a:pt x="6946" y="2197"/>
                  </a:lnTo>
                  <a:lnTo>
                    <a:pt x="6937" y="2194"/>
                  </a:lnTo>
                  <a:lnTo>
                    <a:pt x="6931" y="2190"/>
                  </a:lnTo>
                  <a:lnTo>
                    <a:pt x="6927" y="2184"/>
                  </a:lnTo>
                  <a:lnTo>
                    <a:pt x="6926" y="2176"/>
                  </a:lnTo>
                  <a:lnTo>
                    <a:pt x="6927" y="2168"/>
                  </a:lnTo>
                  <a:lnTo>
                    <a:pt x="6931" y="2162"/>
                  </a:lnTo>
                  <a:lnTo>
                    <a:pt x="6937" y="2158"/>
                  </a:lnTo>
                  <a:lnTo>
                    <a:pt x="6946" y="2156"/>
                  </a:lnTo>
                  <a:close/>
                  <a:moveTo>
                    <a:pt x="6236" y="2419"/>
                  </a:moveTo>
                  <a:lnTo>
                    <a:pt x="6369" y="2419"/>
                  </a:lnTo>
                  <a:lnTo>
                    <a:pt x="6378" y="2420"/>
                  </a:lnTo>
                  <a:lnTo>
                    <a:pt x="6384" y="2425"/>
                  </a:lnTo>
                  <a:lnTo>
                    <a:pt x="6387" y="2432"/>
                  </a:lnTo>
                  <a:lnTo>
                    <a:pt x="6388" y="2439"/>
                  </a:lnTo>
                  <a:lnTo>
                    <a:pt x="6387" y="2446"/>
                  </a:lnTo>
                  <a:lnTo>
                    <a:pt x="6384" y="2452"/>
                  </a:lnTo>
                  <a:lnTo>
                    <a:pt x="6378" y="2457"/>
                  </a:lnTo>
                  <a:lnTo>
                    <a:pt x="6369" y="2459"/>
                  </a:lnTo>
                  <a:lnTo>
                    <a:pt x="6236" y="2459"/>
                  </a:lnTo>
                  <a:lnTo>
                    <a:pt x="6227" y="2457"/>
                  </a:lnTo>
                  <a:lnTo>
                    <a:pt x="6220" y="2452"/>
                  </a:lnTo>
                  <a:lnTo>
                    <a:pt x="6216" y="2446"/>
                  </a:lnTo>
                  <a:lnTo>
                    <a:pt x="6215" y="2439"/>
                  </a:lnTo>
                  <a:lnTo>
                    <a:pt x="6216" y="2432"/>
                  </a:lnTo>
                  <a:lnTo>
                    <a:pt x="6220" y="2425"/>
                  </a:lnTo>
                  <a:lnTo>
                    <a:pt x="6227" y="2420"/>
                  </a:lnTo>
                  <a:lnTo>
                    <a:pt x="6236" y="2419"/>
                  </a:lnTo>
                  <a:close/>
                  <a:moveTo>
                    <a:pt x="6472" y="2419"/>
                  </a:moveTo>
                  <a:lnTo>
                    <a:pt x="6605" y="2419"/>
                  </a:lnTo>
                  <a:lnTo>
                    <a:pt x="6614" y="2420"/>
                  </a:lnTo>
                  <a:lnTo>
                    <a:pt x="6620" y="2425"/>
                  </a:lnTo>
                  <a:lnTo>
                    <a:pt x="6624" y="2432"/>
                  </a:lnTo>
                  <a:lnTo>
                    <a:pt x="6626" y="2439"/>
                  </a:lnTo>
                  <a:lnTo>
                    <a:pt x="6624" y="2446"/>
                  </a:lnTo>
                  <a:lnTo>
                    <a:pt x="6620" y="2452"/>
                  </a:lnTo>
                  <a:lnTo>
                    <a:pt x="6614" y="2457"/>
                  </a:lnTo>
                  <a:lnTo>
                    <a:pt x="6605" y="2459"/>
                  </a:lnTo>
                  <a:lnTo>
                    <a:pt x="6472" y="2459"/>
                  </a:lnTo>
                  <a:lnTo>
                    <a:pt x="6464" y="2457"/>
                  </a:lnTo>
                  <a:lnTo>
                    <a:pt x="6458" y="2452"/>
                  </a:lnTo>
                  <a:lnTo>
                    <a:pt x="6454" y="2446"/>
                  </a:lnTo>
                  <a:lnTo>
                    <a:pt x="6452" y="2439"/>
                  </a:lnTo>
                  <a:lnTo>
                    <a:pt x="6454" y="2432"/>
                  </a:lnTo>
                  <a:lnTo>
                    <a:pt x="6458" y="2425"/>
                  </a:lnTo>
                  <a:lnTo>
                    <a:pt x="6464" y="2420"/>
                  </a:lnTo>
                  <a:lnTo>
                    <a:pt x="6472" y="2419"/>
                  </a:lnTo>
                  <a:close/>
                  <a:moveTo>
                    <a:pt x="6709" y="2419"/>
                  </a:moveTo>
                  <a:lnTo>
                    <a:pt x="6842" y="2419"/>
                  </a:lnTo>
                  <a:lnTo>
                    <a:pt x="6851" y="2420"/>
                  </a:lnTo>
                  <a:lnTo>
                    <a:pt x="6858" y="2425"/>
                  </a:lnTo>
                  <a:lnTo>
                    <a:pt x="6861" y="2432"/>
                  </a:lnTo>
                  <a:lnTo>
                    <a:pt x="6863" y="2439"/>
                  </a:lnTo>
                  <a:lnTo>
                    <a:pt x="6861" y="2446"/>
                  </a:lnTo>
                  <a:lnTo>
                    <a:pt x="6858" y="2452"/>
                  </a:lnTo>
                  <a:lnTo>
                    <a:pt x="6851" y="2457"/>
                  </a:lnTo>
                  <a:lnTo>
                    <a:pt x="6842" y="2459"/>
                  </a:lnTo>
                  <a:lnTo>
                    <a:pt x="6709" y="2459"/>
                  </a:lnTo>
                  <a:lnTo>
                    <a:pt x="6700" y="2457"/>
                  </a:lnTo>
                  <a:lnTo>
                    <a:pt x="6693" y="2452"/>
                  </a:lnTo>
                  <a:lnTo>
                    <a:pt x="6690" y="2446"/>
                  </a:lnTo>
                  <a:lnTo>
                    <a:pt x="6688" y="2439"/>
                  </a:lnTo>
                  <a:lnTo>
                    <a:pt x="6690" y="2432"/>
                  </a:lnTo>
                  <a:lnTo>
                    <a:pt x="6693" y="2425"/>
                  </a:lnTo>
                  <a:lnTo>
                    <a:pt x="6700" y="2420"/>
                  </a:lnTo>
                  <a:lnTo>
                    <a:pt x="6709" y="2419"/>
                  </a:lnTo>
                  <a:close/>
                  <a:moveTo>
                    <a:pt x="6946" y="2419"/>
                  </a:moveTo>
                  <a:lnTo>
                    <a:pt x="7078" y="2419"/>
                  </a:lnTo>
                  <a:lnTo>
                    <a:pt x="7087" y="2420"/>
                  </a:lnTo>
                  <a:lnTo>
                    <a:pt x="7094" y="2425"/>
                  </a:lnTo>
                  <a:lnTo>
                    <a:pt x="7097" y="2432"/>
                  </a:lnTo>
                  <a:lnTo>
                    <a:pt x="7099" y="2439"/>
                  </a:lnTo>
                  <a:lnTo>
                    <a:pt x="7097" y="2446"/>
                  </a:lnTo>
                  <a:lnTo>
                    <a:pt x="7094" y="2452"/>
                  </a:lnTo>
                  <a:lnTo>
                    <a:pt x="7087" y="2457"/>
                  </a:lnTo>
                  <a:lnTo>
                    <a:pt x="7078" y="2459"/>
                  </a:lnTo>
                  <a:lnTo>
                    <a:pt x="6946" y="2459"/>
                  </a:lnTo>
                  <a:lnTo>
                    <a:pt x="6937" y="2457"/>
                  </a:lnTo>
                  <a:lnTo>
                    <a:pt x="6931" y="2452"/>
                  </a:lnTo>
                  <a:lnTo>
                    <a:pt x="6927" y="2446"/>
                  </a:lnTo>
                  <a:lnTo>
                    <a:pt x="6926" y="2439"/>
                  </a:lnTo>
                  <a:lnTo>
                    <a:pt x="6927" y="2432"/>
                  </a:lnTo>
                  <a:lnTo>
                    <a:pt x="6931" y="2425"/>
                  </a:lnTo>
                  <a:lnTo>
                    <a:pt x="6937" y="2420"/>
                  </a:lnTo>
                  <a:lnTo>
                    <a:pt x="6946" y="2419"/>
                  </a:lnTo>
                  <a:close/>
                  <a:moveTo>
                    <a:pt x="6236" y="2682"/>
                  </a:moveTo>
                  <a:lnTo>
                    <a:pt x="6369" y="2682"/>
                  </a:lnTo>
                  <a:lnTo>
                    <a:pt x="6378" y="2684"/>
                  </a:lnTo>
                  <a:lnTo>
                    <a:pt x="6384" y="2689"/>
                  </a:lnTo>
                  <a:lnTo>
                    <a:pt x="6387" y="2695"/>
                  </a:lnTo>
                  <a:lnTo>
                    <a:pt x="6388" y="2702"/>
                  </a:lnTo>
                  <a:lnTo>
                    <a:pt x="6387" y="2709"/>
                  </a:lnTo>
                  <a:lnTo>
                    <a:pt x="6384" y="2716"/>
                  </a:lnTo>
                  <a:lnTo>
                    <a:pt x="6378" y="2721"/>
                  </a:lnTo>
                  <a:lnTo>
                    <a:pt x="6369" y="2722"/>
                  </a:lnTo>
                  <a:lnTo>
                    <a:pt x="6236" y="2722"/>
                  </a:lnTo>
                  <a:lnTo>
                    <a:pt x="6227" y="2721"/>
                  </a:lnTo>
                  <a:lnTo>
                    <a:pt x="6220" y="2716"/>
                  </a:lnTo>
                  <a:lnTo>
                    <a:pt x="6216" y="2709"/>
                  </a:lnTo>
                  <a:lnTo>
                    <a:pt x="6215" y="2702"/>
                  </a:lnTo>
                  <a:lnTo>
                    <a:pt x="6216" y="2695"/>
                  </a:lnTo>
                  <a:lnTo>
                    <a:pt x="6220" y="2689"/>
                  </a:lnTo>
                  <a:lnTo>
                    <a:pt x="6227" y="2684"/>
                  </a:lnTo>
                  <a:lnTo>
                    <a:pt x="6236" y="2682"/>
                  </a:lnTo>
                  <a:close/>
                  <a:moveTo>
                    <a:pt x="6472" y="2682"/>
                  </a:moveTo>
                  <a:lnTo>
                    <a:pt x="6605" y="2682"/>
                  </a:lnTo>
                  <a:lnTo>
                    <a:pt x="6614" y="2684"/>
                  </a:lnTo>
                  <a:lnTo>
                    <a:pt x="6620" y="2689"/>
                  </a:lnTo>
                  <a:lnTo>
                    <a:pt x="6624" y="2695"/>
                  </a:lnTo>
                  <a:lnTo>
                    <a:pt x="6626" y="2702"/>
                  </a:lnTo>
                  <a:lnTo>
                    <a:pt x="6624" y="2709"/>
                  </a:lnTo>
                  <a:lnTo>
                    <a:pt x="6620" y="2716"/>
                  </a:lnTo>
                  <a:lnTo>
                    <a:pt x="6614" y="2721"/>
                  </a:lnTo>
                  <a:lnTo>
                    <a:pt x="6605" y="2722"/>
                  </a:lnTo>
                  <a:lnTo>
                    <a:pt x="6472" y="2722"/>
                  </a:lnTo>
                  <a:lnTo>
                    <a:pt x="6464" y="2721"/>
                  </a:lnTo>
                  <a:lnTo>
                    <a:pt x="6458" y="2716"/>
                  </a:lnTo>
                  <a:lnTo>
                    <a:pt x="6454" y="2709"/>
                  </a:lnTo>
                  <a:lnTo>
                    <a:pt x="6452" y="2702"/>
                  </a:lnTo>
                  <a:lnTo>
                    <a:pt x="6454" y="2695"/>
                  </a:lnTo>
                  <a:lnTo>
                    <a:pt x="6458" y="2689"/>
                  </a:lnTo>
                  <a:lnTo>
                    <a:pt x="6464" y="2684"/>
                  </a:lnTo>
                  <a:lnTo>
                    <a:pt x="6472" y="2682"/>
                  </a:lnTo>
                  <a:close/>
                  <a:moveTo>
                    <a:pt x="6709" y="2682"/>
                  </a:moveTo>
                  <a:lnTo>
                    <a:pt x="6842" y="2682"/>
                  </a:lnTo>
                  <a:lnTo>
                    <a:pt x="6851" y="2684"/>
                  </a:lnTo>
                  <a:lnTo>
                    <a:pt x="6858" y="2689"/>
                  </a:lnTo>
                  <a:lnTo>
                    <a:pt x="6861" y="2695"/>
                  </a:lnTo>
                  <a:lnTo>
                    <a:pt x="6863" y="2702"/>
                  </a:lnTo>
                  <a:lnTo>
                    <a:pt x="6861" y="2709"/>
                  </a:lnTo>
                  <a:lnTo>
                    <a:pt x="6858" y="2716"/>
                  </a:lnTo>
                  <a:lnTo>
                    <a:pt x="6851" y="2721"/>
                  </a:lnTo>
                  <a:lnTo>
                    <a:pt x="6842" y="2722"/>
                  </a:lnTo>
                  <a:lnTo>
                    <a:pt x="6709" y="2722"/>
                  </a:lnTo>
                  <a:lnTo>
                    <a:pt x="6700" y="2721"/>
                  </a:lnTo>
                  <a:lnTo>
                    <a:pt x="6693" y="2716"/>
                  </a:lnTo>
                  <a:lnTo>
                    <a:pt x="6690" y="2709"/>
                  </a:lnTo>
                  <a:lnTo>
                    <a:pt x="6688" y="2702"/>
                  </a:lnTo>
                  <a:lnTo>
                    <a:pt x="6690" y="2695"/>
                  </a:lnTo>
                  <a:lnTo>
                    <a:pt x="6693" y="2689"/>
                  </a:lnTo>
                  <a:lnTo>
                    <a:pt x="6700" y="2684"/>
                  </a:lnTo>
                  <a:lnTo>
                    <a:pt x="6709" y="2682"/>
                  </a:lnTo>
                  <a:close/>
                  <a:moveTo>
                    <a:pt x="6946" y="2682"/>
                  </a:moveTo>
                  <a:lnTo>
                    <a:pt x="7078" y="2682"/>
                  </a:lnTo>
                  <a:lnTo>
                    <a:pt x="7087" y="2684"/>
                  </a:lnTo>
                  <a:lnTo>
                    <a:pt x="7094" y="2689"/>
                  </a:lnTo>
                  <a:lnTo>
                    <a:pt x="7097" y="2695"/>
                  </a:lnTo>
                  <a:lnTo>
                    <a:pt x="7099" y="2702"/>
                  </a:lnTo>
                  <a:lnTo>
                    <a:pt x="7097" y="2709"/>
                  </a:lnTo>
                  <a:lnTo>
                    <a:pt x="7094" y="2716"/>
                  </a:lnTo>
                  <a:lnTo>
                    <a:pt x="7087" y="2721"/>
                  </a:lnTo>
                  <a:lnTo>
                    <a:pt x="7078" y="2722"/>
                  </a:lnTo>
                  <a:lnTo>
                    <a:pt x="6946" y="2722"/>
                  </a:lnTo>
                  <a:lnTo>
                    <a:pt x="6937" y="2721"/>
                  </a:lnTo>
                  <a:lnTo>
                    <a:pt x="6931" y="2716"/>
                  </a:lnTo>
                  <a:lnTo>
                    <a:pt x="6927" y="2709"/>
                  </a:lnTo>
                  <a:lnTo>
                    <a:pt x="6926" y="2702"/>
                  </a:lnTo>
                  <a:lnTo>
                    <a:pt x="6927" y="2695"/>
                  </a:lnTo>
                  <a:lnTo>
                    <a:pt x="6931" y="2689"/>
                  </a:lnTo>
                  <a:lnTo>
                    <a:pt x="6937" y="2684"/>
                  </a:lnTo>
                  <a:lnTo>
                    <a:pt x="6946" y="2682"/>
                  </a:lnTo>
                  <a:close/>
                  <a:moveTo>
                    <a:pt x="6236" y="2946"/>
                  </a:moveTo>
                  <a:lnTo>
                    <a:pt x="6369" y="2946"/>
                  </a:lnTo>
                  <a:lnTo>
                    <a:pt x="6378" y="2947"/>
                  </a:lnTo>
                  <a:lnTo>
                    <a:pt x="6384" y="2951"/>
                  </a:lnTo>
                  <a:lnTo>
                    <a:pt x="6387" y="2957"/>
                  </a:lnTo>
                  <a:lnTo>
                    <a:pt x="6388" y="2965"/>
                  </a:lnTo>
                  <a:lnTo>
                    <a:pt x="6387" y="2973"/>
                  </a:lnTo>
                  <a:lnTo>
                    <a:pt x="6384" y="2979"/>
                  </a:lnTo>
                  <a:lnTo>
                    <a:pt x="6378" y="2983"/>
                  </a:lnTo>
                  <a:lnTo>
                    <a:pt x="6369" y="2985"/>
                  </a:lnTo>
                  <a:lnTo>
                    <a:pt x="6236" y="2985"/>
                  </a:lnTo>
                  <a:lnTo>
                    <a:pt x="6227" y="2983"/>
                  </a:lnTo>
                  <a:lnTo>
                    <a:pt x="6220" y="2979"/>
                  </a:lnTo>
                  <a:lnTo>
                    <a:pt x="6216" y="2973"/>
                  </a:lnTo>
                  <a:lnTo>
                    <a:pt x="6215" y="2965"/>
                  </a:lnTo>
                  <a:lnTo>
                    <a:pt x="6216" y="2957"/>
                  </a:lnTo>
                  <a:lnTo>
                    <a:pt x="6220" y="2951"/>
                  </a:lnTo>
                  <a:lnTo>
                    <a:pt x="6227" y="2947"/>
                  </a:lnTo>
                  <a:lnTo>
                    <a:pt x="6236" y="2946"/>
                  </a:lnTo>
                  <a:close/>
                  <a:moveTo>
                    <a:pt x="6472" y="2946"/>
                  </a:moveTo>
                  <a:lnTo>
                    <a:pt x="6605" y="2946"/>
                  </a:lnTo>
                  <a:lnTo>
                    <a:pt x="6614" y="2947"/>
                  </a:lnTo>
                  <a:lnTo>
                    <a:pt x="6620" y="2951"/>
                  </a:lnTo>
                  <a:lnTo>
                    <a:pt x="6624" y="2957"/>
                  </a:lnTo>
                  <a:lnTo>
                    <a:pt x="6626" y="2965"/>
                  </a:lnTo>
                  <a:lnTo>
                    <a:pt x="6624" y="2973"/>
                  </a:lnTo>
                  <a:lnTo>
                    <a:pt x="6620" y="2979"/>
                  </a:lnTo>
                  <a:lnTo>
                    <a:pt x="6614" y="2983"/>
                  </a:lnTo>
                  <a:lnTo>
                    <a:pt x="6605" y="2985"/>
                  </a:lnTo>
                  <a:lnTo>
                    <a:pt x="6472" y="2985"/>
                  </a:lnTo>
                  <a:lnTo>
                    <a:pt x="6464" y="2983"/>
                  </a:lnTo>
                  <a:lnTo>
                    <a:pt x="6458" y="2979"/>
                  </a:lnTo>
                  <a:lnTo>
                    <a:pt x="6454" y="2973"/>
                  </a:lnTo>
                  <a:lnTo>
                    <a:pt x="6452" y="2965"/>
                  </a:lnTo>
                  <a:lnTo>
                    <a:pt x="6454" y="2957"/>
                  </a:lnTo>
                  <a:lnTo>
                    <a:pt x="6458" y="2951"/>
                  </a:lnTo>
                  <a:lnTo>
                    <a:pt x="6464" y="2947"/>
                  </a:lnTo>
                  <a:lnTo>
                    <a:pt x="6472" y="2946"/>
                  </a:lnTo>
                  <a:close/>
                  <a:moveTo>
                    <a:pt x="6709" y="2946"/>
                  </a:moveTo>
                  <a:lnTo>
                    <a:pt x="6842" y="2946"/>
                  </a:lnTo>
                  <a:lnTo>
                    <a:pt x="6851" y="2947"/>
                  </a:lnTo>
                  <a:lnTo>
                    <a:pt x="6858" y="2951"/>
                  </a:lnTo>
                  <a:lnTo>
                    <a:pt x="6861" y="2957"/>
                  </a:lnTo>
                  <a:lnTo>
                    <a:pt x="6863" y="2965"/>
                  </a:lnTo>
                  <a:lnTo>
                    <a:pt x="6861" y="2973"/>
                  </a:lnTo>
                  <a:lnTo>
                    <a:pt x="6858" y="2979"/>
                  </a:lnTo>
                  <a:lnTo>
                    <a:pt x="6851" y="2983"/>
                  </a:lnTo>
                  <a:lnTo>
                    <a:pt x="6842" y="2985"/>
                  </a:lnTo>
                  <a:lnTo>
                    <a:pt x="6709" y="2985"/>
                  </a:lnTo>
                  <a:lnTo>
                    <a:pt x="6700" y="2983"/>
                  </a:lnTo>
                  <a:lnTo>
                    <a:pt x="6693" y="2979"/>
                  </a:lnTo>
                  <a:lnTo>
                    <a:pt x="6690" y="2973"/>
                  </a:lnTo>
                  <a:lnTo>
                    <a:pt x="6688" y="2965"/>
                  </a:lnTo>
                  <a:lnTo>
                    <a:pt x="6690" y="2957"/>
                  </a:lnTo>
                  <a:lnTo>
                    <a:pt x="6693" y="2951"/>
                  </a:lnTo>
                  <a:lnTo>
                    <a:pt x="6700" y="2947"/>
                  </a:lnTo>
                  <a:lnTo>
                    <a:pt x="6709" y="2946"/>
                  </a:lnTo>
                  <a:close/>
                  <a:moveTo>
                    <a:pt x="6946" y="2946"/>
                  </a:moveTo>
                  <a:lnTo>
                    <a:pt x="7078" y="2946"/>
                  </a:lnTo>
                  <a:lnTo>
                    <a:pt x="7087" y="2947"/>
                  </a:lnTo>
                  <a:lnTo>
                    <a:pt x="7094" y="2951"/>
                  </a:lnTo>
                  <a:lnTo>
                    <a:pt x="7097" y="2957"/>
                  </a:lnTo>
                  <a:lnTo>
                    <a:pt x="7099" y="2965"/>
                  </a:lnTo>
                  <a:lnTo>
                    <a:pt x="7097" y="2973"/>
                  </a:lnTo>
                  <a:lnTo>
                    <a:pt x="7094" y="2979"/>
                  </a:lnTo>
                  <a:lnTo>
                    <a:pt x="7087" y="2983"/>
                  </a:lnTo>
                  <a:lnTo>
                    <a:pt x="7078" y="2985"/>
                  </a:lnTo>
                  <a:lnTo>
                    <a:pt x="6946" y="2985"/>
                  </a:lnTo>
                  <a:lnTo>
                    <a:pt x="6937" y="2983"/>
                  </a:lnTo>
                  <a:lnTo>
                    <a:pt x="6931" y="2979"/>
                  </a:lnTo>
                  <a:lnTo>
                    <a:pt x="6927" y="2973"/>
                  </a:lnTo>
                  <a:lnTo>
                    <a:pt x="6926" y="2965"/>
                  </a:lnTo>
                  <a:lnTo>
                    <a:pt x="6927" y="2957"/>
                  </a:lnTo>
                  <a:lnTo>
                    <a:pt x="6931" y="2951"/>
                  </a:lnTo>
                  <a:lnTo>
                    <a:pt x="6937" y="2947"/>
                  </a:lnTo>
                  <a:lnTo>
                    <a:pt x="6946" y="2946"/>
                  </a:lnTo>
                  <a:close/>
                  <a:moveTo>
                    <a:pt x="6236" y="3208"/>
                  </a:moveTo>
                  <a:lnTo>
                    <a:pt x="6369" y="3208"/>
                  </a:lnTo>
                  <a:lnTo>
                    <a:pt x="6378" y="3211"/>
                  </a:lnTo>
                  <a:lnTo>
                    <a:pt x="6384" y="3214"/>
                  </a:lnTo>
                  <a:lnTo>
                    <a:pt x="6387" y="3221"/>
                  </a:lnTo>
                  <a:lnTo>
                    <a:pt x="6388" y="3228"/>
                  </a:lnTo>
                  <a:lnTo>
                    <a:pt x="6387" y="3236"/>
                  </a:lnTo>
                  <a:lnTo>
                    <a:pt x="6384" y="3242"/>
                  </a:lnTo>
                  <a:lnTo>
                    <a:pt x="6378" y="3246"/>
                  </a:lnTo>
                  <a:lnTo>
                    <a:pt x="6369" y="3248"/>
                  </a:lnTo>
                  <a:lnTo>
                    <a:pt x="6236" y="3248"/>
                  </a:lnTo>
                  <a:lnTo>
                    <a:pt x="6227" y="3246"/>
                  </a:lnTo>
                  <a:lnTo>
                    <a:pt x="6220" y="3242"/>
                  </a:lnTo>
                  <a:lnTo>
                    <a:pt x="6216" y="3236"/>
                  </a:lnTo>
                  <a:lnTo>
                    <a:pt x="6215" y="3228"/>
                  </a:lnTo>
                  <a:lnTo>
                    <a:pt x="6216" y="3221"/>
                  </a:lnTo>
                  <a:lnTo>
                    <a:pt x="6220" y="3214"/>
                  </a:lnTo>
                  <a:lnTo>
                    <a:pt x="6227" y="3211"/>
                  </a:lnTo>
                  <a:lnTo>
                    <a:pt x="6236" y="3208"/>
                  </a:lnTo>
                  <a:close/>
                  <a:moveTo>
                    <a:pt x="6472" y="3208"/>
                  </a:moveTo>
                  <a:lnTo>
                    <a:pt x="6605" y="3208"/>
                  </a:lnTo>
                  <a:lnTo>
                    <a:pt x="6614" y="3211"/>
                  </a:lnTo>
                  <a:lnTo>
                    <a:pt x="6620" y="3214"/>
                  </a:lnTo>
                  <a:lnTo>
                    <a:pt x="6624" y="3221"/>
                  </a:lnTo>
                  <a:lnTo>
                    <a:pt x="6626" y="3228"/>
                  </a:lnTo>
                  <a:lnTo>
                    <a:pt x="6624" y="3236"/>
                  </a:lnTo>
                  <a:lnTo>
                    <a:pt x="6620" y="3242"/>
                  </a:lnTo>
                  <a:lnTo>
                    <a:pt x="6614" y="3246"/>
                  </a:lnTo>
                  <a:lnTo>
                    <a:pt x="6605" y="3248"/>
                  </a:lnTo>
                  <a:lnTo>
                    <a:pt x="6472" y="3248"/>
                  </a:lnTo>
                  <a:lnTo>
                    <a:pt x="6464" y="3246"/>
                  </a:lnTo>
                  <a:lnTo>
                    <a:pt x="6458" y="3242"/>
                  </a:lnTo>
                  <a:lnTo>
                    <a:pt x="6454" y="3236"/>
                  </a:lnTo>
                  <a:lnTo>
                    <a:pt x="6452" y="3228"/>
                  </a:lnTo>
                  <a:lnTo>
                    <a:pt x="6454" y="3221"/>
                  </a:lnTo>
                  <a:lnTo>
                    <a:pt x="6458" y="3214"/>
                  </a:lnTo>
                  <a:lnTo>
                    <a:pt x="6464" y="3211"/>
                  </a:lnTo>
                  <a:lnTo>
                    <a:pt x="6472" y="3208"/>
                  </a:lnTo>
                  <a:close/>
                  <a:moveTo>
                    <a:pt x="6709" y="3208"/>
                  </a:moveTo>
                  <a:lnTo>
                    <a:pt x="6842" y="3208"/>
                  </a:lnTo>
                  <a:lnTo>
                    <a:pt x="6851" y="3211"/>
                  </a:lnTo>
                  <a:lnTo>
                    <a:pt x="6858" y="3214"/>
                  </a:lnTo>
                  <a:lnTo>
                    <a:pt x="6861" y="3221"/>
                  </a:lnTo>
                  <a:lnTo>
                    <a:pt x="6863" y="3228"/>
                  </a:lnTo>
                  <a:lnTo>
                    <a:pt x="6861" y="3236"/>
                  </a:lnTo>
                  <a:lnTo>
                    <a:pt x="6858" y="3242"/>
                  </a:lnTo>
                  <a:lnTo>
                    <a:pt x="6851" y="3246"/>
                  </a:lnTo>
                  <a:lnTo>
                    <a:pt x="6842" y="3248"/>
                  </a:lnTo>
                  <a:lnTo>
                    <a:pt x="6709" y="3248"/>
                  </a:lnTo>
                  <a:lnTo>
                    <a:pt x="6700" y="3246"/>
                  </a:lnTo>
                  <a:lnTo>
                    <a:pt x="6693" y="3242"/>
                  </a:lnTo>
                  <a:lnTo>
                    <a:pt x="6690" y="3236"/>
                  </a:lnTo>
                  <a:lnTo>
                    <a:pt x="6688" y="3228"/>
                  </a:lnTo>
                  <a:lnTo>
                    <a:pt x="6690" y="3221"/>
                  </a:lnTo>
                  <a:lnTo>
                    <a:pt x="6693" y="3214"/>
                  </a:lnTo>
                  <a:lnTo>
                    <a:pt x="6700" y="3211"/>
                  </a:lnTo>
                  <a:lnTo>
                    <a:pt x="6709" y="3208"/>
                  </a:lnTo>
                  <a:close/>
                  <a:moveTo>
                    <a:pt x="6946" y="3208"/>
                  </a:moveTo>
                  <a:lnTo>
                    <a:pt x="7078" y="3208"/>
                  </a:lnTo>
                  <a:lnTo>
                    <a:pt x="7087" y="3211"/>
                  </a:lnTo>
                  <a:lnTo>
                    <a:pt x="7094" y="3214"/>
                  </a:lnTo>
                  <a:lnTo>
                    <a:pt x="7097" y="3221"/>
                  </a:lnTo>
                  <a:lnTo>
                    <a:pt x="7099" y="3228"/>
                  </a:lnTo>
                  <a:lnTo>
                    <a:pt x="7097" y="3236"/>
                  </a:lnTo>
                  <a:lnTo>
                    <a:pt x="7094" y="3242"/>
                  </a:lnTo>
                  <a:lnTo>
                    <a:pt x="7087" y="3246"/>
                  </a:lnTo>
                  <a:lnTo>
                    <a:pt x="7078" y="3248"/>
                  </a:lnTo>
                  <a:lnTo>
                    <a:pt x="6946" y="3248"/>
                  </a:lnTo>
                  <a:lnTo>
                    <a:pt x="6937" y="3246"/>
                  </a:lnTo>
                  <a:lnTo>
                    <a:pt x="6931" y="3242"/>
                  </a:lnTo>
                  <a:lnTo>
                    <a:pt x="6927" y="3236"/>
                  </a:lnTo>
                  <a:lnTo>
                    <a:pt x="6926" y="3228"/>
                  </a:lnTo>
                  <a:lnTo>
                    <a:pt x="6927" y="3221"/>
                  </a:lnTo>
                  <a:lnTo>
                    <a:pt x="6931" y="3214"/>
                  </a:lnTo>
                  <a:lnTo>
                    <a:pt x="6937" y="3211"/>
                  </a:lnTo>
                  <a:lnTo>
                    <a:pt x="6946" y="3208"/>
                  </a:lnTo>
                  <a:close/>
                  <a:moveTo>
                    <a:pt x="6236" y="3471"/>
                  </a:moveTo>
                  <a:lnTo>
                    <a:pt x="6369" y="3471"/>
                  </a:lnTo>
                  <a:lnTo>
                    <a:pt x="6378" y="3473"/>
                  </a:lnTo>
                  <a:lnTo>
                    <a:pt x="6384" y="3478"/>
                  </a:lnTo>
                  <a:lnTo>
                    <a:pt x="6387" y="3484"/>
                  </a:lnTo>
                  <a:lnTo>
                    <a:pt x="6388" y="3492"/>
                  </a:lnTo>
                  <a:lnTo>
                    <a:pt x="6387" y="3498"/>
                  </a:lnTo>
                  <a:lnTo>
                    <a:pt x="6384" y="3505"/>
                  </a:lnTo>
                  <a:lnTo>
                    <a:pt x="6378" y="3510"/>
                  </a:lnTo>
                  <a:lnTo>
                    <a:pt x="6369" y="3511"/>
                  </a:lnTo>
                  <a:lnTo>
                    <a:pt x="6236" y="3511"/>
                  </a:lnTo>
                  <a:lnTo>
                    <a:pt x="6227" y="3510"/>
                  </a:lnTo>
                  <a:lnTo>
                    <a:pt x="6220" y="3505"/>
                  </a:lnTo>
                  <a:lnTo>
                    <a:pt x="6216" y="3498"/>
                  </a:lnTo>
                  <a:lnTo>
                    <a:pt x="6215" y="3492"/>
                  </a:lnTo>
                  <a:lnTo>
                    <a:pt x="6216" y="3484"/>
                  </a:lnTo>
                  <a:lnTo>
                    <a:pt x="6220" y="3478"/>
                  </a:lnTo>
                  <a:lnTo>
                    <a:pt x="6227" y="3473"/>
                  </a:lnTo>
                  <a:lnTo>
                    <a:pt x="6236" y="3471"/>
                  </a:lnTo>
                  <a:close/>
                  <a:moveTo>
                    <a:pt x="6472" y="3471"/>
                  </a:moveTo>
                  <a:lnTo>
                    <a:pt x="6605" y="3471"/>
                  </a:lnTo>
                  <a:lnTo>
                    <a:pt x="6614" y="3473"/>
                  </a:lnTo>
                  <a:lnTo>
                    <a:pt x="6620" y="3478"/>
                  </a:lnTo>
                  <a:lnTo>
                    <a:pt x="6624" y="3484"/>
                  </a:lnTo>
                  <a:lnTo>
                    <a:pt x="6626" y="3492"/>
                  </a:lnTo>
                  <a:lnTo>
                    <a:pt x="6624" y="3498"/>
                  </a:lnTo>
                  <a:lnTo>
                    <a:pt x="6620" y="3505"/>
                  </a:lnTo>
                  <a:lnTo>
                    <a:pt x="6614" y="3510"/>
                  </a:lnTo>
                  <a:lnTo>
                    <a:pt x="6605" y="3511"/>
                  </a:lnTo>
                  <a:lnTo>
                    <a:pt x="6472" y="3511"/>
                  </a:lnTo>
                  <a:lnTo>
                    <a:pt x="6464" y="3510"/>
                  </a:lnTo>
                  <a:lnTo>
                    <a:pt x="6458" y="3505"/>
                  </a:lnTo>
                  <a:lnTo>
                    <a:pt x="6454" y="3498"/>
                  </a:lnTo>
                  <a:lnTo>
                    <a:pt x="6452" y="3492"/>
                  </a:lnTo>
                  <a:lnTo>
                    <a:pt x="6454" y="3484"/>
                  </a:lnTo>
                  <a:lnTo>
                    <a:pt x="6458" y="3478"/>
                  </a:lnTo>
                  <a:lnTo>
                    <a:pt x="6464" y="3473"/>
                  </a:lnTo>
                  <a:lnTo>
                    <a:pt x="6472" y="3471"/>
                  </a:lnTo>
                  <a:close/>
                  <a:moveTo>
                    <a:pt x="6709" y="3471"/>
                  </a:moveTo>
                  <a:lnTo>
                    <a:pt x="6842" y="3471"/>
                  </a:lnTo>
                  <a:lnTo>
                    <a:pt x="6851" y="3473"/>
                  </a:lnTo>
                  <a:lnTo>
                    <a:pt x="6858" y="3478"/>
                  </a:lnTo>
                  <a:lnTo>
                    <a:pt x="6861" y="3484"/>
                  </a:lnTo>
                  <a:lnTo>
                    <a:pt x="6863" y="3492"/>
                  </a:lnTo>
                  <a:lnTo>
                    <a:pt x="6861" y="3498"/>
                  </a:lnTo>
                  <a:lnTo>
                    <a:pt x="6858" y="3505"/>
                  </a:lnTo>
                  <a:lnTo>
                    <a:pt x="6851" y="3510"/>
                  </a:lnTo>
                  <a:lnTo>
                    <a:pt x="6842" y="3511"/>
                  </a:lnTo>
                  <a:lnTo>
                    <a:pt x="6709" y="3511"/>
                  </a:lnTo>
                  <a:lnTo>
                    <a:pt x="6700" y="3510"/>
                  </a:lnTo>
                  <a:lnTo>
                    <a:pt x="6693" y="3505"/>
                  </a:lnTo>
                  <a:lnTo>
                    <a:pt x="6690" y="3498"/>
                  </a:lnTo>
                  <a:lnTo>
                    <a:pt x="6688" y="3492"/>
                  </a:lnTo>
                  <a:lnTo>
                    <a:pt x="6690" y="3484"/>
                  </a:lnTo>
                  <a:lnTo>
                    <a:pt x="6693" y="3478"/>
                  </a:lnTo>
                  <a:lnTo>
                    <a:pt x="6700" y="3473"/>
                  </a:lnTo>
                  <a:lnTo>
                    <a:pt x="6709" y="3471"/>
                  </a:lnTo>
                  <a:close/>
                  <a:moveTo>
                    <a:pt x="6946" y="3471"/>
                  </a:moveTo>
                  <a:lnTo>
                    <a:pt x="7078" y="3471"/>
                  </a:lnTo>
                  <a:lnTo>
                    <a:pt x="7087" y="3473"/>
                  </a:lnTo>
                  <a:lnTo>
                    <a:pt x="7094" y="3478"/>
                  </a:lnTo>
                  <a:lnTo>
                    <a:pt x="7097" y="3484"/>
                  </a:lnTo>
                  <a:lnTo>
                    <a:pt x="7099" y="3492"/>
                  </a:lnTo>
                  <a:lnTo>
                    <a:pt x="7097" y="3498"/>
                  </a:lnTo>
                  <a:lnTo>
                    <a:pt x="7094" y="3505"/>
                  </a:lnTo>
                  <a:lnTo>
                    <a:pt x="7087" y="3510"/>
                  </a:lnTo>
                  <a:lnTo>
                    <a:pt x="7078" y="3511"/>
                  </a:lnTo>
                  <a:lnTo>
                    <a:pt x="6946" y="3511"/>
                  </a:lnTo>
                  <a:lnTo>
                    <a:pt x="6937" y="3510"/>
                  </a:lnTo>
                  <a:lnTo>
                    <a:pt x="6931" y="3505"/>
                  </a:lnTo>
                  <a:lnTo>
                    <a:pt x="6927" y="3498"/>
                  </a:lnTo>
                  <a:lnTo>
                    <a:pt x="6926" y="3492"/>
                  </a:lnTo>
                  <a:lnTo>
                    <a:pt x="6927" y="3484"/>
                  </a:lnTo>
                  <a:lnTo>
                    <a:pt x="6931" y="3478"/>
                  </a:lnTo>
                  <a:lnTo>
                    <a:pt x="6937" y="3473"/>
                  </a:lnTo>
                  <a:lnTo>
                    <a:pt x="6946" y="3471"/>
                  </a:lnTo>
                  <a:close/>
                  <a:moveTo>
                    <a:pt x="6236" y="3735"/>
                  </a:moveTo>
                  <a:lnTo>
                    <a:pt x="6369" y="3735"/>
                  </a:lnTo>
                  <a:lnTo>
                    <a:pt x="6378" y="3736"/>
                  </a:lnTo>
                  <a:lnTo>
                    <a:pt x="6384" y="3741"/>
                  </a:lnTo>
                  <a:lnTo>
                    <a:pt x="6387" y="3748"/>
                  </a:lnTo>
                  <a:lnTo>
                    <a:pt x="6388" y="3754"/>
                  </a:lnTo>
                  <a:lnTo>
                    <a:pt x="6387" y="3762"/>
                  </a:lnTo>
                  <a:lnTo>
                    <a:pt x="6384" y="3768"/>
                  </a:lnTo>
                  <a:lnTo>
                    <a:pt x="6378" y="3773"/>
                  </a:lnTo>
                  <a:lnTo>
                    <a:pt x="6369" y="3774"/>
                  </a:lnTo>
                  <a:lnTo>
                    <a:pt x="6236" y="3774"/>
                  </a:lnTo>
                  <a:lnTo>
                    <a:pt x="6227" y="3773"/>
                  </a:lnTo>
                  <a:lnTo>
                    <a:pt x="6220" y="3768"/>
                  </a:lnTo>
                  <a:lnTo>
                    <a:pt x="6216" y="3762"/>
                  </a:lnTo>
                  <a:lnTo>
                    <a:pt x="6215" y="3754"/>
                  </a:lnTo>
                  <a:lnTo>
                    <a:pt x="6216" y="3748"/>
                  </a:lnTo>
                  <a:lnTo>
                    <a:pt x="6220" y="3741"/>
                  </a:lnTo>
                  <a:lnTo>
                    <a:pt x="6227" y="3736"/>
                  </a:lnTo>
                  <a:lnTo>
                    <a:pt x="6236" y="3735"/>
                  </a:lnTo>
                  <a:close/>
                  <a:moveTo>
                    <a:pt x="6472" y="3735"/>
                  </a:moveTo>
                  <a:lnTo>
                    <a:pt x="6605" y="3735"/>
                  </a:lnTo>
                  <a:lnTo>
                    <a:pt x="6614" y="3736"/>
                  </a:lnTo>
                  <a:lnTo>
                    <a:pt x="6620" y="3741"/>
                  </a:lnTo>
                  <a:lnTo>
                    <a:pt x="6624" y="3748"/>
                  </a:lnTo>
                  <a:lnTo>
                    <a:pt x="6626" y="3754"/>
                  </a:lnTo>
                  <a:lnTo>
                    <a:pt x="6624" y="3762"/>
                  </a:lnTo>
                  <a:lnTo>
                    <a:pt x="6620" y="3768"/>
                  </a:lnTo>
                  <a:lnTo>
                    <a:pt x="6614" y="3773"/>
                  </a:lnTo>
                  <a:lnTo>
                    <a:pt x="6605" y="3774"/>
                  </a:lnTo>
                  <a:lnTo>
                    <a:pt x="6472" y="3774"/>
                  </a:lnTo>
                  <a:lnTo>
                    <a:pt x="6464" y="3773"/>
                  </a:lnTo>
                  <a:lnTo>
                    <a:pt x="6458" y="3768"/>
                  </a:lnTo>
                  <a:lnTo>
                    <a:pt x="6454" y="3762"/>
                  </a:lnTo>
                  <a:lnTo>
                    <a:pt x="6452" y="3754"/>
                  </a:lnTo>
                  <a:lnTo>
                    <a:pt x="6454" y="3748"/>
                  </a:lnTo>
                  <a:lnTo>
                    <a:pt x="6458" y="3741"/>
                  </a:lnTo>
                  <a:lnTo>
                    <a:pt x="6464" y="3736"/>
                  </a:lnTo>
                  <a:lnTo>
                    <a:pt x="6472" y="3735"/>
                  </a:lnTo>
                  <a:close/>
                  <a:moveTo>
                    <a:pt x="6709" y="3735"/>
                  </a:moveTo>
                  <a:lnTo>
                    <a:pt x="6842" y="3735"/>
                  </a:lnTo>
                  <a:lnTo>
                    <a:pt x="6851" y="3736"/>
                  </a:lnTo>
                  <a:lnTo>
                    <a:pt x="6858" y="3741"/>
                  </a:lnTo>
                  <a:lnTo>
                    <a:pt x="6861" y="3748"/>
                  </a:lnTo>
                  <a:lnTo>
                    <a:pt x="6863" y="3754"/>
                  </a:lnTo>
                  <a:lnTo>
                    <a:pt x="6861" y="3762"/>
                  </a:lnTo>
                  <a:lnTo>
                    <a:pt x="6858" y="3768"/>
                  </a:lnTo>
                  <a:lnTo>
                    <a:pt x="6851" y="3773"/>
                  </a:lnTo>
                  <a:lnTo>
                    <a:pt x="6842" y="3774"/>
                  </a:lnTo>
                  <a:lnTo>
                    <a:pt x="6709" y="3774"/>
                  </a:lnTo>
                  <a:lnTo>
                    <a:pt x="6700" y="3773"/>
                  </a:lnTo>
                  <a:lnTo>
                    <a:pt x="6693" y="3768"/>
                  </a:lnTo>
                  <a:lnTo>
                    <a:pt x="6690" y="3762"/>
                  </a:lnTo>
                  <a:lnTo>
                    <a:pt x="6688" y="3754"/>
                  </a:lnTo>
                  <a:lnTo>
                    <a:pt x="6690" y="3748"/>
                  </a:lnTo>
                  <a:lnTo>
                    <a:pt x="6693" y="3741"/>
                  </a:lnTo>
                  <a:lnTo>
                    <a:pt x="6700" y="3736"/>
                  </a:lnTo>
                  <a:lnTo>
                    <a:pt x="6709" y="3735"/>
                  </a:lnTo>
                  <a:close/>
                  <a:moveTo>
                    <a:pt x="6946" y="3735"/>
                  </a:moveTo>
                  <a:lnTo>
                    <a:pt x="7078" y="3735"/>
                  </a:lnTo>
                  <a:lnTo>
                    <a:pt x="7087" y="3736"/>
                  </a:lnTo>
                  <a:lnTo>
                    <a:pt x="7094" y="3741"/>
                  </a:lnTo>
                  <a:lnTo>
                    <a:pt x="7097" y="3748"/>
                  </a:lnTo>
                  <a:lnTo>
                    <a:pt x="7099" y="3754"/>
                  </a:lnTo>
                  <a:lnTo>
                    <a:pt x="7097" y="3762"/>
                  </a:lnTo>
                  <a:lnTo>
                    <a:pt x="7094" y="3768"/>
                  </a:lnTo>
                  <a:lnTo>
                    <a:pt x="7087" y="3773"/>
                  </a:lnTo>
                  <a:lnTo>
                    <a:pt x="7078" y="3774"/>
                  </a:lnTo>
                  <a:lnTo>
                    <a:pt x="6946" y="3774"/>
                  </a:lnTo>
                  <a:lnTo>
                    <a:pt x="6937" y="3773"/>
                  </a:lnTo>
                  <a:lnTo>
                    <a:pt x="6931" y="3768"/>
                  </a:lnTo>
                  <a:lnTo>
                    <a:pt x="6927" y="3762"/>
                  </a:lnTo>
                  <a:lnTo>
                    <a:pt x="6926" y="3754"/>
                  </a:lnTo>
                  <a:lnTo>
                    <a:pt x="6927" y="3748"/>
                  </a:lnTo>
                  <a:lnTo>
                    <a:pt x="6931" y="3741"/>
                  </a:lnTo>
                  <a:lnTo>
                    <a:pt x="6937" y="3736"/>
                  </a:lnTo>
                  <a:lnTo>
                    <a:pt x="6946" y="3735"/>
                  </a:lnTo>
                  <a:close/>
                  <a:moveTo>
                    <a:pt x="6236" y="3997"/>
                  </a:moveTo>
                  <a:lnTo>
                    <a:pt x="6369" y="3997"/>
                  </a:lnTo>
                  <a:lnTo>
                    <a:pt x="6378" y="3999"/>
                  </a:lnTo>
                  <a:lnTo>
                    <a:pt x="6384" y="4003"/>
                  </a:lnTo>
                  <a:lnTo>
                    <a:pt x="6387" y="4010"/>
                  </a:lnTo>
                  <a:lnTo>
                    <a:pt x="6388" y="4017"/>
                  </a:lnTo>
                  <a:lnTo>
                    <a:pt x="6387" y="4025"/>
                  </a:lnTo>
                  <a:lnTo>
                    <a:pt x="6384" y="4031"/>
                  </a:lnTo>
                  <a:lnTo>
                    <a:pt x="6378" y="4035"/>
                  </a:lnTo>
                  <a:lnTo>
                    <a:pt x="6369" y="4038"/>
                  </a:lnTo>
                  <a:lnTo>
                    <a:pt x="6236" y="4038"/>
                  </a:lnTo>
                  <a:lnTo>
                    <a:pt x="6227" y="4035"/>
                  </a:lnTo>
                  <a:lnTo>
                    <a:pt x="6220" y="4031"/>
                  </a:lnTo>
                  <a:lnTo>
                    <a:pt x="6216" y="4025"/>
                  </a:lnTo>
                  <a:lnTo>
                    <a:pt x="6215" y="4017"/>
                  </a:lnTo>
                  <a:lnTo>
                    <a:pt x="6216" y="4010"/>
                  </a:lnTo>
                  <a:lnTo>
                    <a:pt x="6220" y="4003"/>
                  </a:lnTo>
                  <a:lnTo>
                    <a:pt x="6227" y="3999"/>
                  </a:lnTo>
                  <a:lnTo>
                    <a:pt x="6236" y="3997"/>
                  </a:lnTo>
                  <a:close/>
                  <a:moveTo>
                    <a:pt x="6472" y="3997"/>
                  </a:moveTo>
                  <a:lnTo>
                    <a:pt x="6605" y="3997"/>
                  </a:lnTo>
                  <a:lnTo>
                    <a:pt x="6614" y="3999"/>
                  </a:lnTo>
                  <a:lnTo>
                    <a:pt x="6620" y="4003"/>
                  </a:lnTo>
                  <a:lnTo>
                    <a:pt x="6624" y="4010"/>
                  </a:lnTo>
                  <a:lnTo>
                    <a:pt x="6626" y="4017"/>
                  </a:lnTo>
                  <a:lnTo>
                    <a:pt x="6624" y="4025"/>
                  </a:lnTo>
                  <a:lnTo>
                    <a:pt x="6620" y="4031"/>
                  </a:lnTo>
                  <a:lnTo>
                    <a:pt x="6614" y="4035"/>
                  </a:lnTo>
                  <a:lnTo>
                    <a:pt x="6605" y="4038"/>
                  </a:lnTo>
                  <a:lnTo>
                    <a:pt x="6472" y="4038"/>
                  </a:lnTo>
                  <a:lnTo>
                    <a:pt x="6464" y="4035"/>
                  </a:lnTo>
                  <a:lnTo>
                    <a:pt x="6458" y="4031"/>
                  </a:lnTo>
                  <a:lnTo>
                    <a:pt x="6454" y="4025"/>
                  </a:lnTo>
                  <a:lnTo>
                    <a:pt x="6452" y="4017"/>
                  </a:lnTo>
                  <a:lnTo>
                    <a:pt x="6454" y="4010"/>
                  </a:lnTo>
                  <a:lnTo>
                    <a:pt x="6458" y="4003"/>
                  </a:lnTo>
                  <a:lnTo>
                    <a:pt x="6464" y="3999"/>
                  </a:lnTo>
                  <a:lnTo>
                    <a:pt x="6472" y="3997"/>
                  </a:lnTo>
                  <a:close/>
                  <a:moveTo>
                    <a:pt x="6709" y="3997"/>
                  </a:moveTo>
                  <a:lnTo>
                    <a:pt x="6842" y="3997"/>
                  </a:lnTo>
                  <a:lnTo>
                    <a:pt x="6851" y="3999"/>
                  </a:lnTo>
                  <a:lnTo>
                    <a:pt x="6858" y="4003"/>
                  </a:lnTo>
                  <a:lnTo>
                    <a:pt x="6861" y="4010"/>
                  </a:lnTo>
                  <a:lnTo>
                    <a:pt x="6863" y="4017"/>
                  </a:lnTo>
                  <a:lnTo>
                    <a:pt x="6861" y="4025"/>
                  </a:lnTo>
                  <a:lnTo>
                    <a:pt x="6858" y="4031"/>
                  </a:lnTo>
                  <a:lnTo>
                    <a:pt x="6851" y="4035"/>
                  </a:lnTo>
                  <a:lnTo>
                    <a:pt x="6842" y="4038"/>
                  </a:lnTo>
                  <a:lnTo>
                    <a:pt x="6709" y="4038"/>
                  </a:lnTo>
                  <a:lnTo>
                    <a:pt x="6700" y="4035"/>
                  </a:lnTo>
                  <a:lnTo>
                    <a:pt x="6693" y="4031"/>
                  </a:lnTo>
                  <a:lnTo>
                    <a:pt x="6690" y="4025"/>
                  </a:lnTo>
                  <a:lnTo>
                    <a:pt x="6688" y="4017"/>
                  </a:lnTo>
                  <a:lnTo>
                    <a:pt x="6690" y="4010"/>
                  </a:lnTo>
                  <a:lnTo>
                    <a:pt x="6693" y="4003"/>
                  </a:lnTo>
                  <a:lnTo>
                    <a:pt x="6700" y="3999"/>
                  </a:lnTo>
                  <a:lnTo>
                    <a:pt x="6709" y="3997"/>
                  </a:lnTo>
                  <a:close/>
                  <a:moveTo>
                    <a:pt x="6946" y="3997"/>
                  </a:moveTo>
                  <a:lnTo>
                    <a:pt x="7078" y="3997"/>
                  </a:lnTo>
                  <a:lnTo>
                    <a:pt x="7087" y="3999"/>
                  </a:lnTo>
                  <a:lnTo>
                    <a:pt x="7094" y="4003"/>
                  </a:lnTo>
                  <a:lnTo>
                    <a:pt x="7097" y="4010"/>
                  </a:lnTo>
                  <a:lnTo>
                    <a:pt x="7099" y="4017"/>
                  </a:lnTo>
                  <a:lnTo>
                    <a:pt x="7097" y="4025"/>
                  </a:lnTo>
                  <a:lnTo>
                    <a:pt x="7094" y="4031"/>
                  </a:lnTo>
                  <a:lnTo>
                    <a:pt x="7087" y="4035"/>
                  </a:lnTo>
                  <a:lnTo>
                    <a:pt x="7078" y="4038"/>
                  </a:lnTo>
                  <a:lnTo>
                    <a:pt x="6946" y="4038"/>
                  </a:lnTo>
                  <a:lnTo>
                    <a:pt x="6937" y="4035"/>
                  </a:lnTo>
                  <a:lnTo>
                    <a:pt x="6931" y="4031"/>
                  </a:lnTo>
                  <a:lnTo>
                    <a:pt x="6927" y="4025"/>
                  </a:lnTo>
                  <a:lnTo>
                    <a:pt x="6926" y="4017"/>
                  </a:lnTo>
                  <a:lnTo>
                    <a:pt x="6927" y="4010"/>
                  </a:lnTo>
                  <a:lnTo>
                    <a:pt x="6931" y="4003"/>
                  </a:lnTo>
                  <a:lnTo>
                    <a:pt x="6937" y="3999"/>
                  </a:lnTo>
                  <a:lnTo>
                    <a:pt x="6946" y="3997"/>
                  </a:lnTo>
                  <a:close/>
                  <a:moveTo>
                    <a:pt x="7545" y="2941"/>
                  </a:moveTo>
                  <a:lnTo>
                    <a:pt x="7545" y="3052"/>
                  </a:lnTo>
                  <a:lnTo>
                    <a:pt x="7542" y="3061"/>
                  </a:lnTo>
                  <a:lnTo>
                    <a:pt x="7539" y="3067"/>
                  </a:lnTo>
                  <a:lnTo>
                    <a:pt x="7532" y="3071"/>
                  </a:lnTo>
                  <a:lnTo>
                    <a:pt x="7524" y="3072"/>
                  </a:lnTo>
                  <a:lnTo>
                    <a:pt x="7517" y="3071"/>
                  </a:lnTo>
                  <a:lnTo>
                    <a:pt x="7510" y="3067"/>
                  </a:lnTo>
                  <a:lnTo>
                    <a:pt x="7506" y="3061"/>
                  </a:lnTo>
                  <a:lnTo>
                    <a:pt x="7505" y="3052"/>
                  </a:lnTo>
                  <a:lnTo>
                    <a:pt x="7505" y="2941"/>
                  </a:lnTo>
                  <a:lnTo>
                    <a:pt x="7506" y="2932"/>
                  </a:lnTo>
                  <a:lnTo>
                    <a:pt x="7510" y="2925"/>
                  </a:lnTo>
                  <a:lnTo>
                    <a:pt x="7517" y="2922"/>
                  </a:lnTo>
                  <a:lnTo>
                    <a:pt x="7524" y="2920"/>
                  </a:lnTo>
                  <a:lnTo>
                    <a:pt x="7532" y="2922"/>
                  </a:lnTo>
                  <a:lnTo>
                    <a:pt x="7539" y="2925"/>
                  </a:lnTo>
                  <a:lnTo>
                    <a:pt x="7542" y="2932"/>
                  </a:lnTo>
                  <a:lnTo>
                    <a:pt x="7545" y="2941"/>
                  </a:lnTo>
                  <a:close/>
                  <a:moveTo>
                    <a:pt x="7808" y="2941"/>
                  </a:moveTo>
                  <a:lnTo>
                    <a:pt x="7808" y="3052"/>
                  </a:lnTo>
                  <a:lnTo>
                    <a:pt x="7807" y="3061"/>
                  </a:lnTo>
                  <a:lnTo>
                    <a:pt x="7801" y="3067"/>
                  </a:lnTo>
                  <a:lnTo>
                    <a:pt x="7795" y="3071"/>
                  </a:lnTo>
                  <a:lnTo>
                    <a:pt x="7787" y="3072"/>
                  </a:lnTo>
                  <a:lnTo>
                    <a:pt x="7781" y="3071"/>
                  </a:lnTo>
                  <a:lnTo>
                    <a:pt x="7774" y="3067"/>
                  </a:lnTo>
                  <a:lnTo>
                    <a:pt x="7769" y="3061"/>
                  </a:lnTo>
                  <a:lnTo>
                    <a:pt x="7768" y="3052"/>
                  </a:lnTo>
                  <a:lnTo>
                    <a:pt x="7768" y="2941"/>
                  </a:lnTo>
                  <a:lnTo>
                    <a:pt x="7769" y="2932"/>
                  </a:lnTo>
                  <a:lnTo>
                    <a:pt x="7774" y="2925"/>
                  </a:lnTo>
                  <a:lnTo>
                    <a:pt x="7781" y="2922"/>
                  </a:lnTo>
                  <a:lnTo>
                    <a:pt x="7787" y="2920"/>
                  </a:lnTo>
                  <a:lnTo>
                    <a:pt x="7795" y="2922"/>
                  </a:lnTo>
                  <a:lnTo>
                    <a:pt x="7801" y="2925"/>
                  </a:lnTo>
                  <a:lnTo>
                    <a:pt x="7807" y="2932"/>
                  </a:lnTo>
                  <a:lnTo>
                    <a:pt x="7808" y="2941"/>
                  </a:lnTo>
                  <a:close/>
                  <a:moveTo>
                    <a:pt x="8071" y="2941"/>
                  </a:moveTo>
                  <a:lnTo>
                    <a:pt x="8071" y="3052"/>
                  </a:lnTo>
                  <a:lnTo>
                    <a:pt x="8069" y="3061"/>
                  </a:lnTo>
                  <a:lnTo>
                    <a:pt x="8064" y="3067"/>
                  </a:lnTo>
                  <a:lnTo>
                    <a:pt x="8058" y="3071"/>
                  </a:lnTo>
                  <a:lnTo>
                    <a:pt x="8051" y="3072"/>
                  </a:lnTo>
                  <a:lnTo>
                    <a:pt x="8044" y="3071"/>
                  </a:lnTo>
                  <a:lnTo>
                    <a:pt x="8037" y="3067"/>
                  </a:lnTo>
                  <a:lnTo>
                    <a:pt x="8032" y="3061"/>
                  </a:lnTo>
                  <a:lnTo>
                    <a:pt x="8031" y="3052"/>
                  </a:lnTo>
                  <a:lnTo>
                    <a:pt x="8031" y="2941"/>
                  </a:lnTo>
                  <a:lnTo>
                    <a:pt x="8032" y="2932"/>
                  </a:lnTo>
                  <a:lnTo>
                    <a:pt x="8037" y="2925"/>
                  </a:lnTo>
                  <a:lnTo>
                    <a:pt x="8044" y="2922"/>
                  </a:lnTo>
                  <a:lnTo>
                    <a:pt x="8051" y="2920"/>
                  </a:lnTo>
                  <a:lnTo>
                    <a:pt x="8058" y="2922"/>
                  </a:lnTo>
                  <a:lnTo>
                    <a:pt x="8064" y="2925"/>
                  </a:lnTo>
                  <a:lnTo>
                    <a:pt x="8069" y="2932"/>
                  </a:lnTo>
                  <a:lnTo>
                    <a:pt x="8071" y="2941"/>
                  </a:lnTo>
                  <a:close/>
                  <a:moveTo>
                    <a:pt x="8334" y="2941"/>
                  </a:moveTo>
                  <a:lnTo>
                    <a:pt x="8334" y="3052"/>
                  </a:lnTo>
                  <a:lnTo>
                    <a:pt x="8332" y="3061"/>
                  </a:lnTo>
                  <a:lnTo>
                    <a:pt x="8327" y="3067"/>
                  </a:lnTo>
                  <a:lnTo>
                    <a:pt x="8322" y="3071"/>
                  </a:lnTo>
                  <a:lnTo>
                    <a:pt x="8314" y="3072"/>
                  </a:lnTo>
                  <a:lnTo>
                    <a:pt x="8307" y="3071"/>
                  </a:lnTo>
                  <a:lnTo>
                    <a:pt x="8300" y="3067"/>
                  </a:lnTo>
                  <a:lnTo>
                    <a:pt x="8296" y="3061"/>
                  </a:lnTo>
                  <a:lnTo>
                    <a:pt x="8294" y="3052"/>
                  </a:lnTo>
                  <a:lnTo>
                    <a:pt x="8294" y="2941"/>
                  </a:lnTo>
                  <a:lnTo>
                    <a:pt x="8296" y="2932"/>
                  </a:lnTo>
                  <a:lnTo>
                    <a:pt x="8300" y="2925"/>
                  </a:lnTo>
                  <a:lnTo>
                    <a:pt x="8307" y="2922"/>
                  </a:lnTo>
                  <a:lnTo>
                    <a:pt x="8314" y="2920"/>
                  </a:lnTo>
                  <a:lnTo>
                    <a:pt x="8322" y="2922"/>
                  </a:lnTo>
                  <a:lnTo>
                    <a:pt x="8327" y="2925"/>
                  </a:lnTo>
                  <a:lnTo>
                    <a:pt x="8332" y="2932"/>
                  </a:lnTo>
                  <a:lnTo>
                    <a:pt x="8334" y="2941"/>
                  </a:lnTo>
                  <a:close/>
                  <a:moveTo>
                    <a:pt x="8598" y="2941"/>
                  </a:moveTo>
                  <a:lnTo>
                    <a:pt x="8598" y="3052"/>
                  </a:lnTo>
                  <a:lnTo>
                    <a:pt x="8595" y="3061"/>
                  </a:lnTo>
                  <a:lnTo>
                    <a:pt x="8591" y="3067"/>
                  </a:lnTo>
                  <a:lnTo>
                    <a:pt x="8585" y="3071"/>
                  </a:lnTo>
                  <a:lnTo>
                    <a:pt x="8577" y="3072"/>
                  </a:lnTo>
                  <a:lnTo>
                    <a:pt x="8569" y="3071"/>
                  </a:lnTo>
                  <a:lnTo>
                    <a:pt x="8563" y="3067"/>
                  </a:lnTo>
                  <a:lnTo>
                    <a:pt x="8559" y="3061"/>
                  </a:lnTo>
                  <a:lnTo>
                    <a:pt x="8557" y="3052"/>
                  </a:lnTo>
                  <a:lnTo>
                    <a:pt x="8557" y="2941"/>
                  </a:lnTo>
                  <a:lnTo>
                    <a:pt x="8559" y="2932"/>
                  </a:lnTo>
                  <a:lnTo>
                    <a:pt x="8563" y="2925"/>
                  </a:lnTo>
                  <a:lnTo>
                    <a:pt x="8569" y="2922"/>
                  </a:lnTo>
                  <a:lnTo>
                    <a:pt x="8577" y="2920"/>
                  </a:lnTo>
                  <a:lnTo>
                    <a:pt x="8585" y="2922"/>
                  </a:lnTo>
                  <a:lnTo>
                    <a:pt x="8591" y="2925"/>
                  </a:lnTo>
                  <a:lnTo>
                    <a:pt x="8595" y="2932"/>
                  </a:lnTo>
                  <a:lnTo>
                    <a:pt x="8598" y="2941"/>
                  </a:lnTo>
                  <a:close/>
                  <a:moveTo>
                    <a:pt x="8861" y="2941"/>
                  </a:moveTo>
                  <a:lnTo>
                    <a:pt x="8861" y="3052"/>
                  </a:lnTo>
                  <a:lnTo>
                    <a:pt x="8858" y="3061"/>
                  </a:lnTo>
                  <a:lnTo>
                    <a:pt x="8854" y="3067"/>
                  </a:lnTo>
                  <a:lnTo>
                    <a:pt x="8848" y="3071"/>
                  </a:lnTo>
                  <a:lnTo>
                    <a:pt x="8840" y="3072"/>
                  </a:lnTo>
                  <a:lnTo>
                    <a:pt x="8832" y="3071"/>
                  </a:lnTo>
                  <a:lnTo>
                    <a:pt x="8826" y="3067"/>
                  </a:lnTo>
                  <a:lnTo>
                    <a:pt x="8822" y="3061"/>
                  </a:lnTo>
                  <a:lnTo>
                    <a:pt x="8821" y="3052"/>
                  </a:lnTo>
                  <a:lnTo>
                    <a:pt x="8821" y="2941"/>
                  </a:lnTo>
                  <a:lnTo>
                    <a:pt x="8822" y="2932"/>
                  </a:lnTo>
                  <a:lnTo>
                    <a:pt x="8826" y="2925"/>
                  </a:lnTo>
                  <a:lnTo>
                    <a:pt x="8832" y="2922"/>
                  </a:lnTo>
                  <a:lnTo>
                    <a:pt x="8840" y="2920"/>
                  </a:lnTo>
                  <a:lnTo>
                    <a:pt x="8848" y="2922"/>
                  </a:lnTo>
                  <a:lnTo>
                    <a:pt x="8854" y="2925"/>
                  </a:lnTo>
                  <a:lnTo>
                    <a:pt x="8858" y="2932"/>
                  </a:lnTo>
                  <a:lnTo>
                    <a:pt x="8861" y="2941"/>
                  </a:lnTo>
                  <a:close/>
                  <a:moveTo>
                    <a:pt x="7545" y="3186"/>
                  </a:moveTo>
                  <a:lnTo>
                    <a:pt x="7545" y="3299"/>
                  </a:lnTo>
                  <a:lnTo>
                    <a:pt x="7542" y="3308"/>
                  </a:lnTo>
                  <a:lnTo>
                    <a:pt x="7539" y="3314"/>
                  </a:lnTo>
                  <a:lnTo>
                    <a:pt x="7532" y="3318"/>
                  </a:lnTo>
                  <a:lnTo>
                    <a:pt x="7524" y="3319"/>
                  </a:lnTo>
                  <a:lnTo>
                    <a:pt x="7517" y="3318"/>
                  </a:lnTo>
                  <a:lnTo>
                    <a:pt x="7510" y="3314"/>
                  </a:lnTo>
                  <a:lnTo>
                    <a:pt x="7506" y="3308"/>
                  </a:lnTo>
                  <a:lnTo>
                    <a:pt x="7505" y="3299"/>
                  </a:lnTo>
                  <a:lnTo>
                    <a:pt x="7505" y="3186"/>
                  </a:lnTo>
                  <a:lnTo>
                    <a:pt x="7506" y="3179"/>
                  </a:lnTo>
                  <a:lnTo>
                    <a:pt x="7510" y="3172"/>
                  </a:lnTo>
                  <a:lnTo>
                    <a:pt x="7517" y="3168"/>
                  </a:lnTo>
                  <a:lnTo>
                    <a:pt x="7524" y="3167"/>
                  </a:lnTo>
                  <a:lnTo>
                    <a:pt x="7532" y="3168"/>
                  </a:lnTo>
                  <a:lnTo>
                    <a:pt x="7539" y="3172"/>
                  </a:lnTo>
                  <a:lnTo>
                    <a:pt x="7542" y="3179"/>
                  </a:lnTo>
                  <a:lnTo>
                    <a:pt x="7545" y="3186"/>
                  </a:lnTo>
                  <a:close/>
                  <a:moveTo>
                    <a:pt x="7808" y="3186"/>
                  </a:moveTo>
                  <a:lnTo>
                    <a:pt x="7808" y="3299"/>
                  </a:lnTo>
                  <a:lnTo>
                    <a:pt x="7807" y="3308"/>
                  </a:lnTo>
                  <a:lnTo>
                    <a:pt x="7801" y="3314"/>
                  </a:lnTo>
                  <a:lnTo>
                    <a:pt x="7795" y="3318"/>
                  </a:lnTo>
                  <a:lnTo>
                    <a:pt x="7787" y="3319"/>
                  </a:lnTo>
                  <a:lnTo>
                    <a:pt x="7781" y="3318"/>
                  </a:lnTo>
                  <a:lnTo>
                    <a:pt x="7774" y="3314"/>
                  </a:lnTo>
                  <a:lnTo>
                    <a:pt x="7769" y="3308"/>
                  </a:lnTo>
                  <a:lnTo>
                    <a:pt x="7768" y="3299"/>
                  </a:lnTo>
                  <a:lnTo>
                    <a:pt x="7768" y="3186"/>
                  </a:lnTo>
                  <a:lnTo>
                    <a:pt x="7769" y="3179"/>
                  </a:lnTo>
                  <a:lnTo>
                    <a:pt x="7774" y="3172"/>
                  </a:lnTo>
                  <a:lnTo>
                    <a:pt x="7781" y="3168"/>
                  </a:lnTo>
                  <a:lnTo>
                    <a:pt x="7787" y="3167"/>
                  </a:lnTo>
                  <a:lnTo>
                    <a:pt x="7795" y="3168"/>
                  </a:lnTo>
                  <a:lnTo>
                    <a:pt x="7801" y="3172"/>
                  </a:lnTo>
                  <a:lnTo>
                    <a:pt x="7807" y="3179"/>
                  </a:lnTo>
                  <a:lnTo>
                    <a:pt x="7808" y="3186"/>
                  </a:lnTo>
                  <a:close/>
                  <a:moveTo>
                    <a:pt x="8071" y="3186"/>
                  </a:moveTo>
                  <a:lnTo>
                    <a:pt x="8071" y="3299"/>
                  </a:lnTo>
                  <a:lnTo>
                    <a:pt x="8069" y="3308"/>
                  </a:lnTo>
                  <a:lnTo>
                    <a:pt x="8064" y="3314"/>
                  </a:lnTo>
                  <a:lnTo>
                    <a:pt x="8058" y="3318"/>
                  </a:lnTo>
                  <a:lnTo>
                    <a:pt x="8051" y="3319"/>
                  </a:lnTo>
                  <a:lnTo>
                    <a:pt x="8044" y="3318"/>
                  </a:lnTo>
                  <a:lnTo>
                    <a:pt x="8037" y="3314"/>
                  </a:lnTo>
                  <a:lnTo>
                    <a:pt x="8032" y="3308"/>
                  </a:lnTo>
                  <a:lnTo>
                    <a:pt x="8031" y="3299"/>
                  </a:lnTo>
                  <a:lnTo>
                    <a:pt x="8031" y="3186"/>
                  </a:lnTo>
                  <a:lnTo>
                    <a:pt x="8032" y="3179"/>
                  </a:lnTo>
                  <a:lnTo>
                    <a:pt x="8037" y="3172"/>
                  </a:lnTo>
                  <a:lnTo>
                    <a:pt x="8044" y="3168"/>
                  </a:lnTo>
                  <a:lnTo>
                    <a:pt x="8051" y="3167"/>
                  </a:lnTo>
                  <a:lnTo>
                    <a:pt x="8058" y="3168"/>
                  </a:lnTo>
                  <a:lnTo>
                    <a:pt x="8064" y="3172"/>
                  </a:lnTo>
                  <a:lnTo>
                    <a:pt x="8069" y="3179"/>
                  </a:lnTo>
                  <a:lnTo>
                    <a:pt x="8071" y="3186"/>
                  </a:lnTo>
                  <a:close/>
                  <a:moveTo>
                    <a:pt x="8334" y="3186"/>
                  </a:moveTo>
                  <a:lnTo>
                    <a:pt x="8334" y="3299"/>
                  </a:lnTo>
                  <a:lnTo>
                    <a:pt x="8332" y="3308"/>
                  </a:lnTo>
                  <a:lnTo>
                    <a:pt x="8327" y="3314"/>
                  </a:lnTo>
                  <a:lnTo>
                    <a:pt x="8322" y="3318"/>
                  </a:lnTo>
                  <a:lnTo>
                    <a:pt x="8314" y="3319"/>
                  </a:lnTo>
                  <a:lnTo>
                    <a:pt x="8307" y="3318"/>
                  </a:lnTo>
                  <a:lnTo>
                    <a:pt x="8300" y="3314"/>
                  </a:lnTo>
                  <a:lnTo>
                    <a:pt x="8296" y="3308"/>
                  </a:lnTo>
                  <a:lnTo>
                    <a:pt x="8294" y="3299"/>
                  </a:lnTo>
                  <a:lnTo>
                    <a:pt x="8294" y="3186"/>
                  </a:lnTo>
                  <a:lnTo>
                    <a:pt x="8296" y="3179"/>
                  </a:lnTo>
                  <a:lnTo>
                    <a:pt x="8300" y="3172"/>
                  </a:lnTo>
                  <a:lnTo>
                    <a:pt x="8307" y="3168"/>
                  </a:lnTo>
                  <a:lnTo>
                    <a:pt x="8314" y="3167"/>
                  </a:lnTo>
                  <a:lnTo>
                    <a:pt x="8322" y="3168"/>
                  </a:lnTo>
                  <a:lnTo>
                    <a:pt x="8327" y="3172"/>
                  </a:lnTo>
                  <a:lnTo>
                    <a:pt x="8332" y="3179"/>
                  </a:lnTo>
                  <a:lnTo>
                    <a:pt x="8334" y="3186"/>
                  </a:lnTo>
                  <a:close/>
                  <a:moveTo>
                    <a:pt x="8598" y="3186"/>
                  </a:moveTo>
                  <a:lnTo>
                    <a:pt x="8598" y="3299"/>
                  </a:lnTo>
                  <a:lnTo>
                    <a:pt x="8595" y="3308"/>
                  </a:lnTo>
                  <a:lnTo>
                    <a:pt x="8591" y="3314"/>
                  </a:lnTo>
                  <a:lnTo>
                    <a:pt x="8585" y="3318"/>
                  </a:lnTo>
                  <a:lnTo>
                    <a:pt x="8577" y="3319"/>
                  </a:lnTo>
                  <a:lnTo>
                    <a:pt x="8569" y="3318"/>
                  </a:lnTo>
                  <a:lnTo>
                    <a:pt x="8563" y="3314"/>
                  </a:lnTo>
                  <a:lnTo>
                    <a:pt x="8559" y="3308"/>
                  </a:lnTo>
                  <a:lnTo>
                    <a:pt x="8557" y="3299"/>
                  </a:lnTo>
                  <a:lnTo>
                    <a:pt x="8557" y="3186"/>
                  </a:lnTo>
                  <a:lnTo>
                    <a:pt x="8559" y="3179"/>
                  </a:lnTo>
                  <a:lnTo>
                    <a:pt x="8563" y="3172"/>
                  </a:lnTo>
                  <a:lnTo>
                    <a:pt x="8569" y="3168"/>
                  </a:lnTo>
                  <a:lnTo>
                    <a:pt x="8577" y="3167"/>
                  </a:lnTo>
                  <a:lnTo>
                    <a:pt x="8585" y="3168"/>
                  </a:lnTo>
                  <a:lnTo>
                    <a:pt x="8591" y="3172"/>
                  </a:lnTo>
                  <a:lnTo>
                    <a:pt x="8595" y="3179"/>
                  </a:lnTo>
                  <a:lnTo>
                    <a:pt x="8598" y="3186"/>
                  </a:lnTo>
                  <a:close/>
                  <a:moveTo>
                    <a:pt x="8861" y="3186"/>
                  </a:moveTo>
                  <a:lnTo>
                    <a:pt x="8861" y="3299"/>
                  </a:lnTo>
                  <a:lnTo>
                    <a:pt x="8858" y="3308"/>
                  </a:lnTo>
                  <a:lnTo>
                    <a:pt x="8854" y="3314"/>
                  </a:lnTo>
                  <a:lnTo>
                    <a:pt x="8848" y="3318"/>
                  </a:lnTo>
                  <a:lnTo>
                    <a:pt x="8840" y="3319"/>
                  </a:lnTo>
                  <a:lnTo>
                    <a:pt x="8832" y="3318"/>
                  </a:lnTo>
                  <a:lnTo>
                    <a:pt x="8826" y="3314"/>
                  </a:lnTo>
                  <a:lnTo>
                    <a:pt x="8822" y="3308"/>
                  </a:lnTo>
                  <a:lnTo>
                    <a:pt x="8821" y="3299"/>
                  </a:lnTo>
                  <a:lnTo>
                    <a:pt x="8821" y="3186"/>
                  </a:lnTo>
                  <a:lnTo>
                    <a:pt x="8822" y="3179"/>
                  </a:lnTo>
                  <a:lnTo>
                    <a:pt x="8826" y="3172"/>
                  </a:lnTo>
                  <a:lnTo>
                    <a:pt x="8832" y="3168"/>
                  </a:lnTo>
                  <a:lnTo>
                    <a:pt x="8840" y="3167"/>
                  </a:lnTo>
                  <a:lnTo>
                    <a:pt x="8848" y="3168"/>
                  </a:lnTo>
                  <a:lnTo>
                    <a:pt x="8854" y="3172"/>
                  </a:lnTo>
                  <a:lnTo>
                    <a:pt x="8858" y="3179"/>
                  </a:lnTo>
                  <a:lnTo>
                    <a:pt x="8861" y="3186"/>
                  </a:lnTo>
                  <a:close/>
                  <a:moveTo>
                    <a:pt x="7545" y="3433"/>
                  </a:moveTo>
                  <a:lnTo>
                    <a:pt x="7545" y="3546"/>
                  </a:lnTo>
                  <a:lnTo>
                    <a:pt x="7542" y="3554"/>
                  </a:lnTo>
                  <a:lnTo>
                    <a:pt x="7539" y="3561"/>
                  </a:lnTo>
                  <a:lnTo>
                    <a:pt x="7532" y="3565"/>
                  </a:lnTo>
                  <a:lnTo>
                    <a:pt x="7524" y="3565"/>
                  </a:lnTo>
                  <a:lnTo>
                    <a:pt x="7517" y="3565"/>
                  </a:lnTo>
                  <a:lnTo>
                    <a:pt x="7510" y="3561"/>
                  </a:lnTo>
                  <a:lnTo>
                    <a:pt x="7506" y="3554"/>
                  </a:lnTo>
                  <a:lnTo>
                    <a:pt x="7505" y="3546"/>
                  </a:lnTo>
                  <a:lnTo>
                    <a:pt x="7505" y="3433"/>
                  </a:lnTo>
                  <a:lnTo>
                    <a:pt x="7506" y="3424"/>
                  </a:lnTo>
                  <a:lnTo>
                    <a:pt x="7510" y="3419"/>
                  </a:lnTo>
                  <a:lnTo>
                    <a:pt x="7517" y="3415"/>
                  </a:lnTo>
                  <a:lnTo>
                    <a:pt x="7524" y="3414"/>
                  </a:lnTo>
                  <a:lnTo>
                    <a:pt x="7532" y="3415"/>
                  </a:lnTo>
                  <a:lnTo>
                    <a:pt x="7539" y="3419"/>
                  </a:lnTo>
                  <a:lnTo>
                    <a:pt x="7542" y="3424"/>
                  </a:lnTo>
                  <a:lnTo>
                    <a:pt x="7545" y="3433"/>
                  </a:lnTo>
                  <a:close/>
                  <a:moveTo>
                    <a:pt x="7808" y="3433"/>
                  </a:moveTo>
                  <a:lnTo>
                    <a:pt x="7808" y="3546"/>
                  </a:lnTo>
                  <a:lnTo>
                    <a:pt x="7807" y="3554"/>
                  </a:lnTo>
                  <a:lnTo>
                    <a:pt x="7801" y="3561"/>
                  </a:lnTo>
                  <a:lnTo>
                    <a:pt x="7795" y="3565"/>
                  </a:lnTo>
                  <a:lnTo>
                    <a:pt x="7787" y="3565"/>
                  </a:lnTo>
                  <a:lnTo>
                    <a:pt x="7781" y="3565"/>
                  </a:lnTo>
                  <a:lnTo>
                    <a:pt x="7774" y="3561"/>
                  </a:lnTo>
                  <a:lnTo>
                    <a:pt x="7769" y="3554"/>
                  </a:lnTo>
                  <a:lnTo>
                    <a:pt x="7768" y="3546"/>
                  </a:lnTo>
                  <a:lnTo>
                    <a:pt x="7768" y="3433"/>
                  </a:lnTo>
                  <a:lnTo>
                    <a:pt x="7769" y="3424"/>
                  </a:lnTo>
                  <a:lnTo>
                    <a:pt x="7774" y="3419"/>
                  </a:lnTo>
                  <a:lnTo>
                    <a:pt x="7781" y="3415"/>
                  </a:lnTo>
                  <a:lnTo>
                    <a:pt x="7787" y="3414"/>
                  </a:lnTo>
                  <a:lnTo>
                    <a:pt x="7795" y="3415"/>
                  </a:lnTo>
                  <a:lnTo>
                    <a:pt x="7801" y="3419"/>
                  </a:lnTo>
                  <a:lnTo>
                    <a:pt x="7807" y="3424"/>
                  </a:lnTo>
                  <a:lnTo>
                    <a:pt x="7808" y="3433"/>
                  </a:lnTo>
                  <a:close/>
                  <a:moveTo>
                    <a:pt x="8071" y="3433"/>
                  </a:moveTo>
                  <a:lnTo>
                    <a:pt x="8071" y="3546"/>
                  </a:lnTo>
                  <a:lnTo>
                    <a:pt x="8069" y="3554"/>
                  </a:lnTo>
                  <a:lnTo>
                    <a:pt x="8064" y="3561"/>
                  </a:lnTo>
                  <a:lnTo>
                    <a:pt x="8058" y="3565"/>
                  </a:lnTo>
                  <a:lnTo>
                    <a:pt x="8051" y="3565"/>
                  </a:lnTo>
                  <a:lnTo>
                    <a:pt x="8044" y="3565"/>
                  </a:lnTo>
                  <a:lnTo>
                    <a:pt x="8037" y="3561"/>
                  </a:lnTo>
                  <a:lnTo>
                    <a:pt x="8032" y="3554"/>
                  </a:lnTo>
                  <a:lnTo>
                    <a:pt x="8031" y="3546"/>
                  </a:lnTo>
                  <a:lnTo>
                    <a:pt x="8031" y="3433"/>
                  </a:lnTo>
                  <a:lnTo>
                    <a:pt x="8032" y="3424"/>
                  </a:lnTo>
                  <a:lnTo>
                    <a:pt x="8037" y="3419"/>
                  </a:lnTo>
                  <a:lnTo>
                    <a:pt x="8044" y="3415"/>
                  </a:lnTo>
                  <a:lnTo>
                    <a:pt x="8051" y="3414"/>
                  </a:lnTo>
                  <a:lnTo>
                    <a:pt x="8058" y="3415"/>
                  </a:lnTo>
                  <a:lnTo>
                    <a:pt x="8064" y="3419"/>
                  </a:lnTo>
                  <a:lnTo>
                    <a:pt x="8069" y="3424"/>
                  </a:lnTo>
                  <a:lnTo>
                    <a:pt x="8071" y="3433"/>
                  </a:lnTo>
                  <a:close/>
                  <a:moveTo>
                    <a:pt x="8334" y="3433"/>
                  </a:moveTo>
                  <a:lnTo>
                    <a:pt x="8334" y="3546"/>
                  </a:lnTo>
                  <a:lnTo>
                    <a:pt x="8332" y="3554"/>
                  </a:lnTo>
                  <a:lnTo>
                    <a:pt x="8327" y="3561"/>
                  </a:lnTo>
                  <a:lnTo>
                    <a:pt x="8322" y="3565"/>
                  </a:lnTo>
                  <a:lnTo>
                    <a:pt x="8314" y="3565"/>
                  </a:lnTo>
                  <a:lnTo>
                    <a:pt x="8307" y="3565"/>
                  </a:lnTo>
                  <a:lnTo>
                    <a:pt x="8300" y="3561"/>
                  </a:lnTo>
                  <a:lnTo>
                    <a:pt x="8296" y="3554"/>
                  </a:lnTo>
                  <a:lnTo>
                    <a:pt x="8294" y="3546"/>
                  </a:lnTo>
                  <a:lnTo>
                    <a:pt x="8294" y="3433"/>
                  </a:lnTo>
                  <a:lnTo>
                    <a:pt x="8296" y="3424"/>
                  </a:lnTo>
                  <a:lnTo>
                    <a:pt x="8300" y="3419"/>
                  </a:lnTo>
                  <a:lnTo>
                    <a:pt x="8307" y="3415"/>
                  </a:lnTo>
                  <a:lnTo>
                    <a:pt x="8314" y="3414"/>
                  </a:lnTo>
                  <a:lnTo>
                    <a:pt x="8322" y="3415"/>
                  </a:lnTo>
                  <a:lnTo>
                    <a:pt x="8327" y="3419"/>
                  </a:lnTo>
                  <a:lnTo>
                    <a:pt x="8332" y="3424"/>
                  </a:lnTo>
                  <a:lnTo>
                    <a:pt x="8334" y="3433"/>
                  </a:lnTo>
                  <a:close/>
                  <a:moveTo>
                    <a:pt x="8598" y="3433"/>
                  </a:moveTo>
                  <a:lnTo>
                    <a:pt x="8598" y="3546"/>
                  </a:lnTo>
                  <a:lnTo>
                    <a:pt x="8595" y="3554"/>
                  </a:lnTo>
                  <a:lnTo>
                    <a:pt x="8591" y="3561"/>
                  </a:lnTo>
                  <a:lnTo>
                    <a:pt x="8585" y="3565"/>
                  </a:lnTo>
                  <a:lnTo>
                    <a:pt x="8577" y="3565"/>
                  </a:lnTo>
                  <a:lnTo>
                    <a:pt x="8569" y="3565"/>
                  </a:lnTo>
                  <a:lnTo>
                    <a:pt x="8563" y="3561"/>
                  </a:lnTo>
                  <a:lnTo>
                    <a:pt x="8559" y="3554"/>
                  </a:lnTo>
                  <a:lnTo>
                    <a:pt x="8557" y="3546"/>
                  </a:lnTo>
                  <a:lnTo>
                    <a:pt x="8557" y="3433"/>
                  </a:lnTo>
                  <a:lnTo>
                    <a:pt x="8559" y="3424"/>
                  </a:lnTo>
                  <a:lnTo>
                    <a:pt x="8563" y="3419"/>
                  </a:lnTo>
                  <a:lnTo>
                    <a:pt x="8569" y="3415"/>
                  </a:lnTo>
                  <a:lnTo>
                    <a:pt x="8577" y="3414"/>
                  </a:lnTo>
                  <a:lnTo>
                    <a:pt x="8585" y="3415"/>
                  </a:lnTo>
                  <a:lnTo>
                    <a:pt x="8591" y="3419"/>
                  </a:lnTo>
                  <a:lnTo>
                    <a:pt x="8595" y="3424"/>
                  </a:lnTo>
                  <a:lnTo>
                    <a:pt x="8598" y="3433"/>
                  </a:lnTo>
                  <a:close/>
                  <a:moveTo>
                    <a:pt x="8861" y="3433"/>
                  </a:moveTo>
                  <a:lnTo>
                    <a:pt x="8861" y="3546"/>
                  </a:lnTo>
                  <a:lnTo>
                    <a:pt x="8858" y="3554"/>
                  </a:lnTo>
                  <a:lnTo>
                    <a:pt x="8854" y="3561"/>
                  </a:lnTo>
                  <a:lnTo>
                    <a:pt x="8848" y="3565"/>
                  </a:lnTo>
                  <a:lnTo>
                    <a:pt x="8840" y="3565"/>
                  </a:lnTo>
                  <a:lnTo>
                    <a:pt x="8832" y="3565"/>
                  </a:lnTo>
                  <a:lnTo>
                    <a:pt x="8826" y="3561"/>
                  </a:lnTo>
                  <a:lnTo>
                    <a:pt x="8822" y="3554"/>
                  </a:lnTo>
                  <a:lnTo>
                    <a:pt x="8821" y="3546"/>
                  </a:lnTo>
                  <a:lnTo>
                    <a:pt x="8821" y="3433"/>
                  </a:lnTo>
                  <a:lnTo>
                    <a:pt x="8822" y="3424"/>
                  </a:lnTo>
                  <a:lnTo>
                    <a:pt x="8826" y="3419"/>
                  </a:lnTo>
                  <a:lnTo>
                    <a:pt x="8832" y="3415"/>
                  </a:lnTo>
                  <a:lnTo>
                    <a:pt x="8840" y="3414"/>
                  </a:lnTo>
                  <a:lnTo>
                    <a:pt x="8848" y="3415"/>
                  </a:lnTo>
                  <a:lnTo>
                    <a:pt x="8854" y="3419"/>
                  </a:lnTo>
                  <a:lnTo>
                    <a:pt x="8858" y="3424"/>
                  </a:lnTo>
                  <a:lnTo>
                    <a:pt x="8861" y="3433"/>
                  </a:lnTo>
                  <a:close/>
                  <a:moveTo>
                    <a:pt x="7545" y="3680"/>
                  </a:moveTo>
                  <a:lnTo>
                    <a:pt x="7545" y="3792"/>
                  </a:lnTo>
                  <a:lnTo>
                    <a:pt x="7542" y="3801"/>
                  </a:lnTo>
                  <a:lnTo>
                    <a:pt x="7539" y="3806"/>
                  </a:lnTo>
                  <a:lnTo>
                    <a:pt x="7532" y="3810"/>
                  </a:lnTo>
                  <a:lnTo>
                    <a:pt x="7524" y="3811"/>
                  </a:lnTo>
                  <a:lnTo>
                    <a:pt x="7517" y="3810"/>
                  </a:lnTo>
                  <a:lnTo>
                    <a:pt x="7510" y="3806"/>
                  </a:lnTo>
                  <a:lnTo>
                    <a:pt x="7506" y="3801"/>
                  </a:lnTo>
                  <a:lnTo>
                    <a:pt x="7505" y="3792"/>
                  </a:lnTo>
                  <a:lnTo>
                    <a:pt x="7505" y="3680"/>
                  </a:lnTo>
                  <a:lnTo>
                    <a:pt x="7506" y="3671"/>
                  </a:lnTo>
                  <a:lnTo>
                    <a:pt x="7510" y="3664"/>
                  </a:lnTo>
                  <a:lnTo>
                    <a:pt x="7517" y="3661"/>
                  </a:lnTo>
                  <a:lnTo>
                    <a:pt x="7524" y="3659"/>
                  </a:lnTo>
                  <a:lnTo>
                    <a:pt x="7532" y="3661"/>
                  </a:lnTo>
                  <a:lnTo>
                    <a:pt x="7539" y="3664"/>
                  </a:lnTo>
                  <a:lnTo>
                    <a:pt x="7542" y="3671"/>
                  </a:lnTo>
                  <a:lnTo>
                    <a:pt x="7545" y="3680"/>
                  </a:lnTo>
                  <a:close/>
                  <a:moveTo>
                    <a:pt x="7808" y="3680"/>
                  </a:moveTo>
                  <a:lnTo>
                    <a:pt x="7808" y="3792"/>
                  </a:lnTo>
                  <a:lnTo>
                    <a:pt x="7807" y="3801"/>
                  </a:lnTo>
                  <a:lnTo>
                    <a:pt x="7801" y="3806"/>
                  </a:lnTo>
                  <a:lnTo>
                    <a:pt x="7795" y="3810"/>
                  </a:lnTo>
                  <a:lnTo>
                    <a:pt x="7787" y="3811"/>
                  </a:lnTo>
                  <a:lnTo>
                    <a:pt x="7781" y="3810"/>
                  </a:lnTo>
                  <a:lnTo>
                    <a:pt x="7774" y="3806"/>
                  </a:lnTo>
                  <a:lnTo>
                    <a:pt x="7769" y="3801"/>
                  </a:lnTo>
                  <a:lnTo>
                    <a:pt x="7768" y="3792"/>
                  </a:lnTo>
                  <a:lnTo>
                    <a:pt x="7768" y="3680"/>
                  </a:lnTo>
                  <a:lnTo>
                    <a:pt x="7769" y="3671"/>
                  </a:lnTo>
                  <a:lnTo>
                    <a:pt x="7774" y="3664"/>
                  </a:lnTo>
                  <a:lnTo>
                    <a:pt x="7781" y="3661"/>
                  </a:lnTo>
                  <a:lnTo>
                    <a:pt x="7787" y="3659"/>
                  </a:lnTo>
                  <a:lnTo>
                    <a:pt x="7795" y="3661"/>
                  </a:lnTo>
                  <a:lnTo>
                    <a:pt x="7801" y="3664"/>
                  </a:lnTo>
                  <a:lnTo>
                    <a:pt x="7807" y="3671"/>
                  </a:lnTo>
                  <a:lnTo>
                    <a:pt x="7808" y="3680"/>
                  </a:lnTo>
                  <a:close/>
                  <a:moveTo>
                    <a:pt x="8071" y="3680"/>
                  </a:moveTo>
                  <a:lnTo>
                    <a:pt x="8071" y="3792"/>
                  </a:lnTo>
                  <a:lnTo>
                    <a:pt x="8069" y="3801"/>
                  </a:lnTo>
                  <a:lnTo>
                    <a:pt x="8064" y="3806"/>
                  </a:lnTo>
                  <a:lnTo>
                    <a:pt x="8058" y="3810"/>
                  </a:lnTo>
                  <a:lnTo>
                    <a:pt x="8051" y="3811"/>
                  </a:lnTo>
                  <a:lnTo>
                    <a:pt x="8044" y="3810"/>
                  </a:lnTo>
                  <a:lnTo>
                    <a:pt x="8037" y="3806"/>
                  </a:lnTo>
                  <a:lnTo>
                    <a:pt x="8032" y="3801"/>
                  </a:lnTo>
                  <a:lnTo>
                    <a:pt x="8031" y="3792"/>
                  </a:lnTo>
                  <a:lnTo>
                    <a:pt x="8031" y="3680"/>
                  </a:lnTo>
                  <a:lnTo>
                    <a:pt x="8032" y="3671"/>
                  </a:lnTo>
                  <a:lnTo>
                    <a:pt x="8037" y="3664"/>
                  </a:lnTo>
                  <a:lnTo>
                    <a:pt x="8044" y="3661"/>
                  </a:lnTo>
                  <a:lnTo>
                    <a:pt x="8051" y="3659"/>
                  </a:lnTo>
                  <a:lnTo>
                    <a:pt x="8058" y="3661"/>
                  </a:lnTo>
                  <a:lnTo>
                    <a:pt x="8064" y="3664"/>
                  </a:lnTo>
                  <a:lnTo>
                    <a:pt x="8069" y="3671"/>
                  </a:lnTo>
                  <a:lnTo>
                    <a:pt x="8071" y="3680"/>
                  </a:lnTo>
                  <a:close/>
                  <a:moveTo>
                    <a:pt x="8334" y="3680"/>
                  </a:moveTo>
                  <a:lnTo>
                    <a:pt x="8334" y="3792"/>
                  </a:lnTo>
                  <a:lnTo>
                    <a:pt x="8332" y="3801"/>
                  </a:lnTo>
                  <a:lnTo>
                    <a:pt x="8327" y="3806"/>
                  </a:lnTo>
                  <a:lnTo>
                    <a:pt x="8322" y="3810"/>
                  </a:lnTo>
                  <a:lnTo>
                    <a:pt x="8314" y="3811"/>
                  </a:lnTo>
                  <a:lnTo>
                    <a:pt x="8307" y="3810"/>
                  </a:lnTo>
                  <a:lnTo>
                    <a:pt x="8300" y="3806"/>
                  </a:lnTo>
                  <a:lnTo>
                    <a:pt x="8296" y="3801"/>
                  </a:lnTo>
                  <a:lnTo>
                    <a:pt x="8294" y="3792"/>
                  </a:lnTo>
                  <a:lnTo>
                    <a:pt x="8294" y="3680"/>
                  </a:lnTo>
                  <a:lnTo>
                    <a:pt x="8296" y="3671"/>
                  </a:lnTo>
                  <a:lnTo>
                    <a:pt x="8300" y="3664"/>
                  </a:lnTo>
                  <a:lnTo>
                    <a:pt x="8307" y="3661"/>
                  </a:lnTo>
                  <a:lnTo>
                    <a:pt x="8314" y="3659"/>
                  </a:lnTo>
                  <a:lnTo>
                    <a:pt x="8322" y="3661"/>
                  </a:lnTo>
                  <a:lnTo>
                    <a:pt x="8327" y="3664"/>
                  </a:lnTo>
                  <a:lnTo>
                    <a:pt x="8332" y="3671"/>
                  </a:lnTo>
                  <a:lnTo>
                    <a:pt x="8334" y="3680"/>
                  </a:lnTo>
                  <a:close/>
                  <a:moveTo>
                    <a:pt x="8598" y="3680"/>
                  </a:moveTo>
                  <a:lnTo>
                    <a:pt x="8598" y="3792"/>
                  </a:lnTo>
                  <a:lnTo>
                    <a:pt x="8595" y="3801"/>
                  </a:lnTo>
                  <a:lnTo>
                    <a:pt x="8591" y="3806"/>
                  </a:lnTo>
                  <a:lnTo>
                    <a:pt x="8585" y="3810"/>
                  </a:lnTo>
                  <a:lnTo>
                    <a:pt x="8577" y="3811"/>
                  </a:lnTo>
                  <a:lnTo>
                    <a:pt x="8569" y="3810"/>
                  </a:lnTo>
                  <a:lnTo>
                    <a:pt x="8563" y="3806"/>
                  </a:lnTo>
                  <a:lnTo>
                    <a:pt x="8559" y="3801"/>
                  </a:lnTo>
                  <a:lnTo>
                    <a:pt x="8557" y="3792"/>
                  </a:lnTo>
                  <a:lnTo>
                    <a:pt x="8557" y="3680"/>
                  </a:lnTo>
                  <a:lnTo>
                    <a:pt x="8559" y="3671"/>
                  </a:lnTo>
                  <a:lnTo>
                    <a:pt x="8563" y="3664"/>
                  </a:lnTo>
                  <a:lnTo>
                    <a:pt x="8569" y="3661"/>
                  </a:lnTo>
                  <a:lnTo>
                    <a:pt x="8577" y="3659"/>
                  </a:lnTo>
                  <a:lnTo>
                    <a:pt x="8585" y="3661"/>
                  </a:lnTo>
                  <a:lnTo>
                    <a:pt x="8591" y="3664"/>
                  </a:lnTo>
                  <a:lnTo>
                    <a:pt x="8595" y="3671"/>
                  </a:lnTo>
                  <a:lnTo>
                    <a:pt x="8598" y="3680"/>
                  </a:lnTo>
                  <a:close/>
                  <a:moveTo>
                    <a:pt x="8861" y="3680"/>
                  </a:moveTo>
                  <a:lnTo>
                    <a:pt x="8861" y="3792"/>
                  </a:lnTo>
                  <a:lnTo>
                    <a:pt x="8858" y="3801"/>
                  </a:lnTo>
                  <a:lnTo>
                    <a:pt x="8854" y="3806"/>
                  </a:lnTo>
                  <a:lnTo>
                    <a:pt x="8848" y="3810"/>
                  </a:lnTo>
                  <a:lnTo>
                    <a:pt x="8840" y="3811"/>
                  </a:lnTo>
                  <a:lnTo>
                    <a:pt x="8832" y="3810"/>
                  </a:lnTo>
                  <a:lnTo>
                    <a:pt x="8826" y="3806"/>
                  </a:lnTo>
                  <a:lnTo>
                    <a:pt x="8822" y="3801"/>
                  </a:lnTo>
                  <a:lnTo>
                    <a:pt x="8821" y="3792"/>
                  </a:lnTo>
                  <a:lnTo>
                    <a:pt x="8821" y="3680"/>
                  </a:lnTo>
                  <a:lnTo>
                    <a:pt x="8822" y="3671"/>
                  </a:lnTo>
                  <a:lnTo>
                    <a:pt x="8826" y="3664"/>
                  </a:lnTo>
                  <a:lnTo>
                    <a:pt x="8832" y="3661"/>
                  </a:lnTo>
                  <a:lnTo>
                    <a:pt x="8840" y="3659"/>
                  </a:lnTo>
                  <a:lnTo>
                    <a:pt x="8848" y="3661"/>
                  </a:lnTo>
                  <a:lnTo>
                    <a:pt x="8854" y="3664"/>
                  </a:lnTo>
                  <a:lnTo>
                    <a:pt x="8858" y="3671"/>
                  </a:lnTo>
                  <a:lnTo>
                    <a:pt x="8861" y="3680"/>
                  </a:lnTo>
                  <a:close/>
                  <a:moveTo>
                    <a:pt x="9081" y="2604"/>
                  </a:moveTo>
                  <a:lnTo>
                    <a:pt x="9075" y="2604"/>
                  </a:lnTo>
                  <a:lnTo>
                    <a:pt x="9081" y="2604"/>
                  </a:lnTo>
                  <a:close/>
                  <a:moveTo>
                    <a:pt x="5536" y="1840"/>
                  </a:moveTo>
                  <a:lnTo>
                    <a:pt x="5109" y="1840"/>
                  </a:lnTo>
                  <a:lnTo>
                    <a:pt x="5109" y="1950"/>
                  </a:lnTo>
                  <a:lnTo>
                    <a:pt x="5536" y="1950"/>
                  </a:lnTo>
                  <a:lnTo>
                    <a:pt x="5536" y="1840"/>
                  </a:lnTo>
                  <a:close/>
                  <a:moveTo>
                    <a:pt x="4446" y="3790"/>
                  </a:moveTo>
                  <a:lnTo>
                    <a:pt x="5309" y="3790"/>
                  </a:lnTo>
                  <a:lnTo>
                    <a:pt x="5318" y="3791"/>
                  </a:lnTo>
                  <a:lnTo>
                    <a:pt x="5324" y="3796"/>
                  </a:lnTo>
                  <a:lnTo>
                    <a:pt x="5328" y="3803"/>
                  </a:lnTo>
                  <a:lnTo>
                    <a:pt x="5329" y="3809"/>
                  </a:lnTo>
                  <a:lnTo>
                    <a:pt x="5328" y="3817"/>
                  </a:lnTo>
                  <a:lnTo>
                    <a:pt x="5324" y="3823"/>
                  </a:lnTo>
                  <a:lnTo>
                    <a:pt x="5318" y="3828"/>
                  </a:lnTo>
                  <a:lnTo>
                    <a:pt x="5309" y="3829"/>
                  </a:lnTo>
                  <a:lnTo>
                    <a:pt x="5215" y="3829"/>
                  </a:lnTo>
                  <a:lnTo>
                    <a:pt x="5215" y="4317"/>
                  </a:lnTo>
                  <a:lnTo>
                    <a:pt x="5754" y="4317"/>
                  </a:lnTo>
                  <a:lnTo>
                    <a:pt x="5754" y="3782"/>
                  </a:lnTo>
                  <a:lnTo>
                    <a:pt x="5754" y="3249"/>
                  </a:lnTo>
                  <a:lnTo>
                    <a:pt x="5754" y="2716"/>
                  </a:lnTo>
                  <a:lnTo>
                    <a:pt x="5754" y="2182"/>
                  </a:lnTo>
                  <a:lnTo>
                    <a:pt x="5195" y="2182"/>
                  </a:lnTo>
                  <a:lnTo>
                    <a:pt x="4637" y="2182"/>
                  </a:lnTo>
                  <a:lnTo>
                    <a:pt x="4629" y="2181"/>
                  </a:lnTo>
                  <a:lnTo>
                    <a:pt x="4623" y="2176"/>
                  </a:lnTo>
                  <a:lnTo>
                    <a:pt x="4619" y="2170"/>
                  </a:lnTo>
                  <a:lnTo>
                    <a:pt x="4617" y="2163"/>
                  </a:lnTo>
                  <a:lnTo>
                    <a:pt x="4619" y="2156"/>
                  </a:lnTo>
                  <a:lnTo>
                    <a:pt x="4623" y="2149"/>
                  </a:lnTo>
                  <a:lnTo>
                    <a:pt x="4629" y="2144"/>
                  </a:lnTo>
                  <a:lnTo>
                    <a:pt x="4637" y="2143"/>
                  </a:lnTo>
                  <a:lnTo>
                    <a:pt x="5615" y="2143"/>
                  </a:lnTo>
                  <a:lnTo>
                    <a:pt x="5615" y="1989"/>
                  </a:lnTo>
                  <a:lnTo>
                    <a:pt x="5555" y="1989"/>
                  </a:lnTo>
                  <a:lnTo>
                    <a:pt x="5089" y="1989"/>
                  </a:lnTo>
                  <a:lnTo>
                    <a:pt x="4119" y="1989"/>
                  </a:lnTo>
                  <a:lnTo>
                    <a:pt x="4119" y="2143"/>
                  </a:lnTo>
                  <a:lnTo>
                    <a:pt x="4373" y="2143"/>
                  </a:lnTo>
                  <a:lnTo>
                    <a:pt x="4382" y="2144"/>
                  </a:lnTo>
                  <a:lnTo>
                    <a:pt x="4387" y="2149"/>
                  </a:lnTo>
                  <a:lnTo>
                    <a:pt x="4391" y="2156"/>
                  </a:lnTo>
                  <a:lnTo>
                    <a:pt x="4392" y="2163"/>
                  </a:lnTo>
                  <a:lnTo>
                    <a:pt x="4391" y="2170"/>
                  </a:lnTo>
                  <a:lnTo>
                    <a:pt x="4387" y="2176"/>
                  </a:lnTo>
                  <a:lnTo>
                    <a:pt x="4382" y="2181"/>
                  </a:lnTo>
                  <a:lnTo>
                    <a:pt x="4373" y="2182"/>
                  </a:lnTo>
                  <a:lnTo>
                    <a:pt x="4001" y="2182"/>
                  </a:lnTo>
                  <a:lnTo>
                    <a:pt x="4001" y="3195"/>
                  </a:lnTo>
                  <a:lnTo>
                    <a:pt x="3999" y="3204"/>
                  </a:lnTo>
                  <a:lnTo>
                    <a:pt x="3994" y="3211"/>
                  </a:lnTo>
                  <a:lnTo>
                    <a:pt x="3988" y="3214"/>
                  </a:lnTo>
                  <a:lnTo>
                    <a:pt x="3980" y="3216"/>
                  </a:lnTo>
                  <a:lnTo>
                    <a:pt x="3974" y="3214"/>
                  </a:lnTo>
                  <a:lnTo>
                    <a:pt x="3967" y="3211"/>
                  </a:lnTo>
                  <a:lnTo>
                    <a:pt x="3962" y="3204"/>
                  </a:lnTo>
                  <a:lnTo>
                    <a:pt x="3961" y="3195"/>
                  </a:lnTo>
                  <a:lnTo>
                    <a:pt x="3961" y="2679"/>
                  </a:lnTo>
                  <a:lnTo>
                    <a:pt x="3961" y="2163"/>
                  </a:lnTo>
                  <a:lnTo>
                    <a:pt x="3962" y="2156"/>
                  </a:lnTo>
                  <a:lnTo>
                    <a:pt x="3966" y="2149"/>
                  </a:lnTo>
                  <a:lnTo>
                    <a:pt x="3973" y="2144"/>
                  </a:lnTo>
                  <a:lnTo>
                    <a:pt x="3980" y="2143"/>
                  </a:lnTo>
                  <a:lnTo>
                    <a:pt x="4079" y="2143"/>
                  </a:lnTo>
                  <a:lnTo>
                    <a:pt x="4079" y="1970"/>
                  </a:lnTo>
                  <a:lnTo>
                    <a:pt x="4080" y="1963"/>
                  </a:lnTo>
                  <a:lnTo>
                    <a:pt x="4085" y="1956"/>
                  </a:lnTo>
                  <a:lnTo>
                    <a:pt x="4092" y="1951"/>
                  </a:lnTo>
                  <a:lnTo>
                    <a:pt x="4099" y="1950"/>
                  </a:lnTo>
                  <a:lnTo>
                    <a:pt x="5069" y="1950"/>
                  </a:lnTo>
                  <a:lnTo>
                    <a:pt x="5069" y="1819"/>
                  </a:lnTo>
                  <a:lnTo>
                    <a:pt x="5070" y="1812"/>
                  </a:lnTo>
                  <a:lnTo>
                    <a:pt x="5075" y="1805"/>
                  </a:lnTo>
                  <a:lnTo>
                    <a:pt x="5082" y="1801"/>
                  </a:lnTo>
                  <a:lnTo>
                    <a:pt x="5089" y="1799"/>
                  </a:lnTo>
                  <a:lnTo>
                    <a:pt x="5555" y="1799"/>
                  </a:lnTo>
                  <a:lnTo>
                    <a:pt x="5563" y="1801"/>
                  </a:lnTo>
                  <a:lnTo>
                    <a:pt x="5569" y="1805"/>
                  </a:lnTo>
                  <a:lnTo>
                    <a:pt x="5573" y="1812"/>
                  </a:lnTo>
                  <a:lnTo>
                    <a:pt x="5575" y="1819"/>
                  </a:lnTo>
                  <a:lnTo>
                    <a:pt x="5575" y="1950"/>
                  </a:lnTo>
                  <a:lnTo>
                    <a:pt x="5636" y="1950"/>
                  </a:lnTo>
                  <a:lnTo>
                    <a:pt x="5643" y="1951"/>
                  </a:lnTo>
                  <a:lnTo>
                    <a:pt x="5650" y="1956"/>
                  </a:lnTo>
                  <a:lnTo>
                    <a:pt x="5654" y="1963"/>
                  </a:lnTo>
                  <a:lnTo>
                    <a:pt x="5656" y="1970"/>
                  </a:lnTo>
                  <a:lnTo>
                    <a:pt x="5656" y="2143"/>
                  </a:lnTo>
                  <a:lnTo>
                    <a:pt x="5773" y="2143"/>
                  </a:lnTo>
                  <a:lnTo>
                    <a:pt x="5781" y="2144"/>
                  </a:lnTo>
                  <a:lnTo>
                    <a:pt x="5787" y="2149"/>
                  </a:lnTo>
                  <a:lnTo>
                    <a:pt x="5792" y="2156"/>
                  </a:lnTo>
                  <a:lnTo>
                    <a:pt x="5793" y="2163"/>
                  </a:lnTo>
                  <a:lnTo>
                    <a:pt x="5793" y="2705"/>
                  </a:lnTo>
                  <a:lnTo>
                    <a:pt x="5793" y="3249"/>
                  </a:lnTo>
                  <a:lnTo>
                    <a:pt x="5793" y="3792"/>
                  </a:lnTo>
                  <a:lnTo>
                    <a:pt x="5793" y="4336"/>
                  </a:lnTo>
                  <a:lnTo>
                    <a:pt x="5792" y="4343"/>
                  </a:lnTo>
                  <a:lnTo>
                    <a:pt x="5787" y="4350"/>
                  </a:lnTo>
                  <a:lnTo>
                    <a:pt x="5781" y="4355"/>
                  </a:lnTo>
                  <a:lnTo>
                    <a:pt x="5773" y="4356"/>
                  </a:lnTo>
                  <a:lnTo>
                    <a:pt x="5195" y="4356"/>
                  </a:lnTo>
                  <a:lnTo>
                    <a:pt x="4560" y="4356"/>
                  </a:lnTo>
                  <a:lnTo>
                    <a:pt x="3980" y="4356"/>
                  </a:lnTo>
                  <a:lnTo>
                    <a:pt x="3973" y="4355"/>
                  </a:lnTo>
                  <a:lnTo>
                    <a:pt x="3966" y="4350"/>
                  </a:lnTo>
                  <a:lnTo>
                    <a:pt x="3962" y="4343"/>
                  </a:lnTo>
                  <a:lnTo>
                    <a:pt x="3961" y="4336"/>
                  </a:lnTo>
                  <a:lnTo>
                    <a:pt x="3961" y="4037"/>
                  </a:lnTo>
                  <a:lnTo>
                    <a:pt x="3962" y="4028"/>
                  </a:lnTo>
                  <a:lnTo>
                    <a:pt x="3967" y="4021"/>
                  </a:lnTo>
                  <a:lnTo>
                    <a:pt x="3974" y="4017"/>
                  </a:lnTo>
                  <a:lnTo>
                    <a:pt x="3980" y="4016"/>
                  </a:lnTo>
                  <a:lnTo>
                    <a:pt x="3988" y="4017"/>
                  </a:lnTo>
                  <a:lnTo>
                    <a:pt x="3994" y="4021"/>
                  </a:lnTo>
                  <a:lnTo>
                    <a:pt x="3999" y="4028"/>
                  </a:lnTo>
                  <a:lnTo>
                    <a:pt x="4001" y="4037"/>
                  </a:lnTo>
                  <a:lnTo>
                    <a:pt x="4001" y="4317"/>
                  </a:lnTo>
                  <a:lnTo>
                    <a:pt x="4539" y="4317"/>
                  </a:lnTo>
                  <a:lnTo>
                    <a:pt x="4539" y="3829"/>
                  </a:lnTo>
                  <a:lnTo>
                    <a:pt x="4446" y="3829"/>
                  </a:lnTo>
                  <a:lnTo>
                    <a:pt x="4437" y="3828"/>
                  </a:lnTo>
                  <a:lnTo>
                    <a:pt x="4430" y="3823"/>
                  </a:lnTo>
                  <a:lnTo>
                    <a:pt x="4426" y="3817"/>
                  </a:lnTo>
                  <a:lnTo>
                    <a:pt x="4425" y="3809"/>
                  </a:lnTo>
                  <a:lnTo>
                    <a:pt x="4426" y="3803"/>
                  </a:lnTo>
                  <a:lnTo>
                    <a:pt x="4430" y="3796"/>
                  </a:lnTo>
                  <a:lnTo>
                    <a:pt x="4437" y="3791"/>
                  </a:lnTo>
                  <a:lnTo>
                    <a:pt x="4446" y="3790"/>
                  </a:lnTo>
                  <a:close/>
                  <a:moveTo>
                    <a:pt x="4897" y="3950"/>
                  </a:moveTo>
                  <a:lnTo>
                    <a:pt x="4897" y="4317"/>
                  </a:lnTo>
                  <a:lnTo>
                    <a:pt x="5175" y="4317"/>
                  </a:lnTo>
                  <a:lnTo>
                    <a:pt x="5175" y="3829"/>
                  </a:lnTo>
                  <a:lnTo>
                    <a:pt x="4579" y="3829"/>
                  </a:lnTo>
                  <a:lnTo>
                    <a:pt x="4579" y="4317"/>
                  </a:lnTo>
                  <a:lnTo>
                    <a:pt x="4857" y="4317"/>
                  </a:lnTo>
                  <a:lnTo>
                    <a:pt x="4857" y="3950"/>
                  </a:lnTo>
                  <a:lnTo>
                    <a:pt x="4859" y="3941"/>
                  </a:lnTo>
                  <a:lnTo>
                    <a:pt x="4864" y="3934"/>
                  </a:lnTo>
                  <a:lnTo>
                    <a:pt x="4870" y="3930"/>
                  </a:lnTo>
                  <a:lnTo>
                    <a:pt x="4877" y="3929"/>
                  </a:lnTo>
                  <a:lnTo>
                    <a:pt x="4884" y="3930"/>
                  </a:lnTo>
                  <a:lnTo>
                    <a:pt x="4891" y="3934"/>
                  </a:lnTo>
                  <a:lnTo>
                    <a:pt x="4896" y="3941"/>
                  </a:lnTo>
                  <a:lnTo>
                    <a:pt x="4897" y="3950"/>
                  </a:lnTo>
                  <a:close/>
                  <a:moveTo>
                    <a:pt x="8349" y="481"/>
                  </a:moveTo>
                  <a:lnTo>
                    <a:pt x="8337" y="483"/>
                  </a:lnTo>
                  <a:lnTo>
                    <a:pt x="8328" y="482"/>
                  </a:lnTo>
                  <a:lnTo>
                    <a:pt x="8321" y="475"/>
                  </a:lnTo>
                  <a:lnTo>
                    <a:pt x="8318" y="464"/>
                  </a:lnTo>
                  <a:lnTo>
                    <a:pt x="8316" y="446"/>
                  </a:lnTo>
                  <a:lnTo>
                    <a:pt x="8312" y="428"/>
                  </a:lnTo>
                  <a:lnTo>
                    <a:pt x="8299" y="394"/>
                  </a:lnTo>
                  <a:lnTo>
                    <a:pt x="8280" y="364"/>
                  </a:lnTo>
                  <a:lnTo>
                    <a:pt x="8255" y="337"/>
                  </a:lnTo>
                  <a:lnTo>
                    <a:pt x="8226" y="316"/>
                  </a:lnTo>
                  <a:lnTo>
                    <a:pt x="8192" y="299"/>
                  </a:lnTo>
                  <a:lnTo>
                    <a:pt x="8175" y="293"/>
                  </a:lnTo>
                  <a:lnTo>
                    <a:pt x="8157" y="289"/>
                  </a:lnTo>
                  <a:lnTo>
                    <a:pt x="8137" y="286"/>
                  </a:lnTo>
                  <a:lnTo>
                    <a:pt x="8119" y="285"/>
                  </a:lnTo>
                  <a:lnTo>
                    <a:pt x="8080" y="289"/>
                  </a:lnTo>
                  <a:lnTo>
                    <a:pt x="8060" y="294"/>
                  </a:lnTo>
                  <a:lnTo>
                    <a:pt x="8042" y="300"/>
                  </a:lnTo>
                  <a:lnTo>
                    <a:pt x="8008" y="318"/>
                  </a:lnTo>
                  <a:lnTo>
                    <a:pt x="7978" y="341"/>
                  </a:lnTo>
                  <a:lnTo>
                    <a:pt x="7966" y="355"/>
                  </a:lnTo>
                  <a:lnTo>
                    <a:pt x="7954" y="369"/>
                  </a:lnTo>
                  <a:lnTo>
                    <a:pt x="7935" y="403"/>
                  </a:lnTo>
                  <a:lnTo>
                    <a:pt x="7928" y="420"/>
                  </a:lnTo>
                  <a:lnTo>
                    <a:pt x="7923" y="438"/>
                  </a:lnTo>
                  <a:lnTo>
                    <a:pt x="7919" y="477"/>
                  </a:lnTo>
                  <a:lnTo>
                    <a:pt x="7867" y="477"/>
                  </a:lnTo>
                  <a:lnTo>
                    <a:pt x="7836" y="474"/>
                  </a:lnTo>
                  <a:lnTo>
                    <a:pt x="7815" y="477"/>
                  </a:lnTo>
                  <a:lnTo>
                    <a:pt x="7798" y="482"/>
                  </a:lnTo>
                  <a:lnTo>
                    <a:pt x="7780" y="492"/>
                  </a:lnTo>
                  <a:lnTo>
                    <a:pt x="7765" y="504"/>
                  </a:lnTo>
                  <a:lnTo>
                    <a:pt x="7754" y="519"/>
                  </a:lnTo>
                  <a:lnTo>
                    <a:pt x="7745" y="537"/>
                  </a:lnTo>
                  <a:lnTo>
                    <a:pt x="7740" y="556"/>
                  </a:lnTo>
                  <a:lnTo>
                    <a:pt x="7737" y="576"/>
                  </a:lnTo>
                  <a:lnTo>
                    <a:pt x="7740" y="598"/>
                  </a:lnTo>
                  <a:lnTo>
                    <a:pt x="8505" y="599"/>
                  </a:lnTo>
                  <a:lnTo>
                    <a:pt x="8508" y="574"/>
                  </a:lnTo>
                  <a:lnTo>
                    <a:pt x="8505" y="552"/>
                  </a:lnTo>
                  <a:lnTo>
                    <a:pt x="8499" y="532"/>
                  </a:lnTo>
                  <a:lnTo>
                    <a:pt x="8490" y="514"/>
                  </a:lnTo>
                  <a:lnTo>
                    <a:pt x="8477" y="497"/>
                  </a:lnTo>
                  <a:lnTo>
                    <a:pt x="8460" y="484"/>
                  </a:lnTo>
                  <a:lnTo>
                    <a:pt x="8443" y="474"/>
                  </a:lnTo>
                  <a:lnTo>
                    <a:pt x="8423" y="468"/>
                  </a:lnTo>
                  <a:lnTo>
                    <a:pt x="8401" y="465"/>
                  </a:lnTo>
                  <a:lnTo>
                    <a:pt x="8373" y="469"/>
                  </a:lnTo>
                  <a:lnTo>
                    <a:pt x="8349" y="481"/>
                  </a:lnTo>
                  <a:close/>
                  <a:moveTo>
                    <a:pt x="7880" y="455"/>
                  </a:moveTo>
                  <a:lnTo>
                    <a:pt x="7883" y="433"/>
                  </a:lnTo>
                  <a:lnTo>
                    <a:pt x="7889" y="411"/>
                  </a:lnTo>
                  <a:lnTo>
                    <a:pt x="7896" y="391"/>
                  </a:lnTo>
                  <a:lnTo>
                    <a:pt x="7905" y="372"/>
                  </a:lnTo>
                  <a:lnTo>
                    <a:pt x="7917" y="354"/>
                  </a:lnTo>
                  <a:lnTo>
                    <a:pt x="7930" y="336"/>
                  </a:lnTo>
                  <a:lnTo>
                    <a:pt x="7944" y="321"/>
                  </a:lnTo>
                  <a:lnTo>
                    <a:pt x="7959" y="305"/>
                  </a:lnTo>
                  <a:lnTo>
                    <a:pt x="7994" y="280"/>
                  </a:lnTo>
                  <a:lnTo>
                    <a:pt x="8032" y="261"/>
                  </a:lnTo>
                  <a:lnTo>
                    <a:pt x="8075" y="249"/>
                  </a:lnTo>
                  <a:lnTo>
                    <a:pt x="8119" y="245"/>
                  </a:lnTo>
                  <a:lnTo>
                    <a:pt x="8160" y="249"/>
                  </a:lnTo>
                  <a:lnTo>
                    <a:pt x="8200" y="259"/>
                  </a:lnTo>
                  <a:lnTo>
                    <a:pt x="8237" y="276"/>
                  </a:lnTo>
                  <a:lnTo>
                    <a:pt x="8254" y="286"/>
                  </a:lnTo>
                  <a:lnTo>
                    <a:pt x="8271" y="299"/>
                  </a:lnTo>
                  <a:lnTo>
                    <a:pt x="8300" y="326"/>
                  </a:lnTo>
                  <a:lnTo>
                    <a:pt x="8325" y="358"/>
                  </a:lnTo>
                  <a:lnTo>
                    <a:pt x="8335" y="376"/>
                  </a:lnTo>
                  <a:lnTo>
                    <a:pt x="8343" y="395"/>
                  </a:lnTo>
                  <a:lnTo>
                    <a:pt x="8350" y="414"/>
                  </a:lnTo>
                  <a:lnTo>
                    <a:pt x="8354" y="433"/>
                  </a:lnTo>
                  <a:lnTo>
                    <a:pt x="8377" y="428"/>
                  </a:lnTo>
                  <a:lnTo>
                    <a:pt x="8401" y="426"/>
                  </a:lnTo>
                  <a:lnTo>
                    <a:pt x="8431" y="428"/>
                  </a:lnTo>
                  <a:lnTo>
                    <a:pt x="8459" y="437"/>
                  </a:lnTo>
                  <a:lnTo>
                    <a:pt x="8484" y="451"/>
                  </a:lnTo>
                  <a:lnTo>
                    <a:pt x="8505" y="470"/>
                  </a:lnTo>
                  <a:lnTo>
                    <a:pt x="8523" y="492"/>
                  </a:lnTo>
                  <a:lnTo>
                    <a:pt x="8531" y="505"/>
                  </a:lnTo>
                  <a:lnTo>
                    <a:pt x="8536" y="518"/>
                  </a:lnTo>
                  <a:lnTo>
                    <a:pt x="8545" y="544"/>
                  </a:lnTo>
                  <a:lnTo>
                    <a:pt x="8548" y="560"/>
                  </a:lnTo>
                  <a:lnTo>
                    <a:pt x="8548" y="574"/>
                  </a:lnTo>
                  <a:lnTo>
                    <a:pt x="8548" y="592"/>
                  </a:lnTo>
                  <a:lnTo>
                    <a:pt x="8544" y="613"/>
                  </a:lnTo>
                  <a:lnTo>
                    <a:pt x="8540" y="624"/>
                  </a:lnTo>
                  <a:lnTo>
                    <a:pt x="8535" y="631"/>
                  </a:lnTo>
                  <a:lnTo>
                    <a:pt x="8528" y="638"/>
                  </a:lnTo>
                  <a:lnTo>
                    <a:pt x="8521" y="640"/>
                  </a:lnTo>
                  <a:lnTo>
                    <a:pt x="7724" y="638"/>
                  </a:lnTo>
                  <a:lnTo>
                    <a:pt x="7717" y="637"/>
                  </a:lnTo>
                  <a:lnTo>
                    <a:pt x="7710" y="631"/>
                  </a:lnTo>
                  <a:lnTo>
                    <a:pt x="7705" y="622"/>
                  </a:lnTo>
                  <a:lnTo>
                    <a:pt x="7701" y="613"/>
                  </a:lnTo>
                  <a:lnTo>
                    <a:pt x="7699" y="593"/>
                  </a:lnTo>
                  <a:lnTo>
                    <a:pt x="7698" y="576"/>
                  </a:lnTo>
                  <a:lnTo>
                    <a:pt x="7700" y="548"/>
                  </a:lnTo>
                  <a:lnTo>
                    <a:pt x="7708" y="521"/>
                  </a:lnTo>
                  <a:lnTo>
                    <a:pt x="7721" y="497"/>
                  </a:lnTo>
                  <a:lnTo>
                    <a:pt x="7737" y="477"/>
                  </a:lnTo>
                  <a:lnTo>
                    <a:pt x="7757" y="459"/>
                  </a:lnTo>
                  <a:lnTo>
                    <a:pt x="7781" y="446"/>
                  </a:lnTo>
                  <a:lnTo>
                    <a:pt x="7807" y="437"/>
                  </a:lnTo>
                  <a:lnTo>
                    <a:pt x="7836" y="434"/>
                  </a:lnTo>
                  <a:lnTo>
                    <a:pt x="7851" y="436"/>
                  </a:lnTo>
                  <a:lnTo>
                    <a:pt x="7864" y="440"/>
                  </a:lnTo>
                  <a:lnTo>
                    <a:pt x="7874" y="445"/>
                  </a:lnTo>
                  <a:lnTo>
                    <a:pt x="7880" y="455"/>
                  </a:lnTo>
                  <a:close/>
                  <a:moveTo>
                    <a:pt x="4157" y="902"/>
                  </a:moveTo>
                  <a:lnTo>
                    <a:pt x="4683" y="902"/>
                  </a:lnTo>
                  <a:lnTo>
                    <a:pt x="5210" y="902"/>
                  </a:lnTo>
                  <a:lnTo>
                    <a:pt x="5210" y="892"/>
                  </a:lnTo>
                  <a:lnTo>
                    <a:pt x="5207" y="865"/>
                  </a:lnTo>
                  <a:lnTo>
                    <a:pt x="5203" y="854"/>
                  </a:lnTo>
                  <a:lnTo>
                    <a:pt x="5200" y="841"/>
                  </a:lnTo>
                  <a:lnTo>
                    <a:pt x="5187" y="819"/>
                  </a:lnTo>
                  <a:lnTo>
                    <a:pt x="5179" y="809"/>
                  </a:lnTo>
                  <a:lnTo>
                    <a:pt x="5171" y="799"/>
                  </a:lnTo>
                  <a:lnTo>
                    <a:pt x="5151" y="784"/>
                  </a:lnTo>
                  <a:lnTo>
                    <a:pt x="5141" y="777"/>
                  </a:lnTo>
                  <a:lnTo>
                    <a:pt x="5129" y="771"/>
                  </a:lnTo>
                  <a:lnTo>
                    <a:pt x="5103" y="763"/>
                  </a:lnTo>
                  <a:lnTo>
                    <a:pt x="5077" y="761"/>
                  </a:lnTo>
                  <a:lnTo>
                    <a:pt x="5052" y="763"/>
                  </a:lnTo>
                  <a:lnTo>
                    <a:pt x="5042" y="767"/>
                  </a:lnTo>
                  <a:lnTo>
                    <a:pt x="5030" y="771"/>
                  </a:lnTo>
                  <a:lnTo>
                    <a:pt x="4996" y="791"/>
                  </a:lnTo>
                  <a:lnTo>
                    <a:pt x="4982" y="799"/>
                  </a:lnTo>
                  <a:lnTo>
                    <a:pt x="4970" y="801"/>
                  </a:lnTo>
                  <a:lnTo>
                    <a:pt x="4961" y="799"/>
                  </a:lnTo>
                  <a:lnTo>
                    <a:pt x="4955" y="786"/>
                  </a:lnTo>
                  <a:lnTo>
                    <a:pt x="4944" y="758"/>
                  </a:lnTo>
                  <a:lnTo>
                    <a:pt x="4938" y="745"/>
                  </a:lnTo>
                  <a:lnTo>
                    <a:pt x="4929" y="732"/>
                  </a:lnTo>
                  <a:lnTo>
                    <a:pt x="4911" y="711"/>
                  </a:lnTo>
                  <a:lnTo>
                    <a:pt x="4900" y="700"/>
                  </a:lnTo>
                  <a:lnTo>
                    <a:pt x="4888" y="690"/>
                  </a:lnTo>
                  <a:lnTo>
                    <a:pt x="4864" y="675"/>
                  </a:lnTo>
                  <a:lnTo>
                    <a:pt x="4837" y="662"/>
                  </a:lnTo>
                  <a:lnTo>
                    <a:pt x="4821" y="658"/>
                  </a:lnTo>
                  <a:lnTo>
                    <a:pt x="4807" y="656"/>
                  </a:lnTo>
                  <a:lnTo>
                    <a:pt x="4775" y="653"/>
                  </a:lnTo>
                  <a:lnTo>
                    <a:pt x="4751" y="656"/>
                  </a:lnTo>
                  <a:lnTo>
                    <a:pt x="4725" y="661"/>
                  </a:lnTo>
                  <a:lnTo>
                    <a:pt x="4702" y="665"/>
                  </a:lnTo>
                  <a:lnTo>
                    <a:pt x="4694" y="663"/>
                  </a:lnTo>
                  <a:lnTo>
                    <a:pt x="4688" y="660"/>
                  </a:lnTo>
                  <a:lnTo>
                    <a:pt x="4671" y="643"/>
                  </a:lnTo>
                  <a:lnTo>
                    <a:pt x="4653" y="628"/>
                  </a:lnTo>
                  <a:lnTo>
                    <a:pt x="4634" y="615"/>
                  </a:lnTo>
                  <a:lnTo>
                    <a:pt x="4614" y="605"/>
                  </a:lnTo>
                  <a:lnTo>
                    <a:pt x="4592" y="596"/>
                  </a:lnTo>
                  <a:lnTo>
                    <a:pt x="4570" y="589"/>
                  </a:lnTo>
                  <a:lnTo>
                    <a:pt x="4546" y="585"/>
                  </a:lnTo>
                  <a:lnTo>
                    <a:pt x="4521" y="584"/>
                  </a:lnTo>
                  <a:lnTo>
                    <a:pt x="4480" y="587"/>
                  </a:lnTo>
                  <a:lnTo>
                    <a:pt x="4462" y="590"/>
                  </a:lnTo>
                  <a:lnTo>
                    <a:pt x="4446" y="594"/>
                  </a:lnTo>
                  <a:lnTo>
                    <a:pt x="4416" y="607"/>
                  </a:lnTo>
                  <a:lnTo>
                    <a:pt x="4393" y="622"/>
                  </a:lnTo>
                  <a:lnTo>
                    <a:pt x="4373" y="640"/>
                  </a:lnTo>
                  <a:lnTo>
                    <a:pt x="4356" y="661"/>
                  </a:lnTo>
                  <a:lnTo>
                    <a:pt x="4343" y="683"/>
                  </a:lnTo>
                  <a:lnTo>
                    <a:pt x="4333" y="704"/>
                  </a:lnTo>
                  <a:lnTo>
                    <a:pt x="4317" y="749"/>
                  </a:lnTo>
                  <a:lnTo>
                    <a:pt x="4306" y="786"/>
                  </a:lnTo>
                  <a:lnTo>
                    <a:pt x="4293" y="812"/>
                  </a:lnTo>
                  <a:lnTo>
                    <a:pt x="4287" y="818"/>
                  </a:lnTo>
                  <a:lnTo>
                    <a:pt x="4276" y="819"/>
                  </a:lnTo>
                  <a:lnTo>
                    <a:pt x="4261" y="818"/>
                  </a:lnTo>
                  <a:lnTo>
                    <a:pt x="4242" y="819"/>
                  </a:lnTo>
                  <a:lnTo>
                    <a:pt x="4224" y="824"/>
                  </a:lnTo>
                  <a:lnTo>
                    <a:pt x="4207" y="832"/>
                  </a:lnTo>
                  <a:lnTo>
                    <a:pt x="4193" y="842"/>
                  </a:lnTo>
                  <a:lnTo>
                    <a:pt x="4180" y="854"/>
                  </a:lnTo>
                  <a:lnTo>
                    <a:pt x="4170" y="868"/>
                  </a:lnTo>
                  <a:lnTo>
                    <a:pt x="4162" y="885"/>
                  </a:lnTo>
                  <a:lnTo>
                    <a:pt x="4157" y="902"/>
                  </a:lnTo>
                  <a:close/>
                  <a:moveTo>
                    <a:pt x="5248" y="923"/>
                  </a:moveTo>
                  <a:lnTo>
                    <a:pt x="5243" y="933"/>
                  </a:lnTo>
                  <a:lnTo>
                    <a:pt x="5238" y="938"/>
                  </a:lnTo>
                  <a:lnTo>
                    <a:pt x="5227" y="942"/>
                  </a:lnTo>
                  <a:lnTo>
                    <a:pt x="4680" y="942"/>
                  </a:lnTo>
                  <a:lnTo>
                    <a:pt x="4135" y="942"/>
                  </a:lnTo>
                  <a:lnTo>
                    <a:pt x="4129" y="940"/>
                  </a:lnTo>
                  <a:lnTo>
                    <a:pt x="4123" y="936"/>
                  </a:lnTo>
                  <a:lnTo>
                    <a:pt x="4117" y="928"/>
                  </a:lnTo>
                  <a:lnTo>
                    <a:pt x="4116" y="920"/>
                  </a:lnTo>
                  <a:lnTo>
                    <a:pt x="4119" y="891"/>
                  </a:lnTo>
                  <a:lnTo>
                    <a:pt x="4128" y="864"/>
                  </a:lnTo>
                  <a:lnTo>
                    <a:pt x="4140" y="840"/>
                  </a:lnTo>
                  <a:lnTo>
                    <a:pt x="4158" y="819"/>
                  </a:lnTo>
                  <a:lnTo>
                    <a:pt x="4180" y="801"/>
                  </a:lnTo>
                  <a:lnTo>
                    <a:pt x="4205" y="789"/>
                  </a:lnTo>
                  <a:lnTo>
                    <a:pt x="4232" y="781"/>
                  </a:lnTo>
                  <a:lnTo>
                    <a:pt x="4261" y="777"/>
                  </a:lnTo>
                  <a:lnTo>
                    <a:pt x="4265" y="753"/>
                  </a:lnTo>
                  <a:lnTo>
                    <a:pt x="4270" y="730"/>
                  </a:lnTo>
                  <a:lnTo>
                    <a:pt x="4279" y="707"/>
                  </a:lnTo>
                  <a:lnTo>
                    <a:pt x="4288" y="686"/>
                  </a:lnTo>
                  <a:lnTo>
                    <a:pt x="4301" y="666"/>
                  </a:lnTo>
                  <a:lnTo>
                    <a:pt x="4314" y="647"/>
                  </a:lnTo>
                  <a:lnTo>
                    <a:pt x="4329" y="629"/>
                  </a:lnTo>
                  <a:lnTo>
                    <a:pt x="4346" y="612"/>
                  </a:lnTo>
                  <a:lnTo>
                    <a:pt x="4364" y="597"/>
                  </a:lnTo>
                  <a:lnTo>
                    <a:pt x="4383" y="584"/>
                  </a:lnTo>
                  <a:lnTo>
                    <a:pt x="4425" y="562"/>
                  </a:lnTo>
                  <a:lnTo>
                    <a:pt x="4448" y="555"/>
                  </a:lnTo>
                  <a:lnTo>
                    <a:pt x="4471" y="550"/>
                  </a:lnTo>
                  <a:lnTo>
                    <a:pt x="4496" y="546"/>
                  </a:lnTo>
                  <a:lnTo>
                    <a:pt x="4521" y="544"/>
                  </a:lnTo>
                  <a:lnTo>
                    <a:pt x="4548" y="546"/>
                  </a:lnTo>
                  <a:lnTo>
                    <a:pt x="4575" y="550"/>
                  </a:lnTo>
                  <a:lnTo>
                    <a:pt x="4625" y="565"/>
                  </a:lnTo>
                  <a:lnTo>
                    <a:pt x="4648" y="576"/>
                  </a:lnTo>
                  <a:lnTo>
                    <a:pt x="4670" y="590"/>
                  </a:lnTo>
                  <a:lnTo>
                    <a:pt x="4689" y="606"/>
                  </a:lnTo>
                  <a:lnTo>
                    <a:pt x="4709" y="622"/>
                  </a:lnTo>
                  <a:lnTo>
                    <a:pt x="4741" y="615"/>
                  </a:lnTo>
                  <a:lnTo>
                    <a:pt x="4775" y="612"/>
                  </a:lnTo>
                  <a:lnTo>
                    <a:pt x="4810" y="615"/>
                  </a:lnTo>
                  <a:lnTo>
                    <a:pt x="4827" y="619"/>
                  </a:lnTo>
                  <a:lnTo>
                    <a:pt x="4842" y="622"/>
                  </a:lnTo>
                  <a:lnTo>
                    <a:pt x="4873" y="635"/>
                  </a:lnTo>
                  <a:lnTo>
                    <a:pt x="4901" y="651"/>
                  </a:lnTo>
                  <a:lnTo>
                    <a:pt x="4927" y="671"/>
                  </a:lnTo>
                  <a:lnTo>
                    <a:pt x="4950" y="694"/>
                  </a:lnTo>
                  <a:lnTo>
                    <a:pt x="4969" y="720"/>
                  </a:lnTo>
                  <a:lnTo>
                    <a:pt x="4984" y="749"/>
                  </a:lnTo>
                  <a:lnTo>
                    <a:pt x="5005" y="738"/>
                  </a:lnTo>
                  <a:lnTo>
                    <a:pt x="5028" y="729"/>
                  </a:lnTo>
                  <a:lnTo>
                    <a:pt x="5052" y="722"/>
                  </a:lnTo>
                  <a:lnTo>
                    <a:pt x="5077" y="721"/>
                  </a:lnTo>
                  <a:lnTo>
                    <a:pt x="5112" y="725"/>
                  </a:lnTo>
                  <a:lnTo>
                    <a:pt x="5128" y="729"/>
                  </a:lnTo>
                  <a:lnTo>
                    <a:pt x="5145" y="734"/>
                  </a:lnTo>
                  <a:lnTo>
                    <a:pt x="5174" y="750"/>
                  </a:lnTo>
                  <a:lnTo>
                    <a:pt x="5200" y="771"/>
                  </a:lnTo>
                  <a:lnTo>
                    <a:pt x="5210" y="784"/>
                  </a:lnTo>
                  <a:lnTo>
                    <a:pt x="5220" y="796"/>
                  </a:lnTo>
                  <a:lnTo>
                    <a:pt x="5229" y="810"/>
                  </a:lnTo>
                  <a:lnTo>
                    <a:pt x="5237" y="826"/>
                  </a:lnTo>
                  <a:lnTo>
                    <a:pt x="5247" y="858"/>
                  </a:lnTo>
                  <a:lnTo>
                    <a:pt x="5250" y="892"/>
                  </a:lnTo>
                  <a:lnTo>
                    <a:pt x="5250" y="908"/>
                  </a:lnTo>
                  <a:lnTo>
                    <a:pt x="5248" y="923"/>
                  </a:lnTo>
                  <a:close/>
                  <a:moveTo>
                    <a:pt x="4239" y="2494"/>
                  </a:moveTo>
                  <a:lnTo>
                    <a:pt x="4239" y="2607"/>
                  </a:lnTo>
                  <a:lnTo>
                    <a:pt x="4238" y="2616"/>
                  </a:lnTo>
                  <a:lnTo>
                    <a:pt x="4233" y="2622"/>
                  </a:lnTo>
                  <a:lnTo>
                    <a:pt x="4226" y="2626"/>
                  </a:lnTo>
                  <a:lnTo>
                    <a:pt x="4219" y="2627"/>
                  </a:lnTo>
                  <a:lnTo>
                    <a:pt x="4212" y="2626"/>
                  </a:lnTo>
                  <a:lnTo>
                    <a:pt x="4206" y="2622"/>
                  </a:lnTo>
                  <a:lnTo>
                    <a:pt x="4201" y="2616"/>
                  </a:lnTo>
                  <a:lnTo>
                    <a:pt x="4199" y="2607"/>
                  </a:lnTo>
                  <a:lnTo>
                    <a:pt x="4199" y="2494"/>
                  </a:lnTo>
                  <a:lnTo>
                    <a:pt x="4201" y="2487"/>
                  </a:lnTo>
                  <a:lnTo>
                    <a:pt x="4206" y="2480"/>
                  </a:lnTo>
                  <a:lnTo>
                    <a:pt x="4212" y="2477"/>
                  </a:lnTo>
                  <a:lnTo>
                    <a:pt x="4219" y="2475"/>
                  </a:lnTo>
                  <a:lnTo>
                    <a:pt x="4226" y="2477"/>
                  </a:lnTo>
                  <a:lnTo>
                    <a:pt x="4233" y="2480"/>
                  </a:lnTo>
                  <a:lnTo>
                    <a:pt x="4238" y="2487"/>
                  </a:lnTo>
                  <a:lnTo>
                    <a:pt x="4239" y="2494"/>
                  </a:lnTo>
                  <a:close/>
                  <a:moveTo>
                    <a:pt x="4502" y="2494"/>
                  </a:moveTo>
                  <a:lnTo>
                    <a:pt x="4502" y="2607"/>
                  </a:lnTo>
                  <a:lnTo>
                    <a:pt x="4501" y="2616"/>
                  </a:lnTo>
                  <a:lnTo>
                    <a:pt x="4496" y="2622"/>
                  </a:lnTo>
                  <a:lnTo>
                    <a:pt x="4489" y="2626"/>
                  </a:lnTo>
                  <a:lnTo>
                    <a:pt x="4483" y="2627"/>
                  </a:lnTo>
                  <a:lnTo>
                    <a:pt x="4475" y="2626"/>
                  </a:lnTo>
                  <a:lnTo>
                    <a:pt x="4469" y="2622"/>
                  </a:lnTo>
                  <a:lnTo>
                    <a:pt x="4464" y="2616"/>
                  </a:lnTo>
                  <a:lnTo>
                    <a:pt x="4462" y="2607"/>
                  </a:lnTo>
                  <a:lnTo>
                    <a:pt x="4462" y="2494"/>
                  </a:lnTo>
                  <a:lnTo>
                    <a:pt x="4464" y="2487"/>
                  </a:lnTo>
                  <a:lnTo>
                    <a:pt x="4469" y="2480"/>
                  </a:lnTo>
                  <a:lnTo>
                    <a:pt x="4475" y="2477"/>
                  </a:lnTo>
                  <a:lnTo>
                    <a:pt x="4483" y="2475"/>
                  </a:lnTo>
                  <a:lnTo>
                    <a:pt x="4489" y="2477"/>
                  </a:lnTo>
                  <a:lnTo>
                    <a:pt x="4496" y="2480"/>
                  </a:lnTo>
                  <a:lnTo>
                    <a:pt x="4501" y="2487"/>
                  </a:lnTo>
                  <a:lnTo>
                    <a:pt x="4502" y="2494"/>
                  </a:lnTo>
                  <a:close/>
                  <a:moveTo>
                    <a:pt x="4765" y="2494"/>
                  </a:moveTo>
                  <a:lnTo>
                    <a:pt x="4765" y="2607"/>
                  </a:lnTo>
                  <a:lnTo>
                    <a:pt x="4764" y="2616"/>
                  </a:lnTo>
                  <a:lnTo>
                    <a:pt x="4759" y="2622"/>
                  </a:lnTo>
                  <a:lnTo>
                    <a:pt x="4752" y="2626"/>
                  </a:lnTo>
                  <a:lnTo>
                    <a:pt x="4746" y="2627"/>
                  </a:lnTo>
                  <a:lnTo>
                    <a:pt x="4738" y="2626"/>
                  </a:lnTo>
                  <a:lnTo>
                    <a:pt x="4732" y="2622"/>
                  </a:lnTo>
                  <a:lnTo>
                    <a:pt x="4728" y="2616"/>
                  </a:lnTo>
                  <a:lnTo>
                    <a:pt x="4725" y="2607"/>
                  </a:lnTo>
                  <a:lnTo>
                    <a:pt x="4725" y="2494"/>
                  </a:lnTo>
                  <a:lnTo>
                    <a:pt x="4728" y="2487"/>
                  </a:lnTo>
                  <a:lnTo>
                    <a:pt x="4732" y="2480"/>
                  </a:lnTo>
                  <a:lnTo>
                    <a:pt x="4738" y="2477"/>
                  </a:lnTo>
                  <a:lnTo>
                    <a:pt x="4746" y="2475"/>
                  </a:lnTo>
                  <a:lnTo>
                    <a:pt x="4752" y="2477"/>
                  </a:lnTo>
                  <a:lnTo>
                    <a:pt x="4759" y="2480"/>
                  </a:lnTo>
                  <a:lnTo>
                    <a:pt x="4764" y="2487"/>
                  </a:lnTo>
                  <a:lnTo>
                    <a:pt x="4765" y="2494"/>
                  </a:lnTo>
                  <a:close/>
                  <a:moveTo>
                    <a:pt x="5029" y="2494"/>
                  </a:moveTo>
                  <a:lnTo>
                    <a:pt x="5029" y="2607"/>
                  </a:lnTo>
                  <a:lnTo>
                    <a:pt x="5027" y="2616"/>
                  </a:lnTo>
                  <a:lnTo>
                    <a:pt x="5023" y="2622"/>
                  </a:lnTo>
                  <a:lnTo>
                    <a:pt x="5016" y="2626"/>
                  </a:lnTo>
                  <a:lnTo>
                    <a:pt x="5009" y="2627"/>
                  </a:lnTo>
                  <a:lnTo>
                    <a:pt x="5001" y="2626"/>
                  </a:lnTo>
                  <a:lnTo>
                    <a:pt x="4994" y="2622"/>
                  </a:lnTo>
                  <a:lnTo>
                    <a:pt x="4991" y="2616"/>
                  </a:lnTo>
                  <a:lnTo>
                    <a:pt x="4988" y="2607"/>
                  </a:lnTo>
                  <a:lnTo>
                    <a:pt x="4988" y="2494"/>
                  </a:lnTo>
                  <a:lnTo>
                    <a:pt x="4991" y="2487"/>
                  </a:lnTo>
                  <a:lnTo>
                    <a:pt x="4994" y="2480"/>
                  </a:lnTo>
                  <a:lnTo>
                    <a:pt x="5001" y="2477"/>
                  </a:lnTo>
                  <a:lnTo>
                    <a:pt x="5009" y="2475"/>
                  </a:lnTo>
                  <a:lnTo>
                    <a:pt x="5016" y="2477"/>
                  </a:lnTo>
                  <a:lnTo>
                    <a:pt x="5023" y="2480"/>
                  </a:lnTo>
                  <a:lnTo>
                    <a:pt x="5027" y="2487"/>
                  </a:lnTo>
                  <a:lnTo>
                    <a:pt x="5029" y="2494"/>
                  </a:lnTo>
                  <a:close/>
                  <a:moveTo>
                    <a:pt x="5292" y="2494"/>
                  </a:moveTo>
                  <a:lnTo>
                    <a:pt x="5292" y="2607"/>
                  </a:lnTo>
                  <a:lnTo>
                    <a:pt x="5289" y="2616"/>
                  </a:lnTo>
                  <a:lnTo>
                    <a:pt x="5286" y="2622"/>
                  </a:lnTo>
                  <a:lnTo>
                    <a:pt x="5279" y="2626"/>
                  </a:lnTo>
                  <a:lnTo>
                    <a:pt x="5271" y="2627"/>
                  </a:lnTo>
                  <a:lnTo>
                    <a:pt x="5264" y="2626"/>
                  </a:lnTo>
                  <a:lnTo>
                    <a:pt x="5257" y="2622"/>
                  </a:lnTo>
                  <a:lnTo>
                    <a:pt x="5253" y="2616"/>
                  </a:lnTo>
                  <a:lnTo>
                    <a:pt x="5252" y="2607"/>
                  </a:lnTo>
                  <a:lnTo>
                    <a:pt x="5252" y="2494"/>
                  </a:lnTo>
                  <a:lnTo>
                    <a:pt x="5253" y="2487"/>
                  </a:lnTo>
                  <a:lnTo>
                    <a:pt x="5257" y="2480"/>
                  </a:lnTo>
                  <a:lnTo>
                    <a:pt x="5264" y="2477"/>
                  </a:lnTo>
                  <a:lnTo>
                    <a:pt x="5271" y="2475"/>
                  </a:lnTo>
                  <a:lnTo>
                    <a:pt x="5279" y="2477"/>
                  </a:lnTo>
                  <a:lnTo>
                    <a:pt x="5286" y="2480"/>
                  </a:lnTo>
                  <a:lnTo>
                    <a:pt x="5289" y="2487"/>
                  </a:lnTo>
                  <a:lnTo>
                    <a:pt x="5292" y="2494"/>
                  </a:lnTo>
                  <a:close/>
                  <a:moveTo>
                    <a:pt x="5555" y="2494"/>
                  </a:moveTo>
                  <a:lnTo>
                    <a:pt x="5555" y="2607"/>
                  </a:lnTo>
                  <a:lnTo>
                    <a:pt x="5554" y="2616"/>
                  </a:lnTo>
                  <a:lnTo>
                    <a:pt x="5548" y="2622"/>
                  </a:lnTo>
                  <a:lnTo>
                    <a:pt x="5542" y="2626"/>
                  </a:lnTo>
                  <a:lnTo>
                    <a:pt x="5534" y="2627"/>
                  </a:lnTo>
                  <a:lnTo>
                    <a:pt x="5528" y="2626"/>
                  </a:lnTo>
                  <a:lnTo>
                    <a:pt x="5521" y="2622"/>
                  </a:lnTo>
                  <a:lnTo>
                    <a:pt x="5516" y="2616"/>
                  </a:lnTo>
                  <a:lnTo>
                    <a:pt x="5515" y="2607"/>
                  </a:lnTo>
                  <a:lnTo>
                    <a:pt x="5515" y="2494"/>
                  </a:lnTo>
                  <a:lnTo>
                    <a:pt x="5516" y="2487"/>
                  </a:lnTo>
                  <a:lnTo>
                    <a:pt x="5521" y="2480"/>
                  </a:lnTo>
                  <a:lnTo>
                    <a:pt x="5528" y="2477"/>
                  </a:lnTo>
                  <a:lnTo>
                    <a:pt x="5534" y="2475"/>
                  </a:lnTo>
                  <a:lnTo>
                    <a:pt x="5542" y="2477"/>
                  </a:lnTo>
                  <a:lnTo>
                    <a:pt x="5548" y="2480"/>
                  </a:lnTo>
                  <a:lnTo>
                    <a:pt x="5554" y="2487"/>
                  </a:lnTo>
                  <a:lnTo>
                    <a:pt x="5555" y="2494"/>
                  </a:lnTo>
                  <a:close/>
                  <a:moveTo>
                    <a:pt x="4239" y="2741"/>
                  </a:moveTo>
                  <a:lnTo>
                    <a:pt x="4239" y="2854"/>
                  </a:lnTo>
                  <a:lnTo>
                    <a:pt x="4238" y="2863"/>
                  </a:lnTo>
                  <a:lnTo>
                    <a:pt x="4233" y="2869"/>
                  </a:lnTo>
                  <a:lnTo>
                    <a:pt x="4226" y="2873"/>
                  </a:lnTo>
                  <a:lnTo>
                    <a:pt x="4219" y="2874"/>
                  </a:lnTo>
                  <a:lnTo>
                    <a:pt x="4212" y="2873"/>
                  </a:lnTo>
                  <a:lnTo>
                    <a:pt x="4206" y="2869"/>
                  </a:lnTo>
                  <a:lnTo>
                    <a:pt x="4201" y="2863"/>
                  </a:lnTo>
                  <a:lnTo>
                    <a:pt x="4199" y="2854"/>
                  </a:lnTo>
                  <a:lnTo>
                    <a:pt x="4199" y="2741"/>
                  </a:lnTo>
                  <a:lnTo>
                    <a:pt x="4201" y="2732"/>
                  </a:lnTo>
                  <a:lnTo>
                    <a:pt x="4206" y="2727"/>
                  </a:lnTo>
                  <a:lnTo>
                    <a:pt x="4212" y="2723"/>
                  </a:lnTo>
                  <a:lnTo>
                    <a:pt x="4219" y="2722"/>
                  </a:lnTo>
                  <a:lnTo>
                    <a:pt x="4226" y="2723"/>
                  </a:lnTo>
                  <a:lnTo>
                    <a:pt x="4233" y="2727"/>
                  </a:lnTo>
                  <a:lnTo>
                    <a:pt x="4238" y="2732"/>
                  </a:lnTo>
                  <a:lnTo>
                    <a:pt x="4239" y="2741"/>
                  </a:lnTo>
                  <a:close/>
                  <a:moveTo>
                    <a:pt x="4502" y="2741"/>
                  </a:moveTo>
                  <a:lnTo>
                    <a:pt x="4502" y="2854"/>
                  </a:lnTo>
                  <a:lnTo>
                    <a:pt x="4501" y="2863"/>
                  </a:lnTo>
                  <a:lnTo>
                    <a:pt x="4496" y="2869"/>
                  </a:lnTo>
                  <a:lnTo>
                    <a:pt x="4489" y="2873"/>
                  </a:lnTo>
                  <a:lnTo>
                    <a:pt x="4483" y="2874"/>
                  </a:lnTo>
                  <a:lnTo>
                    <a:pt x="4475" y="2873"/>
                  </a:lnTo>
                  <a:lnTo>
                    <a:pt x="4469" y="2869"/>
                  </a:lnTo>
                  <a:lnTo>
                    <a:pt x="4464" y="2863"/>
                  </a:lnTo>
                  <a:lnTo>
                    <a:pt x="4462" y="2854"/>
                  </a:lnTo>
                  <a:lnTo>
                    <a:pt x="4462" y="2741"/>
                  </a:lnTo>
                  <a:lnTo>
                    <a:pt x="4464" y="2732"/>
                  </a:lnTo>
                  <a:lnTo>
                    <a:pt x="4469" y="2727"/>
                  </a:lnTo>
                  <a:lnTo>
                    <a:pt x="4475" y="2723"/>
                  </a:lnTo>
                  <a:lnTo>
                    <a:pt x="4483" y="2722"/>
                  </a:lnTo>
                  <a:lnTo>
                    <a:pt x="4489" y="2723"/>
                  </a:lnTo>
                  <a:lnTo>
                    <a:pt x="4496" y="2727"/>
                  </a:lnTo>
                  <a:lnTo>
                    <a:pt x="4501" y="2732"/>
                  </a:lnTo>
                  <a:lnTo>
                    <a:pt x="4502" y="2741"/>
                  </a:lnTo>
                  <a:close/>
                  <a:moveTo>
                    <a:pt x="4765" y="2741"/>
                  </a:moveTo>
                  <a:lnTo>
                    <a:pt x="4765" y="2854"/>
                  </a:lnTo>
                  <a:lnTo>
                    <a:pt x="4764" y="2863"/>
                  </a:lnTo>
                  <a:lnTo>
                    <a:pt x="4759" y="2869"/>
                  </a:lnTo>
                  <a:lnTo>
                    <a:pt x="4752" y="2873"/>
                  </a:lnTo>
                  <a:lnTo>
                    <a:pt x="4746" y="2874"/>
                  </a:lnTo>
                  <a:lnTo>
                    <a:pt x="4738" y="2873"/>
                  </a:lnTo>
                  <a:lnTo>
                    <a:pt x="4732" y="2869"/>
                  </a:lnTo>
                  <a:lnTo>
                    <a:pt x="4728" y="2863"/>
                  </a:lnTo>
                  <a:lnTo>
                    <a:pt x="4725" y="2854"/>
                  </a:lnTo>
                  <a:lnTo>
                    <a:pt x="4725" y="2741"/>
                  </a:lnTo>
                  <a:lnTo>
                    <a:pt x="4728" y="2732"/>
                  </a:lnTo>
                  <a:lnTo>
                    <a:pt x="4732" y="2727"/>
                  </a:lnTo>
                  <a:lnTo>
                    <a:pt x="4738" y="2723"/>
                  </a:lnTo>
                  <a:lnTo>
                    <a:pt x="4746" y="2722"/>
                  </a:lnTo>
                  <a:lnTo>
                    <a:pt x="4752" y="2723"/>
                  </a:lnTo>
                  <a:lnTo>
                    <a:pt x="4759" y="2727"/>
                  </a:lnTo>
                  <a:lnTo>
                    <a:pt x="4764" y="2732"/>
                  </a:lnTo>
                  <a:lnTo>
                    <a:pt x="4765" y="2741"/>
                  </a:lnTo>
                  <a:close/>
                  <a:moveTo>
                    <a:pt x="5029" y="2741"/>
                  </a:moveTo>
                  <a:lnTo>
                    <a:pt x="5029" y="2854"/>
                  </a:lnTo>
                  <a:lnTo>
                    <a:pt x="5027" y="2863"/>
                  </a:lnTo>
                  <a:lnTo>
                    <a:pt x="5023" y="2869"/>
                  </a:lnTo>
                  <a:lnTo>
                    <a:pt x="5016" y="2873"/>
                  </a:lnTo>
                  <a:lnTo>
                    <a:pt x="5009" y="2874"/>
                  </a:lnTo>
                  <a:lnTo>
                    <a:pt x="5001" y="2873"/>
                  </a:lnTo>
                  <a:lnTo>
                    <a:pt x="4994" y="2869"/>
                  </a:lnTo>
                  <a:lnTo>
                    <a:pt x="4991" y="2863"/>
                  </a:lnTo>
                  <a:lnTo>
                    <a:pt x="4988" y="2854"/>
                  </a:lnTo>
                  <a:lnTo>
                    <a:pt x="4988" y="2741"/>
                  </a:lnTo>
                  <a:lnTo>
                    <a:pt x="4991" y="2732"/>
                  </a:lnTo>
                  <a:lnTo>
                    <a:pt x="4994" y="2727"/>
                  </a:lnTo>
                  <a:lnTo>
                    <a:pt x="5001" y="2723"/>
                  </a:lnTo>
                  <a:lnTo>
                    <a:pt x="5009" y="2722"/>
                  </a:lnTo>
                  <a:lnTo>
                    <a:pt x="5016" y="2723"/>
                  </a:lnTo>
                  <a:lnTo>
                    <a:pt x="5023" y="2727"/>
                  </a:lnTo>
                  <a:lnTo>
                    <a:pt x="5027" y="2732"/>
                  </a:lnTo>
                  <a:lnTo>
                    <a:pt x="5029" y="2741"/>
                  </a:lnTo>
                  <a:close/>
                  <a:moveTo>
                    <a:pt x="5292" y="2741"/>
                  </a:moveTo>
                  <a:lnTo>
                    <a:pt x="5292" y="2854"/>
                  </a:lnTo>
                  <a:lnTo>
                    <a:pt x="5289" y="2863"/>
                  </a:lnTo>
                  <a:lnTo>
                    <a:pt x="5286" y="2869"/>
                  </a:lnTo>
                  <a:lnTo>
                    <a:pt x="5279" y="2873"/>
                  </a:lnTo>
                  <a:lnTo>
                    <a:pt x="5271" y="2874"/>
                  </a:lnTo>
                  <a:lnTo>
                    <a:pt x="5264" y="2873"/>
                  </a:lnTo>
                  <a:lnTo>
                    <a:pt x="5257" y="2869"/>
                  </a:lnTo>
                  <a:lnTo>
                    <a:pt x="5253" y="2863"/>
                  </a:lnTo>
                  <a:lnTo>
                    <a:pt x="5252" y="2854"/>
                  </a:lnTo>
                  <a:lnTo>
                    <a:pt x="5252" y="2741"/>
                  </a:lnTo>
                  <a:lnTo>
                    <a:pt x="5253" y="2732"/>
                  </a:lnTo>
                  <a:lnTo>
                    <a:pt x="5257" y="2727"/>
                  </a:lnTo>
                  <a:lnTo>
                    <a:pt x="5264" y="2723"/>
                  </a:lnTo>
                  <a:lnTo>
                    <a:pt x="5271" y="2722"/>
                  </a:lnTo>
                  <a:lnTo>
                    <a:pt x="5279" y="2723"/>
                  </a:lnTo>
                  <a:lnTo>
                    <a:pt x="5286" y="2727"/>
                  </a:lnTo>
                  <a:lnTo>
                    <a:pt x="5289" y="2732"/>
                  </a:lnTo>
                  <a:lnTo>
                    <a:pt x="5292" y="2741"/>
                  </a:lnTo>
                  <a:close/>
                  <a:moveTo>
                    <a:pt x="5555" y="2741"/>
                  </a:moveTo>
                  <a:lnTo>
                    <a:pt x="5555" y="2854"/>
                  </a:lnTo>
                  <a:lnTo>
                    <a:pt x="5554" y="2863"/>
                  </a:lnTo>
                  <a:lnTo>
                    <a:pt x="5548" y="2869"/>
                  </a:lnTo>
                  <a:lnTo>
                    <a:pt x="5542" y="2873"/>
                  </a:lnTo>
                  <a:lnTo>
                    <a:pt x="5534" y="2874"/>
                  </a:lnTo>
                  <a:lnTo>
                    <a:pt x="5528" y="2873"/>
                  </a:lnTo>
                  <a:lnTo>
                    <a:pt x="5521" y="2869"/>
                  </a:lnTo>
                  <a:lnTo>
                    <a:pt x="5516" y="2863"/>
                  </a:lnTo>
                  <a:lnTo>
                    <a:pt x="5515" y="2854"/>
                  </a:lnTo>
                  <a:lnTo>
                    <a:pt x="5515" y="2741"/>
                  </a:lnTo>
                  <a:lnTo>
                    <a:pt x="5516" y="2732"/>
                  </a:lnTo>
                  <a:lnTo>
                    <a:pt x="5521" y="2727"/>
                  </a:lnTo>
                  <a:lnTo>
                    <a:pt x="5528" y="2723"/>
                  </a:lnTo>
                  <a:lnTo>
                    <a:pt x="5534" y="2722"/>
                  </a:lnTo>
                  <a:lnTo>
                    <a:pt x="5542" y="2723"/>
                  </a:lnTo>
                  <a:lnTo>
                    <a:pt x="5548" y="2727"/>
                  </a:lnTo>
                  <a:lnTo>
                    <a:pt x="5554" y="2732"/>
                  </a:lnTo>
                  <a:lnTo>
                    <a:pt x="5555" y="2741"/>
                  </a:lnTo>
                  <a:close/>
                  <a:moveTo>
                    <a:pt x="4239" y="2988"/>
                  </a:moveTo>
                  <a:lnTo>
                    <a:pt x="4239" y="3101"/>
                  </a:lnTo>
                  <a:lnTo>
                    <a:pt x="4238" y="3109"/>
                  </a:lnTo>
                  <a:lnTo>
                    <a:pt x="4233" y="3115"/>
                  </a:lnTo>
                  <a:lnTo>
                    <a:pt x="4226" y="3118"/>
                  </a:lnTo>
                  <a:lnTo>
                    <a:pt x="4219" y="3120"/>
                  </a:lnTo>
                  <a:lnTo>
                    <a:pt x="4212" y="3118"/>
                  </a:lnTo>
                  <a:lnTo>
                    <a:pt x="4206" y="3115"/>
                  </a:lnTo>
                  <a:lnTo>
                    <a:pt x="4201" y="3109"/>
                  </a:lnTo>
                  <a:lnTo>
                    <a:pt x="4199" y="3101"/>
                  </a:lnTo>
                  <a:lnTo>
                    <a:pt x="4199" y="2988"/>
                  </a:lnTo>
                  <a:lnTo>
                    <a:pt x="4201" y="2979"/>
                  </a:lnTo>
                  <a:lnTo>
                    <a:pt x="4206" y="2973"/>
                  </a:lnTo>
                  <a:lnTo>
                    <a:pt x="4212" y="2970"/>
                  </a:lnTo>
                  <a:lnTo>
                    <a:pt x="4219" y="2969"/>
                  </a:lnTo>
                  <a:lnTo>
                    <a:pt x="4226" y="2970"/>
                  </a:lnTo>
                  <a:lnTo>
                    <a:pt x="4233" y="2973"/>
                  </a:lnTo>
                  <a:lnTo>
                    <a:pt x="4238" y="2979"/>
                  </a:lnTo>
                  <a:lnTo>
                    <a:pt x="4239" y="2988"/>
                  </a:lnTo>
                  <a:close/>
                  <a:moveTo>
                    <a:pt x="4502" y="2988"/>
                  </a:moveTo>
                  <a:lnTo>
                    <a:pt x="4502" y="3101"/>
                  </a:lnTo>
                  <a:lnTo>
                    <a:pt x="4501" y="3109"/>
                  </a:lnTo>
                  <a:lnTo>
                    <a:pt x="4496" y="3115"/>
                  </a:lnTo>
                  <a:lnTo>
                    <a:pt x="4489" y="3118"/>
                  </a:lnTo>
                  <a:lnTo>
                    <a:pt x="4483" y="3120"/>
                  </a:lnTo>
                  <a:lnTo>
                    <a:pt x="4475" y="3118"/>
                  </a:lnTo>
                  <a:lnTo>
                    <a:pt x="4469" y="3115"/>
                  </a:lnTo>
                  <a:lnTo>
                    <a:pt x="4464" y="3109"/>
                  </a:lnTo>
                  <a:lnTo>
                    <a:pt x="4462" y="3101"/>
                  </a:lnTo>
                  <a:lnTo>
                    <a:pt x="4462" y="2988"/>
                  </a:lnTo>
                  <a:lnTo>
                    <a:pt x="4464" y="2979"/>
                  </a:lnTo>
                  <a:lnTo>
                    <a:pt x="4469" y="2973"/>
                  </a:lnTo>
                  <a:lnTo>
                    <a:pt x="4475" y="2970"/>
                  </a:lnTo>
                  <a:lnTo>
                    <a:pt x="4483" y="2969"/>
                  </a:lnTo>
                  <a:lnTo>
                    <a:pt x="4489" y="2970"/>
                  </a:lnTo>
                  <a:lnTo>
                    <a:pt x="4496" y="2973"/>
                  </a:lnTo>
                  <a:lnTo>
                    <a:pt x="4501" y="2979"/>
                  </a:lnTo>
                  <a:lnTo>
                    <a:pt x="4502" y="2988"/>
                  </a:lnTo>
                  <a:close/>
                  <a:moveTo>
                    <a:pt x="4765" y="2988"/>
                  </a:moveTo>
                  <a:lnTo>
                    <a:pt x="4765" y="3101"/>
                  </a:lnTo>
                  <a:lnTo>
                    <a:pt x="4764" y="3109"/>
                  </a:lnTo>
                  <a:lnTo>
                    <a:pt x="4759" y="3115"/>
                  </a:lnTo>
                  <a:lnTo>
                    <a:pt x="4752" y="3118"/>
                  </a:lnTo>
                  <a:lnTo>
                    <a:pt x="4746" y="3120"/>
                  </a:lnTo>
                  <a:lnTo>
                    <a:pt x="4738" y="3118"/>
                  </a:lnTo>
                  <a:lnTo>
                    <a:pt x="4732" y="3115"/>
                  </a:lnTo>
                  <a:lnTo>
                    <a:pt x="4728" y="3109"/>
                  </a:lnTo>
                  <a:lnTo>
                    <a:pt x="4725" y="3101"/>
                  </a:lnTo>
                  <a:lnTo>
                    <a:pt x="4725" y="2988"/>
                  </a:lnTo>
                  <a:lnTo>
                    <a:pt x="4728" y="2979"/>
                  </a:lnTo>
                  <a:lnTo>
                    <a:pt x="4732" y="2973"/>
                  </a:lnTo>
                  <a:lnTo>
                    <a:pt x="4738" y="2970"/>
                  </a:lnTo>
                  <a:lnTo>
                    <a:pt x="4746" y="2969"/>
                  </a:lnTo>
                  <a:lnTo>
                    <a:pt x="4752" y="2970"/>
                  </a:lnTo>
                  <a:lnTo>
                    <a:pt x="4759" y="2973"/>
                  </a:lnTo>
                  <a:lnTo>
                    <a:pt x="4764" y="2979"/>
                  </a:lnTo>
                  <a:lnTo>
                    <a:pt x="4765" y="2988"/>
                  </a:lnTo>
                  <a:close/>
                  <a:moveTo>
                    <a:pt x="5029" y="2988"/>
                  </a:moveTo>
                  <a:lnTo>
                    <a:pt x="5029" y="3101"/>
                  </a:lnTo>
                  <a:lnTo>
                    <a:pt x="5027" y="3109"/>
                  </a:lnTo>
                  <a:lnTo>
                    <a:pt x="5023" y="3115"/>
                  </a:lnTo>
                  <a:lnTo>
                    <a:pt x="5016" y="3118"/>
                  </a:lnTo>
                  <a:lnTo>
                    <a:pt x="5009" y="3120"/>
                  </a:lnTo>
                  <a:lnTo>
                    <a:pt x="5001" y="3118"/>
                  </a:lnTo>
                  <a:lnTo>
                    <a:pt x="4994" y="3115"/>
                  </a:lnTo>
                  <a:lnTo>
                    <a:pt x="4991" y="3109"/>
                  </a:lnTo>
                  <a:lnTo>
                    <a:pt x="4988" y="3101"/>
                  </a:lnTo>
                  <a:lnTo>
                    <a:pt x="4988" y="2988"/>
                  </a:lnTo>
                  <a:lnTo>
                    <a:pt x="4991" y="2979"/>
                  </a:lnTo>
                  <a:lnTo>
                    <a:pt x="4994" y="2973"/>
                  </a:lnTo>
                  <a:lnTo>
                    <a:pt x="5001" y="2970"/>
                  </a:lnTo>
                  <a:lnTo>
                    <a:pt x="5009" y="2969"/>
                  </a:lnTo>
                  <a:lnTo>
                    <a:pt x="5016" y="2970"/>
                  </a:lnTo>
                  <a:lnTo>
                    <a:pt x="5023" y="2973"/>
                  </a:lnTo>
                  <a:lnTo>
                    <a:pt x="5027" y="2979"/>
                  </a:lnTo>
                  <a:lnTo>
                    <a:pt x="5029" y="2988"/>
                  </a:lnTo>
                  <a:close/>
                  <a:moveTo>
                    <a:pt x="5292" y="2988"/>
                  </a:moveTo>
                  <a:lnTo>
                    <a:pt x="5292" y="3101"/>
                  </a:lnTo>
                  <a:lnTo>
                    <a:pt x="5289" y="3109"/>
                  </a:lnTo>
                  <a:lnTo>
                    <a:pt x="5286" y="3115"/>
                  </a:lnTo>
                  <a:lnTo>
                    <a:pt x="5279" y="3118"/>
                  </a:lnTo>
                  <a:lnTo>
                    <a:pt x="5271" y="3120"/>
                  </a:lnTo>
                  <a:lnTo>
                    <a:pt x="5264" y="3118"/>
                  </a:lnTo>
                  <a:lnTo>
                    <a:pt x="5257" y="3115"/>
                  </a:lnTo>
                  <a:lnTo>
                    <a:pt x="5253" y="3109"/>
                  </a:lnTo>
                  <a:lnTo>
                    <a:pt x="5252" y="3101"/>
                  </a:lnTo>
                  <a:lnTo>
                    <a:pt x="5252" y="2988"/>
                  </a:lnTo>
                  <a:lnTo>
                    <a:pt x="5253" y="2979"/>
                  </a:lnTo>
                  <a:lnTo>
                    <a:pt x="5257" y="2973"/>
                  </a:lnTo>
                  <a:lnTo>
                    <a:pt x="5264" y="2970"/>
                  </a:lnTo>
                  <a:lnTo>
                    <a:pt x="5271" y="2969"/>
                  </a:lnTo>
                  <a:lnTo>
                    <a:pt x="5279" y="2970"/>
                  </a:lnTo>
                  <a:lnTo>
                    <a:pt x="5286" y="2973"/>
                  </a:lnTo>
                  <a:lnTo>
                    <a:pt x="5289" y="2979"/>
                  </a:lnTo>
                  <a:lnTo>
                    <a:pt x="5292" y="2988"/>
                  </a:lnTo>
                  <a:close/>
                  <a:moveTo>
                    <a:pt x="5555" y="2988"/>
                  </a:moveTo>
                  <a:lnTo>
                    <a:pt x="5555" y="3101"/>
                  </a:lnTo>
                  <a:lnTo>
                    <a:pt x="5554" y="3109"/>
                  </a:lnTo>
                  <a:lnTo>
                    <a:pt x="5548" y="3115"/>
                  </a:lnTo>
                  <a:lnTo>
                    <a:pt x="5542" y="3118"/>
                  </a:lnTo>
                  <a:lnTo>
                    <a:pt x="5534" y="3120"/>
                  </a:lnTo>
                  <a:lnTo>
                    <a:pt x="5528" y="3118"/>
                  </a:lnTo>
                  <a:lnTo>
                    <a:pt x="5521" y="3115"/>
                  </a:lnTo>
                  <a:lnTo>
                    <a:pt x="5516" y="3109"/>
                  </a:lnTo>
                  <a:lnTo>
                    <a:pt x="5515" y="3101"/>
                  </a:lnTo>
                  <a:lnTo>
                    <a:pt x="5515" y="2988"/>
                  </a:lnTo>
                  <a:lnTo>
                    <a:pt x="5516" y="2979"/>
                  </a:lnTo>
                  <a:lnTo>
                    <a:pt x="5521" y="2973"/>
                  </a:lnTo>
                  <a:lnTo>
                    <a:pt x="5528" y="2970"/>
                  </a:lnTo>
                  <a:lnTo>
                    <a:pt x="5534" y="2969"/>
                  </a:lnTo>
                  <a:lnTo>
                    <a:pt x="5542" y="2970"/>
                  </a:lnTo>
                  <a:lnTo>
                    <a:pt x="5548" y="2973"/>
                  </a:lnTo>
                  <a:lnTo>
                    <a:pt x="5554" y="2979"/>
                  </a:lnTo>
                  <a:lnTo>
                    <a:pt x="5555" y="2988"/>
                  </a:lnTo>
                  <a:close/>
                  <a:moveTo>
                    <a:pt x="4239" y="3235"/>
                  </a:moveTo>
                  <a:lnTo>
                    <a:pt x="4239" y="3347"/>
                  </a:lnTo>
                  <a:lnTo>
                    <a:pt x="4238" y="3355"/>
                  </a:lnTo>
                  <a:lnTo>
                    <a:pt x="4233" y="3361"/>
                  </a:lnTo>
                  <a:lnTo>
                    <a:pt x="4226" y="3365"/>
                  </a:lnTo>
                  <a:lnTo>
                    <a:pt x="4219" y="3367"/>
                  </a:lnTo>
                  <a:lnTo>
                    <a:pt x="4212" y="3365"/>
                  </a:lnTo>
                  <a:lnTo>
                    <a:pt x="4206" y="3361"/>
                  </a:lnTo>
                  <a:lnTo>
                    <a:pt x="4201" y="3355"/>
                  </a:lnTo>
                  <a:lnTo>
                    <a:pt x="4199" y="3347"/>
                  </a:lnTo>
                  <a:lnTo>
                    <a:pt x="4199" y="3235"/>
                  </a:lnTo>
                  <a:lnTo>
                    <a:pt x="4201" y="3226"/>
                  </a:lnTo>
                  <a:lnTo>
                    <a:pt x="4206" y="3219"/>
                  </a:lnTo>
                  <a:lnTo>
                    <a:pt x="4212" y="3216"/>
                  </a:lnTo>
                  <a:lnTo>
                    <a:pt x="4219" y="3214"/>
                  </a:lnTo>
                  <a:lnTo>
                    <a:pt x="4226" y="3216"/>
                  </a:lnTo>
                  <a:lnTo>
                    <a:pt x="4233" y="3219"/>
                  </a:lnTo>
                  <a:lnTo>
                    <a:pt x="4238" y="3226"/>
                  </a:lnTo>
                  <a:lnTo>
                    <a:pt x="4239" y="3235"/>
                  </a:lnTo>
                  <a:close/>
                  <a:moveTo>
                    <a:pt x="4502" y="3235"/>
                  </a:moveTo>
                  <a:lnTo>
                    <a:pt x="4502" y="3347"/>
                  </a:lnTo>
                  <a:lnTo>
                    <a:pt x="4501" y="3355"/>
                  </a:lnTo>
                  <a:lnTo>
                    <a:pt x="4496" y="3361"/>
                  </a:lnTo>
                  <a:lnTo>
                    <a:pt x="4489" y="3365"/>
                  </a:lnTo>
                  <a:lnTo>
                    <a:pt x="4483" y="3367"/>
                  </a:lnTo>
                  <a:lnTo>
                    <a:pt x="4475" y="3365"/>
                  </a:lnTo>
                  <a:lnTo>
                    <a:pt x="4469" y="3361"/>
                  </a:lnTo>
                  <a:lnTo>
                    <a:pt x="4464" y="3355"/>
                  </a:lnTo>
                  <a:lnTo>
                    <a:pt x="4462" y="3347"/>
                  </a:lnTo>
                  <a:lnTo>
                    <a:pt x="4462" y="3235"/>
                  </a:lnTo>
                  <a:lnTo>
                    <a:pt x="4464" y="3226"/>
                  </a:lnTo>
                  <a:lnTo>
                    <a:pt x="4469" y="3219"/>
                  </a:lnTo>
                  <a:lnTo>
                    <a:pt x="4475" y="3216"/>
                  </a:lnTo>
                  <a:lnTo>
                    <a:pt x="4483" y="3214"/>
                  </a:lnTo>
                  <a:lnTo>
                    <a:pt x="4489" y="3216"/>
                  </a:lnTo>
                  <a:lnTo>
                    <a:pt x="4496" y="3219"/>
                  </a:lnTo>
                  <a:lnTo>
                    <a:pt x="4501" y="3226"/>
                  </a:lnTo>
                  <a:lnTo>
                    <a:pt x="4502" y="3235"/>
                  </a:lnTo>
                  <a:close/>
                  <a:moveTo>
                    <a:pt x="4765" y="3235"/>
                  </a:moveTo>
                  <a:lnTo>
                    <a:pt x="4765" y="3347"/>
                  </a:lnTo>
                  <a:lnTo>
                    <a:pt x="4764" y="3355"/>
                  </a:lnTo>
                  <a:lnTo>
                    <a:pt x="4759" y="3361"/>
                  </a:lnTo>
                  <a:lnTo>
                    <a:pt x="4752" y="3365"/>
                  </a:lnTo>
                  <a:lnTo>
                    <a:pt x="4746" y="3367"/>
                  </a:lnTo>
                  <a:lnTo>
                    <a:pt x="4738" y="3365"/>
                  </a:lnTo>
                  <a:lnTo>
                    <a:pt x="4732" y="3361"/>
                  </a:lnTo>
                  <a:lnTo>
                    <a:pt x="4728" y="3355"/>
                  </a:lnTo>
                  <a:lnTo>
                    <a:pt x="4725" y="3347"/>
                  </a:lnTo>
                  <a:lnTo>
                    <a:pt x="4725" y="3235"/>
                  </a:lnTo>
                  <a:lnTo>
                    <a:pt x="4728" y="3226"/>
                  </a:lnTo>
                  <a:lnTo>
                    <a:pt x="4732" y="3219"/>
                  </a:lnTo>
                  <a:lnTo>
                    <a:pt x="4738" y="3216"/>
                  </a:lnTo>
                  <a:lnTo>
                    <a:pt x="4746" y="3214"/>
                  </a:lnTo>
                  <a:lnTo>
                    <a:pt x="4752" y="3216"/>
                  </a:lnTo>
                  <a:lnTo>
                    <a:pt x="4759" y="3219"/>
                  </a:lnTo>
                  <a:lnTo>
                    <a:pt x="4764" y="3226"/>
                  </a:lnTo>
                  <a:lnTo>
                    <a:pt x="4765" y="3235"/>
                  </a:lnTo>
                  <a:close/>
                  <a:moveTo>
                    <a:pt x="5029" y="3235"/>
                  </a:moveTo>
                  <a:lnTo>
                    <a:pt x="5029" y="3347"/>
                  </a:lnTo>
                  <a:lnTo>
                    <a:pt x="5027" y="3355"/>
                  </a:lnTo>
                  <a:lnTo>
                    <a:pt x="5023" y="3361"/>
                  </a:lnTo>
                  <a:lnTo>
                    <a:pt x="5016" y="3365"/>
                  </a:lnTo>
                  <a:lnTo>
                    <a:pt x="5009" y="3367"/>
                  </a:lnTo>
                  <a:lnTo>
                    <a:pt x="5001" y="3365"/>
                  </a:lnTo>
                  <a:lnTo>
                    <a:pt x="4994" y="3361"/>
                  </a:lnTo>
                  <a:lnTo>
                    <a:pt x="4991" y="3355"/>
                  </a:lnTo>
                  <a:lnTo>
                    <a:pt x="4988" y="3347"/>
                  </a:lnTo>
                  <a:lnTo>
                    <a:pt x="4988" y="3235"/>
                  </a:lnTo>
                  <a:lnTo>
                    <a:pt x="4991" y="3226"/>
                  </a:lnTo>
                  <a:lnTo>
                    <a:pt x="4994" y="3219"/>
                  </a:lnTo>
                  <a:lnTo>
                    <a:pt x="5001" y="3216"/>
                  </a:lnTo>
                  <a:lnTo>
                    <a:pt x="5009" y="3214"/>
                  </a:lnTo>
                  <a:lnTo>
                    <a:pt x="5016" y="3216"/>
                  </a:lnTo>
                  <a:lnTo>
                    <a:pt x="5023" y="3219"/>
                  </a:lnTo>
                  <a:lnTo>
                    <a:pt x="5027" y="3226"/>
                  </a:lnTo>
                  <a:lnTo>
                    <a:pt x="5029" y="3235"/>
                  </a:lnTo>
                  <a:close/>
                  <a:moveTo>
                    <a:pt x="5292" y="3235"/>
                  </a:moveTo>
                  <a:lnTo>
                    <a:pt x="5292" y="3347"/>
                  </a:lnTo>
                  <a:lnTo>
                    <a:pt x="5289" y="3355"/>
                  </a:lnTo>
                  <a:lnTo>
                    <a:pt x="5286" y="3361"/>
                  </a:lnTo>
                  <a:lnTo>
                    <a:pt x="5279" y="3365"/>
                  </a:lnTo>
                  <a:lnTo>
                    <a:pt x="5271" y="3367"/>
                  </a:lnTo>
                  <a:lnTo>
                    <a:pt x="5264" y="3365"/>
                  </a:lnTo>
                  <a:lnTo>
                    <a:pt x="5257" y="3361"/>
                  </a:lnTo>
                  <a:lnTo>
                    <a:pt x="5253" y="3355"/>
                  </a:lnTo>
                  <a:lnTo>
                    <a:pt x="5252" y="3347"/>
                  </a:lnTo>
                  <a:lnTo>
                    <a:pt x="5252" y="3235"/>
                  </a:lnTo>
                  <a:lnTo>
                    <a:pt x="5253" y="3226"/>
                  </a:lnTo>
                  <a:lnTo>
                    <a:pt x="5257" y="3219"/>
                  </a:lnTo>
                  <a:lnTo>
                    <a:pt x="5264" y="3216"/>
                  </a:lnTo>
                  <a:lnTo>
                    <a:pt x="5271" y="3214"/>
                  </a:lnTo>
                  <a:lnTo>
                    <a:pt x="5279" y="3216"/>
                  </a:lnTo>
                  <a:lnTo>
                    <a:pt x="5286" y="3219"/>
                  </a:lnTo>
                  <a:lnTo>
                    <a:pt x="5289" y="3226"/>
                  </a:lnTo>
                  <a:lnTo>
                    <a:pt x="5292" y="3235"/>
                  </a:lnTo>
                  <a:close/>
                  <a:moveTo>
                    <a:pt x="5555" y="3235"/>
                  </a:moveTo>
                  <a:lnTo>
                    <a:pt x="5555" y="3347"/>
                  </a:lnTo>
                  <a:lnTo>
                    <a:pt x="5554" y="3355"/>
                  </a:lnTo>
                  <a:lnTo>
                    <a:pt x="5548" y="3361"/>
                  </a:lnTo>
                  <a:lnTo>
                    <a:pt x="5542" y="3365"/>
                  </a:lnTo>
                  <a:lnTo>
                    <a:pt x="5534" y="3367"/>
                  </a:lnTo>
                  <a:lnTo>
                    <a:pt x="5528" y="3365"/>
                  </a:lnTo>
                  <a:lnTo>
                    <a:pt x="5521" y="3361"/>
                  </a:lnTo>
                  <a:lnTo>
                    <a:pt x="5516" y="3355"/>
                  </a:lnTo>
                  <a:lnTo>
                    <a:pt x="5515" y="3347"/>
                  </a:lnTo>
                  <a:lnTo>
                    <a:pt x="5515" y="3235"/>
                  </a:lnTo>
                  <a:lnTo>
                    <a:pt x="5516" y="3226"/>
                  </a:lnTo>
                  <a:lnTo>
                    <a:pt x="5521" y="3219"/>
                  </a:lnTo>
                  <a:lnTo>
                    <a:pt x="5528" y="3216"/>
                  </a:lnTo>
                  <a:lnTo>
                    <a:pt x="5534" y="3214"/>
                  </a:lnTo>
                  <a:lnTo>
                    <a:pt x="5542" y="3216"/>
                  </a:lnTo>
                  <a:lnTo>
                    <a:pt x="5548" y="3219"/>
                  </a:lnTo>
                  <a:lnTo>
                    <a:pt x="5554" y="3226"/>
                  </a:lnTo>
                  <a:lnTo>
                    <a:pt x="5555" y="3235"/>
                  </a:lnTo>
                  <a:close/>
                  <a:moveTo>
                    <a:pt x="3624" y="4034"/>
                  </a:moveTo>
                  <a:lnTo>
                    <a:pt x="3624" y="3864"/>
                  </a:lnTo>
                  <a:lnTo>
                    <a:pt x="3625" y="3856"/>
                  </a:lnTo>
                  <a:lnTo>
                    <a:pt x="3629" y="3851"/>
                  </a:lnTo>
                  <a:lnTo>
                    <a:pt x="3634" y="3847"/>
                  </a:lnTo>
                  <a:lnTo>
                    <a:pt x="3639" y="3845"/>
                  </a:lnTo>
                  <a:lnTo>
                    <a:pt x="3646" y="3845"/>
                  </a:lnTo>
                  <a:lnTo>
                    <a:pt x="3652" y="3846"/>
                  </a:lnTo>
                  <a:lnTo>
                    <a:pt x="3657" y="3849"/>
                  </a:lnTo>
                  <a:lnTo>
                    <a:pt x="3662" y="3854"/>
                  </a:lnTo>
                  <a:lnTo>
                    <a:pt x="3666" y="3860"/>
                  </a:lnTo>
                  <a:lnTo>
                    <a:pt x="3667" y="3869"/>
                  </a:lnTo>
                  <a:lnTo>
                    <a:pt x="3667" y="4034"/>
                  </a:lnTo>
                  <a:lnTo>
                    <a:pt x="3710" y="4029"/>
                  </a:lnTo>
                  <a:lnTo>
                    <a:pt x="3751" y="4021"/>
                  </a:lnTo>
                  <a:lnTo>
                    <a:pt x="3789" y="4010"/>
                  </a:lnTo>
                  <a:lnTo>
                    <a:pt x="3828" y="3994"/>
                  </a:lnTo>
                  <a:lnTo>
                    <a:pt x="3846" y="3985"/>
                  </a:lnTo>
                  <a:lnTo>
                    <a:pt x="3864" y="3975"/>
                  </a:lnTo>
                  <a:lnTo>
                    <a:pt x="3897" y="3953"/>
                  </a:lnTo>
                  <a:lnTo>
                    <a:pt x="3928" y="3928"/>
                  </a:lnTo>
                  <a:lnTo>
                    <a:pt x="3957" y="3901"/>
                  </a:lnTo>
                  <a:lnTo>
                    <a:pt x="3970" y="3886"/>
                  </a:lnTo>
                  <a:lnTo>
                    <a:pt x="3983" y="3870"/>
                  </a:lnTo>
                  <a:lnTo>
                    <a:pt x="4006" y="3838"/>
                  </a:lnTo>
                  <a:lnTo>
                    <a:pt x="4026" y="3804"/>
                  </a:lnTo>
                  <a:lnTo>
                    <a:pt x="4043" y="3767"/>
                  </a:lnTo>
                  <a:lnTo>
                    <a:pt x="4057" y="3728"/>
                  </a:lnTo>
                  <a:lnTo>
                    <a:pt x="4067" y="3689"/>
                  </a:lnTo>
                  <a:lnTo>
                    <a:pt x="4074" y="3648"/>
                  </a:lnTo>
                  <a:lnTo>
                    <a:pt x="4075" y="3604"/>
                  </a:lnTo>
                  <a:lnTo>
                    <a:pt x="4074" y="3569"/>
                  </a:lnTo>
                  <a:lnTo>
                    <a:pt x="4069" y="3533"/>
                  </a:lnTo>
                  <a:lnTo>
                    <a:pt x="4062" y="3498"/>
                  </a:lnTo>
                  <a:lnTo>
                    <a:pt x="4052" y="3464"/>
                  </a:lnTo>
                  <a:lnTo>
                    <a:pt x="4039" y="3432"/>
                  </a:lnTo>
                  <a:lnTo>
                    <a:pt x="4024" y="3401"/>
                  </a:lnTo>
                  <a:lnTo>
                    <a:pt x="4006" y="3372"/>
                  </a:lnTo>
                  <a:lnTo>
                    <a:pt x="3987" y="3343"/>
                  </a:lnTo>
                  <a:lnTo>
                    <a:pt x="3955" y="3308"/>
                  </a:lnTo>
                  <a:lnTo>
                    <a:pt x="3919" y="3276"/>
                  </a:lnTo>
                  <a:lnTo>
                    <a:pt x="3880" y="3248"/>
                  </a:lnTo>
                  <a:lnTo>
                    <a:pt x="3860" y="3236"/>
                  </a:lnTo>
                  <a:lnTo>
                    <a:pt x="3839" y="3225"/>
                  </a:lnTo>
                  <a:lnTo>
                    <a:pt x="3817" y="3214"/>
                  </a:lnTo>
                  <a:lnTo>
                    <a:pt x="3794" y="3205"/>
                  </a:lnTo>
                  <a:lnTo>
                    <a:pt x="3748" y="3191"/>
                  </a:lnTo>
                  <a:lnTo>
                    <a:pt x="3699" y="3184"/>
                  </a:lnTo>
                  <a:lnTo>
                    <a:pt x="3674" y="3181"/>
                  </a:lnTo>
                  <a:lnTo>
                    <a:pt x="3648" y="3180"/>
                  </a:lnTo>
                  <a:lnTo>
                    <a:pt x="3604" y="3182"/>
                  </a:lnTo>
                  <a:lnTo>
                    <a:pt x="3562" y="3189"/>
                  </a:lnTo>
                  <a:lnTo>
                    <a:pt x="3521" y="3200"/>
                  </a:lnTo>
                  <a:lnTo>
                    <a:pt x="3481" y="3214"/>
                  </a:lnTo>
                  <a:lnTo>
                    <a:pt x="3443" y="3232"/>
                  </a:lnTo>
                  <a:lnTo>
                    <a:pt x="3408" y="3254"/>
                  </a:lnTo>
                  <a:lnTo>
                    <a:pt x="3375" y="3278"/>
                  </a:lnTo>
                  <a:lnTo>
                    <a:pt x="3344" y="3306"/>
                  </a:lnTo>
                  <a:lnTo>
                    <a:pt x="3316" y="3337"/>
                  </a:lnTo>
                  <a:lnTo>
                    <a:pt x="3292" y="3369"/>
                  </a:lnTo>
                  <a:lnTo>
                    <a:pt x="3270" y="3405"/>
                  </a:lnTo>
                  <a:lnTo>
                    <a:pt x="3252" y="3443"/>
                  </a:lnTo>
                  <a:lnTo>
                    <a:pt x="3238" y="3482"/>
                  </a:lnTo>
                  <a:lnTo>
                    <a:pt x="3226" y="3524"/>
                  </a:lnTo>
                  <a:lnTo>
                    <a:pt x="3220" y="3566"/>
                  </a:lnTo>
                  <a:lnTo>
                    <a:pt x="3219" y="3609"/>
                  </a:lnTo>
                  <a:lnTo>
                    <a:pt x="3220" y="3647"/>
                  </a:lnTo>
                  <a:lnTo>
                    <a:pt x="3224" y="3682"/>
                  </a:lnTo>
                  <a:lnTo>
                    <a:pt x="3231" y="3717"/>
                  </a:lnTo>
                  <a:lnTo>
                    <a:pt x="3242" y="3750"/>
                  </a:lnTo>
                  <a:lnTo>
                    <a:pt x="3254" y="3783"/>
                  </a:lnTo>
                  <a:lnTo>
                    <a:pt x="3270" y="3814"/>
                  </a:lnTo>
                  <a:lnTo>
                    <a:pt x="3288" y="3843"/>
                  </a:lnTo>
                  <a:lnTo>
                    <a:pt x="3307" y="3872"/>
                  </a:lnTo>
                  <a:lnTo>
                    <a:pt x="3336" y="3905"/>
                  </a:lnTo>
                  <a:lnTo>
                    <a:pt x="3370" y="3936"/>
                  </a:lnTo>
                  <a:lnTo>
                    <a:pt x="3388" y="3950"/>
                  </a:lnTo>
                  <a:lnTo>
                    <a:pt x="3407" y="3962"/>
                  </a:lnTo>
                  <a:lnTo>
                    <a:pt x="3445" y="3985"/>
                  </a:lnTo>
                  <a:lnTo>
                    <a:pt x="3487" y="4005"/>
                  </a:lnTo>
                  <a:lnTo>
                    <a:pt x="3531" y="4019"/>
                  </a:lnTo>
                  <a:lnTo>
                    <a:pt x="3576" y="4029"/>
                  </a:lnTo>
                  <a:lnTo>
                    <a:pt x="3624" y="4034"/>
                  </a:lnTo>
                  <a:close/>
                  <a:moveTo>
                    <a:pt x="3628" y="4333"/>
                  </a:moveTo>
                  <a:lnTo>
                    <a:pt x="3625" y="4328"/>
                  </a:lnTo>
                  <a:lnTo>
                    <a:pt x="3624" y="4320"/>
                  </a:lnTo>
                  <a:lnTo>
                    <a:pt x="3624" y="4079"/>
                  </a:lnTo>
                  <a:lnTo>
                    <a:pt x="3571" y="4072"/>
                  </a:lnTo>
                  <a:lnTo>
                    <a:pt x="3521" y="4062"/>
                  </a:lnTo>
                  <a:lnTo>
                    <a:pt x="3472" y="4045"/>
                  </a:lnTo>
                  <a:lnTo>
                    <a:pt x="3449" y="4035"/>
                  </a:lnTo>
                  <a:lnTo>
                    <a:pt x="3428" y="4024"/>
                  </a:lnTo>
                  <a:lnTo>
                    <a:pt x="3384" y="3998"/>
                  </a:lnTo>
                  <a:lnTo>
                    <a:pt x="3363" y="3984"/>
                  </a:lnTo>
                  <a:lnTo>
                    <a:pt x="3344" y="3967"/>
                  </a:lnTo>
                  <a:lnTo>
                    <a:pt x="3326" y="3951"/>
                  </a:lnTo>
                  <a:lnTo>
                    <a:pt x="3308" y="3934"/>
                  </a:lnTo>
                  <a:lnTo>
                    <a:pt x="3292" y="3915"/>
                  </a:lnTo>
                  <a:lnTo>
                    <a:pt x="3276" y="3896"/>
                  </a:lnTo>
                  <a:lnTo>
                    <a:pt x="3253" y="3865"/>
                  </a:lnTo>
                  <a:lnTo>
                    <a:pt x="3233" y="3832"/>
                  </a:lnTo>
                  <a:lnTo>
                    <a:pt x="3216" y="3797"/>
                  </a:lnTo>
                  <a:lnTo>
                    <a:pt x="3201" y="3762"/>
                  </a:lnTo>
                  <a:lnTo>
                    <a:pt x="3189" y="3725"/>
                  </a:lnTo>
                  <a:lnTo>
                    <a:pt x="3181" y="3686"/>
                  </a:lnTo>
                  <a:lnTo>
                    <a:pt x="3176" y="3645"/>
                  </a:lnTo>
                  <a:lnTo>
                    <a:pt x="3174" y="3604"/>
                  </a:lnTo>
                  <a:lnTo>
                    <a:pt x="3176" y="3557"/>
                  </a:lnTo>
                  <a:lnTo>
                    <a:pt x="3184" y="3510"/>
                  </a:lnTo>
                  <a:lnTo>
                    <a:pt x="3189" y="3488"/>
                  </a:lnTo>
                  <a:lnTo>
                    <a:pt x="3195" y="3465"/>
                  </a:lnTo>
                  <a:lnTo>
                    <a:pt x="3211" y="3423"/>
                  </a:lnTo>
                  <a:lnTo>
                    <a:pt x="3231" y="3382"/>
                  </a:lnTo>
                  <a:lnTo>
                    <a:pt x="3254" y="3342"/>
                  </a:lnTo>
                  <a:lnTo>
                    <a:pt x="3281" y="3306"/>
                  </a:lnTo>
                  <a:lnTo>
                    <a:pt x="3297" y="3290"/>
                  </a:lnTo>
                  <a:lnTo>
                    <a:pt x="3312" y="3273"/>
                  </a:lnTo>
                  <a:lnTo>
                    <a:pt x="3345" y="3242"/>
                  </a:lnTo>
                  <a:lnTo>
                    <a:pt x="3363" y="3228"/>
                  </a:lnTo>
                  <a:lnTo>
                    <a:pt x="3381" y="3216"/>
                  </a:lnTo>
                  <a:lnTo>
                    <a:pt x="3420" y="3193"/>
                  </a:lnTo>
                  <a:lnTo>
                    <a:pt x="3440" y="3182"/>
                  </a:lnTo>
                  <a:lnTo>
                    <a:pt x="3462" y="3172"/>
                  </a:lnTo>
                  <a:lnTo>
                    <a:pt x="3483" y="3164"/>
                  </a:lnTo>
                  <a:lnTo>
                    <a:pt x="3504" y="3157"/>
                  </a:lnTo>
                  <a:lnTo>
                    <a:pt x="3528" y="3150"/>
                  </a:lnTo>
                  <a:lnTo>
                    <a:pt x="3549" y="3145"/>
                  </a:lnTo>
                  <a:lnTo>
                    <a:pt x="3597" y="3138"/>
                  </a:lnTo>
                  <a:lnTo>
                    <a:pt x="3644" y="3135"/>
                  </a:lnTo>
                  <a:lnTo>
                    <a:pt x="3701" y="3139"/>
                  </a:lnTo>
                  <a:lnTo>
                    <a:pt x="3728" y="3143"/>
                  </a:lnTo>
                  <a:lnTo>
                    <a:pt x="3755" y="3149"/>
                  </a:lnTo>
                  <a:lnTo>
                    <a:pt x="3781" y="3156"/>
                  </a:lnTo>
                  <a:lnTo>
                    <a:pt x="3807" y="3164"/>
                  </a:lnTo>
                  <a:lnTo>
                    <a:pt x="3831" y="3175"/>
                  </a:lnTo>
                  <a:lnTo>
                    <a:pt x="3856" y="3185"/>
                  </a:lnTo>
                  <a:lnTo>
                    <a:pt x="3902" y="3212"/>
                  </a:lnTo>
                  <a:lnTo>
                    <a:pt x="3944" y="3242"/>
                  </a:lnTo>
                  <a:lnTo>
                    <a:pt x="3965" y="3260"/>
                  </a:lnTo>
                  <a:lnTo>
                    <a:pt x="3983" y="3278"/>
                  </a:lnTo>
                  <a:lnTo>
                    <a:pt x="4001" y="3299"/>
                  </a:lnTo>
                  <a:lnTo>
                    <a:pt x="4017" y="3318"/>
                  </a:lnTo>
                  <a:lnTo>
                    <a:pt x="4040" y="3350"/>
                  </a:lnTo>
                  <a:lnTo>
                    <a:pt x="4060" y="3382"/>
                  </a:lnTo>
                  <a:lnTo>
                    <a:pt x="4078" y="3416"/>
                  </a:lnTo>
                  <a:lnTo>
                    <a:pt x="4092" y="3453"/>
                  </a:lnTo>
                  <a:lnTo>
                    <a:pt x="4103" y="3491"/>
                  </a:lnTo>
                  <a:lnTo>
                    <a:pt x="4112" y="3529"/>
                  </a:lnTo>
                  <a:lnTo>
                    <a:pt x="4117" y="3569"/>
                  </a:lnTo>
                  <a:lnTo>
                    <a:pt x="4119" y="3609"/>
                  </a:lnTo>
                  <a:lnTo>
                    <a:pt x="4117" y="3657"/>
                  </a:lnTo>
                  <a:lnTo>
                    <a:pt x="4110" y="3702"/>
                  </a:lnTo>
                  <a:lnTo>
                    <a:pt x="4105" y="3725"/>
                  </a:lnTo>
                  <a:lnTo>
                    <a:pt x="4099" y="3746"/>
                  </a:lnTo>
                  <a:lnTo>
                    <a:pt x="4084" y="3788"/>
                  </a:lnTo>
                  <a:lnTo>
                    <a:pt x="4075" y="3809"/>
                  </a:lnTo>
                  <a:lnTo>
                    <a:pt x="4065" y="3828"/>
                  </a:lnTo>
                  <a:lnTo>
                    <a:pt x="4043" y="3866"/>
                  </a:lnTo>
                  <a:lnTo>
                    <a:pt x="4016" y="3902"/>
                  </a:lnTo>
                  <a:lnTo>
                    <a:pt x="3988" y="3936"/>
                  </a:lnTo>
                  <a:lnTo>
                    <a:pt x="3956" y="3965"/>
                  </a:lnTo>
                  <a:lnTo>
                    <a:pt x="3921" y="3993"/>
                  </a:lnTo>
                  <a:lnTo>
                    <a:pt x="3884" y="4016"/>
                  </a:lnTo>
                  <a:lnTo>
                    <a:pt x="3844" y="4037"/>
                  </a:lnTo>
                  <a:lnTo>
                    <a:pt x="3802" y="4053"/>
                  </a:lnTo>
                  <a:lnTo>
                    <a:pt x="3760" y="4066"/>
                  </a:lnTo>
                  <a:lnTo>
                    <a:pt x="3715" y="4075"/>
                  </a:lnTo>
                  <a:lnTo>
                    <a:pt x="3667" y="4079"/>
                  </a:lnTo>
                  <a:lnTo>
                    <a:pt x="3667" y="4336"/>
                  </a:lnTo>
                  <a:lnTo>
                    <a:pt x="3666" y="4345"/>
                  </a:lnTo>
                  <a:lnTo>
                    <a:pt x="3661" y="4351"/>
                  </a:lnTo>
                  <a:lnTo>
                    <a:pt x="3654" y="4355"/>
                  </a:lnTo>
                  <a:lnTo>
                    <a:pt x="3648" y="4356"/>
                  </a:lnTo>
                  <a:lnTo>
                    <a:pt x="3640" y="4355"/>
                  </a:lnTo>
                  <a:lnTo>
                    <a:pt x="3634" y="4351"/>
                  </a:lnTo>
                  <a:lnTo>
                    <a:pt x="3629" y="4345"/>
                  </a:lnTo>
                  <a:lnTo>
                    <a:pt x="3628" y="4336"/>
                  </a:lnTo>
                  <a:lnTo>
                    <a:pt x="3628" y="43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12">
              <a:extLst>
                <a:ext uri="{FF2B5EF4-FFF2-40B4-BE49-F238E27FC236}">
                  <a16:creationId xmlns:a16="http://schemas.microsoft.com/office/drawing/2014/main" id="{F84D736B-F51E-4416-B884-83179D548D47}"/>
                </a:ext>
              </a:extLst>
            </p:cNvPr>
            <p:cNvSpPr>
              <a:spLocks noChangeAspect="1" noEditPoints="1"/>
            </p:cNvSpPr>
            <p:nvPr userDrawn="1"/>
          </p:nvSpPr>
          <p:spPr bwMode="black">
            <a:xfrm>
              <a:off x="5610994" y="5177099"/>
              <a:ext cx="193514" cy="216000"/>
            </a:xfrm>
            <a:custGeom>
              <a:avLst/>
              <a:gdLst>
                <a:gd name="T0" fmla="*/ 2964 w 3578"/>
                <a:gd name="T1" fmla="*/ 3151 h 3996"/>
                <a:gd name="T2" fmla="*/ 2988 w 3578"/>
                <a:gd name="T3" fmla="*/ 3131 h 3996"/>
                <a:gd name="T4" fmla="*/ 3002 w 3578"/>
                <a:gd name="T5" fmla="*/ 3095 h 3996"/>
                <a:gd name="T6" fmla="*/ 2998 w 3578"/>
                <a:gd name="T7" fmla="*/ 3052 h 3996"/>
                <a:gd name="T8" fmla="*/ 2570 w 3578"/>
                <a:gd name="T9" fmla="*/ 2480 h 3996"/>
                <a:gd name="T10" fmla="*/ 2976 w 3578"/>
                <a:gd name="T11" fmla="*/ 956 h 3996"/>
                <a:gd name="T12" fmla="*/ 2988 w 3578"/>
                <a:gd name="T13" fmla="*/ 917 h 3996"/>
                <a:gd name="T14" fmla="*/ 2981 w 3578"/>
                <a:gd name="T15" fmla="*/ 878 h 3996"/>
                <a:gd name="T16" fmla="*/ 2961 w 3578"/>
                <a:gd name="T17" fmla="*/ 853 h 3996"/>
                <a:gd name="T18" fmla="*/ 2936 w 3578"/>
                <a:gd name="T19" fmla="*/ 840 h 3996"/>
                <a:gd name="T20" fmla="*/ 2275 w 3578"/>
                <a:gd name="T21" fmla="*/ 835 h 3996"/>
                <a:gd name="T22" fmla="*/ 2209 w 3578"/>
                <a:gd name="T23" fmla="*/ 845 h 3996"/>
                <a:gd name="T24" fmla="*/ 2160 w 3578"/>
                <a:gd name="T25" fmla="*/ 872 h 3996"/>
                <a:gd name="T26" fmla="*/ 2119 w 3578"/>
                <a:gd name="T27" fmla="*/ 915 h 3996"/>
                <a:gd name="T28" fmla="*/ 1365 w 3578"/>
                <a:gd name="T29" fmla="*/ 931 h 3996"/>
                <a:gd name="T30" fmla="*/ 1356 w 3578"/>
                <a:gd name="T31" fmla="*/ 884 h 3996"/>
                <a:gd name="T32" fmla="*/ 1325 w 3578"/>
                <a:gd name="T33" fmla="*/ 851 h 3996"/>
                <a:gd name="T34" fmla="*/ 1280 w 3578"/>
                <a:gd name="T35" fmla="*/ 835 h 3996"/>
                <a:gd name="T36" fmla="*/ 664 w 3578"/>
                <a:gd name="T37" fmla="*/ 840 h 3996"/>
                <a:gd name="T38" fmla="*/ 625 w 3578"/>
                <a:gd name="T39" fmla="*/ 862 h 3996"/>
                <a:gd name="T40" fmla="*/ 602 w 3578"/>
                <a:gd name="T41" fmla="*/ 902 h 3996"/>
                <a:gd name="T42" fmla="*/ 598 w 3578"/>
                <a:gd name="T43" fmla="*/ 1998 h 3996"/>
                <a:gd name="T44" fmla="*/ 602 w 3578"/>
                <a:gd name="T45" fmla="*/ 3094 h 3996"/>
                <a:gd name="T46" fmla="*/ 625 w 3578"/>
                <a:gd name="T47" fmla="*/ 3133 h 3996"/>
                <a:gd name="T48" fmla="*/ 664 w 3578"/>
                <a:gd name="T49" fmla="*/ 3156 h 3996"/>
                <a:gd name="T50" fmla="*/ 1280 w 3578"/>
                <a:gd name="T51" fmla="*/ 3160 h 3996"/>
                <a:gd name="T52" fmla="*/ 1325 w 3578"/>
                <a:gd name="T53" fmla="*/ 3144 h 3996"/>
                <a:gd name="T54" fmla="*/ 1356 w 3578"/>
                <a:gd name="T55" fmla="*/ 3111 h 3996"/>
                <a:gd name="T56" fmla="*/ 1365 w 3578"/>
                <a:gd name="T57" fmla="*/ 3064 h 3996"/>
                <a:gd name="T58" fmla="*/ 2119 w 3578"/>
                <a:gd name="T59" fmla="*/ 3080 h 3996"/>
                <a:gd name="T60" fmla="*/ 2160 w 3578"/>
                <a:gd name="T61" fmla="*/ 3123 h 3996"/>
                <a:gd name="T62" fmla="*/ 2209 w 3578"/>
                <a:gd name="T63" fmla="*/ 3151 h 3996"/>
                <a:gd name="T64" fmla="*/ 2275 w 3578"/>
                <a:gd name="T65" fmla="*/ 3160 h 3996"/>
                <a:gd name="T66" fmla="*/ 4 w 3578"/>
                <a:gd name="T67" fmla="*/ 3929 h 3996"/>
                <a:gd name="T68" fmla="*/ 27 w 3578"/>
                <a:gd name="T69" fmla="*/ 3968 h 3996"/>
                <a:gd name="T70" fmla="*/ 66 w 3578"/>
                <a:gd name="T71" fmla="*/ 3991 h 3996"/>
                <a:gd name="T72" fmla="*/ 1789 w 3578"/>
                <a:gd name="T73" fmla="*/ 3996 h 3996"/>
                <a:gd name="T74" fmla="*/ 3512 w 3578"/>
                <a:gd name="T75" fmla="*/ 3991 h 3996"/>
                <a:gd name="T76" fmla="*/ 3552 w 3578"/>
                <a:gd name="T77" fmla="*/ 3968 h 3996"/>
                <a:gd name="T78" fmla="*/ 3574 w 3578"/>
                <a:gd name="T79" fmla="*/ 3929 h 3996"/>
                <a:gd name="T80" fmla="*/ 3577 w 3578"/>
                <a:gd name="T81" fmla="*/ 3624 h 3996"/>
                <a:gd name="T82" fmla="*/ 3563 w 3578"/>
                <a:gd name="T83" fmla="*/ 3579 h 3996"/>
                <a:gd name="T84" fmla="*/ 3529 w 3578"/>
                <a:gd name="T85" fmla="*/ 3549 h 3996"/>
                <a:gd name="T86" fmla="*/ 3482 w 3578"/>
                <a:gd name="T87" fmla="*/ 3538 h 3996"/>
                <a:gd name="T88" fmla="*/ 85 w 3578"/>
                <a:gd name="T89" fmla="*/ 3538 h 3996"/>
                <a:gd name="T90" fmla="*/ 41 w 3578"/>
                <a:gd name="T91" fmla="*/ 3554 h 3996"/>
                <a:gd name="T92" fmla="*/ 11 w 3578"/>
                <a:gd name="T93" fmla="*/ 3587 h 3996"/>
                <a:gd name="T94" fmla="*/ 0 w 3578"/>
                <a:gd name="T95" fmla="*/ 3634 h 3996"/>
                <a:gd name="T96" fmla="*/ 4 w 3578"/>
                <a:gd name="T97" fmla="*/ 391 h 3996"/>
                <a:gd name="T98" fmla="*/ 27 w 3578"/>
                <a:gd name="T99" fmla="*/ 430 h 3996"/>
                <a:gd name="T100" fmla="*/ 66 w 3578"/>
                <a:gd name="T101" fmla="*/ 453 h 3996"/>
                <a:gd name="T102" fmla="*/ 1789 w 3578"/>
                <a:gd name="T103" fmla="*/ 456 h 3996"/>
                <a:gd name="T104" fmla="*/ 3512 w 3578"/>
                <a:gd name="T105" fmla="*/ 453 h 3996"/>
                <a:gd name="T106" fmla="*/ 3552 w 3578"/>
                <a:gd name="T107" fmla="*/ 430 h 3996"/>
                <a:gd name="T108" fmla="*/ 3574 w 3578"/>
                <a:gd name="T109" fmla="*/ 391 h 3996"/>
                <a:gd name="T110" fmla="*/ 3577 w 3578"/>
                <a:gd name="T111" fmla="*/ 85 h 3996"/>
                <a:gd name="T112" fmla="*/ 3563 w 3578"/>
                <a:gd name="T113" fmla="*/ 41 h 3996"/>
                <a:gd name="T114" fmla="*/ 3529 w 3578"/>
                <a:gd name="T115" fmla="*/ 11 h 3996"/>
                <a:gd name="T116" fmla="*/ 3482 w 3578"/>
                <a:gd name="T117" fmla="*/ 0 h 3996"/>
                <a:gd name="T118" fmla="*/ 85 w 3578"/>
                <a:gd name="T119" fmla="*/ 0 h 3996"/>
                <a:gd name="T120" fmla="*/ 41 w 3578"/>
                <a:gd name="T121" fmla="*/ 16 h 3996"/>
                <a:gd name="T122" fmla="*/ 11 w 3578"/>
                <a:gd name="T123" fmla="*/ 49 h 3996"/>
                <a:gd name="T124" fmla="*/ 0 w 3578"/>
                <a:gd name="T125" fmla="*/ 95 h 3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78" h="3996">
                  <a:moveTo>
                    <a:pt x="2924" y="3160"/>
                  </a:moveTo>
                  <a:lnTo>
                    <a:pt x="2936" y="3160"/>
                  </a:lnTo>
                  <a:lnTo>
                    <a:pt x="2947" y="3157"/>
                  </a:lnTo>
                  <a:lnTo>
                    <a:pt x="2958" y="3153"/>
                  </a:lnTo>
                  <a:lnTo>
                    <a:pt x="2964" y="3151"/>
                  </a:lnTo>
                  <a:lnTo>
                    <a:pt x="2968" y="3148"/>
                  </a:lnTo>
                  <a:lnTo>
                    <a:pt x="2977" y="3142"/>
                  </a:lnTo>
                  <a:lnTo>
                    <a:pt x="2981" y="3139"/>
                  </a:lnTo>
                  <a:lnTo>
                    <a:pt x="2985" y="3135"/>
                  </a:lnTo>
                  <a:lnTo>
                    <a:pt x="2988" y="3131"/>
                  </a:lnTo>
                  <a:lnTo>
                    <a:pt x="2991" y="3126"/>
                  </a:lnTo>
                  <a:lnTo>
                    <a:pt x="2996" y="3117"/>
                  </a:lnTo>
                  <a:lnTo>
                    <a:pt x="3000" y="3106"/>
                  </a:lnTo>
                  <a:lnTo>
                    <a:pt x="3001" y="3101"/>
                  </a:lnTo>
                  <a:lnTo>
                    <a:pt x="3002" y="3095"/>
                  </a:lnTo>
                  <a:lnTo>
                    <a:pt x="3003" y="3084"/>
                  </a:lnTo>
                  <a:lnTo>
                    <a:pt x="3002" y="3072"/>
                  </a:lnTo>
                  <a:lnTo>
                    <a:pt x="3001" y="3065"/>
                  </a:lnTo>
                  <a:lnTo>
                    <a:pt x="2999" y="3059"/>
                  </a:lnTo>
                  <a:lnTo>
                    <a:pt x="2998" y="3052"/>
                  </a:lnTo>
                  <a:lnTo>
                    <a:pt x="2995" y="3045"/>
                  </a:lnTo>
                  <a:lnTo>
                    <a:pt x="2988" y="3032"/>
                  </a:lnTo>
                  <a:lnTo>
                    <a:pt x="2985" y="3026"/>
                  </a:lnTo>
                  <a:lnTo>
                    <a:pt x="2980" y="3019"/>
                  </a:lnTo>
                  <a:lnTo>
                    <a:pt x="2570" y="2480"/>
                  </a:lnTo>
                  <a:lnTo>
                    <a:pt x="2162" y="1941"/>
                  </a:lnTo>
                  <a:lnTo>
                    <a:pt x="2562" y="1459"/>
                  </a:lnTo>
                  <a:lnTo>
                    <a:pt x="2962" y="976"/>
                  </a:lnTo>
                  <a:lnTo>
                    <a:pt x="2972" y="962"/>
                  </a:lnTo>
                  <a:lnTo>
                    <a:pt x="2976" y="956"/>
                  </a:lnTo>
                  <a:lnTo>
                    <a:pt x="2979" y="949"/>
                  </a:lnTo>
                  <a:lnTo>
                    <a:pt x="2985" y="936"/>
                  </a:lnTo>
                  <a:lnTo>
                    <a:pt x="2986" y="929"/>
                  </a:lnTo>
                  <a:lnTo>
                    <a:pt x="2988" y="923"/>
                  </a:lnTo>
                  <a:lnTo>
                    <a:pt x="2988" y="917"/>
                  </a:lnTo>
                  <a:lnTo>
                    <a:pt x="2989" y="910"/>
                  </a:lnTo>
                  <a:lnTo>
                    <a:pt x="2988" y="899"/>
                  </a:lnTo>
                  <a:lnTo>
                    <a:pt x="2987" y="894"/>
                  </a:lnTo>
                  <a:lnTo>
                    <a:pt x="2986" y="888"/>
                  </a:lnTo>
                  <a:lnTo>
                    <a:pt x="2981" y="878"/>
                  </a:lnTo>
                  <a:lnTo>
                    <a:pt x="2979" y="873"/>
                  </a:lnTo>
                  <a:lnTo>
                    <a:pt x="2976" y="868"/>
                  </a:lnTo>
                  <a:lnTo>
                    <a:pt x="2972" y="864"/>
                  </a:lnTo>
                  <a:lnTo>
                    <a:pt x="2969" y="861"/>
                  </a:lnTo>
                  <a:lnTo>
                    <a:pt x="2961" y="853"/>
                  </a:lnTo>
                  <a:lnTo>
                    <a:pt x="2957" y="849"/>
                  </a:lnTo>
                  <a:lnTo>
                    <a:pt x="2951" y="846"/>
                  </a:lnTo>
                  <a:lnTo>
                    <a:pt x="2947" y="844"/>
                  </a:lnTo>
                  <a:lnTo>
                    <a:pt x="2941" y="842"/>
                  </a:lnTo>
                  <a:lnTo>
                    <a:pt x="2936" y="840"/>
                  </a:lnTo>
                  <a:lnTo>
                    <a:pt x="2930" y="838"/>
                  </a:lnTo>
                  <a:lnTo>
                    <a:pt x="2925" y="836"/>
                  </a:lnTo>
                  <a:lnTo>
                    <a:pt x="2919" y="836"/>
                  </a:lnTo>
                  <a:lnTo>
                    <a:pt x="2907" y="835"/>
                  </a:lnTo>
                  <a:lnTo>
                    <a:pt x="2275" y="835"/>
                  </a:lnTo>
                  <a:lnTo>
                    <a:pt x="2260" y="835"/>
                  </a:lnTo>
                  <a:lnTo>
                    <a:pt x="2246" y="836"/>
                  </a:lnTo>
                  <a:lnTo>
                    <a:pt x="2234" y="838"/>
                  </a:lnTo>
                  <a:lnTo>
                    <a:pt x="2222" y="841"/>
                  </a:lnTo>
                  <a:lnTo>
                    <a:pt x="2209" y="845"/>
                  </a:lnTo>
                  <a:lnTo>
                    <a:pt x="2198" y="848"/>
                  </a:lnTo>
                  <a:lnTo>
                    <a:pt x="2188" y="854"/>
                  </a:lnTo>
                  <a:lnTo>
                    <a:pt x="2178" y="859"/>
                  </a:lnTo>
                  <a:lnTo>
                    <a:pt x="2168" y="865"/>
                  </a:lnTo>
                  <a:lnTo>
                    <a:pt x="2160" y="872"/>
                  </a:lnTo>
                  <a:lnTo>
                    <a:pt x="2151" y="879"/>
                  </a:lnTo>
                  <a:lnTo>
                    <a:pt x="2142" y="887"/>
                  </a:lnTo>
                  <a:lnTo>
                    <a:pt x="2134" y="896"/>
                  </a:lnTo>
                  <a:lnTo>
                    <a:pt x="2126" y="905"/>
                  </a:lnTo>
                  <a:lnTo>
                    <a:pt x="2119" y="915"/>
                  </a:lnTo>
                  <a:lnTo>
                    <a:pt x="2111" y="925"/>
                  </a:lnTo>
                  <a:lnTo>
                    <a:pt x="1738" y="1404"/>
                  </a:lnTo>
                  <a:lnTo>
                    <a:pt x="1365" y="1885"/>
                  </a:lnTo>
                  <a:lnTo>
                    <a:pt x="1365" y="1408"/>
                  </a:lnTo>
                  <a:lnTo>
                    <a:pt x="1365" y="931"/>
                  </a:lnTo>
                  <a:lnTo>
                    <a:pt x="1365" y="920"/>
                  </a:lnTo>
                  <a:lnTo>
                    <a:pt x="1364" y="910"/>
                  </a:lnTo>
                  <a:lnTo>
                    <a:pt x="1362" y="902"/>
                  </a:lnTo>
                  <a:lnTo>
                    <a:pt x="1359" y="892"/>
                  </a:lnTo>
                  <a:lnTo>
                    <a:pt x="1356" y="884"/>
                  </a:lnTo>
                  <a:lnTo>
                    <a:pt x="1350" y="876"/>
                  </a:lnTo>
                  <a:lnTo>
                    <a:pt x="1346" y="868"/>
                  </a:lnTo>
                  <a:lnTo>
                    <a:pt x="1339" y="862"/>
                  </a:lnTo>
                  <a:lnTo>
                    <a:pt x="1332" y="856"/>
                  </a:lnTo>
                  <a:lnTo>
                    <a:pt x="1325" y="851"/>
                  </a:lnTo>
                  <a:lnTo>
                    <a:pt x="1317" y="846"/>
                  </a:lnTo>
                  <a:lnTo>
                    <a:pt x="1309" y="842"/>
                  </a:lnTo>
                  <a:lnTo>
                    <a:pt x="1300" y="840"/>
                  </a:lnTo>
                  <a:lnTo>
                    <a:pt x="1290" y="837"/>
                  </a:lnTo>
                  <a:lnTo>
                    <a:pt x="1280" y="835"/>
                  </a:lnTo>
                  <a:lnTo>
                    <a:pt x="1270" y="835"/>
                  </a:lnTo>
                  <a:lnTo>
                    <a:pt x="694" y="835"/>
                  </a:lnTo>
                  <a:lnTo>
                    <a:pt x="684" y="835"/>
                  </a:lnTo>
                  <a:lnTo>
                    <a:pt x="674" y="837"/>
                  </a:lnTo>
                  <a:lnTo>
                    <a:pt x="664" y="840"/>
                  </a:lnTo>
                  <a:lnTo>
                    <a:pt x="656" y="842"/>
                  </a:lnTo>
                  <a:lnTo>
                    <a:pt x="647" y="846"/>
                  </a:lnTo>
                  <a:lnTo>
                    <a:pt x="639" y="851"/>
                  </a:lnTo>
                  <a:lnTo>
                    <a:pt x="632" y="856"/>
                  </a:lnTo>
                  <a:lnTo>
                    <a:pt x="625" y="862"/>
                  </a:lnTo>
                  <a:lnTo>
                    <a:pt x="619" y="868"/>
                  </a:lnTo>
                  <a:lnTo>
                    <a:pt x="614" y="876"/>
                  </a:lnTo>
                  <a:lnTo>
                    <a:pt x="609" y="884"/>
                  </a:lnTo>
                  <a:lnTo>
                    <a:pt x="606" y="892"/>
                  </a:lnTo>
                  <a:lnTo>
                    <a:pt x="602" y="902"/>
                  </a:lnTo>
                  <a:lnTo>
                    <a:pt x="600" y="910"/>
                  </a:lnTo>
                  <a:lnTo>
                    <a:pt x="599" y="920"/>
                  </a:lnTo>
                  <a:lnTo>
                    <a:pt x="598" y="931"/>
                  </a:lnTo>
                  <a:lnTo>
                    <a:pt x="598" y="1464"/>
                  </a:lnTo>
                  <a:lnTo>
                    <a:pt x="598" y="1998"/>
                  </a:lnTo>
                  <a:lnTo>
                    <a:pt x="598" y="2531"/>
                  </a:lnTo>
                  <a:lnTo>
                    <a:pt x="598" y="3064"/>
                  </a:lnTo>
                  <a:lnTo>
                    <a:pt x="599" y="3074"/>
                  </a:lnTo>
                  <a:lnTo>
                    <a:pt x="600" y="3084"/>
                  </a:lnTo>
                  <a:lnTo>
                    <a:pt x="602" y="3094"/>
                  </a:lnTo>
                  <a:lnTo>
                    <a:pt x="606" y="3103"/>
                  </a:lnTo>
                  <a:lnTo>
                    <a:pt x="609" y="3111"/>
                  </a:lnTo>
                  <a:lnTo>
                    <a:pt x="614" y="3120"/>
                  </a:lnTo>
                  <a:lnTo>
                    <a:pt x="619" y="3126"/>
                  </a:lnTo>
                  <a:lnTo>
                    <a:pt x="625" y="3133"/>
                  </a:lnTo>
                  <a:lnTo>
                    <a:pt x="632" y="3140"/>
                  </a:lnTo>
                  <a:lnTo>
                    <a:pt x="639" y="3144"/>
                  </a:lnTo>
                  <a:lnTo>
                    <a:pt x="647" y="3150"/>
                  </a:lnTo>
                  <a:lnTo>
                    <a:pt x="656" y="3153"/>
                  </a:lnTo>
                  <a:lnTo>
                    <a:pt x="664" y="3156"/>
                  </a:lnTo>
                  <a:lnTo>
                    <a:pt x="674" y="3158"/>
                  </a:lnTo>
                  <a:lnTo>
                    <a:pt x="684" y="3160"/>
                  </a:lnTo>
                  <a:lnTo>
                    <a:pt x="694" y="3160"/>
                  </a:lnTo>
                  <a:lnTo>
                    <a:pt x="1270" y="3160"/>
                  </a:lnTo>
                  <a:lnTo>
                    <a:pt x="1280" y="3160"/>
                  </a:lnTo>
                  <a:lnTo>
                    <a:pt x="1290" y="3158"/>
                  </a:lnTo>
                  <a:lnTo>
                    <a:pt x="1300" y="3156"/>
                  </a:lnTo>
                  <a:lnTo>
                    <a:pt x="1309" y="3153"/>
                  </a:lnTo>
                  <a:lnTo>
                    <a:pt x="1317" y="3150"/>
                  </a:lnTo>
                  <a:lnTo>
                    <a:pt x="1325" y="3144"/>
                  </a:lnTo>
                  <a:lnTo>
                    <a:pt x="1332" y="3140"/>
                  </a:lnTo>
                  <a:lnTo>
                    <a:pt x="1339" y="3133"/>
                  </a:lnTo>
                  <a:lnTo>
                    <a:pt x="1346" y="3126"/>
                  </a:lnTo>
                  <a:lnTo>
                    <a:pt x="1350" y="3120"/>
                  </a:lnTo>
                  <a:lnTo>
                    <a:pt x="1356" y="3111"/>
                  </a:lnTo>
                  <a:lnTo>
                    <a:pt x="1359" y="3103"/>
                  </a:lnTo>
                  <a:lnTo>
                    <a:pt x="1362" y="3094"/>
                  </a:lnTo>
                  <a:lnTo>
                    <a:pt x="1364" y="3084"/>
                  </a:lnTo>
                  <a:lnTo>
                    <a:pt x="1365" y="3074"/>
                  </a:lnTo>
                  <a:lnTo>
                    <a:pt x="1365" y="3064"/>
                  </a:lnTo>
                  <a:lnTo>
                    <a:pt x="1365" y="2539"/>
                  </a:lnTo>
                  <a:lnTo>
                    <a:pt x="1365" y="2014"/>
                  </a:lnTo>
                  <a:lnTo>
                    <a:pt x="1738" y="2542"/>
                  </a:lnTo>
                  <a:lnTo>
                    <a:pt x="2111" y="3070"/>
                  </a:lnTo>
                  <a:lnTo>
                    <a:pt x="2119" y="3080"/>
                  </a:lnTo>
                  <a:lnTo>
                    <a:pt x="2126" y="3090"/>
                  </a:lnTo>
                  <a:lnTo>
                    <a:pt x="2134" y="3099"/>
                  </a:lnTo>
                  <a:lnTo>
                    <a:pt x="2142" y="3108"/>
                  </a:lnTo>
                  <a:lnTo>
                    <a:pt x="2151" y="3115"/>
                  </a:lnTo>
                  <a:lnTo>
                    <a:pt x="2160" y="3123"/>
                  </a:lnTo>
                  <a:lnTo>
                    <a:pt x="2168" y="3130"/>
                  </a:lnTo>
                  <a:lnTo>
                    <a:pt x="2178" y="3136"/>
                  </a:lnTo>
                  <a:lnTo>
                    <a:pt x="2188" y="3142"/>
                  </a:lnTo>
                  <a:lnTo>
                    <a:pt x="2198" y="3146"/>
                  </a:lnTo>
                  <a:lnTo>
                    <a:pt x="2209" y="3151"/>
                  </a:lnTo>
                  <a:lnTo>
                    <a:pt x="2222" y="3154"/>
                  </a:lnTo>
                  <a:lnTo>
                    <a:pt x="2234" y="3156"/>
                  </a:lnTo>
                  <a:lnTo>
                    <a:pt x="2246" y="3158"/>
                  </a:lnTo>
                  <a:lnTo>
                    <a:pt x="2260" y="3160"/>
                  </a:lnTo>
                  <a:lnTo>
                    <a:pt x="2275" y="3160"/>
                  </a:lnTo>
                  <a:lnTo>
                    <a:pt x="2924" y="3160"/>
                  </a:lnTo>
                  <a:close/>
                  <a:moveTo>
                    <a:pt x="0" y="3899"/>
                  </a:moveTo>
                  <a:lnTo>
                    <a:pt x="1" y="3909"/>
                  </a:lnTo>
                  <a:lnTo>
                    <a:pt x="2" y="3919"/>
                  </a:lnTo>
                  <a:lnTo>
                    <a:pt x="4" y="3929"/>
                  </a:lnTo>
                  <a:lnTo>
                    <a:pt x="8" y="3938"/>
                  </a:lnTo>
                  <a:lnTo>
                    <a:pt x="11" y="3947"/>
                  </a:lnTo>
                  <a:lnTo>
                    <a:pt x="16" y="3955"/>
                  </a:lnTo>
                  <a:lnTo>
                    <a:pt x="21" y="3961"/>
                  </a:lnTo>
                  <a:lnTo>
                    <a:pt x="27" y="3968"/>
                  </a:lnTo>
                  <a:lnTo>
                    <a:pt x="33" y="3975"/>
                  </a:lnTo>
                  <a:lnTo>
                    <a:pt x="41" y="3980"/>
                  </a:lnTo>
                  <a:lnTo>
                    <a:pt x="49" y="3985"/>
                  </a:lnTo>
                  <a:lnTo>
                    <a:pt x="58" y="3988"/>
                  </a:lnTo>
                  <a:lnTo>
                    <a:pt x="66" y="3991"/>
                  </a:lnTo>
                  <a:lnTo>
                    <a:pt x="75" y="3993"/>
                  </a:lnTo>
                  <a:lnTo>
                    <a:pt x="85" y="3995"/>
                  </a:lnTo>
                  <a:lnTo>
                    <a:pt x="96" y="3996"/>
                  </a:lnTo>
                  <a:lnTo>
                    <a:pt x="942" y="3996"/>
                  </a:lnTo>
                  <a:lnTo>
                    <a:pt x="1789" y="3996"/>
                  </a:lnTo>
                  <a:lnTo>
                    <a:pt x="2635" y="3996"/>
                  </a:lnTo>
                  <a:lnTo>
                    <a:pt x="3482" y="3996"/>
                  </a:lnTo>
                  <a:lnTo>
                    <a:pt x="3493" y="3995"/>
                  </a:lnTo>
                  <a:lnTo>
                    <a:pt x="3503" y="3993"/>
                  </a:lnTo>
                  <a:lnTo>
                    <a:pt x="3512" y="3991"/>
                  </a:lnTo>
                  <a:lnTo>
                    <a:pt x="3521" y="3988"/>
                  </a:lnTo>
                  <a:lnTo>
                    <a:pt x="3529" y="3985"/>
                  </a:lnTo>
                  <a:lnTo>
                    <a:pt x="3537" y="3980"/>
                  </a:lnTo>
                  <a:lnTo>
                    <a:pt x="3545" y="3975"/>
                  </a:lnTo>
                  <a:lnTo>
                    <a:pt x="3552" y="3968"/>
                  </a:lnTo>
                  <a:lnTo>
                    <a:pt x="3557" y="3961"/>
                  </a:lnTo>
                  <a:lnTo>
                    <a:pt x="3563" y="3955"/>
                  </a:lnTo>
                  <a:lnTo>
                    <a:pt x="3567" y="3947"/>
                  </a:lnTo>
                  <a:lnTo>
                    <a:pt x="3572" y="3938"/>
                  </a:lnTo>
                  <a:lnTo>
                    <a:pt x="3574" y="3929"/>
                  </a:lnTo>
                  <a:lnTo>
                    <a:pt x="3576" y="3919"/>
                  </a:lnTo>
                  <a:lnTo>
                    <a:pt x="3577" y="3909"/>
                  </a:lnTo>
                  <a:lnTo>
                    <a:pt x="3578" y="3899"/>
                  </a:lnTo>
                  <a:lnTo>
                    <a:pt x="3578" y="3634"/>
                  </a:lnTo>
                  <a:lnTo>
                    <a:pt x="3577" y="3624"/>
                  </a:lnTo>
                  <a:lnTo>
                    <a:pt x="3576" y="3614"/>
                  </a:lnTo>
                  <a:lnTo>
                    <a:pt x="3574" y="3605"/>
                  </a:lnTo>
                  <a:lnTo>
                    <a:pt x="3572" y="3595"/>
                  </a:lnTo>
                  <a:lnTo>
                    <a:pt x="3567" y="3587"/>
                  </a:lnTo>
                  <a:lnTo>
                    <a:pt x="3563" y="3579"/>
                  </a:lnTo>
                  <a:lnTo>
                    <a:pt x="3557" y="3572"/>
                  </a:lnTo>
                  <a:lnTo>
                    <a:pt x="3552" y="3565"/>
                  </a:lnTo>
                  <a:lnTo>
                    <a:pt x="3545" y="3559"/>
                  </a:lnTo>
                  <a:lnTo>
                    <a:pt x="3537" y="3554"/>
                  </a:lnTo>
                  <a:lnTo>
                    <a:pt x="3529" y="3549"/>
                  </a:lnTo>
                  <a:lnTo>
                    <a:pt x="3521" y="3545"/>
                  </a:lnTo>
                  <a:lnTo>
                    <a:pt x="3512" y="3542"/>
                  </a:lnTo>
                  <a:lnTo>
                    <a:pt x="3503" y="3539"/>
                  </a:lnTo>
                  <a:lnTo>
                    <a:pt x="3493" y="3538"/>
                  </a:lnTo>
                  <a:lnTo>
                    <a:pt x="3482" y="3538"/>
                  </a:lnTo>
                  <a:lnTo>
                    <a:pt x="2635" y="3538"/>
                  </a:lnTo>
                  <a:lnTo>
                    <a:pt x="1789" y="3538"/>
                  </a:lnTo>
                  <a:lnTo>
                    <a:pt x="942" y="3538"/>
                  </a:lnTo>
                  <a:lnTo>
                    <a:pt x="96" y="3538"/>
                  </a:lnTo>
                  <a:lnTo>
                    <a:pt x="85" y="3538"/>
                  </a:lnTo>
                  <a:lnTo>
                    <a:pt x="75" y="3539"/>
                  </a:lnTo>
                  <a:lnTo>
                    <a:pt x="66" y="3542"/>
                  </a:lnTo>
                  <a:lnTo>
                    <a:pt x="58" y="3545"/>
                  </a:lnTo>
                  <a:lnTo>
                    <a:pt x="49" y="3549"/>
                  </a:lnTo>
                  <a:lnTo>
                    <a:pt x="41" y="3554"/>
                  </a:lnTo>
                  <a:lnTo>
                    <a:pt x="33" y="3559"/>
                  </a:lnTo>
                  <a:lnTo>
                    <a:pt x="27" y="3565"/>
                  </a:lnTo>
                  <a:lnTo>
                    <a:pt x="21" y="3572"/>
                  </a:lnTo>
                  <a:lnTo>
                    <a:pt x="16" y="3579"/>
                  </a:lnTo>
                  <a:lnTo>
                    <a:pt x="11" y="3587"/>
                  </a:lnTo>
                  <a:lnTo>
                    <a:pt x="8" y="3595"/>
                  </a:lnTo>
                  <a:lnTo>
                    <a:pt x="4" y="3605"/>
                  </a:lnTo>
                  <a:lnTo>
                    <a:pt x="2" y="3614"/>
                  </a:lnTo>
                  <a:lnTo>
                    <a:pt x="1" y="3624"/>
                  </a:lnTo>
                  <a:lnTo>
                    <a:pt x="0" y="3634"/>
                  </a:lnTo>
                  <a:lnTo>
                    <a:pt x="0" y="3899"/>
                  </a:lnTo>
                  <a:close/>
                  <a:moveTo>
                    <a:pt x="0" y="361"/>
                  </a:moveTo>
                  <a:lnTo>
                    <a:pt x="1" y="371"/>
                  </a:lnTo>
                  <a:lnTo>
                    <a:pt x="2" y="381"/>
                  </a:lnTo>
                  <a:lnTo>
                    <a:pt x="4" y="391"/>
                  </a:lnTo>
                  <a:lnTo>
                    <a:pt x="8" y="400"/>
                  </a:lnTo>
                  <a:lnTo>
                    <a:pt x="11" y="409"/>
                  </a:lnTo>
                  <a:lnTo>
                    <a:pt x="16" y="416"/>
                  </a:lnTo>
                  <a:lnTo>
                    <a:pt x="21" y="423"/>
                  </a:lnTo>
                  <a:lnTo>
                    <a:pt x="27" y="430"/>
                  </a:lnTo>
                  <a:lnTo>
                    <a:pt x="33" y="436"/>
                  </a:lnTo>
                  <a:lnTo>
                    <a:pt x="41" y="441"/>
                  </a:lnTo>
                  <a:lnTo>
                    <a:pt x="49" y="446"/>
                  </a:lnTo>
                  <a:lnTo>
                    <a:pt x="58" y="450"/>
                  </a:lnTo>
                  <a:lnTo>
                    <a:pt x="66" y="453"/>
                  </a:lnTo>
                  <a:lnTo>
                    <a:pt x="75" y="455"/>
                  </a:lnTo>
                  <a:lnTo>
                    <a:pt x="85" y="456"/>
                  </a:lnTo>
                  <a:lnTo>
                    <a:pt x="96" y="456"/>
                  </a:lnTo>
                  <a:lnTo>
                    <a:pt x="942" y="456"/>
                  </a:lnTo>
                  <a:lnTo>
                    <a:pt x="1789" y="456"/>
                  </a:lnTo>
                  <a:lnTo>
                    <a:pt x="2635" y="456"/>
                  </a:lnTo>
                  <a:lnTo>
                    <a:pt x="3482" y="456"/>
                  </a:lnTo>
                  <a:lnTo>
                    <a:pt x="3493" y="456"/>
                  </a:lnTo>
                  <a:lnTo>
                    <a:pt x="3503" y="455"/>
                  </a:lnTo>
                  <a:lnTo>
                    <a:pt x="3512" y="453"/>
                  </a:lnTo>
                  <a:lnTo>
                    <a:pt x="3521" y="450"/>
                  </a:lnTo>
                  <a:lnTo>
                    <a:pt x="3529" y="446"/>
                  </a:lnTo>
                  <a:lnTo>
                    <a:pt x="3537" y="441"/>
                  </a:lnTo>
                  <a:lnTo>
                    <a:pt x="3545" y="436"/>
                  </a:lnTo>
                  <a:lnTo>
                    <a:pt x="3552" y="430"/>
                  </a:lnTo>
                  <a:lnTo>
                    <a:pt x="3557" y="423"/>
                  </a:lnTo>
                  <a:lnTo>
                    <a:pt x="3563" y="416"/>
                  </a:lnTo>
                  <a:lnTo>
                    <a:pt x="3567" y="409"/>
                  </a:lnTo>
                  <a:lnTo>
                    <a:pt x="3572" y="400"/>
                  </a:lnTo>
                  <a:lnTo>
                    <a:pt x="3574" y="391"/>
                  </a:lnTo>
                  <a:lnTo>
                    <a:pt x="3576" y="381"/>
                  </a:lnTo>
                  <a:lnTo>
                    <a:pt x="3577" y="371"/>
                  </a:lnTo>
                  <a:lnTo>
                    <a:pt x="3578" y="361"/>
                  </a:lnTo>
                  <a:lnTo>
                    <a:pt x="3578" y="95"/>
                  </a:lnTo>
                  <a:lnTo>
                    <a:pt x="3577" y="85"/>
                  </a:lnTo>
                  <a:lnTo>
                    <a:pt x="3576" y="75"/>
                  </a:lnTo>
                  <a:lnTo>
                    <a:pt x="3574" y="65"/>
                  </a:lnTo>
                  <a:lnTo>
                    <a:pt x="3572" y="57"/>
                  </a:lnTo>
                  <a:lnTo>
                    <a:pt x="3567" y="49"/>
                  </a:lnTo>
                  <a:lnTo>
                    <a:pt x="3563" y="41"/>
                  </a:lnTo>
                  <a:lnTo>
                    <a:pt x="3557" y="33"/>
                  </a:lnTo>
                  <a:lnTo>
                    <a:pt x="3552" y="27"/>
                  </a:lnTo>
                  <a:lnTo>
                    <a:pt x="3545" y="20"/>
                  </a:lnTo>
                  <a:lnTo>
                    <a:pt x="3537" y="16"/>
                  </a:lnTo>
                  <a:lnTo>
                    <a:pt x="3529" y="11"/>
                  </a:lnTo>
                  <a:lnTo>
                    <a:pt x="3521" y="7"/>
                  </a:lnTo>
                  <a:lnTo>
                    <a:pt x="3512" y="3"/>
                  </a:lnTo>
                  <a:lnTo>
                    <a:pt x="3503" y="1"/>
                  </a:lnTo>
                  <a:lnTo>
                    <a:pt x="3493" y="0"/>
                  </a:lnTo>
                  <a:lnTo>
                    <a:pt x="3482" y="0"/>
                  </a:lnTo>
                  <a:lnTo>
                    <a:pt x="2635" y="0"/>
                  </a:lnTo>
                  <a:lnTo>
                    <a:pt x="1789" y="0"/>
                  </a:lnTo>
                  <a:lnTo>
                    <a:pt x="942" y="0"/>
                  </a:lnTo>
                  <a:lnTo>
                    <a:pt x="96" y="0"/>
                  </a:lnTo>
                  <a:lnTo>
                    <a:pt x="85" y="0"/>
                  </a:lnTo>
                  <a:lnTo>
                    <a:pt x="75" y="1"/>
                  </a:lnTo>
                  <a:lnTo>
                    <a:pt x="66" y="3"/>
                  </a:lnTo>
                  <a:lnTo>
                    <a:pt x="58" y="7"/>
                  </a:lnTo>
                  <a:lnTo>
                    <a:pt x="49" y="11"/>
                  </a:lnTo>
                  <a:lnTo>
                    <a:pt x="41" y="16"/>
                  </a:lnTo>
                  <a:lnTo>
                    <a:pt x="33" y="20"/>
                  </a:lnTo>
                  <a:lnTo>
                    <a:pt x="27" y="27"/>
                  </a:lnTo>
                  <a:lnTo>
                    <a:pt x="21" y="33"/>
                  </a:lnTo>
                  <a:lnTo>
                    <a:pt x="16" y="41"/>
                  </a:lnTo>
                  <a:lnTo>
                    <a:pt x="11" y="49"/>
                  </a:lnTo>
                  <a:lnTo>
                    <a:pt x="8" y="57"/>
                  </a:lnTo>
                  <a:lnTo>
                    <a:pt x="4" y="65"/>
                  </a:lnTo>
                  <a:lnTo>
                    <a:pt x="2" y="75"/>
                  </a:lnTo>
                  <a:lnTo>
                    <a:pt x="1" y="85"/>
                  </a:lnTo>
                  <a:lnTo>
                    <a:pt x="0" y="95"/>
                  </a:lnTo>
                  <a:lnTo>
                    <a:pt x="0" y="36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Skatta Sans Regular" pitchFamily="50" charset="0"/>
              </a:endParaRPr>
            </a:p>
          </p:txBody>
        </p:sp>
      </p:grpSp>
      <p:sp>
        <p:nvSpPr>
          <p:cNvPr id="9" name="Freeform 12">
            <a:extLst>
              <a:ext uri="{FF2B5EF4-FFF2-40B4-BE49-F238E27FC236}">
                <a16:creationId xmlns:a16="http://schemas.microsoft.com/office/drawing/2014/main" id="{5AC55F09-B4E4-441C-BC12-96351DA671CC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10488488" y="692696"/>
            <a:ext cx="1007493" cy="1124563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4491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Whi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9F5548C7-FC2B-4DC8-BD61-742550AAA163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RIA - RKL yrittäjäpäivä 1.11.202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reeform 12">
            <a:extLst>
              <a:ext uri="{FF2B5EF4-FFF2-40B4-BE49-F238E27FC236}">
                <a16:creationId xmlns:a16="http://schemas.microsoft.com/office/drawing/2014/main" id="{FD3B0C9F-AEDD-C4B5-1CD9-890AB177B89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511825" y="0"/>
            <a:ext cx="7680176" cy="3431498"/>
          </a:xfrm>
          <a:custGeom>
            <a:avLst/>
            <a:gdLst>
              <a:gd name="T0" fmla="*/ 1118 w 7030"/>
              <a:gd name="T1" fmla="*/ 1944 h 3141"/>
              <a:gd name="T2" fmla="*/ 1437 w 7030"/>
              <a:gd name="T3" fmla="*/ 1496 h 3141"/>
              <a:gd name="T4" fmla="*/ 1756 w 7030"/>
              <a:gd name="T5" fmla="*/ 1049 h 3141"/>
              <a:gd name="T6" fmla="*/ 1757 w 7030"/>
              <a:gd name="T7" fmla="*/ 1049 h 3141"/>
              <a:gd name="T8" fmla="*/ 2131 w 7030"/>
              <a:gd name="T9" fmla="*/ 1570 h 3141"/>
              <a:gd name="T10" fmla="*/ 2504 w 7030"/>
              <a:gd name="T11" fmla="*/ 2092 h 3141"/>
              <a:gd name="T12" fmla="*/ 2184 w 7030"/>
              <a:gd name="T13" fmla="*/ 2542 h 3141"/>
              <a:gd name="T14" fmla="*/ 1864 w 7030"/>
              <a:gd name="T15" fmla="*/ 2991 h 3141"/>
              <a:gd name="T16" fmla="*/ 1491 w 7030"/>
              <a:gd name="T17" fmla="*/ 2468 h 3141"/>
              <a:gd name="T18" fmla="*/ 1118 w 7030"/>
              <a:gd name="T19" fmla="*/ 1944 h 3141"/>
              <a:gd name="T20" fmla="*/ 1971 w 7030"/>
              <a:gd name="T21" fmla="*/ 1049 h 3141"/>
              <a:gd name="T22" fmla="*/ 2556 w 7030"/>
              <a:gd name="T23" fmla="*/ 1049 h 3141"/>
              <a:gd name="T24" fmla="*/ 2928 w 7030"/>
              <a:gd name="T25" fmla="*/ 1570 h 3141"/>
              <a:gd name="T26" fmla="*/ 3300 w 7030"/>
              <a:gd name="T27" fmla="*/ 2092 h 3141"/>
              <a:gd name="T28" fmla="*/ 2718 w 7030"/>
              <a:gd name="T29" fmla="*/ 2092 h 3141"/>
              <a:gd name="T30" fmla="*/ 2345 w 7030"/>
              <a:gd name="T31" fmla="*/ 1570 h 3141"/>
              <a:gd name="T32" fmla="*/ 1971 w 7030"/>
              <a:gd name="T33" fmla="*/ 1049 h 3141"/>
              <a:gd name="T34" fmla="*/ 2769 w 7030"/>
              <a:gd name="T35" fmla="*/ 1048 h 3141"/>
              <a:gd name="T36" fmla="*/ 3088 w 7030"/>
              <a:gd name="T37" fmla="*/ 598 h 3141"/>
              <a:gd name="T38" fmla="*/ 3408 w 7030"/>
              <a:gd name="T39" fmla="*/ 150 h 3141"/>
              <a:gd name="T40" fmla="*/ 3781 w 7030"/>
              <a:gd name="T41" fmla="*/ 672 h 3141"/>
              <a:gd name="T42" fmla="*/ 4154 w 7030"/>
              <a:gd name="T43" fmla="*/ 1196 h 3141"/>
              <a:gd name="T44" fmla="*/ 3835 w 7030"/>
              <a:gd name="T45" fmla="*/ 1644 h 3141"/>
              <a:gd name="T46" fmla="*/ 3516 w 7030"/>
              <a:gd name="T47" fmla="*/ 2092 h 3141"/>
              <a:gd name="T48" fmla="*/ 3142 w 7030"/>
              <a:gd name="T49" fmla="*/ 1570 h 3141"/>
              <a:gd name="T50" fmla="*/ 2769 w 7030"/>
              <a:gd name="T51" fmla="*/ 1048 h 3141"/>
              <a:gd name="T52" fmla="*/ 6017 w 7030"/>
              <a:gd name="T53" fmla="*/ 0 h 3141"/>
              <a:gd name="T54" fmla="*/ 5645 w 7030"/>
              <a:gd name="T55" fmla="*/ 522 h 3141"/>
              <a:gd name="T56" fmla="*/ 5274 w 7030"/>
              <a:gd name="T57" fmla="*/ 1045 h 3141"/>
              <a:gd name="T58" fmla="*/ 4767 w 7030"/>
              <a:gd name="T59" fmla="*/ 1045 h 3141"/>
              <a:gd name="T60" fmla="*/ 4261 w 7030"/>
              <a:gd name="T61" fmla="*/ 1045 h 3141"/>
              <a:gd name="T62" fmla="*/ 3889 w 7030"/>
              <a:gd name="T63" fmla="*/ 522 h 3141"/>
              <a:gd name="T64" fmla="*/ 3517 w 7030"/>
              <a:gd name="T65" fmla="*/ 0 h 3141"/>
              <a:gd name="T66" fmla="*/ 3009 w 7030"/>
              <a:gd name="T67" fmla="*/ 0 h 3141"/>
              <a:gd name="T68" fmla="*/ 2503 w 7030"/>
              <a:gd name="T69" fmla="*/ 0 h 3141"/>
              <a:gd name="T70" fmla="*/ 2131 w 7030"/>
              <a:gd name="T71" fmla="*/ 522 h 3141"/>
              <a:gd name="T72" fmla="*/ 1759 w 7030"/>
              <a:gd name="T73" fmla="*/ 1045 h 3141"/>
              <a:gd name="T74" fmla="*/ 1253 w 7030"/>
              <a:gd name="T75" fmla="*/ 1045 h 3141"/>
              <a:gd name="T76" fmla="*/ 747 w 7030"/>
              <a:gd name="T77" fmla="*/ 1045 h 3141"/>
              <a:gd name="T78" fmla="*/ 373 w 7030"/>
              <a:gd name="T79" fmla="*/ 1569 h 3141"/>
              <a:gd name="T80" fmla="*/ 0 w 7030"/>
              <a:gd name="T81" fmla="*/ 2093 h 3141"/>
              <a:gd name="T82" fmla="*/ 504 w 7030"/>
              <a:gd name="T83" fmla="*/ 2093 h 3141"/>
              <a:gd name="T84" fmla="*/ 1010 w 7030"/>
              <a:gd name="T85" fmla="*/ 2093 h 3141"/>
              <a:gd name="T86" fmla="*/ 1383 w 7030"/>
              <a:gd name="T87" fmla="*/ 2617 h 3141"/>
              <a:gd name="T88" fmla="*/ 1756 w 7030"/>
              <a:gd name="T89" fmla="*/ 3141 h 3141"/>
              <a:gd name="T90" fmla="*/ 1757 w 7030"/>
              <a:gd name="T91" fmla="*/ 3141 h 3141"/>
              <a:gd name="T92" fmla="*/ 1971 w 7030"/>
              <a:gd name="T93" fmla="*/ 3141 h 3141"/>
              <a:gd name="T94" fmla="*/ 2770 w 7030"/>
              <a:gd name="T95" fmla="*/ 3141 h 3141"/>
              <a:gd name="T96" fmla="*/ 3143 w 7030"/>
              <a:gd name="T97" fmla="*/ 2617 h 3141"/>
              <a:gd name="T98" fmla="*/ 3517 w 7030"/>
              <a:gd name="T99" fmla="*/ 2093 h 3141"/>
              <a:gd name="T100" fmla="*/ 4022 w 7030"/>
              <a:gd name="T101" fmla="*/ 2093 h 3141"/>
              <a:gd name="T102" fmla="*/ 4527 w 7030"/>
              <a:gd name="T103" fmla="*/ 2093 h 3141"/>
              <a:gd name="T104" fmla="*/ 4898 w 7030"/>
              <a:gd name="T105" fmla="*/ 1571 h 3141"/>
              <a:gd name="T106" fmla="*/ 5271 w 7030"/>
              <a:gd name="T107" fmla="*/ 1049 h 3141"/>
              <a:gd name="T108" fmla="*/ 5777 w 7030"/>
              <a:gd name="T109" fmla="*/ 1049 h 3141"/>
              <a:gd name="T110" fmla="*/ 6283 w 7030"/>
              <a:gd name="T111" fmla="*/ 1049 h 3141"/>
              <a:gd name="T112" fmla="*/ 6657 w 7030"/>
              <a:gd name="T113" fmla="*/ 524 h 3141"/>
              <a:gd name="T114" fmla="*/ 7030 w 7030"/>
              <a:gd name="T115" fmla="*/ 0 h 3141"/>
              <a:gd name="T116" fmla="*/ 6524 w 7030"/>
              <a:gd name="T117" fmla="*/ 0 h 3141"/>
              <a:gd name="T118" fmla="*/ 6017 w 7030"/>
              <a:gd name="T119" fmla="*/ 0 h 3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030" h="3141">
                <a:moveTo>
                  <a:pt x="1118" y="1944"/>
                </a:moveTo>
                <a:lnTo>
                  <a:pt x="1437" y="1496"/>
                </a:lnTo>
                <a:lnTo>
                  <a:pt x="1756" y="1049"/>
                </a:lnTo>
                <a:lnTo>
                  <a:pt x="1757" y="1049"/>
                </a:lnTo>
                <a:lnTo>
                  <a:pt x="2131" y="1570"/>
                </a:lnTo>
                <a:lnTo>
                  <a:pt x="2504" y="2092"/>
                </a:lnTo>
                <a:lnTo>
                  <a:pt x="2184" y="2542"/>
                </a:lnTo>
                <a:lnTo>
                  <a:pt x="1864" y="2991"/>
                </a:lnTo>
                <a:lnTo>
                  <a:pt x="1491" y="2468"/>
                </a:lnTo>
                <a:lnTo>
                  <a:pt x="1118" y="1944"/>
                </a:lnTo>
                <a:close/>
                <a:moveTo>
                  <a:pt x="1971" y="1049"/>
                </a:moveTo>
                <a:lnTo>
                  <a:pt x="2556" y="1049"/>
                </a:lnTo>
                <a:lnTo>
                  <a:pt x="2928" y="1570"/>
                </a:lnTo>
                <a:lnTo>
                  <a:pt x="3300" y="2092"/>
                </a:lnTo>
                <a:lnTo>
                  <a:pt x="2718" y="2092"/>
                </a:lnTo>
                <a:lnTo>
                  <a:pt x="2345" y="1570"/>
                </a:lnTo>
                <a:lnTo>
                  <a:pt x="1971" y="1049"/>
                </a:lnTo>
                <a:close/>
                <a:moveTo>
                  <a:pt x="2769" y="1048"/>
                </a:moveTo>
                <a:lnTo>
                  <a:pt x="3088" y="598"/>
                </a:lnTo>
                <a:lnTo>
                  <a:pt x="3408" y="150"/>
                </a:lnTo>
                <a:lnTo>
                  <a:pt x="3781" y="672"/>
                </a:lnTo>
                <a:lnTo>
                  <a:pt x="4154" y="1196"/>
                </a:lnTo>
                <a:lnTo>
                  <a:pt x="3835" y="1644"/>
                </a:lnTo>
                <a:lnTo>
                  <a:pt x="3516" y="2092"/>
                </a:lnTo>
                <a:lnTo>
                  <a:pt x="3142" y="1570"/>
                </a:lnTo>
                <a:lnTo>
                  <a:pt x="2769" y="1048"/>
                </a:lnTo>
                <a:close/>
                <a:moveTo>
                  <a:pt x="6017" y="0"/>
                </a:moveTo>
                <a:lnTo>
                  <a:pt x="5645" y="522"/>
                </a:lnTo>
                <a:lnTo>
                  <a:pt x="5274" y="1045"/>
                </a:lnTo>
                <a:lnTo>
                  <a:pt x="4767" y="1045"/>
                </a:lnTo>
                <a:lnTo>
                  <a:pt x="4261" y="1045"/>
                </a:lnTo>
                <a:lnTo>
                  <a:pt x="3889" y="522"/>
                </a:lnTo>
                <a:lnTo>
                  <a:pt x="3517" y="0"/>
                </a:lnTo>
                <a:lnTo>
                  <a:pt x="3009" y="0"/>
                </a:lnTo>
                <a:lnTo>
                  <a:pt x="2503" y="0"/>
                </a:lnTo>
                <a:lnTo>
                  <a:pt x="2131" y="522"/>
                </a:lnTo>
                <a:lnTo>
                  <a:pt x="1759" y="1045"/>
                </a:lnTo>
                <a:lnTo>
                  <a:pt x="1253" y="1045"/>
                </a:lnTo>
                <a:lnTo>
                  <a:pt x="747" y="1045"/>
                </a:lnTo>
                <a:lnTo>
                  <a:pt x="373" y="1569"/>
                </a:lnTo>
                <a:lnTo>
                  <a:pt x="0" y="2093"/>
                </a:lnTo>
                <a:lnTo>
                  <a:pt x="504" y="2093"/>
                </a:lnTo>
                <a:lnTo>
                  <a:pt x="1010" y="2093"/>
                </a:lnTo>
                <a:lnTo>
                  <a:pt x="1383" y="2617"/>
                </a:lnTo>
                <a:lnTo>
                  <a:pt x="1756" y="3141"/>
                </a:lnTo>
                <a:lnTo>
                  <a:pt x="1757" y="3141"/>
                </a:lnTo>
                <a:lnTo>
                  <a:pt x="1971" y="3141"/>
                </a:lnTo>
                <a:lnTo>
                  <a:pt x="2770" y="3141"/>
                </a:lnTo>
                <a:lnTo>
                  <a:pt x="3143" y="2617"/>
                </a:lnTo>
                <a:lnTo>
                  <a:pt x="3517" y="2093"/>
                </a:lnTo>
                <a:lnTo>
                  <a:pt x="4022" y="2093"/>
                </a:lnTo>
                <a:lnTo>
                  <a:pt x="4527" y="2093"/>
                </a:lnTo>
                <a:lnTo>
                  <a:pt x="4898" y="1571"/>
                </a:lnTo>
                <a:lnTo>
                  <a:pt x="5271" y="1049"/>
                </a:lnTo>
                <a:lnTo>
                  <a:pt x="5777" y="1049"/>
                </a:lnTo>
                <a:lnTo>
                  <a:pt x="6283" y="1049"/>
                </a:lnTo>
                <a:lnTo>
                  <a:pt x="6657" y="524"/>
                </a:lnTo>
                <a:lnTo>
                  <a:pt x="7030" y="0"/>
                </a:lnTo>
                <a:lnTo>
                  <a:pt x="6524" y="0"/>
                </a:lnTo>
                <a:lnTo>
                  <a:pt x="6017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5644471-4EF4-7102-424C-03A544F5AAA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83430" y="3429000"/>
            <a:ext cx="4057773" cy="576000"/>
            <a:chOff x="-649288" y="2474913"/>
            <a:chExt cx="13498513" cy="1916112"/>
          </a:xfrm>
        </p:grpSpPr>
        <p:sp>
          <p:nvSpPr>
            <p:cNvPr id="11" name="Freeform 14">
              <a:extLst>
                <a:ext uri="{FF2B5EF4-FFF2-40B4-BE49-F238E27FC236}">
                  <a16:creationId xmlns:a16="http://schemas.microsoft.com/office/drawing/2014/main" id="{CC2B5684-2D7A-A1AA-B905-5822C6DAD6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15">
              <a:extLst>
                <a:ext uri="{FF2B5EF4-FFF2-40B4-BE49-F238E27FC236}">
                  <a16:creationId xmlns:a16="http://schemas.microsoft.com/office/drawing/2014/main" id="{4340188D-3BEC-AFBB-0276-2185504EBB0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502760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2663" y="1844675"/>
            <a:ext cx="4897437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11900" y="1844675"/>
            <a:ext cx="4897438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5C3830-FD1C-46E3-8106-B8F59629E7BA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9102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lhuet Bei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F4F0165-5EDC-4C64-94B7-4CED8FF6DF0D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RIA - RKL yrittäjäpäivä 1.11.202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reeform 12">
            <a:extLst>
              <a:ext uri="{FF2B5EF4-FFF2-40B4-BE49-F238E27FC236}">
                <a16:creationId xmlns:a16="http://schemas.microsoft.com/office/drawing/2014/main" id="{72548FE2-778E-4DFB-A71A-58296812B773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10488488" y="692696"/>
            <a:ext cx="1007493" cy="1124563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7946855-F0F5-4EE8-AF71-94DDEE0D089F}"/>
              </a:ext>
            </a:extLst>
          </p:cNvPr>
          <p:cNvGrpSpPr/>
          <p:nvPr userDrawn="1"/>
        </p:nvGrpSpPr>
        <p:grpSpPr>
          <a:xfrm>
            <a:off x="0" y="4077072"/>
            <a:ext cx="9874285" cy="1872000"/>
            <a:chOff x="0" y="4077072"/>
            <a:chExt cx="9874285" cy="1872000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1DC6FC56-D6F1-41FA-81BE-FAB57953F580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0" y="4077072"/>
              <a:ext cx="9874285" cy="1872000"/>
            </a:xfrm>
            <a:custGeom>
              <a:avLst/>
              <a:gdLst>
                <a:gd name="T0" fmla="*/ 10894 w 23040"/>
                <a:gd name="T1" fmla="*/ 3037 h 4369"/>
                <a:gd name="T2" fmla="*/ 10931 w 23040"/>
                <a:gd name="T3" fmla="*/ 2661 h 4369"/>
                <a:gd name="T4" fmla="*/ 13479 w 23040"/>
                <a:gd name="T5" fmla="*/ 2241 h 4369"/>
                <a:gd name="T6" fmla="*/ 12981 w 23040"/>
                <a:gd name="T7" fmla="*/ 1865 h 4369"/>
                <a:gd name="T8" fmla="*/ 13222 w 23040"/>
                <a:gd name="T9" fmla="*/ 1543 h 4369"/>
                <a:gd name="T10" fmla="*/ 13525 w 23040"/>
                <a:gd name="T11" fmla="*/ 3907 h 4369"/>
                <a:gd name="T12" fmla="*/ 12729 w 23040"/>
                <a:gd name="T13" fmla="*/ 3813 h 4369"/>
                <a:gd name="T14" fmla="*/ 10912 w 23040"/>
                <a:gd name="T15" fmla="*/ 2402 h 4369"/>
                <a:gd name="T16" fmla="*/ 16652 w 23040"/>
                <a:gd name="T17" fmla="*/ 970 h 4369"/>
                <a:gd name="T18" fmla="*/ 16232 w 23040"/>
                <a:gd name="T19" fmla="*/ 332 h 4369"/>
                <a:gd name="T20" fmla="*/ 15103 w 23040"/>
                <a:gd name="T21" fmla="*/ 2262 h 4369"/>
                <a:gd name="T22" fmla="*/ 12814 w 23040"/>
                <a:gd name="T23" fmla="*/ 2991 h 4369"/>
                <a:gd name="T24" fmla="*/ 11678 w 23040"/>
                <a:gd name="T25" fmla="*/ 3172 h 4369"/>
                <a:gd name="T26" fmla="*/ 12355 w 23040"/>
                <a:gd name="T27" fmla="*/ 2838 h 4369"/>
                <a:gd name="T28" fmla="*/ 12184 w 23040"/>
                <a:gd name="T29" fmla="*/ 4304 h 4369"/>
                <a:gd name="T30" fmla="*/ 11739 w 23040"/>
                <a:gd name="T31" fmla="*/ 2627 h 4369"/>
                <a:gd name="T32" fmla="*/ 11666 w 23040"/>
                <a:gd name="T33" fmla="*/ 2291 h 4369"/>
                <a:gd name="T34" fmla="*/ 11184 w 23040"/>
                <a:gd name="T35" fmla="*/ 3107 h 4369"/>
                <a:gd name="T36" fmla="*/ 11469 w 23040"/>
                <a:gd name="T37" fmla="*/ 1044 h 4369"/>
                <a:gd name="T38" fmla="*/ 13150 w 23040"/>
                <a:gd name="T39" fmla="*/ 754 h 4369"/>
                <a:gd name="T40" fmla="*/ 16863 w 23040"/>
                <a:gd name="T41" fmla="*/ 4331 h 4369"/>
                <a:gd name="T42" fmla="*/ 14362 w 23040"/>
                <a:gd name="T43" fmla="*/ 3771 h 4369"/>
                <a:gd name="T44" fmla="*/ 14362 w 23040"/>
                <a:gd name="T45" fmla="*/ 3373 h 4369"/>
                <a:gd name="T46" fmla="*/ 14105 w 23040"/>
                <a:gd name="T47" fmla="*/ 3277 h 4369"/>
                <a:gd name="T48" fmla="*/ 14091 w 23040"/>
                <a:gd name="T49" fmla="*/ 2881 h 4369"/>
                <a:gd name="T50" fmla="*/ 20731 w 23040"/>
                <a:gd name="T51" fmla="*/ 4008 h 4369"/>
                <a:gd name="T52" fmla="*/ 19002 w 23040"/>
                <a:gd name="T53" fmla="*/ 3795 h 4369"/>
                <a:gd name="T54" fmla="*/ 19052 w 23040"/>
                <a:gd name="T55" fmla="*/ 3549 h 4369"/>
                <a:gd name="T56" fmla="*/ 19727 w 23040"/>
                <a:gd name="T57" fmla="*/ 3547 h 4369"/>
                <a:gd name="T58" fmla="*/ 21772 w 23040"/>
                <a:gd name="T59" fmla="*/ 1759 h 4369"/>
                <a:gd name="T60" fmla="*/ 20169 w 23040"/>
                <a:gd name="T61" fmla="*/ 1874 h 4369"/>
                <a:gd name="T62" fmla="*/ 18388 w 23040"/>
                <a:gd name="T63" fmla="*/ 2546 h 4369"/>
                <a:gd name="T64" fmla="*/ 19509 w 23040"/>
                <a:gd name="T65" fmla="*/ 3625 h 4369"/>
                <a:gd name="T66" fmla="*/ 18969 w 23040"/>
                <a:gd name="T67" fmla="*/ 3381 h 4369"/>
                <a:gd name="T68" fmla="*/ 2798 w 23040"/>
                <a:gd name="T69" fmla="*/ 3193 h 4369"/>
                <a:gd name="T70" fmla="*/ 440 w 23040"/>
                <a:gd name="T71" fmla="*/ 2751 h 4369"/>
                <a:gd name="T72" fmla="*/ 2868 w 23040"/>
                <a:gd name="T73" fmla="*/ 4141 h 4369"/>
                <a:gd name="T74" fmla="*/ 837 w 23040"/>
                <a:gd name="T75" fmla="*/ 3250 h 4369"/>
                <a:gd name="T76" fmla="*/ 823 w 23040"/>
                <a:gd name="T77" fmla="*/ 3336 h 4369"/>
                <a:gd name="T78" fmla="*/ 1107 w 23040"/>
                <a:gd name="T79" fmla="*/ 3717 h 4369"/>
                <a:gd name="T80" fmla="*/ 1080 w 23040"/>
                <a:gd name="T81" fmla="*/ 3810 h 4369"/>
                <a:gd name="T82" fmla="*/ 188 w 23040"/>
                <a:gd name="T83" fmla="*/ 1799 h 4369"/>
                <a:gd name="T84" fmla="*/ 2556 w 23040"/>
                <a:gd name="T85" fmla="*/ 2016 h 4369"/>
                <a:gd name="T86" fmla="*/ 2583 w 23040"/>
                <a:gd name="T87" fmla="*/ 2578 h 4369"/>
                <a:gd name="T88" fmla="*/ 8182 w 23040"/>
                <a:gd name="T89" fmla="*/ 2792 h 4369"/>
                <a:gd name="T90" fmla="*/ 9070 w 23040"/>
                <a:gd name="T91" fmla="*/ 2753 h 4369"/>
                <a:gd name="T92" fmla="*/ 6863 w 23040"/>
                <a:gd name="T93" fmla="*/ 2176 h 4369"/>
                <a:gd name="T94" fmla="*/ 6215 w 23040"/>
                <a:gd name="T95" fmla="*/ 2702 h 4369"/>
                <a:gd name="T96" fmla="*/ 7097 w 23040"/>
                <a:gd name="T97" fmla="*/ 2957 h 4369"/>
                <a:gd name="T98" fmla="*/ 6454 w 23040"/>
                <a:gd name="T99" fmla="*/ 3498 h 4369"/>
                <a:gd name="T100" fmla="*/ 6384 w 23040"/>
                <a:gd name="T101" fmla="*/ 4003 h 4369"/>
                <a:gd name="T102" fmla="*/ 8037 w 23040"/>
                <a:gd name="T103" fmla="*/ 2925 h 4369"/>
                <a:gd name="T104" fmla="*/ 8332 w 23040"/>
                <a:gd name="T105" fmla="*/ 3308 h 4369"/>
                <a:gd name="T106" fmla="*/ 8296 w 23040"/>
                <a:gd name="T107" fmla="*/ 3424 h 4369"/>
                <a:gd name="T108" fmla="*/ 8598 w 23040"/>
                <a:gd name="T109" fmla="*/ 3792 h 4369"/>
                <a:gd name="T110" fmla="*/ 5650 w 23040"/>
                <a:gd name="T111" fmla="*/ 1956 h 4369"/>
                <a:gd name="T112" fmla="*/ 8119 w 23040"/>
                <a:gd name="T113" fmla="*/ 245 h 4369"/>
                <a:gd name="T114" fmla="*/ 4680 w 23040"/>
                <a:gd name="T115" fmla="*/ 942 h 4369"/>
                <a:gd name="T116" fmla="*/ 5027 w 23040"/>
                <a:gd name="T117" fmla="*/ 2616 h 4369"/>
                <a:gd name="T118" fmla="*/ 4991 w 23040"/>
                <a:gd name="T119" fmla="*/ 2732 h 4369"/>
                <a:gd name="T120" fmla="*/ 5292 w 23040"/>
                <a:gd name="T121" fmla="*/ 3101 h 4369"/>
                <a:gd name="T122" fmla="*/ 5252 w 23040"/>
                <a:gd name="T123" fmla="*/ 3235 h 4369"/>
                <a:gd name="T124" fmla="*/ 3326 w 23040"/>
                <a:gd name="T125" fmla="*/ 3951 h 4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040" h="4369">
                  <a:moveTo>
                    <a:pt x="10933" y="3163"/>
                  </a:moveTo>
                  <a:lnTo>
                    <a:pt x="10933" y="3274"/>
                  </a:lnTo>
                  <a:lnTo>
                    <a:pt x="10931" y="3283"/>
                  </a:lnTo>
                  <a:lnTo>
                    <a:pt x="10926" y="3290"/>
                  </a:lnTo>
                  <a:lnTo>
                    <a:pt x="10920" y="3294"/>
                  </a:lnTo>
                  <a:lnTo>
                    <a:pt x="10912" y="3295"/>
                  </a:lnTo>
                  <a:lnTo>
                    <a:pt x="10906" y="3294"/>
                  </a:lnTo>
                  <a:lnTo>
                    <a:pt x="10899" y="3290"/>
                  </a:lnTo>
                  <a:lnTo>
                    <a:pt x="10894" y="3283"/>
                  </a:lnTo>
                  <a:lnTo>
                    <a:pt x="10893" y="3274"/>
                  </a:lnTo>
                  <a:lnTo>
                    <a:pt x="10893" y="3163"/>
                  </a:lnTo>
                  <a:lnTo>
                    <a:pt x="10894" y="3154"/>
                  </a:lnTo>
                  <a:lnTo>
                    <a:pt x="10899" y="3148"/>
                  </a:lnTo>
                  <a:lnTo>
                    <a:pt x="10906" y="3144"/>
                  </a:lnTo>
                  <a:lnTo>
                    <a:pt x="10912" y="3143"/>
                  </a:lnTo>
                  <a:lnTo>
                    <a:pt x="10920" y="3144"/>
                  </a:lnTo>
                  <a:lnTo>
                    <a:pt x="10926" y="3148"/>
                  </a:lnTo>
                  <a:lnTo>
                    <a:pt x="10931" y="3154"/>
                  </a:lnTo>
                  <a:lnTo>
                    <a:pt x="10933" y="3163"/>
                  </a:lnTo>
                  <a:close/>
                  <a:moveTo>
                    <a:pt x="10670" y="3163"/>
                  </a:moveTo>
                  <a:lnTo>
                    <a:pt x="10670" y="3274"/>
                  </a:lnTo>
                  <a:lnTo>
                    <a:pt x="10669" y="3283"/>
                  </a:lnTo>
                  <a:lnTo>
                    <a:pt x="10663" y="3290"/>
                  </a:lnTo>
                  <a:lnTo>
                    <a:pt x="10657" y="3294"/>
                  </a:lnTo>
                  <a:lnTo>
                    <a:pt x="10649" y="3295"/>
                  </a:lnTo>
                  <a:lnTo>
                    <a:pt x="10643" y="3294"/>
                  </a:lnTo>
                  <a:lnTo>
                    <a:pt x="10637" y="3290"/>
                  </a:lnTo>
                  <a:lnTo>
                    <a:pt x="10631" y="3283"/>
                  </a:lnTo>
                  <a:lnTo>
                    <a:pt x="10630" y="3274"/>
                  </a:lnTo>
                  <a:lnTo>
                    <a:pt x="10630" y="3163"/>
                  </a:lnTo>
                  <a:lnTo>
                    <a:pt x="10631" y="3154"/>
                  </a:lnTo>
                  <a:lnTo>
                    <a:pt x="10637" y="3148"/>
                  </a:lnTo>
                  <a:lnTo>
                    <a:pt x="10643" y="3144"/>
                  </a:lnTo>
                  <a:lnTo>
                    <a:pt x="10649" y="3143"/>
                  </a:lnTo>
                  <a:lnTo>
                    <a:pt x="10657" y="3144"/>
                  </a:lnTo>
                  <a:lnTo>
                    <a:pt x="10663" y="3148"/>
                  </a:lnTo>
                  <a:lnTo>
                    <a:pt x="10669" y="3154"/>
                  </a:lnTo>
                  <a:lnTo>
                    <a:pt x="10670" y="3163"/>
                  </a:lnTo>
                  <a:close/>
                  <a:moveTo>
                    <a:pt x="10407" y="3163"/>
                  </a:moveTo>
                  <a:lnTo>
                    <a:pt x="10407" y="3274"/>
                  </a:lnTo>
                  <a:lnTo>
                    <a:pt x="10404" y="3283"/>
                  </a:lnTo>
                  <a:lnTo>
                    <a:pt x="10401" y="3290"/>
                  </a:lnTo>
                  <a:lnTo>
                    <a:pt x="10394" y="3294"/>
                  </a:lnTo>
                  <a:lnTo>
                    <a:pt x="10386" y="3295"/>
                  </a:lnTo>
                  <a:lnTo>
                    <a:pt x="10379" y="3294"/>
                  </a:lnTo>
                  <a:lnTo>
                    <a:pt x="10372" y="3290"/>
                  </a:lnTo>
                  <a:lnTo>
                    <a:pt x="10369" y="3283"/>
                  </a:lnTo>
                  <a:lnTo>
                    <a:pt x="10366" y="3274"/>
                  </a:lnTo>
                  <a:lnTo>
                    <a:pt x="10366" y="3163"/>
                  </a:lnTo>
                  <a:lnTo>
                    <a:pt x="10369" y="3154"/>
                  </a:lnTo>
                  <a:lnTo>
                    <a:pt x="10372" y="3148"/>
                  </a:lnTo>
                  <a:lnTo>
                    <a:pt x="10379" y="3144"/>
                  </a:lnTo>
                  <a:lnTo>
                    <a:pt x="10386" y="3143"/>
                  </a:lnTo>
                  <a:lnTo>
                    <a:pt x="10394" y="3144"/>
                  </a:lnTo>
                  <a:lnTo>
                    <a:pt x="10401" y="3148"/>
                  </a:lnTo>
                  <a:lnTo>
                    <a:pt x="10404" y="3154"/>
                  </a:lnTo>
                  <a:lnTo>
                    <a:pt x="10407" y="3163"/>
                  </a:lnTo>
                  <a:close/>
                  <a:moveTo>
                    <a:pt x="10143" y="3163"/>
                  </a:moveTo>
                  <a:lnTo>
                    <a:pt x="10143" y="3274"/>
                  </a:lnTo>
                  <a:lnTo>
                    <a:pt x="10142" y="3283"/>
                  </a:lnTo>
                  <a:lnTo>
                    <a:pt x="10138" y="3290"/>
                  </a:lnTo>
                  <a:lnTo>
                    <a:pt x="10131" y="3294"/>
                  </a:lnTo>
                  <a:lnTo>
                    <a:pt x="10124" y="3295"/>
                  </a:lnTo>
                  <a:lnTo>
                    <a:pt x="10116" y="3294"/>
                  </a:lnTo>
                  <a:lnTo>
                    <a:pt x="10109" y="3290"/>
                  </a:lnTo>
                  <a:lnTo>
                    <a:pt x="10106" y="3283"/>
                  </a:lnTo>
                  <a:lnTo>
                    <a:pt x="10103" y="3274"/>
                  </a:lnTo>
                  <a:lnTo>
                    <a:pt x="10103" y="3163"/>
                  </a:lnTo>
                  <a:lnTo>
                    <a:pt x="10106" y="3154"/>
                  </a:lnTo>
                  <a:lnTo>
                    <a:pt x="10109" y="3148"/>
                  </a:lnTo>
                  <a:lnTo>
                    <a:pt x="10116" y="3144"/>
                  </a:lnTo>
                  <a:lnTo>
                    <a:pt x="10124" y="3143"/>
                  </a:lnTo>
                  <a:lnTo>
                    <a:pt x="10131" y="3144"/>
                  </a:lnTo>
                  <a:lnTo>
                    <a:pt x="10138" y="3148"/>
                  </a:lnTo>
                  <a:lnTo>
                    <a:pt x="10142" y="3154"/>
                  </a:lnTo>
                  <a:lnTo>
                    <a:pt x="10143" y="3163"/>
                  </a:lnTo>
                  <a:close/>
                  <a:moveTo>
                    <a:pt x="9880" y="3163"/>
                  </a:moveTo>
                  <a:lnTo>
                    <a:pt x="9880" y="3274"/>
                  </a:lnTo>
                  <a:lnTo>
                    <a:pt x="9879" y="3283"/>
                  </a:lnTo>
                  <a:lnTo>
                    <a:pt x="9874" y="3290"/>
                  </a:lnTo>
                  <a:lnTo>
                    <a:pt x="9867" y="3294"/>
                  </a:lnTo>
                  <a:lnTo>
                    <a:pt x="9861" y="3295"/>
                  </a:lnTo>
                  <a:lnTo>
                    <a:pt x="9853" y="3294"/>
                  </a:lnTo>
                  <a:lnTo>
                    <a:pt x="9847" y="3290"/>
                  </a:lnTo>
                  <a:lnTo>
                    <a:pt x="9841" y="3283"/>
                  </a:lnTo>
                  <a:lnTo>
                    <a:pt x="9840" y="3274"/>
                  </a:lnTo>
                  <a:lnTo>
                    <a:pt x="9840" y="3163"/>
                  </a:lnTo>
                  <a:lnTo>
                    <a:pt x="9841" y="3154"/>
                  </a:lnTo>
                  <a:lnTo>
                    <a:pt x="9847" y="3148"/>
                  </a:lnTo>
                  <a:lnTo>
                    <a:pt x="9853" y="3144"/>
                  </a:lnTo>
                  <a:lnTo>
                    <a:pt x="9861" y="3143"/>
                  </a:lnTo>
                  <a:lnTo>
                    <a:pt x="9867" y="3144"/>
                  </a:lnTo>
                  <a:lnTo>
                    <a:pt x="9874" y="3148"/>
                  </a:lnTo>
                  <a:lnTo>
                    <a:pt x="9879" y="3154"/>
                  </a:lnTo>
                  <a:lnTo>
                    <a:pt x="9880" y="3163"/>
                  </a:lnTo>
                  <a:close/>
                  <a:moveTo>
                    <a:pt x="9617" y="3163"/>
                  </a:moveTo>
                  <a:lnTo>
                    <a:pt x="9617" y="3274"/>
                  </a:lnTo>
                  <a:lnTo>
                    <a:pt x="9616" y="3283"/>
                  </a:lnTo>
                  <a:lnTo>
                    <a:pt x="9611" y="3290"/>
                  </a:lnTo>
                  <a:lnTo>
                    <a:pt x="9604" y="3294"/>
                  </a:lnTo>
                  <a:lnTo>
                    <a:pt x="9598" y="3295"/>
                  </a:lnTo>
                  <a:lnTo>
                    <a:pt x="9590" y="3294"/>
                  </a:lnTo>
                  <a:lnTo>
                    <a:pt x="9584" y="3290"/>
                  </a:lnTo>
                  <a:lnTo>
                    <a:pt x="9579" y="3283"/>
                  </a:lnTo>
                  <a:lnTo>
                    <a:pt x="9577" y="3274"/>
                  </a:lnTo>
                  <a:lnTo>
                    <a:pt x="9577" y="3163"/>
                  </a:lnTo>
                  <a:lnTo>
                    <a:pt x="9579" y="3154"/>
                  </a:lnTo>
                  <a:lnTo>
                    <a:pt x="9584" y="3148"/>
                  </a:lnTo>
                  <a:lnTo>
                    <a:pt x="9590" y="3144"/>
                  </a:lnTo>
                  <a:lnTo>
                    <a:pt x="9598" y="3143"/>
                  </a:lnTo>
                  <a:lnTo>
                    <a:pt x="9604" y="3144"/>
                  </a:lnTo>
                  <a:lnTo>
                    <a:pt x="9611" y="3148"/>
                  </a:lnTo>
                  <a:lnTo>
                    <a:pt x="9616" y="3154"/>
                  </a:lnTo>
                  <a:lnTo>
                    <a:pt x="9617" y="3163"/>
                  </a:lnTo>
                  <a:close/>
                  <a:moveTo>
                    <a:pt x="10933" y="2916"/>
                  </a:moveTo>
                  <a:lnTo>
                    <a:pt x="10933" y="3028"/>
                  </a:lnTo>
                  <a:lnTo>
                    <a:pt x="10931" y="3037"/>
                  </a:lnTo>
                  <a:lnTo>
                    <a:pt x="10926" y="3043"/>
                  </a:lnTo>
                  <a:lnTo>
                    <a:pt x="10920" y="3047"/>
                  </a:lnTo>
                  <a:lnTo>
                    <a:pt x="10912" y="3048"/>
                  </a:lnTo>
                  <a:lnTo>
                    <a:pt x="10906" y="3047"/>
                  </a:lnTo>
                  <a:lnTo>
                    <a:pt x="10899" y="3043"/>
                  </a:lnTo>
                  <a:lnTo>
                    <a:pt x="10894" y="3037"/>
                  </a:lnTo>
                  <a:lnTo>
                    <a:pt x="10893" y="3028"/>
                  </a:lnTo>
                  <a:lnTo>
                    <a:pt x="10893" y="2916"/>
                  </a:lnTo>
                  <a:lnTo>
                    <a:pt x="10894" y="2907"/>
                  </a:lnTo>
                  <a:lnTo>
                    <a:pt x="10899" y="2901"/>
                  </a:lnTo>
                  <a:lnTo>
                    <a:pt x="10906" y="2897"/>
                  </a:lnTo>
                  <a:lnTo>
                    <a:pt x="10912" y="2896"/>
                  </a:lnTo>
                  <a:lnTo>
                    <a:pt x="10920" y="2897"/>
                  </a:lnTo>
                  <a:lnTo>
                    <a:pt x="10926" y="2901"/>
                  </a:lnTo>
                  <a:lnTo>
                    <a:pt x="10931" y="2907"/>
                  </a:lnTo>
                  <a:lnTo>
                    <a:pt x="10933" y="2916"/>
                  </a:lnTo>
                  <a:close/>
                  <a:moveTo>
                    <a:pt x="10670" y="2916"/>
                  </a:moveTo>
                  <a:lnTo>
                    <a:pt x="10670" y="3028"/>
                  </a:lnTo>
                  <a:lnTo>
                    <a:pt x="10669" y="3037"/>
                  </a:lnTo>
                  <a:lnTo>
                    <a:pt x="10663" y="3043"/>
                  </a:lnTo>
                  <a:lnTo>
                    <a:pt x="10657" y="3047"/>
                  </a:lnTo>
                  <a:lnTo>
                    <a:pt x="10649" y="3048"/>
                  </a:lnTo>
                  <a:lnTo>
                    <a:pt x="10643" y="3047"/>
                  </a:lnTo>
                  <a:lnTo>
                    <a:pt x="10637" y="3043"/>
                  </a:lnTo>
                  <a:lnTo>
                    <a:pt x="10631" y="3037"/>
                  </a:lnTo>
                  <a:lnTo>
                    <a:pt x="10630" y="3028"/>
                  </a:lnTo>
                  <a:lnTo>
                    <a:pt x="10630" y="2916"/>
                  </a:lnTo>
                  <a:lnTo>
                    <a:pt x="10631" y="2907"/>
                  </a:lnTo>
                  <a:lnTo>
                    <a:pt x="10637" y="2901"/>
                  </a:lnTo>
                  <a:lnTo>
                    <a:pt x="10643" y="2897"/>
                  </a:lnTo>
                  <a:lnTo>
                    <a:pt x="10649" y="2896"/>
                  </a:lnTo>
                  <a:lnTo>
                    <a:pt x="10657" y="2897"/>
                  </a:lnTo>
                  <a:lnTo>
                    <a:pt x="10663" y="2901"/>
                  </a:lnTo>
                  <a:lnTo>
                    <a:pt x="10669" y="2907"/>
                  </a:lnTo>
                  <a:lnTo>
                    <a:pt x="10670" y="2916"/>
                  </a:lnTo>
                  <a:close/>
                  <a:moveTo>
                    <a:pt x="10407" y="2916"/>
                  </a:moveTo>
                  <a:lnTo>
                    <a:pt x="10407" y="3028"/>
                  </a:lnTo>
                  <a:lnTo>
                    <a:pt x="10404" y="3037"/>
                  </a:lnTo>
                  <a:lnTo>
                    <a:pt x="10401" y="3043"/>
                  </a:lnTo>
                  <a:lnTo>
                    <a:pt x="10394" y="3047"/>
                  </a:lnTo>
                  <a:lnTo>
                    <a:pt x="10386" y="3048"/>
                  </a:lnTo>
                  <a:lnTo>
                    <a:pt x="10379" y="3047"/>
                  </a:lnTo>
                  <a:lnTo>
                    <a:pt x="10372" y="3043"/>
                  </a:lnTo>
                  <a:lnTo>
                    <a:pt x="10369" y="3037"/>
                  </a:lnTo>
                  <a:lnTo>
                    <a:pt x="10366" y="3028"/>
                  </a:lnTo>
                  <a:lnTo>
                    <a:pt x="10366" y="2916"/>
                  </a:lnTo>
                  <a:lnTo>
                    <a:pt x="10369" y="2907"/>
                  </a:lnTo>
                  <a:lnTo>
                    <a:pt x="10372" y="2901"/>
                  </a:lnTo>
                  <a:lnTo>
                    <a:pt x="10379" y="2897"/>
                  </a:lnTo>
                  <a:lnTo>
                    <a:pt x="10386" y="2896"/>
                  </a:lnTo>
                  <a:lnTo>
                    <a:pt x="10394" y="2897"/>
                  </a:lnTo>
                  <a:lnTo>
                    <a:pt x="10401" y="2901"/>
                  </a:lnTo>
                  <a:lnTo>
                    <a:pt x="10404" y="2907"/>
                  </a:lnTo>
                  <a:lnTo>
                    <a:pt x="10407" y="2916"/>
                  </a:lnTo>
                  <a:close/>
                  <a:moveTo>
                    <a:pt x="10143" y="2916"/>
                  </a:moveTo>
                  <a:lnTo>
                    <a:pt x="10143" y="3028"/>
                  </a:lnTo>
                  <a:lnTo>
                    <a:pt x="10142" y="3037"/>
                  </a:lnTo>
                  <a:lnTo>
                    <a:pt x="10138" y="3043"/>
                  </a:lnTo>
                  <a:lnTo>
                    <a:pt x="10131" y="3047"/>
                  </a:lnTo>
                  <a:lnTo>
                    <a:pt x="10124" y="3048"/>
                  </a:lnTo>
                  <a:lnTo>
                    <a:pt x="10116" y="3047"/>
                  </a:lnTo>
                  <a:lnTo>
                    <a:pt x="10109" y="3043"/>
                  </a:lnTo>
                  <a:lnTo>
                    <a:pt x="10106" y="3037"/>
                  </a:lnTo>
                  <a:lnTo>
                    <a:pt x="10103" y="3028"/>
                  </a:lnTo>
                  <a:lnTo>
                    <a:pt x="10103" y="2916"/>
                  </a:lnTo>
                  <a:lnTo>
                    <a:pt x="10106" y="2907"/>
                  </a:lnTo>
                  <a:lnTo>
                    <a:pt x="10109" y="2901"/>
                  </a:lnTo>
                  <a:lnTo>
                    <a:pt x="10116" y="2897"/>
                  </a:lnTo>
                  <a:lnTo>
                    <a:pt x="10124" y="2896"/>
                  </a:lnTo>
                  <a:lnTo>
                    <a:pt x="10131" y="2897"/>
                  </a:lnTo>
                  <a:lnTo>
                    <a:pt x="10138" y="2901"/>
                  </a:lnTo>
                  <a:lnTo>
                    <a:pt x="10142" y="2907"/>
                  </a:lnTo>
                  <a:lnTo>
                    <a:pt x="10143" y="2916"/>
                  </a:lnTo>
                  <a:close/>
                  <a:moveTo>
                    <a:pt x="9880" y="2916"/>
                  </a:moveTo>
                  <a:lnTo>
                    <a:pt x="9880" y="3028"/>
                  </a:lnTo>
                  <a:lnTo>
                    <a:pt x="9879" y="3037"/>
                  </a:lnTo>
                  <a:lnTo>
                    <a:pt x="9874" y="3043"/>
                  </a:lnTo>
                  <a:lnTo>
                    <a:pt x="9867" y="3047"/>
                  </a:lnTo>
                  <a:lnTo>
                    <a:pt x="9861" y="3048"/>
                  </a:lnTo>
                  <a:lnTo>
                    <a:pt x="9853" y="3047"/>
                  </a:lnTo>
                  <a:lnTo>
                    <a:pt x="9847" y="3043"/>
                  </a:lnTo>
                  <a:lnTo>
                    <a:pt x="9841" y="3037"/>
                  </a:lnTo>
                  <a:lnTo>
                    <a:pt x="9840" y="3028"/>
                  </a:lnTo>
                  <a:lnTo>
                    <a:pt x="9840" y="2916"/>
                  </a:lnTo>
                  <a:lnTo>
                    <a:pt x="9841" y="2907"/>
                  </a:lnTo>
                  <a:lnTo>
                    <a:pt x="9847" y="2901"/>
                  </a:lnTo>
                  <a:lnTo>
                    <a:pt x="9853" y="2897"/>
                  </a:lnTo>
                  <a:lnTo>
                    <a:pt x="9861" y="2896"/>
                  </a:lnTo>
                  <a:lnTo>
                    <a:pt x="9867" y="2897"/>
                  </a:lnTo>
                  <a:lnTo>
                    <a:pt x="9874" y="2901"/>
                  </a:lnTo>
                  <a:lnTo>
                    <a:pt x="9879" y="2907"/>
                  </a:lnTo>
                  <a:lnTo>
                    <a:pt x="9880" y="2916"/>
                  </a:lnTo>
                  <a:close/>
                  <a:moveTo>
                    <a:pt x="9617" y="2916"/>
                  </a:moveTo>
                  <a:lnTo>
                    <a:pt x="9617" y="3028"/>
                  </a:lnTo>
                  <a:lnTo>
                    <a:pt x="9616" y="3037"/>
                  </a:lnTo>
                  <a:lnTo>
                    <a:pt x="9611" y="3043"/>
                  </a:lnTo>
                  <a:lnTo>
                    <a:pt x="9604" y="3047"/>
                  </a:lnTo>
                  <a:lnTo>
                    <a:pt x="9598" y="3048"/>
                  </a:lnTo>
                  <a:lnTo>
                    <a:pt x="9590" y="3047"/>
                  </a:lnTo>
                  <a:lnTo>
                    <a:pt x="9584" y="3043"/>
                  </a:lnTo>
                  <a:lnTo>
                    <a:pt x="9579" y="3037"/>
                  </a:lnTo>
                  <a:lnTo>
                    <a:pt x="9577" y="3028"/>
                  </a:lnTo>
                  <a:lnTo>
                    <a:pt x="9577" y="2916"/>
                  </a:lnTo>
                  <a:lnTo>
                    <a:pt x="9579" y="2907"/>
                  </a:lnTo>
                  <a:lnTo>
                    <a:pt x="9584" y="2901"/>
                  </a:lnTo>
                  <a:lnTo>
                    <a:pt x="9590" y="2897"/>
                  </a:lnTo>
                  <a:lnTo>
                    <a:pt x="9598" y="2896"/>
                  </a:lnTo>
                  <a:lnTo>
                    <a:pt x="9604" y="2897"/>
                  </a:lnTo>
                  <a:lnTo>
                    <a:pt x="9611" y="2901"/>
                  </a:lnTo>
                  <a:lnTo>
                    <a:pt x="9616" y="2907"/>
                  </a:lnTo>
                  <a:lnTo>
                    <a:pt x="9617" y="2916"/>
                  </a:lnTo>
                  <a:close/>
                  <a:moveTo>
                    <a:pt x="10933" y="2670"/>
                  </a:moveTo>
                  <a:lnTo>
                    <a:pt x="10933" y="2782"/>
                  </a:lnTo>
                  <a:lnTo>
                    <a:pt x="10931" y="2790"/>
                  </a:lnTo>
                  <a:lnTo>
                    <a:pt x="10926" y="2796"/>
                  </a:lnTo>
                  <a:lnTo>
                    <a:pt x="10920" y="2800"/>
                  </a:lnTo>
                  <a:lnTo>
                    <a:pt x="10912" y="2801"/>
                  </a:lnTo>
                  <a:lnTo>
                    <a:pt x="10906" y="2800"/>
                  </a:lnTo>
                  <a:lnTo>
                    <a:pt x="10899" y="2796"/>
                  </a:lnTo>
                  <a:lnTo>
                    <a:pt x="10894" y="2790"/>
                  </a:lnTo>
                  <a:lnTo>
                    <a:pt x="10893" y="2782"/>
                  </a:lnTo>
                  <a:lnTo>
                    <a:pt x="10893" y="2670"/>
                  </a:lnTo>
                  <a:lnTo>
                    <a:pt x="10894" y="2661"/>
                  </a:lnTo>
                  <a:lnTo>
                    <a:pt x="10899" y="2654"/>
                  </a:lnTo>
                  <a:lnTo>
                    <a:pt x="10906" y="2650"/>
                  </a:lnTo>
                  <a:lnTo>
                    <a:pt x="10912" y="2649"/>
                  </a:lnTo>
                  <a:lnTo>
                    <a:pt x="10920" y="2650"/>
                  </a:lnTo>
                  <a:lnTo>
                    <a:pt x="10926" y="2654"/>
                  </a:lnTo>
                  <a:lnTo>
                    <a:pt x="10931" y="2661"/>
                  </a:lnTo>
                  <a:lnTo>
                    <a:pt x="10933" y="2670"/>
                  </a:lnTo>
                  <a:close/>
                  <a:moveTo>
                    <a:pt x="10670" y="2670"/>
                  </a:moveTo>
                  <a:lnTo>
                    <a:pt x="10670" y="2782"/>
                  </a:lnTo>
                  <a:lnTo>
                    <a:pt x="10669" y="2790"/>
                  </a:lnTo>
                  <a:lnTo>
                    <a:pt x="10663" y="2796"/>
                  </a:lnTo>
                  <a:lnTo>
                    <a:pt x="10657" y="2800"/>
                  </a:lnTo>
                  <a:lnTo>
                    <a:pt x="10649" y="2801"/>
                  </a:lnTo>
                  <a:lnTo>
                    <a:pt x="10643" y="2800"/>
                  </a:lnTo>
                  <a:lnTo>
                    <a:pt x="10637" y="2796"/>
                  </a:lnTo>
                  <a:lnTo>
                    <a:pt x="10631" y="2790"/>
                  </a:lnTo>
                  <a:lnTo>
                    <a:pt x="10630" y="2782"/>
                  </a:lnTo>
                  <a:lnTo>
                    <a:pt x="10630" y="2670"/>
                  </a:lnTo>
                  <a:lnTo>
                    <a:pt x="10631" y="2661"/>
                  </a:lnTo>
                  <a:lnTo>
                    <a:pt x="10637" y="2654"/>
                  </a:lnTo>
                  <a:lnTo>
                    <a:pt x="10643" y="2650"/>
                  </a:lnTo>
                  <a:lnTo>
                    <a:pt x="10649" y="2649"/>
                  </a:lnTo>
                  <a:lnTo>
                    <a:pt x="10657" y="2650"/>
                  </a:lnTo>
                  <a:lnTo>
                    <a:pt x="10663" y="2654"/>
                  </a:lnTo>
                  <a:lnTo>
                    <a:pt x="10669" y="2661"/>
                  </a:lnTo>
                  <a:lnTo>
                    <a:pt x="10670" y="2670"/>
                  </a:lnTo>
                  <a:close/>
                  <a:moveTo>
                    <a:pt x="10407" y="2670"/>
                  </a:moveTo>
                  <a:lnTo>
                    <a:pt x="10407" y="2782"/>
                  </a:lnTo>
                  <a:lnTo>
                    <a:pt x="10404" y="2790"/>
                  </a:lnTo>
                  <a:lnTo>
                    <a:pt x="10401" y="2796"/>
                  </a:lnTo>
                  <a:lnTo>
                    <a:pt x="10394" y="2800"/>
                  </a:lnTo>
                  <a:lnTo>
                    <a:pt x="10386" y="2801"/>
                  </a:lnTo>
                  <a:lnTo>
                    <a:pt x="10379" y="2800"/>
                  </a:lnTo>
                  <a:lnTo>
                    <a:pt x="10372" y="2796"/>
                  </a:lnTo>
                  <a:lnTo>
                    <a:pt x="10369" y="2790"/>
                  </a:lnTo>
                  <a:lnTo>
                    <a:pt x="10366" y="2782"/>
                  </a:lnTo>
                  <a:lnTo>
                    <a:pt x="10366" y="2670"/>
                  </a:lnTo>
                  <a:lnTo>
                    <a:pt x="10369" y="2661"/>
                  </a:lnTo>
                  <a:lnTo>
                    <a:pt x="10372" y="2654"/>
                  </a:lnTo>
                  <a:lnTo>
                    <a:pt x="10379" y="2650"/>
                  </a:lnTo>
                  <a:lnTo>
                    <a:pt x="10386" y="2649"/>
                  </a:lnTo>
                  <a:lnTo>
                    <a:pt x="10394" y="2650"/>
                  </a:lnTo>
                  <a:lnTo>
                    <a:pt x="10401" y="2654"/>
                  </a:lnTo>
                  <a:lnTo>
                    <a:pt x="10404" y="2661"/>
                  </a:lnTo>
                  <a:lnTo>
                    <a:pt x="10407" y="2670"/>
                  </a:lnTo>
                  <a:close/>
                  <a:moveTo>
                    <a:pt x="10143" y="2670"/>
                  </a:moveTo>
                  <a:lnTo>
                    <a:pt x="10143" y="2782"/>
                  </a:lnTo>
                  <a:lnTo>
                    <a:pt x="10142" y="2790"/>
                  </a:lnTo>
                  <a:lnTo>
                    <a:pt x="10138" y="2796"/>
                  </a:lnTo>
                  <a:lnTo>
                    <a:pt x="10131" y="2800"/>
                  </a:lnTo>
                  <a:lnTo>
                    <a:pt x="10124" y="2801"/>
                  </a:lnTo>
                  <a:lnTo>
                    <a:pt x="10116" y="2800"/>
                  </a:lnTo>
                  <a:lnTo>
                    <a:pt x="10109" y="2796"/>
                  </a:lnTo>
                  <a:lnTo>
                    <a:pt x="10106" y="2790"/>
                  </a:lnTo>
                  <a:lnTo>
                    <a:pt x="10103" y="2782"/>
                  </a:lnTo>
                  <a:lnTo>
                    <a:pt x="10103" y="2670"/>
                  </a:lnTo>
                  <a:lnTo>
                    <a:pt x="10106" y="2661"/>
                  </a:lnTo>
                  <a:lnTo>
                    <a:pt x="10109" y="2654"/>
                  </a:lnTo>
                  <a:lnTo>
                    <a:pt x="10116" y="2650"/>
                  </a:lnTo>
                  <a:lnTo>
                    <a:pt x="10124" y="2649"/>
                  </a:lnTo>
                  <a:lnTo>
                    <a:pt x="10131" y="2650"/>
                  </a:lnTo>
                  <a:lnTo>
                    <a:pt x="10138" y="2654"/>
                  </a:lnTo>
                  <a:lnTo>
                    <a:pt x="10142" y="2661"/>
                  </a:lnTo>
                  <a:lnTo>
                    <a:pt x="10143" y="2670"/>
                  </a:lnTo>
                  <a:close/>
                  <a:moveTo>
                    <a:pt x="9880" y="2670"/>
                  </a:moveTo>
                  <a:lnTo>
                    <a:pt x="9880" y="2782"/>
                  </a:lnTo>
                  <a:lnTo>
                    <a:pt x="9879" y="2790"/>
                  </a:lnTo>
                  <a:lnTo>
                    <a:pt x="9874" y="2796"/>
                  </a:lnTo>
                  <a:lnTo>
                    <a:pt x="9867" y="2800"/>
                  </a:lnTo>
                  <a:lnTo>
                    <a:pt x="9861" y="2801"/>
                  </a:lnTo>
                  <a:lnTo>
                    <a:pt x="9853" y="2800"/>
                  </a:lnTo>
                  <a:lnTo>
                    <a:pt x="9847" y="2796"/>
                  </a:lnTo>
                  <a:lnTo>
                    <a:pt x="9841" y="2790"/>
                  </a:lnTo>
                  <a:lnTo>
                    <a:pt x="9840" y="2782"/>
                  </a:lnTo>
                  <a:lnTo>
                    <a:pt x="9840" y="2670"/>
                  </a:lnTo>
                  <a:lnTo>
                    <a:pt x="9841" y="2661"/>
                  </a:lnTo>
                  <a:lnTo>
                    <a:pt x="9847" y="2654"/>
                  </a:lnTo>
                  <a:lnTo>
                    <a:pt x="9853" y="2650"/>
                  </a:lnTo>
                  <a:lnTo>
                    <a:pt x="9861" y="2649"/>
                  </a:lnTo>
                  <a:lnTo>
                    <a:pt x="9867" y="2650"/>
                  </a:lnTo>
                  <a:lnTo>
                    <a:pt x="9874" y="2654"/>
                  </a:lnTo>
                  <a:lnTo>
                    <a:pt x="9879" y="2661"/>
                  </a:lnTo>
                  <a:lnTo>
                    <a:pt x="9880" y="2670"/>
                  </a:lnTo>
                  <a:close/>
                  <a:moveTo>
                    <a:pt x="9617" y="2670"/>
                  </a:moveTo>
                  <a:lnTo>
                    <a:pt x="9617" y="2782"/>
                  </a:lnTo>
                  <a:lnTo>
                    <a:pt x="9616" y="2790"/>
                  </a:lnTo>
                  <a:lnTo>
                    <a:pt x="9611" y="2796"/>
                  </a:lnTo>
                  <a:lnTo>
                    <a:pt x="9604" y="2800"/>
                  </a:lnTo>
                  <a:lnTo>
                    <a:pt x="9598" y="2801"/>
                  </a:lnTo>
                  <a:lnTo>
                    <a:pt x="9590" y="2800"/>
                  </a:lnTo>
                  <a:lnTo>
                    <a:pt x="9584" y="2796"/>
                  </a:lnTo>
                  <a:lnTo>
                    <a:pt x="9579" y="2790"/>
                  </a:lnTo>
                  <a:lnTo>
                    <a:pt x="9577" y="2782"/>
                  </a:lnTo>
                  <a:lnTo>
                    <a:pt x="9577" y="2670"/>
                  </a:lnTo>
                  <a:lnTo>
                    <a:pt x="9579" y="2661"/>
                  </a:lnTo>
                  <a:lnTo>
                    <a:pt x="9584" y="2654"/>
                  </a:lnTo>
                  <a:lnTo>
                    <a:pt x="9590" y="2650"/>
                  </a:lnTo>
                  <a:lnTo>
                    <a:pt x="9598" y="2649"/>
                  </a:lnTo>
                  <a:lnTo>
                    <a:pt x="9604" y="2650"/>
                  </a:lnTo>
                  <a:lnTo>
                    <a:pt x="9611" y="2654"/>
                  </a:lnTo>
                  <a:lnTo>
                    <a:pt x="9616" y="2661"/>
                  </a:lnTo>
                  <a:lnTo>
                    <a:pt x="9617" y="2670"/>
                  </a:lnTo>
                  <a:close/>
                  <a:moveTo>
                    <a:pt x="13776" y="2113"/>
                  </a:moveTo>
                  <a:lnTo>
                    <a:pt x="13776" y="2226"/>
                  </a:lnTo>
                  <a:lnTo>
                    <a:pt x="13774" y="2235"/>
                  </a:lnTo>
                  <a:lnTo>
                    <a:pt x="13769" y="2241"/>
                  </a:lnTo>
                  <a:lnTo>
                    <a:pt x="13763" y="2245"/>
                  </a:lnTo>
                  <a:lnTo>
                    <a:pt x="13756" y="2246"/>
                  </a:lnTo>
                  <a:lnTo>
                    <a:pt x="13749" y="2245"/>
                  </a:lnTo>
                  <a:lnTo>
                    <a:pt x="13742" y="2241"/>
                  </a:lnTo>
                  <a:lnTo>
                    <a:pt x="13737" y="2235"/>
                  </a:lnTo>
                  <a:lnTo>
                    <a:pt x="13736" y="2226"/>
                  </a:lnTo>
                  <a:lnTo>
                    <a:pt x="13736" y="2113"/>
                  </a:lnTo>
                  <a:lnTo>
                    <a:pt x="13737" y="2106"/>
                  </a:lnTo>
                  <a:lnTo>
                    <a:pt x="13742" y="2099"/>
                  </a:lnTo>
                  <a:lnTo>
                    <a:pt x="13749" y="2095"/>
                  </a:lnTo>
                  <a:lnTo>
                    <a:pt x="13756" y="2094"/>
                  </a:lnTo>
                  <a:lnTo>
                    <a:pt x="13763" y="2095"/>
                  </a:lnTo>
                  <a:lnTo>
                    <a:pt x="13769" y="2099"/>
                  </a:lnTo>
                  <a:lnTo>
                    <a:pt x="13774" y="2106"/>
                  </a:lnTo>
                  <a:lnTo>
                    <a:pt x="13776" y="2113"/>
                  </a:lnTo>
                  <a:close/>
                  <a:moveTo>
                    <a:pt x="13513" y="2113"/>
                  </a:moveTo>
                  <a:lnTo>
                    <a:pt x="13513" y="2226"/>
                  </a:lnTo>
                  <a:lnTo>
                    <a:pt x="13511" y="2235"/>
                  </a:lnTo>
                  <a:lnTo>
                    <a:pt x="13506" y="2241"/>
                  </a:lnTo>
                  <a:lnTo>
                    <a:pt x="13500" y="2245"/>
                  </a:lnTo>
                  <a:lnTo>
                    <a:pt x="13492" y="2246"/>
                  </a:lnTo>
                  <a:lnTo>
                    <a:pt x="13486" y="2245"/>
                  </a:lnTo>
                  <a:lnTo>
                    <a:pt x="13479" y="2241"/>
                  </a:lnTo>
                  <a:lnTo>
                    <a:pt x="13474" y="2235"/>
                  </a:lnTo>
                  <a:lnTo>
                    <a:pt x="13473" y="2226"/>
                  </a:lnTo>
                  <a:lnTo>
                    <a:pt x="13473" y="2113"/>
                  </a:lnTo>
                  <a:lnTo>
                    <a:pt x="13474" y="2106"/>
                  </a:lnTo>
                  <a:lnTo>
                    <a:pt x="13479" y="2099"/>
                  </a:lnTo>
                  <a:lnTo>
                    <a:pt x="13486" y="2095"/>
                  </a:lnTo>
                  <a:lnTo>
                    <a:pt x="13492" y="2094"/>
                  </a:lnTo>
                  <a:lnTo>
                    <a:pt x="13500" y="2095"/>
                  </a:lnTo>
                  <a:lnTo>
                    <a:pt x="13506" y="2099"/>
                  </a:lnTo>
                  <a:lnTo>
                    <a:pt x="13511" y="2106"/>
                  </a:lnTo>
                  <a:lnTo>
                    <a:pt x="13513" y="2113"/>
                  </a:lnTo>
                  <a:close/>
                  <a:moveTo>
                    <a:pt x="13250" y="2113"/>
                  </a:moveTo>
                  <a:lnTo>
                    <a:pt x="13250" y="2226"/>
                  </a:lnTo>
                  <a:lnTo>
                    <a:pt x="13247" y="2235"/>
                  </a:lnTo>
                  <a:lnTo>
                    <a:pt x="13243" y="2241"/>
                  </a:lnTo>
                  <a:lnTo>
                    <a:pt x="13237" y="2245"/>
                  </a:lnTo>
                  <a:lnTo>
                    <a:pt x="13229" y="2246"/>
                  </a:lnTo>
                  <a:lnTo>
                    <a:pt x="13222" y="2245"/>
                  </a:lnTo>
                  <a:lnTo>
                    <a:pt x="13215" y="2241"/>
                  </a:lnTo>
                  <a:lnTo>
                    <a:pt x="13211" y="2235"/>
                  </a:lnTo>
                  <a:lnTo>
                    <a:pt x="13210" y="2226"/>
                  </a:lnTo>
                  <a:lnTo>
                    <a:pt x="13210" y="2113"/>
                  </a:lnTo>
                  <a:lnTo>
                    <a:pt x="13211" y="2106"/>
                  </a:lnTo>
                  <a:lnTo>
                    <a:pt x="13215" y="2099"/>
                  </a:lnTo>
                  <a:lnTo>
                    <a:pt x="13222" y="2095"/>
                  </a:lnTo>
                  <a:lnTo>
                    <a:pt x="13229" y="2094"/>
                  </a:lnTo>
                  <a:lnTo>
                    <a:pt x="13237" y="2095"/>
                  </a:lnTo>
                  <a:lnTo>
                    <a:pt x="13243" y="2099"/>
                  </a:lnTo>
                  <a:lnTo>
                    <a:pt x="13247" y="2106"/>
                  </a:lnTo>
                  <a:lnTo>
                    <a:pt x="13250" y="2113"/>
                  </a:lnTo>
                  <a:close/>
                  <a:moveTo>
                    <a:pt x="12987" y="2113"/>
                  </a:moveTo>
                  <a:lnTo>
                    <a:pt x="12987" y="2226"/>
                  </a:lnTo>
                  <a:lnTo>
                    <a:pt x="12984" y="2235"/>
                  </a:lnTo>
                  <a:lnTo>
                    <a:pt x="12981" y="2241"/>
                  </a:lnTo>
                  <a:lnTo>
                    <a:pt x="12974" y="2245"/>
                  </a:lnTo>
                  <a:lnTo>
                    <a:pt x="12966" y="2246"/>
                  </a:lnTo>
                  <a:lnTo>
                    <a:pt x="12959" y="2245"/>
                  </a:lnTo>
                  <a:lnTo>
                    <a:pt x="12952" y="2241"/>
                  </a:lnTo>
                  <a:lnTo>
                    <a:pt x="12948" y="2235"/>
                  </a:lnTo>
                  <a:lnTo>
                    <a:pt x="12946" y="2226"/>
                  </a:lnTo>
                  <a:lnTo>
                    <a:pt x="12946" y="2113"/>
                  </a:lnTo>
                  <a:lnTo>
                    <a:pt x="12948" y="2106"/>
                  </a:lnTo>
                  <a:lnTo>
                    <a:pt x="12952" y="2099"/>
                  </a:lnTo>
                  <a:lnTo>
                    <a:pt x="12959" y="2095"/>
                  </a:lnTo>
                  <a:lnTo>
                    <a:pt x="12966" y="2094"/>
                  </a:lnTo>
                  <a:lnTo>
                    <a:pt x="12974" y="2095"/>
                  </a:lnTo>
                  <a:lnTo>
                    <a:pt x="12981" y="2099"/>
                  </a:lnTo>
                  <a:lnTo>
                    <a:pt x="12984" y="2106"/>
                  </a:lnTo>
                  <a:lnTo>
                    <a:pt x="12987" y="2113"/>
                  </a:lnTo>
                  <a:close/>
                  <a:moveTo>
                    <a:pt x="13776" y="1879"/>
                  </a:moveTo>
                  <a:lnTo>
                    <a:pt x="13776" y="1992"/>
                  </a:lnTo>
                  <a:lnTo>
                    <a:pt x="13774" y="2001"/>
                  </a:lnTo>
                  <a:lnTo>
                    <a:pt x="13769" y="2007"/>
                  </a:lnTo>
                  <a:lnTo>
                    <a:pt x="13763" y="2011"/>
                  </a:lnTo>
                  <a:lnTo>
                    <a:pt x="13756" y="2012"/>
                  </a:lnTo>
                  <a:lnTo>
                    <a:pt x="13749" y="2011"/>
                  </a:lnTo>
                  <a:lnTo>
                    <a:pt x="13742" y="2007"/>
                  </a:lnTo>
                  <a:lnTo>
                    <a:pt x="13737" y="2001"/>
                  </a:lnTo>
                  <a:lnTo>
                    <a:pt x="13736" y="1992"/>
                  </a:lnTo>
                  <a:lnTo>
                    <a:pt x="13736" y="1879"/>
                  </a:lnTo>
                  <a:lnTo>
                    <a:pt x="13737" y="1872"/>
                  </a:lnTo>
                  <a:lnTo>
                    <a:pt x="13742" y="1865"/>
                  </a:lnTo>
                  <a:lnTo>
                    <a:pt x="13749" y="1861"/>
                  </a:lnTo>
                  <a:lnTo>
                    <a:pt x="13756" y="1860"/>
                  </a:lnTo>
                  <a:lnTo>
                    <a:pt x="13763" y="1861"/>
                  </a:lnTo>
                  <a:lnTo>
                    <a:pt x="13769" y="1865"/>
                  </a:lnTo>
                  <a:lnTo>
                    <a:pt x="13774" y="1872"/>
                  </a:lnTo>
                  <a:lnTo>
                    <a:pt x="13776" y="1879"/>
                  </a:lnTo>
                  <a:close/>
                  <a:moveTo>
                    <a:pt x="13513" y="1879"/>
                  </a:moveTo>
                  <a:lnTo>
                    <a:pt x="13513" y="1992"/>
                  </a:lnTo>
                  <a:lnTo>
                    <a:pt x="13511" y="2001"/>
                  </a:lnTo>
                  <a:lnTo>
                    <a:pt x="13506" y="2007"/>
                  </a:lnTo>
                  <a:lnTo>
                    <a:pt x="13500" y="2011"/>
                  </a:lnTo>
                  <a:lnTo>
                    <a:pt x="13492" y="2012"/>
                  </a:lnTo>
                  <a:lnTo>
                    <a:pt x="13486" y="2011"/>
                  </a:lnTo>
                  <a:lnTo>
                    <a:pt x="13479" y="2007"/>
                  </a:lnTo>
                  <a:lnTo>
                    <a:pt x="13474" y="2001"/>
                  </a:lnTo>
                  <a:lnTo>
                    <a:pt x="13473" y="1992"/>
                  </a:lnTo>
                  <a:lnTo>
                    <a:pt x="13473" y="1879"/>
                  </a:lnTo>
                  <a:lnTo>
                    <a:pt x="13474" y="1872"/>
                  </a:lnTo>
                  <a:lnTo>
                    <a:pt x="13479" y="1865"/>
                  </a:lnTo>
                  <a:lnTo>
                    <a:pt x="13486" y="1861"/>
                  </a:lnTo>
                  <a:lnTo>
                    <a:pt x="13492" y="1860"/>
                  </a:lnTo>
                  <a:lnTo>
                    <a:pt x="13500" y="1861"/>
                  </a:lnTo>
                  <a:lnTo>
                    <a:pt x="13506" y="1865"/>
                  </a:lnTo>
                  <a:lnTo>
                    <a:pt x="13511" y="1872"/>
                  </a:lnTo>
                  <a:lnTo>
                    <a:pt x="13513" y="1879"/>
                  </a:lnTo>
                  <a:close/>
                  <a:moveTo>
                    <a:pt x="13250" y="1879"/>
                  </a:moveTo>
                  <a:lnTo>
                    <a:pt x="13250" y="1992"/>
                  </a:lnTo>
                  <a:lnTo>
                    <a:pt x="13247" y="2001"/>
                  </a:lnTo>
                  <a:lnTo>
                    <a:pt x="13243" y="2007"/>
                  </a:lnTo>
                  <a:lnTo>
                    <a:pt x="13237" y="2011"/>
                  </a:lnTo>
                  <a:lnTo>
                    <a:pt x="13229" y="2012"/>
                  </a:lnTo>
                  <a:lnTo>
                    <a:pt x="13222" y="2011"/>
                  </a:lnTo>
                  <a:lnTo>
                    <a:pt x="13215" y="2007"/>
                  </a:lnTo>
                  <a:lnTo>
                    <a:pt x="13211" y="2001"/>
                  </a:lnTo>
                  <a:lnTo>
                    <a:pt x="13210" y="1992"/>
                  </a:lnTo>
                  <a:lnTo>
                    <a:pt x="13210" y="1879"/>
                  </a:lnTo>
                  <a:lnTo>
                    <a:pt x="13211" y="1872"/>
                  </a:lnTo>
                  <a:lnTo>
                    <a:pt x="13215" y="1865"/>
                  </a:lnTo>
                  <a:lnTo>
                    <a:pt x="13222" y="1861"/>
                  </a:lnTo>
                  <a:lnTo>
                    <a:pt x="13229" y="1860"/>
                  </a:lnTo>
                  <a:lnTo>
                    <a:pt x="13237" y="1861"/>
                  </a:lnTo>
                  <a:lnTo>
                    <a:pt x="13243" y="1865"/>
                  </a:lnTo>
                  <a:lnTo>
                    <a:pt x="13247" y="1872"/>
                  </a:lnTo>
                  <a:lnTo>
                    <a:pt x="13250" y="1879"/>
                  </a:lnTo>
                  <a:close/>
                  <a:moveTo>
                    <a:pt x="12987" y="1879"/>
                  </a:moveTo>
                  <a:lnTo>
                    <a:pt x="12987" y="1992"/>
                  </a:lnTo>
                  <a:lnTo>
                    <a:pt x="12984" y="2001"/>
                  </a:lnTo>
                  <a:lnTo>
                    <a:pt x="12981" y="2007"/>
                  </a:lnTo>
                  <a:lnTo>
                    <a:pt x="12974" y="2011"/>
                  </a:lnTo>
                  <a:lnTo>
                    <a:pt x="12966" y="2012"/>
                  </a:lnTo>
                  <a:lnTo>
                    <a:pt x="12959" y="2011"/>
                  </a:lnTo>
                  <a:lnTo>
                    <a:pt x="12952" y="2007"/>
                  </a:lnTo>
                  <a:lnTo>
                    <a:pt x="12948" y="2001"/>
                  </a:lnTo>
                  <a:lnTo>
                    <a:pt x="12946" y="1992"/>
                  </a:lnTo>
                  <a:lnTo>
                    <a:pt x="12946" y="1879"/>
                  </a:lnTo>
                  <a:lnTo>
                    <a:pt x="12948" y="1872"/>
                  </a:lnTo>
                  <a:lnTo>
                    <a:pt x="12952" y="1865"/>
                  </a:lnTo>
                  <a:lnTo>
                    <a:pt x="12959" y="1861"/>
                  </a:lnTo>
                  <a:lnTo>
                    <a:pt x="12966" y="1860"/>
                  </a:lnTo>
                  <a:lnTo>
                    <a:pt x="12974" y="1861"/>
                  </a:lnTo>
                  <a:lnTo>
                    <a:pt x="12981" y="1865"/>
                  </a:lnTo>
                  <a:lnTo>
                    <a:pt x="12984" y="1872"/>
                  </a:lnTo>
                  <a:lnTo>
                    <a:pt x="12987" y="1879"/>
                  </a:lnTo>
                  <a:close/>
                  <a:moveTo>
                    <a:pt x="13776" y="1645"/>
                  </a:moveTo>
                  <a:lnTo>
                    <a:pt x="13776" y="1758"/>
                  </a:lnTo>
                  <a:lnTo>
                    <a:pt x="13774" y="1767"/>
                  </a:lnTo>
                  <a:lnTo>
                    <a:pt x="13769" y="1773"/>
                  </a:lnTo>
                  <a:lnTo>
                    <a:pt x="13763" y="1777"/>
                  </a:lnTo>
                  <a:lnTo>
                    <a:pt x="13756" y="1778"/>
                  </a:lnTo>
                  <a:lnTo>
                    <a:pt x="13749" y="1777"/>
                  </a:lnTo>
                  <a:lnTo>
                    <a:pt x="13742" y="1773"/>
                  </a:lnTo>
                  <a:lnTo>
                    <a:pt x="13737" y="1767"/>
                  </a:lnTo>
                  <a:lnTo>
                    <a:pt x="13736" y="1758"/>
                  </a:lnTo>
                  <a:lnTo>
                    <a:pt x="13736" y="1645"/>
                  </a:lnTo>
                  <a:lnTo>
                    <a:pt x="13737" y="1636"/>
                  </a:lnTo>
                  <a:lnTo>
                    <a:pt x="13742" y="1631"/>
                  </a:lnTo>
                  <a:lnTo>
                    <a:pt x="13749" y="1627"/>
                  </a:lnTo>
                  <a:lnTo>
                    <a:pt x="13756" y="1626"/>
                  </a:lnTo>
                  <a:lnTo>
                    <a:pt x="13763" y="1627"/>
                  </a:lnTo>
                  <a:lnTo>
                    <a:pt x="13769" y="1631"/>
                  </a:lnTo>
                  <a:lnTo>
                    <a:pt x="13774" y="1636"/>
                  </a:lnTo>
                  <a:lnTo>
                    <a:pt x="13776" y="1645"/>
                  </a:lnTo>
                  <a:close/>
                  <a:moveTo>
                    <a:pt x="13513" y="1645"/>
                  </a:moveTo>
                  <a:lnTo>
                    <a:pt x="13513" y="1758"/>
                  </a:lnTo>
                  <a:lnTo>
                    <a:pt x="13511" y="1767"/>
                  </a:lnTo>
                  <a:lnTo>
                    <a:pt x="13506" y="1773"/>
                  </a:lnTo>
                  <a:lnTo>
                    <a:pt x="13500" y="1777"/>
                  </a:lnTo>
                  <a:lnTo>
                    <a:pt x="13492" y="1778"/>
                  </a:lnTo>
                  <a:lnTo>
                    <a:pt x="13486" y="1777"/>
                  </a:lnTo>
                  <a:lnTo>
                    <a:pt x="13479" y="1773"/>
                  </a:lnTo>
                  <a:lnTo>
                    <a:pt x="13474" y="1767"/>
                  </a:lnTo>
                  <a:lnTo>
                    <a:pt x="13473" y="1758"/>
                  </a:lnTo>
                  <a:lnTo>
                    <a:pt x="13473" y="1645"/>
                  </a:lnTo>
                  <a:lnTo>
                    <a:pt x="13474" y="1636"/>
                  </a:lnTo>
                  <a:lnTo>
                    <a:pt x="13479" y="1631"/>
                  </a:lnTo>
                  <a:lnTo>
                    <a:pt x="13486" y="1627"/>
                  </a:lnTo>
                  <a:lnTo>
                    <a:pt x="13492" y="1626"/>
                  </a:lnTo>
                  <a:lnTo>
                    <a:pt x="13500" y="1627"/>
                  </a:lnTo>
                  <a:lnTo>
                    <a:pt x="13506" y="1631"/>
                  </a:lnTo>
                  <a:lnTo>
                    <a:pt x="13511" y="1636"/>
                  </a:lnTo>
                  <a:lnTo>
                    <a:pt x="13513" y="1645"/>
                  </a:lnTo>
                  <a:close/>
                  <a:moveTo>
                    <a:pt x="13250" y="1645"/>
                  </a:moveTo>
                  <a:lnTo>
                    <a:pt x="13250" y="1758"/>
                  </a:lnTo>
                  <a:lnTo>
                    <a:pt x="13247" y="1767"/>
                  </a:lnTo>
                  <a:lnTo>
                    <a:pt x="13243" y="1773"/>
                  </a:lnTo>
                  <a:lnTo>
                    <a:pt x="13237" y="1777"/>
                  </a:lnTo>
                  <a:lnTo>
                    <a:pt x="13229" y="1778"/>
                  </a:lnTo>
                  <a:lnTo>
                    <a:pt x="13222" y="1777"/>
                  </a:lnTo>
                  <a:lnTo>
                    <a:pt x="13215" y="1773"/>
                  </a:lnTo>
                  <a:lnTo>
                    <a:pt x="13211" y="1767"/>
                  </a:lnTo>
                  <a:lnTo>
                    <a:pt x="13210" y="1758"/>
                  </a:lnTo>
                  <a:lnTo>
                    <a:pt x="13210" y="1645"/>
                  </a:lnTo>
                  <a:lnTo>
                    <a:pt x="13211" y="1636"/>
                  </a:lnTo>
                  <a:lnTo>
                    <a:pt x="13215" y="1631"/>
                  </a:lnTo>
                  <a:lnTo>
                    <a:pt x="13222" y="1627"/>
                  </a:lnTo>
                  <a:lnTo>
                    <a:pt x="13229" y="1626"/>
                  </a:lnTo>
                  <a:lnTo>
                    <a:pt x="13237" y="1627"/>
                  </a:lnTo>
                  <a:lnTo>
                    <a:pt x="13243" y="1631"/>
                  </a:lnTo>
                  <a:lnTo>
                    <a:pt x="13247" y="1636"/>
                  </a:lnTo>
                  <a:lnTo>
                    <a:pt x="13250" y="1645"/>
                  </a:lnTo>
                  <a:close/>
                  <a:moveTo>
                    <a:pt x="12987" y="1645"/>
                  </a:moveTo>
                  <a:lnTo>
                    <a:pt x="12987" y="1758"/>
                  </a:lnTo>
                  <a:lnTo>
                    <a:pt x="12984" y="1767"/>
                  </a:lnTo>
                  <a:lnTo>
                    <a:pt x="12981" y="1773"/>
                  </a:lnTo>
                  <a:lnTo>
                    <a:pt x="12974" y="1777"/>
                  </a:lnTo>
                  <a:lnTo>
                    <a:pt x="12966" y="1778"/>
                  </a:lnTo>
                  <a:lnTo>
                    <a:pt x="12959" y="1777"/>
                  </a:lnTo>
                  <a:lnTo>
                    <a:pt x="12952" y="1773"/>
                  </a:lnTo>
                  <a:lnTo>
                    <a:pt x="12948" y="1767"/>
                  </a:lnTo>
                  <a:lnTo>
                    <a:pt x="12946" y="1758"/>
                  </a:lnTo>
                  <a:lnTo>
                    <a:pt x="12946" y="1645"/>
                  </a:lnTo>
                  <a:lnTo>
                    <a:pt x="12948" y="1636"/>
                  </a:lnTo>
                  <a:lnTo>
                    <a:pt x="12952" y="1631"/>
                  </a:lnTo>
                  <a:lnTo>
                    <a:pt x="12959" y="1627"/>
                  </a:lnTo>
                  <a:lnTo>
                    <a:pt x="12966" y="1626"/>
                  </a:lnTo>
                  <a:lnTo>
                    <a:pt x="12974" y="1627"/>
                  </a:lnTo>
                  <a:lnTo>
                    <a:pt x="12981" y="1631"/>
                  </a:lnTo>
                  <a:lnTo>
                    <a:pt x="12984" y="1636"/>
                  </a:lnTo>
                  <a:lnTo>
                    <a:pt x="12987" y="1645"/>
                  </a:lnTo>
                  <a:close/>
                  <a:moveTo>
                    <a:pt x="13776" y="1411"/>
                  </a:moveTo>
                  <a:lnTo>
                    <a:pt x="13776" y="1524"/>
                  </a:lnTo>
                  <a:lnTo>
                    <a:pt x="13774" y="1533"/>
                  </a:lnTo>
                  <a:lnTo>
                    <a:pt x="13769" y="1539"/>
                  </a:lnTo>
                  <a:lnTo>
                    <a:pt x="13763" y="1543"/>
                  </a:lnTo>
                  <a:lnTo>
                    <a:pt x="13756" y="1544"/>
                  </a:lnTo>
                  <a:lnTo>
                    <a:pt x="13749" y="1543"/>
                  </a:lnTo>
                  <a:lnTo>
                    <a:pt x="13742" y="1539"/>
                  </a:lnTo>
                  <a:lnTo>
                    <a:pt x="13737" y="1533"/>
                  </a:lnTo>
                  <a:lnTo>
                    <a:pt x="13736" y="1524"/>
                  </a:lnTo>
                  <a:lnTo>
                    <a:pt x="13736" y="1411"/>
                  </a:lnTo>
                  <a:lnTo>
                    <a:pt x="13737" y="1402"/>
                  </a:lnTo>
                  <a:lnTo>
                    <a:pt x="13742" y="1397"/>
                  </a:lnTo>
                  <a:lnTo>
                    <a:pt x="13749" y="1393"/>
                  </a:lnTo>
                  <a:lnTo>
                    <a:pt x="13756" y="1392"/>
                  </a:lnTo>
                  <a:lnTo>
                    <a:pt x="13763" y="1393"/>
                  </a:lnTo>
                  <a:lnTo>
                    <a:pt x="13769" y="1397"/>
                  </a:lnTo>
                  <a:lnTo>
                    <a:pt x="13774" y="1402"/>
                  </a:lnTo>
                  <a:lnTo>
                    <a:pt x="13776" y="1411"/>
                  </a:lnTo>
                  <a:close/>
                  <a:moveTo>
                    <a:pt x="13513" y="1411"/>
                  </a:moveTo>
                  <a:lnTo>
                    <a:pt x="13513" y="1524"/>
                  </a:lnTo>
                  <a:lnTo>
                    <a:pt x="13511" y="1533"/>
                  </a:lnTo>
                  <a:lnTo>
                    <a:pt x="13506" y="1539"/>
                  </a:lnTo>
                  <a:lnTo>
                    <a:pt x="13500" y="1543"/>
                  </a:lnTo>
                  <a:lnTo>
                    <a:pt x="13492" y="1544"/>
                  </a:lnTo>
                  <a:lnTo>
                    <a:pt x="13486" y="1543"/>
                  </a:lnTo>
                  <a:lnTo>
                    <a:pt x="13479" y="1539"/>
                  </a:lnTo>
                  <a:lnTo>
                    <a:pt x="13474" y="1533"/>
                  </a:lnTo>
                  <a:lnTo>
                    <a:pt x="13473" y="1524"/>
                  </a:lnTo>
                  <a:lnTo>
                    <a:pt x="13473" y="1411"/>
                  </a:lnTo>
                  <a:lnTo>
                    <a:pt x="13474" y="1402"/>
                  </a:lnTo>
                  <a:lnTo>
                    <a:pt x="13479" y="1397"/>
                  </a:lnTo>
                  <a:lnTo>
                    <a:pt x="13486" y="1393"/>
                  </a:lnTo>
                  <a:lnTo>
                    <a:pt x="13492" y="1392"/>
                  </a:lnTo>
                  <a:lnTo>
                    <a:pt x="13500" y="1393"/>
                  </a:lnTo>
                  <a:lnTo>
                    <a:pt x="13506" y="1397"/>
                  </a:lnTo>
                  <a:lnTo>
                    <a:pt x="13511" y="1402"/>
                  </a:lnTo>
                  <a:lnTo>
                    <a:pt x="13513" y="1411"/>
                  </a:lnTo>
                  <a:close/>
                  <a:moveTo>
                    <a:pt x="13250" y="1411"/>
                  </a:moveTo>
                  <a:lnTo>
                    <a:pt x="13250" y="1524"/>
                  </a:lnTo>
                  <a:lnTo>
                    <a:pt x="13247" y="1533"/>
                  </a:lnTo>
                  <a:lnTo>
                    <a:pt x="13243" y="1539"/>
                  </a:lnTo>
                  <a:lnTo>
                    <a:pt x="13237" y="1543"/>
                  </a:lnTo>
                  <a:lnTo>
                    <a:pt x="13229" y="1544"/>
                  </a:lnTo>
                  <a:lnTo>
                    <a:pt x="13222" y="1543"/>
                  </a:lnTo>
                  <a:lnTo>
                    <a:pt x="13215" y="1539"/>
                  </a:lnTo>
                  <a:lnTo>
                    <a:pt x="13211" y="1533"/>
                  </a:lnTo>
                  <a:lnTo>
                    <a:pt x="13210" y="1524"/>
                  </a:lnTo>
                  <a:lnTo>
                    <a:pt x="13210" y="1411"/>
                  </a:lnTo>
                  <a:lnTo>
                    <a:pt x="13211" y="1402"/>
                  </a:lnTo>
                  <a:lnTo>
                    <a:pt x="13215" y="1397"/>
                  </a:lnTo>
                  <a:lnTo>
                    <a:pt x="13222" y="1393"/>
                  </a:lnTo>
                  <a:lnTo>
                    <a:pt x="13229" y="1392"/>
                  </a:lnTo>
                  <a:lnTo>
                    <a:pt x="13237" y="1393"/>
                  </a:lnTo>
                  <a:lnTo>
                    <a:pt x="13243" y="1397"/>
                  </a:lnTo>
                  <a:lnTo>
                    <a:pt x="13247" y="1402"/>
                  </a:lnTo>
                  <a:lnTo>
                    <a:pt x="13250" y="1411"/>
                  </a:lnTo>
                  <a:close/>
                  <a:moveTo>
                    <a:pt x="12987" y="1411"/>
                  </a:moveTo>
                  <a:lnTo>
                    <a:pt x="12987" y="1524"/>
                  </a:lnTo>
                  <a:lnTo>
                    <a:pt x="12984" y="1533"/>
                  </a:lnTo>
                  <a:lnTo>
                    <a:pt x="12981" y="1539"/>
                  </a:lnTo>
                  <a:lnTo>
                    <a:pt x="12974" y="1543"/>
                  </a:lnTo>
                  <a:lnTo>
                    <a:pt x="12966" y="1544"/>
                  </a:lnTo>
                  <a:lnTo>
                    <a:pt x="12959" y="1543"/>
                  </a:lnTo>
                  <a:lnTo>
                    <a:pt x="12952" y="1539"/>
                  </a:lnTo>
                  <a:lnTo>
                    <a:pt x="12948" y="1533"/>
                  </a:lnTo>
                  <a:lnTo>
                    <a:pt x="12946" y="1524"/>
                  </a:lnTo>
                  <a:lnTo>
                    <a:pt x="12946" y="1411"/>
                  </a:lnTo>
                  <a:lnTo>
                    <a:pt x="12948" y="1402"/>
                  </a:lnTo>
                  <a:lnTo>
                    <a:pt x="12952" y="1397"/>
                  </a:lnTo>
                  <a:lnTo>
                    <a:pt x="12959" y="1393"/>
                  </a:lnTo>
                  <a:lnTo>
                    <a:pt x="12966" y="1392"/>
                  </a:lnTo>
                  <a:lnTo>
                    <a:pt x="12974" y="1393"/>
                  </a:lnTo>
                  <a:lnTo>
                    <a:pt x="12981" y="1397"/>
                  </a:lnTo>
                  <a:lnTo>
                    <a:pt x="12984" y="1402"/>
                  </a:lnTo>
                  <a:lnTo>
                    <a:pt x="12987" y="1411"/>
                  </a:lnTo>
                  <a:close/>
                  <a:moveTo>
                    <a:pt x="13776" y="1177"/>
                  </a:moveTo>
                  <a:lnTo>
                    <a:pt x="13776" y="1290"/>
                  </a:lnTo>
                  <a:lnTo>
                    <a:pt x="13774" y="1299"/>
                  </a:lnTo>
                  <a:lnTo>
                    <a:pt x="13769" y="1305"/>
                  </a:lnTo>
                  <a:lnTo>
                    <a:pt x="13763" y="1309"/>
                  </a:lnTo>
                  <a:lnTo>
                    <a:pt x="13756" y="1309"/>
                  </a:lnTo>
                  <a:lnTo>
                    <a:pt x="13749" y="1309"/>
                  </a:lnTo>
                  <a:lnTo>
                    <a:pt x="13742" y="1305"/>
                  </a:lnTo>
                  <a:lnTo>
                    <a:pt x="13737" y="1299"/>
                  </a:lnTo>
                  <a:lnTo>
                    <a:pt x="13736" y="1290"/>
                  </a:lnTo>
                  <a:lnTo>
                    <a:pt x="13736" y="1177"/>
                  </a:lnTo>
                  <a:lnTo>
                    <a:pt x="13737" y="1168"/>
                  </a:lnTo>
                  <a:lnTo>
                    <a:pt x="13742" y="1163"/>
                  </a:lnTo>
                  <a:lnTo>
                    <a:pt x="13749" y="1159"/>
                  </a:lnTo>
                  <a:lnTo>
                    <a:pt x="13756" y="1158"/>
                  </a:lnTo>
                  <a:lnTo>
                    <a:pt x="13763" y="1159"/>
                  </a:lnTo>
                  <a:lnTo>
                    <a:pt x="13769" y="1163"/>
                  </a:lnTo>
                  <a:lnTo>
                    <a:pt x="13774" y="1168"/>
                  </a:lnTo>
                  <a:lnTo>
                    <a:pt x="13776" y="1177"/>
                  </a:lnTo>
                  <a:close/>
                  <a:moveTo>
                    <a:pt x="13513" y="1177"/>
                  </a:moveTo>
                  <a:lnTo>
                    <a:pt x="13513" y="1290"/>
                  </a:lnTo>
                  <a:lnTo>
                    <a:pt x="13511" y="1299"/>
                  </a:lnTo>
                  <a:lnTo>
                    <a:pt x="13506" y="1305"/>
                  </a:lnTo>
                  <a:lnTo>
                    <a:pt x="13500" y="1309"/>
                  </a:lnTo>
                  <a:lnTo>
                    <a:pt x="13492" y="1309"/>
                  </a:lnTo>
                  <a:lnTo>
                    <a:pt x="13486" y="1309"/>
                  </a:lnTo>
                  <a:lnTo>
                    <a:pt x="13479" y="1305"/>
                  </a:lnTo>
                  <a:lnTo>
                    <a:pt x="13474" y="1299"/>
                  </a:lnTo>
                  <a:lnTo>
                    <a:pt x="13473" y="1290"/>
                  </a:lnTo>
                  <a:lnTo>
                    <a:pt x="13473" y="1177"/>
                  </a:lnTo>
                  <a:lnTo>
                    <a:pt x="13474" y="1168"/>
                  </a:lnTo>
                  <a:lnTo>
                    <a:pt x="13479" y="1163"/>
                  </a:lnTo>
                  <a:lnTo>
                    <a:pt x="13486" y="1159"/>
                  </a:lnTo>
                  <a:lnTo>
                    <a:pt x="13492" y="1158"/>
                  </a:lnTo>
                  <a:lnTo>
                    <a:pt x="13500" y="1159"/>
                  </a:lnTo>
                  <a:lnTo>
                    <a:pt x="13506" y="1163"/>
                  </a:lnTo>
                  <a:lnTo>
                    <a:pt x="13511" y="1168"/>
                  </a:lnTo>
                  <a:lnTo>
                    <a:pt x="13513" y="1177"/>
                  </a:lnTo>
                  <a:close/>
                  <a:moveTo>
                    <a:pt x="13250" y="1177"/>
                  </a:moveTo>
                  <a:lnTo>
                    <a:pt x="13250" y="1290"/>
                  </a:lnTo>
                  <a:lnTo>
                    <a:pt x="13247" y="1299"/>
                  </a:lnTo>
                  <a:lnTo>
                    <a:pt x="13243" y="1305"/>
                  </a:lnTo>
                  <a:lnTo>
                    <a:pt x="13237" y="1309"/>
                  </a:lnTo>
                  <a:lnTo>
                    <a:pt x="13229" y="1309"/>
                  </a:lnTo>
                  <a:lnTo>
                    <a:pt x="13222" y="1309"/>
                  </a:lnTo>
                  <a:lnTo>
                    <a:pt x="13215" y="1305"/>
                  </a:lnTo>
                  <a:lnTo>
                    <a:pt x="13211" y="1299"/>
                  </a:lnTo>
                  <a:lnTo>
                    <a:pt x="13210" y="1290"/>
                  </a:lnTo>
                  <a:lnTo>
                    <a:pt x="13210" y="1177"/>
                  </a:lnTo>
                  <a:lnTo>
                    <a:pt x="13211" y="1168"/>
                  </a:lnTo>
                  <a:lnTo>
                    <a:pt x="13215" y="1163"/>
                  </a:lnTo>
                  <a:lnTo>
                    <a:pt x="13222" y="1159"/>
                  </a:lnTo>
                  <a:lnTo>
                    <a:pt x="13229" y="1158"/>
                  </a:lnTo>
                  <a:lnTo>
                    <a:pt x="13237" y="1159"/>
                  </a:lnTo>
                  <a:lnTo>
                    <a:pt x="13243" y="1163"/>
                  </a:lnTo>
                  <a:lnTo>
                    <a:pt x="13247" y="1168"/>
                  </a:lnTo>
                  <a:lnTo>
                    <a:pt x="13250" y="1177"/>
                  </a:lnTo>
                  <a:close/>
                  <a:moveTo>
                    <a:pt x="12987" y="1177"/>
                  </a:moveTo>
                  <a:lnTo>
                    <a:pt x="12987" y="1290"/>
                  </a:lnTo>
                  <a:lnTo>
                    <a:pt x="12984" y="1299"/>
                  </a:lnTo>
                  <a:lnTo>
                    <a:pt x="12981" y="1305"/>
                  </a:lnTo>
                  <a:lnTo>
                    <a:pt x="12974" y="1309"/>
                  </a:lnTo>
                  <a:lnTo>
                    <a:pt x="12966" y="1309"/>
                  </a:lnTo>
                  <a:lnTo>
                    <a:pt x="12959" y="1309"/>
                  </a:lnTo>
                  <a:lnTo>
                    <a:pt x="12952" y="1305"/>
                  </a:lnTo>
                  <a:lnTo>
                    <a:pt x="12948" y="1299"/>
                  </a:lnTo>
                  <a:lnTo>
                    <a:pt x="12946" y="1290"/>
                  </a:lnTo>
                  <a:lnTo>
                    <a:pt x="12946" y="1177"/>
                  </a:lnTo>
                  <a:lnTo>
                    <a:pt x="12948" y="1168"/>
                  </a:lnTo>
                  <a:lnTo>
                    <a:pt x="12952" y="1163"/>
                  </a:lnTo>
                  <a:lnTo>
                    <a:pt x="12959" y="1159"/>
                  </a:lnTo>
                  <a:lnTo>
                    <a:pt x="12966" y="1158"/>
                  </a:lnTo>
                  <a:lnTo>
                    <a:pt x="12974" y="1159"/>
                  </a:lnTo>
                  <a:lnTo>
                    <a:pt x="12981" y="1163"/>
                  </a:lnTo>
                  <a:lnTo>
                    <a:pt x="12984" y="1168"/>
                  </a:lnTo>
                  <a:lnTo>
                    <a:pt x="12987" y="1177"/>
                  </a:lnTo>
                  <a:close/>
                  <a:moveTo>
                    <a:pt x="13538" y="3927"/>
                  </a:moveTo>
                  <a:lnTo>
                    <a:pt x="13538" y="4038"/>
                  </a:lnTo>
                  <a:lnTo>
                    <a:pt x="13536" y="4047"/>
                  </a:lnTo>
                  <a:lnTo>
                    <a:pt x="13532" y="4053"/>
                  </a:lnTo>
                  <a:lnTo>
                    <a:pt x="13525" y="4057"/>
                  </a:lnTo>
                  <a:lnTo>
                    <a:pt x="13518" y="4058"/>
                  </a:lnTo>
                  <a:lnTo>
                    <a:pt x="13510" y="4057"/>
                  </a:lnTo>
                  <a:lnTo>
                    <a:pt x="13504" y="4053"/>
                  </a:lnTo>
                  <a:lnTo>
                    <a:pt x="13500" y="4047"/>
                  </a:lnTo>
                  <a:lnTo>
                    <a:pt x="13497" y="4038"/>
                  </a:lnTo>
                  <a:lnTo>
                    <a:pt x="13497" y="3927"/>
                  </a:lnTo>
                  <a:lnTo>
                    <a:pt x="13500" y="3918"/>
                  </a:lnTo>
                  <a:lnTo>
                    <a:pt x="13504" y="3911"/>
                  </a:lnTo>
                  <a:lnTo>
                    <a:pt x="13510" y="3907"/>
                  </a:lnTo>
                  <a:lnTo>
                    <a:pt x="13518" y="3906"/>
                  </a:lnTo>
                  <a:lnTo>
                    <a:pt x="13525" y="3907"/>
                  </a:lnTo>
                  <a:lnTo>
                    <a:pt x="13532" y="3911"/>
                  </a:lnTo>
                  <a:lnTo>
                    <a:pt x="13536" y="3918"/>
                  </a:lnTo>
                  <a:lnTo>
                    <a:pt x="13538" y="3927"/>
                  </a:lnTo>
                  <a:close/>
                  <a:moveTo>
                    <a:pt x="13274" y="3927"/>
                  </a:moveTo>
                  <a:lnTo>
                    <a:pt x="13274" y="4038"/>
                  </a:lnTo>
                  <a:lnTo>
                    <a:pt x="13273" y="4047"/>
                  </a:lnTo>
                  <a:lnTo>
                    <a:pt x="13269" y="4053"/>
                  </a:lnTo>
                  <a:lnTo>
                    <a:pt x="13263" y="4057"/>
                  </a:lnTo>
                  <a:lnTo>
                    <a:pt x="13255" y="4058"/>
                  </a:lnTo>
                  <a:lnTo>
                    <a:pt x="13247" y="4057"/>
                  </a:lnTo>
                  <a:lnTo>
                    <a:pt x="13241" y="4053"/>
                  </a:lnTo>
                  <a:lnTo>
                    <a:pt x="13237" y="4047"/>
                  </a:lnTo>
                  <a:lnTo>
                    <a:pt x="13234" y="4038"/>
                  </a:lnTo>
                  <a:lnTo>
                    <a:pt x="13234" y="3927"/>
                  </a:lnTo>
                  <a:lnTo>
                    <a:pt x="13237" y="3918"/>
                  </a:lnTo>
                  <a:lnTo>
                    <a:pt x="13241" y="3911"/>
                  </a:lnTo>
                  <a:lnTo>
                    <a:pt x="13247" y="3907"/>
                  </a:lnTo>
                  <a:lnTo>
                    <a:pt x="13255" y="3906"/>
                  </a:lnTo>
                  <a:lnTo>
                    <a:pt x="13263" y="3907"/>
                  </a:lnTo>
                  <a:lnTo>
                    <a:pt x="13269" y="3911"/>
                  </a:lnTo>
                  <a:lnTo>
                    <a:pt x="13273" y="3918"/>
                  </a:lnTo>
                  <a:lnTo>
                    <a:pt x="13274" y="3927"/>
                  </a:lnTo>
                  <a:close/>
                  <a:moveTo>
                    <a:pt x="13011" y="3927"/>
                  </a:moveTo>
                  <a:lnTo>
                    <a:pt x="13011" y="4038"/>
                  </a:lnTo>
                  <a:lnTo>
                    <a:pt x="13010" y="4047"/>
                  </a:lnTo>
                  <a:lnTo>
                    <a:pt x="13005" y="4053"/>
                  </a:lnTo>
                  <a:lnTo>
                    <a:pt x="12998" y="4057"/>
                  </a:lnTo>
                  <a:lnTo>
                    <a:pt x="12992" y="4058"/>
                  </a:lnTo>
                  <a:lnTo>
                    <a:pt x="12984" y="4057"/>
                  </a:lnTo>
                  <a:lnTo>
                    <a:pt x="12978" y="4053"/>
                  </a:lnTo>
                  <a:lnTo>
                    <a:pt x="12973" y="4047"/>
                  </a:lnTo>
                  <a:lnTo>
                    <a:pt x="12972" y="4038"/>
                  </a:lnTo>
                  <a:lnTo>
                    <a:pt x="12972" y="3927"/>
                  </a:lnTo>
                  <a:lnTo>
                    <a:pt x="12973" y="3918"/>
                  </a:lnTo>
                  <a:lnTo>
                    <a:pt x="12978" y="3911"/>
                  </a:lnTo>
                  <a:lnTo>
                    <a:pt x="12984" y="3907"/>
                  </a:lnTo>
                  <a:lnTo>
                    <a:pt x="12992" y="3906"/>
                  </a:lnTo>
                  <a:lnTo>
                    <a:pt x="12998" y="3907"/>
                  </a:lnTo>
                  <a:lnTo>
                    <a:pt x="13005" y="3911"/>
                  </a:lnTo>
                  <a:lnTo>
                    <a:pt x="13010" y="3918"/>
                  </a:lnTo>
                  <a:lnTo>
                    <a:pt x="13011" y="3927"/>
                  </a:lnTo>
                  <a:close/>
                  <a:moveTo>
                    <a:pt x="12748" y="3927"/>
                  </a:moveTo>
                  <a:lnTo>
                    <a:pt x="12748" y="4038"/>
                  </a:lnTo>
                  <a:lnTo>
                    <a:pt x="12747" y="4047"/>
                  </a:lnTo>
                  <a:lnTo>
                    <a:pt x="12742" y="4053"/>
                  </a:lnTo>
                  <a:lnTo>
                    <a:pt x="12736" y="4057"/>
                  </a:lnTo>
                  <a:lnTo>
                    <a:pt x="12729" y="4058"/>
                  </a:lnTo>
                  <a:lnTo>
                    <a:pt x="12721" y="4057"/>
                  </a:lnTo>
                  <a:lnTo>
                    <a:pt x="12715" y="4053"/>
                  </a:lnTo>
                  <a:lnTo>
                    <a:pt x="12710" y="4047"/>
                  </a:lnTo>
                  <a:lnTo>
                    <a:pt x="12709" y="4038"/>
                  </a:lnTo>
                  <a:lnTo>
                    <a:pt x="12709" y="3927"/>
                  </a:lnTo>
                  <a:lnTo>
                    <a:pt x="12710" y="3918"/>
                  </a:lnTo>
                  <a:lnTo>
                    <a:pt x="12715" y="3911"/>
                  </a:lnTo>
                  <a:lnTo>
                    <a:pt x="12721" y="3907"/>
                  </a:lnTo>
                  <a:lnTo>
                    <a:pt x="12729" y="3906"/>
                  </a:lnTo>
                  <a:lnTo>
                    <a:pt x="12736" y="3907"/>
                  </a:lnTo>
                  <a:lnTo>
                    <a:pt x="12742" y="3911"/>
                  </a:lnTo>
                  <a:lnTo>
                    <a:pt x="12747" y="3918"/>
                  </a:lnTo>
                  <a:lnTo>
                    <a:pt x="12748" y="3927"/>
                  </a:lnTo>
                  <a:close/>
                  <a:moveTo>
                    <a:pt x="13538" y="3681"/>
                  </a:moveTo>
                  <a:lnTo>
                    <a:pt x="13538" y="3792"/>
                  </a:lnTo>
                  <a:lnTo>
                    <a:pt x="13536" y="3801"/>
                  </a:lnTo>
                  <a:lnTo>
                    <a:pt x="13532" y="3808"/>
                  </a:lnTo>
                  <a:lnTo>
                    <a:pt x="13525" y="3811"/>
                  </a:lnTo>
                  <a:lnTo>
                    <a:pt x="13518" y="3813"/>
                  </a:lnTo>
                  <a:lnTo>
                    <a:pt x="13510" y="3811"/>
                  </a:lnTo>
                  <a:lnTo>
                    <a:pt x="13504" y="3808"/>
                  </a:lnTo>
                  <a:lnTo>
                    <a:pt x="13500" y="3801"/>
                  </a:lnTo>
                  <a:lnTo>
                    <a:pt x="13497" y="3792"/>
                  </a:lnTo>
                  <a:lnTo>
                    <a:pt x="13497" y="3681"/>
                  </a:lnTo>
                  <a:lnTo>
                    <a:pt x="13500" y="3672"/>
                  </a:lnTo>
                  <a:lnTo>
                    <a:pt x="13504" y="3666"/>
                  </a:lnTo>
                  <a:lnTo>
                    <a:pt x="13510" y="3662"/>
                  </a:lnTo>
                  <a:lnTo>
                    <a:pt x="13518" y="3661"/>
                  </a:lnTo>
                  <a:lnTo>
                    <a:pt x="13525" y="3662"/>
                  </a:lnTo>
                  <a:lnTo>
                    <a:pt x="13532" y="3666"/>
                  </a:lnTo>
                  <a:lnTo>
                    <a:pt x="13536" y="3672"/>
                  </a:lnTo>
                  <a:lnTo>
                    <a:pt x="13538" y="3681"/>
                  </a:lnTo>
                  <a:close/>
                  <a:moveTo>
                    <a:pt x="13274" y="3681"/>
                  </a:moveTo>
                  <a:lnTo>
                    <a:pt x="13274" y="3792"/>
                  </a:lnTo>
                  <a:lnTo>
                    <a:pt x="13273" y="3801"/>
                  </a:lnTo>
                  <a:lnTo>
                    <a:pt x="13269" y="3808"/>
                  </a:lnTo>
                  <a:lnTo>
                    <a:pt x="13263" y="3811"/>
                  </a:lnTo>
                  <a:lnTo>
                    <a:pt x="13255" y="3813"/>
                  </a:lnTo>
                  <a:lnTo>
                    <a:pt x="13247" y="3811"/>
                  </a:lnTo>
                  <a:lnTo>
                    <a:pt x="13241" y="3808"/>
                  </a:lnTo>
                  <a:lnTo>
                    <a:pt x="13237" y="3801"/>
                  </a:lnTo>
                  <a:lnTo>
                    <a:pt x="13234" y="3792"/>
                  </a:lnTo>
                  <a:lnTo>
                    <a:pt x="13234" y="3681"/>
                  </a:lnTo>
                  <a:lnTo>
                    <a:pt x="13237" y="3672"/>
                  </a:lnTo>
                  <a:lnTo>
                    <a:pt x="13241" y="3666"/>
                  </a:lnTo>
                  <a:lnTo>
                    <a:pt x="13247" y="3662"/>
                  </a:lnTo>
                  <a:lnTo>
                    <a:pt x="13255" y="3661"/>
                  </a:lnTo>
                  <a:lnTo>
                    <a:pt x="13263" y="3662"/>
                  </a:lnTo>
                  <a:lnTo>
                    <a:pt x="13269" y="3666"/>
                  </a:lnTo>
                  <a:lnTo>
                    <a:pt x="13273" y="3672"/>
                  </a:lnTo>
                  <a:lnTo>
                    <a:pt x="13274" y="3681"/>
                  </a:lnTo>
                  <a:close/>
                  <a:moveTo>
                    <a:pt x="13011" y="3681"/>
                  </a:moveTo>
                  <a:lnTo>
                    <a:pt x="13011" y="3792"/>
                  </a:lnTo>
                  <a:lnTo>
                    <a:pt x="13010" y="3801"/>
                  </a:lnTo>
                  <a:lnTo>
                    <a:pt x="13005" y="3808"/>
                  </a:lnTo>
                  <a:lnTo>
                    <a:pt x="12998" y="3811"/>
                  </a:lnTo>
                  <a:lnTo>
                    <a:pt x="12992" y="3813"/>
                  </a:lnTo>
                  <a:lnTo>
                    <a:pt x="12984" y="3811"/>
                  </a:lnTo>
                  <a:lnTo>
                    <a:pt x="12978" y="3808"/>
                  </a:lnTo>
                  <a:lnTo>
                    <a:pt x="12973" y="3801"/>
                  </a:lnTo>
                  <a:lnTo>
                    <a:pt x="12972" y="3792"/>
                  </a:lnTo>
                  <a:lnTo>
                    <a:pt x="12972" y="3681"/>
                  </a:lnTo>
                  <a:lnTo>
                    <a:pt x="12973" y="3672"/>
                  </a:lnTo>
                  <a:lnTo>
                    <a:pt x="12978" y="3666"/>
                  </a:lnTo>
                  <a:lnTo>
                    <a:pt x="12984" y="3662"/>
                  </a:lnTo>
                  <a:lnTo>
                    <a:pt x="12992" y="3661"/>
                  </a:lnTo>
                  <a:lnTo>
                    <a:pt x="12998" y="3662"/>
                  </a:lnTo>
                  <a:lnTo>
                    <a:pt x="13005" y="3666"/>
                  </a:lnTo>
                  <a:lnTo>
                    <a:pt x="13010" y="3672"/>
                  </a:lnTo>
                  <a:lnTo>
                    <a:pt x="13011" y="3681"/>
                  </a:lnTo>
                  <a:close/>
                  <a:moveTo>
                    <a:pt x="12748" y="3681"/>
                  </a:moveTo>
                  <a:lnTo>
                    <a:pt x="12748" y="3792"/>
                  </a:lnTo>
                  <a:lnTo>
                    <a:pt x="12747" y="3801"/>
                  </a:lnTo>
                  <a:lnTo>
                    <a:pt x="12742" y="3808"/>
                  </a:lnTo>
                  <a:lnTo>
                    <a:pt x="12736" y="3811"/>
                  </a:lnTo>
                  <a:lnTo>
                    <a:pt x="12729" y="3813"/>
                  </a:lnTo>
                  <a:lnTo>
                    <a:pt x="12721" y="3811"/>
                  </a:lnTo>
                  <a:lnTo>
                    <a:pt x="12715" y="3808"/>
                  </a:lnTo>
                  <a:lnTo>
                    <a:pt x="12710" y="3801"/>
                  </a:lnTo>
                  <a:lnTo>
                    <a:pt x="12709" y="3792"/>
                  </a:lnTo>
                  <a:lnTo>
                    <a:pt x="12709" y="3681"/>
                  </a:lnTo>
                  <a:lnTo>
                    <a:pt x="12710" y="3672"/>
                  </a:lnTo>
                  <a:lnTo>
                    <a:pt x="12715" y="3666"/>
                  </a:lnTo>
                  <a:lnTo>
                    <a:pt x="12721" y="3662"/>
                  </a:lnTo>
                  <a:lnTo>
                    <a:pt x="12729" y="3661"/>
                  </a:lnTo>
                  <a:lnTo>
                    <a:pt x="12736" y="3662"/>
                  </a:lnTo>
                  <a:lnTo>
                    <a:pt x="12742" y="3666"/>
                  </a:lnTo>
                  <a:lnTo>
                    <a:pt x="12747" y="3672"/>
                  </a:lnTo>
                  <a:lnTo>
                    <a:pt x="12748" y="3681"/>
                  </a:lnTo>
                  <a:close/>
                  <a:moveTo>
                    <a:pt x="13538" y="3436"/>
                  </a:moveTo>
                  <a:lnTo>
                    <a:pt x="13538" y="3547"/>
                  </a:lnTo>
                  <a:lnTo>
                    <a:pt x="13536" y="3556"/>
                  </a:lnTo>
                  <a:lnTo>
                    <a:pt x="13532" y="3562"/>
                  </a:lnTo>
                  <a:lnTo>
                    <a:pt x="13525" y="3566"/>
                  </a:lnTo>
                  <a:lnTo>
                    <a:pt x="13518" y="3567"/>
                  </a:lnTo>
                  <a:lnTo>
                    <a:pt x="13510" y="3566"/>
                  </a:lnTo>
                  <a:lnTo>
                    <a:pt x="13504" y="3562"/>
                  </a:lnTo>
                  <a:lnTo>
                    <a:pt x="13500" y="3556"/>
                  </a:lnTo>
                  <a:lnTo>
                    <a:pt x="13497" y="3547"/>
                  </a:lnTo>
                  <a:lnTo>
                    <a:pt x="13497" y="3436"/>
                  </a:lnTo>
                  <a:lnTo>
                    <a:pt x="13500" y="3427"/>
                  </a:lnTo>
                  <a:lnTo>
                    <a:pt x="13504" y="3420"/>
                  </a:lnTo>
                  <a:lnTo>
                    <a:pt x="13510" y="3416"/>
                  </a:lnTo>
                  <a:lnTo>
                    <a:pt x="13518" y="3415"/>
                  </a:lnTo>
                  <a:lnTo>
                    <a:pt x="13525" y="3416"/>
                  </a:lnTo>
                  <a:lnTo>
                    <a:pt x="13532" y="3420"/>
                  </a:lnTo>
                  <a:lnTo>
                    <a:pt x="13536" y="3427"/>
                  </a:lnTo>
                  <a:lnTo>
                    <a:pt x="13538" y="3436"/>
                  </a:lnTo>
                  <a:close/>
                  <a:moveTo>
                    <a:pt x="13274" y="3436"/>
                  </a:moveTo>
                  <a:lnTo>
                    <a:pt x="13274" y="3547"/>
                  </a:lnTo>
                  <a:lnTo>
                    <a:pt x="13273" y="3556"/>
                  </a:lnTo>
                  <a:lnTo>
                    <a:pt x="13269" y="3562"/>
                  </a:lnTo>
                  <a:lnTo>
                    <a:pt x="13263" y="3566"/>
                  </a:lnTo>
                  <a:lnTo>
                    <a:pt x="13255" y="3567"/>
                  </a:lnTo>
                  <a:lnTo>
                    <a:pt x="13247" y="3566"/>
                  </a:lnTo>
                  <a:lnTo>
                    <a:pt x="13241" y="3562"/>
                  </a:lnTo>
                  <a:lnTo>
                    <a:pt x="13237" y="3556"/>
                  </a:lnTo>
                  <a:lnTo>
                    <a:pt x="13234" y="3547"/>
                  </a:lnTo>
                  <a:lnTo>
                    <a:pt x="13234" y="3436"/>
                  </a:lnTo>
                  <a:lnTo>
                    <a:pt x="13237" y="3427"/>
                  </a:lnTo>
                  <a:lnTo>
                    <a:pt x="13241" y="3420"/>
                  </a:lnTo>
                  <a:lnTo>
                    <a:pt x="13247" y="3416"/>
                  </a:lnTo>
                  <a:lnTo>
                    <a:pt x="13255" y="3415"/>
                  </a:lnTo>
                  <a:lnTo>
                    <a:pt x="13263" y="3416"/>
                  </a:lnTo>
                  <a:lnTo>
                    <a:pt x="13269" y="3420"/>
                  </a:lnTo>
                  <a:lnTo>
                    <a:pt x="13273" y="3427"/>
                  </a:lnTo>
                  <a:lnTo>
                    <a:pt x="13274" y="3436"/>
                  </a:lnTo>
                  <a:close/>
                  <a:moveTo>
                    <a:pt x="13011" y="3436"/>
                  </a:moveTo>
                  <a:lnTo>
                    <a:pt x="13011" y="3547"/>
                  </a:lnTo>
                  <a:lnTo>
                    <a:pt x="13010" y="3556"/>
                  </a:lnTo>
                  <a:lnTo>
                    <a:pt x="13005" y="3562"/>
                  </a:lnTo>
                  <a:lnTo>
                    <a:pt x="12998" y="3566"/>
                  </a:lnTo>
                  <a:lnTo>
                    <a:pt x="12992" y="3567"/>
                  </a:lnTo>
                  <a:lnTo>
                    <a:pt x="12984" y="3566"/>
                  </a:lnTo>
                  <a:lnTo>
                    <a:pt x="12978" y="3562"/>
                  </a:lnTo>
                  <a:lnTo>
                    <a:pt x="12973" y="3556"/>
                  </a:lnTo>
                  <a:lnTo>
                    <a:pt x="12972" y="3547"/>
                  </a:lnTo>
                  <a:lnTo>
                    <a:pt x="12972" y="3436"/>
                  </a:lnTo>
                  <a:lnTo>
                    <a:pt x="12973" y="3427"/>
                  </a:lnTo>
                  <a:lnTo>
                    <a:pt x="12978" y="3420"/>
                  </a:lnTo>
                  <a:lnTo>
                    <a:pt x="12984" y="3416"/>
                  </a:lnTo>
                  <a:lnTo>
                    <a:pt x="12992" y="3415"/>
                  </a:lnTo>
                  <a:lnTo>
                    <a:pt x="12998" y="3416"/>
                  </a:lnTo>
                  <a:lnTo>
                    <a:pt x="13005" y="3420"/>
                  </a:lnTo>
                  <a:lnTo>
                    <a:pt x="13010" y="3427"/>
                  </a:lnTo>
                  <a:lnTo>
                    <a:pt x="13011" y="3436"/>
                  </a:lnTo>
                  <a:close/>
                  <a:moveTo>
                    <a:pt x="12748" y="3436"/>
                  </a:moveTo>
                  <a:lnTo>
                    <a:pt x="12748" y="3547"/>
                  </a:lnTo>
                  <a:lnTo>
                    <a:pt x="12747" y="3556"/>
                  </a:lnTo>
                  <a:lnTo>
                    <a:pt x="12742" y="3562"/>
                  </a:lnTo>
                  <a:lnTo>
                    <a:pt x="12736" y="3566"/>
                  </a:lnTo>
                  <a:lnTo>
                    <a:pt x="12729" y="3567"/>
                  </a:lnTo>
                  <a:lnTo>
                    <a:pt x="12721" y="3566"/>
                  </a:lnTo>
                  <a:lnTo>
                    <a:pt x="12715" y="3562"/>
                  </a:lnTo>
                  <a:lnTo>
                    <a:pt x="12710" y="3556"/>
                  </a:lnTo>
                  <a:lnTo>
                    <a:pt x="12709" y="3547"/>
                  </a:lnTo>
                  <a:lnTo>
                    <a:pt x="12709" y="3436"/>
                  </a:lnTo>
                  <a:lnTo>
                    <a:pt x="12710" y="3427"/>
                  </a:lnTo>
                  <a:lnTo>
                    <a:pt x="12715" y="3420"/>
                  </a:lnTo>
                  <a:lnTo>
                    <a:pt x="12721" y="3416"/>
                  </a:lnTo>
                  <a:lnTo>
                    <a:pt x="12729" y="3415"/>
                  </a:lnTo>
                  <a:lnTo>
                    <a:pt x="12736" y="3416"/>
                  </a:lnTo>
                  <a:lnTo>
                    <a:pt x="12742" y="3420"/>
                  </a:lnTo>
                  <a:lnTo>
                    <a:pt x="12747" y="3427"/>
                  </a:lnTo>
                  <a:lnTo>
                    <a:pt x="12748" y="3436"/>
                  </a:lnTo>
                  <a:close/>
                  <a:moveTo>
                    <a:pt x="12486" y="3436"/>
                  </a:moveTo>
                  <a:lnTo>
                    <a:pt x="12486" y="3547"/>
                  </a:lnTo>
                  <a:lnTo>
                    <a:pt x="12484" y="3556"/>
                  </a:lnTo>
                  <a:lnTo>
                    <a:pt x="12479" y="3562"/>
                  </a:lnTo>
                  <a:lnTo>
                    <a:pt x="12473" y="3566"/>
                  </a:lnTo>
                  <a:lnTo>
                    <a:pt x="12465" y="3567"/>
                  </a:lnTo>
                  <a:lnTo>
                    <a:pt x="12459" y="3566"/>
                  </a:lnTo>
                  <a:lnTo>
                    <a:pt x="12452" y="3562"/>
                  </a:lnTo>
                  <a:lnTo>
                    <a:pt x="12447" y="3556"/>
                  </a:lnTo>
                  <a:lnTo>
                    <a:pt x="12446" y="3547"/>
                  </a:lnTo>
                  <a:lnTo>
                    <a:pt x="12446" y="3436"/>
                  </a:lnTo>
                  <a:lnTo>
                    <a:pt x="12447" y="3427"/>
                  </a:lnTo>
                  <a:lnTo>
                    <a:pt x="12452" y="3420"/>
                  </a:lnTo>
                  <a:lnTo>
                    <a:pt x="12459" y="3416"/>
                  </a:lnTo>
                  <a:lnTo>
                    <a:pt x="12465" y="3415"/>
                  </a:lnTo>
                  <a:lnTo>
                    <a:pt x="12473" y="3416"/>
                  </a:lnTo>
                  <a:lnTo>
                    <a:pt x="12479" y="3420"/>
                  </a:lnTo>
                  <a:lnTo>
                    <a:pt x="12484" y="3427"/>
                  </a:lnTo>
                  <a:lnTo>
                    <a:pt x="12486" y="3436"/>
                  </a:lnTo>
                  <a:close/>
                  <a:moveTo>
                    <a:pt x="10933" y="2423"/>
                  </a:moveTo>
                  <a:lnTo>
                    <a:pt x="10933" y="2535"/>
                  </a:lnTo>
                  <a:lnTo>
                    <a:pt x="10931" y="2543"/>
                  </a:lnTo>
                  <a:lnTo>
                    <a:pt x="10926" y="2549"/>
                  </a:lnTo>
                  <a:lnTo>
                    <a:pt x="10920" y="2553"/>
                  </a:lnTo>
                  <a:lnTo>
                    <a:pt x="10912" y="2555"/>
                  </a:lnTo>
                  <a:lnTo>
                    <a:pt x="10906" y="2553"/>
                  </a:lnTo>
                  <a:lnTo>
                    <a:pt x="10899" y="2549"/>
                  </a:lnTo>
                  <a:lnTo>
                    <a:pt x="10894" y="2543"/>
                  </a:lnTo>
                  <a:lnTo>
                    <a:pt x="10893" y="2535"/>
                  </a:lnTo>
                  <a:lnTo>
                    <a:pt x="10893" y="2423"/>
                  </a:lnTo>
                  <a:lnTo>
                    <a:pt x="10894" y="2414"/>
                  </a:lnTo>
                  <a:lnTo>
                    <a:pt x="10899" y="2407"/>
                  </a:lnTo>
                  <a:lnTo>
                    <a:pt x="10906" y="2404"/>
                  </a:lnTo>
                  <a:lnTo>
                    <a:pt x="10912" y="2402"/>
                  </a:lnTo>
                  <a:lnTo>
                    <a:pt x="10920" y="2404"/>
                  </a:lnTo>
                  <a:lnTo>
                    <a:pt x="10926" y="2407"/>
                  </a:lnTo>
                  <a:lnTo>
                    <a:pt x="10931" y="2414"/>
                  </a:lnTo>
                  <a:lnTo>
                    <a:pt x="10933" y="2423"/>
                  </a:lnTo>
                  <a:close/>
                  <a:moveTo>
                    <a:pt x="10670" y="2423"/>
                  </a:moveTo>
                  <a:lnTo>
                    <a:pt x="10670" y="2535"/>
                  </a:lnTo>
                  <a:lnTo>
                    <a:pt x="10669" y="2543"/>
                  </a:lnTo>
                  <a:lnTo>
                    <a:pt x="10663" y="2549"/>
                  </a:lnTo>
                  <a:lnTo>
                    <a:pt x="10657" y="2553"/>
                  </a:lnTo>
                  <a:lnTo>
                    <a:pt x="10649" y="2555"/>
                  </a:lnTo>
                  <a:lnTo>
                    <a:pt x="10643" y="2553"/>
                  </a:lnTo>
                  <a:lnTo>
                    <a:pt x="10637" y="2549"/>
                  </a:lnTo>
                  <a:lnTo>
                    <a:pt x="10631" y="2543"/>
                  </a:lnTo>
                  <a:lnTo>
                    <a:pt x="10630" y="2535"/>
                  </a:lnTo>
                  <a:lnTo>
                    <a:pt x="10630" y="2423"/>
                  </a:lnTo>
                  <a:lnTo>
                    <a:pt x="10631" y="2414"/>
                  </a:lnTo>
                  <a:lnTo>
                    <a:pt x="10637" y="2407"/>
                  </a:lnTo>
                  <a:lnTo>
                    <a:pt x="10643" y="2404"/>
                  </a:lnTo>
                  <a:lnTo>
                    <a:pt x="10649" y="2402"/>
                  </a:lnTo>
                  <a:lnTo>
                    <a:pt x="10657" y="2404"/>
                  </a:lnTo>
                  <a:lnTo>
                    <a:pt x="10663" y="2407"/>
                  </a:lnTo>
                  <a:lnTo>
                    <a:pt x="10669" y="2414"/>
                  </a:lnTo>
                  <a:lnTo>
                    <a:pt x="10670" y="2423"/>
                  </a:lnTo>
                  <a:close/>
                  <a:moveTo>
                    <a:pt x="10407" y="2423"/>
                  </a:moveTo>
                  <a:lnTo>
                    <a:pt x="10407" y="2535"/>
                  </a:lnTo>
                  <a:lnTo>
                    <a:pt x="10404" y="2543"/>
                  </a:lnTo>
                  <a:lnTo>
                    <a:pt x="10401" y="2549"/>
                  </a:lnTo>
                  <a:lnTo>
                    <a:pt x="10394" y="2553"/>
                  </a:lnTo>
                  <a:lnTo>
                    <a:pt x="10386" y="2555"/>
                  </a:lnTo>
                  <a:lnTo>
                    <a:pt x="10379" y="2553"/>
                  </a:lnTo>
                  <a:lnTo>
                    <a:pt x="10372" y="2549"/>
                  </a:lnTo>
                  <a:lnTo>
                    <a:pt x="10369" y="2543"/>
                  </a:lnTo>
                  <a:lnTo>
                    <a:pt x="10366" y="2535"/>
                  </a:lnTo>
                  <a:lnTo>
                    <a:pt x="10366" y="2423"/>
                  </a:lnTo>
                  <a:lnTo>
                    <a:pt x="10369" y="2414"/>
                  </a:lnTo>
                  <a:lnTo>
                    <a:pt x="10372" y="2407"/>
                  </a:lnTo>
                  <a:lnTo>
                    <a:pt x="10379" y="2404"/>
                  </a:lnTo>
                  <a:lnTo>
                    <a:pt x="10386" y="2402"/>
                  </a:lnTo>
                  <a:lnTo>
                    <a:pt x="10394" y="2404"/>
                  </a:lnTo>
                  <a:lnTo>
                    <a:pt x="10401" y="2407"/>
                  </a:lnTo>
                  <a:lnTo>
                    <a:pt x="10404" y="2414"/>
                  </a:lnTo>
                  <a:lnTo>
                    <a:pt x="10407" y="2423"/>
                  </a:lnTo>
                  <a:close/>
                  <a:moveTo>
                    <a:pt x="10143" y="2423"/>
                  </a:moveTo>
                  <a:lnTo>
                    <a:pt x="10143" y="2535"/>
                  </a:lnTo>
                  <a:lnTo>
                    <a:pt x="10142" y="2543"/>
                  </a:lnTo>
                  <a:lnTo>
                    <a:pt x="10138" y="2549"/>
                  </a:lnTo>
                  <a:lnTo>
                    <a:pt x="10131" y="2553"/>
                  </a:lnTo>
                  <a:lnTo>
                    <a:pt x="10124" y="2555"/>
                  </a:lnTo>
                  <a:lnTo>
                    <a:pt x="10116" y="2553"/>
                  </a:lnTo>
                  <a:lnTo>
                    <a:pt x="10109" y="2549"/>
                  </a:lnTo>
                  <a:lnTo>
                    <a:pt x="10106" y="2543"/>
                  </a:lnTo>
                  <a:lnTo>
                    <a:pt x="10103" y="2535"/>
                  </a:lnTo>
                  <a:lnTo>
                    <a:pt x="10103" y="2423"/>
                  </a:lnTo>
                  <a:lnTo>
                    <a:pt x="10106" y="2414"/>
                  </a:lnTo>
                  <a:lnTo>
                    <a:pt x="10109" y="2407"/>
                  </a:lnTo>
                  <a:lnTo>
                    <a:pt x="10116" y="2404"/>
                  </a:lnTo>
                  <a:lnTo>
                    <a:pt x="10124" y="2402"/>
                  </a:lnTo>
                  <a:lnTo>
                    <a:pt x="10131" y="2404"/>
                  </a:lnTo>
                  <a:lnTo>
                    <a:pt x="10138" y="2407"/>
                  </a:lnTo>
                  <a:lnTo>
                    <a:pt x="10142" y="2414"/>
                  </a:lnTo>
                  <a:lnTo>
                    <a:pt x="10143" y="2423"/>
                  </a:lnTo>
                  <a:close/>
                  <a:moveTo>
                    <a:pt x="9880" y="2423"/>
                  </a:moveTo>
                  <a:lnTo>
                    <a:pt x="9880" y="2535"/>
                  </a:lnTo>
                  <a:lnTo>
                    <a:pt x="9879" y="2543"/>
                  </a:lnTo>
                  <a:lnTo>
                    <a:pt x="9874" y="2549"/>
                  </a:lnTo>
                  <a:lnTo>
                    <a:pt x="9867" y="2553"/>
                  </a:lnTo>
                  <a:lnTo>
                    <a:pt x="9861" y="2555"/>
                  </a:lnTo>
                  <a:lnTo>
                    <a:pt x="9853" y="2553"/>
                  </a:lnTo>
                  <a:lnTo>
                    <a:pt x="9847" y="2549"/>
                  </a:lnTo>
                  <a:lnTo>
                    <a:pt x="9841" y="2543"/>
                  </a:lnTo>
                  <a:lnTo>
                    <a:pt x="9840" y="2535"/>
                  </a:lnTo>
                  <a:lnTo>
                    <a:pt x="9840" y="2423"/>
                  </a:lnTo>
                  <a:lnTo>
                    <a:pt x="9841" y="2414"/>
                  </a:lnTo>
                  <a:lnTo>
                    <a:pt x="9847" y="2407"/>
                  </a:lnTo>
                  <a:lnTo>
                    <a:pt x="9853" y="2404"/>
                  </a:lnTo>
                  <a:lnTo>
                    <a:pt x="9861" y="2402"/>
                  </a:lnTo>
                  <a:lnTo>
                    <a:pt x="9867" y="2404"/>
                  </a:lnTo>
                  <a:lnTo>
                    <a:pt x="9874" y="2407"/>
                  </a:lnTo>
                  <a:lnTo>
                    <a:pt x="9879" y="2414"/>
                  </a:lnTo>
                  <a:lnTo>
                    <a:pt x="9880" y="2423"/>
                  </a:lnTo>
                  <a:close/>
                  <a:moveTo>
                    <a:pt x="9617" y="2423"/>
                  </a:moveTo>
                  <a:lnTo>
                    <a:pt x="9617" y="2535"/>
                  </a:lnTo>
                  <a:lnTo>
                    <a:pt x="9616" y="2543"/>
                  </a:lnTo>
                  <a:lnTo>
                    <a:pt x="9611" y="2549"/>
                  </a:lnTo>
                  <a:lnTo>
                    <a:pt x="9604" y="2553"/>
                  </a:lnTo>
                  <a:lnTo>
                    <a:pt x="9598" y="2555"/>
                  </a:lnTo>
                  <a:lnTo>
                    <a:pt x="9590" y="2553"/>
                  </a:lnTo>
                  <a:lnTo>
                    <a:pt x="9584" y="2549"/>
                  </a:lnTo>
                  <a:lnTo>
                    <a:pt x="9579" y="2543"/>
                  </a:lnTo>
                  <a:lnTo>
                    <a:pt x="9577" y="2535"/>
                  </a:lnTo>
                  <a:lnTo>
                    <a:pt x="9577" y="2423"/>
                  </a:lnTo>
                  <a:lnTo>
                    <a:pt x="9579" y="2414"/>
                  </a:lnTo>
                  <a:lnTo>
                    <a:pt x="9584" y="2407"/>
                  </a:lnTo>
                  <a:lnTo>
                    <a:pt x="9590" y="2404"/>
                  </a:lnTo>
                  <a:lnTo>
                    <a:pt x="9598" y="2402"/>
                  </a:lnTo>
                  <a:lnTo>
                    <a:pt x="9604" y="2404"/>
                  </a:lnTo>
                  <a:lnTo>
                    <a:pt x="9611" y="2407"/>
                  </a:lnTo>
                  <a:lnTo>
                    <a:pt x="9616" y="2414"/>
                  </a:lnTo>
                  <a:lnTo>
                    <a:pt x="9617" y="2423"/>
                  </a:lnTo>
                  <a:close/>
                  <a:moveTo>
                    <a:pt x="16589" y="796"/>
                  </a:moveTo>
                  <a:lnTo>
                    <a:pt x="16589" y="847"/>
                  </a:lnTo>
                  <a:lnTo>
                    <a:pt x="16588" y="859"/>
                  </a:lnTo>
                  <a:lnTo>
                    <a:pt x="16584" y="869"/>
                  </a:lnTo>
                  <a:lnTo>
                    <a:pt x="16576" y="878"/>
                  </a:lnTo>
                  <a:lnTo>
                    <a:pt x="16566" y="883"/>
                  </a:lnTo>
                  <a:lnTo>
                    <a:pt x="16556" y="890"/>
                  </a:lnTo>
                  <a:lnTo>
                    <a:pt x="16547" y="896"/>
                  </a:lnTo>
                  <a:lnTo>
                    <a:pt x="16534" y="913"/>
                  </a:lnTo>
                  <a:lnTo>
                    <a:pt x="16529" y="923"/>
                  </a:lnTo>
                  <a:lnTo>
                    <a:pt x="16526" y="934"/>
                  </a:lnTo>
                  <a:lnTo>
                    <a:pt x="16526" y="956"/>
                  </a:lnTo>
                  <a:lnTo>
                    <a:pt x="16530" y="968"/>
                  </a:lnTo>
                  <a:lnTo>
                    <a:pt x="16535" y="978"/>
                  </a:lnTo>
                  <a:lnTo>
                    <a:pt x="16541" y="987"/>
                  </a:lnTo>
                  <a:lnTo>
                    <a:pt x="16549" y="996"/>
                  </a:lnTo>
                  <a:lnTo>
                    <a:pt x="16568" y="1006"/>
                  </a:lnTo>
                  <a:lnTo>
                    <a:pt x="16591" y="1011"/>
                  </a:lnTo>
                  <a:lnTo>
                    <a:pt x="16604" y="1009"/>
                  </a:lnTo>
                  <a:lnTo>
                    <a:pt x="16617" y="1005"/>
                  </a:lnTo>
                  <a:lnTo>
                    <a:pt x="16629" y="1000"/>
                  </a:lnTo>
                  <a:lnTo>
                    <a:pt x="16638" y="991"/>
                  </a:lnTo>
                  <a:lnTo>
                    <a:pt x="16647" y="982"/>
                  </a:lnTo>
                  <a:lnTo>
                    <a:pt x="16652" y="970"/>
                  </a:lnTo>
                  <a:lnTo>
                    <a:pt x="16656" y="957"/>
                  </a:lnTo>
                  <a:lnTo>
                    <a:pt x="16657" y="945"/>
                  </a:lnTo>
                  <a:lnTo>
                    <a:pt x="16659" y="936"/>
                  </a:lnTo>
                  <a:lnTo>
                    <a:pt x="16663" y="929"/>
                  </a:lnTo>
                  <a:lnTo>
                    <a:pt x="16670" y="925"/>
                  </a:lnTo>
                  <a:lnTo>
                    <a:pt x="16677" y="924"/>
                  </a:lnTo>
                  <a:lnTo>
                    <a:pt x="16685" y="925"/>
                  </a:lnTo>
                  <a:lnTo>
                    <a:pt x="16691" y="929"/>
                  </a:lnTo>
                  <a:lnTo>
                    <a:pt x="16695" y="936"/>
                  </a:lnTo>
                  <a:lnTo>
                    <a:pt x="16698" y="945"/>
                  </a:lnTo>
                  <a:lnTo>
                    <a:pt x="16695" y="966"/>
                  </a:lnTo>
                  <a:lnTo>
                    <a:pt x="16689" y="986"/>
                  </a:lnTo>
                  <a:lnTo>
                    <a:pt x="16679" y="1003"/>
                  </a:lnTo>
                  <a:lnTo>
                    <a:pt x="16666" y="1020"/>
                  </a:lnTo>
                  <a:lnTo>
                    <a:pt x="16650" y="1033"/>
                  </a:lnTo>
                  <a:lnTo>
                    <a:pt x="16632" y="1042"/>
                  </a:lnTo>
                  <a:lnTo>
                    <a:pt x="16612" y="1048"/>
                  </a:lnTo>
                  <a:lnTo>
                    <a:pt x="16591" y="1051"/>
                  </a:lnTo>
                  <a:lnTo>
                    <a:pt x="16572" y="1048"/>
                  </a:lnTo>
                  <a:lnTo>
                    <a:pt x="16556" y="1044"/>
                  </a:lnTo>
                  <a:lnTo>
                    <a:pt x="16539" y="1037"/>
                  </a:lnTo>
                  <a:lnTo>
                    <a:pt x="16523" y="1025"/>
                  </a:lnTo>
                  <a:lnTo>
                    <a:pt x="16511" y="1014"/>
                  </a:lnTo>
                  <a:lnTo>
                    <a:pt x="16500" y="998"/>
                  </a:lnTo>
                  <a:lnTo>
                    <a:pt x="16495" y="991"/>
                  </a:lnTo>
                  <a:lnTo>
                    <a:pt x="16491" y="982"/>
                  </a:lnTo>
                  <a:lnTo>
                    <a:pt x="16488" y="964"/>
                  </a:lnTo>
                  <a:lnTo>
                    <a:pt x="16485" y="945"/>
                  </a:lnTo>
                  <a:lnTo>
                    <a:pt x="16486" y="928"/>
                  </a:lnTo>
                  <a:lnTo>
                    <a:pt x="16490" y="910"/>
                  </a:lnTo>
                  <a:lnTo>
                    <a:pt x="16498" y="895"/>
                  </a:lnTo>
                  <a:lnTo>
                    <a:pt x="16507" y="879"/>
                  </a:lnTo>
                  <a:lnTo>
                    <a:pt x="16518" y="867"/>
                  </a:lnTo>
                  <a:lnTo>
                    <a:pt x="16532" y="856"/>
                  </a:lnTo>
                  <a:lnTo>
                    <a:pt x="16549" y="847"/>
                  </a:lnTo>
                  <a:lnTo>
                    <a:pt x="16549" y="796"/>
                  </a:lnTo>
                  <a:lnTo>
                    <a:pt x="16550" y="787"/>
                  </a:lnTo>
                  <a:lnTo>
                    <a:pt x="16556" y="782"/>
                  </a:lnTo>
                  <a:lnTo>
                    <a:pt x="16562" y="778"/>
                  </a:lnTo>
                  <a:lnTo>
                    <a:pt x="16568" y="777"/>
                  </a:lnTo>
                  <a:lnTo>
                    <a:pt x="16576" y="778"/>
                  </a:lnTo>
                  <a:lnTo>
                    <a:pt x="16582" y="782"/>
                  </a:lnTo>
                  <a:lnTo>
                    <a:pt x="16588" y="787"/>
                  </a:lnTo>
                  <a:lnTo>
                    <a:pt x="16589" y="796"/>
                  </a:lnTo>
                  <a:close/>
                  <a:moveTo>
                    <a:pt x="17183" y="112"/>
                  </a:moveTo>
                  <a:lnTo>
                    <a:pt x="17100" y="225"/>
                  </a:lnTo>
                  <a:lnTo>
                    <a:pt x="17100" y="309"/>
                  </a:lnTo>
                  <a:lnTo>
                    <a:pt x="17183" y="309"/>
                  </a:lnTo>
                  <a:lnTo>
                    <a:pt x="17183" y="112"/>
                  </a:lnTo>
                  <a:close/>
                  <a:moveTo>
                    <a:pt x="17059" y="309"/>
                  </a:moveTo>
                  <a:lnTo>
                    <a:pt x="17059" y="218"/>
                  </a:lnTo>
                  <a:lnTo>
                    <a:pt x="17063" y="207"/>
                  </a:lnTo>
                  <a:lnTo>
                    <a:pt x="17175" y="55"/>
                  </a:lnTo>
                  <a:lnTo>
                    <a:pt x="16382" y="309"/>
                  </a:lnTo>
                  <a:lnTo>
                    <a:pt x="16906" y="309"/>
                  </a:lnTo>
                  <a:lnTo>
                    <a:pt x="17015" y="309"/>
                  </a:lnTo>
                  <a:lnTo>
                    <a:pt x="17059" y="309"/>
                  </a:lnTo>
                  <a:close/>
                  <a:moveTo>
                    <a:pt x="17222" y="309"/>
                  </a:moveTo>
                  <a:lnTo>
                    <a:pt x="17388" y="309"/>
                  </a:lnTo>
                  <a:lnTo>
                    <a:pt x="17222" y="80"/>
                  </a:lnTo>
                  <a:lnTo>
                    <a:pt x="17222" y="309"/>
                  </a:lnTo>
                  <a:close/>
                  <a:moveTo>
                    <a:pt x="17183" y="481"/>
                  </a:moveTo>
                  <a:lnTo>
                    <a:pt x="17015" y="481"/>
                  </a:lnTo>
                  <a:lnTo>
                    <a:pt x="17007" y="478"/>
                  </a:lnTo>
                  <a:lnTo>
                    <a:pt x="17000" y="474"/>
                  </a:lnTo>
                  <a:lnTo>
                    <a:pt x="16995" y="468"/>
                  </a:lnTo>
                  <a:lnTo>
                    <a:pt x="16994" y="460"/>
                  </a:lnTo>
                  <a:lnTo>
                    <a:pt x="16994" y="349"/>
                  </a:lnTo>
                  <a:lnTo>
                    <a:pt x="16926" y="349"/>
                  </a:lnTo>
                  <a:lnTo>
                    <a:pt x="16926" y="552"/>
                  </a:lnTo>
                  <a:lnTo>
                    <a:pt x="17067" y="552"/>
                  </a:lnTo>
                  <a:lnTo>
                    <a:pt x="17183" y="552"/>
                  </a:lnTo>
                  <a:lnTo>
                    <a:pt x="17183" y="481"/>
                  </a:lnTo>
                  <a:close/>
                  <a:moveTo>
                    <a:pt x="17222" y="349"/>
                  </a:moveTo>
                  <a:lnTo>
                    <a:pt x="17222" y="460"/>
                  </a:lnTo>
                  <a:lnTo>
                    <a:pt x="17222" y="573"/>
                  </a:lnTo>
                  <a:lnTo>
                    <a:pt x="17222" y="1413"/>
                  </a:lnTo>
                  <a:lnTo>
                    <a:pt x="17222" y="2253"/>
                  </a:lnTo>
                  <a:lnTo>
                    <a:pt x="17220" y="2262"/>
                  </a:lnTo>
                  <a:lnTo>
                    <a:pt x="17216" y="2268"/>
                  </a:lnTo>
                  <a:lnTo>
                    <a:pt x="17209" y="2272"/>
                  </a:lnTo>
                  <a:lnTo>
                    <a:pt x="17202" y="2273"/>
                  </a:lnTo>
                  <a:lnTo>
                    <a:pt x="17194" y="2272"/>
                  </a:lnTo>
                  <a:lnTo>
                    <a:pt x="17188" y="2268"/>
                  </a:lnTo>
                  <a:lnTo>
                    <a:pt x="17184" y="2262"/>
                  </a:lnTo>
                  <a:lnTo>
                    <a:pt x="17183" y="2253"/>
                  </a:lnTo>
                  <a:lnTo>
                    <a:pt x="17183" y="1422"/>
                  </a:lnTo>
                  <a:lnTo>
                    <a:pt x="17183" y="592"/>
                  </a:lnTo>
                  <a:lnTo>
                    <a:pt x="17088" y="592"/>
                  </a:lnTo>
                  <a:lnTo>
                    <a:pt x="17088" y="1422"/>
                  </a:lnTo>
                  <a:lnTo>
                    <a:pt x="17088" y="2253"/>
                  </a:lnTo>
                  <a:lnTo>
                    <a:pt x="17085" y="2262"/>
                  </a:lnTo>
                  <a:lnTo>
                    <a:pt x="17081" y="2268"/>
                  </a:lnTo>
                  <a:lnTo>
                    <a:pt x="17075" y="2272"/>
                  </a:lnTo>
                  <a:lnTo>
                    <a:pt x="17067" y="2273"/>
                  </a:lnTo>
                  <a:lnTo>
                    <a:pt x="17059" y="2272"/>
                  </a:lnTo>
                  <a:lnTo>
                    <a:pt x="17053" y="2268"/>
                  </a:lnTo>
                  <a:lnTo>
                    <a:pt x="17049" y="2262"/>
                  </a:lnTo>
                  <a:lnTo>
                    <a:pt x="17047" y="2253"/>
                  </a:lnTo>
                  <a:lnTo>
                    <a:pt x="17047" y="1422"/>
                  </a:lnTo>
                  <a:lnTo>
                    <a:pt x="17047" y="592"/>
                  </a:lnTo>
                  <a:lnTo>
                    <a:pt x="16906" y="592"/>
                  </a:lnTo>
                  <a:lnTo>
                    <a:pt x="16898" y="590"/>
                  </a:lnTo>
                  <a:lnTo>
                    <a:pt x="16891" y="587"/>
                  </a:lnTo>
                  <a:lnTo>
                    <a:pt x="16888" y="580"/>
                  </a:lnTo>
                  <a:lnTo>
                    <a:pt x="16886" y="573"/>
                  </a:lnTo>
                  <a:lnTo>
                    <a:pt x="16886" y="349"/>
                  </a:lnTo>
                  <a:lnTo>
                    <a:pt x="16584" y="349"/>
                  </a:lnTo>
                  <a:lnTo>
                    <a:pt x="16584" y="740"/>
                  </a:lnTo>
                  <a:lnTo>
                    <a:pt x="16581" y="749"/>
                  </a:lnTo>
                  <a:lnTo>
                    <a:pt x="16577" y="755"/>
                  </a:lnTo>
                  <a:lnTo>
                    <a:pt x="16571" y="759"/>
                  </a:lnTo>
                  <a:lnTo>
                    <a:pt x="16563" y="761"/>
                  </a:lnTo>
                  <a:lnTo>
                    <a:pt x="16556" y="759"/>
                  </a:lnTo>
                  <a:lnTo>
                    <a:pt x="16549" y="755"/>
                  </a:lnTo>
                  <a:lnTo>
                    <a:pt x="16545" y="749"/>
                  </a:lnTo>
                  <a:lnTo>
                    <a:pt x="16544" y="740"/>
                  </a:lnTo>
                  <a:lnTo>
                    <a:pt x="16544" y="349"/>
                  </a:lnTo>
                  <a:lnTo>
                    <a:pt x="16255" y="349"/>
                  </a:lnTo>
                  <a:lnTo>
                    <a:pt x="16246" y="348"/>
                  </a:lnTo>
                  <a:lnTo>
                    <a:pt x="16239" y="344"/>
                  </a:lnTo>
                  <a:lnTo>
                    <a:pt x="16235" y="339"/>
                  </a:lnTo>
                  <a:lnTo>
                    <a:pt x="16232" y="332"/>
                  </a:lnTo>
                  <a:lnTo>
                    <a:pt x="16232" y="326"/>
                  </a:lnTo>
                  <a:lnTo>
                    <a:pt x="16235" y="319"/>
                  </a:lnTo>
                  <a:lnTo>
                    <a:pt x="16241" y="314"/>
                  </a:lnTo>
                  <a:lnTo>
                    <a:pt x="16249" y="310"/>
                  </a:lnTo>
                  <a:lnTo>
                    <a:pt x="17184" y="9"/>
                  </a:lnTo>
                  <a:lnTo>
                    <a:pt x="17188" y="5"/>
                  </a:lnTo>
                  <a:lnTo>
                    <a:pt x="17192" y="2"/>
                  </a:lnTo>
                  <a:lnTo>
                    <a:pt x="17203" y="0"/>
                  </a:lnTo>
                  <a:lnTo>
                    <a:pt x="17213" y="2"/>
                  </a:lnTo>
                  <a:lnTo>
                    <a:pt x="17220" y="10"/>
                  </a:lnTo>
                  <a:lnTo>
                    <a:pt x="17443" y="317"/>
                  </a:lnTo>
                  <a:lnTo>
                    <a:pt x="17447" y="323"/>
                  </a:lnTo>
                  <a:lnTo>
                    <a:pt x="17449" y="328"/>
                  </a:lnTo>
                  <a:lnTo>
                    <a:pt x="17447" y="339"/>
                  </a:lnTo>
                  <a:lnTo>
                    <a:pt x="17440" y="346"/>
                  </a:lnTo>
                  <a:lnTo>
                    <a:pt x="17427" y="349"/>
                  </a:lnTo>
                  <a:lnTo>
                    <a:pt x="17222" y="349"/>
                  </a:lnTo>
                  <a:close/>
                  <a:moveTo>
                    <a:pt x="17183" y="349"/>
                  </a:moveTo>
                  <a:lnTo>
                    <a:pt x="17034" y="349"/>
                  </a:lnTo>
                  <a:lnTo>
                    <a:pt x="17034" y="440"/>
                  </a:lnTo>
                  <a:lnTo>
                    <a:pt x="17183" y="440"/>
                  </a:lnTo>
                  <a:lnTo>
                    <a:pt x="17183" y="349"/>
                  </a:lnTo>
                  <a:close/>
                  <a:moveTo>
                    <a:pt x="15662" y="1363"/>
                  </a:moveTo>
                  <a:lnTo>
                    <a:pt x="15676" y="1370"/>
                  </a:lnTo>
                  <a:lnTo>
                    <a:pt x="15687" y="1379"/>
                  </a:lnTo>
                  <a:lnTo>
                    <a:pt x="15696" y="1391"/>
                  </a:lnTo>
                  <a:lnTo>
                    <a:pt x="15704" y="1404"/>
                  </a:lnTo>
                  <a:lnTo>
                    <a:pt x="15709" y="1417"/>
                  </a:lnTo>
                  <a:lnTo>
                    <a:pt x="15713" y="1431"/>
                  </a:lnTo>
                  <a:lnTo>
                    <a:pt x="15713" y="1461"/>
                  </a:lnTo>
                  <a:lnTo>
                    <a:pt x="15709" y="1477"/>
                  </a:lnTo>
                  <a:lnTo>
                    <a:pt x="15702" y="1491"/>
                  </a:lnTo>
                  <a:lnTo>
                    <a:pt x="15693" y="1503"/>
                  </a:lnTo>
                  <a:lnTo>
                    <a:pt x="15681" y="1515"/>
                  </a:lnTo>
                  <a:lnTo>
                    <a:pt x="15668" y="1524"/>
                  </a:lnTo>
                  <a:lnTo>
                    <a:pt x="15654" y="1530"/>
                  </a:lnTo>
                  <a:lnTo>
                    <a:pt x="15640" y="1534"/>
                  </a:lnTo>
                  <a:lnTo>
                    <a:pt x="15623" y="1535"/>
                  </a:lnTo>
                  <a:lnTo>
                    <a:pt x="15605" y="1534"/>
                  </a:lnTo>
                  <a:lnTo>
                    <a:pt x="15589" y="1529"/>
                  </a:lnTo>
                  <a:lnTo>
                    <a:pt x="15573" y="1520"/>
                  </a:lnTo>
                  <a:lnTo>
                    <a:pt x="15559" y="1509"/>
                  </a:lnTo>
                  <a:lnTo>
                    <a:pt x="15549" y="1496"/>
                  </a:lnTo>
                  <a:lnTo>
                    <a:pt x="15540" y="1480"/>
                  </a:lnTo>
                  <a:lnTo>
                    <a:pt x="15535" y="1464"/>
                  </a:lnTo>
                  <a:lnTo>
                    <a:pt x="15532" y="1445"/>
                  </a:lnTo>
                  <a:lnTo>
                    <a:pt x="15535" y="1437"/>
                  </a:lnTo>
                  <a:lnTo>
                    <a:pt x="15539" y="1431"/>
                  </a:lnTo>
                  <a:lnTo>
                    <a:pt x="15545" y="1427"/>
                  </a:lnTo>
                  <a:lnTo>
                    <a:pt x="15553" y="1425"/>
                  </a:lnTo>
                  <a:lnTo>
                    <a:pt x="15560" y="1427"/>
                  </a:lnTo>
                  <a:lnTo>
                    <a:pt x="15567" y="1431"/>
                  </a:lnTo>
                  <a:lnTo>
                    <a:pt x="15571" y="1437"/>
                  </a:lnTo>
                  <a:lnTo>
                    <a:pt x="15573" y="1445"/>
                  </a:lnTo>
                  <a:lnTo>
                    <a:pt x="15573" y="1455"/>
                  </a:lnTo>
                  <a:lnTo>
                    <a:pt x="15577" y="1465"/>
                  </a:lnTo>
                  <a:lnTo>
                    <a:pt x="15581" y="1474"/>
                  </a:lnTo>
                  <a:lnTo>
                    <a:pt x="15587" y="1480"/>
                  </a:lnTo>
                  <a:lnTo>
                    <a:pt x="15595" y="1487"/>
                  </a:lnTo>
                  <a:lnTo>
                    <a:pt x="15604" y="1492"/>
                  </a:lnTo>
                  <a:lnTo>
                    <a:pt x="15623" y="1496"/>
                  </a:lnTo>
                  <a:lnTo>
                    <a:pt x="15641" y="1492"/>
                  </a:lnTo>
                  <a:lnTo>
                    <a:pt x="15655" y="1484"/>
                  </a:lnTo>
                  <a:lnTo>
                    <a:pt x="15662" y="1478"/>
                  </a:lnTo>
                  <a:lnTo>
                    <a:pt x="15667" y="1470"/>
                  </a:lnTo>
                  <a:lnTo>
                    <a:pt x="15673" y="1455"/>
                  </a:lnTo>
                  <a:lnTo>
                    <a:pt x="15675" y="1436"/>
                  </a:lnTo>
                  <a:lnTo>
                    <a:pt x="15669" y="1423"/>
                  </a:lnTo>
                  <a:lnTo>
                    <a:pt x="15662" y="1413"/>
                  </a:lnTo>
                  <a:lnTo>
                    <a:pt x="15652" y="1405"/>
                  </a:lnTo>
                  <a:lnTo>
                    <a:pt x="15631" y="1390"/>
                  </a:lnTo>
                  <a:lnTo>
                    <a:pt x="15625" y="1379"/>
                  </a:lnTo>
                  <a:lnTo>
                    <a:pt x="15622" y="1365"/>
                  </a:lnTo>
                  <a:lnTo>
                    <a:pt x="15622" y="1323"/>
                  </a:lnTo>
                  <a:lnTo>
                    <a:pt x="15623" y="1314"/>
                  </a:lnTo>
                  <a:lnTo>
                    <a:pt x="15628" y="1308"/>
                  </a:lnTo>
                  <a:lnTo>
                    <a:pt x="15635" y="1305"/>
                  </a:lnTo>
                  <a:lnTo>
                    <a:pt x="15643" y="1304"/>
                  </a:lnTo>
                  <a:lnTo>
                    <a:pt x="15649" y="1305"/>
                  </a:lnTo>
                  <a:lnTo>
                    <a:pt x="15655" y="1308"/>
                  </a:lnTo>
                  <a:lnTo>
                    <a:pt x="15660" y="1314"/>
                  </a:lnTo>
                  <a:lnTo>
                    <a:pt x="15662" y="1323"/>
                  </a:lnTo>
                  <a:lnTo>
                    <a:pt x="15662" y="1363"/>
                  </a:lnTo>
                  <a:close/>
                  <a:moveTo>
                    <a:pt x="15667" y="963"/>
                  </a:moveTo>
                  <a:lnTo>
                    <a:pt x="15667" y="1277"/>
                  </a:lnTo>
                  <a:lnTo>
                    <a:pt x="15664" y="1286"/>
                  </a:lnTo>
                  <a:lnTo>
                    <a:pt x="15660" y="1292"/>
                  </a:lnTo>
                  <a:lnTo>
                    <a:pt x="15654" y="1296"/>
                  </a:lnTo>
                  <a:lnTo>
                    <a:pt x="15646" y="1298"/>
                  </a:lnTo>
                  <a:lnTo>
                    <a:pt x="15639" y="1296"/>
                  </a:lnTo>
                  <a:lnTo>
                    <a:pt x="15632" y="1292"/>
                  </a:lnTo>
                  <a:lnTo>
                    <a:pt x="15628" y="1286"/>
                  </a:lnTo>
                  <a:lnTo>
                    <a:pt x="15627" y="1277"/>
                  </a:lnTo>
                  <a:lnTo>
                    <a:pt x="15627" y="963"/>
                  </a:lnTo>
                  <a:lnTo>
                    <a:pt x="15385" y="963"/>
                  </a:lnTo>
                  <a:lnTo>
                    <a:pt x="15385" y="1139"/>
                  </a:lnTo>
                  <a:lnTo>
                    <a:pt x="15384" y="1147"/>
                  </a:lnTo>
                  <a:lnTo>
                    <a:pt x="15378" y="1153"/>
                  </a:lnTo>
                  <a:lnTo>
                    <a:pt x="15372" y="1157"/>
                  </a:lnTo>
                  <a:lnTo>
                    <a:pt x="15366" y="1158"/>
                  </a:lnTo>
                  <a:lnTo>
                    <a:pt x="15253" y="1158"/>
                  </a:lnTo>
                  <a:lnTo>
                    <a:pt x="15253" y="1705"/>
                  </a:lnTo>
                  <a:lnTo>
                    <a:pt x="15253" y="2253"/>
                  </a:lnTo>
                  <a:lnTo>
                    <a:pt x="15250" y="2262"/>
                  </a:lnTo>
                  <a:lnTo>
                    <a:pt x="15246" y="2268"/>
                  </a:lnTo>
                  <a:lnTo>
                    <a:pt x="15240" y="2272"/>
                  </a:lnTo>
                  <a:lnTo>
                    <a:pt x="15232" y="2273"/>
                  </a:lnTo>
                  <a:lnTo>
                    <a:pt x="15225" y="2272"/>
                  </a:lnTo>
                  <a:lnTo>
                    <a:pt x="15218" y="2268"/>
                  </a:lnTo>
                  <a:lnTo>
                    <a:pt x="15214" y="2262"/>
                  </a:lnTo>
                  <a:lnTo>
                    <a:pt x="15213" y="2253"/>
                  </a:lnTo>
                  <a:lnTo>
                    <a:pt x="15213" y="1705"/>
                  </a:lnTo>
                  <a:lnTo>
                    <a:pt x="15213" y="1158"/>
                  </a:lnTo>
                  <a:lnTo>
                    <a:pt x="15141" y="1158"/>
                  </a:lnTo>
                  <a:lnTo>
                    <a:pt x="15141" y="1705"/>
                  </a:lnTo>
                  <a:lnTo>
                    <a:pt x="15141" y="2253"/>
                  </a:lnTo>
                  <a:lnTo>
                    <a:pt x="15140" y="2262"/>
                  </a:lnTo>
                  <a:lnTo>
                    <a:pt x="15135" y="2268"/>
                  </a:lnTo>
                  <a:lnTo>
                    <a:pt x="15128" y="2272"/>
                  </a:lnTo>
                  <a:lnTo>
                    <a:pt x="15122" y="2273"/>
                  </a:lnTo>
                  <a:lnTo>
                    <a:pt x="15114" y="2272"/>
                  </a:lnTo>
                  <a:lnTo>
                    <a:pt x="15108" y="2268"/>
                  </a:lnTo>
                  <a:lnTo>
                    <a:pt x="15103" y="2262"/>
                  </a:lnTo>
                  <a:lnTo>
                    <a:pt x="15101" y="2253"/>
                  </a:lnTo>
                  <a:lnTo>
                    <a:pt x="15101" y="1695"/>
                  </a:lnTo>
                  <a:lnTo>
                    <a:pt x="15101" y="1139"/>
                  </a:lnTo>
                  <a:lnTo>
                    <a:pt x="15101" y="1047"/>
                  </a:lnTo>
                  <a:lnTo>
                    <a:pt x="15101" y="963"/>
                  </a:lnTo>
                  <a:lnTo>
                    <a:pt x="14931" y="963"/>
                  </a:lnTo>
                  <a:lnTo>
                    <a:pt x="14918" y="960"/>
                  </a:lnTo>
                  <a:lnTo>
                    <a:pt x="14913" y="956"/>
                  </a:lnTo>
                  <a:lnTo>
                    <a:pt x="14910" y="952"/>
                  </a:lnTo>
                  <a:lnTo>
                    <a:pt x="14909" y="947"/>
                  </a:lnTo>
                  <a:lnTo>
                    <a:pt x="14909" y="942"/>
                  </a:lnTo>
                  <a:lnTo>
                    <a:pt x="14914" y="931"/>
                  </a:lnTo>
                  <a:lnTo>
                    <a:pt x="15105" y="680"/>
                  </a:lnTo>
                  <a:lnTo>
                    <a:pt x="15116" y="675"/>
                  </a:lnTo>
                  <a:lnTo>
                    <a:pt x="15127" y="674"/>
                  </a:lnTo>
                  <a:lnTo>
                    <a:pt x="15907" y="924"/>
                  </a:lnTo>
                  <a:lnTo>
                    <a:pt x="15920" y="933"/>
                  </a:lnTo>
                  <a:lnTo>
                    <a:pt x="15922" y="940"/>
                  </a:lnTo>
                  <a:lnTo>
                    <a:pt x="15923" y="946"/>
                  </a:lnTo>
                  <a:lnTo>
                    <a:pt x="15921" y="952"/>
                  </a:lnTo>
                  <a:lnTo>
                    <a:pt x="15916" y="957"/>
                  </a:lnTo>
                  <a:lnTo>
                    <a:pt x="15909" y="961"/>
                  </a:lnTo>
                  <a:lnTo>
                    <a:pt x="15900" y="963"/>
                  </a:lnTo>
                  <a:lnTo>
                    <a:pt x="15667" y="963"/>
                  </a:lnTo>
                  <a:close/>
                  <a:moveTo>
                    <a:pt x="15167" y="727"/>
                  </a:moveTo>
                  <a:lnTo>
                    <a:pt x="15240" y="828"/>
                  </a:lnTo>
                  <a:lnTo>
                    <a:pt x="15244" y="840"/>
                  </a:lnTo>
                  <a:lnTo>
                    <a:pt x="15244" y="923"/>
                  </a:lnTo>
                  <a:lnTo>
                    <a:pt x="15276" y="923"/>
                  </a:lnTo>
                  <a:lnTo>
                    <a:pt x="15366" y="923"/>
                  </a:lnTo>
                  <a:lnTo>
                    <a:pt x="15773" y="923"/>
                  </a:lnTo>
                  <a:lnTo>
                    <a:pt x="15167" y="727"/>
                  </a:lnTo>
                  <a:close/>
                  <a:moveTo>
                    <a:pt x="15203" y="923"/>
                  </a:moveTo>
                  <a:lnTo>
                    <a:pt x="15203" y="846"/>
                  </a:lnTo>
                  <a:lnTo>
                    <a:pt x="15141" y="762"/>
                  </a:lnTo>
                  <a:lnTo>
                    <a:pt x="15141" y="923"/>
                  </a:lnTo>
                  <a:lnTo>
                    <a:pt x="15203" y="923"/>
                  </a:lnTo>
                  <a:close/>
                  <a:moveTo>
                    <a:pt x="15101" y="752"/>
                  </a:moveTo>
                  <a:lnTo>
                    <a:pt x="14971" y="923"/>
                  </a:lnTo>
                  <a:lnTo>
                    <a:pt x="15101" y="923"/>
                  </a:lnTo>
                  <a:lnTo>
                    <a:pt x="15101" y="752"/>
                  </a:lnTo>
                  <a:close/>
                  <a:moveTo>
                    <a:pt x="15296" y="963"/>
                  </a:moveTo>
                  <a:lnTo>
                    <a:pt x="15296" y="1047"/>
                  </a:lnTo>
                  <a:lnTo>
                    <a:pt x="15295" y="1055"/>
                  </a:lnTo>
                  <a:lnTo>
                    <a:pt x="15290" y="1061"/>
                  </a:lnTo>
                  <a:lnTo>
                    <a:pt x="15283" y="1065"/>
                  </a:lnTo>
                  <a:lnTo>
                    <a:pt x="15276" y="1066"/>
                  </a:lnTo>
                  <a:lnTo>
                    <a:pt x="15141" y="1066"/>
                  </a:lnTo>
                  <a:lnTo>
                    <a:pt x="15141" y="1119"/>
                  </a:lnTo>
                  <a:lnTo>
                    <a:pt x="15232" y="1119"/>
                  </a:lnTo>
                  <a:lnTo>
                    <a:pt x="15345" y="1119"/>
                  </a:lnTo>
                  <a:lnTo>
                    <a:pt x="15345" y="963"/>
                  </a:lnTo>
                  <a:lnTo>
                    <a:pt x="15296" y="963"/>
                  </a:lnTo>
                  <a:close/>
                  <a:moveTo>
                    <a:pt x="15257" y="963"/>
                  </a:moveTo>
                  <a:lnTo>
                    <a:pt x="15141" y="963"/>
                  </a:lnTo>
                  <a:lnTo>
                    <a:pt x="15141" y="1027"/>
                  </a:lnTo>
                  <a:lnTo>
                    <a:pt x="15257" y="1027"/>
                  </a:lnTo>
                  <a:lnTo>
                    <a:pt x="15257" y="963"/>
                  </a:lnTo>
                  <a:close/>
                  <a:moveTo>
                    <a:pt x="12486" y="3681"/>
                  </a:moveTo>
                  <a:lnTo>
                    <a:pt x="12486" y="3792"/>
                  </a:lnTo>
                  <a:lnTo>
                    <a:pt x="12484" y="3800"/>
                  </a:lnTo>
                  <a:lnTo>
                    <a:pt x="12482" y="3805"/>
                  </a:lnTo>
                  <a:lnTo>
                    <a:pt x="12523" y="3838"/>
                  </a:lnTo>
                  <a:lnTo>
                    <a:pt x="12559" y="3875"/>
                  </a:lnTo>
                  <a:lnTo>
                    <a:pt x="12592" y="3918"/>
                  </a:lnTo>
                  <a:lnTo>
                    <a:pt x="12606" y="3939"/>
                  </a:lnTo>
                  <a:lnTo>
                    <a:pt x="12619" y="3962"/>
                  </a:lnTo>
                  <a:lnTo>
                    <a:pt x="12641" y="4011"/>
                  </a:lnTo>
                  <a:lnTo>
                    <a:pt x="12657" y="4062"/>
                  </a:lnTo>
                  <a:lnTo>
                    <a:pt x="12666" y="4116"/>
                  </a:lnTo>
                  <a:lnTo>
                    <a:pt x="12670" y="4171"/>
                  </a:lnTo>
                  <a:lnTo>
                    <a:pt x="12666" y="4226"/>
                  </a:lnTo>
                  <a:lnTo>
                    <a:pt x="12661" y="4265"/>
                  </a:lnTo>
                  <a:lnTo>
                    <a:pt x="12654" y="4304"/>
                  </a:lnTo>
                  <a:lnTo>
                    <a:pt x="13197" y="4304"/>
                  </a:lnTo>
                  <a:lnTo>
                    <a:pt x="13741" y="4304"/>
                  </a:lnTo>
                  <a:lnTo>
                    <a:pt x="13741" y="3764"/>
                  </a:lnTo>
                  <a:lnTo>
                    <a:pt x="13741" y="3225"/>
                  </a:lnTo>
                  <a:lnTo>
                    <a:pt x="13183" y="3225"/>
                  </a:lnTo>
                  <a:lnTo>
                    <a:pt x="12625" y="3225"/>
                  </a:lnTo>
                  <a:lnTo>
                    <a:pt x="12616" y="3222"/>
                  </a:lnTo>
                  <a:lnTo>
                    <a:pt x="12610" y="3218"/>
                  </a:lnTo>
                  <a:lnTo>
                    <a:pt x="12606" y="3212"/>
                  </a:lnTo>
                  <a:lnTo>
                    <a:pt x="12606" y="3204"/>
                  </a:lnTo>
                  <a:lnTo>
                    <a:pt x="12606" y="3196"/>
                  </a:lnTo>
                  <a:lnTo>
                    <a:pt x="12610" y="3190"/>
                  </a:lnTo>
                  <a:lnTo>
                    <a:pt x="12616" y="3186"/>
                  </a:lnTo>
                  <a:lnTo>
                    <a:pt x="12625" y="3184"/>
                  </a:lnTo>
                  <a:lnTo>
                    <a:pt x="12793" y="3184"/>
                  </a:lnTo>
                  <a:lnTo>
                    <a:pt x="12793" y="3031"/>
                  </a:lnTo>
                  <a:lnTo>
                    <a:pt x="12353" y="3031"/>
                  </a:lnTo>
                  <a:lnTo>
                    <a:pt x="12353" y="3184"/>
                  </a:lnTo>
                  <a:lnTo>
                    <a:pt x="12493" y="3184"/>
                  </a:lnTo>
                  <a:lnTo>
                    <a:pt x="12502" y="3186"/>
                  </a:lnTo>
                  <a:lnTo>
                    <a:pt x="12509" y="3190"/>
                  </a:lnTo>
                  <a:lnTo>
                    <a:pt x="12512" y="3196"/>
                  </a:lnTo>
                  <a:lnTo>
                    <a:pt x="12514" y="3204"/>
                  </a:lnTo>
                  <a:lnTo>
                    <a:pt x="12512" y="3212"/>
                  </a:lnTo>
                  <a:lnTo>
                    <a:pt x="12509" y="3218"/>
                  </a:lnTo>
                  <a:lnTo>
                    <a:pt x="12502" y="3222"/>
                  </a:lnTo>
                  <a:lnTo>
                    <a:pt x="12493" y="3225"/>
                  </a:lnTo>
                  <a:lnTo>
                    <a:pt x="12236" y="3225"/>
                  </a:lnTo>
                  <a:lnTo>
                    <a:pt x="12236" y="3670"/>
                  </a:lnTo>
                  <a:lnTo>
                    <a:pt x="12233" y="3679"/>
                  </a:lnTo>
                  <a:lnTo>
                    <a:pt x="12229" y="3685"/>
                  </a:lnTo>
                  <a:lnTo>
                    <a:pt x="12223" y="3689"/>
                  </a:lnTo>
                  <a:lnTo>
                    <a:pt x="12215" y="3690"/>
                  </a:lnTo>
                  <a:lnTo>
                    <a:pt x="12207" y="3689"/>
                  </a:lnTo>
                  <a:lnTo>
                    <a:pt x="12201" y="3685"/>
                  </a:lnTo>
                  <a:lnTo>
                    <a:pt x="12197" y="3679"/>
                  </a:lnTo>
                  <a:lnTo>
                    <a:pt x="12194" y="3670"/>
                  </a:lnTo>
                  <a:lnTo>
                    <a:pt x="12194" y="3204"/>
                  </a:lnTo>
                  <a:lnTo>
                    <a:pt x="12197" y="3196"/>
                  </a:lnTo>
                  <a:lnTo>
                    <a:pt x="12201" y="3190"/>
                  </a:lnTo>
                  <a:lnTo>
                    <a:pt x="12207" y="3186"/>
                  </a:lnTo>
                  <a:lnTo>
                    <a:pt x="12215" y="3184"/>
                  </a:lnTo>
                  <a:lnTo>
                    <a:pt x="12314" y="3184"/>
                  </a:lnTo>
                  <a:lnTo>
                    <a:pt x="12314" y="3011"/>
                  </a:lnTo>
                  <a:lnTo>
                    <a:pt x="12315" y="3003"/>
                  </a:lnTo>
                  <a:lnTo>
                    <a:pt x="12319" y="2997"/>
                  </a:lnTo>
                  <a:lnTo>
                    <a:pt x="12325" y="2993"/>
                  </a:lnTo>
                  <a:lnTo>
                    <a:pt x="12333" y="2991"/>
                  </a:lnTo>
                  <a:lnTo>
                    <a:pt x="12814" y="2991"/>
                  </a:lnTo>
                  <a:lnTo>
                    <a:pt x="12822" y="2993"/>
                  </a:lnTo>
                  <a:lnTo>
                    <a:pt x="12828" y="2997"/>
                  </a:lnTo>
                  <a:lnTo>
                    <a:pt x="12832" y="3003"/>
                  </a:lnTo>
                  <a:lnTo>
                    <a:pt x="12833" y="3011"/>
                  </a:lnTo>
                  <a:lnTo>
                    <a:pt x="12833" y="3184"/>
                  </a:lnTo>
                  <a:lnTo>
                    <a:pt x="13761" y="3184"/>
                  </a:lnTo>
                  <a:lnTo>
                    <a:pt x="13769" y="3186"/>
                  </a:lnTo>
                  <a:lnTo>
                    <a:pt x="13776" y="3190"/>
                  </a:lnTo>
                  <a:lnTo>
                    <a:pt x="13779" y="3196"/>
                  </a:lnTo>
                  <a:lnTo>
                    <a:pt x="13782" y="3204"/>
                  </a:lnTo>
                  <a:lnTo>
                    <a:pt x="13782" y="3764"/>
                  </a:lnTo>
                  <a:lnTo>
                    <a:pt x="13782" y="4324"/>
                  </a:lnTo>
                  <a:lnTo>
                    <a:pt x="13779" y="4332"/>
                  </a:lnTo>
                  <a:lnTo>
                    <a:pt x="13776" y="4338"/>
                  </a:lnTo>
                  <a:lnTo>
                    <a:pt x="13769" y="4342"/>
                  </a:lnTo>
                  <a:lnTo>
                    <a:pt x="13761" y="4343"/>
                  </a:lnTo>
                  <a:lnTo>
                    <a:pt x="13197" y="4343"/>
                  </a:lnTo>
                  <a:lnTo>
                    <a:pt x="12633" y="4343"/>
                  </a:lnTo>
                  <a:lnTo>
                    <a:pt x="12628" y="4347"/>
                  </a:lnTo>
                  <a:lnTo>
                    <a:pt x="12621" y="4349"/>
                  </a:lnTo>
                  <a:lnTo>
                    <a:pt x="12016" y="4349"/>
                  </a:lnTo>
                  <a:lnTo>
                    <a:pt x="11412" y="4349"/>
                  </a:lnTo>
                  <a:lnTo>
                    <a:pt x="11403" y="4346"/>
                  </a:lnTo>
                  <a:lnTo>
                    <a:pt x="11397" y="4341"/>
                  </a:lnTo>
                  <a:lnTo>
                    <a:pt x="11388" y="4334"/>
                  </a:lnTo>
                  <a:lnTo>
                    <a:pt x="11385" y="4329"/>
                  </a:lnTo>
                  <a:lnTo>
                    <a:pt x="11385" y="4323"/>
                  </a:lnTo>
                  <a:lnTo>
                    <a:pt x="11385" y="3936"/>
                  </a:lnTo>
                  <a:lnTo>
                    <a:pt x="11346" y="3930"/>
                  </a:lnTo>
                  <a:lnTo>
                    <a:pt x="11307" y="3924"/>
                  </a:lnTo>
                  <a:lnTo>
                    <a:pt x="11271" y="3913"/>
                  </a:lnTo>
                  <a:lnTo>
                    <a:pt x="11235" y="3898"/>
                  </a:lnTo>
                  <a:lnTo>
                    <a:pt x="11202" y="3881"/>
                  </a:lnTo>
                  <a:lnTo>
                    <a:pt x="11171" y="3860"/>
                  </a:lnTo>
                  <a:lnTo>
                    <a:pt x="11142" y="3837"/>
                  </a:lnTo>
                  <a:lnTo>
                    <a:pt x="11115" y="3811"/>
                  </a:lnTo>
                  <a:lnTo>
                    <a:pt x="11090" y="3783"/>
                  </a:lnTo>
                  <a:lnTo>
                    <a:pt x="11069" y="3753"/>
                  </a:lnTo>
                  <a:lnTo>
                    <a:pt x="11049" y="3721"/>
                  </a:lnTo>
                  <a:lnTo>
                    <a:pt x="11034" y="3686"/>
                  </a:lnTo>
                  <a:lnTo>
                    <a:pt x="11021" y="3650"/>
                  </a:lnTo>
                  <a:lnTo>
                    <a:pt x="11011" y="3613"/>
                  </a:lnTo>
                  <a:lnTo>
                    <a:pt x="11006" y="3575"/>
                  </a:lnTo>
                  <a:lnTo>
                    <a:pt x="11005" y="3535"/>
                  </a:lnTo>
                  <a:lnTo>
                    <a:pt x="11006" y="3494"/>
                  </a:lnTo>
                  <a:lnTo>
                    <a:pt x="11012" y="3453"/>
                  </a:lnTo>
                  <a:lnTo>
                    <a:pt x="11022" y="3415"/>
                  </a:lnTo>
                  <a:lnTo>
                    <a:pt x="11035" y="3379"/>
                  </a:lnTo>
                  <a:lnTo>
                    <a:pt x="11052" y="3343"/>
                  </a:lnTo>
                  <a:lnTo>
                    <a:pt x="11072" y="3310"/>
                  </a:lnTo>
                  <a:lnTo>
                    <a:pt x="11096" y="3280"/>
                  </a:lnTo>
                  <a:lnTo>
                    <a:pt x="11121" y="3251"/>
                  </a:lnTo>
                  <a:lnTo>
                    <a:pt x="11151" y="3226"/>
                  </a:lnTo>
                  <a:lnTo>
                    <a:pt x="11181" y="3203"/>
                  </a:lnTo>
                  <a:lnTo>
                    <a:pt x="11214" y="3182"/>
                  </a:lnTo>
                  <a:lnTo>
                    <a:pt x="11249" y="3166"/>
                  </a:lnTo>
                  <a:lnTo>
                    <a:pt x="11287" y="3152"/>
                  </a:lnTo>
                  <a:lnTo>
                    <a:pt x="11325" y="3143"/>
                  </a:lnTo>
                  <a:lnTo>
                    <a:pt x="11365" y="3136"/>
                  </a:lnTo>
                  <a:lnTo>
                    <a:pt x="11406" y="3134"/>
                  </a:lnTo>
                  <a:lnTo>
                    <a:pt x="11447" y="3136"/>
                  </a:lnTo>
                  <a:lnTo>
                    <a:pt x="11487" y="3143"/>
                  </a:lnTo>
                  <a:lnTo>
                    <a:pt x="11525" y="3152"/>
                  </a:lnTo>
                  <a:lnTo>
                    <a:pt x="11562" y="3166"/>
                  </a:lnTo>
                  <a:lnTo>
                    <a:pt x="11597" y="3182"/>
                  </a:lnTo>
                  <a:lnTo>
                    <a:pt x="11630" y="3203"/>
                  </a:lnTo>
                  <a:lnTo>
                    <a:pt x="11661" y="3226"/>
                  </a:lnTo>
                  <a:lnTo>
                    <a:pt x="11689" y="3251"/>
                  </a:lnTo>
                  <a:lnTo>
                    <a:pt x="11716" y="3280"/>
                  </a:lnTo>
                  <a:lnTo>
                    <a:pt x="11739" y="3310"/>
                  </a:lnTo>
                  <a:lnTo>
                    <a:pt x="11759" y="3343"/>
                  </a:lnTo>
                  <a:lnTo>
                    <a:pt x="11775" y="3379"/>
                  </a:lnTo>
                  <a:lnTo>
                    <a:pt x="11789" y="3415"/>
                  </a:lnTo>
                  <a:lnTo>
                    <a:pt x="11800" y="3453"/>
                  </a:lnTo>
                  <a:lnTo>
                    <a:pt x="11805" y="3494"/>
                  </a:lnTo>
                  <a:lnTo>
                    <a:pt x="11807" y="3535"/>
                  </a:lnTo>
                  <a:lnTo>
                    <a:pt x="11806" y="3575"/>
                  </a:lnTo>
                  <a:lnTo>
                    <a:pt x="11800" y="3613"/>
                  </a:lnTo>
                  <a:lnTo>
                    <a:pt x="11791" y="3650"/>
                  </a:lnTo>
                  <a:lnTo>
                    <a:pt x="11778" y="3686"/>
                  </a:lnTo>
                  <a:lnTo>
                    <a:pt x="11761" y="3721"/>
                  </a:lnTo>
                  <a:lnTo>
                    <a:pt x="11743" y="3753"/>
                  </a:lnTo>
                  <a:lnTo>
                    <a:pt x="11720" y="3783"/>
                  </a:lnTo>
                  <a:lnTo>
                    <a:pt x="11696" y="3811"/>
                  </a:lnTo>
                  <a:lnTo>
                    <a:pt x="11669" y="3837"/>
                  </a:lnTo>
                  <a:lnTo>
                    <a:pt x="11639" y="3860"/>
                  </a:lnTo>
                  <a:lnTo>
                    <a:pt x="11608" y="3881"/>
                  </a:lnTo>
                  <a:lnTo>
                    <a:pt x="11575" y="3898"/>
                  </a:lnTo>
                  <a:lnTo>
                    <a:pt x="11539" y="3913"/>
                  </a:lnTo>
                  <a:lnTo>
                    <a:pt x="11502" y="3924"/>
                  </a:lnTo>
                  <a:lnTo>
                    <a:pt x="11465" y="3932"/>
                  </a:lnTo>
                  <a:lnTo>
                    <a:pt x="11425" y="3936"/>
                  </a:lnTo>
                  <a:lnTo>
                    <a:pt x="11425" y="4205"/>
                  </a:lnTo>
                  <a:lnTo>
                    <a:pt x="11443" y="4178"/>
                  </a:lnTo>
                  <a:lnTo>
                    <a:pt x="11464" y="4153"/>
                  </a:lnTo>
                  <a:lnTo>
                    <a:pt x="11488" y="4130"/>
                  </a:lnTo>
                  <a:lnTo>
                    <a:pt x="11516" y="4108"/>
                  </a:lnTo>
                  <a:lnTo>
                    <a:pt x="11549" y="4090"/>
                  </a:lnTo>
                  <a:lnTo>
                    <a:pt x="11585" y="4076"/>
                  </a:lnTo>
                  <a:lnTo>
                    <a:pt x="11625" y="4067"/>
                  </a:lnTo>
                  <a:lnTo>
                    <a:pt x="11646" y="4065"/>
                  </a:lnTo>
                  <a:lnTo>
                    <a:pt x="11669" y="4065"/>
                  </a:lnTo>
                  <a:lnTo>
                    <a:pt x="11685" y="4066"/>
                  </a:lnTo>
                  <a:lnTo>
                    <a:pt x="11702" y="4069"/>
                  </a:lnTo>
                  <a:lnTo>
                    <a:pt x="11719" y="4074"/>
                  </a:lnTo>
                  <a:lnTo>
                    <a:pt x="11734" y="4080"/>
                  </a:lnTo>
                  <a:lnTo>
                    <a:pt x="11766" y="4092"/>
                  </a:lnTo>
                  <a:lnTo>
                    <a:pt x="11783" y="4095"/>
                  </a:lnTo>
                  <a:lnTo>
                    <a:pt x="11800" y="4097"/>
                  </a:lnTo>
                  <a:lnTo>
                    <a:pt x="11814" y="4095"/>
                  </a:lnTo>
                  <a:lnTo>
                    <a:pt x="11825" y="4090"/>
                  </a:lnTo>
                  <a:lnTo>
                    <a:pt x="11837" y="4084"/>
                  </a:lnTo>
                  <a:lnTo>
                    <a:pt x="11847" y="4076"/>
                  </a:lnTo>
                  <a:lnTo>
                    <a:pt x="11847" y="3213"/>
                  </a:lnTo>
                  <a:lnTo>
                    <a:pt x="11833" y="3208"/>
                  </a:lnTo>
                  <a:lnTo>
                    <a:pt x="11820" y="3199"/>
                  </a:lnTo>
                  <a:lnTo>
                    <a:pt x="11796" y="3182"/>
                  </a:lnTo>
                  <a:lnTo>
                    <a:pt x="11784" y="3173"/>
                  </a:lnTo>
                  <a:lnTo>
                    <a:pt x="11771" y="3167"/>
                  </a:lnTo>
                  <a:lnTo>
                    <a:pt x="11757" y="3163"/>
                  </a:lnTo>
                  <a:lnTo>
                    <a:pt x="11742" y="3163"/>
                  </a:lnTo>
                  <a:lnTo>
                    <a:pt x="11696" y="3170"/>
                  </a:lnTo>
                  <a:lnTo>
                    <a:pt x="11678" y="3172"/>
                  </a:lnTo>
                  <a:lnTo>
                    <a:pt x="11661" y="3171"/>
                  </a:lnTo>
                  <a:lnTo>
                    <a:pt x="11646" y="3166"/>
                  </a:lnTo>
                  <a:lnTo>
                    <a:pt x="11632" y="3156"/>
                  </a:lnTo>
                  <a:lnTo>
                    <a:pt x="11624" y="3148"/>
                  </a:lnTo>
                  <a:lnTo>
                    <a:pt x="11617" y="3139"/>
                  </a:lnTo>
                  <a:lnTo>
                    <a:pt x="11602" y="3115"/>
                  </a:lnTo>
                  <a:lnTo>
                    <a:pt x="11591" y="3093"/>
                  </a:lnTo>
                  <a:lnTo>
                    <a:pt x="11580" y="3079"/>
                  </a:lnTo>
                  <a:lnTo>
                    <a:pt x="11570" y="3070"/>
                  </a:lnTo>
                  <a:lnTo>
                    <a:pt x="11561" y="3065"/>
                  </a:lnTo>
                  <a:lnTo>
                    <a:pt x="11537" y="3060"/>
                  </a:lnTo>
                  <a:lnTo>
                    <a:pt x="11520" y="3055"/>
                  </a:lnTo>
                  <a:lnTo>
                    <a:pt x="11498" y="3047"/>
                  </a:lnTo>
                  <a:lnTo>
                    <a:pt x="11475" y="3033"/>
                  </a:lnTo>
                  <a:lnTo>
                    <a:pt x="11467" y="3024"/>
                  </a:lnTo>
                  <a:lnTo>
                    <a:pt x="11462" y="3015"/>
                  </a:lnTo>
                  <a:lnTo>
                    <a:pt x="11456" y="2996"/>
                  </a:lnTo>
                  <a:lnTo>
                    <a:pt x="11453" y="2974"/>
                  </a:lnTo>
                  <a:lnTo>
                    <a:pt x="11453" y="2953"/>
                  </a:lnTo>
                  <a:lnTo>
                    <a:pt x="11451" y="2933"/>
                  </a:lnTo>
                  <a:lnTo>
                    <a:pt x="11446" y="2913"/>
                  </a:lnTo>
                  <a:lnTo>
                    <a:pt x="11440" y="2904"/>
                  </a:lnTo>
                  <a:lnTo>
                    <a:pt x="11434" y="2896"/>
                  </a:lnTo>
                  <a:lnTo>
                    <a:pt x="11399" y="2864"/>
                  </a:lnTo>
                  <a:lnTo>
                    <a:pt x="11387" y="2851"/>
                  </a:lnTo>
                  <a:lnTo>
                    <a:pt x="11376" y="2837"/>
                  </a:lnTo>
                  <a:lnTo>
                    <a:pt x="11371" y="2823"/>
                  </a:lnTo>
                  <a:lnTo>
                    <a:pt x="11370" y="2805"/>
                  </a:lnTo>
                  <a:lnTo>
                    <a:pt x="11375" y="2783"/>
                  </a:lnTo>
                  <a:lnTo>
                    <a:pt x="11384" y="2757"/>
                  </a:lnTo>
                  <a:lnTo>
                    <a:pt x="11394" y="2734"/>
                  </a:lnTo>
                  <a:lnTo>
                    <a:pt x="11398" y="2722"/>
                  </a:lnTo>
                  <a:lnTo>
                    <a:pt x="11401" y="2711"/>
                  </a:lnTo>
                  <a:lnTo>
                    <a:pt x="11397" y="2689"/>
                  </a:lnTo>
                  <a:lnTo>
                    <a:pt x="11389" y="2670"/>
                  </a:lnTo>
                  <a:lnTo>
                    <a:pt x="11380" y="2650"/>
                  </a:lnTo>
                  <a:lnTo>
                    <a:pt x="11373" y="2633"/>
                  </a:lnTo>
                  <a:lnTo>
                    <a:pt x="11369" y="2613"/>
                  </a:lnTo>
                  <a:lnTo>
                    <a:pt x="11373" y="2593"/>
                  </a:lnTo>
                  <a:lnTo>
                    <a:pt x="11378" y="2581"/>
                  </a:lnTo>
                  <a:lnTo>
                    <a:pt x="11387" y="2570"/>
                  </a:lnTo>
                  <a:lnTo>
                    <a:pt x="11412" y="2543"/>
                  </a:lnTo>
                  <a:lnTo>
                    <a:pt x="11430" y="2526"/>
                  </a:lnTo>
                  <a:lnTo>
                    <a:pt x="11442" y="2512"/>
                  </a:lnTo>
                  <a:lnTo>
                    <a:pt x="11448" y="2502"/>
                  </a:lnTo>
                  <a:lnTo>
                    <a:pt x="11451" y="2492"/>
                  </a:lnTo>
                  <a:lnTo>
                    <a:pt x="11452" y="2466"/>
                  </a:lnTo>
                  <a:lnTo>
                    <a:pt x="11456" y="2427"/>
                  </a:lnTo>
                  <a:lnTo>
                    <a:pt x="11460" y="2413"/>
                  </a:lnTo>
                  <a:lnTo>
                    <a:pt x="11465" y="2401"/>
                  </a:lnTo>
                  <a:lnTo>
                    <a:pt x="11471" y="2392"/>
                  </a:lnTo>
                  <a:lnTo>
                    <a:pt x="11479" y="2384"/>
                  </a:lnTo>
                  <a:lnTo>
                    <a:pt x="11497" y="2374"/>
                  </a:lnTo>
                  <a:lnTo>
                    <a:pt x="11516" y="2368"/>
                  </a:lnTo>
                  <a:lnTo>
                    <a:pt x="11537" y="2363"/>
                  </a:lnTo>
                  <a:lnTo>
                    <a:pt x="11557" y="2356"/>
                  </a:lnTo>
                  <a:lnTo>
                    <a:pt x="11566" y="2351"/>
                  </a:lnTo>
                  <a:lnTo>
                    <a:pt x="11575" y="2346"/>
                  </a:lnTo>
                  <a:lnTo>
                    <a:pt x="11582" y="2340"/>
                  </a:lnTo>
                  <a:lnTo>
                    <a:pt x="11589" y="2331"/>
                  </a:lnTo>
                  <a:lnTo>
                    <a:pt x="11612" y="2291"/>
                  </a:lnTo>
                  <a:lnTo>
                    <a:pt x="11623" y="2275"/>
                  </a:lnTo>
                  <a:lnTo>
                    <a:pt x="11633" y="2263"/>
                  </a:lnTo>
                  <a:lnTo>
                    <a:pt x="11647" y="2254"/>
                  </a:lnTo>
                  <a:lnTo>
                    <a:pt x="11664" y="2249"/>
                  </a:lnTo>
                  <a:lnTo>
                    <a:pt x="11685" y="2248"/>
                  </a:lnTo>
                  <a:lnTo>
                    <a:pt x="11714" y="2251"/>
                  </a:lnTo>
                  <a:lnTo>
                    <a:pt x="11743" y="2257"/>
                  </a:lnTo>
                  <a:lnTo>
                    <a:pt x="11762" y="2257"/>
                  </a:lnTo>
                  <a:lnTo>
                    <a:pt x="11780" y="2249"/>
                  </a:lnTo>
                  <a:lnTo>
                    <a:pt x="11805" y="2231"/>
                  </a:lnTo>
                  <a:lnTo>
                    <a:pt x="11832" y="2213"/>
                  </a:lnTo>
                  <a:lnTo>
                    <a:pt x="11848" y="2207"/>
                  </a:lnTo>
                  <a:lnTo>
                    <a:pt x="11866" y="2204"/>
                  </a:lnTo>
                  <a:lnTo>
                    <a:pt x="11885" y="2207"/>
                  </a:lnTo>
                  <a:lnTo>
                    <a:pt x="11901" y="2213"/>
                  </a:lnTo>
                  <a:lnTo>
                    <a:pt x="11916" y="2222"/>
                  </a:lnTo>
                  <a:lnTo>
                    <a:pt x="11930" y="2232"/>
                  </a:lnTo>
                  <a:lnTo>
                    <a:pt x="11943" y="2243"/>
                  </a:lnTo>
                  <a:lnTo>
                    <a:pt x="11959" y="2251"/>
                  </a:lnTo>
                  <a:lnTo>
                    <a:pt x="11974" y="2257"/>
                  </a:lnTo>
                  <a:lnTo>
                    <a:pt x="11992" y="2257"/>
                  </a:lnTo>
                  <a:lnTo>
                    <a:pt x="12037" y="2250"/>
                  </a:lnTo>
                  <a:lnTo>
                    <a:pt x="12056" y="2248"/>
                  </a:lnTo>
                  <a:lnTo>
                    <a:pt x="12073" y="2249"/>
                  </a:lnTo>
                  <a:lnTo>
                    <a:pt x="12088" y="2254"/>
                  </a:lnTo>
                  <a:lnTo>
                    <a:pt x="12102" y="2264"/>
                  </a:lnTo>
                  <a:lnTo>
                    <a:pt x="12109" y="2272"/>
                  </a:lnTo>
                  <a:lnTo>
                    <a:pt x="12116" y="2281"/>
                  </a:lnTo>
                  <a:lnTo>
                    <a:pt x="12130" y="2305"/>
                  </a:lnTo>
                  <a:lnTo>
                    <a:pt x="12143" y="2327"/>
                  </a:lnTo>
                  <a:lnTo>
                    <a:pt x="12153" y="2341"/>
                  </a:lnTo>
                  <a:lnTo>
                    <a:pt x="12162" y="2350"/>
                  </a:lnTo>
                  <a:lnTo>
                    <a:pt x="12173" y="2355"/>
                  </a:lnTo>
                  <a:lnTo>
                    <a:pt x="12197" y="2360"/>
                  </a:lnTo>
                  <a:lnTo>
                    <a:pt x="12214" y="2365"/>
                  </a:lnTo>
                  <a:lnTo>
                    <a:pt x="12234" y="2373"/>
                  </a:lnTo>
                  <a:lnTo>
                    <a:pt x="12257" y="2388"/>
                  </a:lnTo>
                  <a:lnTo>
                    <a:pt x="12265" y="2396"/>
                  </a:lnTo>
                  <a:lnTo>
                    <a:pt x="12271" y="2405"/>
                  </a:lnTo>
                  <a:lnTo>
                    <a:pt x="12278" y="2425"/>
                  </a:lnTo>
                  <a:lnTo>
                    <a:pt x="12279" y="2446"/>
                  </a:lnTo>
                  <a:lnTo>
                    <a:pt x="12280" y="2466"/>
                  </a:lnTo>
                  <a:lnTo>
                    <a:pt x="12282" y="2488"/>
                  </a:lnTo>
                  <a:lnTo>
                    <a:pt x="12287" y="2507"/>
                  </a:lnTo>
                  <a:lnTo>
                    <a:pt x="12292" y="2516"/>
                  </a:lnTo>
                  <a:lnTo>
                    <a:pt x="12300" y="2524"/>
                  </a:lnTo>
                  <a:lnTo>
                    <a:pt x="12333" y="2556"/>
                  </a:lnTo>
                  <a:lnTo>
                    <a:pt x="12347" y="2569"/>
                  </a:lnTo>
                  <a:lnTo>
                    <a:pt x="12356" y="2583"/>
                  </a:lnTo>
                  <a:lnTo>
                    <a:pt x="12361" y="2598"/>
                  </a:lnTo>
                  <a:lnTo>
                    <a:pt x="12362" y="2615"/>
                  </a:lnTo>
                  <a:lnTo>
                    <a:pt x="12359" y="2636"/>
                  </a:lnTo>
                  <a:lnTo>
                    <a:pt x="12348" y="2663"/>
                  </a:lnTo>
                  <a:lnTo>
                    <a:pt x="12337" y="2690"/>
                  </a:lnTo>
                  <a:lnTo>
                    <a:pt x="12333" y="2711"/>
                  </a:lnTo>
                  <a:lnTo>
                    <a:pt x="12336" y="2731"/>
                  </a:lnTo>
                  <a:lnTo>
                    <a:pt x="12343" y="2750"/>
                  </a:lnTo>
                  <a:lnTo>
                    <a:pt x="12352" y="2769"/>
                  </a:lnTo>
                  <a:lnTo>
                    <a:pt x="12360" y="2787"/>
                  </a:lnTo>
                  <a:lnTo>
                    <a:pt x="12364" y="2806"/>
                  </a:lnTo>
                  <a:lnTo>
                    <a:pt x="12360" y="2828"/>
                  </a:lnTo>
                  <a:lnTo>
                    <a:pt x="12355" y="2838"/>
                  </a:lnTo>
                  <a:lnTo>
                    <a:pt x="12347" y="2851"/>
                  </a:lnTo>
                  <a:lnTo>
                    <a:pt x="12321" y="2877"/>
                  </a:lnTo>
                  <a:lnTo>
                    <a:pt x="12302" y="2893"/>
                  </a:lnTo>
                  <a:lnTo>
                    <a:pt x="12291" y="2907"/>
                  </a:lnTo>
                  <a:lnTo>
                    <a:pt x="12284" y="2918"/>
                  </a:lnTo>
                  <a:lnTo>
                    <a:pt x="12282" y="2929"/>
                  </a:lnTo>
                  <a:lnTo>
                    <a:pt x="12282" y="2953"/>
                  </a:lnTo>
                  <a:lnTo>
                    <a:pt x="12278" y="2993"/>
                  </a:lnTo>
                  <a:lnTo>
                    <a:pt x="12274" y="3007"/>
                  </a:lnTo>
                  <a:lnTo>
                    <a:pt x="12269" y="3019"/>
                  </a:lnTo>
                  <a:lnTo>
                    <a:pt x="12262" y="3028"/>
                  </a:lnTo>
                  <a:lnTo>
                    <a:pt x="12255" y="3035"/>
                  </a:lnTo>
                  <a:lnTo>
                    <a:pt x="12237" y="3046"/>
                  </a:lnTo>
                  <a:lnTo>
                    <a:pt x="12216" y="3053"/>
                  </a:lnTo>
                  <a:lnTo>
                    <a:pt x="12196" y="3058"/>
                  </a:lnTo>
                  <a:lnTo>
                    <a:pt x="12177" y="3065"/>
                  </a:lnTo>
                  <a:lnTo>
                    <a:pt x="12168" y="3069"/>
                  </a:lnTo>
                  <a:lnTo>
                    <a:pt x="12159" y="3074"/>
                  </a:lnTo>
                  <a:lnTo>
                    <a:pt x="12151" y="3081"/>
                  </a:lnTo>
                  <a:lnTo>
                    <a:pt x="12144" y="3089"/>
                  </a:lnTo>
                  <a:lnTo>
                    <a:pt x="12121" y="3130"/>
                  </a:lnTo>
                  <a:lnTo>
                    <a:pt x="12111" y="3145"/>
                  </a:lnTo>
                  <a:lnTo>
                    <a:pt x="12100" y="3158"/>
                  </a:lnTo>
                  <a:lnTo>
                    <a:pt x="12087" y="3167"/>
                  </a:lnTo>
                  <a:lnTo>
                    <a:pt x="12070" y="3171"/>
                  </a:lnTo>
                  <a:lnTo>
                    <a:pt x="12048" y="3172"/>
                  </a:lnTo>
                  <a:lnTo>
                    <a:pt x="12020" y="3168"/>
                  </a:lnTo>
                  <a:lnTo>
                    <a:pt x="11989" y="3163"/>
                  </a:lnTo>
                  <a:lnTo>
                    <a:pt x="11971" y="3163"/>
                  </a:lnTo>
                  <a:lnTo>
                    <a:pt x="11953" y="3172"/>
                  </a:lnTo>
                  <a:lnTo>
                    <a:pt x="11929" y="3189"/>
                  </a:lnTo>
                  <a:lnTo>
                    <a:pt x="11910" y="3202"/>
                  </a:lnTo>
                  <a:lnTo>
                    <a:pt x="11887" y="3213"/>
                  </a:lnTo>
                  <a:lnTo>
                    <a:pt x="11887" y="4017"/>
                  </a:lnTo>
                  <a:lnTo>
                    <a:pt x="11933" y="3925"/>
                  </a:lnTo>
                  <a:lnTo>
                    <a:pt x="11961" y="3877"/>
                  </a:lnTo>
                  <a:lnTo>
                    <a:pt x="11994" y="3829"/>
                  </a:lnTo>
                  <a:lnTo>
                    <a:pt x="12014" y="3808"/>
                  </a:lnTo>
                  <a:lnTo>
                    <a:pt x="12035" y="3787"/>
                  </a:lnTo>
                  <a:lnTo>
                    <a:pt x="12060" y="3769"/>
                  </a:lnTo>
                  <a:lnTo>
                    <a:pt x="12073" y="3762"/>
                  </a:lnTo>
                  <a:lnTo>
                    <a:pt x="12085" y="3754"/>
                  </a:lnTo>
                  <a:lnTo>
                    <a:pt x="12115" y="3741"/>
                  </a:lnTo>
                  <a:lnTo>
                    <a:pt x="12148" y="3731"/>
                  </a:lnTo>
                  <a:lnTo>
                    <a:pt x="12184" y="3725"/>
                  </a:lnTo>
                  <a:lnTo>
                    <a:pt x="12224" y="3723"/>
                  </a:lnTo>
                  <a:lnTo>
                    <a:pt x="12283" y="3727"/>
                  </a:lnTo>
                  <a:lnTo>
                    <a:pt x="12341" y="3739"/>
                  </a:lnTo>
                  <a:lnTo>
                    <a:pt x="12368" y="3748"/>
                  </a:lnTo>
                  <a:lnTo>
                    <a:pt x="12395" y="3758"/>
                  </a:lnTo>
                  <a:lnTo>
                    <a:pt x="12420" y="3769"/>
                  </a:lnTo>
                  <a:lnTo>
                    <a:pt x="12446" y="3782"/>
                  </a:lnTo>
                  <a:lnTo>
                    <a:pt x="12446" y="3681"/>
                  </a:lnTo>
                  <a:lnTo>
                    <a:pt x="12447" y="3672"/>
                  </a:lnTo>
                  <a:lnTo>
                    <a:pt x="12452" y="3666"/>
                  </a:lnTo>
                  <a:lnTo>
                    <a:pt x="12459" y="3662"/>
                  </a:lnTo>
                  <a:lnTo>
                    <a:pt x="12465" y="3661"/>
                  </a:lnTo>
                  <a:lnTo>
                    <a:pt x="12473" y="3662"/>
                  </a:lnTo>
                  <a:lnTo>
                    <a:pt x="12479" y="3666"/>
                  </a:lnTo>
                  <a:lnTo>
                    <a:pt x="12484" y="3672"/>
                  </a:lnTo>
                  <a:lnTo>
                    <a:pt x="12486" y="3681"/>
                  </a:lnTo>
                  <a:close/>
                  <a:moveTo>
                    <a:pt x="12630" y="4171"/>
                  </a:moveTo>
                  <a:lnTo>
                    <a:pt x="12628" y="4130"/>
                  </a:lnTo>
                  <a:lnTo>
                    <a:pt x="12621" y="4089"/>
                  </a:lnTo>
                  <a:lnTo>
                    <a:pt x="12613" y="4051"/>
                  </a:lnTo>
                  <a:lnTo>
                    <a:pt x="12598" y="4012"/>
                  </a:lnTo>
                  <a:lnTo>
                    <a:pt x="12582" y="3976"/>
                  </a:lnTo>
                  <a:lnTo>
                    <a:pt x="12561" y="3943"/>
                  </a:lnTo>
                  <a:lnTo>
                    <a:pt x="12537" y="3911"/>
                  </a:lnTo>
                  <a:lnTo>
                    <a:pt x="12511" y="3883"/>
                  </a:lnTo>
                  <a:lnTo>
                    <a:pt x="12482" y="3856"/>
                  </a:lnTo>
                  <a:lnTo>
                    <a:pt x="12451" y="3833"/>
                  </a:lnTo>
                  <a:lnTo>
                    <a:pt x="12418" y="3813"/>
                  </a:lnTo>
                  <a:lnTo>
                    <a:pt x="12382" y="3795"/>
                  </a:lnTo>
                  <a:lnTo>
                    <a:pt x="12345" y="3781"/>
                  </a:lnTo>
                  <a:lnTo>
                    <a:pt x="12306" y="3772"/>
                  </a:lnTo>
                  <a:lnTo>
                    <a:pt x="12265" y="3765"/>
                  </a:lnTo>
                  <a:lnTo>
                    <a:pt x="12224" y="3763"/>
                  </a:lnTo>
                  <a:lnTo>
                    <a:pt x="12197" y="3764"/>
                  </a:lnTo>
                  <a:lnTo>
                    <a:pt x="12173" y="3767"/>
                  </a:lnTo>
                  <a:lnTo>
                    <a:pt x="12150" y="3772"/>
                  </a:lnTo>
                  <a:lnTo>
                    <a:pt x="12128" y="3780"/>
                  </a:lnTo>
                  <a:lnTo>
                    <a:pt x="12089" y="3797"/>
                  </a:lnTo>
                  <a:lnTo>
                    <a:pt x="12073" y="3809"/>
                  </a:lnTo>
                  <a:lnTo>
                    <a:pt x="12057" y="3822"/>
                  </a:lnTo>
                  <a:lnTo>
                    <a:pt x="12029" y="3850"/>
                  </a:lnTo>
                  <a:lnTo>
                    <a:pt x="12005" y="3881"/>
                  </a:lnTo>
                  <a:lnTo>
                    <a:pt x="11984" y="3915"/>
                  </a:lnTo>
                  <a:lnTo>
                    <a:pt x="11965" y="3950"/>
                  </a:lnTo>
                  <a:lnTo>
                    <a:pt x="11932" y="4017"/>
                  </a:lnTo>
                  <a:lnTo>
                    <a:pt x="11915" y="4049"/>
                  </a:lnTo>
                  <a:lnTo>
                    <a:pt x="11897" y="4077"/>
                  </a:lnTo>
                  <a:lnTo>
                    <a:pt x="11878" y="4102"/>
                  </a:lnTo>
                  <a:lnTo>
                    <a:pt x="11866" y="4112"/>
                  </a:lnTo>
                  <a:lnTo>
                    <a:pt x="11855" y="4120"/>
                  </a:lnTo>
                  <a:lnTo>
                    <a:pt x="11843" y="4127"/>
                  </a:lnTo>
                  <a:lnTo>
                    <a:pt x="11830" y="4132"/>
                  </a:lnTo>
                  <a:lnTo>
                    <a:pt x="11800" y="4136"/>
                  </a:lnTo>
                  <a:lnTo>
                    <a:pt x="11783" y="4135"/>
                  </a:lnTo>
                  <a:lnTo>
                    <a:pt x="11766" y="4131"/>
                  </a:lnTo>
                  <a:lnTo>
                    <a:pt x="11750" y="4126"/>
                  </a:lnTo>
                  <a:lnTo>
                    <a:pt x="11734" y="4120"/>
                  </a:lnTo>
                  <a:lnTo>
                    <a:pt x="11702" y="4109"/>
                  </a:lnTo>
                  <a:lnTo>
                    <a:pt x="11685" y="4106"/>
                  </a:lnTo>
                  <a:lnTo>
                    <a:pt x="11669" y="4104"/>
                  </a:lnTo>
                  <a:lnTo>
                    <a:pt x="11625" y="4108"/>
                  </a:lnTo>
                  <a:lnTo>
                    <a:pt x="11603" y="4112"/>
                  </a:lnTo>
                  <a:lnTo>
                    <a:pt x="11584" y="4118"/>
                  </a:lnTo>
                  <a:lnTo>
                    <a:pt x="11565" y="4127"/>
                  </a:lnTo>
                  <a:lnTo>
                    <a:pt x="11546" y="4136"/>
                  </a:lnTo>
                  <a:lnTo>
                    <a:pt x="11529" y="4148"/>
                  </a:lnTo>
                  <a:lnTo>
                    <a:pt x="11512" y="4161"/>
                  </a:lnTo>
                  <a:lnTo>
                    <a:pt x="11498" y="4175"/>
                  </a:lnTo>
                  <a:lnTo>
                    <a:pt x="11484" y="4190"/>
                  </a:lnTo>
                  <a:lnTo>
                    <a:pt x="11471" y="4208"/>
                  </a:lnTo>
                  <a:lnTo>
                    <a:pt x="11461" y="4226"/>
                  </a:lnTo>
                  <a:lnTo>
                    <a:pt x="11452" y="4245"/>
                  </a:lnTo>
                  <a:lnTo>
                    <a:pt x="11444" y="4265"/>
                  </a:lnTo>
                  <a:lnTo>
                    <a:pt x="11438" y="4286"/>
                  </a:lnTo>
                  <a:lnTo>
                    <a:pt x="11434" y="4309"/>
                  </a:lnTo>
                  <a:lnTo>
                    <a:pt x="12171" y="4309"/>
                  </a:lnTo>
                  <a:lnTo>
                    <a:pt x="12177" y="4305"/>
                  </a:lnTo>
                  <a:lnTo>
                    <a:pt x="12184" y="4304"/>
                  </a:lnTo>
                  <a:lnTo>
                    <a:pt x="12609" y="4304"/>
                  </a:lnTo>
                  <a:lnTo>
                    <a:pt x="12618" y="4271"/>
                  </a:lnTo>
                  <a:lnTo>
                    <a:pt x="12625" y="4239"/>
                  </a:lnTo>
                  <a:lnTo>
                    <a:pt x="12629" y="4204"/>
                  </a:lnTo>
                  <a:lnTo>
                    <a:pt x="12630" y="4171"/>
                  </a:lnTo>
                  <a:close/>
                  <a:moveTo>
                    <a:pt x="11425" y="3810"/>
                  </a:moveTo>
                  <a:lnTo>
                    <a:pt x="11524" y="3712"/>
                  </a:lnTo>
                  <a:lnTo>
                    <a:pt x="11532" y="3707"/>
                  </a:lnTo>
                  <a:lnTo>
                    <a:pt x="11539" y="3705"/>
                  </a:lnTo>
                  <a:lnTo>
                    <a:pt x="11547" y="3707"/>
                  </a:lnTo>
                  <a:lnTo>
                    <a:pt x="11553" y="3712"/>
                  </a:lnTo>
                  <a:lnTo>
                    <a:pt x="11557" y="3717"/>
                  </a:lnTo>
                  <a:lnTo>
                    <a:pt x="11558" y="3725"/>
                  </a:lnTo>
                  <a:lnTo>
                    <a:pt x="11557" y="3732"/>
                  </a:lnTo>
                  <a:lnTo>
                    <a:pt x="11553" y="3740"/>
                  </a:lnTo>
                  <a:lnTo>
                    <a:pt x="11426" y="3866"/>
                  </a:lnTo>
                  <a:lnTo>
                    <a:pt x="11425" y="3895"/>
                  </a:lnTo>
                  <a:lnTo>
                    <a:pt x="11460" y="3892"/>
                  </a:lnTo>
                  <a:lnTo>
                    <a:pt x="11494" y="3884"/>
                  </a:lnTo>
                  <a:lnTo>
                    <a:pt x="11528" y="3874"/>
                  </a:lnTo>
                  <a:lnTo>
                    <a:pt x="11558" y="3861"/>
                  </a:lnTo>
                  <a:lnTo>
                    <a:pt x="11589" y="3846"/>
                  </a:lnTo>
                  <a:lnTo>
                    <a:pt x="11617" y="3828"/>
                  </a:lnTo>
                  <a:lnTo>
                    <a:pt x="11643" y="3806"/>
                  </a:lnTo>
                  <a:lnTo>
                    <a:pt x="11667" y="3783"/>
                  </a:lnTo>
                  <a:lnTo>
                    <a:pt x="11689" y="3758"/>
                  </a:lnTo>
                  <a:lnTo>
                    <a:pt x="11710" y="3731"/>
                  </a:lnTo>
                  <a:lnTo>
                    <a:pt x="11726" y="3702"/>
                  </a:lnTo>
                  <a:lnTo>
                    <a:pt x="11741" y="3671"/>
                  </a:lnTo>
                  <a:lnTo>
                    <a:pt x="11752" y="3639"/>
                  </a:lnTo>
                  <a:lnTo>
                    <a:pt x="11761" y="3606"/>
                  </a:lnTo>
                  <a:lnTo>
                    <a:pt x="11766" y="3571"/>
                  </a:lnTo>
                  <a:lnTo>
                    <a:pt x="11767" y="3535"/>
                  </a:lnTo>
                  <a:lnTo>
                    <a:pt x="11765" y="3498"/>
                  </a:lnTo>
                  <a:lnTo>
                    <a:pt x="11760" y="3462"/>
                  </a:lnTo>
                  <a:lnTo>
                    <a:pt x="11751" y="3428"/>
                  </a:lnTo>
                  <a:lnTo>
                    <a:pt x="11739" y="3395"/>
                  </a:lnTo>
                  <a:lnTo>
                    <a:pt x="11724" y="3363"/>
                  </a:lnTo>
                  <a:lnTo>
                    <a:pt x="11706" y="3333"/>
                  </a:lnTo>
                  <a:lnTo>
                    <a:pt x="11684" y="3305"/>
                  </a:lnTo>
                  <a:lnTo>
                    <a:pt x="11661" y="3280"/>
                  </a:lnTo>
                  <a:lnTo>
                    <a:pt x="11635" y="3257"/>
                  </a:lnTo>
                  <a:lnTo>
                    <a:pt x="11608" y="3236"/>
                  </a:lnTo>
                  <a:lnTo>
                    <a:pt x="11578" y="3218"/>
                  </a:lnTo>
                  <a:lnTo>
                    <a:pt x="11547" y="3203"/>
                  </a:lnTo>
                  <a:lnTo>
                    <a:pt x="11530" y="3196"/>
                  </a:lnTo>
                  <a:lnTo>
                    <a:pt x="11514" y="3190"/>
                  </a:lnTo>
                  <a:lnTo>
                    <a:pt x="11479" y="3181"/>
                  </a:lnTo>
                  <a:lnTo>
                    <a:pt x="11443" y="3176"/>
                  </a:lnTo>
                  <a:lnTo>
                    <a:pt x="11406" y="3175"/>
                  </a:lnTo>
                  <a:lnTo>
                    <a:pt x="11369" y="3176"/>
                  </a:lnTo>
                  <a:lnTo>
                    <a:pt x="11333" y="3181"/>
                  </a:lnTo>
                  <a:lnTo>
                    <a:pt x="11298" y="3190"/>
                  </a:lnTo>
                  <a:lnTo>
                    <a:pt x="11265" y="3203"/>
                  </a:lnTo>
                  <a:lnTo>
                    <a:pt x="11233" y="3218"/>
                  </a:lnTo>
                  <a:lnTo>
                    <a:pt x="11203" y="3236"/>
                  </a:lnTo>
                  <a:lnTo>
                    <a:pt x="11175" y="3257"/>
                  </a:lnTo>
                  <a:lnTo>
                    <a:pt x="11149" y="3280"/>
                  </a:lnTo>
                  <a:lnTo>
                    <a:pt x="11126" y="3305"/>
                  </a:lnTo>
                  <a:lnTo>
                    <a:pt x="11106" y="3333"/>
                  </a:lnTo>
                  <a:lnTo>
                    <a:pt x="11088" y="3363"/>
                  </a:lnTo>
                  <a:lnTo>
                    <a:pt x="11072" y="3395"/>
                  </a:lnTo>
                  <a:lnTo>
                    <a:pt x="11066" y="3411"/>
                  </a:lnTo>
                  <a:lnTo>
                    <a:pt x="11060" y="3428"/>
                  </a:lnTo>
                  <a:lnTo>
                    <a:pt x="11051" y="3462"/>
                  </a:lnTo>
                  <a:lnTo>
                    <a:pt x="11046" y="3498"/>
                  </a:lnTo>
                  <a:lnTo>
                    <a:pt x="11044" y="3535"/>
                  </a:lnTo>
                  <a:lnTo>
                    <a:pt x="11046" y="3570"/>
                  </a:lnTo>
                  <a:lnTo>
                    <a:pt x="11051" y="3606"/>
                  </a:lnTo>
                  <a:lnTo>
                    <a:pt x="11060" y="3639"/>
                  </a:lnTo>
                  <a:lnTo>
                    <a:pt x="11070" y="3671"/>
                  </a:lnTo>
                  <a:lnTo>
                    <a:pt x="11085" y="3702"/>
                  </a:lnTo>
                  <a:lnTo>
                    <a:pt x="11102" y="3731"/>
                  </a:lnTo>
                  <a:lnTo>
                    <a:pt x="11121" y="3758"/>
                  </a:lnTo>
                  <a:lnTo>
                    <a:pt x="11143" y="3783"/>
                  </a:lnTo>
                  <a:lnTo>
                    <a:pt x="11167" y="3806"/>
                  </a:lnTo>
                  <a:lnTo>
                    <a:pt x="11193" y="3827"/>
                  </a:lnTo>
                  <a:lnTo>
                    <a:pt x="11221" y="3846"/>
                  </a:lnTo>
                  <a:lnTo>
                    <a:pt x="11252" y="3861"/>
                  </a:lnTo>
                  <a:lnTo>
                    <a:pt x="11283" y="3874"/>
                  </a:lnTo>
                  <a:lnTo>
                    <a:pt x="11316" y="3884"/>
                  </a:lnTo>
                  <a:lnTo>
                    <a:pt x="11349" y="3891"/>
                  </a:lnTo>
                  <a:lnTo>
                    <a:pt x="11385" y="3895"/>
                  </a:lnTo>
                  <a:lnTo>
                    <a:pt x="11385" y="3757"/>
                  </a:lnTo>
                  <a:lnTo>
                    <a:pt x="11258" y="3631"/>
                  </a:lnTo>
                  <a:lnTo>
                    <a:pt x="11253" y="3624"/>
                  </a:lnTo>
                  <a:lnTo>
                    <a:pt x="11252" y="3616"/>
                  </a:lnTo>
                  <a:lnTo>
                    <a:pt x="11255" y="3608"/>
                  </a:lnTo>
                  <a:lnTo>
                    <a:pt x="11258" y="3602"/>
                  </a:lnTo>
                  <a:lnTo>
                    <a:pt x="11265" y="3598"/>
                  </a:lnTo>
                  <a:lnTo>
                    <a:pt x="11271" y="3597"/>
                  </a:lnTo>
                  <a:lnTo>
                    <a:pt x="11279" y="3598"/>
                  </a:lnTo>
                  <a:lnTo>
                    <a:pt x="11287" y="3602"/>
                  </a:lnTo>
                  <a:lnTo>
                    <a:pt x="11385" y="3700"/>
                  </a:lnTo>
                  <a:lnTo>
                    <a:pt x="11385" y="3589"/>
                  </a:lnTo>
                  <a:lnTo>
                    <a:pt x="11385" y="3581"/>
                  </a:lnTo>
                  <a:lnTo>
                    <a:pt x="11385" y="3447"/>
                  </a:lnTo>
                  <a:lnTo>
                    <a:pt x="11387" y="3439"/>
                  </a:lnTo>
                  <a:lnTo>
                    <a:pt x="11392" y="3433"/>
                  </a:lnTo>
                  <a:lnTo>
                    <a:pt x="11398" y="3429"/>
                  </a:lnTo>
                  <a:lnTo>
                    <a:pt x="11405" y="3428"/>
                  </a:lnTo>
                  <a:lnTo>
                    <a:pt x="11412" y="3429"/>
                  </a:lnTo>
                  <a:lnTo>
                    <a:pt x="11419" y="3433"/>
                  </a:lnTo>
                  <a:lnTo>
                    <a:pt x="11424" y="3439"/>
                  </a:lnTo>
                  <a:lnTo>
                    <a:pt x="11425" y="3447"/>
                  </a:lnTo>
                  <a:lnTo>
                    <a:pt x="11425" y="3537"/>
                  </a:lnTo>
                  <a:lnTo>
                    <a:pt x="11517" y="3445"/>
                  </a:lnTo>
                  <a:lnTo>
                    <a:pt x="11525" y="3439"/>
                  </a:lnTo>
                  <a:lnTo>
                    <a:pt x="11533" y="3438"/>
                  </a:lnTo>
                  <a:lnTo>
                    <a:pt x="11541" y="3441"/>
                  </a:lnTo>
                  <a:lnTo>
                    <a:pt x="11546" y="3445"/>
                  </a:lnTo>
                  <a:lnTo>
                    <a:pt x="11551" y="3451"/>
                  </a:lnTo>
                  <a:lnTo>
                    <a:pt x="11552" y="3457"/>
                  </a:lnTo>
                  <a:lnTo>
                    <a:pt x="11551" y="3465"/>
                  </a:lnTo>
                  <a:lnTo>
                    <a:pt x="11546" y="3473"/>
                  </a:lnTo>
                  <a:lnTo>
                    <a:pt x="11425" y="3593"/>
                  </a:lnTo>
                  <a:lnTo>
                    <a:pt x="11425" y="3810"/>
                  </a:lnTo>
                  <a:close/>
                  <a:moveTo>
                    <a:pt x="11847" y="2875"/>
                  </a:moveTo>
                  <a:lnTo>
                    <a:pt x="11847" y="2753"/>
                  </a:lnTo>
                  <a:lnTo>
                    <a:pt x="11743" y="2650"/>
                  </a:lnTo>
                  <a:lnTo>
                    <a:pt x="11738" y="2643"/>
                  </a:lnTo>
                  <a:lnTo>
                    <a:pt x="11737" y="2635"/>
                  </a:lnTo>
                  <a:lnTo>
                    <a:pt x="11739" y="2627"/>
                  </a:lnTo>
                  <a:lnTo>
                    <a:pt x="11743" y="2622"/>
                  </a:lnTo>
                  <a:lnTo>
                    <a:pt x="11750" y="2617"/>
                  </a:lnTo>
                  <a:lnTo>
                    <a:pt x="11757" y="2616"/>
                  </a:lnTo>
                  <a:lnTo>
                    <a:pt x="11764" y="2617"/>
                  </a:lnTo>
                  <a:lnTo>
                    <a:pt x="11771" y="2622"/>
                  </a:lnTo>
                  <a:lnTo>
                    <a:pt x="11847" y="2696"/>
                  </a:lnTo>
                  <a:lnTo>
                    <a:pt x="11847" y="2643"/>
                  </a:lnTo>
                  <a:lnTo>
                    <a:pt x="11848" y="2634"/>
                  </a:lnTo>
                  <a:lnTo>
                    <a:pt x="11853" y="2627"/>
                  </a:lnTo>
                  <a:lnTo>
                    <a:pt x="11860" y="2624"/>
                  </a:lnTo>
                  <a:lnTo>
                    <a:pt x="11866" y="2622"/>
                  </a:lnTo>
                  <a:lnTo>
                    <a:pt x="11874" y="2624"/>
                  </a:lnTo>
                  <a:lnTo>
                    <a:pt x="11880" y="2627"/>
                  </a:lnTo>
                  <a:lnTo>
                    <a:pt x="11885" y="2634"/>
                  </a:lnTo>
                  <a:lnTo>
                    <a:pt x="11887" y="2643"/>
                  </a:lnTo>
                  <a:lnTo>
                    <a:pt x="11887" y="2741"/>
                  </a:lnTo>
                  <a:lnTo>
                    <a:pt x="11887" y="2748"/>
                  </a:lnTo>
                  <a:lnTo>
                    <a:pt x="11887" y="2831"/>
                  </a:lnTo>
                  <a:lnTo>
                    <a:pt x="12024" y="2693"/>
                  </a:lnTo>
                  <a:lnTo>
                    <a:pt x="12032" y="2688"/>
                  </a:lnTo>
                  <a:lnTo>
                    <a:pt x="12039" y="2686"/>
                  </a:lnTo>
                  <a:lnTo>
                    <a:pt x="12047" y="2689"/>
                  </a:lnTo>
                  <a:lnTo>
                    <a:pt x="12052" y="2693"/>
                  </a:lnTo>
                  <a:lnTo>
                    <a:pt x="12057" y="2699"/>
                  </a:lnTo>
                  <a:lnTo>
                    <a:pt x="12059" y="2707"/>
                  </a:lnTo>
                  <a:lnTo>
                    <a:pt x="12057" y="2714"/>
                  </a:lnTo>
                  <a:lnTo>
                    <a:pt x="12052" y="2721"/>
                  </a:lnTo>
                  <a:lnTo>
                    <a:pt x="11887" y="2887"/>
                  </a:lnTo>
                  <a:lnTo>
                    <a:pt x="11887" y="2960"/>
                  </a:lnTo>
                  <a:lnTo>
                    <a:pt x="11887" y="2968"/>
                  </a:lnTo>
                  <a:lnTo>
                    <a:pt x="11887" y="3172"/>
                  </a:lnTo>
                  <a:lnTo>
                    <a:pt x="11897" y="3164"/>
                  </a:lnTo>
                  <a:lnTo>
                    <a:pt x="11907" y="3156"/>
                  </a:lnTo>
                  <a:lnTo>
                    <a:pt x="11919" y="3147"/>
                  </a:lnTo>
                  <a:lnTo>
                    <a:pt x="11932" y="3138"/>
                  </a:lnTo>
                  <a:lnTo>
                    <a:pt x="11947" y="3130"/>
                  </a:lnTo>
                  <a:lnTo>
                    <a:pt x="11968" y="3126"/>
                  </a:lnTo>
                  <a:lnTo>
                    <a:pt x="11993" y="3125"/>
                  </a:lnTo>
                  <a:lnTo>
                    <a:pt x="12027" y="3129"/>
                  </a:lnTo>
                  <a:lnTo>
                    <a:pt x="12043" y="3131"/>
                  </a:lnTo>
                  <a:lnTo>
                    <a:pt x="12056" y="3131"/>
                  </a:lnTo>
                  <a:lnTo>
                    <a:pt x="12066" y="3129"/>
                  </a:lnTo>
                  <a:lnTo>
                    <a:pt x="12075" y="3125"/>
                  </a:lnTo>
                  <a:lnTo>
                    <a:pt x="12088" y="3112"/>
                  </a:lnTo>
                  <a:lnTo>
                    <a:pt x="12097" y="3097"/>
                  </a:lnTo>
                  <a:lnTo>
                    <a:pt x="12106" y="3078"/>
                  </a:lnTo>
                  <a:lnTo>
                    <a:pt x="12118" y="3058"/>
                  </a:lnTo>
                  <a:lnTo>
                    <a:pt x="12135" y="3040"/>
                  </a:lnTo>
                  <a:lnTo>
                    <a:pt x="12148" y="3033"/>
                  </a:lnTo>
                  <a:lnTo>
                    <a:pt x="12162" y="3026"/>
                  </a:lnTo>
                  <a:lnTo>
                    <a:pt x="12211" y="3012"/>
                  </a:lnTo>
                  <a:lnTo>
                    <a:pt x="12224" y="3007"/>
                  </a:lnTo>
                  <a:lnTo>
                    <a:pt x="12232" y="3001"/>
                  </a:lnTo>
                  <a:lnTo>
                    <a:pt x="12237" y="2992"/>
                  </a:lnTo>
                  <a:lnTo>
                    <a:pt x="12238" y="2978"/>
                  </a:lnTo>
                  <a:lnTo>
                    <a:pt x="12242" y="2928"/>
                  </a:lnTo>
                  <a:lnTo>
                    <a:pt x="12244" y="2911"/>
                  </a:lnTo>
                  <a:lnTo>
                    <a:pt x="12250" y="2897"/>
                  </a:lnTo>
                  <a:lnTo>
                    <a:pt x="12262" y="2875"/>
                  </a:lnTo>
                  <a:lnTo>
                    <a:pt x="12270" y="2868"/>
                  </a:lnTo>
                  <a:lnTo>
                    <a:pt x="12279" y="2860"/>
                  </a:lnTo>
                  <a:lnTo>
                    <a:pt x="12296" y="2847"/>
                  </a:lnTo>
                  <a:lnTo>
                    <a:pt x="12310" y="2836"/>
                  </a:lnTo>
                  <a:lnTo>
                    <a:pt x="12315" y="2828"/>
                  </a:lnTo>
                  <a:lnTo>
                    <a:pt x="12319" y="2821"/>
                  </a:lnTo>
                  <a:lnTo>
                    <a:pt x="12320" y="2812"/>
                  </a:lnTo>
                  <a:lnTo>
                    <a:pt x="12320" y="2801"/>
                  </a:lnTo>
                  <a:lnTo>
                    <a:pt x="12312" y="2773"/>
                  </a:lnTo>
                  <a:lnTo>
                    <a:pt x="12300" y="2743"/>
                  </a:lnTo>
                  <a:lnTo>
                    <a:pt x="12294" y="2727"/>
                  </a:lnTo>
                  <a:lnTo>
                    <a:pt x="12293" y="2711"/>
                  </a:lnTo>
                  <a:lnTo>
                    <a:pt x="12294" y="2693"/>
                  </a:lnTo>
                  <a:lnTo>
                    <a:pt x="12300" y="2676"/>
                  </a:lnTo>
                  <a:lnTo>
                    <a:pt x="12318" y="2629"/>
                  </a:lnTo>
                  <a:lnTo>
                    <a:pt x="12323" y="2616"/>
                  </a:lnTo>
                  <a:lnTo>
                    <a:pt x="12323" y="2606"/>
                  </a:lnTo>
                  <a:lnTo>
                    <a:pt x="12319" y="2598"/>
                  </a:lnTo>
                  <a:lnTo>
                    <a:pt x="12309" y="2588"/>
                  </a:lnTo>
                  <a:lnTo>
                    <a:pt x="12271" y="2553"/>
                  </a:lnTo>
                  <a:lnTo>
                    <a:pt x="12261" y="2540"/>
                  </a:lnTo>
                  <a:lnTo>
                    <a:pt x="12252" y="2529"/>
                  </a:lnTo>
                  <a:lnTo>
                    <a:pt x="12247" y="2516"/>
                  </a:lnTo>
                  <a:lnTo>
                    <a:pt x="12243" y="2505"/>
                  </a:lnTo>
                  <a:lnTo>
                    <a:pt x="12242" y="2483"/>
                  </a:lnTo>
                  <a:lnTo>
                    <a:pt x="12242" y="2461"/>
                  </a:lnTo>
                  <a:lnTo>
                    <a:pt x="12241" y="2443"/>
                  </a:lnTo>
                  <a:lnTo>
                    <a:pt x="12238" y="2434"/>
                  </a:lnTo>
                  <a:lnTo>
                    <a:pt x="12236" y="2427"/>
                  </a:lnTo>
                  <a:lnTo>
                    <a:pt x="12229" y="2419"/>
                  </a:lnTo>
                  <a:lnTo>
                    <a:pt x="12220" y="2413"/>
                  </a:lnTo>
                  <a:lnTo>
                    <a:pt x="12209" y="2406"/>
                  </a:lnTo>
                  <a:lnTo>
                    <a:pt x="12193" y="2401"/>
                  </a:lnTo>
                  <a:lnTo>
                    <a:pt x="12164" y="2393"/>
                  </a:lnTo>
                  <a:lnTo>
                    <a:pt x="12143" y="2384"/>
                  </a:lnTo>
                  <a:lnTo>
                    <a:pt x="12129" y="2376"/>
                  </a:lnTo>
                  <a:lnTo>
                    <a:pt x="12120" y="2365"/>
                  </a:lnTo>
                  <a:lnTo>
                    <a:pt x="12106" y="2340"/>
                  </a:lnTo>
                  <a:lnTo>
                    <a:pt x="12096" y="2322"/>
                  </a:lnTo>
                  <a:lnTo>
                    <a:pt x="12082" y="2301"/>
                  </a:lnTo>
                  <a:lnTo>
                    <a:pt x="12077" y="2295"/>
                  </a:lnTo>
                  <a:lnTo>
                    <a:pt x="12070" y="2291"/>
                  </a:lnTo>
                  <a:lnTo>
                    <a:pt x="12055" y="2287"/>
                  </a:lnTo>
                  <a:lnTo>
                    <a:pt x="12038" y="2289"/>
                  </a:lnTo>
                  <a:lnTo>
                    <a:pt x="12020" y="2292"/>
                  </a:lnTo>
                  <a:lnTo>
                    <a:pt x="12000" y="2296"/>
                  </a:lnTo>
                  <a:lnTo>
                    <a:pt x="11978" y="2296"/>
                  </a:lnTo>
                  <a:lnTo>
                    <a:pt x="11955" y="2292"/>
                  </a:lnTo>
                  <a:lnTo>
                    <a:pt x="11930" y="2281"/>
                  </a:lnTo>
                  <a:lnTo>
                    <a:pt x="11900" y="2259"/>
                  </a:lnTo>
                  <a:lnTo>
                    <a:pt x="11882" y="2248"/>
                  </a:lnTo>
                  <a:lnTo>
                    <a:pt x="11866" y="2244"/>
                  </a:lnTo>
                  <a:lnTo>
                    <a:pt x="11851" y="2246"/>
                  </a:lnTo>
                  <a:lnTo>
                    <a:pt x="11843" y="2250"/>
                  </a:lnTo>
                  <a:lnTo>
                    <a:pt x="11837" y="2254"/>
                  </a:lnTo>
                  <a:lnTo>
                    <a:pt x="11812" y="2276"/>
                  </a:lnTo>
                  <a:lnTo>
                    <a:pt x="11796" y="2286"/>
                  </a:lnTo>
                  <a:lnTo>
                    <a:pt x="11774" y="2294"/>
                  </a:lnTo>
                  <a:lnTo>
                    <a:pt x="11744" y="2295"/>
                  </a:lnTo>
                  <a:lnTo>
                    <a:pt x="11726" y="2294"/>
                  </a:lnTo>
                  <a:lnTo>
                    <a:pt x="11706" y="2291"/>
                  </a:lnTo>
                  <a:lnTo>
                    <a:pt x="11691" y="2289"/>
                  </a:lnTo>
                  <a:lnTo>
                    <a:pt x="11676" y="2289"/>
                  </a:lnTo>
                  <a:lnTo>
                    <a:pt x="11666" y="2291"/>
                  </a:lnTo>
                  <a:lnTo>
                    <a:pt x="11658" y="2295"/>
                  </a:lnTo>
                  <a:lnTo>
                    <a:pt x="11646" y="2308"/>
                  </a:lnTo>
                  <a:lnTo>
                    <a:pt x="11637" y="2324"/>
                  </a:lnTo>
                  <a:lnTo>
                    <a:pt x="11628" y="2342"/>
                  </a:lnTo>
                  <a:lnTo>
                    <a:pt x="11616" y="2361"/>
                  </a:lnTo>
                  <a:lnTo>
                    <a:pt x="11598" y="2379"/>
                  </a:lnTo>
                  <a:lnTo>
                    <a:pt x="11585" y="2387"/>
                  </a:lnTo>
                  <a:lnTo>
                    <a:pt x="11570" y="2393"/>
                  </a:lnTo>
                  <a:lnTo>
                    <a:pt x="11521" y="2409"/>
                  </a:lnTo>
                  <a:lnTo>
                    <a:pt x="11508" y="2414"/>
                  </a:lnTo>
                  <a:lnTo>
                    <a:pt x="11501" y="2419"/>
                  </a:lnTo>
                  <a:lnTo>
                    <a:pt x="11497" y="2428"/>
                  </a:lnTo>
                  <a:lnTo>
                    <a:pt x="11494" y="2442"/>
                  </a:lnTo>
                  <a:lnTo>
                    <a:pt x="11491" y="2492"/>
                  </a:lnTo>
                  <a:lnTo>
                    <a:pt x="11488" y="2509"/>
                  </a:lnTo>
                  <a:lnTo>
                    <a:pt x="11484" y="2523"/>
                  </a:lnTo>
                  <a:lnTo>
                    <a:pt x="11470" y="2544"/>
                  </a:lnTo>
                  <a:lnTo>
                    <a:pt x="11462" y="2552"/>
                  </a:lnTo>
                  <a:lnTo>
                    <a:pt x="11455" y="2560"/>
                  </a:lnTo>
                  <a:lnTo>
                    <a:pt x="11438" y="2572"/>
                  </a:lnTo>
                  <a:lnTo>
                    <a:pt x="11424" y="2585"/>
                  </a:lnTo>
                  <a:lnTo>
                    <a:pt x="11419" y="2592"/>
                  </a:lnTo>
                  <a:lnTo>
                    <a:pt x="11415" y="2599"/>
                  </a:lnTo>
                  <a:lnTo>
                    <a:pt x="11412" y="2608"/>
                  </a:lnTo>
                  <a:lnTo>
                    <a:pt x="11412" y="2620"/>
                  </a:lnTo>
                  <a:lnTo>
                    <a:pt x="11421" y="2647"/>
                  </a:lnTo>
                  <a:lnTo>
                    <a:pt x="11434" y="2677"/>
                  </a:lnTo>
                  <a:lnTo>
                    <a:pt x="11438" y="2694"/>
                  </a:lnTo>
                  <a:lnTo>
                    <a:pt x="11440" y="2711"/>
                  </a:lnTo>
                  <a:lnTo>
                    <a:pt x="11438" y="2732"/>
                  </a:lnTo>
                  <a:lnTo>
                    <a:pt x="11432" y="2751"/>
                  </a:lnTo>
                  <a:lnTo>
                    <a:pt x="11416" y="2782"/>
                  </a:lnTo>
                  <a:lnTo>
                    <a:pt x="11411" y="2797"/>
                  </a:lnTo>
                  <a:lnTo>
                    <a:pt x="11411" y="2805"/>
                  </a:lnTo>
                  <a:lnTo>
                    <a:pt x="11412" y="2812"/>
                  </a:lnTo>
                  <a:lnTo>
                    <a:pt x="11420" y="2828"/>
                  </a:lnTo>
                  <a:lnTo>
                    <a:pt x="11438" y="2847"/>
                  </a:lnTo>
                  <a:lnTo>
                    <a:pt x="11461" y="2868"/>
                  </a:lnTo>
                  <a:lnTo>
                    <a:pt x="11476" y="2884"/>
                  </a:lnTo>
                  <a:lnTo>
                    <a:pt x="11484" y="2899"/>
                  </a:lnTo>
                  <a:lnTo>
                    <a:pt x="11488" y="2911"/>
                  </a:lnTo>
                  <a:lnTo>
                    <a:pt x="11491" y="2941"/>
                  </a:lnTo>
                  <a:lnTo>
                    <a:pt x="11491" y="2960"/>
                  </a:lnTo>
                  <a:lnTo>
                    <a:pt x="11494" y="2985"/>
                  </a:lnTo>
                  <a:lnTo>
                    <a:pt x="11502" y="3000"/>
                  </a:lnTo>
                  <a:lnTo>
                    <a:pt x="11514" y="3010"/>
                  </a:lnTo>
                  <a:lnTo>
                    <a:pt x="11529" y="3015"/>
                  </a:lnTo>
                  <a:lnTo>
                    <a:pt x="11547" y="3020"/>
                  </a:lnTo>
                  <a:lnTo>
                    <a:pt x="11567" y="3026"/>
                  </a:lnTo>
                  <a:lnTo>
                    <a:pt x="11587" y="3034"/>
                  </a:lnTo>
                  <a:lnTo>
                    <a:pt x="11606" y="3048"/>
                  </a:lnTo>
                  <a:lnTo>
                    <a:pt x="11615" y="3057"/>
                  </a:lnTo>
                  <a:lnTo>
                    <a:pt x="11623" y="3069"/>
                  </a:lnTo>
                  <a:lnTo>
                    <a:pt x="11648" y="3112"/>
                  </a:lnTo>
                  <a:lnTo>
                    <a:pt x="11656" y="3124"/>
                  </a:lnTo>
                  <a:lnTo>
                    <a:pt x="11664" y="3130"/>
                  </a:lnTo>
                  <a:lnTo>
                    <a:pt x="11673" y="3133"/>
                  </a:lnTo>
                  <a:lnTo>
                    <a:pt x="11687" y="3131"/>
                  </a:lnTo>
                  <a:lnTo>
                    <a:pt x="11737" y="3124"/>
                  </a:lnTo>
                  <a:lnTo>
                    <a:pt x="11757" y="3124"/>
                  </a:lnTo>
                  <a:lnTo>
                    <a:pt x="11774" y="3126"/>
                  </a:lnTo>
                  <a:lnTo>
                    <a:pt x="11789" y="3131"/>
                  </a:lnTo>
                  <a:lnTo>
                    <a:pt x="11803" y="3139"/>
                  </a:lnTo>
                  <a:lnTo>
                    <a:pt x="11826" y="3156"/>
                  </a:lnTo>
                  <a:lnTo>
                    <a:pt x="11847" y="3171"/>
                  </a:lnTo>
                  <a:lnTo>
                    <a:pt x="11847" y="2973"/>
                  </a:lnTo>
                  <a:lnTo>
                    <a:pt x="11769" y="2895"/>
                  </a:lnTo>
                  <a:lnTo>
                    <a:pt x="11764" y="2887"/>
                  </a:lnTo>
                  <a:lnTo>
                    <a:pt x="11762" y="2879"/>
                  </a:lnTo>
                  <a:lnTo>
                    <a:pt x="11765" y="2873"/>
                  </a:lnTo>
                  <a:lnTo>
                    <a:pt x="11769" y="2867"/>
                  </a:lnTo>
                  <a:lnTo>
                    <a:pt x="11775" y="2863"/>
                  </a:lnTo>
                  <a:lnTo>
                    <a:pt x="11782" y="2860"/>
                  </a:lnTo>
                  <a:lnTo>
                    <a:pt x="11789" y="2861"/>
                  </a:lnTo>
                  <a:lnTo>
                    <a:pt x="11797" y="2867"/>
                  </a:lnTo>
                  <a:lnTo>
                    <a:pt x="11847" y="2916"/>
                  </a:lnTo>
                  <a:lnTo>
                    <a:pt x="11847" y="2882"/>
                  </a:lnTo>
                  <a:lnTo>
                    <a:pt x="11847" y="2875"/>
                  </a:lnTo>
                  <a:close/>
                  <a:moveTo>
                    <a:pt x="11887" y="2960"/>
                  </a:moveTo>
                  <a:lnTo>
                    <a:pt x="11887" y="2968"/>
                  </a:lnTo>
                  <a:lnTo>
                    <a:pt x="11887" y="2960"/>
                  </a:lnTo>
                  <a:close/>
                  <a:moveTo>
                    <a:pt x="11887" y="2741"/>
                  </a:moveTo>
                  <a:lnTo>
                    <a:pt x="11887" y="2748"/>
                  </a:lnTo>
                  <a:lnTo>
                    <a:pt x="11887" y="2741"/>
                  </a:lnTo>
                  <a:close/>
                  <a:moveTo>
                    <a:pt x="11847" y="2882"/>
                  </a:moveTo>
                  <a:lnTo>
                    <a:pt x="11847" y="2875"/>
                  </a:lnTo>
                  <a:lnTo>
                    <a:pt x="11847" y="2882"/>
                  </a:lnTo>
                  <a:close/>
                  <a:moveTo>
                    <a:pt x="9740" y="1741"/>
                  </a:moveTo>
                  <a:lnTo>
                    <a:pt x="9740" y="1619"/>
                  </a:lnTo>
                  <a:lnTo>
                    <a:pt x="9741" y="1611"/>
                  </a:lnTo>
                  <a:lnTo>
                    <a:pt x="9747" y="1604"/>
                  </a:lnTo>
                  <a:lnTo>
                    <a:pt x="9753" y="1601"/>
                  </a:lnTo>
                  <a:lnTo>
                    <a:pt x="9761" y="1599"/>
                  </a:lnTo>
                  <a:lnTo>
                    <a:pt x="10006" y="1599"/>
                  </a:lnTo>
                  <a:lnTo>
                    <a:pt x="10013" y="1601"/>
                  </a:lnTo>
                  <a:lnTo>
                    <a:pt x="10020" y="1604"/>
                  </a:lnTo>
                  <a:lnTo>
                    <a:pt x="10024" y="1611"/>
                  </a:lnTo>
                  <a:lnTo>
                    <a:pt x="10026" y="1619"/>
                  </a:lnTo>
                  <a:lnTo>
                    <a:pt x="10026" y="1741"/>
                  </a:lnTo>
                  <a:lnTo>
                    <a:pt x="10978" y="1741"/>
                  </a:lnTo>
                  <a:lnTo>
                    <a:pt x="10987" y="1744"/>
                  </a:lnTo>
                  <a:lnTo>
                    <a:pt x="10994" y="1749"/>
                  </a:lnTo>
                  <a:lnTo>
                    <a:pt x="11211" y="2048"/>
                  </a:lnTo>
                  <a:lnTo>
                    <a:pt x="11235" y="2048"/>
                  </a:lnTo>
                  <a:lnTo>
                    <a:pt x="11242" y="2051"/>
                  </a:lnTo>
                  <a:lnTo>
                    <a:pt x="11248" y="2055"/>
                  </a:lnTo>
                  <a:lnTo>
                    <a:pt x="11253" y="2061"/>
                  </a:lnTo>
                  <a:lnTo>
                    <a:pt x="11255" y="2069"/>
                  </a:lnTo>
                  <a:lnTo>
                    <a:pt x="11255" y="2241"/>
                  </a:lnTo>
                  <a:lnTo>
                    <a:pt x="11253" y="2249"/>
                  </a:lnTo>
                  <a:lnTo>
                    <a:pt x="11248" y="2255"/>
                  </a:lnTo>
                  <a:lnTo>
                    <a:pt x="11242" y="2260"/>
                  </a:lnTo>
                  <a:lnTo>
                    <a:pt x="11235" y="2262"/>
                  </a:lnTo>
                  <a:lnTo>
                    <a:pt x="11224" y="2262"/>
                  </a:lnTo>
                  <a:lnTo>
                    <a:pt x="11224" y="3107"/>
                  </a:lnTo>
                  <a:lnTo>
                    <a:pt x="11223" y="3116"/>
                  </a:lnTo>
                  <a:lnTo>
                    <a:pt x="11217" y="3122"/>
                  </a:lnTo>
                  <a:lnTo>
                    <a:pt x="11211" y="3126"/>
                  </a:lnTo>
                  <a:lnTo>
                    <a:pt x="11205" y="3127"/>
                  </a:lnTo>
                  <a:lnTo>
                    <a:pt x="11197" y="3126"/>
                  </a:lnTo>
                  <a:lnTo>
                    <a:pt x="11190" y="3122"/>
                  </a:lnTo>
                  <a:lnTo>
                    <a:pt x="11185" y="3116"/>
                  </a:lnTo>
                  <a:lnTo>
                    <a:pt x="11184" y="3107"/>
                  </a:lnTo>
                  <a:lnTo>
                    <a:pt x="11184" y="2262"/>
                  </a:lnTo>
                  <a:lnTo>
                    <a:pt x="10285" y="2262"/>
                  </a:lnTo>
                  <a:lnTo>
                    <a:pt x="9388" y="2262"/>
                  </a:lnTo>
                  <a:lnTo>
                    <a:pt x="9388" y="3282"/>
                  </a:lnTo>
                  <a:lnTo>
                    <a:pt x="9388" y="4304"/>
                  </a:lnTo>
                  <a:lnTo>
                    <a:pt x="10285" y="4304"/>
                  </a:lnTo>
                  <a:lnTo>
                    <a:pt x="11184" y="4304"/>
                  </a:lnTo>
                  <a:lnTo>
                    <a:pt x="11184" y="3976"/>
                  </a:lnTo>
                  <a:lnTo>
                    <a:pt x="11185" y="3969"/>
                  </a:lnTo>
                  <a:lnTo>
                    <a:pt x="11190" y="3962"/>
                  </a:lnTo>
                  <a:lnTo>
                    <a:pt x="11197" y="3959"/>
                  </a:lnTo>
                  <a:lnTo>
                    <a:pt x="11205" y="3957"/>
                  </a:lnTo>
                  <a:lnTo>
                    <a:pt x="11211" y="3959"/>
                  </a:lnTo>
                  <a:lnTo>
                    <a:pt x="11217" y="3962"/>
                  </a:lnTo>
                  <a:lnTo>
                    <a:pt x="11223" y="3969"/>
                  </a:lnTo>
                  <a:lnTo>
                    <a:pt x="11224" y="3976"/>
                  </a:lnTo>
                  <a:lnTo>
                    <a:pt x="11224" y="4324"/>
                  </a:lnTo>
                  <a:lnTo>
                    <a:pt x="11223" y="4332"/>
                  </a:lnTo>
                  <a:lnTo>
                    <a:pt x="11217" y="4338"/>
                  </a:lnTo>
                  <a:lnTo>
                    <a:pt x="11211" y="4342"/>
                  </a:lnTo>
                  <a:lnTo>
                    <a:pt x="11205" y="4343"/>
                  </a:lnTo>
                  <a:lnTo>
                    <a:pt x="10285" y="4343"/>
                  </a:lnTo>
                  <a:lnTo>
                    <a:pt x="9367" y="4343"/>
                  </a:lnTo>
                  <a:lnTo>
                    <a:pt x="9361" y="4342"/>
                  </a:lnTo>
                  <a:lnTo>
                    <a:pt x="9354" y="4338"/>
                  </a:lnTo>
                  <a:lnTo>
                    <a:pt x="9349" y="4332"/>
                  </a:lnTo>
                  <a:lnTo>
                    <a:pt x="9348" y="4324"/>
                  </a:lnTo>
                  <a:lnTo>
                    <a:pt x="9348" y="3808"/>
                  </a:lnTo>
                  <a:lnTo>
                    <a:pt x="9348" y="3292"/>
                  </a:lnTo>
                  <a:lnTo>
                    <a:pt x="9348" y="2777"/>
                  </a:lnTo>
                  <a:lnTo>
                    <a:pt x="9348" y="2262"/>
                  </a:lnTo>
                  <a:lnTo>
                    <a:pt x="9336" y="2262"/>
                  </a:lnTo>
                  <a:lnTo>
                    <a:pt x="9329" y="2260"/>
                  </a:lnTo>
                  <a:lnTo>
                    <a:pt x="9322" y="2255"/>
                  </a:lnTo>
                  <a:lnTo>
                    <a:pt x="9318" y="2249"/>
                  </a:lnTo>
                  <a:lnTo>
                    <a:pt x="9317" y="2241"/>
                  </a:lnTo>
                  <a:lnTo>
                    <a:pt x="9317" y="2069"/>
                  </a:lnTo>
                  <a:lnTo>
                    <a:pt x="9318" y="2061"/>
                  </a:lnTo>
                  <a:lnTo>
                    <a:pt x="9322" y="2055"/>
                  </a:lnTo>
                  <a:lnTo>
                    <a:pt x="9329" y="2051"/>
                  </a:lnTo>
                  <a:lnTo>
                    <a:pt x="9336" y="2048"/>
                  </a:lnTo>
                  <a:lnTo>
                    <a:pt x="9364" y="2048"/>
                  </a:lnTo>
                  <a:lnTo>
                    <a:pt x="9581" y="1749"/>
                  </a:lnTo>
                  <a:lnTo>
                    <a:pt x="9589" y="1744"/>
                  </a:lnTo>
                  <a:lnTo>
                    <a:pt x="9598" y="1741"/>
                  </a:lnTo>
                  <a:lnTo>
                    <a:pt x="9740" y="1741"/>
                  </a:lnTo>
                  <a:close/>
                  <a:moveTo>
                    <a:pt x="9985" y="1741"/>
                  </a:moveTo>
                  <a:lnTo>
                    <a:pt x="9985" y="1639"/>
                  </a:lnTo>
                  <a:lnTo>
                    <a:pt x="9780" y="1639"/>
                  </a:lnTo>
                  <a:lnTo>
                    <a:pt x="9780" y="1741"/>
                  </a:lnTo>
                  <a:lnTo>
                    <a:pt x="9799" y="1741"/>
                  </a:lnTo>
                  <a:lnTo>
                    <a:pt x="9808" y="1743"/>
                  </a:lnTo>
                  <a:lnTo>
                    <a:pt x="9815" y="1748"/>
                  </a:lnTo>
                  <a:lnTo>
                    <a:pt x="9818" y="1754"/>
                  </a:lnTo>
                  <a:lnTo>
                    <a:pt x="9820" y="1762"/>
                  </a:lnTo>
                  <a:lnTo>
                    <a:pt x="9818" y="1768"/>
                  </a:lnTo>
                  <a:lnTo>
                    <a:pt x="9815" y="1775"/>
                  </a:lnTo>
                  <a:lnTo>
                    <a:pt x="9808" y="1780"/>
                  </a:lnTo>
                  <a:lnTo>
                    <a:pt x="9799" y="1781"/>
                  </a:lnTo>
                  <a:lnTo>
                    <a:pt x="9607" y="1781"/>
                  </a:lnTo>
                  <a:lnTo>
                    <a:pt x="9413" y="2048"/>
                  </a:lnTo>
                  <a:lnTo>
                    <a:pt x="10288" y="2048"/>
                  </a:lnTo>
                  <a:lnTo>
                    <a:pt x="11162" y="2048"/>
                  </a:lnTo>
                  <a:lnTo>
                    <a:pt x="10967" y="1781"/>
                  </a:lnTo>
                  <a:lnTo>
                    <a:pt x="9953" y="1781"/>
                  </a:lnTo>
                  <a:lnTo>
                    <a:pt x="9944" y="1780"/>
                  </a:lnTo>
                  <a:lnTo>
                    <a:pt x="9938" y="1775"/>
                  </a:lnTo>
                  <a:lnTo>
                    <a:pt x="9934" y="1768"/>
                  </a:lnTo>
                  <a:lnTo>
                    <a:pt x="9933" y="1762"/>
                  </a:lnTo>
                  <a:lnTo>
                    <a:pt x="9934" y="1754"/>
                  </a:lnTo>
                  <a:lnTo>
                    <a:pt x="9938" y="1748"/>
                  </a:lnTo>
                  <a:lnTo>
                    <a:pt x="9944" y="1743"/>
                  </a:lnTo>
                  <a:lnTo>
                    <a:pt x="9953" y="1741"/>
                  </a:lnTo>
                  <a:lnTo>
                    <a:pt x="9985" y="1741"/>
                  </a:lnTo>
                  <a:close/>
                  <a:moveTo>
                    <a:pt x="9372" y="2089"/>
                  </a:moveTo>
                  <a:lnTo>
                    <a:pt x="9357" y="2089"/>
                  </a:lnTo>
                  <a:lnTo>
                    <a:pt x="9357" y="2222"/>
                  </a:lnTo>
                  <a:lnTo>
                    <a:pt x="10285" y="2222"/>
                  </a:lnTo>
                  <a:lnTo>
                    <a:pt x="11215" y="2222"/>
                  </a:lnTo>
                  <a:lnTo>
                    <a:pt x="11215" y="2089"/>
                  </a:lnTo>
                  <a:lnTo>
                    <a:pt x="11205" y="2089"/>
                  </a:lnTo>
                  <a:lnTo>
                    <a:pt x="11198" y="2089"/>
                  </a:lnTo>
                  <a:lnTo>
                    <a:pt x="10288" y="2089"/>
                  </a:lnTo>
                  <a:lnTo>
                    <a:pt x="9379" y="2089"/>
                  </a:lnTo>
                  <a:lnTo>
                    <a:pt x="9372" y="2089"/>
                  </a:lnTo>
                  <a:close/>
                  <a:moveTo>
                    <a:pt x="11205" y="2089"/>
                  </a:moveTo>
                  <a:lnTo>
                    <a:pt x="11198" y="2089"/>
                  </a:lnTo>
                  <a:lnTo>
                    <a:pt x="11205" y="2089"/>
                  </a:lnTo>
                  <a:close/>
                  <a:moveTo>
                    <a:pt x="9379" y="2089"/>
                  </a:moveTo>
                  <a:lnTo>
                    <a:pt x="9372" y="2089"/>
                  </a:lnTo>
                  <a:lnTo>
                    <a:pt x="9379" y="2089"/>
                  </a:lnTo>
                  <a:close/>
                  <a:moveTo>
                    <a:pt x="11106" y="1136"/>
                  </a:moveTo>
                  <a:lnTo>
                    <a:pt x="11083" y="1126"/>
                  </a:lnTo>
                  <a:lnTo>
                    <a:pt x="11056" y="1122"/>
                  </a:lnTo>
                  <a:lnTo>
                    <a:pt x="11035" y="1125"/>
                  </a:lnTo>
                  <a:lnTo>
                    <a:pt x="11017" y="1130"/>
                  </a:lnTo>
                  <a:lnTo>
                    <a:pt x="10999" y="1140"/>
                  </a:lnTo>
                  <a:lnTo>
                    <a:pt x="10985" y="1152"/>
                  </a:lnTo>
                  <a:lnTo>
                    <a:pt x="10972" y="1167"/>
                  </a:lnTo>
                  <a:lnTo>
                    <a:pt x="10963" y="1185"/>
                  </a:lnTo>
                  <a:lnTo>
                    <a:pt x="10957" y="1204"/>
                  </a:lnTo>
                  <a:lnTo>
                    <a:pt x="10956" y="1225"/>
                  </a:lnTo>
                  <a:lnTo>
                    <a:pt x="10958" y="1246"/>
                  </a:lnTo>
                  <a:lnTo>
                    <a:pt x="11683" y="1245"/>
                  </a:lnTo>
                  <a:lnTo>
                    <a:pt x="11683" y="1227"/>
                  </a:lnTo>
                  <a:lnTo>
                    <a:pt x="11682" y="1208"/>
                  </a:lnTo>
                  <a:lnTo>
                    <a:pt x="11675" y="1190"/>
                  </a:lnTo>
                  <a:lnTo>
                    <a:pt x="11666" y="1174"/>
                  </a:lnTo>
                  <a:lnTo>
                    <a:pt x="11653" y="1159"/>
                  </a:lnTo>
                  <a:lnTo>
                    <a:pt x="11647" y="1153"/>
                  </a:lnTo>
                  <a:lnTo>
                    <a:pt x="11639" y="1148"/>
                  </a:lnTo>
                  <a:lnTo>
                    <a:pt x="11621" y="1139"/>
                  </a:lnTo>
                  <a:lnTo>
                    <a:pt x="11603" y="1133"/>
                  </a:lnTo>
                  <a:lnTo>
                    <a:pt x="11583" y="1131"/>
                  </a:lnTo>
                  <a:lnTo>
                    <a:pt x="11558" y="1134"/>
                  </a:lnTo>
                  <a:lnTo>
                    <a:pt x="11542" y="1138"/>
                  </a:lnTo>
                  <a:lnTo>
                    <a:pt x="11523" y="1139"/>
                  </a:lnTo>
                  <a:lnTo>
                    <a:pt x="11489" y="1133"/>
                  </a:lnTo>
                  <a:lnTo>
                    <a:pt x="11489" y="1113"/>
                  </a:lnTo>
                  <a:lnTo>
                    <a:pt x="11487" y="1096"/>
                  </a:lnTo>
                  <a:lnTo>
                    <a:pt x="11482" y="1078"/>
                  </a:lnTo>
                  <a:lnTo>
                    <a:pt x="11476" y="1061"/>
                  </a:lnTo>
                  <a:lnTo>
                    <a:pt x="11469" y="1044"/>
                  </a:lnTo>
                  <a:lnTo>
                    <a:pt x="11460" y="1030"/>
                  </a:lnTo>
                  <a:lnTo>
                    <a:pt x="11451" y="1016"/>
                  </a:lnTo>
                  <a:lnTo>
                    <a:pt x="11439" y="1002"/>
                  </a:lnTo>
                  <a:lnTo>
                    <a:pt x="11412" y="980"/>
                  </a:lnTo>
                  <a:lnTo>
                    <a:pt x="11383" y="964"/>
                  </a:lnTo>
                  <a:lnTo>
                    <a:pt x="11366" y="957"/>
                  </a:lnTo>
                  <a:lnTo>
                    <a:pt x="11349" y="954"/>
                  </a:lnTo>
                  <a:lnTo>
                    <a:pt x="11312" y="950"/>
                  </a:lnTo>
                  <a:lnTo>
                    <a:pt x="11278" y="954"/>
                  </a:lnTo>
                  <a:lnTo>
                    <a:pt x="11261" y="957"/>
                  </a:lnTo>
                  <a:lnTo>
                    <a:pt x="11246" y="963"/>
                  </a:lnTo>
                  <a:lnTo>
                    <a:pt x="11230" y="970"/>
                  </a:lnTo>
                  <a:lnTo>
                    <a:pt x="11216" y="978"/>
                  </a:lnTo>
                  <a:lnTo>
                    <a:pt x="11190" y="998"/>
                  </a:lnTo>
                  <a:lnTo>
                    <a:pt x="11170" y="1024"/>
                  </a:lnTo>
                  <a:lnTo>
                    <a:pt x="11153" y="1053"/>
                  </a:lnTo>
                  <a:lnTo>
                    <a:pt x="11147" y="1069"/>
                  </a:lnTo>
                  <a:lnTo>
                    <a:pt x="11142" y="1085"/>
                  </a:lnTo>
                  <a:lnTo>
                    <a:pt x="11138" y="1102"/>
                  </a:lnTo>
                  <a:lnTo>
                    <a:pt x="11137" y="1120"/>
                  </a:lnTo>
                  <a:lnTo>
                    <a:pt x="11134" y="1131"/>
                  </a:lnTo>
                  <a:lnTo>
                    <a:pt x="11126" y="1138"/>
                  </a:lnTo>
                  <a:lnTo>
                    <a:pt x="11122" y="1139"/>
                  </a:lnTo>
                  <a:lnTo>
                    <a:pt x="11117" y="1140"/>
                  </a:lnTo>
                  <a:lnTo>
                    <a:pt x="11106" y="1136"/>
                  </a:lnTo>
                  <a:close/>
                  <a:moveTo>
                    <a:pt x="11528" y="1106"/>
                  </a:moveTo>
                  <a:lnTo>
                    <a:pt x="11539" y="1098"/>
                  </a:lnTo>
                  <a:lnTo>
                    <a:pt x="11555" y="1094"/>
                  </a:lnTo>
                  <a:lnTo>
                    <a:pt x="11583" y="1090"/>
                  </a:lnTo>
                  <a:lnTo>
                    <a:pt x="11611" y="1094"/>
                  </a:lnTo>
                  <a:lnTo>
                    <a:pt x="11624" y="1097"/>
                  </a:lnTo>
                  <a:lnTo>
                    <a:pt x="11637" y="1102"/>
                  </a:lnTo>
                  <a:lnTo>
                    <a:pt x="11660" y="1115"/>
                  </a:lnTo>
                  <a:lnTo>
                    <a:pt x="11682" y="1131"/>
                  </a:lnTo>
                  <a:lnTo>
                    <a:pt x="11698" y="1151"/>
                  </a:lnTo>
                  <a:lnTo>
                    <a:pt x="11712" y="1174"/>
                  </a:lnTo>
                  <a:lnTo>
                    <a:pt x="11720" y="1199"/>
                  </a:lnTo>
                  <a:lnTo>
                    <a:pt x="11723" y="1213"/>
                  </a:lnTo>
                  <a:lnTo>
                    <a:pt x="11723" y="1227"/>
                  </a:lnTo>
                  <a:lnTo>
                    <a:pt x="11723" y="1243"/>
                  </a:lnTo>
                  <a:lnTo>
                    <a:pt x="11721" y="1262"/>
                  </a:lnTo>
                  <a:lnTo>
                    <a:pt x="11714" y="1278"/>
                  </a:lnTo>
                  <a:lnTo>
                    <a:pt x="11707" y="1284"/>
                  </a:lnTo>
                  <a:lnTo>
                    <a:pt x="11700" y="1285"/>
                  </a:lnTo>
                  <a:lnTo>
                    <a:pt x="10943" y="1286"/>
                  </a:lnTo>
                  <a:lnTo>
                    <a:pt x="10934" y="1285"/>
                  </a:lnTo>
                  <a:lnTo>
                    <a:pt x="10928" y="1280"/>
                  </a:lnTo>
                  <a:lnTo>
                    <a:pt x="10924" y="1271"/>
                  </a:lnTo>
                  <a:lnTo>
                    <a:pt x="10920" y="1262"/>
                  </a:lnTo>
                  <a:lnTo>
                    <a:pt x="10916" y="1240"/>
                  </a:lnTo>
                  <a:lnTo>
                    <a:pt x="10915" y="1225"/>
                  </a:lnTo>
                  <a:lnTo>
                    <a:pt x="10919" y="1197"/>
                  </a:lnTo>
                  <a:lnTo>
                    <a:pt x="10926" y="1170"/>
                  </a:lnTo>
                  <a:lnTo>
                    <a:pt x="10939" y="1145"/>
                  </a:lnTo>
                  <a:lnTo>
                    <a:pt x="10956" y="1125"/>
                  </a:lnTo>
                  <a:lnTo>
                    <a:pt x="10978" y="1107"/>
                  </a:lnTo>
                  <a:lnTo>
                    <a:pt x="10989" y="1099"/>
                  </a:lnTo>
                  <a:lnTo>
                    <a:pt x="11001" y="1094"/>
                  </a:lnTo>
                  <a:lnTo>
                    <a:pt x="11028" y="1085"/>
                  </a:lnTo>
                  <a:lnTo>
                    <a:pt x="11042" y="1083"/>
                  </a:lnTo>
                  <a:lnTo>
                    <a:pt x="11056" y="1083"/>
                  </a:lnTo>
                  <a:lnTo>
                    <a:pt x="11079" y="1084"/>
                  </a:lnTo>
                  <a:lnTo>
                    <a:pt x="11101" y="1089"/>
                  </a:lnTo>
                  <a:lnTo>
                    <a:pt x="11110" y="1052"/>
                  </a:lnTo>
                  <a:lnTo>
                    <a:pt x="11126" y="1019"/>
                  </a:lnTo>
                  <a:lnTo>
                    <a:pt x="11147" y="988"/>
                  </a:lnTo>
                  <a:lnTo>
                    <a:pt x="11173" y="961"/>
                  </a:lnTo>
                  <a:lnTo>
                    <a:pt x="11202" y="940"/>
                  </a:lnTo>
                  <a:lnTo>
                    <a:pt x="11237" y="923"/>
                  </a:lnTo>
                  <a:lnTo>
                    <a:pt x="11274" y="913"/>
                  </a:lnTo>
                  <a:lnTo>
                    <a:pt x="11312" y="910"/>
                  </a:lnTo>
                  <a:lnTo>
                    <a:pt x="11355" y="914"/>
                  </a:lnTo>
                  <a:lnTo>
                    <a:pt x="11374" y="918"/>
                  </a:lnTo>
                  <a:lnTo>
                    <a:pt x="11393" y="925"/>
                  </a:lnTo>
                  <a:lnTo>
                    <a:pt x="11428" y="942"/>
                  </a:lnTo>
                  <a:lnTo>
                    <a:pt x="11444" y="954"/>
                  </a:lnTo>
                  <a:lnTo>
                    <a:pt x="11458" y="966"/>
                  </a:lnTo>
                  <a:lnTo>
                    <a:pt x="11473" y="980"/>
                  </a:lnTo>
                  <a:lnTo>
                    <a:pt x="11485" y="996"/>
                  </a:lnTo>
                  <a:lnTo>
                    <a:pt x="11506" y="1029"/>
                  </a:lnTo>
                  <a:lnTo>
                    <a:pt x="11514" y="1047"/>
                  </a:lnTo>
                  <a:lnTo>
                    <a:pt x="11520" y="1066"/>
                  </a:lnTo>
                  <a:lnTo>
                    <a:pt x="11525" y="1085"/>
                  </a:lnTo>
                  <a:lnTo>
                    <a:pt x="11528" y="1106"/>
                  </a:lnTo>
                  <a:close/>
                  <a:moveTo>
                    <a:pt x="13515" y="644"/>
                  </a:moveTo>
                  <a:lnTo>
                    <a:pt x="13404" y="644"/>
                  </a:lnTo>
                  <a:lnTo>
                    <a:pt x="13404" y="754"/>
                  </a:lnTo>
                  <a:lnTo>
                    <a:pt x="13515" y="754"/>
                  </a:lnTo>
                  <a:lnTo>
                    <a:pt x="13515" y="644"/>
                  </a:lnTo>
                  <a:close/>
                  <a:moveTo>
                    <a:pt x="13534" y="605"/>
                  </a:moveTo>
                  <a:lnTo>
                    <a:pt x="13542" y="606"/>
                  </a:lnTo>
                  <a:lnTo>
                    <a:pt x="13549" y="611"/>
                  </a:lnTo>
                  <a:lnTo>
                    <a:pt x="13552" y="617"/>
                  </a:lnTo>
                  <a:lnTo>
                    <a:pt x="13555" y="624"/>
                  </a:lnTo>
                  <a:lnTo>
                    <a:pt x="13555" y="754"/>
                  </a:lnTo>
                  <a:lnTo>
                    <a:pt x="14078" y="754"/>
                  </a:lnTo>
                  <a:lnTo>
                    <a:pt x="14086" y="757"/>
                  </a:lnTo>
                  <a:lnTo>
                    <a:pt x="14092" y="761"/>
                  </a:lnTo>
                  <a:lnTo>
                    <a:pt x="14097" y="767"/>
                  </a:lnTo>
                  <a:lnTo>
                    <a:pt x="14099" y="775"/>
                  </a:lnTo>
                  <a:lnTo>
                    <a:pt x="14099" y="1471"/>
                  </a:lnTo>
                  <a:lnTo>
                    <a:pt x="14099" y="2170"/>
                  </a:lnTo>
                  <a:lnTo>
                    <a:pt x="14097" y="2177"/>
                  </a:lnTo>
                  <a:lnTo>
                    <a:pt x="14092" y="2184"/>
                  </a:lnTo>
                  <a:lnTo>
                    <a:pt x="14086" y="2188"/>
                  </a:lnTo>
                  <a:lnTo>
                    <a:pt x="14078" y="2189"/>
                  </a:lnTo>
                  <a:lnTo>
                    <a:pt x="14072" y="2188"/>
                  </a:lnTo>
                  <a:lnTo>
                    <a:pt x="14065" y="2184"/>
                  </a:lnTo>
                  <a:lnTo>
                    <a:pt x="14060" y="2177"/>
                  </a:lnTo>
                  <a:lnTo>
                    <a:pt x="14059" y="2170"/>
                  </a:lnTo>
                  <a:lnTo>
                    <a:pt x="14059" y="1482"/>
                  </a:lnTo>
                  <a:lnTo>
                    <a:pt x="14059" y="795"/>
                  </a:lnTo>
                  <a:lnTo>
                    <a:pt x="13534" y="795"/>
                  </a:lnTo>
                  <a:lnTo>
                    <a:pt x="13384" y="795"/>
                  </a:lnTo>
                  <a:lnTo>
                    <a:pt x="13150" y="795"/>
                  </a:lnTo>
                  <a:lnTo>
                    <a:pt x="13141" y="793"/>
                  </a:lnTo>
                  <a:lnTo>
                    <a:pt x="13134" y="789"/>
                  </a:lnTo>
                  <a:lnTo>
                    <a:pt x="13131" y="782"/>
                  </a:lnTo>
                  <a:lnTo>
                    <a:pt x="13129" y="775"/>
                  </a:lnTo>
                  <a:lnTo>
                    <a:pt x="13131" y="767"/>
                  </a:lnTo>
                  <a:lnTo>
                    <a:pt x="13134" y="761"/>
                  </a:lnTo>
                  <a:lnTo>
                    <a:pt x="13141" y="757"/>
                  </a:lnTo>
                  <a:lnTo>
                    <a:pt x="13150" y="754"/>
                  </a:lnTo>
                  <a:lnTo>
                    <a:pt x="13201" y="754"/>
                  </a:lnTo>
                  <a:lnTo>
                    <a:pt x="13201" y="612"/>
                  </a:lnTo>
                  <a:lnTo>
                    <a:pt x="12798" y="612"/>
                  </a:lnTo>
                  <a:lnTo>
                    <a:pt x="12798" y="754"/>
                  </a:lnTo>
                  <a:lnTo>
                    <a:pt x="12852" y="754"/>
                  </a:lnTo>
                  <a:lnTo>
                    <a:pt x="12861" y="757"/>
                  </a:lnTo>
                  <a:lnTo>
                    <a:pt x="12868" y="761"/>
                  </a:lnTo>
                  <a:lnTo>
                    <a:pt x="12872" y="767"/>
                  </a:lnTo>
                  <a:lnTo>
                    <a:pt x="12873" y="775"/>
                  </a:lnTo>
                  <a:lnTo>
                    <a:pt x="12872" y="782"/>
                  </a:lnTo>
                  <a:lnTo>
                    <a:pt x="12868" y="789"/>
                  </a:lnTo>
                  <a:lnTo>
                    <a:pt x="12861" y="793"/>
                  </a:lnTo>
                  <a:lnTo>
                    <a:pt x="12852" y="795"/>
                  </a:lnTo>
                  <a:lnTo>
                    <a:pt x="12664" y="795"/>
                  </a:lnTo>
                  <a:lnTo>
                    <a:pt x="12664" y="1810"/>
                  </a:lnTo>
                  <a:lnTo>
                    <a:pt x="12664" y="2826"/>
                  </a:lnTo>
                  <a:lnTo>
                    <a:pt x="12661" y="2835"/>
                  </a:lnTo>
                  <a:lnTo>
                    <a:pt x="12657" y="2840"/>
                  </a:lnTo>
                  <a:lnTo>
                    <a:pt x="12651" y="2844"/>
                  </a:lnTo>
                  <a:lnTo>
                    <a:pt x="12643" y="2845"/>
                  </a:lnTo>
                  <a:lnTo>
                    <a:pt x="12636" y="2844"/>
                  </a:lnTo>
                  <a:lnTo>
                    <a:pt x="12629" y="2840"/>
                  </a:lnTo>
                  <a:lnTo>
                    <a:pt x="12625" y="2835"/>
                  </a:lnTo>
                  <a:lnTo>
                    <a:pt x="12624" y="2826"/>
                  </a:lnTo>
                  <a:lnTo>
                    <a:pt x="12624" y="2313"/>
                  </a:lnTo>
                  <a:lnTo>
                    <a:pt x="12624" y="1800"/>
                  </a:lnTo>
                  <a:lnTo>
                    <a:pt x="12624" y="1287"/>
                  </a:lnTo>
                  <a:lnTo>
                    <a:pt x="12624" y="775"/>
                  </a:lnTo>
                  <a:lnTo>
                    <a:pt x="12625" y="767"/>
                  </a:lnTo>
                  <a:lnTo>
                    <a:pt x="12629" y="761"/>
                  </a:lnTo>
                  <a:lnTo>
                    <a:pt x="12636" y="757"/>
                  </a:lnTo>
                  <a:lnTo>
                    <a:pt x="12643" y="754"/>
                  </a:lnTo>
                  <a:lnTo>
                    <a:pt x="12759" y="754"/>
                  </a:lnTo>
                  <a:lnTo>
                    <a:pt x="12759" y="592"/>
                  </a:lnTo>
                  <a:lnTo>
                    <a:pt x="12760" y="584"/>
                  </a:lnTo>
                  <a:lnTo>
                    <a:pt x="12764" y="578"/>
                  </a:lnTo>
                  <a:lnTo>
                    <a:pt x="12770" y="574"/>
                  </a:lnTo>
                  <a:lnTo>
                    <a:pt x="12778" y="573"/>
                  </a:lnTo>
                  <a:lnTo>
                    <a:pt x="13220" y="573"/>
                  </a:lnTo>
                  <a:lnTo>
                    <a:pt x="13228" y="574"/>
                  </a:lnTo>
                  <a:lnTo>
                    <a:pt x="13234" y="578"/>
                  </a:lnTo>
                  <a:lnTo>
                    <a:pt x="13240" y="584"/>
                  </a:lnTo>
                  <a:lnTo>
                    <a:pt x="13241" y="592"/>
                  </a:lnTo>
                  <a:lnTo>
                    <a:pt x="13241" y="754"/>
                  </a:lnTo>
                  <a:lnTo>
                    <a:pt x="13364" y="754"/>
                  </a:lnTo>
                  <a:lnTo>
                    <a:pt x="13364" y="624"/>
                  </a:lnTo>
                  <a:lnTo>
                    <a:pt x="13365" y="617"/>
                  </a:lnTo>
                  <a:lnTo>
                    <a:pt x="13370" y="611"/>
                  </a:lnTo>
                  <a:lnTo>
                    <a:pt x="13377" y="606"/>
                  </a:lnTo>
                  <a:lnTo>
                    <a:pt x="13384" y="605"/>
                  </a:lnTo>
                  <a:lnTo>
                    <a:pt x="13534" y="605"/>
                  </a:lnTo>
                  <a:close/>
                  <a:moveTo>
                    <a:pt x="15835" y="2587"/>
                  </a:moveTo>
                  <a:lnTo>
                    <a:pt x="15677" y="2587"/>
                  </a:lnTo>
                  <a:lnTo>
                    <a:pt x="15677" y="3445"/>
                  </a:lnTo>
                  <a:lnTo>
                    <a:pt x="15677" y="4304"/>
                  </a:lnTo>
                  <a:lnTo>
                    <a:pt x="16008" y="4304"/>
                  </a:lnTo>
                  <a:lnTo>
                    <a:pt x="16008" y="3419"/>
                  </a:lnTo>
                  <a:lnTo>
                    <a:pt x="16008" y="2534"/>
                  </a:lnTo>
                  <a:lnTo>
                    <a:pt x="16009" y="2525"/>
                  </a:lnTo>
                  <a:lnTo>
                    <a:pt x="16012" y="2519"/>
                  </a:lnTo>
                  <a:lnTo>
                    <a:pt x="16016" y="2515"/>
                  </a:lnTo>
                  <a:lnTo>
                    <a:pt x="16021" y="2511"/>
                  </a:lnTo>
                  <a:lnTo>
                    <a:pt x="16027" y="2511"/>
                  </a:lnTo>
                  <a:lnTo>
                    <a:pt x="16032" y="2512"/>
                  </a:lnTo>
                  <a:lnTo>
                    <a:pt x="16039" y="2516"/>
                  </a:lnTo>
                  <a:lnTo>
                    <a:pt x="16045" y="2523"/>
                  </a:lnTo>
                  <a:lnTo>
                    <a:pt x="16536" y="3199"/>
                  </a:lnTo>
                  <a:lnTo>
                    <a:pt x="16536" y="2534"/>
                  </a:lnTo>
                  <a:lnTo>
                    <a:pt x="16538" y="2525"/>
                  </a:lnTo>
                  <a:lnTo>
                    <a:pt x="16540" y="2519"/>
                  </a:lnTo>
                  <a:lnTo>
                    <a:pt x="16544" y="2515"/>
                  </a:lnTo>
                  <a:lnTo>
                    <a:pt x="16549" y="2511"/>
                  </a:lnTo>
                  <a:lnTo>
                    <a:pt x="16556" y="2511"/>
                  </a:lnTo>
                  <a:lnTo>
                    <a:pt x="16562" y="2512"/>
                  </a:lnTo>
                  <a:lnTo>
                    <a:pt x="16567" y="2516"/>
                  </a:lnTo>
                  <a:lnTo>
                    <a:pt x="16573" y="2523"/>
                  </a:lnTo>
                  <a:lnTo>
                    <a:pt x="17076" y="3214"/>
                  </a:lnTo>
                  <a:lnTo>
                    <a:pt x="17076" y="2534"/>
                  </a:lnTo>
                  <a:lnTo>
                    <a:pt x="17077" y="2525"/>
                  </a:lnTo>
                  <a:lnTo>
                    <a:pt x="17080" y="2519"/>
                  </a:lnTo>
                  <a:lnTo>
                    <a:pt x="17084" y="2515"/>
                  </a:lnTo>
                  <a:lnTo>
                    <a:pt x="17089" y="2511"/>
                  </a:lnTo>
                  <a:lnTo>
                    <a:pt x="17094" y="2511"/>
                  </a:lnTo>
                  <a:lnTo>
                    <a:pt x="17100" y="2512"/>
                  </a:lnTo>
                  <a:lnTo>
                    <a:pt x="17107" y="2516"/>
                  </a:lnTo>
                  <a:lnTo>
                    <a:pt x="17112" y="2523"/>
                  </a:lnTo>
                  <a:lnTo>
                    <a:pt x="17640" y="3249"/>
                  </a:lnTo>
                  <a:lnTo>
                    <a:pt x="17644" y="3258"/>
                  </a:lnTo>
                  <a:lnTo>
                    <a:pt x="17644" y="3265"/>
                  </a:lnTo>
                  <a:lnTo>
                    <a:pt x="17642" y="3272"/>
                  </a:lnTo>
                  <a:lnTo>
                    <a:pt x="17636" y="3277"/>
                  </a:lnTo>
                  <a:lnTo>
                    <a:pt x="17630" y="3281"/>
                  </a:lnTo>
                  <a:lnTo>
                    <a:pt x="17622" y="3281"/>
                  </a:lnTo>
                  <a:lnTo>
                    <a:pt x="17615" y="3280"/>
                  </a:lnTo>
                  <a:lnTo>
                    <a:pt x="17608" y="3273"/>
                  </a:lnTo>
                  <a:lnTo>
                    <a:pt x="17116" y="2595"/>
                  </a:lnTo>
                  <a:lnTo>
                    <a:pt x="17116" y="3262"/>
                  </a:lnTo>
                  <a:lnTo>
                    <a:pt x="17113" y="3271"/>
                  </a:lnTo>
                  <a:lnTo>
                    <a:pt x="17108" y="3278"/>
                  </a:lnTo>
                  <a:lnTo>
                    <a:pt x="17099" y="3281"/>
                  </a:lnTo>
                  <a:lnTo>
                    <a:pt x="17090" y="3281"/>
                  </a:lnTo>
                  <a:lnTo>
                    <a:pt x="17080" y="3281"/>
                  </a:lnTo>
                  <a:lnTo>
                    <a:pt x="17074" y="3278"/>
                  </a:lnTo>
                  <a:lnTo>
                    <a:pt x="17070" y="3273"/>
                  </a:lnTo>
                  <a:lnTo>
                    <a:pt x="16577" y="2595"/>
                  </a:lnTo>
                  <a:lnTo>
                    <a:pt x="16577" y="3258"/>
                  </a:lnTo>
                  <a:lnTo>
                    <a:pt x="16577" y="3264"/>
                  </a:lnTo>
                  <a:lnTo>
                    <a:pt x="16575" y="3269"/>
                  </a:lnTo>
                  <a:lnTo>
                    <a:pt x="16571" y="3276"/>
                  </a:lnTo>
                  <a:lnTo>
                    <a:pt x="16563" y="3281"/>
                  </a:lnTo>
                  <a:lnTo>
                    <a:pt x="16554" y="3281"/>
                  </a:lnTo>
                  <a:lnTo>
                    <a:pt x="16547" y="3278"/>
                  </a:lnTo>
                  <a:lnTo>
                    <a:pt x="16541" y="3276"/>
                  </a:lnTo>
                  <a:lnTo>
                    <a:pt x="16539" y="3271"/>
                  </a:lnTo>
                  <a:lnTo>
                    <a:pt x="16049" y="2595"/>
                  </a:lnTo>
                  <a:lnTo>
                    <a:pt x="16049" y="3450"/>
                  </a:lnTo>
                  <a:lnTo>
                    <a:pt x="16049" y="4304"/>
                  </a:lnTo>
                  <a:lnTo>
                    <a:pt x="16844" y="4304"/>
                  </a:lnTo>
                  <a:lnTo>
                    <a:pt x="16853" y="4305"/>
                  </a:lnTo>
                  <a:lnTo>
                    <a:pt x="16859" y="4310"/>
                  </a:lnTo>
                  <a:lnTo>
                    <a:pt x="16863" y="4317"/>
                  </a:lnTo>
                  <a:lnTo>
                    <a:pt x="16865" y="4324"/>
                  </a:lnTo>
                  <a:lnTo>
                    <a:pt x="16863" y="4331"/>
                  </a:lnTo>
                  <a:lnTo>
                    <a:pt x="16859" y="4337"/>
                  </a:lnTo>
                  <a:lnTo>
                    <a:pt x="16853" y="4342"/>
                  </a:lnTo>
                  <a:lnTo>
                    <a:pt x="16844" y="4343"/>
                  </a:lnTo>
                  <a:lnTo>
                    <a:pt x="16250" y="4343"/>
                  </a:lnTo>
                  <a:lnTo>
                    <a:pt x="15657" y="4343"/>
                  </a:lnTo>
                  <a:lnTo>
                    <a:pt x="14760" y="4343"/>
                  </a:lnTo>
                  <a:lnTo>
                    <a:pt x="13864" y="4343"/>
                  </a:lnTo>
                  <a:lnTo>
                    <a:pt x="13856" y="4342"/>
                  </a:lnTo>
                  <a:lnTo>
                    <a:pt x="13850" y="4338"/>
                  </a:lnTo>
                  <a:lnTo>
                    <a:pt x="13846" y="4332"/>
                  </a:lnTo>
                  <a:lnTo>
                    <a:pt x="13843" y="4324"/>
                  </a:lnTo>
                  <a:lnTo>
                    <a:pt x="13843" y="3455"/>
                  </a:lnTo>
                  <a:lnTo>
                    <a:pt x="13843" y="2587"/>
                  </a:lnTo>
                  <a:lnTo>
                    <a:pt x="13686" y="2587"/>
                  </a:lnTo>
                  <a:lnTo>
                    <a:pt x="13677" y="2585"/>
                  </a:lnTo>
                  <a:lnTo>
                    <a:pt x="13670" y="2581"/>
                  </a:lnTo>
                  <a:lnTo>
                    <a:pt x="13667" y="2575"/>
                  </a:lnTo>
                  <a:lnTo>
                    <a:pt x="13665" y="2567"/>
                  </a:lnTo>
                  <a:lnTo>
                    <a:pt x="13667" y="2560"/>
                  </a:lnTo>
                  <a:lnTo>
                    <a:pt x="13670" y="2553"/>
                  </a:lnTo>
                  <a:lnTo>
                    <a:pt x="13677" y="2549"/>
                  </a:lnTo>
                  <a:lnTo>
                    <a:pt x="13686" y="2547"/>
                  </a:lnTo>
                  <a:lnTo>
                    <a:pt x="13963" y="2547"/>
                  </a:lnTo>
                  <a:lnTo>
                    <a:pt x="13963" y="2374"/>
                  </a:lnTo>
                  <a:lnTo>
                    <a:pt x="13964" y="2367"/>
                  </a:lnTo>
                  <a:lnTo>
                    <a:pt x="13968" y="2360"/>
                  </a:lnTo>
                  <a:lnTo>
                    <a:pt x="13974" y="2355"/>
                  </a:lnTo>
                  <a:lnTo>
                    <a:pt x="13982" y="2354"/>
                  </a:lnTo>
                  <a:lnTo>
                    <a:pt x="14750" y="2354"/>
                  </a:lnTo>
                  <a:lnTo>
                    <a:pt x="15519" y="2354"/>
                  </a:lnTo>
                  <a:lnTo>
                    <a:pt x="15527" y="2355"/>
                  </a:lnTo>
                  <a:lnTo>
                    <a:pt x="15534" y="2360"/>
                  </a:lnTo>
                  <a:lnTo>
                    <a:pt x="15537" y="2367"/>
                  </a:lnTo>
                  <a:lnTo>
                    <a:pt x="15539" y="2374"/>
                  </a:lnTo>
                  <a:lnTo>
                    <a:pt x="15539" y="2547"/>
                  </a:lnTo>
                  <a:lnTo>
                    <a:pt x="15835" y="2547"/>
                  </a:lnTo>
                  <a:lnTo>
                    <a:pt x="15844" y="2549"/>
                  </a:lnTo>
                  <a:lnTo>
                    <a:pt x="15850" y="2553"/>
                  </a:lnTo>
                  <a:lnTo>
                    <a:pt x="15854" y="2560"/>
                  </a:lnTo>
                  <a:lnTo>
                    <a:pt x="15855" y="2567"/>
                  </a:lnTo>
                  <a:lnTo>
                    <a:pt x="15854" y="2575"/>
                  </a:lnTo>
                  <a:lnTo>
                    <a:pt x="15850" y="2581"/>
                  </a:lnTo>
                  <a:lnTo>
                    <a:pt x="15844" y="2585"/>
                  </a:lnTo>
                  <a:lnTo>
                    <a:pt x="15835" y="2587"/>
                  </a:lnTo>
                  <a:close/>
                  <a:moveTo>
                    <a:pt x="15636" y="2587"/>
                  </a:moveTo>
                  <a:lnTo>
                    <a:pt x="14760" y="2587"/>
                  </a:lnTo>
                  <a:lnTo>
                    <a:pt x="13885" y="2587"/>
                  </a:lnTo>
                  <a:lnTo>
                    <a:pt x="13885" y="3445"/>
                  </a:lnTo>
                  <a:lnTo>
                    <a:pt x="13885" y="4304"/>
                  </a:lnTo>
                  <a:lnTo>
                    <a:pt x="14760" y="4304"/>
                  </a:lnTo>
                  <a:lnTo>
                    <a:pt x="15636" y="4304"/>
                  </a:lnTo>
                  <a:lnTo>
                    <a:pt x="15636" y="3445"/>
                  </a:lnTo>
                  <a:lnTo>
                    <a:pt x="15636" y="2587"/>
                  </a:lnTo>
                  <a:close/>
                  <a:moveTo>
                    <a:pt x="14002" y="2547"/>
                  </a:moveTo>
                  <a:lnTo>
                    <a:pt x="14750" y="2547"/>
                  </a:lnTo>
                  <a:lnTo>
                    <a:pt x="15499" y="2547"/>
                  </a:lnTo>
                  <a:lnTo>
                    <a:pt x="15499" y="2393"/>
                  </a:lnTo>
                  <a:lnTo>
                    <a:pt x="14750" y="2393"/>
                  </a:lnTo>
                  <a:lnTo>
                    <a:pt x="14002" y="2393"/>
                  </a:lnTo>
                  <a:lnTo>
                    <a:pt x="14002" y="2547"/>
                  </a:lnTo>
                  <a:close/>
                  <a:moveTo>
                    <a:pt x="15171" y="3639"/>
                  </a:moveTo>
                  <a:lnTo>
                    <a:pt x="15171" y="3751"/>
                  </a:lnTo>
                  <a:lnTo>
                    <a:pt x="15168" y="3760"/>
                  </a:lnTo>
                  <a:lnTo>
                    <a:pt x="15164" y="3765"/>
                  </a:lnTo>
                  <a:lnTo>
                    <a:pt x="15158" y="3769"/>
                  </a:lnTo>
                  <a:lnTo>
                    <a:pt x="15150" y="3771"/>
                  </a:lnTo>
                  <a:lnTo>
                    <a:pt x="15142" y="3769"/>
                  </a:lnTo>
                  <a:lnTo>
                    <a:pt x="15136" y="3765"/>
                  </a:lnTo>
                  <a:lnTo>
                    <a:pt x="15132" y="3760"/>
                  </a:lnTo>
                  <a:lnTo>
                    <a:pt x="15131" y="3751"/>
                  </a:lnTo>
                  <a:lnTo>
                    <a:pt x="15131" y="3639"/>
                  </a:lnTo>
                  <a:lnTo>
                    <a:pt x="15132" y="3630"/>
                  </a:lnTo>
                  <a:lnTo>
                    <a:pt x="15136" y="3624"/>
                  </a:lnTo>
                  <a:lnTo>
                    <a:pt x="15142" y="3620"/>
                  </a:lnTo>
                  <a:lnTo>
                    <a:pt x="15150" y="3618"/>
                  </a:lnTo>
                  <a:lnTo>
                    <a:pt x="15158" y="3620"/>
                  </a:lnTo>
                  <a:lnTo>
                    <a:pt x="15164" y="3624"/>
                  </a:lnTo>
                  <a:lnTo>
                    <a:pt x="15168" y="3630"/>
                  </a:lnTo>
                  <a:lnTo>
                    <a:pt x="15171" y="3639"/>
                  </a:lnTo>
                  <a:close/>
                  <a:moveTo>
                    <a:pt x="14908" y="3639"/>
                  </a:moveTo>
                  <a:lnTo>
                    <a:pt x="14908" y="3751"/>
                  </a:lnTo>
                  <a:lnTo>
                    <a:pt x="14905" y="3760"/>
                  </a:lnTo>
                  <a:lnTo>
                    <a:pt x="14901" y="3765"/>
                  </a:lnTo>
                  <a:lnTo>
                    <a:pt x="14895" y="3769"/>
                  </a:lnTo>
                  <a:lnTo>
                    <a:pt x="14887" y="3771"/>
                  </a:lnTo>
                  <a:lnTo>
                    <a:pt x="14880" y="3769"/>
                  </a:lnTo>
                  <a:lnTo>
                    <a:pt x="14873" y="3765"/>
                  </a:lnTo>
                  <a:lnTo>
                    <a:pt x="14869" y="3760"/>
                  </a:lnTo>
                  <a:lnTo>
                    <a:pt x="14867" y="3751"/>
                  </a:lnTo>
                  <a:lnTo>
                    <a:pt x="14867" y="3639"/>
                  </a:lnTo>
                  <a:lnTo>
                    <a:pt x="14869" y="3630"/>
                  </a:lnTo>
                  <a:lnTo>
                    <a:pt x="14873" y="3624"/>
                  </a:lnTo>
                  <a:lnTo>
                    <a:pt x="14880" y="3620"/>
                  </a:lnTo>
                  <a:lnTo>
                    <a:pt x="14887" y="3618"/>
                  </a:lnTo>
                  <a:lnTo>
                    <a:pt x="14895" y="3620"/>
                  </a:lnTo>
                  <a:lnTo>
                    <a:pt x="14901" y="3624"/>
                  </a:lnTo>
                  <a:lnTo>
                    <a:pt x="14905" y="3630"/>
                  </a:lnTo>
                  <a:lnTo>
                    <a:pt x="14908" y="3639"/>
                  </a:lnTo>
                  <a:close/>
                  <a:moveTo>
                    <a:pt x="14644" y="3639"/>
                  </a:moveTo>
                  <a:lnTo>
                    <a:pt x="14644" y="3751"/>
                  </a:lnTo>
                  <a:lnTo>
                    <a:pt x="14642" y="3760"/>
                  </a:lnTo>
                  <a:lnTo>
                    <a:pt x="14637" y="3765"/>
                  </a:lnTo>
                  <a:lnTo>
                    <a:pt x="14631" y="3769"/>
                  </a:lnTo>
                  <a:lnTo>
                    <a:pt x="14624" y="3771"/>
                  </a:lnTo>
                  <a:lnTo>
                    <a:pt x="14617" y="3769"/>
                  </a:lnTo>
                  <a:lnTo>
                    <a:pt x="14610" y="3765"/>
                  </a:lnTo>
                  <a:lnTo>
                    <a:pt x="14606" y="3760"/>
                  </a:lnTo>
                  <a:lnTo>
                    <a:pt x="14604" y="3751"/>
                  </a:lnTo>
                  <a:lnTo>
                    <a:pt x="14604" y="3639"/>
                  </a:lnTo>
                  <a:lnTo>
                    <a:pt x="14606" y="3630"/>
                  </a:lnTo>
                  <a:lnTo>
                    <a:pt x="14610" y="3624"/>
                  </a:lnTo>
                  <a:lnTo>
                    <a:pt x="14617" y="3620"/>
                  </a:lnTo>
                  <a:lnTo>
                    <a:pt x="14624" y="3618"/>
                  </a:lnTo>
                  <a:lnTo>
                    <a:pt x="14631" y="3620"/>
                  </a:lnTo>
                  <a:lnTo>
                    <a:pt x="14637" y="3624"/>
                  </a:lnTo>
                  <a:lnTo>
                    <a:pt x="14642" y="3630"/>
                  </a:lnTo>
                  <a:lnTo>
                    <a:pt x="14644" y="3639"/>
                  </a:lnTo>
                  <a:close/>
                  <a:moveTo>
                    <a:pt x="14381" y="3639"/>
                  </a:moveTo>
                  <a:lnTo>
                    <a:pt x="14381" y="3751"/>
                  </a:lnTo>
                  <a:lnTo>
                    <a:pt x="14379" y="3760"/>
                  </a:lnTo>
                  <a:lnTo>
                    <a:pt x="14374" y="3765"/>
                  </a:lnTo>
                  <a:lnTo>
                    <a:pt x="14368" y="3769"/>
                  </a:lnTo>
                  <a:lnTo>
                    <a:pt x="14362" y="3771"/>
                  </a:lnTo>
                  <a:lnTo>
                    <a:pt x="14354" y="3769"/>
                  </a:lnTo>
                  <a:lnTo>
                    <a:pt x="14347" y="3765"/>
                  </a:lnTo>
                  <a:lnTo>
                    <a:pt x="14342" y="3760"/>
                  </a:lnTo>
                  <a:lnTo>
                    <a:pt x="14341" y="3751"/>
                  </a:lnTo>
                  <a:lnTo>
                    <a:pt x="14341" y="3639"/>
                  </a:lnTo>
                  <a:lnTo>
                    <a:pt x="14342" y="3630"/>
                  </a:lnTo>
                  <a:lnTo>
                    <a:pt x="14347" y="3624"/>
                  </a:lnTo>
                  <a:lnTo>
                    <a:pt x="14354" y="3620"/>
                  </a:lnTo>
                  <a:lnTo>
                    <a:pt x="14362" y="3618"/>
                  </a:lnTo>
                  <a:lnTo>
                    <a:pt x="14368" y="3620"/>
                  </a:lnTo>
                  <a:lnTo>
                    <a:pt x="14374" y="3624"/>
                  </a:lnTo>
                  <a:lnTo>
                    <a:pt x="14379" y="3630"/>
                  </a:lnTo>
                  <a:lnTo>
                    <a:pt x="14381" y="3639"/>
                  </a:lnTo>
                  <a:close/>
                  <a:moveTo>
                    <a:pt x="14118" y="3639"/>
                  </a:moveTo>
                  <a:lnTo>
                    <a:pt x="14118" y="3751"/>
                  </a:lnTo>
                  <a:lnTo>
                    <a:pt x="14117" y="3760"/>
                  </a:lnTo>
                  <a:lnTo>
                    <a:pt x="14111" y="3765"/>
                  </a:lnTo>
                  <a:lnTo>
                    <a:pt x="14105" y="3769"/>
                  </a:lnTo>
                  <a:lnTo>
                    <a:pt x="14097" y="3771"/>
                  </a:lnTo>
                  <a:lnTo>
                    <a:pt x="14091" y="3769"/>
                  </a:lnTo>
                  <a:lnTo>
                    <a:pt x="14085" y="3765"/>
                  </a:lnTo>
                  <a:lnTo>
                    <a:pt x="14079" y="3760"/>
                  </a:lnTo>
                  <a:lnTo>
                    <a:pt x="14078" y="3751"/>
                  </a:lnTo>
                  <a:lnTo>
                    <a:pt x="14078" y="3639"/>
                  </a:lnTo>
                  <a:lnTo>
                    <a:pt x="14079" y="3630"/>
                  </a:lnTo>
                  <a:lnTo>
                    <a:pt x="14085" y="3624"/>
                  </a:lnTo>
                  <a:lnTo>
                    <a:pt x="14091" y="3620"/>
                  </a:lnTo>
                  <a:lnTo>
                    <a:pt x="14097" y="3618"/>
                  </a:lnTo>
                  <a:lnTo>
                    <a:pt x="14105" y="3620"/>
                  </a:lnTo>
                  <a:lnTo>
                    <a:pt x="14111" y="3624"/>
                  </a:lnTo>
                  <a:lnTo>
                    <a:pt x="14117" y="3630"/>
                  </a:lnTo>
                  <a:lnTo>
                    <a:pt x="14118" y="3639"/>
                  </a:lnTo>
                  <a:close/>
                  <a:moveTo>
                    <a:pt x="15434" y="3392"/>
                  </a:moveTo>
                  <a:lnTo>
                    <a:pt x="15434" y="3505"/>
                  </a:lnTo>
                  <a:lnTo>
                    <a:pt x="15432" y="3514"/>
                  </a:lnTo>
                  <a:lnTo>
                    <a:pt x="15427" y="3520"/>
                  </a:lnTo>
                  <a:lnTo>
                    <a:pt x="15421" y="3524"/>
                  </a:lnTo>
                  <a:lnTo>
                    <a:pt x="15413" y="3524"/>
                  </a:lnTo>
                  <a:lnTo>
                    <a:pt x="15407" y="3524"/>
                  </a:lnTo>
                  <a:lnTo>
                    <a:pt x="15400" y="3520"/>
                  </a:lnTo>
                  <a:lnTo>
                    <a:pt x="15395" y="3514"/>
                  </a:lnTo>
                  <a:lnTo>
                    <a:pt x="15394" y="3505"/>
                  </a:lnTo>
                  <a:lnTo>
                    <a:pt x="15394" y="3392"/>
                  </a:lnTo>
                  <a:lnTo>
                    <a:pt x="15395" y="3383"/>
                  </a:lnTo>
                  <a:lnTo>
                    <a:pt x="15400" y="3378"/>
                  </a:lnTo>
                  <a:lnTo>
                    <a:pt x="15407" y="3374"/>
                  </a:lnTo>
                  <a:lnTo>
                    <a:pt x="15413" y="3373"/>
                  </a:lnTo>
                  <a:lnTo>
                    <a:pt x="15421" y="3374"/>
                  </a:lnTo>
                  <a:lnTo>
                    <a:pt x="15427" y="3378"/>
                  </a:lnTo>
                  <a:lnTo>
                    <a:pt x="15432" y="3383"/>
                  </a:lnTo>
                  <a:lnTo>
                    <a:pt x="15434" y="3392"/>
                  </a:lnTo>
                  <a:close/>
                  <a:moveTo>
                    <a:pt x="15171" y="3392"/>
                  </a:moveTo>
                  <a:lnTo>
                    <a:pt x="15171" y="3505"/>
                  </a:lnTo>
                  <a:lnTo>
                    <a:pt x="15168" y="3514"/>
                  </a:lnTo>
                  <a:lnTo>
                    <a:pt x="15164" y="3520"/>
                  </a:lnTo>
                  <a:lnTo>
                    <a:pt x="15158" y="3524"/>
                  </a:lnTo>
                  <a:lnTo>
                    <a:pt x="15150" y="3524"/>
                  </a:lnTo>
                  <a:lnTo>
                    <a:pt x="15142" y="3524"/>
                  </a:lnTo>
                  <a:lnTo>
                    <a:pt x="15136" y="3520"/>
                  </a:lnTo>
                  <a:lnTo>
                    <a:pt x="15132" y="3514"/>
                  </a:lnTo>
                  <a:lnTo>
                    <a:pt x="15131" y="3505"/>
                  </a:lnTo>
                  <a:lnTo>
                    <a:pt x="15131" y="3392"/>
                  </a:lnTo>
                  <a:lnTo>
                    <a:pt x="15132" y="3383"/>
                  </a:lnTo>
                  <a:lnTo>
                    <a:pt x="15136" y="3378"/>
                  </a:lnTo>
                  <a:lnTo>
                    <a:pt x="15142" y="3374"/>
                  </a:lnTo>
                  <a:lnTo>
                    <a:pt x="15150" y="3373"/>
                  </a:lnTo>
                  <a:lnTo>
                    <a:pt x="15158" y="3374"/>
                  </a:lnTo>
                  <a:lnTo>
                    <a:pt x="15164" y="3378"/>
                  </a:lnTo>
                  <a:lnTo>
                    <a:pt x="15168" y="3383"/>
                  </a:lnTo>
                  <a:lnTo>
                    <a:pt x="15171" y="3392"/>
                  </a:lnTo>
                  <a:close/>
                  <a:moveTo>
                    <a:pt x="14908" y="3392"/>
                  </a:moveTo>
                  <a:lnTo>
                    <a:pt x="14908" y="3505"/>
                  </a:lnTo>
                  <a:lnTo>
                    <a:pt x="14905" y="3514"/>
                  </a:lnTo>
                  <a:lnTo>
                    <a:pt x="14901" y="3520"/>
                  </a:lnTo>
                  <a:lnTo>
                    <a:pt x="14895" y="3524"/>
                  </a:lnTo>
                  <a:lnTo>
                    <a:pt x="14887" y="3524"/>
                  </a:lnTo>
                  <a:lnTo>
                    <a:pt x="14880" y="3524"/>
                  </a:lnTo>
                  <a:lnTo>
                    <a:pt x="14873" y="3520"/>
                  </a:lnTo>
                  <a:lnTo>
                    <a:pt x="14869" y="3514"/>
                  </a:lnTo>
                  <a:lnTo>
                    <a:pt x="14867" y="3505"/>
                  </a:lnTo>
                  <a:lnTo>
                    <a:pt x="14867" y="3392"/>
                  </a:lnTo>
                  <a:lnTo>
                    <a:pt x="14869" y="3383"/>
                  </a:lnTo>
                  <a:lnTo>
                    <a:pt x="14873" y="3378"/>
                  </a:lnTo>
                  <a:lnTo>
                    <a:pt x="14880" y="3374"/>
                  </a:lnTo>
                  <a:lnTo>
                    <a:pt x="14887" y="3373"/>
                  </a:lnTo>
                  <a:lnTo>
                    <a:pt x="14895" y="3374"/>
                  </a:lnTo>
                  <a:lnTo>
                    <a:pt x="14901" y="3378"/>
                  </a:lnTo>
                  <a:lnTo>
                    <a:pt x="14905" y="3383"/>
                  </a:lnTo>
                  <a:lnTo>
                    <a:pt x="14908" y="3392"/>
                  </a:lnTo>
                  <a:close/>
                  <a:moveTo>
                    <a:pt x="14644" y="3392"/>
                  </a:moveTo>
                  <a:lnTo>
                    <a:pt x="14644" y="3505"/>
                  </a:lnTo>
                  <a:lnTo>
                    <a:pt x="14642" y="3514"/>
                  </a:lnTo>
                  <a:lnTo>
                    <a:pt x="14637" y="3520"/>
                  </a:lnTo>
                  <a:lnTo>
                    <a:pt x="14631" y="3524"/>
                  </a:lnTo>
                  <a:lnTo>
                    <a:pt x="14624" y="3524"/>
                  </a:lnTo>
                  <a:lnTo>
                    <a:pt x="14617" y="3524"/>
                  </a:lnTo>
                  <a:lnTo>
                    <a:pt x="14610" y="3520"/>
                  </a:lnTo>
                  <a:lnTo>
                    <a:pt x="14606" y="3514"/>
                  </a:lnTo>
                  <a:lnTo>
                    <a:pt x="14604" y="3505"/>
                  </a:lnTo>
                  <a:lnTo>
                    <a:pt x="14604" y="3392"/>
                  </a:lnTo>
                  <a:lnTo>
                    <a:pt x="14606" y="3383"/>
                  </a:lnTo>
                  <a:lnTo>
                    <a:pt x="14610" y="3378"/>
                  </a:lnTo>
                  <a:lnTo>
                    <a:pt x="14617" y="3374"/>
                  </a:lnTo>
                  <a:lnTo>
                    <a:pt x="14624" y="3373"/>
                  </a:lnTo>
                  <a:lnTo>
                    <a:pt x="14631" y="3374"/>
                  </a:lnTo>
                  <a:lnTo>
                    <a:pt x="14637" y="3378"/>
                  </a:lnTo>
                  <a:lnTo>
                    <a:pt x="14642" y="3383"/>
                  </a:lnTo>
                  <a:lnTo>
                    <a:pt x="14644" y="3392"/>
                  </a:lnTo>
                  <a:close/>
                  <a:moveTo>
                    <a:pt x="14381" y="3392"/>
                  </a:moveTo>
                  <a:lnTo>
                    <a:pt x="14381" y="3505"/>
                  </a:lnTo>
                  <a:lnTo>
                    <a:pt x="14379" y="3514"/>
                  </a:lnTo>
                  <a:lnTo>
                    <a:pt x="14374" y="3520"/>
                  </a:lnTo>
                  <a:lnTo>
                    <a:pt x="14368" y="3524"/>
                  </a:lnTo>
                  <a:lnTo>
                    <a:pt x="14362" y="3524"/>
                  </a:lnTo>
                  <a:lnTo>
                    <a:pt x="14354" y="3524"/>
                  </a:lnTo>
                  <a:lnTo>
                    <a:pt x="14347" y="3520"/>
                  </a:lnTo>
                  <a:lnTo>
                    <a:pt x="14342" y="3514"/>
                  </a:lnTo>
                  <a:lnTo>
                    <a:pt x="14341" y="3505"/>
                  </a:lnTo>
                  <a:lnTo>
                    <a:pt x="14341" y="3392"/>
                  </a:lnTo>
                  <a:lnTo>
                    <a:pt x="14342" y="3383"/>
                  </a:lnTo>
                  <a:lnTo>
                    <a:pt x="14347" y="3378"/>
                  </a:lnTo>
                  <a:lnTo>
                    <a:pt x="14354" y="3374"/>
                  </a:lnTo>
                  <a:lnTo>
                    <a:pt x="14362" y="3373"/>
                  </a:lnTo>
                  <a:lnTo>
                    <a:pt x="14368" y="3374"/>
                  </a:lnTo>
                  <a:lnTo>
                    <a:pt x="14374" y="3378"/>
                  </a:lnTo>
                  <a:lnTo>
                    <a:pt x="14379" y="3383"/>
                  </a:lnTo>
                  <a:lnTo>
                    <a:pt x="14381" y="3392"/>
                  </a:lnTo>
                  <a:close/>
                  <a:moveTo>
                    <a:pt x="14118" y="3392"/>
                  </a:moveTo>
                  <a:lnTo>
                    <a:pt x="14118" y="3505"/>
                  </a:lnTo>
                  <a:lnTo>
                    <a:pt x="14117" y="3514"/>
                  </a:lnTo>
                  <a:lnTo>
                    <a:pt x="14111" y="3520"/>
                  </a:lnTo>
                  <a:lnTo>
                    <a:pt x="14105" y="3524"/>
                  </a:lnTo>
                  <a:lnTo>
                    <a:pt x="14097" y="3524"/>
                  </a:lnTo>
                  <a:lnTo>
                    <a:pt x="14091" y="3524"/>
                  </a:lnTo>
                  <a:lnTo>
                    <a:pt x="14085" y="3520"/>
                  </a:lnTo>
                  <a:lnTo>
                    <a:pt x="14079" y="3514"/>
                  </a:lnTo>
                  <a:lnTo>
                    <a:pt x="14078" y="3505"/>
                  </a:lnTo>
                  <a:lnTo>
                    <a:pt x="14078" y="3392"/>
                  </a:lnTo>
                  <a:lnTo>
                    <a:pt x="14079" y="3383"/>
                  </a:lnTo>
                  <a:lnTo>
                    <a:pt x="14085" y="3378"/>
                  </a:lnTo>
                  <a:lnTo>
                    <a:pt x="14091" y="3374"/>
                  </a:lnTo>
                  <a:lnTo>
                    <a:pt x="14097" y="3373"/>
                  </a:lnTo>
                  <a:lnTo>
                    <a:pt x="14105" y="3374"/>
                  </a:lnTo>
                  <a:lnTo>
                    <a:pt x="14111" y="3378"/>
                  </a:lnTo>
                  <a:lnTo>
                    <a:pt x="14117" y="3383"/>
                  </a:lnTo>
                  <a:lnTo>
                    <a:pt x="14118" y="3392"/>
                  </a:lnTo>
                  <a:close/>
                  <a:moveTo>
                    <a:pt x="15434" y="3145"/>
                  </a:moveTo>
                  <a:lnTo>
                    <a:pt x="15434" y="3258"/>
                  </a:lnTo>
                  <a:lnTo>
                    <a:pt x="15432" y="3267"/>
                  </a:lnTo>
                  <a:lnTo>
                    <a:pt x="15427" y="3273"/>
                  </a:lnTo>
                  <a:lnTo>
                    <a:pt x="15421" y="3277"/>
                  </a:lnTo>
                  <a:lnTo>
                    <a:pt x="15413" y="3278"/>
                  </a:lnTo>
                  <a:lnTo>
                    <a:pt x="15407" y="3277"/>
                  </a:lnTo>
                  <a:lnTo>
                    <a:pt x="15400" y="3273"/>
                  </a:lnTo>
                  <a:lnTo>
                    <a:pt x="15395" y="3267"/>
                  </a:lnTo>
                  <a:lnTo>
                    <a:pt x="15394" y="3258"/>
                  </a:lnTo>
                  <a:lnTo>
                    <a:pt x="15394" y="3145"/>
                  </a:lnTo>
                  <a:lnTo>
                    <a:pt x="15395" y="3138"/>
                  </a:lnTo>
                  <a:lnTo>
                    <a:pt x="15400" y="3131"/>
                  </a:lnTo>
                  <a:lnTo>
                    <a:pt x="15407" y="3127"/>
                  </a:lnTo>
                  <a:lnTo>
                    <a:pt x="15413" y="3126"/>
                  </a:lnTo>
                  <a:lnTo>
                    <a:pt x="15421" y="3127"/>
                  </a:lnTo>
                  <a:lnTo>
                    <a:pt x="15427" y="3131"/>
                  </a:lnTo>
                  <a:lnTo>
                    <a:pt x="15432" y="3138"/>
                  </a:lnTo>
                  <a:lnTo>
                    <a:pt x="15434" y="3145"/>
                  </a:lnTo>
                  <a:close/>
                  <a:moveTo>
                    <a:pt x="15171" y="3145"/>
                  </a:moveTo>
                  <a:lnTo>
                    <a:pt x="15171" y="3258"/>
                  </a:lnTo>
                  <a:lnTo>
                    <a:pt x="15168" y="3267"/>
                  </a:lnTo>
                  <a:lnTo>
                    <a:pt x="15164" y="3273"/>
                  </a:lnTo>
                  <a:lnTo>
                    <a:pt x="15158" y="3277"/>
                  </a:lnTo>
                  <a:lnTo>
                    <a:pt x="15150" y="3278"/>
                  </a:lnTo>
                  <a:lnTo>
                    <a:pt x="15142" y="3277"/>
                  </a:lnTo>
                  <a:lnTo>
                    <a:pt x="15136" y="3273"/>
                  </a:lnTo>
                  <a:lnTo>
                    <a:pt x="15132" y="3267"/>
                  </a:lnTo>
                  <a:lnTo>
                    <a:pt x="15131" y="3258"/>
                  </a:lnTo>
                  <a:lnTo>
                    <a:pt x="15131" y="3145"/>
                  </a:lnTo>
                  <a:lnTo>
                    <a:pt x="15132" y="3138"/>
                  </a:lnTo>
                  <a:lnTo>
                    <a:pt x="15136" y="3131"/>
                  </a:lnTo>
                  <a:lnTo>
                    <a:pt x="15142" y="3127"/>
                  </a:lnTo>
                  <a:lnTo>
                    <a:pt x="15150" y="3126"/>
                  </a:lnTo>
                  <a:lnTo>
                    <a:pt x="15158" y="3127"/>
                  </a:lnTo>
                  <a:lnTo>
                    <a:pt x="15164" y="3131"/>
                  </a:lnTo>
                  <a:lnTo>
                    <a:pt x="15168" y="3138"/>
                  </a:lnTo>
                  <a:lnTo>
                    <a:pt x="15171" y="3145"/>
                  </a:lnTo>
                  <a:close/>
                  <a:moveTo>
                    <a:pt x="14908" y="3145"/>
                  </a:moveTo>
                  <a:lnTo>
                    <a:pt x="14908" y="3258"/>
                  </a:lnTo>
                  <a:lnTo>
                    <a:pt x="14905" y="3267"/>
                  </a:lnTo>
                  <a:lnTo>
                    <a:pt x="14901" y="3273"/>
                  </a:lnTo>
                  <a:lnTo>
                    <a:pt x="14895" y="3277"/>
                  </a:lnTo>
                  <a:lnTo>
                    <a:pt x="14887" y="3278"/>
                  </a:lnTo>
                  <a:lnTo>
                    <a:pt x="14880" y="3277"/>
                  </a:lnTo>
                  <a:lnTo>
                    <a:pt x="14873" y="3273"/>
                  </a:lnTo>
                  <a:lnTo>
                    <a:pt x="14869" y="3267"/>
                  </a:lnTo>
                  <a:lnTo>
                    <a:pt x="14867" y="3258"/>
                  </a:lnTo>
                  <a:lnTo>
                    <a:pt x="14867" y="3145"/>
                  </a:lnTo>
                  <a:lnTo>
                    <a:pt x="14869" y="3138"/>
                  </a:lnTo>
                  <a:lnTo>
                    <a:pt x="14873" y="3131"/>
                  </a:lnTo>
                  <a:lnTo>
                    <a:pt x="14880" y="3127"/>
                  </a:lnTo>
                  <a:lnTo>
                    <a:pt x="14887" y="3126"/>
                  </a:lnTo>
                  <a:lnTo>
                    <a:pt x="14895" y="3127"/>
                  </a:lnTo>
                  <a:lnTo>
                    <a:pt x="14901" y="3131"/>
                  </a:lnTo>
                  <a:lnTo>
                    <a:pt x="14905" y="3138"/>
                  </a:lnTo>
                  <a:lnTo>
                    <a:pt x="14908" y="3145"/>
                  </a:lnTo>
                  <a:close/>
                  <a:moveTo>
                    <a:pt x="14644" y="3145"/>
                  </a:moveTo>
                  <a:lnTo>
                    <a:pt x="14644" y="3258"/>
                  </a:lnTo>
                  <a:lnTo>
                    <a:pt x="14642" y="3267"/>
                  </a:lnTo>
                  <a:lnTo>
                    <a:pt x="14637" y="3273"/>
                  </a:lnTo>
                  <a:lnTo>
                    <a:pt x="14631" y="3277"/>
                  </a:lnTo>
                  <a:lnTo>
                    <a:pt x="14624" y="3278"/>
                  </a:lnTo>
                  <a:lnTo>
                    <a:pt x="14617" y="3277"/>
                  </a:lnTo>
                  <a:lnTo>
                    <a:pt x="14610" y="3273"/>
                  </a:lnTo>
                  <a:lnTo>
                    <a:pt x="14606" y="3267"/>
                  </a:lnTo>
                  <a:lnTo>
                    <a:pt x="14604" y="3258"/>
                  </a:lnTo>
                  <a:lnTo>
                    <a:pt x="14604" y="3145"/>
                  </a:lnTo>
                  <a:lnTo>
                    <a:pt x="14606" y="3138"/>
                  </a:lnTo>
                  <a:lnTo>
                    <a:pt x="14610" y="3131"/>
                  </a:lnTo>
                  <a:lnTo>
                    <a:pt x="14617" y="3127"/>
                  </a:lnTo>
                  <a:lnTo>
                    <a:pt x="14624" y="3126"/>
                  </a:lnTo>
                  <a:lnTo>
                    <a:pt x="14631" y="3127"/>
                  </a:lnTo>
                  <a:lnTo>
                    <a:pt x="14637" y="3131"/>
                  </a:lnTo>
                  <a:lnTo>
                    <a:pt x="14642" y="3138"/>
                  </a:lnTo>
                  <a:lnTo>
                    <a:pt x="14644" y="3145"/>
                  </a:lnTo>
                  <a:close/>
                  <a:moveTo>
                    <a:pt x="14381" y="3145"/>
                  </a:moveTo>
                  <a:lnTo>
                    <a:pt x="14381" y="3258"/>
                  </a:lnTo>
                  <a:lnTo>
                    <a:pt x="14379" y="3267"/>
                  </a:lnTo>
                  <a:lnTo>
                    <a:pt x="14374" y="3273"/>
                  </a:lnTo>
                  <a:lnTo>
                    <a:pt x="14368" y="3277"/>
                  </a:lnTo>
                  <a:lnTo>
                    <a:pt x="14362" y="3278"/>
                  </a:lnTo>
                  <a:lnTo>
                    <a:pt x="14354" y="3277"/>
                  </a:lnTo>
                  <a:lnTo>
                    <a:pt x="14347" y="3273"/>
                  </a:lnTo>
                  <a:lnTo>
                    <a:pt x="14342" y="3267"/>
                  </a:lnTo>
                  <a:lnTo>
                    <a:pt x="14341" y="3258"/>
                  </a:lnTo>
                  <a:lnTo>
                    <a:pt x="14341" y="3145"/>
                  </a:lnTo>
                  <a:lnTo>
                    <a:pt x="14342" y="3138"/>
                  </a:lnTo>
                  <a:lnTo>
                    <a:pt x="14347" y="3131"/>
                  </a:lnTo>
                  <a:lnTo>
                    <a:pt x="14354" y="3127"/>
                  </a:lnTo>
                  <a:lnTo>
                    <a:pt x="14362" y="3126"/>
                  </a:lnTo>
                  <a:lnTo>
                    <a:pt x="14368" y="3127"/>
                  </a:lnTo>
                  <a:lnTo>
                    <a:pt x="14374" y="3131"/>
                  </a:lnTo>
                  <a:lnTo>
                    <a:pt x="14379" y="3138"/>
                  </a:lnTo>
                  <a:lnTo>
                    <a:pt x="14381" y="3145"/>
                  </a:lnTo>
                  <a:close/>
                  <a:moveTo>
                    <a:pt x="14118" y="3145"/>
                  </a:moveTo>
                  <a:lnTo>
                    <a:pt x="14118" y="3258"/>
                  </a:lnTo>
                  <a:lnTo>
                    <a:pt x="14117" y="3267"/>
                  </a:lnTo>
                  <a:lnTo>
                    <a:pt x="14111" y="3273"/>
                  </a:lnTo>
                  <a:lnTo>
                    <a:pt x="14105" y="3277"/>
                  </a:lnTo>
                  <a:lnTo>
                    <a:pt x="14097" y="3278"/>
                  </a:lnTo>
                  <a:lnTo>
                    <a:pt x="14091" y="3277"/>
                  </a:lnTo>
                  <a:lnTo>
                    <a:pt x="14085" y="3273"/>
                  </a:lnTo>
                  <a:lnTo>
                    <a:pt x="14079" y="3267"/>
                  </a:lnTo>
                  <a:lnTo>
                    <a:pt x="14078" y="3258"/>
                  </a:lnTo>
                  <a:lnTo>
                    <a:pt x="14078" y="3145"/>
                  </a:lnTo>
                  <a:lnTo>
                    <a:pt x="14079" y="3138"/>
                  </a:lnTo>
                  <a:lnTo>
                    <a:pt x="14085" y="3131"/>
                  </a:lnTo>
                  <a:lnTo>
                    <a:pt x="14091" y="3127"/>
                  </a:lnTo>
                  <a:lnTo>
                    <a:pt x="14097" y="3126"/>
                  </a:lnTo>
                  <a:lnTo>
                    <a:pt x="14105" y="3127"/>
                  </a:lnTo>
                  <a:lnTo>
                    <a:pt x="14111" y="3131"/>
                  </a:lnTo>
                  <a:lnTo>
                    <a:pt x="14117" y="3138"/>
                  </a:lnTo>
                  <a:lnTo>
                    <a:pt x="14118" y="3145"/>
                  </a:lnTo>
                  <a:close/>
                  <a:moveTo>
                    <a:pt x="15434" y="2900"/>
                  </a:moveTo>
                  <a:lnTo>
                    <a:pt x="15434" y="3011"/>
                  </a:lnTo>
                  <a:lnTo>
                    <a:pt x="15432" y="3020"/>
                  </a:lnTo>
                  <a:lnTo>
                    <a:pt x="15427" y="3026"/>
                  </a:lnTo>
                  <a:lnTo>
                    <a:pt x="15421" y="3030"/>
                  </a:lnTo>
                  <a:lnTo>
                    <a:pt x="15413" y="3031"/>
                  </a:lnTo>
                  <a:lnTo>
                    <a:pt x="15407" y="3030"/>
                  </a:lnTo>
                  <a:lnTo>
                    <a:pt x="15400" y="3026"/>
                  </a:lnTo>
                  <a:lnTo>
                    <a:pt x="15395" y="3020"/>
                  </a:lnTo>
                  <a:lnTo>
                    <a:pt x="15394" y="3011"/>
                  </a:lnTo>
                  <a:lnTo>
                    <a:pt x="15394" y="2900"/>
                  </a:lnTo>
                  <a:lnTo>
                    <a:pt x="15395" y="2891"/>
                  </a:lnTo>
                  <a:lnTo>
                    <a:pt x="15400" y="2884"/>
                  </a:lnTo>
                  <a:lnTo>
                    <a:pt x="15407" y="2881"/>
                  </a:lnTo>
                  <a:lnTo>
                    <a:pt x="15413" y="2879"/>
                  </a:lnTo>
                  <a:lnTo>
                    <a:pt x="15421" y="2881"/>
                  </a:lnTo>
                  <a:lnTo>
                    <a:pt x="15427" y="2884"/>
                  </a:lnTo>
                  <a:lnTo>
                    <a:pt x="15432" y="2891"/>
                  </a:lnTo>
                  <a:lnTo>
                    <a:pt x="15434" y="2900"/>
                  </a:lnTo>
                  <a:close/>
                  <a:moveTo>
                    <a:pt x="15171" y="2900"/>
                  </a:moveTo>
                  <a:lnTo>
                    <a:pt x="15171" y="3011"/>
                  </a:lnTo>
                  <a:lnTo>
                    <a:pt x="15168" y="3020"/>
                  </a:lnTo>
                  <a:lnTo>
                    <a:pt x="15164" y="3026"/>
                  </a:lnTo>
                  <a:lnTo>
                    <a:pt x="15158" y="3030"/>
                  </a:lnTo>
                  <a:lnTo>
                    <a:pt x="15150" y="3031"/>
                  </a:lnTo>
                  <a:lnTo>
                    <a:pt x="15142" y="3030"/>
                  </a:lnTo>
                  <a:lnTo>
                    <a:pt x="15136" y="3026"/>
                  </a:lnTo>
                  <a:lnTo>
                    <a:pt x="15132" y="3020"/>
                  </a:lnTo>
                  <a:lnTo>
                    <a:pt x="15131" y="3011"/>
                  </a:lnTo>
                  <a:lnTo>
                    <a:pt x="15131" y="2900"/>
                  </a:lnTo>
                  <a:lnTo>
                    <a:pt x="15132" y="2891"/>
                  </a:lnTo>
                  <a:lnTo>
                    <a:pt x="15136" y="2884"/>
                  </a:lnTo>
                  <a:lnTo>
                    <a:pt x="15142" y="2881"/>
                  </a:lnTo>
                  <a:lnTo>
                    <a:pt x="15150" y="2879"/>
                  </a:lnTo>
                  <a:lnTo>
                    <a:pt x="15158" y="2881"/>
                  </a:lnTo>
                  <a:lnTo>
                    <a:pt x="15164" y="2884"/>
                  </a:lnTo>
                  <a:lnTo>
                    <a:pt x="15168" y="2891"/>
                  </a:lnTo>
                  <a:lnTo>
                    <a:pt x="15171" y="2900"/>
                  </a:lnTo>
                  <a:close/>
                  <a:moveTo>
                    <a:pt x="14908" y="2900"/>
                  </a:moveTo>
                  <a:lnTo>
                    <a:pt x="14908" y="3011"/>
                  </a:lnTo>
                  <a:lnTo>
                    <a:pt x="14905" y="3020"/>
                  </a:lnTo>
                  <a:lnTo>
                    <a:pt x="14901" y="3026"/>
                  </a:lnTo>
                  <a:lnTo>
                    <a:pt x="14895" y="3030"/>
                  </a:lnTo>
                  <a:lnTo>
                    <a:pt x="14887" y="3031"/>
                  </a:lnTo>
                  <a:lnTo>
                    <a:pt x="14880" y="3030"/>
                  </a:lnTo>
                  <a:lnTo>
                    <a:pt x="14873" y="3026"/>
                  </a:lnTo>
                  <a:lnTo>
                    <a:pt x="14869" y="3020"/>
                  </a:lnTo>
                  <a:lnTo>
                    <a:pt x="14867" y="3011"/>
                  </a:lnTo>
                  <a:lnTo>
                    <a:pt x="14867" y="2900"/>
                  </a:lnTo>
                  <a:lnTo>
                    <a:pt x="14869" y="2891"/>
                  </a:lnTo>
                  <a:lnTo>
                    <a:pt x="14873" y="2884"/>
                  </a:lnTo>
                  <a:lnTo>
                    <a:pt x="14880" y="2881"/>
                  </a:lnTo>
                  <a:lnTo>
                    <a:pt x="14887" y="2879"/>
                  </a:lnTo>
                  <a:lnTo>
                    <a:pt x="14895" y="2881"/>
                  </a:lnTo>
                  <a:lnTo>
                    <a:pt x="14901" y="2884"/>
                  </a:lnTo>
                  <a:lnTo>
                    <a:pt x="14905" y="2891"/>
                  </a:lnTo>
                  <a:lnTo>
                    <a:pt x="14908" y="2900"/>
                  </a:lnTo>
                  <a:close/>
                  <a:moveTo>
                    <a:pt x="14644" y="2900"/>
                  </a:moveTo>
                  <a:lnTo>
                    <a:pt x="14644" y="3011"/>
                  </a:lnTo>
                  <a:lnTo>
                    <a:pt x="14642" y="3020"/>
                  </a:lnTo>
                  <a:lnTo>
                    <a:pt x="14637" y="3026"/>
                  </a:lnTo>
                  <a:lnTo>
                    <a:pt x="14631" y="3030"/>
                  </a:lnTo>
                  <a:lnTo>
                    <a:pt x="14624" y="3031"/>
                  </a:lnTo>
                  <a:lnTo>
                    <a:pt x="14617" y="3030"/>
                  </a:lnTo>
                  <a:lnTo>
                    <a:pt x="14610" y="3026"/>
                  </a:lnTo>
                  <a:lnTo>
                    <a:pt x="14606" y="3020"/>
                  </a:lnTo>
                  <a:lnTo>
                    <a:pt x="14604" y="3011"/>
                  </a:lnTo>
                  <a:lnTo>
                    <a:pt x="14604" y="2900"/>
                  </a:lnTo>
                  <a:lnTo>
                    <a:pt x="14606" y="2891"/>
                  </a:lnTo>
                  <a:lnTo>
                    <a:pt x="14610" y="2884"/>
                  </a:lnTo>
                  <a:lnTo>
                    <a:pt x="14617" y="2881"/>
                  </a:lnTo>
                  <a:lnTo>
                    <a:pt x="14624" y="2879"/>
                  </a:lnTo>
                  <a:lnTo>
                    <a:pt x="14631" y="2881"/>
                  </a:lnTo>
                  <a:lnTo>
                    <a:pt x="14637" y="2884"/>
                  </a:lnTo>
                  <a:lnTo>
                    <a:pt x="14642" y="2891"/>
                  </a:lnTo>
                  <a:lnTo>
                    <a:pt x="14644" y="2900"/>
                  </a:lnTo>
                  <a:close/>
                  <a:moveTo>
                    <a:pt x="14381" y="2900"/>
                  </a:moveTo>
                  <a:lnTo>
                    <a:pt x="14381" y="3011"/>
                  </a:lnTo>
                  <a:lnTo>
                    <a:pt x="14379" y="3020"/>
                  </a:lnTo>
                  <a:lnTo>
                    <a:pt x="14374" y="3026"/>
                  </a:lnTo>
                  <a:lnTo>
                    <a:pt x="14368" y="3030"/>
                  </a:lnTo>
                  <a:lnTo>
                    <a:pt x="14362" y="3031"/>
                  </a:lnTo>
                  <a:lnTo>
                    <a:pt x="14354" y="3030"/>
                  </a:lnTo>
                  <a:lnTo>
                    <a:pt x="14347" y="3026"/>
                  </a:lnTo>
                  <a:lnTo>
                    <a:pt x="14342" y="3020"/>
                  </a:lnTo>
                  <a:lnTo>
                    <a:pt x="14341" y="3011"/>
                  </a:lnTo>
                  <a:lnTo>
                    <a:pt x="14341" y="2900"/>
                  </a:lnTo>
                  <a:lnTo>
                    <a:pt x="14342" y="2891"/>
                  </a:lnTo>
                  <a:lnTo>
                    <a:pt x="14347" y="2884"/>
                  </a:lnTo>
                  <a:lnTo>
                    <a:pt x="14354" y="2881"/>
                  </a:lnTo>
                  <a:lnTo>
                    <a:pt x="14362" y="2879"/>
                  </a:lnTo>
                  <a:lnTo>
                    <a:pt x="14368" y="2881"/>
                  </a:lnTo>
                  <a:lnTo>
                    <a:pt x="14374" y="2884"/>
                  </a:lnTo>
                  <a:lnTo>
                    <a:pt x="14379" y="2891"/>
                  </a:lnTo>
                  <a:lnTo>
                    <a:pt x="14381" y="2900"/>
                  </a:lnTo>
                  <a:close/>
                  <a:moveTo>
                    <a:pt x="14118" y="2900"/>
                  </a:moveTo>
                  <a:lnTo>
                    <a:pt x="14118" y="3011"/>
                  </a:lnTo>
                  <a:lnTo>
                    <a:pt x="14117" y="3020"/>
                  </a:lnTo>
                  <a:lnTo>
                    <a:pt x="14111" y="3026"/>
                  </a:lnTo>
                  <a:lnTo>
                    <a:pt x="14105" y="3030"/>
                  </a:lnTo>
                  <a:lnTo>
                    <a:pt x="14097" y="3031"/>
                  </a:lnTo>
                  <a:lnTo>
                    <a:pt x="14091" y="3030"/>
                  </a:lnTo>
                  <a:lnTo>
                    <a:pt x="14085" y="3026"/>
                  </a:lnTo>
                  <a:lnTo>
                    <a:pt x="14079" y="3020"/>
                  </a:lnTo>
                  <a:lnTo>
                    <a:pt x="14078" y="3011"/>
                  </a:lnTo>
                  <a:lnTo>
                    <a:pt x="14078" y="2900"/>
                  </a:lnTo>
                  <a:lnTo>
                    <a:pt x="14079" y="2891"/>
                  </a:lnTo>
                  <a:lnTo>
                    <a:pt x="14085" y="2884"/>
                  </a:lnTo>
                  <a:lnTo>
                    <a:pt x="14091" y="2881"/>
                  </a:lnTo>
                  <a:lnTo>
                    <a:pt x="14097" y="2879"/>
                  </a:lnTo>
                  <a:lnTo>
                    <a:pt x="14105" y="2881"/>
                  </a:lnTo>
                  <a:lnTo>
                    <a:pt x="14111" y="2884"/>
                  </a:lnTo>
                  <a:lnTo>
                    <a:pt x="14117" y="2891"/>
                  </a:lnTo>
                  <a:lnTo>
                    <a:pt x="14118" y="2900"/>
                  </a:lnTo>
                  <a:close/>
                  <a:moveTo>
                    <a:pt x="15434" y="3639"/>
                  </a:moveTo>
                  <a:lnTo>
                    <a:pt x="15434" y="3751"/>
                  </a:lnTo>
                  <a:lnTo>
                    <a:pt x="15432" y="3760"/>
                  </a:lnTo>
                  <a:lnTo>
                    <a:pt x="15427" y="3765"/>
                  </a:lnTo>
                  <a:lnTo>
                    <a:pt x="15421" y="3769"/>
                  </a:lnTo>
                  <a:lnTo>
                    <a:pt x="15413" y="3771"/>
                  </a:lnTo>
                  <a:lnTo>
                    <a:pt x="15407" y="3769"/>
                  </a:lnTo>
                  <a:lnTo>
                    <a:pt x="15400" y="3765"/>
                  </a:lnTo>
                  <a:lnTo>
                    <a:pt x="15395" y="3760"/>
                  </a:lnTo>
                  <a:lnTo>
                    <a:pt x="15394" y="3751"/>
                  </a:lnTo>
                  <a:lnTo>
                    <a:pt x="15394" y="3639"/>
                  </a:lnTo>
                  <a:lnTo>
                    <a:pt x="15395" y="3630"/>
                  </a:lnTo>
                  <a:lnTo>
                    <a:pt x="15400" y="3624"/>
                  </a:lnTo>
                  <a:lnTo>
                    <a:pt x="15407" y="3620"/>
                  </a:lnTo>
                  <a:lnTo>
                    <a:pt x="15413" y="3618"/>
                  </a:lnTo>
                  <a:lnTo>
                    <a:pt x="15421" y="3620"/>
                  </a:lnTo>
                  <a:lnTo>
                    <a:pt x="15427" y="3624"/>
                  </a:lnTo>
                  <a:lnTo>
                    <a:pt x="15432" y="3630"/>
                  </a:lnTo>
                  <a:lnTo>
                    <a:pt x="15434" y="3639"/>
                  </a:lnTo>
                  <a:close/>
                  <a:moveTo>
                    <a:pt x="18172" y="964"/>
                  </a:moveTo>
                  <a:lnTo>
                    <a:pt x="17643" y="964"/>
                  </a:lnTo>
                  <a:lnTo>
                    <a:pt x="17643" y="1019"/>
                  </a:lnTo>
                  <a:lnTo>
                    <a:pt x="18172" y="1019"/>
                  </a:lnTo>
                  <a:lnTo>
                    <a:pt x="18172" y="964"/>
                  </a:lnTo>
                  <a:close/>
                  <a:moveTo>
                    <a:pt x="17665" y="1323"/>
                  </a:moveTo>
                  <a:lnTo>
                    <a:pt x="18163" y="2010"/>
                  </a:lnTo>
                  <a:lnTo>
                    <a:pt x="18134" y="1058"/>
                  </a:lnTo>
                  <a:lnTo>
                    <a:pt x="17680" y="1058"/>
                  </a:lnTo>
                  <a:lnTo>
                    <a:pt x="17665" y="1322"/>
                  </a:lnTo>
                  <a:lnTo>
                    <a:pt x="17665" y="1323"/>
                  </a:lnTo>
                  <a:close/>
                  <a:moveTo>
                    <a:pt x="17638" y="1754"/>
                  </a:moveTo>
                  <a:lnTo>
                    <a:pt x="18179" y="2500"/>
                  </a:lnTo>
                  <a:lnTo>
                    <a:pt x="18166" y="2079"/>
                  </a:lnTo>
                  <a:lnTo>
                    <a:pt x="18161" y="2074"/>
                  </a:lnTo>
                  <a:lnTo>
                    <a:pt x="17661" y="1385"/>
                  </a:lnTo>
                  <a:lnTo>
                    <a:pt x="17638" y="1754"/>
                  </a:lnTo>
                  <a:close/>
                  <a:moveTo>
                    <a:pt x="17611" y="2186"/>
                  </a:moveTo>
                  <a:lnTo>
                    <a:pt x="18194" y="2989"/>
                  </a:lnTo>
                  <a:lnTo>
                    <a:pt x="18181" y="2571"/>
                  </a:lnTo>
                  <a:lnTo>
                    <a:pt x="17634" y="1817"/>
                  </a:lnTo>
                  <a:lnTo>
                    <a:pt x="17611" y="2186"/>
                  </a:lnTo>
                  <a:close/>
                  <a:moveTo>
                    <a:pt x="22919" y="2556"/>
                  </a:moveTo>
                  <a:lnTo>
                    <a:pt x="22895" y="2525"/>
                  </a:lnTo>
                  <a:lnTo>
                    <a:pt x="22869" y="2494"/>
                  </a:lnTo>
                  <a:lnTo>
                    <a:pt x="22841" y="2464"/>
                  </a:lnTo>
                  <a:lnTo>
                    <a:pt x="22812" y="2434"/>
                  </a:lnTo>
                  <a:lnTo>
                    <a:pt x="22748" y="2377"/>
                  </a:lnTo>
                  <a:lnTo>
                    <a:pt x="22714" y="2350"/>
                  </a:lnTo>
                  <a:lnTo>
                    <a:pt x="22678" y="2323"/>
                  </a:lnTo>
                  <a:lnTo>
                    <a:pt x="22603" y="2272"/>
                  </a:lnTo>
                  <a:lnTo>
                    <a:pt x="22522" y="2225"/>
                  </a:lnTo>
                  <a:lnTo>
                    <a:pt x="22436" y="2181"/>
                  </a:lnTo>
                  <a:lnTo>
                    <a:pt x="22346" y="2142"/>
                  </a:lnTo>
                  <a:lnTo>
                    <a:pt x="22250" y="2104"/>
                  </a:lnTo>
                  <a:lnTo>
                    <a:pt x="22151" y="2072"/>
                  </a:lnTo>
                  <a:lnTo>
                    <a:pt x="22048" y="2046"/>
                  </a:lnTo>
                  <a:lnTo>
                    <a:pt x="21995" y="2033"/>
                  </a:lnTo>
                  <a:lnTo>
                    <a:pt x="21941" y="2023"/>
                  </a:lnTo>
                  <a:lnTo>
                    <a:pt x="21831" y="2003"/>
                  </a:lnTo>
                  <a:lnTo>
                    <a:pt x="21774" y="1997"/>
                  </a:lnTo>
                  <a:lnTo>
                    <a:pt x="21718" y="1991"/>
                  </a:lnTo>
                  <a:lnTo>
                    <a:pt x="21601" y="1983"/>
                  </a:lnTo>
                  <a:lnTo>
                    <a:pt x="21483" y="1980"/>
                  </a:lnTo>
                  <a:lnTo>
                    <a:pt x="21365" y="1983"/>
                  </a:lnTo>
                  <a:lnTo>
                    <a:pt x="21249" y="1991"/>
                  </a:lnTo>
                  <a:lnTo>
                    <a:pt x="21136" y="2003"/>
                  </a:lnTo>
                  <a:lnTo>
                    <a:pt x="21026" y="2023"/>
                  </a:lnTo>
                  <a:lnTo>
                    <a:pt x="20972" y="2033"/>
                  </a:lnTo>
                  <a:lnTo>
                    <a:pt x="20919" y="2046"/>
                  </a:lnTo>
                  <a:lnTo>
                    <a:pt x="20815" y="2072"/>
                  </a:lnTo>
                  <a:lnTo>
                    <a:pt x="20717" y="2104"/>
                  </a:lnTo>
                  <a:lnTo>
                    <a:pt x="20622" y="2142"/>
                  </a:lnTo>
                  <a:lnTo>
                    <a:pt x="20531" y="2181"/>
                  </a:lnTo>
                  <a:lnTo>
                    <a:pt x="20445" y="2225"/>
                  </a:lnTo>
                  <a:lnTo>
                    <a:pt x="20364" y="2272"/>
                  </a:lnTo>
                  <a:lnTo>
                    <a:pt x="20288" y="2323"/>
                  </a:lnTo>
                  <a:lnTo>
                    <a:pt x="20219" y="2377"/>
                  </a:lnTo>
                  <a:lnTo>
                    <a:pt x="20187" y="2405"/>
                  </a:lnTo>
                  <a:lnTo>
                    <a:pt x="20155" y="2434"/>
                  </a:lnTo>
                  <a:lnTo>
                    <a:pt x="20125" y="2464"/>
                  </a:lnTo>
                  <a:lnTo>
                    <a:pt x="20098" y="2494"/>
                  </a:lnTo>
                  <a:lnTo>
                    <a:pt x="20047" y="2556"/>
                  </a:lnTo>
                  <a:lnTo>
                    <a:pt x="20765" y="2556"/>
                  </a:lnTo>
                  <a:lnTo>
                    <a:pt x="21483" y="2556"/>
                  </a:lnTo>
                  <a:lnTo>
                    <a:pt x="22201" y="2556"/>
                  </a:lnTo>
                  <a:lnTo>
                    <a:pt x="22919" y="2556"/>
                  </a:lnTo>
                  <a:close/>
                  <a:moveTo>
                    <a:pt x="21733" y="1952"/>
                  </a:moveTo>
                  <a:lnTo>
                    <a:pt x="21733" y="1794"/>
                  </a:lnTo>
                  <a:lnTo>
                    <a:pt x="21235" y="1794"/>
                  </a:lnTo>
                  <a:lnTo>
                    <a:pt x="21235" y="1952"/>
                  </a:lnTo>
                  <a:lnTo>
                    <a:pt x="21295" y="1947"/>
                  </a:lnTo>
                  <a:lnTo>
                    <a:pt x="21358" y="1943"/>
                  </a:lnTo>
                  <a:lnTo>
                    <a:pt x="21420" y="1941"/>
                  </a:lnTo>
                  <a:lnTo>
                    <a:pt x="21483" y="1939"/>
                  </a:lnTo>
                  <a:lnTo>
                    <a:pt x="21609" y="1943"/>
                  </a:lnTo>
                  <a:lnTo>
                    <a:pt x="21733" y="1952"/>
                  </a:lnTo>
                  <a:close/>
                  <a:moveTo>
                    <a:pt x="20024" y="2977"/>
                  </a:moveTo>
                  <a:lnTo>
                    <a:pt x="20754" y="2977"/>
                  </a:lnTo>
                  <a:lnTo>
                    <a:pt x="21483" y="2977"/>
                  </a:lnTo>
                  <a:lnTo>
                    <a:pt x="22213" y="2977"/>
                  </a:lnTo>
                  <a:lnTo>
                    <a:pt x="22943" y="2977"/>
                  </a:lnTo>
                  <a:lnTo>
                    <a:pt x="22943" y="2750"/>
                  </a:lnTo>
                  <a:lnTo>
                    <a:pt x="22213" y="2750"/>
                  </a:lnTo>
                  <a:lnTo>
                    <a:pt x="21483" y="2750"/>
                  </a:lnTo>
                  <a:lnTo>
                    <a:pt x="20754" y="2750"/>
                  </a:lnTo>
                  <a:lnTo>
                    <a:pt x="20024" y="2750"/>
                  </a:lnTo>
                  <a:lnTo>
                    <a:pt x="20024" y="2977"/>
                  </a:lnTo>
                  <a:close/>
                  <a:moveTo>
                    <a:pt x="20768" y="4017"/>
                  </a:moveTo>
                  <a:lnTo>
                    <a:pt x="20768" y="4324"/>
                  </a:lnTo>
                  <a:lnTo>
                    <a:pt x="20974" y="4324"/>
                  </a:lnTo>
                  <a:lnTo>
                    <a:pt x="20974" y="3670"/>
                  </a:lnTo>
                  <a:lnTo>
                    <a:pt x="20974" y="3016"/>
                  </a:lnTo>
                  <a:lnTo>
                    <a:pt x="20523" y="3016"/>
                  </a:lnTo>
                  <a:lnTo>
                    <a:pt x="20523" y="3670"/>
                  </a:lnTo>
                  <a:lnTo>
                    <a:pt x="20523" y="4324"/>
                  </a:lnTo>
                  <a:lnTo>
                    <a:pt x="20728" y="4324"/>
                  </a:lnTo>
                  <a:lnTo>
                    <a:pt x="20728" y="4017"/>
                  </a:lnTo>
                  <a:lnTo>
                    <a:pt x="20731" y="4008"/>
                  </a:lnTo>
                  <a:lnTo>
                    <a:pt x="20734" y="4002"/>
                  </a:lnTo>
                  <a:lnTo>
                    <a:pt x="20741" y="3998"/>
                  </a:lnTo>
                  <a:lnTo>
                    <a:pt x="20749" y="3997"/>
                  </a:lnTo>
                  <a:lnTo>
                    <a:pt x="20756" y="3998"/>
                  </a:lnTo>
                  <a:lnTo>
                    <a:pt x="20763" y="4002"/>
                  </a:lnTo>
                  <a:lnTo>
                    <a:pt x="20767" y="4008"/>
                  </a:lnTo>
                  <a:lnTo>
                    <a:pt x="20768" y="4017"/>
                  </a:lnTo>
                  <a:close/>
                  <a:moveTo>
                    <a:pt x="21260" y="4017"/>
                  </a:moveTo>
                  <a:lnTo>
                    <a:pt x="21260" y="4324"/>
                  </a:lnTo>
                  <a:lnTo>
                    <a:pt x="21467" y="4324"/>
                  </a:lnTo>
                  <a:lnTo>
                    <a:pt x="21467" y="3670"/>
                  </a:lnTo>
                  <a:lnTo>
                    <a:pt x="21467" y="3016"/>
                  </a:lnTo>
                  <a:lnTo>
                    <a:pt x="21014" y="3016"/>
                  </a:lnTo>
                  <a:lnTo>
                    <a:pt x="21014" y="3670"/>
                  </a:lnTo>
                  <a:lnTo>
                    <a:pt x="21014" y="4324"/>
                  </a:lnTo>
                  <a:lnTo>
                    <a:pt x="21220" y="4324"/>
                  </a:lnTo>
                  <a:lnTo>
                    <a:pt x="21220" y="4017"/>
                  </a:lnTo>
                  <a:lnTo>
                    <a:pt x="21222" y="4008"/>
                  </a:lnTo>
                  <a:lnTo>
                    <a:pt x="21227" y="4002"/>
                  </a:lnTo>
                  <a:lnTo>
                    <a:pt x="21233" y="3998"/>
                  </a:lnTo>
                  <a:lnTo>
                    <a:pt x="21241" y="3997"/>
                  </a:lnTo>
                  <a:lnTo>
                    <a:pt x="21247" y="3998"/>
                  </a:lnTo>
                  <a:lnTo>
                    <a:pt x="21254" y="4002"/>
                  </a:lnTo>
                  <a:lnTo>
                    <a:pt x="21259" y="4008"/>
                  </a:lnTo>
                  <a:lnTo>
                    <a:pt x="21260" y="4017"/>
                  </a:lnTo>
                  <a:close/>
                  <a:moveTo>
                    <a:pt x="21753" y="4017"/>
                  </a:moveTo>
                  <a:lnTo>
                    <a:pt x="21753" y="4324"/>
                  </a:lnTo>
                  <a:lnTo>
                    <a:pt x="21959" y="4324"/>
                  </a:lnTo>
                  <a:lnTo>
                    <a:pt x="21959" y="3670"/>
                  </a:lnTo>
                  <a:lnTo>
                    <a:pt x="21959" y="3016"/>
                  </a:lnTo>
                  <a:lnTo>
                    <a:pt x="21506" y="3016"/>
                  </a:lnTo>
                  <a:lnTo>
                    <a:pt x="21506" y="3670"/>
                  </a:lnTo>
                  <a:lnTo>
                    <a:pt x="21506" y="4324"/>
                  </a:lnTo>
                  <a:lnTo>
                    <a:pt x="21713" y="4324"/>
                  </a:lnTo>
                  <a:lnTo>
                    <a:pt x="21713" y="4017"/>
                  </a:lnTo>
                  <a:lnTo>
                    <a:pt x="21714" y="4008"/>
                  </a:lnTo>
                  <a:lnTo>
                    <a:pt x="21719" y="4002"/>
                  </a:lnTo>
                  <a:lnTo>
                    <a:pt x="21726" y="3998"/>
                  </a:lnTo>
                  <a:lnTo>
                    <a:pt x="21732" y="3997"/>
                  </a:lnTo>
                  <a:lnTo>
                    <a:pt x="21740" y="3998"/>
                  </a:lnTo>
                  <a:lnTo>
                    <a:pt x="21746" y="4002"/>
                  </a:lnTo>
                  <a:lnTo>
                    <a:pt x="21751" y="4008"/>
                  </a:lnTo>
                  <a:lnTo>
                    <a:pt x="21753" y="4017"/>
                  </a:lnTo>
                  <a:close/>
                  <a:moveTo>
                    <a:pt x="22245" y="4017"/>
                  </a:moveTo>
                  <a:lnTo>
                    <a:pt x="22245" y="4324"/>
                  </a:lnTo>
                  <a:lnTo>
                    <a:pt x="22450" y="4324"/>
                  </a:lnTo>
                  <a:lnTo>
                    <a:pt x="22450" y="3670"/>
                  </a:lnTo>
                  <a:lnTo>
                    <a:pt x="22450" y="3016"/>
                  </a:lnTo>
                  <a:lnTo>
                    <a:pt x="21999" y="3016"/>
                  </a:lnTo>
                  <a:lnTo>
                    <a:pt x="21999" y="3670"/>
                  </a:lnTo>
                  <a:lnTo>
                    <a:pt x="21999" y="4324"/>
                  </a:lnTo>
                  <a:lnTo>
                    <a:pt x="22205" y="4324"/>
                  </a:lnTo>
                  <a:lnTo>
                    <a:pt x="22205" y="4017"/>
                  </a:lnTo>
                  <a:lnTo>
                    <a:pt x="22207" y="4008"/>
                  </a:lnTo>
                  <a:lnTo>
                    <a:pt x="22210" y="4002"/>
                  </a:lnTo>
                  <a:lnTo>
                    <a:pt x="22217" y="3998"/>
                  </a:lnTo>
                  <a:lnTo>
                    <a:pt x="22224" y="3997"/>
                  </a:lnTo>
                  <a:lnTo>
                    <a:pt x="22232" y="3998"/>
                  </a:lnTo>
                  <a:lnTo>
                    <a:pt x="22239" y="4002"/>
                  </a:lnTo>
                  <a:lnTo>
                    <a:pt x="22242" y="4008"/>
                  </a:lnTo>
                  <a:lnTo>
                    <a:pt x="22245" y="4017"/>
                  </a:lnTo>
                  <a:close/>
                  <a:moveTo>
                    <a:pt x="22737" y="4017"/>
                  </a:moveTo>
                  <a:lnTo>
                    <a:pt x="22737" y="4324"/>
                  </a:lnTo>
                  <a:lnTo>
                    <a:pt x="22943" y="4324"/>
                  </a:lnTo>
                  <a:lnTo>
                    <a:pt x="22943" y="3670"/>
                  </a:lnTo>
                  <a:lnTo>
                    <a:pt x="22943" y="3016"/>
                  </a:lnTo>
                  <a:lnTo>
                    <a:pt x="22491" y="3016"/>
                  </a:lnTo>
                  <a:lnTo>
                    <a:pt x="22491" y="3670"/>
                  </a:lnTo>
                  <a:lnTo>
                    <a:pt x="22491" y="4324"/>
                  </a:lnTo>
                  <a:lnTo>
                    <a:pt x="22696" y="4324"/>
                  </a:lnTo>
                  <a:lnTo>
                    <a:pt x="22696" y="4017"/>
                  </a:lnTo>
                  <a:lnTo>
                    <a:pt x="22699" y="4008"/>
                  </a:lnTo>
                  <a:lnTo>
                    <a:pt x="22703" y="4002"/>
                  </a:lnTo>
                  <a:lnTo>
                    <a:pt x="22709" y="3998"/>
                  </a:lnTo>
                  <a:lnTo>
                    <a:pt x="22717" y="3997"/>
                  </a:lnTo>
                  <a:lnTo>
                    <a:pt x="22725" y="3998"/>
                  </a:lnTo>
                  <a:lnTo>
                    <a:pt x="22731" y="4002"/>
                  </a:lnTo>
                  <a:lnTo>
                    <a:pt x="22735" y="4008"/>
                  </a:lnTo>
                  <a:lnTo>
                    <a:pt x="22737" y="4017"/>
                  </a:lnTo>
                  <a:close/>
                  <a:moveTo>
                    <a:pt x="21727" y="1754"/>
                  </a:moveTo>
                  <a:lnTo>
                    <a:pt x="21714" y="1740"/>
                  </a:lnTo>
                  <a:lnTo>
                    <a:pt x="21696" y="1727"/>
                  </a:lnTo>
                  <a:lnTo>
                    <a:pt x="21673" y="1714"/>
                  </a:lnTo>
                  <a:lnTo>
                    <a:pt x="21645" y="1703"/>
                  </a:lnTo>
                  <a:lnTo>
                    <a:pt x="21612" y="1693"/>
                  </a:lnTo>
                  <a:lnTo>
                    <a:pt x="21573" y="1686"/>
                  </a:lnTo>
                  <a:lnTo>
                    <a:pt x="21531" y="1681"/>
                  </a:lnTo>
                  <a:lnTo>
                    <a:pt x="21483" y="1679"/>
                  </a:lnTo>
                  <a:lnTo>
                    <a:pt x="21437" y="1681"/>
                  </a:lnTo>
                  <a:lnTo>
                    <a:pt x="21394" y="1686"/>
                  </a:lnTo>
                  <a:lnTo>
                    <a:pt x="21356" y="1693"/>
                  </a:lnTo>
                  <a:lnTo>
                    <a:pt x="21322" y="1703"/>
                  </a:lnTo>
                  <a:lnTo>
                    <a:pt x="21294" y="1714"/>
                  </a:lnTo>
                  <a:lnTo>
                    <a:pt x="21270" y="1727"/>
                  </a:lnTo>
                  <a:lnTo>
                    <a:pt x="21253" y="1740"/>
                  </a:lnTo>
                  <a:lnTo>
                    <a:pt x="21241" y="1754"/>
                  </a:lnTo>
                  <a:lnTo>
                    <a:pt x="21727" y="1754"/>
                  </a:lnTo>
                  <a:close/>
                  <a:moveTo>
                    <a:pt x="19597" y="4131"/>
                  </a:moveTo>
                  <a:lnTo>
                    <a:pt x="19564" y="4135"/>
                  </a:lnTo>
                  <a:lnTo>
                    <a:pt x="19532" y="4145"/>
                  </a:lnTo>
                  <a:lnTo>
                    <a:pt x="19500" y="4154"/>
                  </a:lnTo>
                  <a:lnTo>
                    <a:pt x="19465" y="4159"/>
                  </a:lnTo>
                  <a:lnTo>
                    <a:pt x="19436" y="4154"/>
                  </a:lnTo>
                  <a:lnTo>
                    <a:pt x="19423" y="4149"/>
                  </a:lnTo>
                  <a:lnTo>
                    <a:pt x="19410" y="4143"/>
                  </a:lnTo>
                  <a:lnTo>
                    <a:pt x="19388" y="4125"/>
                  </a:lnTo>
                  <a:lnTo>
                    <a:pt x="19369" y="4100"/>
                  </a:lnTo>
                  <a:lnTo>
                    <a:pt x="19351" y="4072"/>
                  </a:lnTo>
                  <a:lnTo>
                    <a:pt x="19334" y="4040"/>
                  </a:lnTo>
                  <a:lnTo>
                    <a:pt x="19300" y="3973"/>
                  </a:lnTo>
                  <a:lnTo>
                    <a:pt x="19282" y="3937"/>
                  </a:lnTo>
                  <a:lnTo>
                    <a:pt x="19260" y="3904"/>
                  </a:lnTo>
                  <a:lnTo>
                    <a:pt x="19235" y="3872"/>
                  </a:lnTo>
                  <a:lnTo>
                    <a:pt x="19209" y="3843"/>
                  </a:lnTo>
                  <a:lnTo>
                    <a:pt x="19175" y="3820"/>
                  </a:lnTo>
                  <a:lnTo>
                    <a:pt x="19157" y="3810"/>
                  </a:lnTo>
                  <a:lnTo>
                    <a:pt x="19138" y="3801"/>
                  </a:lnTo>
                  <a:lnTo>
                    <a:pt x="19116" y="3795"/>
                  </a:lnTo>
                  <a:lnTo>
                    <a:pt x="19093" y="3790"/>
                  </a:lnTo>
                  <a:lnTo>
                    <a:pt x="19069" y="3787"/>
                  </a:lnTo>
                  <a:lnTo>
                    <a:pt x="19042" y="3786"/>
                  </a:lnTo>
                  <a:lnTo>
                    <a:pt x="19014" y="3790"/>
                  </a:lnTo>
                  <a:lnTo>
                    <a:pt x="19002" y="3795"/>
                  </a:lnTo>
                  <a:lnTo>
                    <a:pt x="18993" y="3801"/>
                  </a:lnTo>
                  <a:lnTo>
                    <a:pt x="18974" y="3817"/>
                  </a:lnTo>
                  <a:lnTo>
                    <a:pt x="18952" y="3836"/>
                  </a:lnTo>
                  <a:lnTo>
                    <a:pt x="18925" y="3854"/>
                  </a:lnTo>
                  <a:lnTo>
                    <a:pt x="18908" y="3863"/>
                  </a:lnTo>
                  <a:lnTo>
                    <a:pt x="18889" y="3869"/>
                  </a:lnTo>
                  <a:lnTo>
                    <a:pt x="18865" y="3875"/>
                  </a:lnTo>
                  <a:lnTo>
                    <a:pt x="18838" y="3881"/>
                  </a:lnTo>
                  <a:lnTo>
                    <a:pt x="18806" y="3884"/>
                  </a:lnTo>
                  <a:lnTo>
                    <a:pt x="18769" y="3886"/>
                  </a:lnTo>
                  <a:lnTo>
                    <a:pt x="18742" y="3883"/>
                  </a:lnTo>
                  <a:lnTo>
                    <a:pt x="18720" y="3879"/>
                  </a:lnTo>
                  <a:lnTo>
                    <a:pt x="18688" y="3868"/>
                  </a:lnTo>
                  <a:lnTo>
                    <a:pt x="18662" y="3855"/>
                  </a:lnTo>
                  <a:lnTo>
                    <a:pt x="18649" y="3851"/>
                  </a:lnTo>
                  <a:lnTo>
                    <a:pt x="18637" y="3850"/>
                  </a:lnTo>
                  <a:lnTo>
                    <a:pt x="18615" y="3851"/>
                  </a:lnTo>
                  <a:lnTo>
                    <a:pt x="18594" y="3856"/>
                  </a:lnTo>
                  <a:lnTo>
                    <a:pt x="18575" y="3864"/>
                  </a:lnTo>
                  <a:lnTo>
                    <a:pt x="18557" y="3875"/>
                  </a:lnTo>
                  <a:lnTo>
                    <a:pt x="18540" y="3888"/>
                  </a:lnTo>
                  <a:lnTo>
                    <a:pt x="18524" y="3902"/>
                  </a:lnTo>
                  <a:lnTo>
                    <a:pt x="18494" y="3936"/>
                  </a:lnTo>
                  <a:lnTo>
                    <a:pt x="18467" y="3973"/>
                  </a:lnTo>
                  <a:lnTo>
                    <a:pt x="18442" y="4011"/>
                  </a:lnTo>
                  <a:lnTo>
                    <a:pt x="18416" y="4047"/>
                  </a:lnTo>
                  <a:lnTo>
                    <a:pt x="18389" y="4077"/>
                  </a:lnTo>
                  <a:lnTo>
                    <a:pt x="18366" y="4097"/>
                  </a:lnTo>
                  <a:lnTo>
                    <a:pt x="18337" y="4116"/>
                  </a:lnTo>
                  <a:lnTo>
                    <a:pt x="18266" y="4155"/>
                  </a:lnTo>
                  <a:lnTo>
                    <a:pt x="18261" y="4161"/>
                  </a:lnTo>
                  <a:lnTo>
                    <a:pt x="18253" y="4163"/>
                  </a:lnTo>
                  <a:lnTo>
                    <a:pt x="18207" y="4191"/>
                  </a:lnTo>
                  <a:lnTo>
                    <a:pt x="18169" y="4221"/>
                  </a:lnTo>
                  <a:lnTo>
                    <a:pt x="18153" y="4236"/>
                  </a:lnTo>
                  <a:lnTo>
                    <a:pt x="18147" y="4245"/>
                  </a:lnTo>
                  <a:lnTo>
                    <a:pt x="18142" y="4253"/>
                  </a:lnTo>
                  <a:lnTo>
                    <a:pt x="18134" y="4269"/>
                  </a:lnTo>
                  <a:lnTo>
                    <a:pt x="18131" y="4287"/>
                  </a:lnTo>
                  <a:lnTo>
                    <a:pt x="18133" y="4308"/>
                  </a:lnTo>
                  <a:lnTo>
                    <a:pt x="18137" y="4329"/>
                  </a:lnTo>
                  <a:lnTo>
                    <a:pt x="18256" y="4329"/>
                  </a:lnTo>
                  <a:lnTo>
                    <a:pt x="18261" y="4329"/>
                  </a:lnTo>
                  <a:lnTo>
                    <a:pt x="19046" y="4329"/>
                  </a:lnTo>
                  <a:lnTo>
                    <a:pt x="19830" y="4329"/>
                  </a:lnTo>
                  <a:lnTo>
                    <a:pt x="19825" y="4308"/>
                  </a:lnTo>
                  <a:lnTo>
                    <a:pt x="19819" y="4286"/>
                  </a:lnTo>
                  <a:lnTo>
                    <a:pt x="19810" y="4265"/>
                  </a:lnTo>
                  <a:lnTo>
                    <a:pt x="19801" y="4248"/>
                  </a:lnTo>
                  <a:lnTo>
                    <a:pt x="19778" y="4213"/>
                  </a:lnTo>
                  <a:lnTo>
                    <a:pt x="19764" y="4198"/>
                  </a:lnTo>
                  <a:lnTo>
                    <a:pt x="19748" y="4185"/>
                  </a:lnTo>
                  <a:lnTo>
                    <a:pt x="19733" y="4172"/>
                  </a:lnTo>
                  <a:lnTo>
                    <a:pt x="19716" y="4162"/>
                  </a:lnTo>
                  <a:lnTo>
                    <a:pt x="19698" y="4153"/>
                  </a:lnTo>
                  <a:lnTo>
                    <a:pt x="19679" y="4145"/>
                  </a:lnTo>
                  <a:lnTo>
                    <a:pt x="19660" y="4139"/>
                  </a:lnTo>
                  <a:lnTo>
                    <a:pt x="19639" y="4134"/>
                  </a:lnTo>
                  <a:lnTo>
                    <a:pt x="19597" y="4131"/>
                  </a:lnTo>
                  <a:close/>
                  <a:moveTo>
                    <a:pt x="18860" y="2743"/>
                  </a:moveTo>
                  <a:lnTo>
                    <a:pt x="18742" y="2904"/>
                  </a:lnTo>
                  <a:lnTo>
                    <a:pt x="18742" y="3047"/>
                  </a:lnTo>
                  <a:lnTo>
                    <a:pt x="18794" y="3040"/>
                  </a:lnTo>
                  <a:lnTo>
                    <a:pt x="18803" y="3039"/>
                  </a:lnTo>
                  <a:lnTo>
                    <a:pt x="18811" y="3043"/>
                  </a:lnTo>
                  <a:lnTo>
                    <a:pt x="18815" y="3048"/>
                  </a:lnTo>
                  <a:lnTo>
                    <a:pt x="18819" y="3056"/>
                  </a:lnTo>
                  <a:lnTo>
                    <a:pt x="18819" y="3062"/>
                  </a:lnTo>
                  <a:lnTo>
                    <a:pt x="18816" y="3070"/>
                  </a:lnTo>
                  <a:lnTo>
                    <a:pt x="18811" y="3075"/>
                  </a:lnTo>
                  <a:lnTo>
                    <a:pt x="18802" y="3079"/>
                  </a:lnTo>
                  <a:lnTo>
                    <a:pt x="18773" y="3084"/>
                  </a:lnTo>
                  <a:lnTo>
                    <a:pt x="18742" y="3086"/>
                  </a:lnTo>
                  <a:lnTo>
                    <a:pt x="18742" y="3827"/>
                  </a:lnTo>
                  <a:lnTo>
                    <a:pt x="18741" y="3836"/>
                  </a:lnTo>
                  <a:lnTo>
                    <a:pt x="18735" y="3842"/>
                  </a:lnTo>
                  <a:lnTo>
                    <a:pt x="18751" y="3845"/>
                  </a:lnTo>
                  <a:lnTo>
                    <a:pt x="18769" y="3845"/>
                  </a:lnTo>
                  <a:lnTo>
                    <a:pt x="18798" y="3845"/>
                  </a:lnTo>
                  <a:lnTo>
                    <a:pt x="18825" y="3843"/>
                  </a:lnTo>
                  <a:lnTo>
                    <a:pt x="18850" y="3840"/>
                  </a:lnTo>
                  <a:lnTo>
                    <a:pt x="18871" y="3835"/>
                  </a:lnTo>
                  <a:lnTo>
                    <a:pt x="18892" y="3826"/>
                  </a:lnTo>
                  <a:lnTo>
                    <a:pt x="18911" y="3815"/>
                  </a:lnTo>
                  <a:lnTo>
                    <a:pt x="18952" y="3782"/>
                  </a:lnTo>
                  <a:lnTo>
                    <a:pt x="18973" y="3767"/>
                  </a:lnTo>
                  <a:lnTo>
                    <a:pt x="18982" y="3760"/>
                  </a:lnTo>
                  <a:lnTo>
                    <a:pt x="18992" y="3755"/>
                  </a:lnTo>
                  <a:lnTo>
                    <a:pt x="19015" y="3748"/>
                  </a:lnTo>
                  <a:lnTo>
                    <a:pt x="19042" y="3745"/>
                  </a:lnTo>
                  <a:lnTo>
                    <a:pt x="19075" y="3748"/>
                  </a:lnTo>
                  <a:lnTo>
                    <a:pt x="19107" y="3751"/>
                  </a:lnTo>
                  <a:lnTo>
                    <a:pt x="19135" y="3758"/>
                  </a:lnTo>
                  <a:lnTo>
                    <a:pt x="19162" y="3768"/>
                  </a:lnTo>
                  <a:lnTo>
                    <a:pt x="19187" y="3780"/>
                  </a:lnTo>
                  <a:lnTo>
                    <a:pt x="19209" y="3794"/>
                  </a:lnTo>
                  <a:lnTo>
                    <a:pt x="19229" y="3809"/>
                  </a:lnTo>
                  <a:lnTo>
                    <a:pt x="19248" y="3827"/>
                  </a:lnTo>
                  <a:lnTo>
                    <a:pt x="19282" y="3866"/>
                  </a:lnTo>
                  <a:lnTo>
                    <a:pt x="19311" y="3911"/>
                  </a:lnTo>
                  <a:lnTo>
                    <a:pt x="19338" y="3960"/>
                  </a:lnTo>
                  <a:lnTo>
                    <a:pt x="19364" y="4012"/>
                  </a:lnTo>
                  <a:lnTo>
                    <a:pt x="19369" y="4021"/>
                  </a:lnTo>
                  <a:lnTo>
                    <a:pt x="19369" y="3649"/>
                  </a:lnTo>
                  <a:lnTo>
                    <a:pt x="19334" y="3663"/>
                  </a:lnTo>
                  <a:lnTo>
                    <a:pt x="19319" y="3670"/>
                  </a:lnTo>
                  <a:lnTo>
                    <a:pt x="19302" y="3676"/>
                  </a:lnTo>
                  <a:lnTo>
                    <a:pt x="19284" y="3676"/>
                  </a:lnTo>
                  <a:lnTo>
                    <a:pt x="19275" y="3675"/>
                  </a:lnTo>
                  <a:lnTo>
                    <a:pt x="19265" y="3671"/>
                  </a:lnTo>
                  <a:lnTo>
                    <a:pt x="19255" y="3666"/>
                  </a:lnTo>
                  <a:lnTo>
                    <a:pt x="19244" y="3658"/>
                  </a:lnTo>
                  <a:lnTo>
                    <a:pt x="19221" y="3634"/>
                  </a:lnTo>
                  <a:lnTo>
                    <a:pt x="19205" y="3616"/>
                  </a:lnTo>
                  <a:lnTo>
                    <a:pt x="19191" y="3604"/>
                  </a:lnTo>
                  <a:lnTo>
                    <a:pt x="19180" y="3598"/>
                  </a:lnTo>
                  <a:lnTo>
                    <a:pt x="19169" y="3595"/>
                  </a:lnTo>
                  <a:lnTo>
                    <a:pt x="19144" y="3594"/>
                  </a:lnTo>
                  <a:lnTo>
                    <a:pt x="19105" y="3590"/>
                  </a:lnTo>
                  <a:lnTo>
                    <a:pt x="19091" y="3586"/>
                  </a:lnTo>
                  <a:lnTo>
                    <a:pt x="19079" y="3581"/>
                  </a:lnTo>
                  <a:lnTo>
                    <a:pt x="19062" y="3567"/>
                  </a:lnTo>
                  <a:lnTo>
                    <a:pt x="19052" y="3549"/>
                  </a:lnTo>
                  <a:lnTo>
                    <a:pt x="19044" y="3530"/>
                  </a:lnTo>
                  <a:lnTo>
                    <a:pt x="19039" y="3510"/>
                  </a:lnTo>
                  <a:lnTo>
                    <a:pt x="19033" y="3489"/>
                  </a:lnTo>
                  <a:lnTo>
                    <a:pt x="19029" y="3480"/>
                  </a:lnTo>
                  <a:lnTo>
                    <a:pt x="19024" y="3471"/>
                  </a:lnTo>
                  <a:lnTo>
                    <a:pt x="19016" y="3464"/>
                  </a:lnTo>
                  <a:lnTo>
                    <a:pt x="19009" y="3457"/>
                  </a:lnTo>
                  <a:lnTo>
                    <a:pt x="18967" y="3434"/>
                  </a:lnTo>
                  <a:lnTo>
                    <a:pt x="18952" y="3424"/>
                  </a:lnTo>
                  <a:lnTo>
                    <a:pt x="18939" y="3414"/>
                  </a:lnTo>
                  <a:lnTo>
                    <a:pt x="18930" y="3400"/>
                  </a:lnTo>
                  <a:lnTo>
                    <a:pt x="18926" y="3383"/>
                  </a:lnTo>
                  <a:lnTo>
                    <a:pt x="18925" y="3361"/>
                  </a:lnTo>
                  <a:lnTo>
                    <a:pt x="18929" y="3333"/>
                  </a:lnTo>
                  <a:lnTo>
                    <a:pt x="18934" y="3304"/>
                  </a:lnTo>
                  <a:lnTo>
                    <a:pt x="18934" y="3285"/>
                  </a:lnTo>
                  <a:lnTo>
                    <a:pt x="18925" y="3267"/>
                  </a:lnTo>
                  <a:lnTo>
                    <a:pt x="18908" y="3242"/>
                  </a:lnTo>
                  <a:lnTo>
                    <a:pt x="18891" y="3216"/>
                  </a:lnTo>
                  <a:lnTo>
                    <a:pt x="18884" y="3199"/>
                  </a:lnTo>
                  <a:lnTo>
                    <a:pt x="18882" y="3181"/>
                  </a:lnTo>
                  <a:lnTo>
                    <a:pt x="18884" y="3162"/>
                  </a:lnTo>
                  <a:lnTo>
                    <a:pt x="18891" y="3145"/>
                  </a:lnTo>
                  <a:lnTo>
                    <a:pt x="18908" y="3118"/>
                  </a:lnTo>
                  <a:lnTo>
                    <a:pt x="18923" y="3098"/>
                  </a:lnTo>
                  <a:lnTo>
                    <a:pt x="18930" y="3083"/>
                  </a:lnTo>
                  <a:lnTo>
                    <a:pt x="18934" y="3070"/>
                  </a:lnTo>
                  <a:lnTo>
                    <a:pt x="18935" y="3060"/>
                  </a:lnTo>
                  <a:lnTo>
                    <a:pt x="18929" y="3035"/>
                  </a:lnTo>
                  <a:lnTo>
                    <a:pt x="18925" y="2996"/>
                  </a:lnTo>
                  <a:lnTo>
                    <a:pt x="18928" y="2969"/>
                  </a:lnTo>
                  <a:lnTo>
                    <a:pt x="18932" y="2959"/>
                  </a:lnTo>
                  <a:lnTo>
                    <a:pt x="18938" y="2950"/>
                  </a:lnTo>
                  <a:lnTo>
                    <a:pt x="18944" y="2942"/>
                  </a:lnTo>
                  <a:lnTo>
                    <a:pt x="18952" y="2936"/>
                  </a:lnTo>
                  <a:lnTo>
                    <a:pt x="18970" y="2924"/>
                  </a:lnTo>
                  <a:lnTo>
                    <a:pt x="19007" y="2904"/>
                  </a:lnTo>
                  <a:lnTo>
                    <a:pt x="19023" y="2891"/>
                  </a:lnTo>
                  <a:lnTo>
                    <a:pt x="19033" y="2872"/>
                  </a:lnTo>
                  <a:lnTo>
                    <a:pt x="19047" y="2828"/>
                  </a:lnTo>
                  <a:lnTo>
                    <a:pt x="19053" y="2810"/>
                  </a:lnTo>
                  <a:lnTo>
                    <a:pt x="19061" y="2796"/>
                  </a:lnTo>
                  <a:lnTo>
                    <a:pt x="19073" y="2785"/>
                  </a:lnTo>
                  <a:lnTo>
                    <a:pt x="19088" y="2776"/>
                  </a:lnTo>
                  <a:lnTo>
                    <a:pt x="19109" y="2771"/>
                  </a:lnTo>
                  <a:lnTo>
                    <a:pt x="19138" y="2768"/>
                  </a:lnTo>
                  <a:lnTo>
                    <a:pt x="19162" y="2766"/>
                  </a:lnTo>
                  <a:lnTo>
                    <a:pt x="19180" y="2763"/>
                  </a:lnTo>
                  <a:lnTo>
                    <a:pt x="19192" y="2758"/>
                  </a:lnTo>
                  <a:lnTo>
                    <a:pt x="19201" y="2751"/>
                  </a:lnTo>
                  <a:lnTo>
                    <a:pt x="19216" y="2732"/>
                  </a:lnTo>
                  <a:lnTo>
                    <a:pt x="19228" y="2719"/>
                  </a:lnTo>
                  <a:lnTo>
                    <a:pt x="19243" y="2704"/>
                  </a:lnTo>
                  <a:lnTo>
                    <a:pt x="19265" y="2690"/>
                  </a:lnTo>
                  <a:lnTo>
                    <a:pt x="19274" y="2686"/>
                  </a:lnTo>
                  <a:lnTo>
                    <a:pt x="19284" y="2685"/>
                  </a:lnTo>
                  <a:lnTo>
                    <a:pt x="19302" y="2686"/>
                  </a:lnTo>
                  <a:lnTo>
                    <a:pt x="19319" y="2691"/>
                  </a:lnTo>
                  <a:lnTo>
                    <a:pt x="19352" y="2707"/>
                  </a:lnTo>
                  <a:lnTo>
                    <a:pt x="19370" y="2713"/>
                  </a:lnTo>
                  <a:lnTo>
                    <a:pt x="19388" y="2716"/>
                  </a:lnTo>
                  <a:lnTo>
                    <a:pt x="19410" y="2712"/>
                  </a:lnTo>
                  <a:lnTo>
                    <a:pt x="19429" y="2705"/>
                  </a:lnTo>
                  <a:lnTo>
                    <a:pt x="19448" y="2696"/>
                  </a:lnTo>
                  <a:lnTo>
                    <a:pt x="19466" y="2689"/>
                  </a:lnTo>
                  <a:lnTo>
                    <a:pt x="19486" y="2685"/>
                  </a:lnTo>
                  <a:lnTo>
                    <a:pt x="19506" y="2688"/>
                  </a:lnTo>
                  <a:lnTo>
                    <a:pt x="19518" y="2694"/>
                  </a:lnTo>
                  <a:lnTo>
                    <a:pt x="19529" y="2702"/>
                  </a:lnTo>
                  <a:lnTo>
                    <a:pt x="19556" y="2727"/>
                  </a:lnTo>
                  <a:lnTo>
                    <a:pt x="19573" y="2746"/>
                  </a:lnTo>
                  <a:lnTo>
                    <a:pt x="19586" y="2758"/>
                  </a:lnTo>
                  <a:lnTo>
                    <a:pt x="19597" y="2764"/>
                  </a:lnTo>
                  <a:lnTo>
                    <a:pt x="19607" y="2767"/>
                  </a:lnTo>
                  <a:lnTo>
                    <a:pt x="19633" y="2767"/>
                  </a:lnTo>
                  <a:lnTo>
                    <a:pt x="19673" y="2771"/>
                  </a:lnTo>
                  <a:lnTo>
                    <a:pt x="19687" y="2774"/>
                  </a:lnTo>
                  <a:lnTo>
                    <a:pt x="19698" y="2780"/>
                  </a:lnTo>
                  <a:lnTo>
                    <a:pt x="19715" y="2794"/>
                  </a:lnTo>
                  <a:lnTo>
                    <a:pt x="19725" y="2812"/>
                  </a:lnTo>
                  <a:lnTo>
                    <a:pt x="19732" y="2832"/>
                  </a:lnTo>
                  <a:lnTo>
                    <a:pt x="19737" y="2852"/>
                  </a:lnTo>
                  <a:lnTo>
                    <a:pt x="19743" y="2872"/>
                  </a:lnTo>
                  <a:lnTo>
                    <a:pt x="19748" y="2881"/>
                  </a:lnTo>
                  <a:lnTo>
                    <a:pt x="19754" y="2890"/>
                  </a:lnTo>
                  <a:lnTo>
                    <a:pt x="19760" y="2897"/>
                  </a:lnTo>
                  <a:lnTo>
                    <a:pt x="19769" y="2904"/>
                  </a:lnTo>
                  <a:lnTo>
                    <a:pt x="19809" y="2927"/>
                  </a:lnTo>
                  <a:lnTo>
                    <a:pt x="19825" y="2937"/>
                  </a:lnTo>
                  <a:lnTo>
                    <a:pt x="19837" y="2948"/>
                  </a:lnTo>
                  <a:lnTo>
                    <a:pt x="19846" y="2961"/>
                  </a:lnTo>
                  <a:lnTo>
                    <a:pt x="19851" y="2978"/>
                  </a:lnTo>
                  <a:lnTo>
                    <a:pt x="19852" y="3000"/>
                  </a:lnTo>
                  <a:lnTo>
                    <a:pt x="19848" y="3028"/>
                  </a:lnTo>
                  <a:lnTo>
                    <a:pt x="19843" y="3057"/>
                  </a:lnTo>
                  <a:lnTo>
                    <a:pt x="19843" y="3076"/>
                  </a:lnTo>
                  <a:lnTo>
                    <a:pt x="19851" y="3094"/>
                  </a:lnTo>
                  <a:lnTo>
                    <a:pt x="19869" y="3118"/>
                  </a:lnTo>
                  <a:lnTo>
                    <a:pt x="19887" y="3145"/>
                  </a:lnTo>
                  <a:lnTo>
                    <a:pt x="19893" y="3162"/>
                  </a:lnTo>
                  <a:lnTo>
                    <a:pt x="19896" y="3181"/>
                  </a:lnTo>
                  <a:lnTo>
                    <a:pt x="19893" y="3199"/>
                  </a:lnTo>
                  <a:lnTo>
                    <a:pt x="19887" y="3216"/>
                  </a:lnTo>
                  <a:lnTo>
                    <a:pt x="19878" y="3230"/>
                  </a:lnTo>
                  <a:lnTo>
                    <a:pt x="19868" y="3244"/>
                  </a:lnTo>
                  <a:lnTo>
                    <a:pt x="19857" y="3258"/>
                  </a:lnTo>
                  <a:lnTo>
                    <a:pt x="19848" y="3272"/>
                  </a:lnTo>
                  <a:lnTo>
                    <a:pt x="19843" y="3287"/>
                  </a:lnTo>
                  <a:lnTo>
                    <a:pt x="19843" y="3305"/>
                  </a:lnTo>
                  <a:lnTo>
                    <a:pt x="19850" y="3351"/>
                  </a:lnTo>
                  <a:lnTo>
                    <a:pt x="19852" y="3369"/>
                  </a:lnTo>
                  <a:lnTo>
                    <a:pt x="19851" y="3386"/>
                  </a:lnTo>
                  <a:lnTo>
                    <a:pt x="19846" y="3401"/>
                  </a:lnTo>
                  <a:lnTo>
                    <a:pt x="19836" y="3415"/>
                  </a:lnTo>
                  <a:lnTo>
                    <a:pt x="19819" y="3429"/>
                  </a:lnTo>
                  <a:lnTo>
                    <a:pt x="19795" y="3445"/>
                  </a:lnTo>
                  <a:lnTo>
                    <a:pt x="19773" y="3456"/>
                  </a:lnTo>
                  <a:lnTo>
                    <a:pt x="19759" y="3466"/>
                  </a:lnTo>
                  <a:lnTo>
                    <a:pt x="19750" y="3476"/>
                  </a:lnTo>
                  <a:lnTo>
                    <a:pt x="19745" y="3485"/>
                  </a:lnTo>
                  <a:lnTo>
                    <a:pt x="19739" y="3510"/>
                  </a:lnTo>
                  <a:lnTo>
                    <a:pt x="19734" y="3526"/>
                  </a:lnTo>
                  <a:lnTo>
                    <a:pt x="19727" y="3547"/>
                  </a:lnTo>
                  <a:lnTo>
                    <a:pt x="19711" y="3570"/>
                  </a:lnTo>
                  <a:lnTo>
                    <a:pt x="19704" y="3579"/>
                  </a:lnTo>
                  <a:lnTo>
                    <a:pt x="19695" y="3584"/>
                  </a:lnTo>
                  <a:lnTo>
                    <a:pt x="19674" y="3590"/>
                  </a:lnTo>
                  <a:lnTo>
                    <a:pt x="19653" y="3593"/>
                  </a:lnTo>
                  <a:lnTo>
                    <a:pt x="19632" y="3593"/>
                  </a:lnTo>
                  <a:lnTo>
                    <a:pt x="19611" y="3594"/>
                  </a:lnTo>
                  <a:lnTo>
                    <a:pt x="19592" y="3601"/>
                  </a:lnTo>
                  <a:lnTo>
                    <a:pt x="19583" y="3606"/>
                  </a:lnTo>
                  <a:lnTo>
                    <a:pt x="19575" y="3612"/>
                  </a:lnTo>
                  <a:lnTo>
                    <a:pt x="19543" y="3647"/>
                  </a:lnTo>
                  <a:lnTo>
                    <a:pt x="19530" y="3659"/>
                  </a:lnTo>
                  <a:lnTo>
                    <a:pt x="19516" y="3668"/>
                  </a:lnTo>
                  <a:lnTo>
                    <a:pt x="19501" y="3675"/>
                  </a:lnTo>
                  <a:lnTo>
                    <a:pt x="19484" y="3676"/>
                  </a:lnTo>
                  <a:lnTo>
                    <a:pt x="19462" y="3671"/>
                  </a:lnTo>
                  <a:lnTo>
                    <a:pt x="19436" y="3661"/>
                  </a:lnTo>
                  <a:lnTo>
                    <a:pt x="19409" y="3649"/>
                  </a:lnTo>
                  <a:lnTo>
                    <a:pt x="19409" y="4083"/>
                  </a:lnTo>
                  <a:lnTo>
                    <a:pt x="19409" y="4086"/>
                  </a:lnTo>
                  <a:lnTo>
                    <a:pt x="19420" y="4099"/>
                  </a:lnTo>
                  <a:lnTo>
                    <a:pt x="19434" y="4109"/>
                  </a:lnTo>
                  <a:lnTo>
                    <a:pt x="19448" y="4117"/>
                  </a:lnTo>
                  <a:lnTo>
                    <a:pt x="19465" y="4118"/>
                  </a:lnTo>
                  <a:lnTo>
                    <a:pt x="19498" y="4115"/>
                  </a:lnTo>
                  <a:lnTo>
                    <a:pt x="19530" y="4104"/>
                  </a:lnTo>
                  <a:lnTo>
                    <a:pt x="19564" y="4095"/>
                  </a:lnTo>
                  <a:lnTo>
                    <a:pt x="19597" y="4090"/>
                  </a:lnTo>
                  <a:lnTo>
                    <a:pt x="19629" y="4093"/>
                  </a:lnTo>
                  <a:lnTo>
                    <a:pt x="19660" y="4098"/>
                  </a:lnTo>
                  <a:lnTo>
                    <a:pt x="19688" y="4106"/>
                  </a:lnTo>
                  <a:lnTo>
                    <a:pt x="19715" y="4116"/>
                  </a:lnTo>
                  <a:lnTo>
                    <a:pt x="19739" y="4130"/>
                  </a:lnTo>
                  <a:lnTo>
                    <a:pt x="19761" y="4144"/>
                  </a:lnTo>
                  <a:lnTo>
                    <a:pt x="19782" y="4161"/>
                  </a:lnTo>
                  <a:lnTo>
                    <a:pt x="19800" y="4178"/>
                  </a:lnTo>
                  <a:lnTo>
                    <a:pt x="19830" y="4217"/>
                  </a:lnTo>
                  <a:lnTo>
                    <a:pt x="19842" y="4236"/>
                  </a:lnTo>
                  <a:lnTo>
                    <a:pt x="19852" y="4255"/>
                  </a:lnTo>
                  <a:lnTo>
                    <a:pt x="19861" y="4274"/>
                  </a:lnTo>
                  <a:lnTo>
                    <a:pt x="19866" y="4292"/>
                  </a:lnTo>
                  <a:lnTo>
                    <a:pt x="19871" y="4309"/>
                  </a:lnTo>
                  <a:lnTo>
                    <a:pt x="19874" y="4324"/>
                  </a:lnTo>
                  <a:lnTo>
                    <a:pt x="20236" y="4324"/>
                  </a:lnTo>
                  <a:lnTo>
                    <a:pt x="20236" y="4017"/>
                  </a:lnTo>
                  <a:lnTo>
                    <a:pt x="20238" y="4008"/>
                  </a:lnTo>
                  <a:lnTo>
                    <a:pt x="20242" y="4002"/>
                  </a:lnTo>
                  <a:lnTo>
                    <a:pt x="20248" y="3998"/>
                  </a:lnTo>
                  <a:lnTo>
                    <a:pt x="20256" y="3997"/>
                  </a:lnTo>
                  <a:lnTo>
                    <a:pt x="20264" y="3998"/>
                  </a:lnTo>
                  <a:lnTo>
                    <a:pt x="20270" y="4002"/>
                  </a:lnTo>
                  <a:lnTo>
                    <a:pt x="20274" y="4008"/>
                  </a:lnTo>
                  <a:lnTo>
                    <a:pt x="20277" y="4017"/>
                  </a:lnTo>
                  <a:lnTo>
                    <a:pt x="20277" y="4324"/>
                  </a:lnTo>
                  <a:lnTo>
                    <a:pt x="20482" y="4324"/>
                  </a:lnTo>
                  <a:lnTo>
                    <a:pt x="20482" y="3670"/>
                  </a:lnTo>
                  <a:lnTo>
                    <a:pt x="20482" y="3016"/>
                  </a:lnTo>
                  <a:lnTo>
                    <a:pt x="20024" y="3016"/>
                  </a:lnTo>
                  <a:lnTo>
                    <a:pt x="20024" y="3584"/>
                  </a:lnTo>
                  <a:lnTo>
                    <a:pt x="20024" y="4152"/>
                  </a:lnTo>
                  <a:lnTo>
                    <a:pt x="20023" y="4161"/>
                  </a:lnTo>
                  <a:lnTo>
                    <a:pt x="20018" y="4167"/>
                  </a:lnTo>
                  <a:lnTo>
                    <a:pt x="20011" y="4171"/>
                  </a:lnTo>
                  <a:lnTo>
                    <a:pt x="20005" y="4172"/>
                  </a:lnTo>
                  <a:lnTo>
                    <a:pt x="19997" y="4171"/>
                  </a:lnTo>
                  <a:lnTo>
                    <a:pt x="19991" y="4167"/>
                  </a:lnTo>
                  <a:lnTo>
                    <a:pt x="19986" y="4161"/>
                  </a:lnTo>
                  <a:lnTo>
                    <a:pt x="19984" y="4152"/>
                  </a:lnTo>
                  <a:lnTo>
                    <a:pt x="19984" y="3451"/>
                  </a:lnTo>
                  <a:lnTo>
                    <a:pt x="19984" y="2750"/>
                  </a:lnTo>
                  <a:lnTo>
                    <a:pt x="19946" y="2750"/>
                  </a:lnTo>
                  <a:lnTo>
                    <a:pt x="19939" y="2748"/>
                  </a:lnTo>
                  <a:lnTo>
                    <a:pt x="19933" y="2744"/>
                  </a:lnTo>
                  <a:lnTo>
                    <a:pt x="19928" y="2737"/>
                  </a:lnTo>
                  <a:lnTo>
                    <a:pt x="19927" y="2730"/>
                  </a:lnTo>
                  <a:lnTo>
                    <a:pt x="19927" y="2576"/>
                  </a:lnTo>
                  <a:lnTo>
                    <a:pt x="19928" y="2569"/>
                  </a:lnTo>
                  <a:lnTo>
                    <a:pt x="19933" y="2562"/>
                  </a:lnTo>
                  <a:lnTo>
                    <a:pt x="19939" y="2558"/>
                  </a:lnTo>
                  <a:lnTo>
                    <a:pt x="19946" y="2556"/>
                  </a:lnTo>
                  <a:lnTo>
                    <a:pt x="19998" y="2556"/>
                  </a:lnTo>
                  <a:lnTo>
                    <a:pt x="20041" y="2500"/>
                  </a:lnTo>
                  <a:lnTo>
                    <a:pt x="20089" y="2443"/>
                  </a:lnTo>
                  <a:lnTo>
                    <a:pt x="20116" y="2418"/>
                  </a:lnTo>
                  <a:lnTo>
                    <a:pt x="20143" y="2391"/>
                  </a:lnTo>
                  <a:lnTo>
                    <a:pt x="20201" y="2340"/>
                  </a:lnTo>
                  <a:lnTo>
                    <a:pt x="20264" y="2292"/>
                  </a:lnTo>
                  <a:lnTo>
                    <a:pt x="20331" y="2246"/>
                  </a:lnTo>
                  <a:lnTo>
                    <a:pt x="20402" y="2203"/>
                  </a:lnTo>
                  <a:lnTo>
                    <a:pt x="20477" y="2163"/>
                  </a:lnTo>
                  <a:lnTo>
                    <a:pt x="20556" y="2126"/>
                  </a:lnTo>
                  <a:lnTo>
                    <a:pt x="20638" y="2092"/>
                  </a:lnTo>
                  <a:lnTo>
                    <a:pt x="20681" y="2075"/>
                  </a:lnTo>
                  <a:lnTo>
                    <a:pt x="20724" y="2060"/>
                  </a:lnTo>
                  <a:lnTo>
                    <a:pt x="20813" y="2033"/>
                  </a:lnTo>
                  <a:lnTo>
                    <a:pt x="20904" y="2009"/>
                  </a:lnTo>
                  <a:lnTo>
                    <a:pt x="20999" y="1987"/>
                  </a:lnTo>
                  <a:lnTo>
                    <a:pt x="21095" y="1970"/>
                  </a:lnTo>
                  <a:lnTo>
                    <a:pt x="21194" y="1956"/>
                  </a:lnTo>
                  <a:lnTo>
                    <a:pt x="21194" y="1775"/>
                  </a:lnTo>
                  <a:lnTo>
                    <a:pt x="21196" y="1759"/>
                  </a:lnTo>
                  <a:lnTo>
                    <a:pt x="21200" y="1744"/>
                  </a:lnTo>
                  <a:lnTo>
                    <a:pt x="21209" y="1730"/>
                  </a:lnTo>
                  <a:lnTo>
                    <a:pt x="21219" y="1717"/>
                  </a:lnTo>
                  <a:lnTo>
                    <a:pt x="21232" y="1705"/>
                  </a:lnTo>
                  <a:lnTo>
                    <a:pt x="21247" y="1694"/>
                  </a:lnTo>
                  <a:lnTo>
                    <a:pt x="21265" y="1684"/>
                  </a:lnTo>
                  <a:lnTo>
                    <a:pt x="21285" y="1675"/>
                  </a:lnTo>
                  <a:lnTo>
                    <a:pt x="21329" y="1659"/>
                  </a:lnTo>
                  <a:lnTo>
                    <a:pt x="21378" y="1648"/>
                  </a:lnTo>
                  <a:lnTo>
                    <a:pt x="21429" y="1642"/>
                  </a:lnTo>
                  <a:lnTo>
                    <a:pt x="21483" y="1639"/>
                  </a:lnTo>
                  <a:lnTo>
                    <a:pt x="21537" y="1642"/>
                  </a:lnTo>
                  <a:lnTo>
                    <a:pt x="21590" y="1648"/>
                  </a:lnTo>
                  <a:lnTo>
                    <a:pt x="21614" y="1653"/>
                  </a:lnTo>
                  <a:lnTo>
                    <a:pt x="21638" y="1659"/>
                  </a:lnTo>
                  <a:lnTo>
                    <a:pt x="21660" y="1666"/>
                  </a:lnTo>
                  <a:lnTo>
                    <a:pt x="21682" y="1675"/>
                  </a:lnTo>
                  <a:lnTo>
                    <a:pt x="21719" y="1694"/>
                  </a:lnTo>
                  <a:lnTo>
                    <a:pt x="21747" y="1717"/>
                  </a:lnTo>
                  <a:lnTo>
                    <a:pt x="21759" y="1730"/>
                  </a:lnTo>
                  <a:lnTo>
                    <a:pt x="21767" y="1744"/>
                  </a:lnTo>
                  <a:lnTo>
                    <a:pt x="21772" y="1759"/>
                  </a:lnTo>
                  <a:lnTo>
                    <a:pt x="21773" y="1775"/>
                  </a:lnTo>
                  <a:lnTo>
                    <a:pt x="21773" y="1956"/>
                  </a:lnTo>
                  <a:lnTo>
                    <a:pt x="21872" y="1970"/>
                  </a:lnTo>
                  <a:lnTo>
                    <a:pt x="21969" y="1987"/>
                  </a:lnTo>
                  <a:lnTo>
                    <a:pt x="22063" y="2009"/>
                  </a:lnTo>
                  <a:lnTo>
                    <a:pt x="22155" y="2033"/>
                  </a:lnTo>
                  <a:lnTo>
                    <a:pt x="22244" y="2060"/>
                  </a:lnTo>
                  <a:lnTo>
                    <a:pt x="22328" y="2092"/>
                  </a:lnTo>
                  <a:lnTo>
                    <a:pt x="22412" y="2126"/>
                  </a:lnTo>
                  <a:lnTo>
                    <a:pt x="22490" y="2163"/>
                  </a:lnTo>
                  <a:lnTo>
                    <a:pt x="22566" y="2203"/>
                  </a:lnTo>
                  <a:lnTo>
                    <a:pt x="22601" y="2225"/>
                  </a:lnTo>
                  <a:lnTo>
                    <a:pt x="22636" y="2246"/>
                  </a:lnTo>
                  <a:lnTo>
                    <a:pt x="22703" y="2292"/>
                  </a:lnTo>
                  <a:lnTo>
                    <a:pt x="22766" y="2340"/>
                  </a:lnTo>
                  <a:lnTo>
                    <a:pt x="22795" y="2365"/>
                  </a:lnTo>
                  <a:lnTo>
                    <a:pt x="22825" y="2391"/>
                  </a:lnTo>
                  <a:lnTo>
                    <a:pt x="22877" y="2445"/>
                  </a:lnTo>
                  <a:lnTo>
                    <a:pt x="22926" y="2500"/>
                  </a:lnTo>
                  <a:lnTo>
                    <a:pt x="22969" y="2556"/>
                  </a:lnTo>
                  <a:lnTo>
                    <a:pt x="23021" y="2556"/>
                  </a:lnTo>
                  <a:lnTo>
                    <a:pt x="23028" y="2558"/>
                  </a:lnTo>
                  <a:lnTo>
                    <a:pt x="23035" y="2562"/>
                  </a:lnTo>
                  <a:lnTo>
                    <a:pt x="23039" y="2569"/>
                  </a:lnTo>
                  <a:lnTo>
                    <a:pt x="23040" y="2576"/>
                  </a:lnTo>
                  <a:lnTo>
                    <a:pt x="23040" y="2730"/>
                  </a:lnTo>
                  <a:lnTo>
                    <a:pt x="23039" y="2737"/>
                  </a:lnTo>
                  <a:lnTo>
                    <a:pt x="23035" y="2744"/>
                  </a:lnTo>
                  <a:lnTo>
                    <a:pt x="23028" y="2748"/>
                  </a:lnTo>
                  <a:lnTo>
                    <a:pt x="23021" y="2750"/>
                  </a:lnTo>
                  <a:lnTo>
                    <a:pt x="22982" y="2750"/>
                  </a:lnTo>
                  <a:lnTo>
                    <a:pt x="22982" y="3547"/>
                  </a:lnTo>
                  <a:lnTo>
                    <a:pt x="22982" y="4345"/>
                  </a:lnTo>
                  <a:lnTo>
                    <a:pt x="22981" y="4352"/>
                  </a:lnTo>
                  <a:lnTo>
                    <a:pt x="22977" y="4359"/>
                  </a:lnTo>
                  <a:lnTo>
                    <a:pt x="22971" y="4363"/>
                  </a:lnTo>
                  <a:lnTo>
                    <a:pt x="22963" y="4365"/>
                  </a:lnTo>
                  <a:lnTo>
                    <a:pt x="22717" y="4365"/>
                  </a:lnTo>
                  <a:lnTo>
                    <a:pt x="21733" y="4365"/>
                  </a:lnTo>
                  <a:lnTo>
                    <a:pt x="21241" y="4365"/>
                  </a:lnTo>
                  <a:lnTo>
                    <a:pt x="20749" y="4365"/>
                  </a:lnTo>
                  <a:lnTo>
                    <a:pt x="20257" y="4365"/>
                  </a:lnTo>
                  <a:lnTo>
                    <a:pt x="19865" y="4365"/>
                  </a:lnTo>
                  <a:lnTo>
                    <a:pt x="19859" y="4368"/>
                  </a:lnTo>
                  <a:lnTo>
                    <a:pt x="19852" y="4369"/>
                  </a:lnTo>
                  <a:lnTo>
                    <a:pt x="18987" y="4369"/>
                  </a:lnTo>
                  <a:lnTo>
                    <a:pt x="18122" y="4369"/>
                  </a:lnTo>
                  <a:lnTo>
                    <a:pt x="18119" y="4369"/>
                  </a:lnTo>
                  <a:lnTo>
                    <a:pt x="17558" y="4369"/>
                  </a:lnTo>
                  <a:lnTo>
                    <a:pt x="17549" y="4366"/>
                  </a:lnTo>
                  <a:lnTo>
                    <a:pt x="17543" y="4363"/>
                  </a:lnTo>
                  <a:lnTo>
                    <a:pt x="17540" y="4356"/>
                  </a:lnTo>
                  <a:lnTo>
                    <a:pt x="17539" y="4349"/>
                  </a:lnTo>
                  <a:lnTo>
                    <a:pt x="17540" y="4341"/>
                  </a:lnTo>
                  <a:lnTo>
                    <a:pt x="17543" y="4334"/>
                  </a:lnTo>
                  <a:lnTo>
                    <a:pt x="17549" y="4331"/>
                  </a:lnTo>
                  <a:lnTo>
                    <a:pt x="17558" y="4329"/>
                  </a:lnTo>
                  <a:lnTo>
                    <a:pt x="18096" y="4329"/>
                  </a:lnTo>
                  <a:lnTo>
                    <a:pt x="18092" y="4305"/>
                  </a:lnTo>
                  <a:lnTo>
                    <a:pt x="18090" y="4287"/>
                  </a:lnTo>
                  <a:lnTo>
                    <a:pt x="18094" y="4262"/>
                  </a:lnTo>
                  <a:lnTo>
                    <a:pt x="18103" y="4237"/>
                  </a:lnTo>
                  <a:lnTo>
                    <a:pt x="18116" y="4216"/>
                  </a:lnTo>
                  <a:lnTo>
                    <a:pt x="18134" y="4196"/>
                  </a:lnTo>
                  <a:lnTo>
                    <a:pt x="18155" y="4178"/>
                  </a:lnTo>
                  <a:lnTo>
                    <a:pt x="18178" y="4162"/>
                  </a:lnTo>
                  <a:lnTo>
                    <a:pt x="18230" y="4131"/>
                  </a:lnTo>
                  <a:lnTo>
                    <a:pt x="18213" y="3595"/>
                  </a:lnTo>
                  <a:lnTo>
                    <a:pt x="18197" y="3061"/>
                  </a:lnTo>
                  <a:lnTo>
                    <a:pt x="17607" y="2249"/>
                  </a:lnTo>
                  <a:lnTo>
                    <a:pt x="17579" y="2705"/>
                  </a:lnTo>
                  <a:lnTo>
                    <a:pt x="17576" y="2714"/>
                  </a:lnTo>
                  <a:lnTo>
                    <a:pt x="17571" y="2719"/>
                  </a:lnTo>
                  <a:lnTo>
                    <a:pt x="17557" y="2725"/>
                  </a:lnTo>
                  <a:lnTo>
                    <a:pt x="17551" y="2722"/>
                  </a:lnTo>
                  <a:lnTo>
                    <a:pt x="17544" y="2718"/>
                  </a:lnTo>
                  <a:lnTo>
                    <a:pt x="17540" y="2712"/>
                  </a:lnTo>
                  <a:lnTo>
                    <a:pt x="17539" y="2703"/>
                  </a:lnTo>
                  <a:lnTo>
                    <a:pt x="17570" y="2195"/>
                  </a:lnTo>
                  <a:lnTo>
                    <a:pt x="17571" y="2188"/>
                  </a:lnTo>
                  <a:lnTo>
                    <a:pt x="17597" y="1763"/>
                  </a:lnTo>
                  <a:lnTo>
                    <a:pt x="17597" y="1755"/>
                  </a:lnTo>
                  <a:lnTo>
                    <a:pt x="17640" y="1058"/>
                  </a:lnTo>
                  <a:lnTo>
                    <a:pt x="17622" y="1058"/>
                  </a:lnTo>
                  <a:lnTo>
                    <a:pt x="17615" y="1057"/>
                  </a:lnTo>
                  <a:lnTo>
                    <a:pt x="17608" y="1053"/>
                  </a:lnTo>
                  <a:lnTo>
                    <a:pt x="17604" y="1047"/>
                  </a:lnTo>
                  <a:lnTo>
                    <a:pt x="17603" y="1039"/>
                  </a:lnTo>
                  <a:lnTo>
                    <a:pt x="17603" y="943"/>
                  </a:lnTo>
                  <a:lnTo>
                    <a:pt x="17604" y="936"/>
                  </a:lnTo>
                  <a:lnTo>
                    <a:pt x="17608" y="929"/>
                  </a:lnTo>
                  <a:lnTo>
                    <a:pt x="17615" y="925"/>
                  </a:lnTo>
                  <a:lnTo>
                    <a:pt x="17622" y="924"/>
                  </a:lnTo>
                  <a:lnTo>
                    <a:pt x="18192" y="924"/>
                  </a:lnTo>
                  <a:lnTo>
                    <a:pt x="18199" y="925"/>
                  </a:lnTo>
                  <a:lnTo>
                    <a:pt x="18206" y="929"/>
                  </a:lnTo>
                  <a:lnTo>
                    <a:pt x="18211" y="936"/>
                  </a:lnTo>
                  <a:lnTo>
                    <a:pt x="18212" y="943"/>
                  </a:lnTo>
                  <a:lnTo>
                    <a:pt x="18212" y="1039"/>
                  </a:lnTo>
                  <a:lnTo>
                    <a:pt x="18211" y="1047"/>
                  </a:lnTo>
                  <a:lnTo>
                    <a:pt x="18206" y="1053"/>
                  </a:lnTo>
                  <a:lnTo>
                    <a:pt x="18199" y="1057"/>
                  </a:lnTo>
                  <a:lnTo>
                    <a:pt x="18192" y="1058"/>
                  </a:lnTo>
                  <a:lnTo>
                    <a:pt x="18174" y="1058"/>
                  </a:lnTo>
                  <a:lnTo>
                    <a:pt x="18201" y="1919"/>
                  </a:lnTo>
                  <a:lnTo>
                    <a:pt x="18930" y="1919"/>
                  </a:lnTo>
                  <a:lnTo>
                    <a:pt x="19661" y="1919"/>
                  </a:lnTo>
                  <a:lnTo>
                    <a:pt x="19698" y="1158"/>
                  </a:lnTo>
                  <a:lnTo>
                    <a:pt x="19736" y="399"/>
                  </a:lnTo>
                  <a:lnTo>
                    <a:pt x="19738" y="392"/>
                  </a:lnTo>
                  <a:lnTo>
                    <a:pt x="19742" y="386"/>
                  </a:lnTo>
                  <a:lnTo>
                    <a:pt x="19748" y="382"/>
                  </a:lnTo>
                  <a:lnTo>
                    <a:pt x="19756" y="381"/>
                  </a:lnTo>
                  <a:lnTo>
                    <a:pt x="20084" y="381"/>
                  </a:lnTo>
                  <a:lnTo>
                    <a:pt x="20092" y="382"/>
                  </a:lnTo>
                  <a:lnTo>
                    <a:pt x="20098" y="386"/>
                  </a:lnTo>
                  <a:lnTo>
                    <a:pt x="20102" y="392"/>
                  </a:lnTo>
                  <a:lnTo>
                    <a:pt x="20105" y="399"/>
                  </a:lnTo>
                  <a:lnTo>
                    <a:pt x="20142" y="1126"/>
                  </a:lnTo>
                  <a:lnTo>
                    <a:pt x="20181" y="1855"/>
                  </a:lnTo>
                  <a:lnTo>
                    <a:pt x="20179" y="1864"/>
                  </a:lnTo>
                  <a:lnTo>
                    <a:pt x="20175" y="1870"/>
                  </a:lnTo>
                  <a:lnTo>
                    <a:pt x="20169" y="1874"/>
                  </a:lnTo>
                  <a:lnTo>
                    <a:pt x="20161" y="1877"/>
                  </a:lnTo>
                  <a:lnTo>
                    <a:pt x="20147" y="1872"/>
                  </a:lnTo>
                  <a:lnTo>
                    <a:pt x="20143" y="1867"/>
                  </a:lnTo>
                  <a:lnTo>
                    <a:pt x="20141" y="1858"/>
                  </a:lnTo>
                  <a:lnTo>
                    <a:pt x="20102" y="1139"/>
                  </a:lnTo>
                  <a:lnTo>
                    <a:pt x="20065" y="420"/>
                  </a:lnTo>
                  <a:lnTo>
                    <a:pt x="19775" y="420"/>
                  </a:lnTo>
                  <a:lnTo>
                    <a:pt x="19737" y="1180"/>
                  </a:lnTo>
                  <a:lnTo>
                    <a:pt x="19700" y="1939"/>
                  </a:lnTo>
                  <a:lnTo>
                    <a:pt x="19700" y="1942"/>
                  </a:lnTo>
                  <a:lnTo>
                    <a:pt x="19698" y="1947"/>
                  </a:lnTo>
                  <a:lnTo>
                    <a:pt x="19695" y="1952"/>
                  </a:lnTo>
                  <a:lnTo>
                    <a:pt x="19688" y="1956"/>
                  </a:lnTo>
                  <a:lnTo>
                    <a:pt x="19682" y="1959"/>
                  </a:lnTo>
                  <a:lnTo>
                    <a:pt x="18942" y="1959"/>
                  </a:lnTo>
                  <a:lnTo>
                    <a:pt x="18202" y="1959"/>
                  </a:lnTo>
                  <a:lnTo>
                    <a:pt x="18221" y="2560"/>
                  </a:lnTo>
                  <a:lnTo>
                    <a:pt x="18221" y="2567"/>
                  </a:lnTo>
                  <a:lnTo>
                    <a:pt x="18244" y="3338"/>
                  </a:lnTo>
                  <a:lnTo>
                    <a:pt x="18269" y="4111"/>
                  </a:lnTo>
                  <a:lnTo>
                    <a:pt x="18320" y="4081"/>
                  </a:lnTo>
                  <a:lnTo>
                    <a:pt x="18342" y="4066"/>
                  </a:lnTo>
                  <a:lnTo>
                    <a:pt x="18361" y="4049"/>
                  </a:lnTo>
                  <a:lnTo>
                    <a:pt x="18392" y="4015"/>
                  </a:lnTo>
                  <a:lnTo>
                    <a:pt x="18419" y="3976"/>
                  </a:lnTo>
                  <a:lnTo>
                    <a:pt x="18447" y="3936"/>
                  </a:lnTo>
                  <a:lnTo>
                    <a:pt x="18475" y="3897"/>
                  </a:lnTo>
                  <a:lnTo>
                    <a:pt x="18506" y="3863"/>
                  </a:lnTo>
                  <a:lnTo>
                    <a:pt x="18524" y="3849"/>
                  </a:lnTo>
                  <a:lnTo>
                    <a:pt x="18542" y="3835"/>
                  </a:lnTo>
                  <a:lnTo>
                    <a:pt x="18562" y="3824"/>
                  </a:lnTo>
                  <a:lnTo>
                    <a:pt x="18585" y="3817"/>
                  </a:lnTo>
                  <a:lnTo>
                    <a:pt x="18610" y="3811"/>
                  </a:lnTo>
                  <a:lnTo>
                    <a:pt x="18637" y="3810"/>
                  </a:lnTo>
                  <a:lnTo>
                    <a:pt x="18656" y="3811"/>
                  </a:lnTo>
                  <a:lnTo>
                    <a:pt x="18673" y="3817"/>
                  </a:lnTo>
                  <a:lnTo>
                    <a:pt x="18702" y="3831"/>
                  </a:lnTo>
                  <a:lnTo>
                    <a:pt x="18702" y="3827"/>
                  </a:lnTo>
                  <a:lnTo>
                    <a:pt x="18702" y="3086"/>
                  </a:lnTo>
                  <a:lnTo>
                    <a:pt x="18664" y="3083"/>
                  </a:lnTo>
                  <a:lnTo>
                    <a:pt x="18625" y="3075"/>
                  </a:lnTo>
                  <a:lnTo>
                    <a:pt x="18588" y="3065"/>
                  </a:lnTo>
                  <a:lnTo>
                    <a:pt x="18553" y="3051"/>
                  </a:lnTo>
                  <a:lnTo>
                    <a:pt x="18519" y="3033"/>
                  </a:lnTo>
                  <a:lnTo>
                    <a:pt x="18488" y="3012"/>
                  </a:lnTo>
                  <a:lnTo>
                    <a:pt x="18458" y="2989"/>
                  </a:lnTo>
                  <a:lnTo>
                    <a:pt x="18431" y="2964"/>
                  </a:lnTo>
                  <a:lnTo>
                    <a:pt x="18407" y="2936"/>
                  </a:lnTo>
                  <a:lnTo>
                    <a:pt x="18385" y="2905"/>
                  </a:lnTo>
                  <a:lnTo>
                    <a:pt x="18366" y="2873"/>
                  </a:lnTo>
                  <a:lnTo>
                    <a:pt x="18349" y="2838"/>
                  </a:lnTo>
                  <a:lnTo>
                    <a:pt x="18337" y="2803"/>
                  </a:lnTo>
                  <a:lnTo>
                    <a:pt x="18328" y="2766"/>
                  </a:lnTo>
                  <a:lnTo>
                    <a:pt x="18322" y="2726"/>
                  </a:lnTo>
                  <a:lnTo>
                    <a:pt x="18320" y="2686"/>
                  </a:lnTo>
                  <a:lnTo>
                    <a:pt x="18322" y="2645"/>
                  </a:lnTo>
                  <a:lnTo>
                    <a:pt x="18328" y="2606"/>
                  </a:lnTo>
                  <a:lnTo>
                    <a:pt x="18338" y="2567"/>
                  </a:lnTo>
                  <a:lnTo>
                    <a:pt x="18352" y="2530"/>
                  </a:lnTo>
                  <a:lnTo>
                    <a:pt x="18369" y="2496"/>
                  </a:lnTo>
                  <a:lnTo>
                    <a:pt x="18388" y="2462"/>
                  </a:lnTo>
                  <a:lnTo>
                    <a:pt x="18412" y="2432"/>
                  </a:lnTo>
                  <a:lnTo>
                    <a:pt x="18438" y="2404"/>
                  </a:lnTo>
                  <a:lnTo>
                    <a:pt x="18466" y="2377"/>
                  </a:lnTo>
                  <a:lnTo>
                    <a:pt x="18497" y="2354"/>
                  </a:lnTo>
                  <a:lnTo>
                    <a:pt x="18530" y="2335"/>
                  </a:lnTo>
                  <a:lnTo>
                    <a:pt x="18565" y="2317"/>
                  </a:lnTo>
                  <a:lnTo>
                    <a:pt x="18602" y="2304"/>
                  </a:lnTo>
                  <a:lnTo>
                    <a:pt x="18640" y="2294"/>
                  </a:lnTo>
                  <a:lnTo>
                    <a:pt x="18680" y="2287"/>
                  </a:lnTo>
                  <a:lnTo>
                    <a:pt x="18721" y="2286"/>
                  </a:lnTo>
                  <a:lnTo>
                    <a:pt x="18764" y="2287"/>
                  </a:lnTo>
                  <a:lnTo>
                    <a:pt x="18803" y="2294"/>
                  </a:lnTo>
                  <a:lnTo>
                    <a:pt x="18842" y="2304"/>
                  </a:lnTo>
                  <a:lnTo>
                    <a:pt x="18879" y="2318"/>
                  </a:lnTo>
                  <a:lnTo>
                    <a:pt x="18914" y="2335"/>
                  </a:lnTo>
                  <a:lnTo>
                    <a:pt x="18947" y="2355"/>
                  </a:lnTo>
                  <a:lnTo>
                    <a:pt x="18978" y="2378"/>
                  </a:lnTo>
                  <a:lnTo>
                    <a:pt x="19007" y="2404"/>
                  </a:lnTo>
                  <a:lnTo>
                    <a:pt x="19033" y="2433"/>
                  </a:lnTo>
                  <a:lnTo>
                    <a:pt x="19056" y="2464"/>
                  </a:lnTo>
                  <a:lnTo>
                    <a:pt x="19075" y="2497"/>
                  </a:lnTo>
                  <a:lnTo>
                    <a:pt x="19092" y="2532"/>
                  </a:lnTo>
                  <a:lnTo>
                    <a:pt x="19106" y="2569"/>
                  </a:lnTo>
                  <a:lnTo>
                    <a:pt x="19115" y="2607"/>
                  </a:lnTo>
                  <a:lnTo>
                    <a:pt x="19121" y="2645"/>
                  </a:lnTo>
                  <a:lnTo>
                    <a:pt x="19124" y="2686"/>
                  </a:lnTo>
                  <a:lnTo>
                    <a:pt x="19121" y="2695"/>
                  </a:lnTo>
                  <a:lnTo>
                    <a:pt x="19118" y="2702"/>
                  </a:lnTo>
                  <a:lnTo>
                    <a:pt x="19111" y="2705"/>
                  </a:lnTo>
                  <a:lnTo>
                    <a:pt x="19103" y="2707"/>
                  </a:lnTo>
                  <a:lnTo>
                    <a:pt x="19096" y="2705"/>
                  </a:lnTo>
                  <a:lnTo>
                    <a:pt x="19089" y="2702"/>
                  </a:lnTo>
                  <a:lnTo>
                    <a:pt x="19085" y="2695"/>
                  </a:lnTo>
                  <a:lnTo>
                    <a:pt x="19083" y="2686"/>
                  </a:lnTo>
                  <a:lnTo>
                    <a:pt x="19082" y="2650"/>
                  </a:lnTo>
                  <a:lnTo>
                    <a:pt x="19076" y="2615"/>
                  </a:lnTo>
                  <a:lnTo>
                    <a:pt x="19067" y="2580"/>
                  </a:lnTo>
                  <a:lnTo>
                    <a:pt x="19055" y="2547"/>
                  </a:lnTo>
                  <a:lnTo>
                    <a:pt x="19041" y="2515"/>
                  </a:lnTo>
                  <a:lnTo>
                    <a:pt x="19023" y="2485"/>
                  </a:lnTo>
                  <a:lnTo>
                    <a:pt x="19002" y="2457"/>
                  </a:lnTo>
                  <a:lnTo>
                    <a:pt x="18978" y="2432"/>
                  </a:lnTo>
                  <a:lnTo>
                    <a:pt x="18952" y="2409"/>
                  </a:lnTo>
                  <a:lnTo>
                    <a:pt x="18925" y="2388"/>
                  </a:lnTo>
                  <a:lnTo>
                    <a:pt x="18894" y="2369"/>
                  </a:lnTo>
                  <a:lnTo>
                    <a:pt x="18864" y="2354"/>
                  </a:lnTo>
                  <a:lnTo>
                    <a:pt x="18830" y="2342"/>
                  </a:lnTo>
                  <a:lnTo>
                    <a:pt x="18796" y="2333"/>
                  </a:lnTo>
                  <a:lnTo>
                    <a:pt x="18758" y="2328"/>
                  </a:lnTo>
                  <a:lnTo>
                    <a:pt x="18721" y="2326"/>
                  </a:lnTo>
                  <a:lnTo>
                    <a:pt x="18684" y="2328"/>
                  </a:lnTo>
                  <a:lnTo>
                    <a:pt x="18648" y="2333"/>
                  </a:lnTo>
                  <a:lnTo>
                    <a:pt x="18614" y="2342"/>
                  </a:lnTo>
                  <a:lnTo>
                    <a:pt x="18580" y="2354"/>
                  </a:lnTo>
                  <a:lnTo>
                    <a:pt x="18549" y="2369"/>
                  </a:lnTo>
                  <a:lnTo>
                    <a:pt x="18520" y="2387"/>
                  </a:lnTo>
                  <a:lnTo>
                    <a:pt x="18492" y="2407"/>
                  </a:lnTo>
                  <a:lnTo>
                    <a:pt x="18466" y="2432"/>
                  </a:lnTo>
                  <a:lnTo>
                    <a:pt x="18443" y="2457"/>
                  </a:lnTo>
                  <a:lnTo>
                    <a:pt x="18421" y="2484"/>
                  </a:lnTo>
                  <a:lnTo>
                    <a:pt x="18403" y="2515"/>
                  </a:lnTo>
                  <a:lnTo>
                    <a:pt x="18388" y="2546"/>
                  </a:lnTo>
                  <a:lnTo>
                    <a:pt x="18381" y="2562"/>
                  </a:lnTo>
                  <a:lnTo>
                    <a:pt x="18376" y="2579"/>
                  </a:lnTo>
                  <a:lnTo>
                    <a:pt x="18367" y="2613"/>
                  </a:lnTo>
                  <a:lnTo>
                    <a:pt x="18362" y="2649"/>
                  </a:lnTo>
                  <a:lnTo>
                    <a:pt x="18360" y="2686"/>
                  </a:lnTo>
                  <a:lnTo>
                    <a:pt x="18362" y="2722"/>
                  </a:lnTo>
                  <a:lnTo>
                    <a:pt x="18367" y="2757"/>
                  </a:lnTo>
                  <a:lnTo>
                    <a:pt x="18375" y="2790"/>
                  </a:lnTo>
                  <a:lnTo>
                    <a:pt x="18387" y="2823"/>
                  </a:lnTo>
                  <a:lnTo>
                    <a:pt x="18401" y="2854"/>
                  </a:lnTo>
                  <a:lnTo>
                    <a:pt x="18417" y="2882"/>
                  </a:lnTo>
                  <a:lnTo>
                    <a:pt x="18438" y="2910"/>
                  </a:lnTo>
                  <a:lnTo>
                    <a:pt x="18460" y="2936"/>
                  </a:lnTo>
                  <a:lnTo>
                    <a:pt x="18484" y="2959"/>
                  </a:lnTo>
                  <a:lnTo>
                    <a:pt x="18510" y="2979"/>
                  </a:lnTo>
                  <a:lnTo>
                    <a:pt x="18538" y="2997"/>
                  </a:lnTo>
                  <a:lnTo>
                    <a:pt x="18569" y="3014"/>
                  </a:lnTo>
                  <a:lnTo>
                    <a:pt x="18599" y="3026"/>
                  </a:lnTo>
                  <a:lnTo>
                    <a:pt x="18633" y="3037"/>
                  </a:lnTo>
                  <a:lnTo>
                    <a:pt x="18667" y="3043"/>
                  </a:lnTo>
                  <a:lnTo>
                    <a:pt x="18702" y="3047"/>
                  </a:lnTo>
                  <a:lnTo>
                    <a:pt x="18702" y="3011"/>
                  </a:lnTo>
                  <a:lnTo>
                    <a:pt x="18701" y="3008"/>
                  </a:lnTo>
                  <a:lnTo>
                    <a:pt x="18597" y="2865"/>
                  </a:lnTo>
                  <a:lnTo>
                    <a:pt x="18593" y="2858"/>
                  </a:lnTo>
                  <a:lnTo>
                    <a:pt x="18593" y="2850"/>
                  </a:lnTo>
                  <a:lnTo>
                    <a:pt x="18596" y="2842"/>
                  </a:lnTo>
                  <a:lnTo>
                    <a:pt x="18601" y="2837"/>
                  </a:lnTo>
                  <a:lnTo>
                    <a:pt x="18607" y="2835"/>
                  </a:lnTo>
                  <a:lnTo>
                    <a:pt x="18615" y="2833"/>
                  </a:lnTo>
                  <a:lnTo>
                    <a:pt x="18623" y="2836"/>
                  </a:lnTo>
                  <a:lnTo>
                    <a:pt x="18629" y="2842"/>
                  </a:lnTo>
                  <a:lnTo>
                    <a:pt x="18702" y="2943"/>
                  </a:lnTo>
                  <a:lnTo>
                    <a:pt x="18702" y="2901"/>
                  </a:lnTo>
                  <a:lnTo>
                    <a:pt x="18702" y="2895"/>
                  </a:lnTo>
                  <a:lnTo>
                    <a:pt x="18702" y="2744"/>
                  </a:lnTo>
                  <a:lnTo>
                    <a:pt x="18606" y="2611"/>
                  </a:lnTo>
                  <a:lnTo>
                    <a:pt x="18602" y="2603"/>
                  </a:lnTo>
                  <a:lnTo>
                    <a:pt x="18602" y="2595"/>
                  </a:lnTo>
                  <a:lnTo>
                    <a:pt x="18606" y="2588"/>
                  </a:lnTo>
                  <a:lnTo>
                    <a:pt x="18611" y="2583"/>
                  </a:lnTo>
                  <a:lnTo>
                    <a:pt x="18617" y="2580"/>
                  </a:lnTo>
                  <a:lnTo>
                    <a:pt x="18625" y="2579"/>
                  </a:lnTo>
                  <a:lnTo>
                    <a:pt x="18633" y="2581"/>
                  </a:lnTo>
                  <a:lnTo>
                    <a:pt x="18639" y="2588"/>
                  </a:lnTo>
                  <a:lnTo>
                    <a:pt x="18702" y="2675"/>
                  </a:lnTo>
                  <a:lnTo>
                    <a:pt x="18702" y="2599"/>
                  </a:lnTo>
                  <a:lnTo>
                    <a:pt x="18705" y="2590"/>
                  </a:lnTo>
                  <a:lnTo>
                    <a:pt x="18708" y="2584"/>
                  </a:lnTo>
                  <a:lnTo>
                    <a:pt x="18715" y="2580"/>
                  </a:lnTo>
                  <a:lnTo>
                    <a:pt x="18723" y="2579"/>
                  </a:lnTo>
                  <a:lnTo>
                    <a:pt x="18730" y="2580"/>
                  </a:lnTo>
                  <a:lnTo>
                    <a:pt x="18737" y="2584"/>
                  </a:lnTo>
                  <a:lnTo>
                    <a:pt x="18741" y="2590"/>
                  </a:lnTo>
                  <a:lnTo>
                    <a:pt x="18742" y="2599"/>
                  </a:lnTo>
                  <a:lnTo>
                    <a:pt x="18742" y="2734"/>
                  </a:lnTo>
                  <a:lnTo>
                    <a:pt x="18742" y="2740"/>
                  </a:lnTo>
                  <a:lnTo>
                    <a:pt x="18742" y="2836"/>
                  </a:lnTo>
                  <a:lnTo>
                    <a:pt x="18828" y="2718"/>
                  </a:lnTo>
                  <a:lnTo>
                    <a:pt x="18834" y="2712"/>
                  </a:lnTo>
                  <a:lnTo>
                    <a:pt x="18842" y="2711"/>
                  </a:lnTo>
                  <a:lnTo>
                    <a:pt x="18856" y="2714"/>
                  </a:lnTo>
                  <a:lnTo>
                    <a:pt x="18861" y="2719"/>
                  </a:lnTo>
                  <a:lnTo>
                    <a:pt x="18864" y="2726"/>
                  </a:lnTo>
                  <a:lnTo>
                    <a:pt x="18864" y="2734"/>
                  </a:lnTo>
                  <a:lnTo>
                    <a:pt x="18860" y="2743"/>
                  </a:lnTo>
                  <a:close/>
                  <a:moveTo>
                    <a:pt x="20006" y="2597"/>
                  </a:moveTo>
                  <a:lnTo>
                    <a:pt x="19966" y="2597"/>
                  </a:lnTo>
                  <a:lnTo>
                    <a:pt x="19966" y="2709"/>
                  </a:lnTo>
                  <a:lnTo>
                    <a:pt x="20724" y="2709"/>
                  </a:lnTo>
                  <a:lnTo>
                    <a:pt x="21483" y="2709"/>
                  </a:lnTo>
                  <a:lnTo>
                    <a:pt x="22241" y="2709"/>
                  </a:lnTo>
                  <a:lnTo>
                    <a:pt x="23000" y="2709"/>
                  </a:lnTo>
                  <a:lnTo>
                    <a:pt x="23000" y="2597"/>
                  </a:lnTo>
                  <a:lnTo>
                    <a:pt x="22962" y="2597"/>
                  </a:lnTo>
                  <a:lnTo>
                    <a:pt x="22954" y="2597"/>
                  </a:lnTo>
                  <a:lnTo>
                    <a:pt x="22218" y="2597"/>
                  </a:lnTo>
                  <a:lnTo>
                    <a:pt x="21483" y="2597"/>
                  </a:lnTo>
                  <a:lnTo>
                    <a:pt x="20747" y="2597"/>
                  </a:lnTo>
                  <a:lnTo>
                    <a:pt x="20013" y="2597"/>
                  </a:lnTo>
                  <a:lnTo>
                    <a:pt x="20006" y="2597"/>
                  </a:lnTo>
                  <a:close/>
                  <a:moveTo>
                    <a:pt x="19369" y="3221"/>
                  </a:moveTo>
                  <a:lnTo>
                    <a:pt x="19369" y="3011"/>
                  </a:lnTo>
                  <a:lnTo>
                    <a:pt x="19370" y="3002"/>
                  </a:lnTo>
                  <a:lnTo>
                    <a:pt x="19375" y="2996"/>
                  </a:lnTo>
                  <a:lnTo>
                    <a:pt x="19382" y="2992"/>
                  </a:lnTo>
                  <a:lnTo>
                    <a:pt x="19388" y="2991"/>
                  </a:lnTo>
                  <a:lnTo>
                    <a:pt x="19396" y="2992"/>
                  </a:lnTo>
                  <a:lnTo>
                    <a:pt x="19402" y="2996"/>
                  </a:lnTo>
                  <a:lnTo>
                    <a:pt x="19407" y="3002"/>
                  </a:lnTo>
                  <a:lnTo>
                    <a:pt x="19409" y="3011"/>
                  </a:lnTo>
                  <a:lnTo>
                    <a:pt x="19409" y="3162"/>
                  </a:lnTo>
                  <a:lnTo>
                    <a:pt x="19442" y="3116"/>
                  </a:lnTo>
                  <a:lnTo>
                    <a:pt x="19448" y="3111"/>
                  </a:lnTo>
                  <a:lnTo>
                    <a:pt x="19456" y="3108"/>
                  </a:lnTo>
                  <a:lnTo>
                    <a:pt x="19470" y="3112"/>
                  </a:lnTo>
                  <a:lnTo>
                    <a:pt x="19475" y="3117"/>
                  </a:lnTo>
                  <a:lnTo>
                    <a:pt x="19478" y="3124"/>
                  </a:lnTo>
                  <a:lnTo>
                    <a:pt x="19478" y="3131"/>
                  </a:lnTo>
                  <a:lnTo>
                    <a:pt x="19474" y="3140"/>
                  </a:lnTo>
                  <a:lnTo>
                    <a:pt x="19409" y="3231"/>
                  </a:lnTo>
                  <a:lnTo>
                    <a:pt x="19409" y="3413"/>
                  </a:lnTo>
                  <a:lnTo>
                    <a:pt x="19432" y="3381"/>
                  </a:lnTo>
                  <a:lnTo>
                    <a:pt x="19438" y="3374"/>
                  </a:lnTo>
                  <a:lnTo>
                    <a:pt x="19446" y="3372"/>
                  </a:lnTo>
                  <a:lnTo>
                    <a:pt x="19460" y="3375"/>
                  </a:lnTo>
                  <a:lnTo>
                    <a:pt x="19465" y="3382"/>
                  </a:lnTo>
                  <a:lnTo>
                    <a:pt x="19468" y="3388"/>
                  </a:lnTo>
                  <a:lnTo>
                    <a:pt x="19468" y="3396"/>
                  </a:lnTo>
                  <a:lnTo>
                    <a:pt x="19464" y="3404"/>
                  </a:lnTo>
                  <a:lnTo>
                    <a:pt x="19409" y="3480"/>
                  </a:lnTo>
                  <a:lnTo>
                    <a:pt x="19409" y="3491"/>
                  </a:lnTo>
                  <a:lnTo>
                    <a:pt x="19409" y="3498"/>
                  </a:lnTo>
                  <a:lnTo>
                    <a:pt x="19409" y="3608"/>
                  </a:lnTo>
                  <a:lnTo>
                    <a:pt x="19425" y="3613"/>
                  </a:lnTo>
                  <a:lnTo>
                    <a:pt x="19441" y="3620"/>
                  </a:lnTo>
                  <a:lnTo>
                    <a:pt x="19455" y="3627"/>
                  </a:lnTo>
                  <a:lnTo>
                    <a:pt x="19468" y="3632"/>
                  </a:lnTo>
                  <a:lnTo>
                    <a:pt x="19480" y="3635"/>
                  </a:lnTo>
                  <a:lnTo>
                    <a:pt x="19488" y="3635"/>
                  </a:lnTo>
                  <a:lnTo>
                    <a:pt x="19494" y="3632"/>
                  </a:lnTo>
                  <a:lnTo>
                    <a:pt x="19501" y="3630"/>
                  </a:lnTo>
                  <a:lnTo>
                    <a:pt x="19509" y="3625"/>
                  </a:lnTo>
                  <a:lnTo>
                    <a:pt x="19525" y="3608"/>
                  </a:lnTo>
                  <a:lnTo>
                    <a:pt x="19547" y="3585"/>
                  </a:lnTo>
                  <a:lnTo>
                    <a:pt x="19562" y="3570"/>
                  </a:lnTo>
                  <a:lnTo>
                    <a:pt x="19577" y="3562"/>
                  </a:lnTo>
                  <a:lnTo>
                    <a:pt x="19591" y="3558"/>
                  </a:lnTo>
                  <a:lnTo>
                    <a:pt x="19620" y="3556"/>
                  </a:lnTo>
                  <a:lnTo>
                    <a:pt x="19639" y="3554"/>
                  </a:lnTo>
                  <a:lnTo>
                    <a:pt x="19664" y="3552"/>
                  </a:lnTo>
                  <a:lnTo>
                    <a:pt x="19679" y="3544"/>
                  </a:lnTo>
                  <a:lnTo>
                    <a:pt x="19684" y="3539"/>
                  </a:lnTo>
                  <a:lnTo>
                    <a:pt x="19688" y="3533"/>
                  </a:lnTo>
                  <a:lnTo>
                    <a:pt x="19695" y="3517"/>
                  </a:lnTo>
                  <a:lnTo>
                    <a:pt x="19700" y="3499"/>
                  </a:lnTo>
                  <a:lnTo>
                    <a:pt x="19705" y="3479"/>
                  </a:lnTo>
                  <a:lnTo>
                    <a:pt x="19714" y="3460"/>
                  </a:lnTo>
                  <a:lnTo>
                    <a:pt x="19728" y="3441"/>
                  </a:lnTo>
                  <a:lnTo>
                    <a:pt x="19737" y="3432"/>
                  </a:lnTo>
                  <a:lnTo>
                    <a:pt x="19748" y="3424"/>
                  </a:lnTo>
                  <a:lnTo>
                    <a:pt x="19792" y="3398"/>
                  </a:lnTo>
                  <a:lnTo>
                    <a:pt x="19804" y="3391"/>
                  </a:lnTo>
                  <a:lnTo>
                    <a:pt x="19810" y="3383"/>
                  </a:lnTo>
                  <a:lnTo>
                    <a:pt x="19813" y="3373"/>
                  </a:lnTo>
                  <a:lnTo>
                    <a:pt x="19811" y="3360"/>
                  </a:lnTo>
                  <a:lnTo>
                    <a:pt x="19804" y="3310"/>
                  </a:lnTo>
                  <a:lnTo>
                    <a:pt x="19804" y="3286"/>
                  </a:lnTo>
                  <a:lnTo>
                    <a:pt x="19807" y="3265"/>
                  </a:lnTo>
                  <a:lnTo>
                    <a:pt x="19816" y="3248"/>
                  </a:lnTo>
                  <a:lnTo>
                    <a:pt x="19827" y="3232"/>
                  </a:lnTo>
                  <a:lnTo>
                    <a:pt x="19847" y="3207"/>
                  </a:lnTo>
                  <a:lnTo>
                    <a:pt x="19854" y="3194"/>
                  </a:lnTo>
                  <a:lnTo>
                    <a:pt x="19856" y="3181"/>
                  </a:lnTo>
                  <a:lnTo>
                    <a:pt x="19854" y="3164"/>
                  </a:lnTo>
                  <a:lnTo>
                    <a:pt x="19850" y="3158"/>
                  </a:lnTo>
                  <a:lnTo>
                    <a:pt x="19846" y="3152"/>
                  </a:lnTo>
                  <a:lnTo>
                    <a:pt x="19824" y="3126"/>
                  </a:lnTo>
                  <a:lnTo>
                    <a:pt x="19814" y="3109"/>
                  </a:lnTo>
                  <a:lnTo>
                    <a:pt x="19806" y="3088"/>
                  </a:lnTo>
                  <a:lnTo>
                    <a:pt x="19805" y="3060"/>
                  </a:lnTo>
                  <a:lnTo>
                    <a:pt x="19806" y="3042"/>
                  </a:lnTo>
                  <a:lnTo>
                    <a:pt x="19809" y="3020"/>
                  </a:lnTo>
                  <a:lnTo>
                    <a:pt x="19811" y="3005"/>
                  </a:lnTo>
                  <a:lnTo>
                    <a:pt x="19811" y="2992"/>
                  </a:lnTo>
                  <a:lnTo>
                    <a:pt x="19809" y="2982"/>
                  </a:lnTo>
                  <a:lnTo>
                    <a:pt x="19805" y="2973"/>
                  </a:lnTo>
                  <a:lnTo>
                    <a:pt x="19792" y="2960"/>
                  </a:lnTo>
                  <a:lnTo>
                    <a:pt x="19775" y="2951"/>
                  </a:lnTo>
                  <a:lnTo>
                    <a:pt x="19757" y="2942"/>
                  </a:lnTo>
                  <a:lnTo>
                    <a:pt x="19738" y="2930"/>
                  </a:lnTo>
                  <a:lnTo>
                    <a:pt x="19720" y="2913"/>
                  </a:lnTo>
                  <a:lnTo>
                    <a:pt x="19712" y="2900"/>
                  </a:lnTo>
                  <a:lnTo>
                    <a:pt x="19706" y="2884"/>
                  </a:lnTo>
                  <a:lnTo>
                    <a:pt x="19691" y="2837"/>
                  </a:lnTo>
                  <a:lnTo>
                    <a:pt x="19686" y="2824"/>
                  </a:lnTo>
                  <a:lnTo>
                    <a:pt x="19683" y="2819"/>
                  </a:lnTo>
                  <a:lnTo>
                    <a:pt x="19680" y="2815"/>
                  </a:lnTo>
                  <a:lnTo>
                    <a:pt x="19671" y="2812"/>
                  </a:lnTo>
                  <a:lnTo>
                    <a:pt x="19657" y="2810"/>
                  </a:lnTo>
                  <a:lnTo>
                    <a:pt x="19607" y="2806"/>
                  </a:lnTo>
                  <a:lnTo>
                    <a:pt x="19591" y="2803"/>
                  </a:lnTo>
                  <a:lnTo>
                    <a:pt x="19577" y="2799"/>
                  </a:lnTo>
                  <a:lnTo>
                    <a:pt x="19555" y="2786"/>
                  </a:lnTo>
                  <a:lnTo>
                    <a:pt x="19547" y="2778"/>
                  </a:lnTo>
                  <a:lnTo>
                    <a:pt x="19539" y="2769"/>
                  </a:lnTo>
                  <a:lnTo>
                    <a:pt x="19527" y="2753"/>
                  </a:lnTo>
                  <a:lnTo>
                    <a:pt x="19514" y="2739"/>
                  </a:lnTo>
                  <a:lnTo>
                    <a:pt x="19507" y="2734"/>
                  </a:lnTo>
                  <a:lnTo>
                    <a:pt x="19500" y="2730"/>
                  </a:lnTo>
                  <a:lnTo>
                    <a:pt x="19491" y="2727"/>
                  </a:lnTo>
                  <a:lnTo>
                    <a:pt x="19479" y="2728"/>
                  </a:lnTo>
                  <a:lnTo>
                    <a:pt x="19452" y="2736"/>
                  </a:lnTo>
                  <a:lnTo>
                    <a:pt x="19421" y="2749"/>
                  </a:lnTo>
                  <a:lnTo>
                    <a:pt x="19405" y="2754"/>
                  </a:lnTo>
                  <a:lnTo>
                    <a:pt x="19388" y="2755"/>
                  </a:lnTo>
                  <a:lnTo>
                    <a:pt x="19366" y="2753"/>
                  </a:lnTo>
                  <a:lnTo>
                    <a:pt x="19347" y="2746"/>
                  </a:lnTo>
                  <a:lnTo>
                    <a:pt x="19316" y="2731"/>
                  </a:lnTo>
                  <a:lnTo>
                    <a:pt x="19301" y="2727"/>
                  </a:lnTo>
                  <a:lnTo>
                    <a:pt x="19293" y="2726"/>
                  </a:lnTo>
                  <a:lnTo>
                    <a:pt x="19287" y="2727"/>
                  </a:lnTo>
                  <a:lnTo>
                    <a:pt x="19270" y="2736"/>
                  </a:lnTo>
                  <a:lnTo>
                    <a:pt x="19251" y="2753"/>
                  </a:lnTo>
                  <a:lnTo>
                    <a:pt x="19230" y="2776"/>
                  </a:lnTo>
                  <a:lnTo>
                    <a:pt x="19214" y="2791"/>
                  </a:lnTo>
                  <a:lnTo>
                    <a:pt x="19200" y="2799"/>
                  </a:lnTo>
                  <a:lnTo>
                    <a:pt x="19187" y="2804"/>
                  </a:lnTo>
                  <a:lnTo>
                    <a:pt x="19157" y="2805"/>
                  </a:lnTo>
                  <a:lnTo>
                    <a:pt x="19138" y="2806"/>
                  </a:lnTo>
                  <a:lnTo>
                    <a:pt x="19112" y="2810"/>
                  </a:lnTo>
                  <a:lnTo>
                    <a:pt x="19098" y="2817"/>
                  </a:lnTo>
                  <a:lnTo>
                    <a:pt x="19093" y="2822"/>
                  </a:lnTo>
                  <a:lnTo>
                    <a:pt x="19088" y="2828"/>
                  </a:lnTo>
                  <a:lnTo>
                    <a:pt x="19082" y="2844"/>
                  </a:lnTo>
                  <a:lnTo>
                    <a:pt x="19078" y="2863"/>
                  </a:lnTo>
                  <a:lnTo>
                    <a:pt x="19071" y="2882"/>
                  </a:lnTo>
                  <a:lnTo>
                    <a:pt x="19064" y="2902"/>
                  </a:lnTo>
                  <a:lnTo>
                    <a:pt x="19050" y="2920"/>
                  </a:lnTo>
                  <a:lnTo>
                    <a:pt x="19041" y="2929"/>
                  </a:lnTo>
                  <a:lnTo>
                    <a:pt x="19029" y="2937"/>
                  </a:lnTo>
                  <a:lnTo>
                    <a:pt x="18985" y="2962"/>
                  </a:lnTo>
                  <a:lnTo>
                    <a:pt x="18974" y="2970"/>
                  </a:lnTo>
                  <a:lnTo>
                    <a:pt x="18967" y="2978"/>
                  </a:lnTo>
                  <a:lnTo>
                    <a:pt x="18965" y="2988"/>
                  </a:lnTo>
                  <a:lnTo>
                    <a:pt x="18966" y="3002"/>
                  </a:lnTo>
                  <a:lnTo>
                    <a:pt x="18974" y="3052"/>
                  </a:lnTo>
                  <a:lnTo>
                    <a:pt x="18974" y="3079"/>
                  </a:lnTo>
                  <a:lnTo>
                    <a:pt x="18967" y="3101"/>
                  </a:lnTo>
                  <a:lnTo>
                    <a:pt x="18956" y="3121"/>
                  </a:lnTo>
                  <a:lnTo>
                    <a:pt x="18941" y="3143"/>
                  </a:lnTo>
                  <a:lnTo>
                    <a:pt x="18926" y="3164"/>
                  </a:lnTo>
                  <a:lnTo>
                    <a:pt x="18923" y="3172"/>
                  </a:lnTo>
                  <a:lnTo>
                    <a:pt x="18921" y="3181"/>
                  </a:lnTo>
                  <a:lnTo>
                    <a:pt x="18924" y="3196"/>
                  </a:lnTo>
                  <a:lnTo>
                    <a:pt x="18928" y="3204"/>
                  </a:lnTo>
                  <a:lnTo>
                    <a:pt x="18932" y="3211"/>
                  </a:lnTo>
                  <a:lnTo>
                    <a:pt x="18953" y="3235"/>
                  </a:lnTo>
                  <a:lnTo>
                    <a:pt x="18964" y="3251"/>
                  </a:lnTo>
                  <a:lnTo>
                    <a:pt x="18970" y="3273"/>
                  </a:lnTo>
                  <a:lnTo>
                    <a:pt x="18973" y="3303"/>
                  </a:lnTo>
                  <a:lnTo>
                    <a:pt x="18971" y="3320"/>
                  </a:lnTo>
                  <a:lnTo>
                    <a:pt x="18969" y="3341"/>
                  </a:lnTo>
                  <a:lnTo>
                    <a:pt x="18966" y="3356"/>
                  </a:lnTo>
                  <a:lnTo>
                    <a:pt x="18966" y="3369"/>
                  </a:lnTo>
                  <a:lnTo>
                    <a:pt x="18969" y="3381"/>
                  </a:lnTo>
                  <a:lnTo>
                    <a:pt x="18973" y="3388"/>
                  </a:lnTo>
                  <a:lnTo>
                    <a:pt x="18984" y="3401"/>
                  </a:lnTo>
                  <a:lnTo>
                    <a:pt x="19001" y="3410"/>
                  </a:lnTo>
                  <a:lnTo>
                    <a:pt x="19020" y="3419"/>
                  </a:lnTo>
                  <a:lnTo>
                    <a:pt x="19039" y="3430"/>
                  </a:lnTo>
                  <a:lnTo>
                    <a:pt x="19057" y="3448"/>
                  </a:lnTo>
                  <a:lnTo>
                    <a:pt x="19065" y="3461"/>
                  </a:lnTo>
                  <a:lnTo>
                    <a:pt x="19071" y="3476"/>
                  </a:lnTo>
                  <a:lnTo>
                    <a:pt x="19085" y="3524"/>
                  </a:lnTo>
                  <a:lnTo>
                    <a:pt x="19091" y="3538"/>
                  </a:lnTo>
                  <a:lnTo>
                    <a:pt x="19093" y="3542"/>
                  </a:lnTo>
                  <a:lnTo>
                    <a:pt x="19097" y="3546"/>
                  </a:lnTo>
                  <a:lnTo>
                    <a:pt x="19106" y="3549"/>
                  </a:lnTo>
                  <a:lnTo>
                    <a:pt x="19120" y="3551"/>
                  </a:lnTo>
                  <a:lnTo>
                    <a:pt x="19170" y="3556"/>
                  </a:lnTo>
                  <a:lnTo>
                    <a:pt x="19187" y="3558"/>
                  </a:lnTo>
                  <a:lnTo>
                    <a:pt x="19201" y="3562"/>
                  </a:lnTo>
                  <a:lnTo>
                    <a:pt x="19221" y="3576"/>
                  </a:lnTo>
                  <a:lnTo>
                    <a:pt x="19230" y="3584"/>
                  </a:lnTo>
                  <a:lnTo>
                    <a:pt x="19238" y="3592"/>
                  </a:lnTo>
                  <a:lnTo>
                    <a:pt x="19251" y="3608"/>
                  </a:lnTo>
                  <a:lnTo>
                    <a:pt x="19262" y="3622"/>
                  </a:lnTo>
                  <a:lnTo>
                    <a:pt x="19270" y="3627"/>
                  </a:lnTo>
                  <a:lnTo>
                    <a:pt x="19278" y="3631"/>
                  </a:lnTo>
                  <a:lnTo>
                    <a:pt x="19287" y="3634"/>
                  </a:lnTo>
                  <a:lnTo>
                    <a:pt x="19297" y="3634"/>
                  </a:lnTo>
                  <a:lnTo>
                    <a:pt x="19325" y="3625"/>
                  </a:lnTo>
                  <a:lnTo>
                    <a:pt x="19347" y="3616"/>
                  </a:lnTo>
                  <a:lnTo>
                    <a:pt x="19369" y="3608"/>
                  </a:lnTo>
                  <a:lnTo>
                    <a:pt x="19369" y="3506"/>
                  </a:lnTo>
                  <a:lnTo>
                    <a:pt x="19364" y="3502"/>
                  </a:lnTo>
                  <a:lnTo>
                    <a:pt x="19360" y="3498"/>
                  </a:lnTo>
                  <a:lnTo>
                    <a:pt x="19359" y="3487"/>
                  </a:lnTo>
                  <a:lnTo>
                    <a:pt x="19264" y="3358"/>
                  </a:lnTo>
                  <a:lnTo>
                    <a:pt x="19260" y="3349"/>
                  </a:lnTo>
                  <a:lnTo>
                    <a:pt x="19260" y="3341"/>
                  </a:lnTo>
                  <a:lnTo>
                    <a:pt x="19264" y="3335"/>
                  </a:lnTo>
                  <a:lnTo>
                    <a:pt x="19269" y="3329"/>
                  </a:lnTo>
                  <a:lnTo>
                    <a:pt x="19275" y="3326"/>
                  </a:lnTo>
                  <a:lnTo>
                    <a:pt x="19283" y="3326"/>
                  </a:lnTo>
                  <a:lnTo>
                    <a:pt x="19289" y="3328"/>
                  </a:lnTo>
                  <a:lnTo>
                    <a:pt x="19297" y="3333"/>
                  </a:lnTo>
                  <a:lnTo>
                    <a:pt x="19369" y="3433"/>
                  </a:lnTo>
                  <a:lnTo>
                    <a:pt x="19369" y="3320"/>
                  </a:lnTo>
                  <a:lnTo>
                    <a:pt x="19262" y="3176"/>
                  </a:lnTo>
                  <a:lnTo>
                    <a:pt x="19259" y="3167"/>
                  </a:lnTo>
                  <a:lnTo>
                    <a:pt x="19259" y="3159"/>
                  </a:lnTo>
                  <a:lnTo>
                    <a:pt x="19262" y="3153"/>
                  </a:lnTo>
                  <a:lnTo>
                    <a:pt x="19268" y="3148"/>
                  </a:lnTo>
                  <a:lnTo>
                    <a:pt x="19274" y="3144"/>
                  </a:lnTo>
                  <a:lnTo>
                    <a:pt x="19282" y="3144"/>
                  </a:lnTo>
                  <a:lnTo>
                    <a:pt x="19289" y="3147"/>
                  </a:lnTo>
                  <a:lnTo>
                    <a:pt x="19296" y="3152"/>
                  </a:lnTo>
                  <a:lnTo>
                    <a:pt x="19369" y="3253"/>
                  </a:lnTo>
                  <a:lnTo>
                    <a:pt x="19369" y="3227"/>
                  </a:lnTo>
                  <a:lnTo>
                    <a:pt x="19369" y="3221"/>
                  </a:lnTo>
                  <a:close/>
                  <a:moveTo>
                    <a:pt x="22962" y="2597"/>
                  </a:moveTo>
                  <a:lnTo>
                    <a:pt x="22954" y="2597"/>
                  </a:lnTo>
                  <a:lnTo>
                    <a:pt x="22962" y="2597"/>
                  </a:lnTo>
                  <a:close/>
                  <a:moveTo>
                    <a:pt x="20013" y="2597"/>
                  </a:moveTo>
                  <a:lnTo>
                    <a:pt x="20006" y="2597"/>
                  </a:lnTo>
                  <a:lnTo>
                    <a:pt x="20013" y="2597"/>
                  </a:lnTo>
                  <a:close/>
                  <a:moveTo>
                    <a:pt x="19409" y="3491"/>
                  </a:moveTo>
                  <a:lnTo>
                    <a:pt x="19409" y="3498"/>
                  </a:lnTo>
                  <a:lnTo>
                    <a:pt x="19409" y="3491"/>
                  </a:lnTo>
                  <a:close/>
                  <a:moveTo>
                    <a:pt x="19369" y="3227"/>
                  </a:moveTo>
                  <a:lnTo>
                    <a:pt x="19369" y="3221"/>
                  </a:lnTo>
                  <a:lnTo>
                    <a:pt x="19369" y="3227"/>
                  </a:lnTo>
                  <a:close/>
                  <a:moveTo>
                    <a:pt x="20708" y="1885"/>
                  </a:moveTo>
                  <a:lnTo>
                    <a:pt x="20672" y="1152"/>
                  </a:lnTo>
                  <a:lnTo>
                    <a:pt x="20636" y="420"/>
                  </a:lnTo>
                  <a:lnTo>
                    <a:pt x="20345" y="420"/>
                  </a:lnTo>
                  <a:lnTo>
                    <a:pt x="20306" y="1139"/>
                  </a:lnTo>
                  <a:lnTo>
                    <a:pt x="20269" y="1858"/>
                  </a:lnTo>
                  <a:lnTo>
                    <a:pt x="20268" y="1867"/>
                  </a:lnTo>
                  <a:lnTo>
                    <a:pt x="20263" y="1872"/>
                  </a:lnTo>
                  <a:lnTo>
                    <a:pt x="20256" y="1876"/>
                  </a:lnTo>
                  <a:lnTo>
                    <a:pt x="20248" y="1877"/>
                  </a:lnTo>
                  <a:lnTo>
                    <a:pt x="20241" y="1874"/>
                  </a:lnTo>
                  <a:lnTo>
                    <a:pt x="20234" y="1870"/>
                  </a:lnTo>
                  <a:lnTo>
                    <a:pt x="20231" y="1864"/>
                  </a:lnTo>
                  <a:lnTo>
                    <a:pt x="20229" y="1855"/>
                  </a:lnTo>
                  <a:lnTo>
                    <a:pt x="20268" y="1126"/>
                  </a:lnTo>
                  <a:lnTo>
                    <a:pt x="20306" y="399"/>
                  </a:lnTo>
                  <a:lnTo>
                    <a:pt x="20307" y="392"/>
                  </a:lnTo>
                  <a:lnTo>
                    <a:pt x="20313" y="386"/>
                  </a:lnTo>
                  <a:lnTo>
                    <a:pt x="20318" y="382"/>
                  </a:lnTo>
                  <a:lnTo>
                    <a:pt x="20325" y="381"/>
                  </a:lnTo>
                  <a:lnTo>
                    <a:pt x="20655" y="381"/>
                  </a:lnTo>
                  <a:lnTo>
                    <a:pt x="20661" y="382"/>
                  </a:lnTo>
                  <a:lnTo>
                    <a:pt x="20668" y="386"/>
                  </a:lnTo>
                  <a:lnTo>
                    <a:pt x="20673" y="392"/>
                  </a:lnTo>
                  <a:lnTo>
                    <a:pt x="20674" y="399"/>
                  </a:lnTo>
                  <a:lnTo>
                    <a:pt x="20710" y="1140"/>
                  </a:lnTo>
                  <a:lnTo>
                    <a:pt x="20747" y="1882"/>
                  </a:lnTo>
                  <a:lnTo>
                    <a:pt x="20746" y="1891"/>
                  </a:lnTo>
                  <a:lnTo>
                    <a:pt x="20742" y="1897"/>
                  </a:lnTo>
                  <a:lnTo>
                    <a:pt x="20736" y="1901"/>
                  </a:lnTo>
                  <a:lnTo>
                    <a:pt x="20728" y="1902"/>
                  </a:lnTo>
                  <a:lnTo>
                    <a:pt x="20715" y="1899"/>
                  </a:lnTo>
                  <a:lnTo>
                    <a:pt x="20710" y="1892"/>
                  </a:lnTo>
                  <a:lnTo>
                    <a:pt x="20708" y="1885"/>
                  </a:lnTo>
                  <a:close/>
                  <a:moveTo>
                    <a:pt x="2868" y="3476"/>
                  </a:moveTo>
                  <a:lnTo>
                    <a:pt x="2980" y="3323"/>
                  </a:lnTo>
                  <a:lnTo>
                    <a:pt x="2953" y="3268"/>
                  </a:lnTo>
                  <a:lnTo>
                    <a:pt x="2939" y="3245"/>
                  </a:lnTo>
                  <a:lnTo>
                    <a:pt x="2925" y="3225"/>
                  </a:lnTo>
                  <a:lnTo>
                    <a:pt x="2911" y="3207"/>
                  </a:lnTo>
                  <a:lnTo>
                    <a:pt x="2897" y="3193"/>
                  </a:lnTo>
                  <a:lnTo>
                    <a:pt x="2883" y="3181"/>
                  </a:lnTo>
                  <a:lnTo>
                    <a:pt x="2868" y="3175"/>
                  </a:lnTo>
                  <a:lnTo>
                    <a:pt x="2868" y="3476"/>
                  </a:lnTo>
                  <a:close/>
                  <a:moveTo>
                    <a:pt x="2998" y="3365"/>
                  </a:moveTo>
                  <a:lnTo>
                    <a:pt x="2868" y="3544"/>
                  </a:lnTo>
                  <a:lnTo>
                    <a:pt x="2868" y="3753"/>
                  </a:lnTo>
                  <a:lnTo>
                    <a:pt x="3045" y="3507"/>
                  </a:lnTo>
                  <a:lnTo>
                    <a:pt x="3027" y="3445"/>
                  </a:lnTo>
                  <a:lnTo>
                    <a:pt x="2998" y="3365"/>
                  </a:lnTo>
                  <a:close/>
                  <a:moveTo>
                    <a:pt x="2716" y="3324"/>
                  </a:moveTo>
                  <a:lnTo>
                    <a:pt x="2829" y="3479"/>
                  </a:lnTo>
                  <a:lnTo>
                    <a:pt x="2829" y="3173"/>
                  </a:lnTo>
                  <a:lnTo>
                    <a:pt x="2813" y="3181"/>
                  </a:lnTo>
                  <a:lnTo>
                    <a:pt x="2798" y="3193"/>
                  </a:lnTo>
                  <a:lnTo>
                    <a:pt x="2790" y="3199"/>
                  </a:lnTo>
                  <a:lnTo>
                    <a:pt x="2783" y="3207"/>
                  </a:lnTo>
                  <a:lnTo>
                    <a:pt x="2768" y="3225"/>
                  </a:lnTo>
                  <a:lnTo>
                    <a:pt x="2742" y="3269"/>
                  </a:lnTo>
                  <a:lnTo>
                    <a:pt x="2715" y="3323"/>
                  </a:lnTo>
                  <a:lnTo>
                    <a:pt x="2716" y="3324"/>
                  </a:lnTo>
                  <a:close/>
                  <a:moveTo>
                    <a:pt x="3060" y="3557"/>
                  </a:moveTo>
                  <a:lnTo>
                    <a:pt x="2868" y="3820"/>
                  </a:lnTo>
                  <a:lnTo>
                    <a:pt x="2868" y="4028"/>
                  </a:lnTo>
                  <a:lnTo>
                    <a:pt x="3089" y="3725"/>
                  </a:lnTo>
                  <a:lnTo>
                    <a:pt x="3094" y="3718"/>
                  </a:lnTo>
                  <a:lnTo>
                    <a:pt x="3080" y="3640"/>
                  </a:lnTo>
                  <a:lnTo>
                    <a:pt x="3060" y="3557"/>
                  </a:lnTo>
                  <a:close/>
                  <a:moveTo>
                    <a:pt x="2654" y="3515"/>
                  </a:moveTo>
                  <a:lnTo>
                    <a:pt x="2829" y="3754"/>
                  </a:lnTo>
                  <a:lnTo>
                    <a:pt x="2829" y="3547"/>
                  </a:lnTo>
                  <a:lnTo>
                    <a:pt x="2698" y="3367"/>
                  </a:lnTo>
                  <a:lnTo>
                    <a:pt x="2672" y="3437"/>
                  </a:lnTo>
                  <a:lnTo>
                    <a:pt x="2650" y="3511"/>
                  </a:lnTo>
                  <a:lnTo>
                    <a:pt x="2654" y="3515"/>
                  </a:lnTo>
                  <a:close/>
                  <a:moveTo>
                    <a:pt x="3103" y="3773"/>
                  </a:moveTo>
                  <a:lnTo>
                    <a:pt x="2868" y="4095"/>
                  </a:lnTo>
                  <a:lnTo>
                    <a:pt x="2868" y="4102"/>
                  </a:lnTo>
                  <a:lnTo>
                    <a:pt x="2893" y="4098"/>
                  </a:lnTo>
                  <a:lnTo>
                    <a:pt x="2917" y="4093"/>
                  </a:lnTo>
                  <a:lnTo>
                    <a:pt x="2940" y="4085"/>
                  </a:lnTo>
                  <a:lnTo>
                    <a:pt x="2962" y="4076"/>
                  </a:lnTo>
                  <a:lnTo>
                    <a:pt x="2983" y="4065"/>
                  </a:lnTo>
                  <a:lnTo>
                    <a:pt x="3003" y="4051"/>
                  </a:lnTo>
                  <a:lnTo>
                    <a:pt x="3021" y="4037"/>
                  </a:lnTo>
                  <a:lnTo>
                    <a:pt x="3038" y="4020"/>
                  </a:lnTo>
                  <a:lnTo>
                    <a:pt x="3067" y="3982"/>
                  </a:lnTo>
                  <a:lnTo>
                    <a:pt x="3079" y="3961"/>
                  </a:lnTo>
                  <a:lnTo>
                    <a:pt x="3089" y="3939"/>
                  </a:lnTo>
                  <a:lnTo>
                    <a:pt x="3097" y="3916"/>
                  </a:lnTo>
                  <a:lnTo>
                    <a:pt x="3103" y="3893"/>
                  </a:lnTo>
                  <a:lnTo>
                    <a:pt x="3107" y="3868"/>
                  </a:lnTo>
                  <a:lnTo>
                    <a:pt x="3108" y="3843"/>
                  </a:lnTo>
                  <a:lnTo>
                    <a:pt x="3107" y="3811"/>
                  </a:lnTo>
                  <a:lnTo>
                    <a:pt x="3103" y="3773"/>
                  </a:lnTo>
                  <a:close/>
                  <a:moveTo>
                    <a:pt x="2603" y="3719"/>
                  </a:moveTo>
                  <a:lnTo>
                    <a:pt x="2829" y="4012"/>
                  </a:lnTo>
                  <a:lnTo>
                    <a:pt x="2829" y="3822"/>
                  </a:lnTo>
                  <a:lnTo>
                    <a:pt x="2638" y="3560"/>
                  </a:lnTo>
                  <a:lnTo>
                    <a:pt x="2618" y="3644"/>
                  </a:lnTo>
                  <a:lnTo>
                    <a:pt x="2603" y="3719"/>
                  </a:lnTo>
                  <a:close/>
                  <a:moveTo>
                    <a:pt x="2784" y="1296"/>
                  </a:moveTo>
                  <a:lnTo>
                    <a:pt x="2784" y="1465"/>
                  </a:lnTo>
                  <a:lnTo>
                    <a:pt x="2781" y="1474"/>
                  </a:lnTo>
                  <a:lnTo>
                    <a:pt x="2777" y="1480"/>
                  </a:lnTo>
                  <a:lnTo>
                    <a:pt x="2771" y="1484"/>
                  </a:lnTo>
                  <a:lnTo>
                    <a:pt x="2763" y="1486"/>
                  </a:lnTo>
                  <a:lnTo>
                    <a:pt x="2756" y="1484"/>
                  </a:lnTo>
                  <a:lnTo>
                    <a:pt x="2749" y="1480"/>
                  </a:lnTo>
                  <a:lnTo>
                    <a:pt x="2745" y="1474"/>
                  </a:lnTo>
                  <a:lnTo>
                    <a:pt x="2743" y="1465"/>
                  </a:lnTo>
                  <a:lnTo>
                    <a:pt x="2743" y="1296"/>
                  </a:lnTo>
                  <a:lnTo>
                    <a:pt x="2650" y="1296"/>
                  </a:lnTo>
                  <a:lnTo>
                    <a:pt x="2650" y="1465"/>
                  </a:lnTo>
                  <a:lnTo>
                    <a:pt x="2649" y="1474"/>
                  </a:lnTo>
                  <a:lnTo>
                    <a:pt x="2644" y="1480"/>
                  </a:lnTo>
                  <a:lnTo>
                    <a:pt x="2638" y="1484"/>
                  </a:lnTo>
                  <a:lnTo>
                    <a:pt x="2631" y="1486"/>
                  </a:lnTo>
                  <a:lnTo>
                    <a:pt x="2624" y="1484"/>
                  </a:lnTo>
                  <a:lnTo>
                    <a:pt x="2617" y="1480"/>
                  </a:lnTo>
                  <a:lnTo>
                    <a:pt x="2612" y="1474"/>
                  </a:lnTo>
                  <a:lnTo>
                    <a:pt x="2611" y="1465"/>
                  </a:lnTo>
                  <a:lnTo>
                    <a:pt x="2611" y="1296"/>
                  </a:lnTo>
                  <a:lnTo>
                    <a:pt x="2518" y="1296"/>
                  </a:lnTo>
                  <a:lnTo>
                    <a:pt x="2518" y="1465"/>
                  </a:lnTo>
                  <a:lnTo>
                    <a:pt x="2516" y="1474"/>
                  </a:lnTo>
                  <a:lnTo>
                    <a:pt x="2512" y="1480"/>
                  </a:lnTo>
                  <a:lnTo>
                    <a:pt x="2506" y="1484"/>
                  </a:lnTo>
                  <a:lnTo>
                    <a:pt x="2498" y="1486"/>
                  </a:lnTo>
                  <a:lnTo>
                    <a:pt x="2490" y="1484"/>
                  </a:lnTo>
                  <a:lnTo>
                    <a:pt x="2484" y="1480"/>
                  </a:lnTo>
                  <a:lnTo>
                    <a:pt x="2480" y="1474"/>
                  </a:lnTo>
                  <a:lnTo>
                    <a:pt x="2477" y="1465"/>
                  </a:lnTo>
                  <a:lnTo>
                    <a:pt x="2477" y="1296"/>
                  </a:lnTo>
                  <a:lnTo>
                    <a:pt x="2385" y="1296"/>
                  </a:lnTo>
                  <a:lnTo>
                    <a:pt x="2385" y="1465"/>
                  </a:lnTo>
                  <a:lnTo>
                    <a:pt x="2384" y="1474"/>
                  </a:lnTo>
                  <a:lnTo>
                    <a:pt x="2379" y="1480"/>
                  </a:lnTo>
                  <a:lnTo>
                    <a:pt x="2372" y="1484"/>
                  </a:lnTo>
                  <a:lnTo>
                    <a:pt x="2366" y="1486"/>
                  </a:lnTo>
                  <a:lnTo>
                    <a:pt x="2358" y="1484"/>
                  </a:lnTo>
                  <a:lnTo>
                    <a:pt x="2352" y="1480"/>
                  </a:lnTo>
                  <a:lnTo>
                    <a:pt x="2347" y="1474"/>
                  </a:lnTo>
                  <a:lnTo>
                    <a:pt x="2345" y="1465"/>
                  </a:lnTo>
                  <a:lnTo>
                    <a:pt x="2345" y="1296"/>
                  </a:lnTo>
                  <a:lnTo>
                    <a:pt x="2282" y="1296"/>
                  </a:lnTo>
                  <a:lnTo>
                    <a:pt x="2282" y="1634"/>
                  </a:lnTo>
                  <a:lnTo>
                    <a:pt x="2852" y="1634"/>
                  </a:lnTo>
                  <a:lnTo>
                    <a:pt x="2852" y="1296"/>
                  </a:lnTo>
                  <a:lnTo>
                    <a:pt x="2784" y="1296"/>
                  </a:lnTo>
                  <a:close/>
                  <a:moveTo>
                    <a:pt x="332" y="4356"/>
                  </a:moveTo>
                  <a:lnTo>
                    <a:pt x="322" y="4359"/>
                  </a:lnTo>
                  <a:lnTo>
                    <a:pt x="313" y="4356"/>
                  </a:lnTo>
                  <a:lnTo>
                    <a:pt x="0" y="4356"/>
                  </a:lnTo>
                  <a:lnTo>
                    <a:pt x="0" y="4317"/>
                  </a:lnTo>
                  <a:lnTo>
                    <a:pt x="64" y="4317"/>
                  </a:lnTo>
                  <a:lnTo>
                    <a:pt x="64" y="3833"/>
                  </a:lnTo>
                  <a:lnTo>
                    <a:pt x="0" y="3833"/>
                  </a:lnTo>
                  <a:lnTo>
                    <a:pt x="0" y="3792"/>
                  </a:lnTo>
                  <a:lnTo>
                    <a:pt x="197" y="3792"/>
                  </a:lnTo>
                  <a:lnTo>
                    <a:pt x="206" y="3795"/>
                  </a:lnTo>
                  <a:lnTo>
                    <a:pt x="213" y="3799"/>
                  </a:lnTo>
                  <a:lnTo>
                    <a:pt x="217" y="3805"/>
                  </a:lnTo>
                  <a:lnTo>
                    <a:pt x="218" y="3813"/>
                  </a:lnTo>
                  <a:lnTo>
                    <a:pt x="217" y="3820"/>
                  </a:lnTo>
                  <a:lnTo>
                    <a:pt x="213" y="3827"/>
                  </a:lnTo>
                  <a:lnTo>
                    <a:pt x="206" y="3831"/>
                  </a:lnTo>
                  <a:lnTo>
                    <a:pt x="197" y="3833"/>
                  </a:lnTo>
                  <a:lnTo>
                    <a:pt x="104" y="3833"/>
                  </a:lnTo>
                  <a:lnTo>
                    <a:pt x="104" y="4317"/>
                  </a:lnTo>
                  <a:lnTo>
                    <a:pt x="303" y="4317"/>
                  </a:lnTo>
                  <a:lnTo>
                    <a:pt x="303" y="3544"/>
                  </a:lnTo>
                  <a:lnTo>
                    <a:pt x="303" y="2772"/>
                  </a:lnTo>
                  <a:lnTo>
                    <a:pt x="304" y="2764"/>
                  </a:lnTo>
                  <a:lnTo>
                    <a:pt x="308" y="2758"/>
                  </a:lnTo>
                  <a:lnTo>
                    <a:pt x="314" y="2753"/>
                  </a:lnTo>
                  <a:lnTo>
                    <a:pt x="322" y="2751"/>
                  </a:lnTo>
                  <a:lnTo>
                    <a:pt x="440" y="2751"/>
                  </a:lnTo>
                  <a:lnTo>
                    <a:pt x="440" y="2579"/>
                  </a:lnTo>
                  <a:lnTo>
                    <a:pt x="441" y="2571"/>
                  </a:lnTo>
                  <a:lnTo>
                    <a:pt x="446" y="2565"/>
                  </a:lnTo>
                  <a:lnTo>
                    <a:pt x="453" y="2560"/>
                  </a:lnTo>
                  <a:lnTo>
                    <a:pt x="460" y="2558"/>
                  </a:lnTo>
                  <a:lnTo>
                    <a:pt x="541" y="2558"/>
                  </a:lnTo>
                  <a:lnTo>
                    <a:pt x="1007" y="2558"/>
                  </a:lnTo>
                  <a:lnTo>
                    <a:pt x="1997" y="2558"/>
                  </a:lnTo>
                  <a:lnTo>
                    <a:pt x="2004" y="2560"/>
                  </a:lnTo>
                  <a:lnTo>
                    <a:pt x="2011" y="2565"/>
                  </a:lnTo>
                  <a:lnTo>
                    <a:pt x="2014" y="2571"/>
                  </a:lnTo>
                  <a:lnTo>
                    <a:pt x="2017" y="2579"/>
                  </a:lnTo>
                  <a:lnTo>
                    <a:pt x="2017" y="2751"/>
                  </a:lnTo>
                  <a:lnTo>
                    <a:pt x="2098" y="2751"/>
                  </a:lnTo>
                  <a:lnTo>
                    <a:pt x="2098" y="2203"/>
                  </a:lnTo>
                  <a:lnTo>
                    <a:pt x="2098" y="1654"/>
                  </a:lnTo>
                  <a:lnTo>
                    <a:pt x="2099" y="1647"/>
                  </a:lnTo>
                  <a:lnTo>
                    <a:pt x="2103" y="1640"/>
                  </a:lnTo>
                  <a:lnTo>
                    <a:pt x="2109" y="1635"/>
                  </a:lnTo>
                  <a:lnTo>
                    <a:pt x="2117" y="1634"/>
                  </a:lnTo>
                  <a:lnTo>
                    <a:pt x="2243" y="1634"/>
                  </a:lnTo>
                  <a:lnTo>
                    <a:pt x="2243" y="1276"/>
                  </a:lnTo>
                  <a:lnTo>
                    <a:pt x="2244" y="1268"/>
                  </a:lnTo>
                  <a:lnTo>
                    <a:pt x="2249" y="1262"/>
                  </a:lnTo>
                  <a:lnTo>
                    <a:pt x="2254" y="1258"/>
                  </a:lnTo>
                  <a:lnTo>
                    <a:pt x="2262" y="1257"/>
                  </a:lnTo>
                  <a:lnTo>
                    <a:pt x="2872" y="1257"/>
                  </a:lnTo>
                  <a:lnTo>
                    <a:pt x="2880" y="1258"/>
                  </a:lnTo>
                  <a:lnTo>
                    <a:pt x="2886" y="1262"/>
                  </a:lnTo>
                  <a:lnTo>
                    <a:pt x="2890" y="1268"/>
                  </a:lnTo>
                  <a:lnTo>
                    <a:pt x="2893" y="1276"/>
                  </a:lnTo>
                  <a:lnTo>
                    <a:pt x="2893" y="1634"/>
                  </a:lnTo>
                  <a:lnTo>
                    <a:pt x="3017" y="1634"/>
                  </a:lnTo>
                  <a:lnTo>
                    <a:pt x="3025" y="1635"/>
                  </a:lnTo>
                  <a:lnTo>
                    <a:pt x="3031" y="1640"/>
                  </a:lnTo>
                  <a:lnTo>
                    <a:pt x="3035" y="1647"/>
                  </a:lnTo>
                  <a:lnTo>
                    <a:pt x="3038" y="1654"/>
                  </a:lnTo>
                  <a:lnTo>
                    <a:pt x="3038" y="2434"/>
                  </a:lnTo>
                  <a:lnTo>
                    <a:pt x="3038" y="3214"/>
                  </a:lnTo>
                  <a:lnTo>
                    <a:pt x="3035" y="3223"/>
                  </a:lnTo>
                  <a:lnTo>
                    <a:pt x="3031" y="3230"/>
                  </a:lnTo>
                  <a:lnTo>
                    <a:pt x="3025" y="3234"/>
                  </a:lnTo>
                  <a:lnTo>
                    <a:pt x="3017" y="3235"/>
                  </a:lnTo>
                  <a:lnTo>
                    <a:pt x="3010" y="3234"/>
                  </a:lnTo>
                  <a:lnTo>
                    <a:pt x="3003" y="3230"/>
                  </a:lnTo>
                  <a:lnTo>
                    <a:pt x="2999" y="3223"/>
                  </a:lnTo>
                  <a:lnTo>
                    <a:pt x="2998" y="3214"/>
                  </a:lnTo>
                  <a:lnTo>
                    <a:pt x="2998" y="2443"/>
                  </a:lnTo>
                  <a:lnTo>
                    <a:pt x="2998" y="1674"/>
                  </a:lnTo>
                  <a:lnTo>
                    <a:pt x="2138" y="1674"/>
                  </a:lnTo>
                  <a:lnTo>
                    <a:pt x="2138" y="2333"/>
                  </a:lnTo>
                  <a:lnTo>
                    <a:pt x="2138" y="2994"/>
                  </a:lnTo>
                  <a:lnTo>
                    <a:pt x="2138" y="3655"/>
                  </a:lnTo>
                  <a:lnTo>
                    <a:pt x="2138" y="4317"/>
                  </a:lnTo>
                  <a:lnTo>
                    <a:pt x="2829" y="4317"/>
                  </a:lnTo>
                  <a:lnTo>
                    <a:pt x="2829" y="4141"/>
                  </a:lnTo>
                  <a:lnTo>
                    <a:pt x="2799" y="4138"/>
                  </a:lnTo>
                  <a:lnTo>
                    <a:pt x="2771" y="4132"/>
                  </a:lnTo>
                  <a:lnTo>
                    <a:pt x="2744" y="4123"/>
                  </a:lnTo>
                  <a:lnTo>
                    <a:pt x="2731" y="4118"/>
                  </a:lnTo>
                  <a:lnTo>
                    <a:pt x="2718" y="4113"/>
                  </a:lnTo>
                  <a:lnTo>
                    <a:pt x="2694" y="4099"/>
                  </a:lnTo>
                  <a:lnTo>
                    <a:pt x="2671" y="4084"/>
                  </a:lnTo>
                  <a:lnTo>
                    <a:pt x="2649" y="4067"/>
                  </a:lnTo>
                  <a:lnTo>
                    <a:pt x="2630" y="4048"/>
                  </a:lnTo>
                  <a:lnTo>
                    <a:pt x="2612" y="4026"/>
                  </a:lnTo>
                  <a:lnTo>
                    <a:pt x="2595" y="4005"/>
                  </a:lnTo>
                  <a:lnTo>
                    <a:pt x="2581" y="3980"/>
                  </a:lnTo>
                  <a:lnTo>
                    <a:pt x="2570" y="3955"/>
                  </a:lnTo>
                  <a:lnTo>
                    <a:pt x="2561" y="3929"/>
                  </a:lnTo>
                  <a:lnTo>
                    <a:pt x="2554" y="3901"/>
                  </a:lnTo>
                  <a:lnTo>
                    <a:pt x="2549" y="3873"/>
                  </a:lnTo>
                  <a:lnTo>
                    <a:pt x="2548" y="3843"/>
                  </a:lnTo>
                  <a:lnTo>
                    <a:pt x="2549" y="3813"/>
                  </a:lnTo>
                  <a:lnTo>
                    <a:pt x="2554" y="3773"/>
                  </a:lnTo>
                  <a:lnTo>
                    <a:pt x="2570" y="3675"/>
                  </a:lnTo>
                  <a:lnTo>
                    <a:pt x="2581" y="3617"/>
                  </a:lnTo>
                  <a:lnTo>
                    <a:pt x="2595" y="3558"/>
                  </a:lnTo>
                  <a:lnTo>
                    <a:pt x="2630" y="3436"/>
                  </a:lnTo>
                  <a:lnTo>
                    <a:pt x="2650" y="3377"/>
                  </a:lnTo>
                  <a:lnTo>
                    <a:pt x="2674" y="3320"/>
                  </a:lnTo>
                  <a:lnTo>
                    <a:pt x="2698" y="3268"/>
                  </a:lnTo>
                  <a:lnTo>
                    <a:pt x="2725" y="3222"/>
                  </a:lnTo>
                  <a:lnTo>
                    <a:pt x="2753" y="3185"/>
                  </a:lnTo>
                  <a:lnTo>
                    <a:pt x="2783" y="3156"/>
                  </a:lnTo>
                  <a:lnTo>
                    <a:pt x="2799" y="3144"/>
                  </a:lnTo>
                  <a:lnTo>
                    <a:pt x="2815" y="3136"/>
                  </a:lnTo>
                  <a:lnTo>
                    <a:pt x="2831" y="3133"/>
                  </a:lnTo>
                  <a:lnTo>
                    <a:pt x="2848" y="3130"/>
                  </a:lnTo>
                  <a:lnTo>
                    <a:pt x="2866" y="3133"/>
                  </a:lnTo>
                  <a:lnTo>
                    <a:pt x="2883" y="3138"/>
                  </a:lnTo>
                  <a:lnTo>
                    <a:pt x="2899" y="3145"/>
                  </a:lnTo>
                  <a:lnTo>
                    <a:pt x="2915" y="3157"/>
                  </a:lnTo>
                  <a:lnTo>
                    <a:pt x="2945" y="3187"/>
                  </a:lnTo>
                  <a:lnTo>
                    <a:pt x="2953" y="3196"/>
                  </a:lnTo>
                  <a:lnTo>
                    <a:pt x="2960" y="3205"/>
                  </a:lnTo>
                  <a:lnTo>
                    <a:pt x="2974" y="3226"/>
                  </a:lnTo>
                  <a:lnTo>
                    <a:pt x="3001" y="3272"/>
                  </a:lnTo>
                  <a:lnTo>
                    <a:pt x="3024" y="3323"/>
                  </a:lnTo>
                  <a:lnTo>
                    <a:pt x="3045" y="3377"/>
                  </a:lnTo>
                  <a:lnTo>
                    <a:pt x="3065" y="3433"/>
                  </a:lnTo>
                  <a:lnTo>
                    <a:pt x="3083" y="3492"/>
                  </a:lnTo>
                  <a:lnTo>
                    <a:pt x="3099" y="3551"/>
                  </a:lnTo>
                  <a:lnTo>
                    <a:pt x="3113" y="3609"/>
                  </a:lnTo>
                  <a:lnTo>
                    <a:pt x="3125" y="3666"/>
                  </a:lnTo>
                  <a:lnTo>
                    <a:pt x="3135" y="3719"/>
                  </a:lnTo>
                  <a:lnTo>
                    <a:pt x="3142" y="3767"/>
                  </a:lnTo>
                  <a:lnTo>
                    <a:pt x="3147" y="3809"/>
                  </a:lnTo>
                  <a:lnTo>
                    <a:pt x="3148" y="3843"/>
                  </a:lnTo>
                  <a:lnTo>
                    <a:pt x="3147" y="3873"/>
                  </a:lnTo>
                  <a:lnTo>
                    <a:pt x="3143" y="3901"/>
                  </a:lnTo>
                  <a:lnTo>
                    <a:pt x="3135" y="3929"/>
                  </a:lnTo>
                  <a:lnTo>
                    <a:pt x="3126" y="3955"/>
                  </a:lnTo>
                  <a:lnTo>
                    <a:pt x="3115" y="3980"/>
                  </a:lnTo>
                  <a:lnTo>
                    <a:pt x="3101" y="4005"/>
                  </a:lnTo>
                  <a:lnTo>
                    <a:pt x="3067" y="4048"/>
                  </a:lnTo>
                  <a:lnTo>
                    <a:pt x="3025" y="4084"/>
                  </a:lnTo>
                  <a:lnTo>
                    <a:pt x="3002" y="4099"/>
                  </a:lnTo>
                  <a:lnTo>
                    <a:pt x="2977" y="4113"/>
                  </a:lnTo>
                  <a:lnTo>
                    <a:pt x="2952" y="4123"/>
                  </a:lnTo>
                  <a:lnTo>
                    <a:pt x="2925" y="4132"/>
                  </a:lnTo>
                  <a:lnTo>
                    <a:pt x="2897" y="4138"/>
                  </a:lnTo>
                  <a:lnTo>
                    <a:pt x="2868" y="4141"/>
                  </a:lnTo>
                  <a:lnTo>
                    <a:pt x="2868" y="4317"/>
                  </a:lnTo>
                  <a:lnTo>
                    <a:pt x="2998" y="4317"/>
                  </a:lnTo>
                  <a:lnTo>
                    <a:pt x="2998" y="4193"/>
                  </a:lnTo>
                  <a:lnTo>
                    <a:pt x="2999" y="4184"/>
                  </a:lnTo>
                  <a:lnTo>
                    <a:pt x="3003" y="4177"/>
                  </a:lnTo>
                  <a:lnTo>
                    <a:pt x="3010" y="4173"/>
                  </a:lnTo>
                  <a:lnTo>
                    <a:pt x="3017" y="4172"/>
                  </a:lnTo>
                  <a:lnTo>
                    <a:pt x="3025" y="4173"/>
                  </a:lnTo>
                  <a:lnTo>
                    <a:pt x="3031" y="4177"/>
                  </a:lnTo>
                  <a:lnTo>
                    <a:pt x="3035" y="4184"/>
                  </a:lnTo>
                  <a:lnTo>
                    <a:pt x="3038" y="4193"/>
                  </a:lnTo>
                  <a:lnTo>
                    <a:pt x="3038" y="4332"/>
                  </a:lnTo>
                  <a:lnTo>
                    <a:pt x="3036" y="4340"/>
                  </a:lnTo>
                  <a:lnTo>
                    <a:pt x="3031" y="4346"/>
                  </a:lnTo>
                  <a:lnTo>
                    <a:pt x="3025" y="4354"/>
                  </a:lnTo>
                  <a:lnTo>
                    <a:pt x="3013" y="4356"/>
                  </a:lnTo>
                  <a:lnTo>
                    <a:pt x="2343" y="4356"/>
                  </a:lnTo>
                  <a:lnTo>
                    <a:pt x="1672" y="4356"/>
                  </a:lnTo>
                  <a:lnTo>
                    <a:pt x="1001" y="4356"/>
                  </a:lnTo>
                  <a:lnTo>
                    <a:pt x="332" y="4356"/>
                  </a:lnTo>
                  <a:close/>
                  <a:moveTo>
                    <a:pt x="1458" y="2791"/>
                  </a:moveTo>
                  <a:lnTo>
                    <a:pt x="900" y="2791"/>
                  </a:lnTo>
                  <a:lnTo>
                    <a:pt x="342" y="2791"/>
                  </a:lnTo>
                  <a:lnTo>
                    <a:pt x="342" y="3553"/>
                  </a:lnTo>
                  <a:lnTo>
                    <a:pt x="342" y="4317"/>
                  </a:lnTo>
                  <a:lnTo>
                    <a:pt x="1218" y="4317"/>
                  </a:lnTo>
                  <a:lnTo>
                    <a:pt x="2095" y="4317"/>
                  </a:lnTo>
                  <a:lnTo>
                    <a:pt x="2095" y="3553"/>
                  </a:lnTo>
                  <a:lnTo>
                    <a:pt x="2095" y="2791"/>
                  </a:lnTo>
                  <a:lnTo>
                    <a:pt x="1723" y="2791"/>
                  </a:lnTo>
                  <a:lnTo>
                    <a:pt x="1714" y="2790"/>
                  </a:lnTo>
                  <a:lnTo>
                    <a:pt x="1708" y="2786"/>
                  </a:lnTo>
                  <a:lnTo>
                    <a:pt x="1704" y="2780"/>
                  </a:lnTo>
                  <a:lnTo>
                    <a:pt x="1703" y="2772"/>
                  </a:lnTo>
                  <a:lnTo>
                    <a:pt x="1704" y="2764"/>
                  </a:lnTo>
                  <a:lnTo>
                    <a:pt x="1708" y="2758"/>
                  </a:lnTo>
                  <a:lnTo>
                    <a:pt x="1714" y="2754"/>
                  </a:lnTo>
                  <a:lnTo>
                    <a:pt x="1723" y="2751"/>
                  </a:lnTo>
                  <a:lnTo>
                    <a:pt x="1976" y="2751"/>
                  </a:lnTo>
                  <a:lnTo>
                    <a:pt x="1976" y="2598"/>
                  </a:lnTo>
                  <a:lnTo>
                    <a:pt x="1025" y="2598"/>
                  </a:lnTo>
                  <a:lnTo>
                    <a:pt x="1018" y="2602"/>
                  </a:lnTo>
                  <a:lnTo>
                    <a:pt x="1010" y="2603"/>
                  </a:lnTo>
                  <a:lnTo>
                    <a:pt x="544" y="2603"/>
                  </a:lnTo>
                  <a:lnTo>
                    <a:pt x="536" y="2602"/>
                  </a:lnTo>
                  <a:lnTo>
                    <a:pt x="531" y="2598"/>
                  </a:lnTo>
                  <a:lnTo>
                    <a:pt x="480" y="2598"/>
                  </a:lnTo>
                  <a:lnTo>
                    <a:pt x="480" y="2751"/>
                  </a:lnTo>
                  <a:lnTo>
                    <a:pt x="1458" y="2751"/>
                  </a:lnTo>
                  <a:lnTo>
                    <a:pt x="1467" y="2754"/>
                  </a:lnTo>
                  <a:lnTo>
                    <a:pt x="1473" y="2758"/>
                  </a:lnTo>
                  <a:lnTo>
                    <a:pt x="1477" y="2764"/>
                  </a:lnTo>
                  <a:lnTo>
                    <a:pt x="1478" y="2772"/>
                  </a:lnTo>
                  <a:lnTo>
                    <a:pt x="1477" y="2780"/>
                  </a:lnTo>
                  <a:lnTo>
                    <a:pt x="1473" y="2786"/>
                  </a:lnTo>
                  <a:lnTo>
                    <a:pt x="1467" y="2790"/>
                  </a:lnTo>
                  <a:lnTo>
                    <a:pt x="1458" y="2791"/>
                  </a:lnTo>
                  <a:close/>
                  <a:moveTo>
                    <a:pt x="2829" y="4085"/>
                  </a:moveTo>
                  <a:lnTo>
                    <a:pt x="2829" y="4077"/>
                  </a:lnTo>
                  <a:lnTo>
                    <a:pt x="2594" y="3774"/>
                  </a:lnTo>
                  <a:lnTo>
                    <a:pt x="2590" y="3814"/>
                  </a:lnTo>
                  <a:lnTo>
                    <a:pt x="2588" y="3843"/>
                  </a:lnTo>
                  <a:lnTo>
                    <a:pt x="2589" y="3868"/>
                  </a:lnTo>
                  <a:lnTo>
                    <a:pt x="2593" y="3893"/>
                  </a:lnTo>
                  <a:lnTo>
                    <a:pt x="2599" y="3916"/>
                  </a:lnTo>
                  <a:lnTo>
                    <a:pt x="2607" y="3939"/>
                  </a:lnTo>
                  <a:lnTo>
                    <a:pt x="2617" y="3961"/>
                  </a:lnTo>
                  <a:lnTo>
                    <a:pt x="2629" y="3982"/>
                  </a:lnTo>
                  <a:lnTo>
                    <a:pt x="2643" y="4002"/>
                  </a:lnTo>
                  <a:lnTo>
                    <a:pt x="2658" y="4020"/>
                  </a:lnTo>
                  <a:lnTo>
                    <a:pt x="2675" y="4037"/>
                  </a:lnTo>
                  <a:lnTo>
                    <a:pt x="2693" y="4051"/>
                  </a:lnTo>
                  <a:lnTo>
                    <a:pt x="2713" y="4065"/>
                  </a:lnTo>
                  <a:lnTo>
                    <a:pt x="2734" y="4076"/>
                  </a:lnTo>
                  <a:lnTo>
                    <a:pt x="2756" y="4085"/>
                  </a:lnTo>
                  <a:lnTo>
                    <a:pt x="2779" y="4093"/>
                  </a:lnTo>
                  <a:lnTo>
                    <a:pt x="2803" y="4098"/>
                  </a:lnTo>
                  <a:lnTo>
                    <a:pt x="2829" y="4102"/>
                  </a:lnTo>
                  <a:lnTo>
                    <a:pt x="2829" y="4093"/>
                  </a:lnTo>
                  <a:lnTo>
                    <a:pt x="2829" y="4085"/>
                  </a:lnTo>
                  <a:close/>
                  <a:moveTo>
                    <a:pt x="1903" y="3824"/>
                  </a:moveTo>
                  <a:lnTo>
                    <a:pt x="1903" y="3937"/>
                  </a:lnTo>
                  <a:lnTo>
                    <a:pt x="1902" y="3946"/>
                  </a:lnTo>
                  <a:lnTo>
                    <a:pt x="1896" y="3952"/>
                  </a:lnTo>
                  <a:lnTo>
                    <a:pt x="1890" y="3956"/>
                  </a:lnTo>
                  <a:lnTo>
                    <a:pt x="1882" y="3957"/>
                  </a:lnTo>
                  <a:lnTo>
                    <a:pt x="1876" y="3956"/>
                  </a:lnTo>
                  <a:lnTo>
                    <a:pt x="1870" y="3952"/>
                  </a:lnTo>
                  <a:lnTo>
                    <a:pt x="1864" y="3946"/>
                  </a:lnTo>
                  <a:lnTo>
                    <a:pt x="1863" y="3937"/>
                  </a:lnTo>
                  <a:lnTo>
                    <a:pt x="1863" y="3824"/>
                  </a:lnTo>
                  <a:lnTo>
                    <a:pt x="1864" y="3817"/>
                  </a:lnTo>
                  <a:lnTo>
                    <a:pt x="1870" y="3810"/>
                  </a:lnTo>
                  <a:lnTo>
                    <a:pt x="1876" y="3806"/>
                  </a:lnTo>
                  <a:lnTo>
                    <a:pt x="1882" y="3805"/>
                  </a:lnTo>
                  <a:lnTo>
                    <a:pt x="1890" y="3806"/>
                  </a:lnTo>
                  <a:lnTo>
                    <a:pt x="1896" y="3810"/>
                  </a:lnTo>
                  <a:lnTo>
                    <a:pt x="1902" y="3817"/>
                  </a:lnTo>
                  <a:lnTo>
                    <a:pt x="1903" y="3824"/>
                  </a:lnTo>
                  <a:close/>
                  <a:moveTo>
                    <a:pt x="587" y="3118"/>
                  </a:moveTo>
                  <a:lnTo>
                    <a:pt x="587" y="3231"/>
                  </a:lnTo>
                  <a:lnTo>
                    <a:pt x="586" y="3240"/>
                  </a:lnTo>
                  <a:lnTo>
                    <a:pt x="581" y="3246"/>
                  </a:lnTo>
                  <a:lnTo>
                    <a:pt x="574" y="3250"/>
                  </a:lnTo>
                  <a:lnTo>
                    <a:pt x="567" y="3251"/>
                  </a:lnTo>
                  <a:lnTo>
                    <a:pt x="560" y="3250"/>
                  </a:lnTo>
                  <a:lnTo>
                    <a:pt x="554" y="3246"/>
                  </a:lnTo>
                  <a:lnTo>
                    <a:pt x="549" y="3240"/>
                  </a:lnTo>
                  <a:lnTo>
                    <a:pt x="548" y="3231"/>
                  </a:lnTo>
                  <a:lnTo>
                    <a:pt x="548" y="3118"/>
                  </a:lnTo>
                  <a:lnTo>
                    <a:pt x="549" y="3111"/>
                  </a:lnTo>
                  <a:lnTo>
                    <a:pt x="554" y="3104"/>
                  </a:lnTo>
                  <a:lnTo>
                    <a:pt x="560" y="3101"/>
                  </a:lnTo>
                  <a:lnTo>
                    <a:pt x="567" y="3099"/>
                  </a:lnTo>
                  <a:lnTo>
                    <a:pt x="574" y="3101"/>
                  </a:lnTo>
                  <a:lnTo>
                    <a:pt x="581" y="3104"/>
                  </a:lnTo>
                  <a:lnTo>
                    <a:pt x="586" y="3111"/>
                  </a:lnTo>
                  <a:lnTo>
                    <a:pt x="587" y="3118"/>
                  </a:lnTo>
                  <a:close/>
                  <a:moveTo>
                    <a:pt x="850" y="3118"/>
                  </a:moveTo>
                  <a:lnTo>
                    <a:pt x="850" y="3231"/>
                  </a:lnTo>
                  <a:lnTo>
                    <a:pt x="849" y="3240"/>
                  </a:lnTo>
                  <a:lnTo>
                    <a:pt x="844" y="3246"/>
                  </a:lnTo>
                  <a:lnTo>
                    <a:pt x="837" y="3250"/>
                  </a:lnTo>
                  <a:lnTo>
                    <a:pt x="831" y="3251"/>
                  </a:lnTo>
                  <a:lnTo>
                    <a:pt x="823" y="3250"/>
                  </a:lnTo>
                  <a:lnTo>
                    <a:pt x="817" y="3246"/>
                  </a:lnTo>
                  <a:lnTo>
                    <a:pt x="812" y="3240"/>
                  </a:lnTo>
                  <a:lnTo>
                    <a:pt x="810" y="3231"/>
                  </a:lnTo>
                  <a:lnTo>
                    <a:pt x="810" y="3118"/>
                  </a:lnTo>
                  <a:lnTo>
                    <a:pt x="812" y="3111"/>
                  </a:lnTo>
                  <a:lnTo>
                    <a:pt x="817" y="3104"/>
                  </a:lnTo>
                  <a:lnTo>
                    <a:pt x="823" y="3101"/>
                  </a:lnTo>
                  <a:lnTo>
                    <a:pt x="831" y="3099"/>
                  </a:lnTo>
                  <a:lnTo>
                    <a:pt x="837" y="3101"/>
                  </a:lnTo>
                  <a:lnTo>
                    <a:pt x="844" y="3104"/>
                  </a:lnTo>
                  <a:lnTo>
                    <a:pt x="849" y="3111"/>
                  </a:lnTo>
                  <a:lnTo>
                    <a:pt x="850" y="3118"/>
                  </a:lnTo>
                  <a:close/>
                  <a:moveTo>
                    <a:pt x="1113" y="3118"/>
                  </a:moveTo>
                  <a:lnTo>
                    <a:pt x="1113" y="3231"/>
                  </a:lnTo>
                  <a:lnTo>
                    <a:pt x="1112" y="3240"/>
                  </a:lnTo>
                  <a:lnTo>
                    <a:pt x="1107" y="3246"/>
                  </a:lnTo>
                  <a:lnTo>
                    <a:pt x="1100" y="3250"/>
                  </a:lnTo>
                  <a:lnTo>
                    <a:pt x="1094" y="3251"/>
                  </a:lnTo>
                  <a:lnTo>
                    <a:pt x="1086" y="3250"/>
                  </a:lnTo>
                  <a:lnTo>
                    <a:pt x="1080" y="3246"/>
                  </a:lnTo>
                  <a:lnTo>
                    <a:pt x="1076" y="3240"/>
                  </a:lnTo>
                  <a:lnTo>
                    <a:pt x="1073" y="3231"/>
                  </a:lnTo>
                  <a:lnTo>
                    <a:pt x="1073" y="3118"/>
                  </a:lnTo>
                  <a:lnTo>
                    <a:pt x="1076" y="3111"/>
                  </a:lnTo>
                  <a:lnTo>
                    <a:pt x="1080" y="3104"/>
                  </a:lnTo>
                  <a:lnTo>
                    <a:pt x="1086" y="3101"/>
                  </a:lnTo>
                  <a:lnTo>
                    <a:pt x="1094" y="3099"/>
                  </a:lnTo>
                  <a:lnTo>
                    <a:pt x="1100" y="3101"/>
                  </a:lnTo>
                  <a:lnTo>
                    <a:pt x="1107" y="3104"/>
                  </a:lnTo>
                  <a:lnTo>
                    <a:pt x="1112" y="3111"/>
                  </a:lnTo>
                  <a:lnTo>
                    <a:pt x="1113" y="3118"/>
                  </a:lnTo>
                  <a:close/>
                  <a:moveTo>
                    <a:pt x="1377" y="3118"/>
                  </a:moveTo>
                  <a:lnTo>
                    <a:pt x="1377" y="3231"/>
                  </a:lnTo>
                  <a:lnTo>
                    <a:pt x="1375" y="3240"/>
                  </a:lnTo>
                  <a:lnTo>
                    <a:pt x="1371" y="3246"/>
                  </a:lnTo>
                  <a:lnTo>
                    <a:pt x="1364" y="3250"/>
                  </a:lnTo>
                  <a:lnTo>
                    <a:pt x="1357" y="3251"/>
                  </a:lnTo>
                  <a:lnTo>
                    <a:pt x="1349" y="3250"/>
                  </a:lnTo>
                  <a:lnTo>
                    <a:pt x="1343" y="3246"/>
                  </a:lnTo>
                  <a:lnTo>
                    <a:pt x="1339" y="3240"/>
                  </a:lnTo>
                  <a:lnTo>
                    <a:pt x="1336" y="3231"/>
                  </a:lnTo>
                  <a:lnTo>
                    <a:pt x="1336" y="3118"/>
                  </a:lnTo>
                  <a:lnTo>
                    <a:pt x="1339" y="3111"/>
                  </a:lnTo>
                  <a:lnTo>
                    <a:pt x="1343" y="3104"/>
                  </a:lnTo>
                  <a:lnTo>
                    <a:pt x="1349" y="3101"/>
                  </a:lnTo>
                  <a:lnTo>
                    <a:pt x="1357" y="3099"/>
                  </a:lnTo>
                  <a:lnTo>
                    <a:pt x="1364" y="3101"/>
                  </a:lnTo>
                  <a:lnTo>
                    <a:pt x="1371" y="3104"/>
                  </a:lnTo>
                  <a:lnTo>
                    <a:pt x="1375" y="3111"/>
                  </a:lnTo>
                  <a:lnTo>
                    <a:pt x="1377" y="3118"/>
                  </a:lnTo>
                  <a:close/>
                  <a:moveTo>
                    <a:pt x="1640" y="3118"/>
                  </a:moveTo>
                  <a:lnTo>
                    <a:pt x="1640" y="3231"/>
                  </a:lnTo>
                  <a:lnTo>
                    <a:pt x="1637" y="3240"/>
                  </a:lnTo>
                  <a:lnTo>
                    <a:pt x="1634" y="3246"/>
                  </a:lnTo>
                  <a:lnTo>
                    <a:pt x="1627" y="3250"/>
                  </a:lnTo>
                  <a:lnTo>
                    <a:pt x="1620" y="3251"/>
                  </a:lnTo>
                  <a:lnTo>
                    <a:pt x="1612" y="3250"/>
                  </a:lnTo>
                  <a:lnTo>
                    <a:pt x="1605" y="3246"/>
                  </a:lnTo>
                  <a:lnTo>
                    <a:pt x="1602" y="3240"/>
                  </a:lnTo>
                  <a:lnTo>
                    <a:pt x="1600" y="3231"/>
                  </a:lnTo>
                  <a:lnTo>
                    <a:pt x="1600" y="3118"/>
                  </a:lnTo>
                  <a:lnTo>
                    <a:pt x="1602" y="3111"/>
                  </a:lnTo>
                  <a:lnTo>
                    <a:pt x="1605" y="3104"/>
                  </a:lnTo>
                  <a:lnTo>
                    <a:pt x="1612" y="3101"/>
                  </a:lnTo>
                  <a:lnTo>
                    <a:pt x="1620" y="3099"/>
                  </a:lnTo>
                  <a:lnTo>
                    <a:pt x="1627" y="3101"/>
                  </a:lnTo>
                  <a:lnTo>
                    <a:pt x="1634" y="3104"/>
                  </a:lnTo>
                  <a:lnTo>
                    <a:pt x="1637" y="3111"/>
                  </a:lnTo>
                  <a:lnTo>
                    <a:pt x="1640" y="3118"/>
                  </a:lnTo>
                  <a:close/>
                  <a:moveTo>
                    <a:pt x="1903" y="3118"/>
                  </a:moveTo>
                  <a:lnTo>
                    <a:pt x="1903" y="3231"/>
                  </a:lnTo>
                  <a:lnTo>
                    <a:pt x="1902" y="3240"/>
                  </a:lnTo>
                  <a:lnTo>
                    <a:pt x="1896" y="3246"/>
                  </a:lnTo>
                  <a:lnTo>
                    <a:pt x="1890" y="3250"/>
                  </a:lnTo>
                  <a:lnTo>
                    <a:pt x="1882" y="3251"/>
                  </a:lnTo>
                  <a:lnTo>
                    <a:pt x="1876" y="3250"/>
                  </a:lnTo>
                  <a:lnTo>
                    <a:pt x="1870" y="3246"/>
                  </a:lnTo>
                  <a:lnTo>
                    <a:pt x="1864" y="3240"/>
                  </a:lnTo>
                  <a:lnTo>
                    <a:pt x="1863" y="3231"/>
                  </a:lnTo>
                  <a:lnTo>
                    <a:pt x="1863" y="3118"/>
                  </a:lnTo>
                  <a:lnTo>
                    <a:pt x="1864" y="3111"/>
                  </a:lnTo>
                  <a:lnTo>
                    <a:pt x="1870" y="3104"/>
                  </a:lnTo>
                  <a:lnTo>
                    <a:pt x="1876" y="3101"/>
                  </a:lnTo>
                  <a:lnTo>
                    <a:pt x="1882" y="3099"/>
                  </a:lnTo>
                  <a:lnTo>
                    <a:pt x="1890" y="3101"/>
                  </a:lnTo>
                  <a:lnTo>
                    <a:pt x="1896" y="3104"/>
                  </a:lnTo>
                  <a:lnTo>
                    <a:pt x="1902" y="3111"/>
                  </a:lnTo>
                  <a:lnTo>
                    <a:pt x="1903" y="3118"/>
                  </a:lnTo>
                  <a:close/>
                  <a:moveTo>
                    <a:pt x="587" y="3354"/>
                  </a:moveTo>
                  <a:lnTo>
                    <a:pt x="587" y="3466"/>
                  </a:lnTo>
                  <a:lnTo>
                    <a:pt x="586" y="3475"/>
                  </a:lnTo>
                  <a:lnTo>
                    <a:pt x="581" y="3482"/>
                  </a:lnTo>
                  <a:lnTo>
                    <a:pt x="574" y="3485"/>
                  </a:lnTo>
                  <a:lnTo>
                    <a:pt x="567" y="3487"/>
                  </a:lnTo>
                  <a:lnTo>
                    <a:pt x="560" y="3485"/>
                  </a:lnTo>
                  <a:lnTo>
                    <a:pt x="554" y="3482"/>
                  </a:lnTo>
                  <a:lnTo>
                    <a:pt x="549" y="3475"/>
                  </a:lnTo>
                  <a:lnTo>
                    <a:pt x="548" y="3466"/>
                  </a:lnTo>
                  <a:lnTo>
                    <a:pt x="548" y="3354"/>
                  </a:lnTo>
                  <a:lnTo>
                    <a:pt x="549" y="3346"/>
                  </a:lnTo>
                  <a:lnTo>
                    <a:pt x="554" y="3340"/>
                  </a:lnTo>
                  <a:lnTo>
                    <a:pt x="560" y="3336"/>
                  </a:lnTo>
                  <a:lnTo>
                    <a:pt x="567" y="3335"/>
                  </a:lnTo>
                  <a:lnTo>
                    <a:pt x="574" y="3336"/>
                  </a:lnTo>
                  <a:lnTo>
                    <a:pt x="581" y="3340"/>
                  </a:lnTo>
                  <a:lnTo>
                    <a:pt x="586" y="3346"/>
                  </a:lnTo>
                  <a:lnTo>
                    <a:pt x="587" y="3354"/>
                  </a:lnTo>
                  <a:close/>
                  <a:moveTo>
                    <a:pt x="850" y="3354"/>
                  </a:moveTo>
                  <a:lnTo>
                    <a:pt x="850" y="3466"/>
                  </a:lnTo>
                  <a:lnTo>
                    <a:pt x="849" y="3475"/>
                  </a:lnTo>
                  <a:lnTo>
                    <a:pt x="844" y="3482"/>
                  </a:lnTo>
                  <a:lnTo>
                    <a:pt x="837" y="3485"/>
                  </a:lnTo>
                  <a:lnTo>
                    <a:pt x="831" y="3487"/>
                  </a:lnTo>
                  <a:lnTo>
                    <a:pt x="823" y="3485"/>
                  </a:lnTo>
                  <a:lnTo>
                    <a:pt x="817" y="3482"/>
                  </a:lnTo>
                  <a:lnTo>
                    <a:pt x="812" y="3475"/>
                  </a:lnTo>
                  <a:lnTo>
                    <a:pt x="810" y="3466"/>
                  </a:lnTo>
                  <a:lnTo>
                    <a:pt x="810" y="3354"/>
                  </a:lnTo>
                  <a:lnTo>
                    <a:pt x="812" y="3346"/>
                  </a:lnTo>
                  <a:lnTo>
                    <a:pt x="817" y="3340"/>
                  </a:lnTo>
                  <a:lnTo>
                    <a:pt x="823" y="3336"/>
                  </a:lnTo>
                  <a:lnTo>
                    <a:pt x="831" y="3335"/>
                  </a:lnTo>
                  <a:lnTo>
                    <a:pt x="837" y="3336"/>
                  </a:lnTo>
                  <a:lnTo>
                    <a:pt x="844" y="3340"/>
                  </a:lnTo>
                  <a:lnTo>
                    <a:pt x="849" y="3346"/>
                  </a:lnTo>
                  <a:lnTo>
                    <a:pt x="850" y="3354"/>
                  </a:lnTo>
                  <a:close/>
                  <a:moveTo>
                    <a:pt x="1113" y="3354"/>
                  </a:moveTo>
                  <a:lnTo>
                    <a:pt x="1113" y="3466"/>
                  </a:lnTo>
                  <a:lnTo>
                    <a:pt x="1112" y="3475"/>
                  </a:lnTo>
                  <a:lnTo>
                    <a:pt x="1107" y="3482"/>
                  </a:lnTo>
                  <a:lnTo>
                    <a:pt x="1100" y="3485"/>
                  </a:lnTo>
                  <a:lnTo>
                    <a:pt x="1094" y="3487"/>
                  </a:lnTo>
                  <a:lnTo>
                    <a:pt x="1086" y="3485"/>
                  </a:lnTo>
                  <a:lnTo>
                    <a:pt x="1080" y="3482"/>
                  </a:lnTo>
                  <a:lnTo>
                    <a:pt x="1076" y="3475"/>
                  </a:lnTo>
                  <a:lnTo>
                    <a:pt x="1073" y="3466"/>
                  </a:lnTo>
                  <a:lnTo>
                    <a:pt x="1073" y="3354"/>
                  </a:lnTo>
                  <a:lnTo>
                    <a:pt x="1076" y="3346"/>
                  </a:lnTo>
                  <a:lnTo>
                    <a:pt x="1080" y="3340"/>
                  </a:lnTo>
                  <a:lnTo>
                    <a:pt x="1086" y="3336"/>
                  </a:lnTo>
                  <a:lnTo>
                    <a:pt x="1094" y="3335"/>
                  </a:lnTo>
                  <a:lnTo>
                    <a:pt x="1100" y="3336"/>
                  </a:lnTo>
                  <a:lnTo>
                    <a:pt x="1107" y="3340"/>
                  </a:lnTo>
                  <a:lnTo>
                    <a:pt x="1112" y="3346"/>
                  </a:lnTo>
                  <a:lnTo>
                    <a:pt x="1113" y="3354"/>
                  </a:lnTo>
                  <a:close/>
                  <a:moveTo>
                    <a:pt x="1377" y="3354"/>
                  </a:moveTo>
                  <a:lnTo>
                    <a:pt x="1377" y="3466"/>
                  </a:lnTo>
                  <a:lnTo>
                    <a:pt x="1375" y="3475"/>
                  </a:lnTo>
                  <a:lnTo>
                    <a:pt x="1371" y="3482"/>
                  </a:lnTo>
                  <a:lnTo>
                    <a:pt x="1364" y="3485"/>
                  </a:lnTo>
                  <a:lnTo>
                    <a:pt x="1357" y="3487"/>
                  </a:lnTo>
                  <a:lnTo>
                    <a:pt x="1349" y="3485"/>
                  </a:lnTo>
                  <a:lnTo>
                    <a:pt x="1343" y="3482"/>
                  </a:lnTo>
                  <a:lnTo>
                    <a:pt x="1339" y="3475"/>
                  </a:lnTo>
                  <a:lnTo>
                    <a:pt x="1336" y="3466"/>
                  </a:lnTo>
                  <a:lnTo>
                    <a:pt x="1336" y="3354"/>
                  </a:lnTo>
                  <a:lnTo>
                    <a:pt x="1339" y="3346"/>
                  </a:lnTo>
                  <a:lnTo>
                    <a:pt x="1343" y="3340"/>
                  </a:lnTo>
                  <a:lnTo>
                    <a:pt x="1349" y="3336"/>
                  </a:lnTo>
                  <a:lnTo>
                    <a:pt x="1357" y="3335"/>
                  </a:lnTo>
                  <a:lnTo>
                    <a:pt x="1364" y="3336"/>
                  </a:lnTo>
                  <a:lnTo>
                    <a:pt x="1371" y="3340"/>
                  </a:lnTo>
                  <a:lnTo>
                    <a:pt x="1375" y="3346"/>
                  </a:lnTo>
                  <a:lnTo>
                    <a:pt x="1377" y="3354"/>
                  </a:lnTo>
                  <a:close/>
                  <a:moveTo>
                    <a:pt x="1640" y="3354"/>
                  </a:moveTo>
                  <a:lnTo>
                    <a:pt x="1640" y="3466"/>
                  </a:lnTo>
                  <a:lnTo>
                    <a:pt x="1637" y="3475"/>
                  </a:lnTo>
                  <a:lnTo>
                    <a:pt x="1634" y="3482"/>
                  </a:lnTo>
                  <a:lnTo>
                    <a:pt x="1627" y="3485"/>
                  </a:lnTo>
                  <a:lnTo>
                    <a:pt x="1620" y="3487"/>
                  </a:lnTo>
                  <a:lnTo>
                    <a:pt x="1612" y="3485"/>
                  </a:lnTo>
                  <a:lnTo>
                    <a:pt x="1605" y="3482"/>
                  </a:lnTo>
                  <a:lnTo>
                    <a:pt x="1602" y="3475"/>
                  </a:lnTo>
                  <a:lnTo>
                    <a:pt x="1600" y="3466"/>
                  </a:lnTo>
                  <a:lnTo>
                    <a:pt x="1600" y="3354"/>
                  </a:lnTo>
                  <a:lnTo>
                    <a:pt x="1602" y="3346"/>
                  </a:lnTo>
                  <a:lnTo>
                    <a:pt x="1605" y="3340"/>
                  </a:lnTo>
                  <a:lnTo>
                    <a:pt x="1612" y="3336"/>
                  </a:lnTo>
                  <a:lnTo>
                    <a:pt x="1620" y="3335"/>
                  </a:lnTo>
                  <a:lnTo>
                    <a:pt x="1627" y="3336"/>
                  </a:lnTo>
                  <a:lnTo>
                    <a:pt x="1634" y="3340"/>
                  </a:lnTo>
                  <a:lnTo>
                    <a:pt x="1637" y="3346"/>
                  </a:lnTo>
                  <a:lnTo>
                    <a:pt x="1640" y="3354"/>
                  </a:lnTo>
                  <a:close/>
                  <a:moveTo>
                    <a:pt x="1903" y="3354"/>
                  </a:moveTo>
                  <a:lnTo>
                    <a:pt x="1903" y="3466"/>
                  </a:lnTo>
                  <a:lnTo>
                    <a:pt x="1902" y="3475"/>
                  </a:lnTo>
                  <a:lnTo>
                    <a:pt x="1896" y="3482"/>
                  </a:lnTo>
                  <a:lnTo>
                    <a:pt x="1890" y="3485"/>
                  </a:lnTo>
                  <a:lnTo>
                    <a:pt x="1882" y="3487"/>
                  </a:lnTo>
                  <a:lnTo>
                    <a:pt x="1876" y="3485"/>
                  </a:lnTo>
                  <a:lnTo>
                    <a:pt x="1870" y="3482"/>
                  </a:lnTo>
                  <a:lnTo>
                    <a:pt x="1864" y="3475"/>
                  </a:lnTo>
                  <a:lnTo>
                    <a:pt x="1863" y="3466"/>
                  </a:lnTo>
                  <a:lnTo>
                    <a:pt x="1863" y="3354"/>
                  </a:lnTo>
                  <a:lnTo>
                    <a:pt x="1864" y="3346"/>
                  </a:lnTo>
                  <a:lnTo>
                    <a:pt x="1870" y="3340"/>
                  </a:lnTo>
                  <a:lnTo>
                    <a:pt x="1876" y="3336"/>
                  </a:lnTo>
                  <a:lnTo>
                    <a:pt x="1882" y="3335"/>
                  </a:lnTo>
                  <a:lnTo>
                    <a:pt x="1890" y="3336"/>
                  </a:lnTo>
                  <a:lnTo>
                    <a:pt x="1896" y="3340"/>
                  </a:lnTo>
                  <a:lnTo>
                    <a:pt x="1902" y="3346"/>
                  </a:lnTo>
                  <a:lnTo>
                    <a:pt x="1903" y="3354"/>
                  </a:lnTo>
                  <a:close/>
                  <a:moveTo>
                    <a:pt x="587" y="3589"/>
                  </a:moveTo>
                  <a:lnTo>
                    <a:pt x="587" y="3702"/>
                  </a:lnTo>
                  <a:lnTo>
                    <a:pt x="586" y="3710"/>
                  </a:lnTo>
                  <a:lnTo>
                    <a:pt x="581" y="3717"/>
                  </a:lnTo>
                  <a:lnTo>
                    <a:pt x="574" y="3721"/>
                  </a:lnTo>
                  <a:lnTo>
                    <a:pt x="567" y="3722"/>
                  </a:lnTo>
                  <a:lnTo>
                    <a:pt x="560" y="3721"/>
                  </a:lnTo>
                  <a:lnTo>
                    <a:pt x="554" y="3717"/>
                  </a:lnTo>
                  <a:lnTo>
                    <a:pt x="549" y="3710"/>
                  </a:lnTo>
                  <a:lnTo>
                    <a:pt x="548" y="3702"/>
                  </a:lnTo>
                  <a:lnTo>
                    <a:pt x="548" y="3589"/>
                  </a:lnTo>
                  <a:lnTo>
                    <a:pt x="549" y="3581"/>
                  </a:lnTo>
                  <a:lnTo>
                    <a:pt x="554" y="3575"/>
                  </a:lnTo>
                  <a:lnTo>
                    <a:pt x="560" y="3571"/>
                  </a:lnTo>
                  <a:lnTo>
                    <a:pt x="567" y="3570"/>
                  </a:lnTo>
                  <a:lnTo>
                    <a:pt x="574" y="3571"/>
                  </a:lnTo>
                  <a:lnTo>
                    <a:pt x="581" y="3575"/>
                  </a:lnTo>
                  <a:lnTo>
                    <a:pt x="586" y="3581"/>
                  </a:lnTo>
                  <a:lnTo>
                    <a:pt x="587" y="3589"/>
                  </a:lnTo>
                  <a:close/>
                  <a:moveTo>
                    <a:pt x="850" y="3589"/>
                  </a:moveTo>
                  <a:lnTo>
                    <a:pt x="850" y="3702"/>
                  </a:lnTo>
                  <a:lnTo>
                    <a:pt x="849" y="3710"/>
                  </a:lnTo>
                  <a:lnTo>
                    <a:pt x="844" y="3717"/>
                  </a:lnTo>
                  <a:lnTo>
                    <a:pt x="837" y="3721"/>
                  </a:lnTo>
                  <a:lnTo>
                    <a:pt x="831" y="3722"/>
                  </a:lnTo>
                  <a:lnTo>
                    <a:pt x="823" y="3721"/>
                  </a:lnTo>
                  <a:lnTo>
                    <a:pt x="817" y="3717"/>
                  </a:lnTo>
                  <a:lnTo>
                    <a:pt x="812" y="3710"/>
                  </a:lnTo>
                  <a:lnTo>
                    <a:pt x="810" y="3702"/>
                  </a:lnTo>
                  <a:lnTo>
                    <a:pt x="810" y="3589"/>
                  </a:lnTo>
                  <a:lnTo>
                    <a:pt x="812" y="3581"/>
                  </a:lnTo>
                  <a:lnTo>
                    <a:pt x="817" y="3575"/>
                  </a:lnTo>
                  <a:lnTo>
                    <a:pt x="823" y="3571"/>
                  </a:lnTo>
                  <a:lnTo>
                    <a:pt x="831" y="3570"/>
                  </a:lnTo>
                  <a:lnTo>
                    <a:pt x="837" y="3571"/>
                  </a:lnTo>
                  <a:lnTo>
                    <a:pt x="844" y="3575"/>
                  </a:lnTo>
                  <a:lnTo>
                    <a:pt x="849" y="3581"/>
                  </a:lnTo>
                  <a:lnTo>
                    <a:pt x="850" y="3589"/>
                  </a:lnTo>
                  <a:close/>
                  <a:moveTo>
                    <a:pt x="1113" y="3589"/>
                  </a:moveTo>
                  <a:lnTo>
                    <a:pt x="1113" y="3702"/>
                  </a:lnTo>
                  <a:lnTo>
                    <a:pt x="1112" y="3710"/>
                  </a:lnTo>
                  <a:lnTo>
                    <a:pt x="1107" y="3717"/>
                  </a:lnTo>
                  <a:lnTo>
                    <a:pt x="1100" y="3721"/>
                  </a:lnTo>
                  <a:lnTo>
                    <a:pt x="1094" y="3722"/>
                  </a:lnTo>
                  <a:lnTo>
                    <a:pt x="1086" y="3721"/>
                  </a:lnTo>
                  <a:lnTo>
                    <a:pt x="1080" y="3717"/>
                  </a:lnTo>
                  <a:lnTo>
                    <a:pt x="1076" y="3710"/>
                  </a:lnTo>
                  <a:lnTo>
                    <a:pt x="1073" y="3702"/>
                  </a:lnTo>
                  <a:lnTo>
                    <a:pt x="1073" y="3589"/>
                  </a:lnTo>
                  <a:lnTo>
                    <a:pt x="1076" y="3581"/>
                  </a:lnTo>
                  <a:lnTo>
                    <a:pt x="1080" y="3575"/>
                  </a:lnTo>
                  <a:lnTo>
                    <a:pt x="1086" y="3571"/>
                  </a:lnTo>
                  <a:lnTo>
                    <a:pt x="1094" y="3570"/>
                  </a:lnTo>
                  <a:lnTo>
                    <a:pt x="1100" y="3571"/>
                  </a:lnTo>
                  <a:lnTo>
                    <a:pt x="1107" y="3575"/>
                  </a:lnTo>
                  <a:lnTo>
                    <a:pt x="1112" y="3581"/>
                  </a:lnTo>
                  <a:lnTo>
                    <a:pt x="1113" y="3589"/>
                  </a:lnTo>
                  <a:close/>
                  <a:moveTo>
                    <a:pt x="1377" y="3589"/>
                  </a:moveTo>
                  <a:lnTo>
                    <a:pt x="1377" y="3702"/>
                  </a:lnTo>
                  <a:lnTo>
                    <a:pt x="1375" y="3710"/>
                  </a:lnTo>
                  <a:lnTo>
                    <a:pt x="1371" y="3717"/>
                  </a:lnTo>
                  <a:lnTo>
                    <a:pt x="1364" y="3721"/>
                  </a:lnTo>
                  <a:lnTo>
                    <a:pt x="1357" y="3722"/>
                  </a:lnTo>
                  <a:lnTo>
                    <a:pt x="1349" y="3721"/>
                  </a:lnTo>
                  <a:lnTo>
                    <a:pt x="1343" y="3717"/>
                  </a:lnTo>
                  <a:lnTo>
                    <a:pt x="1339" y="3710"/>
                  </a:lnTo>
                  <a:lnTo>
                    <a:pt x="1336" y="3702"/>
                  </a:lnTo>
                  <a:lnTo>
                    <a:pt x="1336" y="3589"/>
                  </a:lnTo>
                  <a:lnTo>
                    <a:pt x="1339" y="3581"/>
                  </a:lnTo>
                  <a:lnTo>
                    <a:pt x="1343" y="3575"/>
                  </a:lnTo>
                  <a:lnTo>
                    <a:pt x="1349" y="3571"/>
                  </a:lnTo>
                  <a:lnTo>
                    <a:pt x="1357" y="3570"/>
                  </a:lnTo>
                  <a:lnTo>
                    <a:pt x="1364" y="3571"/>
                  </a:lnTo>
                  <a:lnTo>
                    <a:pt x="1371" y="3575"/>
                  </a:lnTo>
                  <a:lnTo>
                    <a:pt x="1375" y="3581"/>
                  </a:lnTo>
                  <a:lnTo>
                    <a:pt x="1377" y="3589"/>
                  </a:lnTo>
                  <a:close/>
                  <a:moveTo>
                    <a:pt x="1640" y="3589"/>
                  </a:moveTo>
                  <a:lnTo>
                    <a:pt x="1640" y="3702"/>
                  </a:lnTo>
                  <a:lnTo>
                    <a:pt x="1637" y="3710"/>
                  </a:lnTo>
                  <a:lnTo>
                    <a:pt x="1634" y="3717"/>
                  </a:lnTo>
                  <a:lnTo>
                    <a:pt x="1627" y="3721"/>
                  </a:lnTo>
                  <a:lnTo>
                    <a:pt x="1620" y="3722"/>
                  </a:lnTo>
                  <a:lnTo>
                    <a:pt x="1612" y="3721"/>
                  </a:lnTo>
                  <a:lnTo>
                    <a:pt x="1605" y="3717"/>
                  </a:lnTo>
                  <a:lnTo>
                    <a:pt x="1602" y="3710"/>
                  </a:lnTo>
                  <a:lnTo>
                    <a:pt x="1600" y="3702"/>
                  </a:lnTo>
                  <a:lnTo>
                    <a:pt x="1600" y="3589"/>
                  </a:lnTo>
                  <a:lnTo>
                    <a:pt x="1602" y="3581"/>
                  </a:lnTo>
                  <a:lnTo>
                    <a:pt x="1605" y="3575"/>
                  </a:lnTo>
                  <a:lnTo>
                    <a:pt x="1612" y="3571"/>
                  </a:lnTo>
                  <a:lnTo>
                    <a:pt x="1620" y="3570"/>
                  </a:lnTo>
                  <a:lnTo>
                    <a:pt x="1627" y="3571"/>
                  </a:lnTo>
                  <a:lnTo>
                    <a:pt x="1634" y="3575"/>
                  </a:lnTo>
                  <a:lnTo>
                    <a:pt x="1637" y="3581"/>
                  </a:lnTo>
                  <a:lnTo>
                    <a:pt x="1640" y="3589"/>
                  </a:lnTo>
                  <a:close/>
                  <a:moveTo>
                    <a:pt x="1903" y="3589"/>
                  </a:moveTo>
                  <a:lnTo>
                    <a:pt x="1903" y="3702"/>
                  </a:lnTo>
                  <a:lnTo>
                    <a:pt x="1902" y="3710"/>
                  </a:lnTo>
                  <a:lnTo>
                    <a:pt x="1896" y="3717"/>
                  </a:lnTo>
                  <a:lnTo>
                    <a:pt x="1890" y="3721"/>
                  </a:lnTo>
                  <a:lnTo>
                    <a:pt x="1882" y="3722"/>
                  </a:lnTo>
                  <a:lnTo>
                    <a:pt x="1876" y="3721"/>
                  </a:lnTo>
                  <a:lnTo>
                    <a:pt x="1870" y="3717"/>
                  </a:lnTo>
                  <a:lnTo>
                    <a:pt x="1864" y="3710"/>
                  </a:lnTo>
                  <a:lnTo>
                    <a:pt x="1863" y="3702"/>
                  </a:lnTo>
                  <a:lnTo>
                    <a:pt x="1863" y="3589"/>
                  </a:lnTo>
                  <a:lnTo>
                    <a:pt x="1864" y="3581"/>
                  </a:lnTo>
                  <a:lnTo>
                    <a:pt x="1870" y="3575"/>
                  </a:lnTo>
                  <a:lnTo>
                    <a:pt x="1876" y="3571"/>
                  </a:lnTo>
                  <a:lnTo>
                    <a:pt x="1882" y="3570"/>
                  </a:lnTo>
                  <a:lnTo>
                    <a:pt x="1890" y="3571"/>
                  </a:lnTo>
                  <a:lnTo>
                    <a:pt x="1896" y="3575"/>
                  </a:lnTo>
                  <a:lnTo>
                    <a:pt x="1902" y="3581"/>
                  </a:lnTo>
                  <a:lnTo>
                    <a:pt x="1903" y="3589"/>
                  </a:lnTo>
                  <a:close/>
                  <a:moveTo>
                    <a:pt x="587" y="3824"/>
                  </a:moveTo>
                  <a:lnTo>
                    <a:pt x="587" y="3937"/>
                  </a:lnTo>
                  <a:lnTo>
                    <a:pt x="586" y="3946"/>
                  </a:lnTo>
                  <a:lnTo>
                    <a:pt x="581" y="3952"/>
                  </a:lnTo>
                  <a:lnTo>
                    <a:pt x="574" y="3956"/>
                  </a:lnTo>
                  <a:lnTo>
                    <a:pt x="567" y="3957"/>
                  </a:lnTo>
                  <a:lnTo>
                    <a:pt x="560" y="3956"/>
                  </a:lnTo>
                  <a:lnTo>
                    <a:pt x="554" y="3952"/>
                  </a:lnTo>
                  <a:lnTo>
                    <a:pt x="549" y="3946"/>
                  </a:lnTo>
                  <a:lnTo>
                    <a:pt x="548" y="3937"/>
                  </a:lnTo>
                  <a:lnTo>
                    <a:pt x="548" y="3824"/>
                  </a:lnTo>
                  <a:lnTo>
                    <a:pt x="549" y="3817"/>
                  </a:lnTo>
                  <a:lnTo>
                    <a:pt x="554" y="3810"/>
                  </a:lnTo>
                  <a:lnTo>
                    <a:pt x="560" y="3806"/>
                  </a:lnTo>
                  <a:lnTo>
                    <a:pt x="567" y="3805"/>
                  </a:lnTo>
                  <a:lnTo>
                    <a:pt x="574" y="3806"/>
                  </a:lnTo>
                  <a:lnTo>
                    <a:pt x="581" y="3810"/>
                  </a:lnTo>
                  <a:lnTo>
                    <a:pt x="586" y="3817"/>
                  </a:lnTo>
                  <a:lnTo>
                    <a:pt x="587" y="3824"/>
                  </a:lnTo>
                  <a:close/>
                  <a:moveTo>
                    <a:pt x="850" y="3824"/>
                  </a:moveTo>
                  <a:lnTo>
                    <a:pt x="850" y="3937"/>
                  </a:lnTo>
                  <a:lnTo>
                    <a:pt x="849" y="3946"/>
                  </a:lnTo>
                  <a:lnTo>
                    <a:pt x="844" y="3952"/>
                  </a:lnTo>
                  <a:lnTo>
                    <a:pt x="837" y="3956"/>
                  </a:lnTo>
                  <a:lnTo>
                    <a:pt x="831" y="3957"/>
                  </a:lnTo>
                  <a:lnTo>
                    <a:pt x="823" y="3956"/>
                  </a:lnTo>
                  <a:lnTo>
                    <a:pt x="817" y="3952"/>
                  </a:lnTo>
                  <a:lnTo>
                    <a:pt x="812" y="3946"/>
                  </a:lnTo>
                  <a:lnTo>
                    <a:pt x="810" y="3937"/>
                  </a:lnTo>
                  <a:lnTo>
                    <a:pt x="810" y="3824"/>
                  </a:lnTo>
                  <a:lnTo>
                    <a:pt x="812" y="3817"/>
                  </a:lnTo>
                  <a:lnTo>
                    <a:pt x="817" y="3810"/>
                  </a:lnTo>
                  <a:lnTo>
                    <a:pt x="823" y="3806"/>
                  </a:lnTo>
                  <a:lnTo>
                    <a:pt x="831" y="3805"/>
                  </a:lnTo>
                  <a:lnTo>
                    <a:pt x="837" y="3806"/>
                  </a:lnTo>
                  <a:lnTo>
                    <a:pt x="844" y="3810"/>
                  </a:lnTo>
                  <a:lnTo>
                    <a:pt x="849" y="3817"/>
                  </a:lnTo>
                  <a:lnTo>
                    <a:pt x="850" y="3824"/>
                  </a:lnTo>
                  <a:close/>
                  <a:moveTo>
                    <a:pt x="1113" y="3824"/>
                  </a:moveTo>
                  <a:lnTo>
                    <a:pt x="1113" y="3937"/>
                  </a:lnTo>
                  <a:lnTo>
                    <a:pt x="1112" y="3946"/>
                  </a:lnTo>
                  <a:lnTo>
                    <a:pt x="1107" y="3952"/>
                  </a:lnTo>
                  <a:lnTo>
                    <a:pt x="1100" y="3956"/>
                  </a:lnTo>
                  <a:lnTo>
                    <a:pt x="1094" y="3957"/>
                  </a:lnTo>
                  <a:lnTo>
                    <a:pt x="1086" y="3956"/>
                  </a:lnTo>
                  <a:lnTo>
                    <a:pt x="1080" y="3952"/>
                  </a:lnTo>
                  <a:lnTo>
                    <a:pt x="1076" y="3946"/>
                  </a:lnTo>
                  <a:lnTo>
                    <a:pt x="1073" y="3937"/>
                  </a:lnTo>
                  <a:lnTo>
                    <a:pt x="1073" y="3824"/>
                  </a:lnTo>
                  <a:lnTo>
                    <a:pt x="1076" y="3817"/>
                  </a:lnTo>
                  <a:lnTo>
                    <a:pt x="1080" y="3810"/>
                  </a:lnTo>
                  <a:lnTo>
                    <a:pt x="1086" y="3806"/>
                  </a:lnTo>
                  <a:lnTo>
                    <a:pt x="1094" y="3805"/>
                  </a:lnTo>
                  <a:lnTo>
                    <a:pt x="1100" y="3806"/>
                  </a:lnTo>
                  <a:lnTo>
                    <a:pt x="1107" y="3810"/>
                  </a:lnTo>
                  <a:lnTo>
                    <a:pt x="1112" y="3817"/>
                  </a:lnTo>
                  <a:lnTo>
                    <a:pt x="1113" y="3824"/>
                  </a:lnTo>
                  <a:close/>
                  <a:moveTo>
                    <a:pt x="1377" y="3824"/>
                  </a:moveTo>
                  <a:lnTo>
                    <a:pt x="1377" y="3937"/>
                  </a:lnTo>
                  <a:lnTo>
                    <a:pt x="1375" y="3946"/>
                  </a:lnTo>
                  <a:lnTo>
                    <a:pt x="1371" y="3952"/>
                  </a:lnTo>
                  <a:lnTo>
                    <a:pt x="1364" y="3956"/>
                  </a:lnTo>
                  <a:lnTo>
                    <a:pt x="1357" y="3957"/>
                  </a:lnTo>
                  <a:lnTo>
                    <a:pt x="1349" y="3956"/>
                  </a:lnTo>
                  <a:lnTo>
                    <a:pt x="1343" y="3952"/>
                  </a:lnTo>
                  <a:lnTo>
                    <a:pt x="1339" y="3946"/>
                  </a:lnTo>
                  <a:lnTo>
                    <a:pt x="1336" y="3937"/>
                  </a:lnTo>
                  <a:lnTo>
                    <a:pt x="1336" y="3824"/>
                  </a:lnTo>
                  <a:lnTo>
                    <a:pt x="1339" y="3817"/>
                  </a:lnTo>
                  <a:lnTo>
                    <a:pt x="1343" y="3810"/>
                  </a:lnTo>
                  <a:lnTo>
                    <a:pt x="1349" y="3806"/>
                  </a:lnTo>
                  <a:lnTo>
                    <a:pt x="1357" y="3805"/>
                  </a:lnTo>
                  <a:lnTo>
                    <a:pt x="1364" y="3806"/>
                  </a:lnTo>
                  <a:lnTo>
                    <a:pt x="1371" y="3810"/>
                  </a:lnTo>
                  <a:lnTo>
                    <a:pt x="1375" y="3817"/>
                  </a:lnTo>
                  <a:lnTo>
                    <a:pt x="1377" y="3824"/>
                  </a:lnTo>
                  <a:close/>
                  <a:moveTo>
                    <a:pt x="1640" y="3824"/>
                  </a:moveTo>
                  <a:lnTo>
                    <a:pt x="1640" y="3937"/>
                  </a:lnTo>
                  <a:lnTo>
                    <a:pt x="1637" y="3946"/>
                  </a:lnTo>
                  <a:lnTo>
                    <a:pt x="1634" y="3952"/>
                  </a:lnTo>
                  <a:lnTo>
                    <a:pt x="1627" y="3956"/>
                  </a:lnTo>
                  <a:lnTo>
                    <a:pt x="1620" y="3957"/>
                  </a:lnTo>
                  <a:lnTo>
                    <a:pt x="1612" y="3956"/>
                  </a:lnTo>
                  <a:lnTo>
                    <a:pt x="1605" y="3952"/>
                  </a:lnTo>
                  <a:lnTo>
                    <a:pt x="1602" y="3946"/>
                  </a:lnTo>
                  <a:lnTo>
                    <a:pt x="1600" y="3937"/>
                  </a:lnTo>
                  <a:lnTo>
                    <a:pt x="1600" y="3824"/>
                  </a:lnTo>
                  <a:lnTo>
                    <a:pt x="1602" y="3817"/>
                  </a:lnTo>
                  <a:lnTo>
                    <a:pt x="1605" y="3810"/>
                  </a:lnTo>
                  <a:lnTo>
                    <a:pt x="1612" y="3806"/>
                  </a:lnTo>
                  <a:lnTo>
                    <a:pt x="1620" y="3805"/>
                  </a:lnTo>
                  <a:lnTo>
                    <a:pt x="1627" y="3806"/>
                  </a:lnTo>
                  <a:lnTo>
                    <a:pt x="1634" y="3810"/>
                  </a:lnTo>
                  <a:lnTo>
                    <a:pt x="1637" y="3817"/>
                  </a:lnTo>
                  <a:lnTo>
                    <a:pt x="1640" y="3824"/>
                  </a:lnTo>
                  <a:close/>
                  <a:moveTo>
                    <a:pt x="2829" y="4093"/>
                  </a:moveTo>
                  <a:lnTo>
                    <a:pt x="2829" y="4085"/>
                  </a:lnTo>
                  <a:lnTo>
                    <a:pt x="2829" y="4093"/>
                  </a:lnTo>
                  <a:close/>
                  <a:moveTo>
                    <a:pt x="0" y="915"/>
                  </a:moveTo>
                  <a:lnTo>
                    <a:pt x="492" y="915"/>
                  </a:lnTo>
                  <a:lnTo>
                    <a:pt x="500" y="917"/>
                  </a:lnTo>
                  <a:lnTo>
                    <a:pt x="507" y="922"/>
                  </a:lnTo>
                  <a:lnTo>
                    <a:pt x="512" y="928"/>
                  </a:lnTo>
                  <a:lnTo>
                    <a:pt x="513" y="936"/>
                  </a:lnTo>
                  <a:lnTo>
                    <a:pt x="513" y="1633"/>
                  </a:lnTo>
                  <a:lnTo>
                    <a:pt x="513" y="2329"/>
                  </a:lnTo>
                  <a:lnTo>
                    <a:pt x="512" y="2338"/>
                  </a:lnTo>
                  <a:lnTo>
                    <a:pt x="507" y="2345"/>
                  </a:lnTo>
                  <a:lnTo>
                    <a:pt x="500" y="2349"/>
                  </a:lnTo>
                  <a:lnTo>
                    <a:pt x="492" y="2350"/>
                  </a:lnTo>
                  <a:lnTo>
                    <a:pt x="486" y="2349"/>
                  </a:lnTo>
                  <a:lnTo>
                    <a:pt x="480" y="2345"/>
                  </a:lnTo>
                  <a:lnTo>
                    <a:pt x="474" y="2338"/>
                  </a:lnTo>
                  <a:lnTo>
                    <a:pt x="473" y="2329"/>
                  </a:lnTo>
                  <a:lnTo>
                    <a:pt x="473" y="1642"/>
                  </a:lnTo>
                  <a:lnTo>
                    <a:pt x="473" y="955"/>
                  </a:lnTo>
                  <a:lnTo>
                    <a:pt x="0" y="955"/>
                  </a:lnTo>
                  <a:lnTo>
                    <a:pt x="0" y="915"/>
                  </a:lnTo>
                  <a:close/>
                  <a:moveTo>
                    <a:pt x="190" y="1345"/>
                  </a:moveTo>
                  <a:lnTo>
                    <a:pt x="190" y="1450"/>
                  </a:lnTo>
                  <a:lnTo>
                    <a:pt x="188" y="1457"/>
                  </a:lnTo>
                  <a:lnTo>
                    <a:pt x="183" y="1464"/>
                  </a:lnTo>
                  <a:lnTo>
                    <a:pt x="177" y="1468"/>
                  </a:lnTo>
                  <a:lnTo>
                    <a:pt x="171" y="1469"/>
                  </a:lnTo>
                  <a:lnTo>
                    <a:pt x="163" y="1468"/>
                  </a:lnTo>
                  <a:lnTo>
                    <a:pt x="156" y="1464"/>
                  </a:lnTo>
                  <a:lnTo>
                    <a:pt x="151" y="1457"/>
                  </a:lnTo>
                  <a:lnTo>
                    <a:pt x="150" y="1450"/>
                  </a:lnTo>
                  <a:lnTo>
                    <a:pt x="150" y="1345"/>
                  </a:lnTo>
                  <a:lnTo>
                    <a:pt x="151" y="1337"/>
                  </a:lnTo>
                  <a:lnTo>
                    <a:pt x="156" y="1331"/>
                  </a:lnTo>
                  <a:lnTo>
                    <a:pt x="163" y="1327"/>
                  </a:lnTo>
                  <a:lnTo>
                    <a:pt x="171" y="1326"/>
                  </a:lnTo>
                  <a:lnTo>
                    <a:pt x="177" y="1327"/>
                  </a:lnTo>
                  <a:lnTo>
                    <a:pt x="183" y="1331"/>
                  </a:lnTo>
                  <a:lnTo>
                    <a:pt x="188" y="1337"/>
                  </a:lnTo>
                  <a:lnTo>
                    <a:pt x="190" y="1345"/>
                  </a:lnTo>
                  <a:close/>
                  <a:moveTo>
                    <a:pt x="190" y="1576"/>
                  </a:moveTo>
                  <a:lnTo>
                    <a:pt x="190" y="1680"/>
                  </a:lnTo>
                  <a:lnTo>
                    <a:pt x="188" y="1689"/>
                  </a:lnTo>
                  <a:lnTo>
                    <a:pt x="183" y="1695"/>
                  </a:lnTo>
                  <a:lnTo>
                    <a:pt x="177" y="1699"/>
                  </a:lnTo>
                  <a:lnTo>
                    <a:pt x="171" y="1700"/>
                  </a:lnTo>
                  <a:lnTo>
                    <a:pt x="163" y="1699"/>
                  </a:lnTo>
                  <a:lnTo>
                    <a:pt x="156" y="1695"/>
                  </a:lnTo>
                  <a:lnTo>
                    <a:pt x="151" y="1689"/>
                  </a:lnTo>
                  <a:lnTo>
                    <a:pt x="150" y="1680"/>
                  </a:lnTo>
                  <a:lnTo>
                    <a:pt x="150" y="1576"/>
                  </a:lnTo>
                  <a:lnTo>
                    <a:pt x="151" y="1567"/>
                  </a:lnTo>
                  <a:lnTo>
                    <a:pt x="156" y="1561"/>
                  </a:lnTo>
                  <a:lnTo>
                    <a:pt x="163" y="1558"/>
                  </a:lnTo>
                  <a:lnTo>
                    <a:pt x="171" y="1557"/>
                  </a:lnTo>
                  <a:lnTo>
                    <a:pt x="177" y="1558"/>
                  </a:lnTo>
                  <a:lnTo>
                    <a:pt x="183" y="1561"/>
                  </a:lnTo>
                  <a:lnTo>
                    <a:pt x="188" y="1567"/>
                  </a:lnTo>
                  <a:lnTo>
                    <a:pt x="190" y="1576"/>
                  </a:lnTo>
                  <a:close/>
                  <a:moveTo>
                    <a:pt x="190" y="1808"/>
                  </a:moveTo>
                  <a:lnTo>
                    <a:pt x="190" y="1911"/>
                  </a:lnTo>
                  <a:lnTo>
                    <a:pt x="188" y="1920"/>
                  </a:lnTo>
                  <a:lnTo>
                    <a:pt x="183" y="1927"/>
                  </a:lnTo>
                  <a:lnTo>
                    <a:pt x="177" y="1931"/>
                  </a:lnTo>
                  <a:lnTo>
                    <a:pt x="171" y="1932"/>
                  </a:lnTo>
                  <a:lnTo>
                    <a:pt x="163" y="1931"/>
                  </a:lnTo>
                  <a:lnTo>
                    <a:pt x="156" y="1927"/>
                  </a:lnTo>
                  <a:lnTo>
                    <a:pt x="151" y="1920"/>
                  </a:lnTo>
                  <a:lnTo>
                    <a:pt x="150" y="1911"/>
                  </a:lnTo>
                  <a:lnTo>
                    <a:pt x="150" y="1808"/>
                  </a:lnTo>
                  <a:lnTo>
                    <a:pt x="151" y="1799"/>
                  </a:lnTo>
                  <a:lnTo>
                    <a:pt x="156" y="1792"/>
                  </a:lnTo>
                  <a:lnTo>
                    <a:pt x="163" y="1789"/>
                  </a:lnTo>
                  <a:lnTo>
                    <a:pt x="171" y="1787"/>
                  </a:lnTo>
                  <a:lnTo>
                    <a:pt x="177" y="1789"/>
                  </a:lnTo>
                  <a:lnTo>
                    <a:pt x="183" y="1792"/>
                  </a:lnTo>
                  <a:lnTo>
                    <a:pt x="188" y="1799"/>
                  </a:lnTo>
                  <a:lnTo>
                    <a:pt x="190" y="1808"/>
                  </a:lnTo>
                  <a:close/>
                  <a:moveTo>
                    <a:pt x="190" y="2039"/>
                  </a:moveTo>
                  <a:lnTo>
                    <a:pt x="190" y="2143"/>
                  </a:lnTo>
                  <a:lnTo>
                    <a:pt x="188" y="2150"/>
                  </a:lnTo>
                  <a:lnTo>
                    <a:pt x="183" y="2157"/>
                  </a:lnTo>
                  <a:lnTo>
                    <a:pt x="177" y="2161"/>
                  </a:lnTo>
                  <a:lnTo>
                    <a:pt x="171" y="2162"/>
                  </a:lnTo>
                  <a:lnTo>
                    <a:pt x="163" y="2161"/>
                  </a:lnTo>
                  <a:lnTo>
                    <a:pt x="156" y="2157"/>
                  </a:lnTo>
                  <a:lnTo>
                    <a:pt x="151" y="2150"/>
                  </a:lnTo>
                  <a:lnTo>
                    <a:pt x="150" y="2143"/>
                  </a:lnTo>
                  <a:lnTo>
                    <a:pt x="150" y="2039"/>
                  </a:lnTo>
                  <a:lnTo>
                    <a:pt x="151" y="2030"/>
                  </a:lnTo>
                  <a:lnTo>
                    <a:pt x="156" y="2024"/>
                  </a:lnTo>
                  <a:lnTo>
                    <a:pt x="163" y="2020"/>
                  </a:lnTo>
                  <a:lnTo>
                    <a:pt x="171" y="2019"/>
                  </a:lnTo>
                  <a:lnTo>
                    <a:pt x="177" y="2020"/>
                  </a:lnTo>
                  <a:lnTo>
                    <a:pt x="183" y="2024"/>
                  </a:lnTo>
                  <a:lnTo>
                    <a:pt x="188" y="2030"/>
                  </a:lnTo>
                  <a:lnTo>
                    <a:pt x="190" y="2039"/>
                  </a:lnTo>
                  <a:close/>
                  <a:moveTo>
                    <a:pt x="190" y="2269"/>
                  </a:moveTo>
                  <a:lnTo>
                    <a:pt x="190" y="2373"/>
                  </a:lnTo>
                  <a:lnTo>
                    <a:pt x="188" y="2382"/>
                  </a:lnTo>
                  <a:lnTo>
                    <a:pt x="183" y="2388"/>
                  </a:lnTo>
                  <a:lnTo>
                    <a:pt x="177" y="2392"/>
                  </a:lnTo>
                  <a:lnTo>
                    <a:pt x="171" y="2393"/>
                  </a:lnTo>
                  <a:lnTo>
                    <a:pt x="163" y="2392"/>
                  </a:lnTo>
                  <a:lnTo>
                    <a:pt x="156" y="2388"/>
                  </a:lnTo>
                  <a:lnTo>
                    <a:pt x="151" y="2382"/>
                  </a:lnTo>
                  <a:lnTo>
                    <a:pt x="150" y="2373"/>
                  </a:lnTo>
                  <a:lnTo>
                    <a:pt x="150" y="2269"/>
                  </a:lnTo>
                  <a:lnTo>
                    <a:pt x="151" y="2260"/>
                  </a:lnTo>
                  <a:lnTo>
                    <a:pt x="156" y="2255"/>
                  </a:lnTo>
                  <a:lnTo>
                    <a:pt x="163" y="2251"/>
                  </a:lnTo>
                  <a:lnTo>
                    <a:pt x="171" y="2250"/>
                  </a:lnTo>
                  <a:lnTo>
                    <a:pt x="177" y="2251"/>
                  </a:lnTo>
                  <a:lnTo>
                    <a:pt x="183" y="2255"/>
                  </a:lnTo>
                  <a:lnTo>
                    <a:pt x="188" y="2260"/>
                  </a:lnTo>
                  <a:lnTo>
                    <a:pt x="190" y="2269"/>
                  </a:lnTo>
                  <a:close/>
                  <a:moveTo>
                    <a:pt x="190" y="2501"/>
                  </a:moveTo>
                  <a:lnTo>
                    <a:pt x="190" y="2604"/>
                  </a:lnTo>
                  <a:lnTo>
                    <a:pt x="188" y="2613"/>
                  </a:lnTo>
                  <a:lnTo>
                    <a:pt x="183" y="2620"/>
                  </a:lnTo>
                  <a:lnTo>
                    <a:pt x="177" y="2624"/>
                  </a:lnTo>
                  <a:lnTo>
                    <a:pt x="171" y="2625"/>
                  </a:lnTo>
                  <a:lnTo>
                    <a:pt x="163" y="2624"/>
                  </a:lnTo>
                  <a:lnTo>
                    <a:pt x="156" y="2620"/>
                  </a:lnTo>
                  <a:lnTo>
                    <a:pt x="151" y="2613"/>
                  </a:lnTo>
                  <a:lnTo>
                    <a:pt x="150" y="2604"/>
                  </a:lnTo>
                  <a:lnTo>
                    <a:pt x="150" y="2501"/>
                  </a:lnTo>
                  <a:lnTo>
                    <a:pt x="151" y="2492"/>
                  </a:lnTo>
                  <a:lnTo>
                    <a:pt x="156" y="2485"/>
                  </a:lnTo>
                  <a:lnTo>
                    <a:pt x="163" y="2482"/>
                  </a:lnTo>
                  <a:lnTo>
                    <a:pt x="171" y="2480"/>
                  </a:lnTo>
                  <a:lnTo>
                    <a:pt x="177" y="2482"/>
                  </a:lnTo>
                  <a:lnTo>
                    <a:pt x="183" y="2485"/>
                  </a:lnTo>
                  <a:lnTo>
                    <a:pt x="188" y="2492"/>
                  </a:lnTo>
                  <a:lnTo>
                    <a:pt x="190" y="2501"/>
                  </a:lnTo>
                  <a:close/>
                  <a:moveTo>
                    <a:pt x="190" y="2732"/>
                  </a:moveTo>
                  <a:lnTo>
                    <a:pt x="190" y="2836"/>
                  </a:lnTo>
                  <a:lnTo>
                    <a:pt x="188" y="2845"/>
                  </a:lnTo>
                  <a:lnTo>
                    <a:pt x="183" y="2850"/>
                  </a:lnTo>
                  <a:lnTo>
                    <a:pt x="177" y="2854"/>
                  </a:lnTo>
                  <a:lnTo>
                    <a:pt x="171" y="2855"/>
                  </a:lnTo>
                  <a:lnTo>
                    <a:pt x="163" y="2854"/>
                  </a:lnTo>
                  <a:lnTo>
                    <a:pt x="156" y="2850"/>
                  </a:lnTo>
                  <a:lnTo>
                    <a:pt x="151" y="2845"/>
                  </a:lnTo>
                  <a:lnTo>
                    <a:pt x="150" y="2836"/>
                  </a:lnTo>
                  <a:lnTo>
                    <a:pt x="150" y="2732"/>
                  </a:lnTo>
                  <a:lnTo>
                    <a:pt x="151" y="2723"/>
                  </a:lnTo>
                  <a:lnTo>
                    <a:pt x="156" y="2717"/>
                  </a:lnTo>
                  <a:lnTo>
                    <a:pt x="163" y="2713"/>
                  </a:lnTo>
                  <a:lnTo>
                    <a:pt x="171" y="2712"/>
                  </a:lnTo>
                  <a:lnTo>
                    <a:pt x="177" y="2713"/>
                  </a:lnTo>
                  <a:lnTo>
                    <a:pt x="183" y="2717"/>
                  </a:lnTo>
                  <a:lnTo>
                    <a:pt x="188" y="2723"/>
                  </a:lnTo>
                  <a:lnTo>
                    <a:pt x="190" y="2732"/>
                  </a:lnTo>
                  <a:close/>
                  <a:moveTo>
                    <a:pt x="190" y="2962"/>
                  </a:moveTo>
                  <a:lnTo>
                    <a:pt x="190" y="3066"/>
                  </a:lnTo>
                  <a:lnTo>
                    <a:pt x="188" y="3075"/>
                  </a:lnTo>
                  <a:lnTo>
                    <a:pt x="183" y="3081"/>
                  </a:lnTo>
                  <a:lnTo>
                    <a:pt x="177" y="3085"/>
                  </a:lnTo>
                  <a:lnTo>
                    <a:pt x="171" y="3086"/>
                  </a:lnTo>
                  <a:lnTo>
                    <a:pt x="163" y="3085"/>
                  </a:lnTo>
                  <a:lnTo>
                    <a:pt x="156" y="3081"/>
                  </a:lnTo>
                  <a:lnTo>
                    <a:pt x="151" y="3075"/>
                  </a:lnTo>
                  <a:lnTo>
                    <a:pt x="150" y="3066"/>
                  </a:lnTo>
                  <a:lnTo>
                    <a:pt x="150" y="2962"/>
                  </a:lnTo>
                  <a:lnTo>
                    <a:pt x="151" y="2953"/>
                  </a:lnTo>
                  <a:lnTo>
                    <a:pt x="156" y="2948"/>
                  </a:lnTo>
                  <a:lnTo>
                    <a:pt x="163" y="2945"/>
                  </a:lnTo>
                  <a:lnTo>
                    <a:pt x="171" y="2943"/>
                  </a:lnTo>
                  <a:lnTo>
                    <a:pt x="177" y="2945"/>
                  </a:lnTo>
                  <a:lnTo>
                    <a:pt x="183" y="2948"/>
                  </a:lnTo>
                  <a:lnTo>
                    <a:pt x="188" y="2953"/>
                  </a:lnTo>
                  <a:lnTo>
                    <a:pt x="190" y="2962"/>
                  </a:lnTo>
                  <a:close/>
                  <a:moveTo>
                    <a:pt x="2375" y="1897"/>
                  </a:moveTo>
                  <a:lnTo>
                    <a:pt x="2375" y="2001"/>
                  </a:lnTo>
                  <a:lnTo>
                    <a:pt x="2372" y="2010"/>
                  </a:lnTo>
                  <a:lnTo>
                    <a:pt x="2368" y="2016"/>
                  </a:lnTo>
                  <a:lnTo>
                    <a:pt x="2362" y="2020"/>
                  </a:lnTo>
                  <a:lnTo>
                    <a:pt x="2354" y="2021"/>
                  </a:lnTo>
                  <a:lnTo>
                    <a:pt x="2347" y="2020"/>
                  </a:lnTo>
                  <a:lnTo>
                    <a:pt x="2340" y="2016"/>
                  </a:lnTo>
                  <a:lnTo>
                    <a:pt x="2336" y="2010"/>
                  </a:lnTo>
                  <a:lnTo>
                    <a:pt x="2334" y="2001"/>
                  </a:lnTo>
                  <a:lnTo>
                    <a:pt x="2334" y="1897"/>
                  </a:lnTo>
                  <a:lnTo>
                    <a:pt x="2336" y="1888"/>
                  </a:lnTo>
                  <a:lnTo>
                    <a:pt x="2340" y="1882"/>
                  </a:lnTo>
                  <a:lnTo>
                    <a:pt x="2347" y="1878"/>
                  </a:lnTo>
                  <a:lnTo>
                    <a:pt x="2354" y="1877"/>
                  </a:lnTo>
                  <a:lnTo>
                    <a:pt x="2362" y="1878"/>
                  </a:lnTo>
                  <a:lnTo>
                    <a:pt x="2368" y="1882"/>
                  </a:lnTo>
                  <a:lnTo>
                    <a:pt x="2372" y="1888"/>
                  </a:lnTo>
                  <a:lnTo>
                    <a:pt x="2375" y="1897"/>
                  </a:lnTo>
                  <a:close/>
                  <a:moveTo>
                    <a:pt x="2589" y="1897"/>
                  </a:moveTo>
                  <a:lnTo>
                    <a:pt x="2589" y="2001"/>
                  </a:lnTo>
                  <a:lnTo>
                    <a:pt x="2588" y="2010"/>
                  </a:lnTo>
                  <a:lnTo>
                    <a:pt x="2583" y="2016"/>
                  </a:lnTo>
                  <a:lnTo>
                    <a:pt x="2576" y="2020"/>
                  </a:lnTo>
                  <a:lnTo>
                    <a:pt x="2570" y="2021"/>
                  </a:lnTo>
                  <a:lnTo>
                    <a:pt x="2562" y="2020"/>
                  </a:lnTo>
                  <a:lnTo>
                    <a:pt x="2556" y="2016"/>
                  </a:lnTo>
                  <a:lnTo>
                    <a:pt x="2550" y="2010"/>
                  </a:lnTo>
                  <a:lnTo>
                    <a:pt x="2549" y="2001"/>
                  </a:lnTo>
                  <a:lnTo>
                    <a:pt x="2549" y="1897"/>
                  </a:lnTo>
                  <a:lnTo>
                    <a:pt x="2550" y="1888"/>
                  </a:lnTo>
                  <a:lnTo>
                    <a:pt x="2556" y="1882"/>
                  </a:lnTo>
                  <a:lnTo>
                    <a:pt x="2562" y="1878"/>
                  </a:lnTo>
                  <a:lnTo>
                    <a:pt x="2570" y="1877"/>
                  </a:lnTo>
                  <a:lnTo>
                    <a:pt x="2576" y="1878"/>
                  </a:lnTo>
                  <a:lnTo>
                    <a:pt x="2583" y="1882"/>
                  </a:lnTo>
                  <a:lnTo>
                    <a:pt x="2588" y="1888"/>
                  </a:lnTo>
                  <a:lnTo>
                    <a:pt x="2589" y="1897"/>
                  </a:lnTo>
                  <a:close/>
                  <a:moveTo>
                    <a:pt x="2804" y="1897"/>
                  </a:moveTo>
                  <a:lnTo>
                    <a:pt x="2804" y="2001"/>
                  </a:lnTo>
                  <a:lnTo>
                    <a:pt x="2803" y="2010"/>
                  </a:lnTo>
                  <a:lnTo>
                    <a:pt x="2798" y="2016"/>
                  </a:lnTo>
                  <a:lnTo>
                    <a:pt x="2792" y="2020"/>
                  </a:lnTo>
                  <a:lnTo>
                    <a:pt x="2784" y="2021"/>
                  </a:lnTo>
                  <a:lnTo>
                    <a:pt x="2777" y="2020"/>
                  </a:lnTo>
                  <a:lnTo>
                    <a:pt x="2771" y="2016"/>
                  </a:lnTo>
                  <a:lnTo>
                    <a:pt x="2766" y="2010"/>
                  </a:lnTo>
                  <a:lnTo>
                    <a:pt x="2765" y="2001"/>
                  </a:lnTo>
                  <a:lnTo>
                    <a:pt x="2765" y="1897"/>
                  </a:lnTo>
                  <a:lnTo>
                    <a:pt x="2766" y="1888"/>
                  </a:lnTo>
                  <a:lnTo>
                    <a:pt x="2771" y="1882"/>
                  </a:lnTo>
                  <a:lnTo>
                    <a:pt x="2777" y="1878"/>
                  </a:lnTo>
                  <a:lnTo>
                    <a:pt x="2784" y="1877"/>
                  </a:lnTo>
                  <a:lnTo>
                    <a:pt x="2792" y="1878"/>
                  </a:lnTo>
                  <a:lnTo>
                    <a:pt x="2798" y="1882"/>
                  </a:lnTo>
                  <a:lnTo>
                    <a:pt x="2803" y="1888"/>
                  </a:lnTo>
                  <a:lnTo>
                    <a:pt x="2804" y="1897"/>
                  </a:lnTo>
                  <a:close/>
                  <a:moveTo>
                    <a:pt x="2375" y="2245"/>
                  </a:moveTo>
                  <a:lnTo>
                    <a:pt x="2375" y="2349"/>
                  </a:lnTo>
                  <a:lnTo>
                    <a:pt x="2372" y="2358"/>
                  </a:lnTo>
                  <a:lnTo>
                    <a:pt x="2368" y="2364"/>
                  </a:lnTo>
                  <a:lnTo>
                    <a:pt x="2362" y="2368"/>
                  </a:lnTo>
                  <a:lnTo>
                    <a:pt x="2354" y="2369"/>
                  </a:lnTo>
                  <a:lnTo>
                    <a:pt x="2347" y="2368"/>
                  </a:lnTo>
                  <a:lnTo>
                    <a:pt x="2340" y="2364"/>
                  </a:lnTo>
                  <a:lnTo>
                    <a:pt x="2336" y="2358"/>
                  </a:lnTo>
                  <a:lnTo>
                    <a:pt x="2334" y="2349"/>
                  </a:lnTo>
                  <a:lnTo>
                    <a:pt x="2334" y="2245"/>
                  </a:lnTo>
                  <a:lnTo>
                    <a:pt x="2336" y="2236"/>
                  </a:lnTo>
                  <a:lnTo>
                    <a:pt x="2340" y="2230"/>
                  </a:lnTo>
                  <a:lnTo>
                    <a:pt x="2347" y="2226"/>
                  </a:lnTo>
                  <a:lnTo>
                    <a:pt x="2354" y="2225"/>
                  </a:lnTo>
                  <a:lnTo>
                    <a:pt x="2362" y="2226"/>
                  </a:lnTo>
                  <a:lnTo>
                    <a:pt x="2368" y="2230"/>
                  </a:lnTo>
                  <a:lnTo>
                    <a:pt x="2372" y="2236"/>
                  </a:lnTo>
                  <a:lnTo>
                    <a:pt x="2375" y="2245"/>
                  </a:lnTo>
                  <a:close/>
                  <a:moveTo>
                    <a:pt x="2589" y="2245"/>
                  </a:moveTo>
                  <a:lnTo>
                    <a:pt x="2589" y="2349"/>
                  </a:lnTo>
                  <a:lnTo>
                    <a:pt x="2588" y="2358"/>
                  </a:lnTo>
                  <a:lnTo>
                    <a:pt x="2583" y="2364"/>
                  </a:lnTo>
                  <a:lnTo>
                    <a:pt x="2576" y="2368"/>
                  </a:lnTo>
                  <a:lnTo>
                    <a:pt x="2570" y="2369"/>
                  </a:lnTo>
                  <a:lnTo>
                    <a:pt x="2562" y="2368"/>
                  </a:lnTo>
                  <a:lnTo>
                    <a:pt x="2556" y="2364"/>
                  </a:lnTo>
                  <a:lnTo>
                    <a:pt x="2550" y="2358"/>
                  </a:lnTo>
                  <a:lnTo>
                    <a:pt x="2549" y="2349"/>
                  </a:lnTo>
                  <a:lnTo>
                    <a:pt x="2549" y="2245"/>
                  </a:lnTo>
                  <a:lnTo>
                    <a:pt x="2550" y="2236"/>
                  </a:lnTo>
                  <a:lnTo>
                    <a:pt x="2556" y="2230"/>
                  </a:lnTo>
                  <a:lnTo>
                    <a:pt x="2562" y="2226"/>
                  </a:lnTo>
                  <a:lnTo>
                    <a:pt x="2570" y="2225"/>
                  </a:lnTo>
                  <a:lnTo>
                    <a:pt x="2576" y="2226"/>
                  </a:lnTo>
                  <a:lnTo>
                    <a:pt x="2583" y="2230"/>
                  </a:lnTo>
                  <a:lnTo>
                    <a:pt x="2588" y="2236"/>
                  </a:lnTo>
                  <a:lnTo>
                    <a:pt x="2589" y="2245"/>
                  </a:lnTo>
                  <a:close/>
                  <a:moveTo>
                    <a:pt x="2804" y="2245"/>
                  </a:moveTo>
                  <a:lnTo>
                    <a:pt x="2804" y="2349"/>
                  </a:lnTo>
                  <a:lnTo>
                    <a:pt x="2803" y="2358"/>
                  </a:lnTo>
                  <a:lnTo>
                    <a:pt x="2798" y="2364"/>
                  </a:lnTo>
                  <a:lnTo>
                    <a:pt x="2792" y="2368"/>
                  </a:lnTo>
                  <a:lnTo>
                    <a:pt x="2784" y="2369"/>
                  </a:lnTo>
                  <a:lnTo>
                    <a:pt x="2777" y="2368"/>
                  </a:lnTo>
                  <a:lnTo>
                    <a:pt x="2771" y="2364"/>
                  </a:lnTo>
                  <a:lnTo>
                    <a:pt x="2766" y="2358"/>
                  </a:lnTo>
                  <a:lnTo>
                    <a:pt x="2765" y="2349"/>
                  </a:lnTo>
                  <a:lnTo>
                    <a:pt x="2765" y="2245"/>
                  </a:lnTo>
                  <a:lnTo>
                    <a:pt x="2766" y="2236"/>
                  </a:lnTo>
                  <a:lnTo>
                    <a:pt x="2771" y="2230"/>
                  </a:lnTo>
                  <a:lnTo>
                    <a:pt x="2777" y="2226"/>
                  </a:lnTo>
                  <a:lnTo>
                    <a:pt x="2784" y="2225"/>
                  </a:lnTo>
                  <a:lnTo>
                    <a:pt x="2792" y="2226"/>
                  </a:lnTo>
                  <a:lnTo>
                    <a:pt x="2798" y="2230"/>
                  </a:lnTo>
                  <a:lnTo>
                    <a:pt x="2803" y="2236"/>
                  </a:lnTo>
                  <a:lnTo>
                    <a:pt x="2804" y="2245"/>
                  </a:lnTo>
                  <a:close/>
                  <a:moveTo>
                    <a:pt x="2375" y="2593"/>
                  </a:moveTo>
                  <a:lnTo>
                    <a:pt x="2375" y="2696"/>
                  </a:lnTo>
                  <a:lnTo>
                    <a:pt x="2372" y="2705"/>
                  </a:lnTo>
                  <a:lnTo>
                    <a:pt x="2368" y="2712"/>
                  </a:lnTo>
                  <a:lnTo>
                    <a:pt x="2362" y="2716"/>
                  </a:lnTo>
                  <a:lnTo>
                    <a:pt x="2354" y="2717"/>
                  </a:lnTo>
                  <a:lnTo>
                    <a:pt x="2347" y="2716"/>
                  </a:lnTo>
                  <a:lnTo>
                    <a:pt x="2340" y="2712"/>
                  </a:lnTo>
                  <a:lnTo>
                    <a:pt x="2336" y="2705"/>
                  </a:lnTo>
                  <a:lnTo>
                    <a:pt x="2334" y="2696"/>
                  </a:lnTo>
                  <a:lnTo>
                    <a:pt x="2334" y="2593"/>
                  </a:lnTo>
                  <a:lnTo>
                    <a:pt x="2336" y="2584"/>
                  </a:lnTo>
                  <a:lnTo>
                    <a:pt x="2340" y="2578"/>
                  </a:lnTo>
                  <a:lnTo>
                    <a:pt x="2347" y="2574"/>
                  </a:lnTo>
                  <a:lnTo>
                    <a:pt x="2354" y="2572"/>
                  </a:lnTo>
                  <a:lnTo>
                    <a:pt x="2362" y="2574"/>
                  </a:lnTo>
                  <a:lnTo>
                    <a:pt x="2368" y="2578"/>
                  </a:lnTo>
                  <a:lnTo>
                    <a:pt x="2372" y="2584"/>
                  </a:lnTo>
                  <a:lnTo>
                    <a:pt x="2375" y="2593"/>
                  </a:lnTo>
                  <a:close/>
                  <a:moveTo>
                    <a:pt x="2589" y="2593"/>
                  </a:moveTo>
                  <a:lnTo>
                    <a:pt x="2589" y="2696"/>
                  </a:lnTo>
                  <a:lnTo>
                    <a:pt x="2588" y="2705"/>
                  </a:lnTo>
                  <a:lnTo>
                    <a:pt x="2583" y="2712"/>
                  </a:lnTo>
                  <a:lnTo>
                    <a:pt x="2576" y="2716"/>
                  </a:lnTo>
                  <a:lnTo>
                    <a:pt x="2570" y="2717"/>
                  </a:lnTo>
                  <a:lnTo>
                    <a:pt x="2562" y="2716"/>
                  </a:lnTo>
                  <a:lnTo>
                    <a:pt x="2556" y="2712"/>
                  </a:lnTo>
                  <a:lnTo>
                    <a:pt x="2550" y="2705"/>
                  </a:lnTo>
                  <a:lnTo>
                    <a:pt x="2549" y="2696"/>
                  </a:lnTo>
                  <a:lnTo>
                    <a:pt x="2549" y="2593"/>
                  </a:lnTo>
                  <a:lnTo>
                    <a:pt x="2550" y="2584"/>
                  </a:lnTo>
                  <a:lnTo>
                    <a:pt x="2556" y="2578"/>
                  </a:lnTo>
                  <a:lnTo>
                    <a:pt x="2562" y="2574"/>
                  </a:lnTo>
                  <a:lnTo>
                    <a:pt x="2570" y="2572"/>
                  </a:lnTo>
                  <a:lnTo>
                    <a:pt x="2576" y="2574"/>
                  </a:lnTo>
                  <a:lnTo>
                    <a:pt x="2583" y="2578"/>
                  </a:lnTo>
                  <a:lnTo>
                    <a:pt x="2588" y="2584"/>
                  </a:lnTo>
                  <a:lnTo>
                    <a:pt x="2589" y="2593"/>
                  </a:lnTo>
                  <a:close/>
                  <a:moveTo>
                    <a:pt x="2804" y="2593"/>
                  </a:moveTo>
                  <a:lnTo>
                    <a:pt x="2804" y="2696"/>
                  </a:lnTo>
                  <a:lnTo>
                    <a:pt x="2803" y="2705"/>
                  </a:lnTo>
                  <a:lnTo>
                    <a:pt x="2798" y="2712"/>
                  </a:lnTo>
                  <a:lnTo>
                    <a:pt x="2792" y="2716"/>
                  </a:lnTo>
                  <a:lnTo>
                    <a:pt x="2784" y="2717"/>
                  </a:lnTo>
                  <a:lnTo>
                    <a:pt x="2777" y="2716"/>
                  </a:lnTo>
                  <a:lnTo>
                    <a:pt x="2771" y="2712"/>
                  </a:lnTo>
                  <a:lnTo>
                    <a:pt x="2766" y="2705"/>
                  </a:lnTo>
                  <a:lnTo>
                    <a:pt x="2765" y="2696"/>
                  </a:lnTo>
                  <a:lnTo>
                    <a:pt x="2765" y="2593"/>
                  </a:lnTo>
                  <a:lnTo>
                    <a:pt x="2766" y="2584"/>
                  </a:lnTo>
                  <a:lnTo>
                    <a:pt x="2771" y="2578"/>
                  </a:lnTo>
                  <a:lnTo>
                    <a:pt x="2777" y="2574"/>
                  </a:lnTo>
                  <a:lnTo>
                    <a:pt x="2784" y="2572"/>
                  </a:lnTo>
                  <a:lnTo>
                    <a:pt x="2792" y="2574"/>
                  </a:lnTo>
                  <a:lnTo>
                    <a:pt x="2798" y="2578"/>
                  </a:lnTo>
                  <a:lnTo>
                    <a:pt x="2803" y="2584"/>
                  </a:lnTo>
                  <a:lnTo>
                    <a:pt x="2804" y="2593"/>
                  </a:lnTo>
                  <a:close/>
                  <a:moveTo>
                    <a:pt x="2375" y="2941"/>
                  </a:moveTo>
                  <a:lnTo>
                    <a:pt x="2375" y="3044"/>
                  </a:lnTo>
                  <a:lnTo>
                    <a:pt x="2372" y="3053"/>
                  </a:lnTo>
                  <a:lnTo>
                    <a:pt x="2368" y="3060"/>
                  </a:lnTo>
                  <a:lnTo>
                    <a:pt x="2362" y="3063"/>
                  </a:lnTo>
                  <a:lnTo>
                    <a:pt x="2354" y="3065"/>
                  </a:lnTo>
                  <a:lnTo>
                    <a:pt x="2347" y="3063"/>
                  </a:lnTo>
                  <a:lnTo>
                    <a:pt x="2340" y="3060"/>
                  </a:lnTo>
                  <a:lnTo>
                    <a:pt x="2336" y="3053"/>
                  </a:lnTo>
                  <a:lnTo>
                    <a:pt x="2334" y="3044"/>
                  </a:lnTo>
                  <a:lnTo>
                    <a:pt x="2334" y="2941"/>
                  </a:lnTo>
                  <a:lnTo>
                    <a:pt x="2336" y="2932"/>
                  </a:lnTo>
                  <a:lnTo>
                    <a:pt x="2340" y="2925"/>
                  </a:lnTo>
                  <a:lnTo>
                    <a:pt x="2347" y="2922"/>
                  </a:lnTo>
                  <a:lnTo>
                    <a:pt x="2354" y="2920"/>
                  </a:lnTo>
                  <a:lnTo>
                    <a:pt x="2362" y="2922"/>
                  </a:lnTo>
                  <a:lnTo>
                    <a:pt x="2368" y="2925"/>
                  </a:lnTo>
                  <a:lnTo>
                    <a:pt x="2372" y="2932"/>
                  </a:lnTo>
                  <a:lnTo>
                    <a:pt x="2375" y="2941"/>
                  </a:lnTo>
                  <a:close/>
                  <a:moveTo>
                    <a:pt x="2589" y="2941"/>
                  </a:moveTo>
                  <a:lnTo>
                    <a:pt x="2589" y="3044"/>
                  </a:lnTo>
                  <a:lnTo>
                    <a:pt x="2588" y="3053"/>
                  </a:lnTo>
                  <a:lnTo>
                    <a:pt x="2583" y="3060"/>
                  </a:lnTo>
                  <a:lnTo>
                    <a:pt x="2576" y="3063"/>
                  </a:lnTo>
                  <a:lnTo>
                    <a:pt x="2570" y="3065"/>
                  </a:lnTo>
                  <a:lnTo>
                    <a:pt x="2562" y="3063"/>
                  </a:lnTo>
                  <a:lnTo>
                    <a:pt x="2556" y="3060"/>
                  </a:lnTo>
                  <a:lnTo>
                    <a:pt x="2550" y="3053"/>
                  </a:lnTo>
                  <a:lnTo>
                    <a:pt x="2549" y="3044"/>
                  </a:lnTo>
                  <a:lnTo>
                    <a:pt x="2549" y="2941"/>
                  </a:lnTo>
                  <a:lnTo>
                    <a:pt x="2550" y="2932"/>
                  </a:lnTo>
                  <a:lnTo>
                    <a:pt x="2556" y="2925"/>
                  </a:lnTo>
                  <a:lnTo>
                    <a:pt x="2562" y="2922"/>
                  </a:lnTo>
                  <a:lnTo>
                    <a:pt x="2570" y="2920"/>
                  </a:lnTo>
                  <a:lnTo>
                    <a:pt x="2576" y="2922"/>
                  </a:lnTo>
                  <a:lnTo>
                    <a:pt x="2583" y="2925"/>
                  </a:lnTo>
                  <a:lnTo>
                    <a:pt x="2588" y="2932"/>
                  </a:lnTo>
                  <a:lnTo>
                    <a:pt x="2589" y="2941"/>
                  </a:lnTo>
                  <a:close/>
                  <a:moveTo>
                    <a:pt x="2804" y="2941"/>
                  </a:moveTo>
                  <a:lnTo>
                    <a:pt x="2804" y="3044"/>
                  </a:lnTo>
                  <a:lnTo>
                    <a:pt x="2803" y="3053"/>
                  </a:lnTo>
                  <a:lnTo>
                    <a:pt x="2798" y="3060"/>
                  </a:lnTo>
                  <a:lnTo>
                    <a:pt x="2792" y="3063"/>
                  </a:lnTo>
                  <a:lnTo>
                    <a:pt x="2784" y="3065"/>
                  </a:lnTo>
                  <a:lnTo>
                    <a:pt x="2777" y="3063"/>
                  </a:lnTo>
                  <a:lnTo>
                    <a:pt x="2771" y="3060"/>
                  </a:lnTo>
                  <a:lnTo>
                    <a:pt x="2766" y="3053"/>
                  </a:lnTo>
                  <a:lnTo>
                    <a:pt x="2765" y="3044"/>
                  </a:lnTo>
                  <a:lnTo>
                    <a:pt x="2765" y="2941"/>
                  </a:lnTo>
                  <a:lnTo>
                    <a:pt x="2766" y="2932"/>
                  </a:lnTo>
                  <a:lnTo>
                    <a:pt x="2771" y="2925"/>
                  </a:lnTo>
                  <a:lnTo>
                    <a:pt x="2777" y="2922"/>
                  </a:lnTo>
                  <a:lnTo>
                    <a:pt x="2784" y="2920"/>
                  </a:lnTo>
                  <a:lnTo>
                    <a:pt x="2792" y="2922"/>
                  </a:lnTo>
                  <a:lnTo>
                    <a:pt x="2798" y="2925"/>
                  </a:lnTo>
                  <a:lnTo>
                    <a:pt x="2803" y="2932"/>
                  </a:lnTo>
                  <a:lnTo>
                    <a:pt x="2804" y="2941"/>
                  </a:lnTo>
                  <a:close/>
                  <a:moveTo>
                    <a:pt x="6888" y="1521"/>
                  </a:moveTo>
                  <a:lnTo>
                    <a:pt x="6778" y="1521"/>
                  </a:lnTo>
                  <a:lnTo>
                    <a:pt x="6778" y="1631"/>
                  </a:lnTo>
                  <a:lnTo>
                    <a:pt x="6888" y="1631"/>
                  </a:lnTo>
                  <a:lnTo>
                    <a:pt x="6888" y="1521"/>
                  </a:lnTo>
                  <a:close/>
                  <a:moveTo>
                    <a:pt x="7276" y="2772"/>
                  </a:moveTo>
                  <a:lnTo>
                    <a:pt x="7276" y="2585"/>
                  </a:lnTo>
                  <a:lnTo>
                    <a:pt x="7276" y="2277"/>
                  </a:lnTo>
                  <a:lnTo>
                    <a:pt x="7277" y="2271"/>
                  </a:lnTo>
                  <a:lnTo>
                    <a:pt x="7277" y="1671"/>
                  </a:lnTo>
                  <a:lnTo>
                    <a:pt x="6909" y="1671"/>
                  </a:lnTo>
                  <a:lnTo>
                    <a:pt x="6758" y="1671"/>
                  </a:lnTo>
                  <a:lnTo>
                    <a:pt x="6469" y="1671"/>
                  </a:lnTo>
                  <a:lnTo>
                    <a:pt x="6460" y="1670"/>
                  </a:lnTo>
                  <a:lnTo>
                    <a:pt x="6454" y="1665"/>
                  </a:lnTo>
                  <a:lnTo>
                    <a:pt x="6450" y="1658"/>
                  </a:lnTo>
                  <a:lnTo>
                    <a:pt x="6449" y="1652"/>
                  </a:lnTo>
                  <a:lnTo>
                    <a:pt x="6450" y="1644"/>
                  </a:lnTo>
                  <a:lnTo>
                    <a:pt x="6454" y="1638"/>
                  </a:lnTo>
                  <a:lnTo>
                    <a:pt x="6460" y="1633"/>
                  </a:lnTo>
                  <a:lnTo>
                    <a:pt x="6469" y="1631"/>
                  </a:lnTo>
                  <a:lnTo>
                    <a:pt x="6574" y="1631"/>
                  </a:lnTo>
                  <a:lnTo>
                    <a:pt x="6574" y="1488"/>
                  </a:lnTo>
                  <a:lnTo>
                    <a:pt x="6172" y="1488"/>
                  </a:lnTo>
                  <a:lnTo>
                    <a:pt x="6172" y="1631"/>
                  </a:lnTo>
                  <a:lnTo>
                    <a:pt x="6204" y="1631"/>
                  </a:lnTo>
                  <a:lnTo>
                    <a:pt x="6213" y="1633"/>
                  </a:lnTo>
                  <a:lnTo>
                    <a:pt x="6219" y="1638"/>
                  </a:lnTo>
                  <a:lnTo>
                    <a:pt x="6223" y="1644"/>
                  </a:lnTo>
                  <a:lnTo>
                    <a:pt x="6224" y="1652"/>
                  </a:lnTo>
                  <a:lnTo>
                    <a:pt x="6223" y="1658"/>
                  </a:lnTo>
                  <a:lnTo>
                    <a:pt x="6219" y="1665"/>
                  </a:lnTo>
                  <a:lnTo>
                    <a:pt x="6213" y="1670"/>
                  </a:lnTo>
                  <a:lnTo>
                    <a:pt x="6204" y="1671"/>
                  </a:lnTo>
                  <a:lnTo>
                    <a:pt x="6037" y="1671"/>
                  </a:lnTo>
                  <a:lnTo>
                    <a:pt x="6037" y="2332"/>
                  </a:lnTo>
                  <a:lnTo>
                    <a:pt x="6037" y="2993"/>
                  </a:lnTo>
                  <a:lnTo>
                    <a:pt x="6037" y="3654"/>
                  </a:lnTo>
                  <a:lnTo>
                    <a:pt x="6037" y="4317"/>
                  </a:lnTo>
                  <a:lnTo>
                    <a:pt x="6656" y="4317"/>
                  </a:lnTo>
                  <a:lnTo>
                    <a:pt x="7276" y="4317"/>
                  </a:lnTo>
                  <a:lnTo>
                    <a:pt x="7276" y="3544"/>
                  </a:lnTo>
                  <a:lnTo>
                    <a:pt x="7276" y="2772"/>
                  </a:lnTo>
                  <a:close/>
                  <a:moveTo>
                    <a:pt x="9050" y="2792"/>
                  </a:moveTo>
                  <a:lnTo>
                    <a:pt x="8182" y="2792"/>
                  </a:lnTo>
                  <a:lnTo>
                    <a:pt x="7315" y="2792"/>
                  </a:lnTo>
                  <a:lnTo>
                    <a:pt x="7315" y="3554"/>
                  </a:lnTo>
                  <a:lnTo>
                    <a:pt x="7315" y="4317"/>
                  </a:lnTo>
                  <a:lnTo>
                    <a:pt x="8182" y="4317"/>
                  </a:lnTo>
                  <a:lnTo>
                    <a:pt x="9050" y="4317"/>
                  </a:lnTo>
                  <a:lnTo>
                    <a:pt x="9050" y="3554"/>
                  </a:lnTo>
                  <a:lnTo>
                    <a:pt x="9050" y="2792"/>
                  </a:lnTo>
                  <a:close/>
                  <a:moveTo>
                    <a:pt x="8412" y="2258"/>
                  </a:moveTo>
                  <a:lnTo>
                    <a:pt x="8412" y="2135"/>
                  </a:lnTo>
                  <a:lnTo>
                    <a:pt x="8413" y="2127"/>
                  </a:lnTo>
                  <a:lnTo>
                    <a:pt x="8418" y="2121"/>
                  </a:lnTo>
                  <a:lnTo>
                    <a:pt x="8425" y="2117"/>
                  </a:lnTo>
                  <a:lnTo>
                    <a:pt x="8432" y="2116"/>
                  </a:lnTo>
                  <a:lnTo>
                    <a:pt x="8677" y="2116"/>
                  </a:lnTo>
                  <a:lnTo>
                    <a:pt x="8685" y="2117"/>
                  </a:lnTo>
                  <a:lnTo>
                    <a:pt x="8691" y="2121"/>
                  </a:lnTo>
                  <a:lnTo>
                    <a:pt x="8695" y="2127"/>
                  </a:lnTo>
                  <a:lnTo>
                    <a:pt x="8698" y="2135"/>
                  </a:lnTo>
                  <a:lnTo>
                    <a:pt x="8698" y="2258"/>
                  </a:lnTo>
                  <a:lnTo>
                    <a:pt x="8853" y="2258"/>
                  </a:lnTo>
                  <a:lnTo>
                    <a:pt x="8868" y="2266"/>
                  </a:lnTo>
                  <a:lnTo>
                    <a:pt x="9089" y="2565"/>
                  </a:lnTo>
                  <a:lnTo>
                    <a:pt x="9100" y="2565"/>
                  </a:lnTo>
                  <a:lnTo>
                    <a:pt x="9108" y="2566"/>
                  </a:lnTo>
                  <a:lnTo>
                    <a:pt x="9114" y="2571"/>
                  </a:lnTo>
                  <a:lnTo>
                    <a:pt x="9120" y="2578"/>
                  </a:lnTo>
                  <a:lnTo>
                    <a:pt x="9121" y="2585"/>
                  </a:lnTo>
                  <a:lnTo>
                    <a:pt x="9121" y="2772"/>
                  </a:lnTo>
                  <a:lnTo>
                    <a:pt x="9120" y="2780"/>
                  </a:lnTo>
                  <a:lnTo>
                    <a:pt x="9114" y="2786"/>
                  </a:lnTo>
                  <a:lnTo>
                    <a:pt x="9108" y="2791"/>
                  </a:lnTo>
                  <a:lnTo>
                    <a:pt x="9100" y="2792"/>
                  </a:lnTo>
                  <a:lnTo>
                    <a:pt x="9090" y="2792"/>
                  </a:lnTo>
                  <a:lnTo>
                    <a:pt x="9090" y="3563"/>
                  </a:lnTo>
                  <a:lnTo>
                    <a:pt x="9090" y="4336"/>
                  </a:lnTo>
                  <a:lnTo>
                    <a:pt x="9089" y="4343"/>
                  </a:lnTo>
                  <a:lnTo>
                    <a:pt x="9084" y="4350"/>
                  </a:lnTo>
                  <a:lnTo>
                    <a:pt x="9077" y="4355"/>
                  </a:lnTo>
                  <a:lnTo>
                    <a:pt x="9070" y="4356"/>
                  </a:lnTo>
                  <a:lnTo>
                    <a:pt x="8184" y="4356"/>
                  </a:lnTo>
                  <a:lnTo>
                    <a:pt x="7297" y="4356"/>
                  </a:lnTo>
                  <a:lnTo>
                    <a:pt x="7295" y="4356"/>
                  </a:lnTo>
                  <a:lnTo>
                    <a:pt x="6656" y="4356"/>
                  </a:lnTo>
                  <a:lnTo>
                    <a:pt x="6018" y="4356"/>
                  </a:lnTo>
                  <a:lnTo>
                    <a:pt x="6010" y="4355"/>
                  </a:lnTo>
                  <a:lnTo>
                    <a:pt x="6004" y="4350"/>
                  </a:lnTo>
                  <a:lnTo>
                    <a:pt x="5999" y="4343"/>
                  </a:lnTo>
                  <a:lnTo>
                    <a:pt x="5997" y="4336"/>
                  </a:lnTo>
                  <a:lnTo>
                    <a:pt x="5997" y="3664"/>
                  </a:lnTo>
                  <a:lnTo>
                    <a:pt x="5997" y="2993"/>
                  </a:lnTo>
                  <a:lnTo>
                    <a:pt x="5997" y="2322"/>
                  </a:lnTo>
                  <a:lnTo>
                    <a:pt x="5997" y="1652"/>
                  </a:lnTo>
                  <a:lnTo>
                    <a:pt x="5999" y="1644"/>
                  </a:lnTo>
                  <a:lnTo>
                    <a:pt x="6004" y="1638"/>
                  </a:lnTo>
                  <a:lnTo>
                    <a:pt x="6010" y="1633"/>
                  </a:lnTo>
                  <a:lnTo>
                    <a:pt x="6018" y="1631"/>
                  </a:lnTo>
                  <a:lnTo>
                    <a:pt x="6132" y="1631"/>
                  </a:lnTo>
                  <a:lnTo>
                    <a:pt x="6132" y="1469"/>
                  </a:lnTo>
                  <a:lnTo>
                    <a:pt x="6133" y="1461"/>
                  </a:lnTo>
                  <a:lnTo>
                    <a:pt x="6138" y="1455"/>
                  </a:lnTo>
                  <a:lnTo>
                    <a:pt x="6145" y="1451"/>
                  </a:lnTo>
                  <a:lnTo>
                    <a:pt x="6152" y="1448"/>
                  </a:lnTo>
                  <a:lnTo>
                    <a:pt x="6595" y="1448"/>
                  </a:lnTo>
                  <a:lnTo>
                    <a:pt x="6602" y="1451"/>
                  </a:lnTo>
                  <a:lnTo>
                    <a:pt x="6609" y="1455"/>
                  </a:lnTo>
                  <a:lnTo>
                    <a:pt x="6613" y="1461"/>
                  </a:lnTo>
                  <a:lnTo>
                    <a:pt x="6614" y="1469"/>
                  </a:lnTo>
                  <a:lnTo>
                    <a:pt x="6614" y="1631"/>
                  </a:lnTo>
                  <a:lnTo>
                    <a:pt x="6738" y="1631"/>
                  </a:lnTo>
                  <a:lnTo>
                    <a:pt x="6738" y="1501"/>
                  </a:lnTo>
                  <a:lnTo>
                    <a:pt x="6740" y="1493"/>
                  </a:lnTo>
                  <a:lnTo>
                    <a:pt x="6744" y="1487"/>
                  </a:lnTo>
                  <a:lnTo>
                    <a:pt x="6750" y="1483"/>
                  </a:lnTo>
                  <a:lnTo>
                    <a:pt x="6758" y="1480"/>
                  </a:lnTo>
                  <a:lnTo>
                    <a:pt x="6909" y="1480"/>
                  </a:lnTo>
                  <a:lnTo>
                    <a:pt x="6917" y="1483"/>
                  </a:lnTo>
                  <a:lnTo>
                    <a:pt x="6923" y="1487"/>
                  </a:lnTo>
                  <a:lnTo>
                    <a:pt x="6927" y="1493"/>
                  </a:lnTo>
                  <a:lnTo>
                    <a:pt x="6928" y="1501"/>
                  </a:lnTo>
                  <a:lnTo>
                    <a:pt x="6928" y="1631"/>
                  </a:lnTo>
                  <a:lnTo>
                    <a:pt x="7297" y="1631"/>
                  </a:lnTo>
                  <a:lnTo>
                    <a:pt x="7305" y="1633"/>
                  </a:lnTo>
                  <a:lnTo>
                    <a:pt x="7312" y="1638"/>
                  </a:lnTo>
                  <a:lnTo>
                    <a:pt x="7315" y="1644"/>
                  </a:lnTo>
                  <a:lnTo>
                    <a:pt x="7317" y="1652"/>
                  </a:lnTo>
                  <a:lnTo>
                    <a:pt x="7317" y="2258"/>
                  </a:lnTo>
                  <a:lnTo>
                    <a:pt x="7864" y="2258"/>
                  </a:lnTo>
                  <a:lnTo>
                    <a:pt x="8412" y="2258"/>
                  </a:lnTo>
                  <a:close/>
                  <a:moveTo>
                    <a:pt x="8657" y="2258"/>
                  </a:moveTo>
                  <a:lnTo>
                    <a:pt x="8657" y="2156"/>
                  </a:lnTo>
                  <a:lnTo>
                    <a:pt x="8452" y="2156"/>
                  </a:lnTo>
                  <a:lnTo>
                    <a:pt x="8452" y="2258"/>
                  </a:lnTo>
                  <a:lnTo>
                    <a:pt x="8482" y="2258"/>
                  </a:lnTo>
                  <a:lnTo>
                    <a:pt x="8491" y="2259"/>
                  </a:lnTo>
                  <a:lnTo>
                    <a:pt x="8496" y="2264"/>
                  </a:lnTo>
                  <a:lnTo>
                    <a:pt x="8500" y="2271"/>
                  </a:lnTo>
                  <a:lnTo>
                    <a:pt x="8502" y="2277"/>
                  </a:lnTo>
                  <a:lnTo>
                    <a:pt x="8500" y="2285"/>
                  </a:lnTo>
                  <a:lnTo>
                    <a:pt x="8496" y="2291"/>
                  </a:lnTo>
                  <a:lnTo>
                    <a:pt x="8491" y="2296"/>
                  </a:lnTo>
                  <a:lnTo>
                    <a:pt x="8482" y="2298"/>
                  </a:lnTo>
                  <a:lnTo>
                    <a:pt x="7899" y="2298"/>
                  </a:lnTo>
                  <a:lnTo>
                    <a:pt x="7315" y="2298"/>
                  </a:lnTo>
                  <a:lnTo>
                    <a:pt x="7315" y="2565"/>
                  </a:lnTo>
                  <a:lnTo>
                    <a:pt x="8177" y="2565"/>
                  </a:lnTo>
                  <a:lnTo>
                    <a:pt x="9039" y="2565"/>
                  </a:lnTo>
                  <a:lnTo>
                    <a:pt x="8843" y="2298"/>
                  </a:lnTo>
                  <a:lnTo>
                    <a:pt x="8637" y="2298"/>
                  </a:lnTo>
                  <a:lnTo>
                    <a:pt x="8630" y="2296"/>
                  </a:lnTo>
                  <a:lnTo>
                    <a:pt x="8623" y="2291"/>
                  </a:lnTo>
                  <a:lnTo>
                    <a:pt x="8619" y="2285"/>
                  </a:lnTo>
                  <a:lnTo>
                    <a:pt x="8618" y="2277"/>
                  </a:lnTo>
                  <a:lnTo>
                    <a:pt x="8619" y="2271"/>
                  </a:lnTo>
                  <a:lnTo>
                    <a:pt x="8623" y="2264"/>
                  </a:lnTo>
                  <a:lnTo>
                    <a:pt x="8630" y="2259"/>
                  </a:lnTo>
                  <a:lnTo>
                    <a:pt x="8637" y="2258"/>
                  </a:lnTo>
                  <a:lnTo>
                    <a:pt x="8657" y="2258"/>
                  </a:lnTo>
                  <a:close/>
                  <a:moveTo>
                    <a:pt x="9075" y="2604"/>
                  </a:moveTo>
                  <a:lnTo>
                    <a:pt x="8195" y="2604"/>
                  </a:lnTo>
                  <a:lnTo>
                    <a:pt x="7315" y="2604"/>
                  </a:lnTo>
                  <a:lnTo>
                    <a:pt x="7315" y="2753"/>
                  </a:lnTo>
                  <a:lnTo>
                    <a:pt x="8192" y="2753"/>
                  </a:lnTo>
                  <a:lnTo>
                    <a:pt x="9070" y="2753"/>
                  </a:lnTo>
                  <a:lnTo>
                    <a:pt x="9081" y="2753"/>
                  </a:lnTo>
                  <a:lnTo>
                    <a:pt x="9081" y="2604"/>
                  </a:lnTo>
                  <a:lnTo>
                    <a:pt x="9075" y="2604"/>
                  </a:lnTo>
                  <a:close/>
                  <a:moveTo>
                    <a:pt x="6236" y="1893"/>
                  </a:moveTo>
                  <a:lnTo>
                    <a:pt x="6369" y="1893"/>
                  </a:lnTo>
                  <a:lnTo>
                    <a:pt x="6378" y="1895"/>
                  </a:lnTo>
                  <a:lnTo>
                    <a:pt x="6384" y="1900"/>
                  </a:lnTo>
                  <a:lnTo>
                    <a:pt x="6387" y="1906"/>
                  </a:lnTo>
                  <a:lnTo>
                    <a:pt x="6388" y="1913"/>
                  </a:lnTo>
                  <a:lnTo>
                    <a:pt x="6387" y="1920"/>
                  </a:lnTo>
                  <a:lnTo>
                    <a:pt x="6384" y="1927"/>
                  </a:lnTo>
                  <a:lnTo>
                    <a:pt x="6378" y="1932"/>
                  </a:lnTo>
                  <a:lnTo>
                    <a:pt x="6369" y="1933"/>
                  </a:lnTo>
                  <a:lnTo>
                    <a:pt x="6236" y="1933"/>
                  </a:lnTo>
                  <a:lnTo>
                    <a:pt x="6227" y="1932"/>
                  </a:lnTo>
                  <a:lnTo>
                    <a:pt x="6220" y="1927"/>
                  </a:lnTo>
                  <a:lnTo>
                    <a:pt x="6216" y="1920"/>
                  </a:lnTo>
                  <a:lnTo>
                    <a:pt x="6215" y="1913"/>
                  </a:lnTo>
                  <a:lnTo>
                    <a:pt x="6216" y="1906"/>
                  </a:lnTo>
                  <a:lnTo>
                    <a:pt x="6220" y="1900"/>
                  </a:lnTo>
                  <a:lnTo>
                    <a:pt x="6227" y="1895"/>
                  </a:lnTo>
                  <a:lnTo>
                    <a:pt x="6236" y="1893"/>
                  </a:lnTo>
                  <a:close/>
                  <a:moveTo>
                    <a:pt x="6472" y="1893"/>
                  </a:moveTo>
                  <a:lnTo>
                    <a:pt x="6605" y="1893"/>
                  </a:lnTo>
                  <a:lnTo>
                    <a:pt x="6614" y="1895"/>
                  </a:lnTo>
                  <a:lnTo>
                    <a:pt x="6620" y="1900"/>
                  </a:lnTo>
                  <a:lnTo>
                    <a:pt x="6624" y="1906"/>
                  </a:lnTo>
                  <a:lnTo>
                    <a:pt x="6626" y="1913"/>
                  </a:lnTo>
                  <a:lnTo>
                    <a:pt x="6624" y="1920"/>
                  </a:lnTo>
                  <a:lnTo>
                    <a:pt x="6620" y="1927"/>
                  </a:lnTo>
                  <a:lnTo>
                    <a:pt x="6614" y="1932"/>
                  </a:lnTo>
                  <a:lnTo>
                    <a:pt x="6605" y="1933"/>
                  </a:lnTo>
                  <a:lnTo>
                    <a:pt x="6472" y="1933"/>
                  </a:lnTo>
                  <a:lnTo>
                    <a:pt x="6464" y="1932"/>
                  </a:lnTo>
                  <a:lnTo>
                    <a:pt x="6458" y="1927"/>
                  </a:lnTo>
                  <a:lnTo>
                    <a:pt x="6454" y="1920"/>
                  </a:lnTo>
                  <a:lnTo>
                    <a:pt x="6452" y="1913"/>
                  </a:lnTo>
                  <a:lnTo>
                    <a:pt x="6454" y="1906"/>
                  </a:lnTo>
                  <a:lnTo>
                    <a:pt x="6458" y="1900"/>
                  </a:lnTo>
                  <a:lnTo>
                    <a:pt x="6464" y="1895"/>
                  </a:lnTo>
                  <a:lnTo>
                    <a:pt x="6472" y="1893"/>
                  </a:lnTo>
                  <a:close/>
                  <a:moveTo>
                    <a:pt x="6709" y="1893"/>
                  </a:moveTo>
                  <a:lnTo>
                    <a:pt x="6842" y="1893"/>
                  </a:lnTo>
                  <a:lnTo>
                    <a:pt x="6851" y="1895"/>
                  </a:lnTo>
                  <a:lnTo>
                    <a:pt x="6858" y="1900"/>
                  </a:lnTo>
                  <a:lnTo>
                    <a:pt x="6861" y="1906"/>
                  </a:lnTo>
                  <a:lnTo>
                    <a:pt x="6863" y="1913"/>
                  </a:lnTo>
                  <a:lnTo>
                    <a:pt x="6861" y="1920"/>
                  </a:lnTo>
                  <a:lnTo>
                    <a:pt x="6858" y="1927"/>
                  </a:lnTo>
                  <a:lnTo>
                    <a:pt x="6851" y="1932"/>
                  </a:lnTo>
                  <a:lnTo>
                    <a:pt x="6842" y="1933"/>
                  </a:lnTo>
                  <a:lnTo>
                    <a:pt x="6709" y="1933"/>
                  </a:lnTo>
                  <a:lnTo>
                    <a:pt x="6700" y="1932"/>
                  </a:lnTo>
                  <a:lnTo>
                    <a:pt x="6693" y="1927"/>
                  </a:lnTo>
                  <a:lnTo>
                    <a:pt x="6690" y="1920"/>
                  </a:lnTo>
                  <a:lnTo>
                    <a:pt x="6688" y="1913"/>
                  </a:lnTo>
                  <a:lnTo>
                    <a:pt x="6690" y="1906"/>
                  </a:lnTo>
                  <a:lnTo>
                    <a:pt x="6693" y="1900"/>
                  </a:lnTo>
                  <a:lnTo>
                    <a:pt x="6700" y="1895"/>
                  </a:lnTo>
                  <a:lnTo>
                    <a:pt x="6709" y="1893"/>
                  </a:lnTo>
                  <a:close/>
                  <a:moveTo>
                    <a:pt x="6946" y="1893"/>
                  </a:moveTo>
                  <a:lnTo>
                    <a:pt x="7078" y="1893"/>
                  </a:lnTo>
                  <a:lnTo>
                    <a:pt x="7087" y="1895"/>
                  </a:lnTo>
                  <a:lnTo>
                    <a:pt x="7094" y="1900"/>
                  </a:lnTo>
                  <a:lnTo>
                    <a:pt x="7097" y="1906"/>
                  </a:lnTo>
                  <a:lnTo>
                    <a:pt x="7099" y="1913"/>
                  </a:lnTo>
                  <a:lnTo>
                    <a:pt x="7097" y="1920"/>
                  </a:lnTo>
                  <a:lnTo>
                    <a:pt x="7094" y="1927"/>
                  </a:lnTo>
                  <a:lnTo>
                    <a:pt x="7087" y="1932"/>
                  </a:lnTo>
                  <a:lnTo>
                    <a:pt x="7078" y="1933"/>
                  </a:lnTo>
                  <a:lnTo>
                    <a:pt x="6946" y="1933"/>
                  </a:lnTo>
                  <a:lnTo>
                    <a:pt x="6937" y="1932"/>
                  </a:lnTo>
                  <a:lnTo>
                    <a:pt x="6931" y="1927"/>
                  </a:lnTo>
                  <a:lnTo>
                    <a:pt x="6927" y="1920"/>
                  </a:lnTo>
                  <a:lnTo>
                    <a:pt x="6926" y="1913"/>
                  </a:lnTo>
                  <a:lnTo>
                    <a:pt x="6927" y="1906"/>
                  </a:lnTo>
                  <a:lnTo>
                    <a:pt x="6931" y="1900"/>
                  </a:lnTo>
                  <a:lnTo>
                    <a:pt x="6937" y="1895"/>
                  </a:lnTo>
                  <a:lnTo>
                    <a:pt x="6946" y="1893"/>
                  </a:lnTo>
                  <a:close/>
                  <a:moveTo>
                    <a:pt x="6236" y="2156"/>
                  </a:moveTo>
                  <a:lnTo>
                    <a:pt x="6369" y="2156"/>
                  </a:lnTo>
                  <a:lnTo>
                    <a:pt x="6378" y="2158"/>
                  </a:lnTo>
                  <a:lnTo>
                    <a:pt x="6384" y="2162"/>
                  </a:lnTo>
                  <a:lnTo>
                    <a:pt x="6387" y="2168"/>
                  </a:lnTo>
                  <a:lnTo>
                    <a:pt x="6388" y="2176"/>
                  </a:lnTo>
                  <a:lnTo>
                    <a:pt x="6387" y="2184"/>
                  </a:lnTo>
                  <a:lnTo>
                    <a:pt x="6384" y="2190"/>
                  </a:lnTo>
                  <a:lnTo>
                    <a:pt x="6378" y="2194"/>
                  </a:lnTo>
                  <a:lnTo>
                    <a:pt x="6369" y="2197"/>
                  </a:lnTo>
                  <a:lnTo>
                    <a:pt x="6236" y="2197"/>
                  </a:lnTo>
                  <a:lnTo>
                    <a:pt x="6227" y="2194"/>
                  </a:lnTo>
                  <a:lnTo>
                    <a:pt x="6220" y="2190"/>
                  </a:lnTo>
                  <a:lnTo>
                    <a:pt x="6216" y="2184"/>
                  </a:lnTo>
                  <a:lnTo>
                    <a:pt x="6215" y="2176"/>
                  </a:lnTo>
                  <a:lnTo>
                    <a:pt x="6216" y="2168"/>
                  </a:lnTo>
                  <a:lnTo>
                    <a:pt x="6220" y="2162"/>
                  </a:lnTo>
                  <a:lnTo>
                    <a:pt x="6227" y="2158"/>
                  </a:lnTo>
                  <a:lnTo>
                    <a:pt x="6236" y="2156"/>
                  </a:lnTo>
                  <a:close/>
                  <a:moveTo>
                    <a:pt x="6472" y="2156"/>
                  </a:moveTo>
                  <a:lnTo>
                    <a:pt x="6605" y="2156"/>
                  </a:lnTo>
                  <a:lnTo>
                    <a:pt x="6614" y="2158"/>
                  </a:lnTo>
                  <a:lnTo>
                    <a:pt x="6620" y="2162"/>
                  </a:lnTo>
                  <a:lnTo>
                    <a:pt x="6624" y="2168"/>
                  </a:lnTo>
                  <a:lnTo>
                    <a:pt x="6626" y="2176"/>
                  </a:lnTo>
                  <a:lnTo>
                    <a:pt x="6624" y="2184"/>
                  </a:lnTo>
                  <a:lnTo>
                    <a:pt x="6620" y="2190"/>
                  </a:lnTo>
                  <a:lnTo>
                    <a:pt x="6614" y="2194"/>
                  </a:lnTo>
                  <a:lnTo>
                    <a:pt x="6605" y="2197"/>
                  </a:lnTo>
                  <a:lnTo>
                    <a:pt x="6472" y="2197"/>
                  </a:lnTo>
                  <a:lnTo>
                    <a:pt x="6464" y="2194"/>
                  </a:lnTo>
                  <a:lnTo>
                    <a:pt x="6458" y="2190"/>
                  </a:lnTo>
                  <a:lnTo>
                    <a:pt x="6454" y="2184"/>
                  </a:lnTo>
                  <a:lnTo>
                    <a:pt x="6452" y="2176"/>
                  </a:lnTo>
                  <a:lnTo>
                    <a:pt x="6454" y="2168"/>
                  </a:lnTo>
                  <a:lnTo>
                    <a:pt x="6458" y="2162"/>
                  </a:lnTo>
                  <a:lnTo>
                    <a:pt x="6464" y="2158"/>
                  </a:lnTo>
                  <a:lnTo>
                    <a:pt x="6472" y="2156"/>
                  </a:lnTo>
                  <a:close/>
                  <a:moveTo>
                    <a:pt x="6709" y="2156"/>
                  </a:moveTo>
                  <a:lnTo>
                    <a:pt x="6842" y="2156"/>
                  </a:lnTo>
                  <a:lnTo>
                    <a:pt x="6851" y="2158"/>
                  </a:lnTo>
                  <a:lnTo>
                    <a:pt x="6858" y="2162"/>
                  </a:lnTo>
                  <a:lnTo>
                    <a:pt x="6861" y="2168"/>
                  </a:lnTo>
                  <a:lnTo>
                    <a:pt x="6863" y="2176"/>
                  </a:lnTo>
                  <a:lnTo>
                    <a:pt x="6861" y="2184"/>
                  </a:lnTo>
                  <a:lnTo>
                    <a:pt x="6858" y="2190"/>
                  </a:lnTo>
                  <a:lnTo>
                    <a:pt x="6851" y="2194"/>
                  </a:lnTo>
                  <a:lnTo>
                    <a:pt x="6842" y="2197"/>
                  </a:lnTo>
                  <a:lnTo>
                    <a:pt x="6709" y="2197"/>
                  </a:lnTo>
                  <a:lnTo>
                    <a:pt x="6700" y="2194"/>
                  </a:lnTo>
                  <a:lnTo>
                    <a:pt x="6693" y="2190"/>
                  </a:lnTo>
                  <a:lnTo>
                    <a:pt x="6690" y="2184"/>
                  </a:lnTo>
                  <a:lnTo>
                    <a:pt x="6688" y="2176"/>
                  </a:lnTo>
                  <a:lnTo>
                    <a:pt x="6690" y="2168"/>
                  </a:lnTo>
                  <a:lnTo>
                    <a:pt x="6693" y="2162"/>
                  </a:lnTo>
                  <a:lnTo>
                    <a:pt x="6700" y="2158"/>
                  </a:lnTo>
                  <a:lnTo>
                    <a:pt x="6709" y="2156"/>
                  </a:lnTo>
                  <a:close/>
                  <a:moveTo>
                    <a:pt x="6946" y="2156"/>
                  </a:moveTo>
                  <a:lnTo>
                    <a:pt x="7078" y="2156"/>
                  </a:lnTo>
                  <a:lnTo>
                    <a:pt x="7087" y="2158"/>
                  </a:lnTo>
                  <a:lnTo>
                    <a:pt x="7094" y="2162"/>
                  </a:lnTo>
                  <a:lnTo>
                    <a:pt x="7097" y="2168"/>
                  </a:lnTo>
                  <a:lnTo>
                    <a:pt x="7099" y="2176"/>
                  </a:lnTo>
                  <a:lnTo>
                    <a:pt x="7097" y="2184"/>
                  </a:lnTo>
                  <a:lnTo>
                    <a:pt x="7094" y="2190"/>
                  </a:lnTo>
                  <a:lnTo>
                    <a:pt x="7087" y="2194"/>
                  </a:lnTo>
                  <a:lnTo>
                    <a:pt x="7078" y="2197"/>
                  </a:lnTo>
                  <a:lnTo>
                    <a:pt x="6946" y="2197"/>
                  </a:lnTo>
                  <a:lnTo>
                    <a:pt x="6937" y="2194"/>
                  </a:lnTo>
                  <a:lnTo>
                    <a:pt x="6931" y="2190"/>
                  </a:lnTo>
                  <a:lnTo>
                    <a:pt x="6927" y="2184"/>
                  </a:lnTo>
                  <a:lnTo>
                    <a:pt x="6926" y="2176"/>
                  </a:lnTo>
                  <a:lnTo>
                    <a:pt x="6927" y="2168"/>
                  </a:lnTo>
                  <a:lnTo>
                    <a:pt x="6931" y="2162"/>
                  </a:lnTo>
                  <a:lnTo>
                    <a:pt x="6937" y="2158"/>
                  </a:lnTo>
                  <a:lnTo>
                    <a:pt x="6946" y="2156"/>
                  </a:lnTo>
                  <a:close/>
                  <a:moveTo>
                    <a:pt x="6236" y="2419"/>
                  </a:moveTo>
                  <a:lnTo>
                    <a:pt x="6369" y="2419"/>
                  </a:lnTo>
                  <a:lnTo>
                    <a:pt x="6378" y="2420"/>
                  </a:lnTo>
                  <a:lnTo>
                    <a:pt x="6384" y="2425"/>
                  </a:lnTo>
                  <a:lnTo>
                    <a:pt x="6387" y="2432"/>
                  </a:lnTo>
                  <a:lnTo>
                    <a:pt x="6388" y="2439"/>
                  </a:lnTo>
                  <a:lnTo>
                    <a:pt x="6387" y="2446"/>
                  </a:lnTo>
                  <a:lnTo>
                    <a:pt x="6384" y="2452"/>
                  </a:lnTo>
                  <a:lnTo>
                    <a:pt x="6378" y="2457"/>
                  </a:lnTo>
                  <a:lnTo>
                    <a:pt x="6369" y="2459"/>
                  </a:lnTo>
                  <a:lnTo>
                    <a:pt x="6236" y="2459"/>
                  </a:lnTo>
                  <a:lnTo>
                    <a:pt x="6227" y="2457"/>
                  </a:lnTo>
                  <a:lnTo>
                    <a:pt x="6220" y="2452"/>
                  </a:lnTo>
                  <a:lnTo>
                    <a:pt x="6216" y="2446"/>
                  </a:lnTo>
                  <a:lnTo>
                    <a:pt x="6215" y="2439"/>
                  </a:lnTo>
                  <a:lnTo>
                    <a:pt x="6216" y="2432"/>
                  </a:lnTo>
                  <a:lnTo>
                    <a:pt x="6220" y="2425"/>
                  </a:lnTo>
                  <a:lnTo>
                    <a:pt x="6227" y="2420"/>
                  </a:lnTo>
                  <a:lnTo>
                    <a:pt x="6236" y="2419"/>
                  </a:lnTo>
                  <a:close/>
                  <a:moveTo>
                    <a:pt x="6472" y="2419"/>
                  </a:moveTo>
                  <a:lnTo>
                    <a:pt x="6605" y="2419"/>
                  </a:lnTo>
                  <a:lnTo>
                    <a:pt x="6614" y="2420"/>
                  </a:lnTo>
                  <a:lnTo>
                    <a:pt x="6620" y="2425"/>
                  </a:lnTo>
                  <a:lnTo>
                    <a:pt x="6624" y="2432"/>
                  </a:lnTo>
                  <a:lnTo>
                    <a:pt x="6626" y="2439"/>
                  </a:lnTo>
                  <a:lnTo>
                    <a:pt x="6624" y="2446"/>
                  </a:lnTo>
                  <a:lnTo>
                    <a:pt x="6620" y="2452"/>
                  </a:lnTo>
                  <a:lnTo>
                    <a:pt x="6614" y="2457"/>
                  </a:lnTo>
                  <a:lnTo>
                    <a:pt x="6605" y="2459"/>
                  </a:lnTo>
                  <a:lnTo>
                    <a:pt x="6472" y="2459"/>
                  </a:lnTo>
                  <a:lnTo>
                    <a:pt x="6464" y="2457"/>
                  </a:lnTo>
                  <a:lnTo>
                    <a:pt x="6458" y="2452"/>
                  </a:lnTo>
                  <a:lnTo>
                    <a:pt x="6454" y="2446"/>
                  </a:lnTo>
                  <a:lnTo>
                    <a:pt x="6452" y="2439"/>
                  </a:lnTo>
                  <a:lnTo>
                    <a:pt x="6454" y="2432"/>
                  </a:lnTo>
                  <a:lnTo>
                    <a:pt x="6458" y="2425"/>
                  </a:lnTo>
                  <a:lnTo>
                    <a:pt x="6464" y="2420"/>
                  </a:lnTo>
                  <a:lnTo>
                    <a:pt x="6472" y="2419"/>
                  </a:lnTo>
                  <a:close/>
                  <a:moveTo>
                    <a:pt x="6709" y="2419"/>
                  </a:moveTo>
                  <a:lnTo>
                    <a:pt x="6842" y="2419"/>
                  </a:lnTo>
                  <a:lnTo>
                    <a:pt x="6851" y="2420"/>
                  </a:lnTo>
                  <a:lnTo>
                    <a:pt x="6858" y="2425"/>
                  </a:lnTo>
                  <a:lnTo>
                    <a:pt x="6861" y="2432"/>
                  </a:lnTo>
                  <a:lnTo>
                    <a:pt x="6863" y="2439"/>
                  </a:lnTo>
                  <a:lnTo>
                    <a:pt x="6861" y="2446"/>
                  </a:lnTo>
                  <a:lnTo>
                    <a:pt x="6858" y="2452"/>
                  </a:lnTo>
                  <a:lnTo>
                    <a:pt x="6851" y="2457"/>
                  </a:lnTo>
                  <a:lnTo>
                    <a:pt x="6842" y="2459"/>
                  </a:lnTo>
                  <a:lnTo>
                    <a:pt x="6709" y="2459"/>
                  </a:lnTo>
                  <a:lnTo>
                    <a:pt x="6700" y="2457"/>
                  </a:lnTo>
                  <a:lnTo>
                    <a:pt x="6693" y="2452"/>
                  </a:lnTo>
                  <a:lnTo>
                    <a:pt x="6690" y="2446"/>
                  </a:lnTo>
                  <a:lnTo>
                    <a:pt x="6688" y="2439"/>
                  </a:lnTo>
                  <a:lnTo>
                    <a:pt x="6690" y="2432"/>
                  </a:lnTo>
                  <a:lnTo>
                    <a:pt x="6693" y="2425"/>
                  </a:lnTo>
                  <a:lnTo>
                    <a:pt x="6700" y="2420"/>
                  </a:lnTo>
                  <a:lnTo>
                    <a:pt x="6709" y="2419"/>
                  </a:lnTo>
                  <a:close/>
                  <a:moveTo>
                    <a:pt x="6946" y="2419"/>
                  </a:moveTo>
                  <a:lnTo>
                    <a:pt x="7078" y="2419"/>
                  </a:lnTo>
                  <a:lnTo>
                    <a:pt x="7087" y="2420"/>
                  </a:lnTo>
                  <a:lnTo>
                    <a:pt x="7094" y="2425"/>
                  </a:lnTo>
                  <a:lnTo>
                    <a:pt x="7097" y="2432"/>
                  </a:lnTo>
                  <a:lnTo>
                    <a:pt x="7099" y="2439"/>
                  </a:lnTo>
                  <a:lnTo>
                    <a:pt x="7097" y="2446"/>
                  </a:lnTo>
                  <a:lnTo>
                    <a:pt x="7094" y="2452"/>
                  </a:lnTo>
                  <a:lnTo>
                    <a:pt x="7087" y="2457"/>
                  </a:lnTo>
                  <a:lnTo>
                    <a:pt x="7078" y="2459"/>
                  </a:lnTo>
                  <a:lnTo>
                    <a:pt x="6946" y="2459"/>
                  </a:lnTo>
                  <a:lnTo>
                    <a:pt x="6937" y="2457"/>
                  </a:lnTo>
                  <a:lnTo>
                    <a:pt x="6931" y="2452"/>
                  </a:lnTo>
                  <a:lnTo>
                    <a:pt x="6927" y="2446"/>
                  </a:lnTo>
                  <a:lnTo>
                    <a:pt x="6926" y="2439"/>
                  </a:lnTo>
                  <a:lnTo>
                    <a:pt x="6927" y="2432"/>
                  </a:lnTo>
                  <a:lnTo>
                    <a:pt x="6931" y="2425"/>
                  </a:lnTo>
                  <a:lnTo>
                    <a:pt x="6937" y="2420"/>
                  </a:lnTo>
                  <a:lnTo>
                    <a:pt x="6946" y="2419"/>
                  </a:lnTo>
                  <a:close/>
                  <a:moveTo>
                    <a:pt x="6236" y="2682"/>
                  </a:moveTo>
                  <a:lnTo>
                    <a:pt x="6369" y="2682"/>
                  </a:lnTo>
                  <a:lnTo>
                    <a:pt x="6378" y="2684"/>
                  </a:lnTo>
                  <a:lnTo>
                    <a:pt x="6384" y="2689"/>
                  </a:lnTo>
                  <a:lnTo>
                    <a:pt x="6387" y="2695"/>
                  </a:lnTo>
                  <a:lnTo>
                    <a:pt x="6388" y="2702"/>
                  </a:lnTo>
                  <a:lnTo>
                    <a:pt x="6387" y="2709"/>
                  </a:lnTo>
                  <a:lnTo>
                    <a:pt x="6384" y="2716"/>
                  </a:lnTo>
                  <a:lnTo>
                    <a:pt x="6378" y="2721"/>
                  </a:lnTo>
                  <a:lnTo>
                    <a:pt x="6369" y="2722"/>
                  </a:lnTo>
                  <a:lnTo>
                    <a:pt x="6236" y="2722"/>
                  </a:lnTo>
                  <a:lnTo>
                    <a:pt x="6227" y="2721"/>
                  </a:lnTo>
                  <a:lnTo>
                    <a:pt x="6220" y="2716"/>
                  </a:lnTo>
                  <a:lnTo>
                    <a:pt x="6216" y="2709"/>
                  </a:lnTo>
                  <a:lnTo>
                    <a:pt x="6215" y="2702"/>
                  </a:lnTo>
                  <a:lnTo>
                    <a:pt x="6216" y="2695"/>
                  </a:lnTo>
                  <a:lnTo>
                    <a:pt x="6220" y="2689"/>
                  </a:lnTo>
                  <a:lnTo>
                    <a:pt x="6227" y="2684"/>
                  </a:lnTo>
                  <a:lnTo>
                    <a:pt x="6236" y="2682"/>
                  </a:lnTo>
                  <a:close/>
                  <a:moveTo>
                    <a:pt x="6472" y="2682"/>
                  </a:moveTo>
                  <a:lnTo>
                    <a:pt x="6605" y="2682"/>
                  </a:lnTo>
                  <a:lnTo>
                    <a:pt x="6614" y="2684"/>
                  </a:lnTo>
                  <a:lnTo>
                    <a:pt x="6620" y="2689"/>
                  </a:lnTo>
                  <a:lnTo>
                    <a:pt x="6624" y="2695"/>
                  </a:lnTo>
                  <a:lnTo>
                    <a:pt x="6626" y="2702"/>
                  </a:lnTo>
                  <a:lnTo>
                    <a:pt x="6624" y="2709"/>
                  </a:lnTo>
                  <a:lnTo>
                    <a:pt x="6620" y="2716"/>
                  </a:lnTo>
                  <a:lnTo>
                    <a:pt x="6614" y="2721"/>
                  </a:lnTo>
                  <a:lnTo>
                    <a:pt x="6605" y="2722"/>
                  </a:lnTo>
                  <a:lnTo>
                    <a:pt x="6472" y="2722"/>
                  </a:lnTo>
                  <a:lnTo>
                    <a:pt x="6464" y="2721"/>
                  </a:lnTo>
                  <a:lnTo>
                    <a:pt x="6458" y="2716"/>
                  </a:lnTo>
                  <a:lnTo>
                    <a:pt x="6454" y="2709"/>
                  </a:lnTo>
                  <a:lnTo>
                    <a:pt x="6452" y="2702"/>
                  </a:lnTo>
                  <a:lnTo>
                    <a:pt x="6454" y="2695"/>
                  </a:lnTo>
                  <a:lnTo>
                    <a:pt x="6458" y="2689"/>
                  </a:lnTo>
                  <a:lnTo>
                    <a:pt x="6464" y="2684"/>
                  </a:lnTo>
                  <a:lnTo>
                    <a:pt x="6472" y="2682"/>
                  </a:lnTo>
                  <a:close/>
                  <a:moveTo>
                    <a:pt x="6709" y="2682"/>
                  </a:moveTo>
                  <a:lnTo>
                    <a:pt x="6842" y="2682"/>
                  </a:lnTo>
                  <a:lnTo>
                    <a:pt x="6851" y="2684"/>
                  </a:lnTo>
                  <a:lnTo>
                    <a:pt x="6858" y="2689"/>
                  </a:lnTo>
                  <a:lnTo>
                    <a:pt x="6861" y="2695"/>
                  </a:lnTo>
                  <a:lnTo>
                    <a:pt x="6863" y="2702"/>
                  </a:lnTo>
                  <a:lnTo>
                    <a:pt x="6861" y="2709"/>
                  </a:lnTo>
                  <a:lnTo>
                    <a:pt x="6858" y="2716"/>
                  </a:lnTo>
                  <a:lnTo>
                    <a:pt x="6851" y="2721"/>
                  </a:lnTo>
                  <a:lnTo>
                    <a:pt x="6842" y="2722"/>
                  </a:lnTo>
                  <a:lnTo>
                    <a:pt x="6709" y="2722"/>
                  </a:lnTo>
                  <a:lnTo>
                    <a:pt x="6700" y="2721"/>
                  </a:lnTo>
                  <a:lnTo>
                    <a:pt x="6693" y="2716"/>
                  </a:lnTo>
                  <a:lnTo>
                    <a:pt x="6690" y="2709"/>
                  </a:lnTo>
                  <a:lnTo>
                    <a:pt x="6688" y="2702"/>
                  </a:lnTo>
                  <a:lnTo>
                    <a:pt x="6690" y="2695"/>
                  </a:lnTo>
                  <a:lnTo>
                    <a:pt x="6693" y="2689"/>
                  </a:lnTo>
                  <a:lnTo>
                    <a:pt x="6700" y="2684"/>
                  </a:lnTo>
                  <a:lnTo>
                    <a:pt x="6709" y="2682"/>
                  </a:lnTo>
                  <a:close/>
                  <a:moveTo>
                    <a:pt x="6946" y="2682"/>
                  </a:moveTo>
                  <a:lnTo>
                    <a:pt x="7078" y="2682"/>
                  </a:lnTo>
                  <a:lnTo>
                    <a:pt x="7087" y="2684"/>
                  </a:lnTo>
                  <a:lnTo>
                    <a:pt x="7094" y="2689"/>
                  </a:lnTo>
                  <a:lnTo>
                    <a:pt x="7097" y="2695"/>
                  </a:lnTo>
                  <a:lnTo>
                    <a:pt x="7099" y="2702"/>
                  </a:lnTo>
                  <a:lnTo>
                    <a:pt x="7097" y="2709"/>
                  </a:lnTo>
                  <a:lnTo>
                    <a:pt x="7094" y="2716"/>
                  </a:lnTo>
                  <a:lnTo>
                    <a:pt x="7087" y="2721"/>
                  </a:lnTo>
                  <a:lnTo>
                    <a:pt x="7078" y="2722"/>
                  </a:lnTo>
                  <a:lnTo>
                    <a:pt x="6946" y="2722"/>
                  </a:lnTo>
                  <a:lnTo>
                    <a:pt x="6937" y="2721"/>
                  </a:lnTo>
                  <a:lnTo>
                    <a:pt x="6931" y="2716"/>
                  </a:lnTo>
                  <a:lnTo>
                    <a:pt x="6927" y="2709"/>
                  </a:lnTo>
                  <a:lnTo>
                    <a:pt x="6926" y="2702"/>
                  </a:lnTo>
                  <a:lnTo>
                    <a:pt x="6927" y="2695"/>
                  </a:lnTo>
                  <a:lnTo>
                    <a:pt x="6931" y="2689"/>
                  </a:lnTo>
                  <a:lnTo>
                    <a:pt x="6937" y="2684"/>
                  </a:lnTo>
                  <a:lnTo>
                    <a:pt x="6946" y="2682"/>
                  </a:lnTo>
                  <a:close/>
                  <a:moveTo>
                    <a:pt x="6236" y="2946"/>
                  </a:moveTo>
                  <a:lnTo>
                    <a:pt x="6369" y="2946"/>
                  </a:lnTo>
                  <a:lnTo>
                    <a:pt x="6378" y="2947"/>
                  </a:lnTo>
                  <a:lnTo>
                    <a:pt x="6384" y="2951"/>
                  </a:lnTo>
                  <a:lnTo>
                    <a:pt x="6387" y="2957"/>
                  </a:lnTo>
                  <a:lnTo>
                    <a:pt x="6388" y="2965"/>
                  </a:lnTo>
                  <a:lnTo>
                    <a:pt x="6387" y="2973"/>
                  </a:lnTo>
                  <a:lnTo>
                    <a:pt x="6384" y="2979"/>
                  </a:lnTo>
                  <a:lnTo>
                    <a:pt x="6378" y="2983"/>
                  </a:lnTo>
                  <a:lnTo>
                    <a:pt x="6369" y="2985"/>
                  </a:lnTo>
                  <a:lnTo>
                    <a:pt x="6236" y="2985"/>
                  </a:lnTo>
                  <a:lnTo>
                    <a:pt x="6227" y="2983"/>
                  </a:lnTo>
                  <a:lnTo>
                    <a:pt x="6220" y="2979"/>
                  </a:lnTo>
                  <a:lnTo>
                    <a:pt x="6216" y="2973"/>
                  </a:lnTo>
                  <a:lnTo>
                    <a:pt x="6215" y="2965"/>
                  </a:lnTo>
                  <a:lnTo>
                    <a:pt x="6216" y="2957"/>
                  </a:lnTo>
                  <a:lnTo>
                    <a:pt x="6220" y="2951"/>
                  </a:lnTo>
                  <a:lnTo>
                    <a:pt x="6227" y="2947"/>
                  </a:lnTo>
                  <a:lnTo>
                    <a:pt x="6236" y="2946"/>
                  </a:lnTo>
                  <a:close/>
                  <a:moveTo>
                    <a:pt x="6472" y="2946"/>
                  </a:moveTo>
                  <a:lnTo>
                    <a:pt x="6605" y="2946"/>
                  </a:lnTo>
                  <a:lnTo>
                    <a:pt x="6614" y="2947"/>
                  </a:lnTo>
                  <a:lnTo>
                    <a:pt x="6620" y="2951"/>
                  </a:lnTo>
                  <a:lnTo>
                    <a:pt x="6624" y="2957"/>
                  </a:lnTo>
                  <a:lnTo>
                    <a:pt x="6626" y="2965"/>
                  </a:lnTo>
                  <a:lnTo>
                    <a:pt x="6624" y="2973"/>
                  </a:lnTo>
                  <a:lnTo>
                    <a:pt x="6620" y="2979"/>
                  </a:lnTo>
                  <a:lnTo>
                    <a:pt x="6614" y="2983"/>
                  </a:lnTo>
                  <a:lnTo>
                    <a:pt x="6605" y="2985"/>
                  </a:lnTo>
                  <a:lnTo>
                    <a:pt x="6472" y="2985"/>
                  </a:lnTo>
                  <a:lnTo>
                    <a:pt x="6464" y="2983"/>
                  </a:lnTo>
                  <a:lnTo>
                    <a:pt x="6458" y="2979"/>
                  </a:lnTo>
                  <a:lnTo>
                    <a:pt x="6454" y="2973"/>
                  </a:lnTo>
                  <a:lnTo>
                    <a:pt x="6452" y="2965"/>
                  </a:lnTo>
                  <a:lnTo>
                    <a:pt x="6454" y="2957"/>
                  </a:lnTo>
                  <a:lnTo>
                    <a:pt x="6458" y="2951"/>
                  </a:lnTo>
                  <a:lnTo>
                    <a:pt x="6464" y="2947"/>
                  </a:lnTo>
                  <a:lnTo>
                    <a:pt x="6472" y="2946"/>
                  </a:lnTo>
                  <a:close/>
                  <a:moveTo>
                    <a:pt x="6709" y="2946"/>
                  </a:moveTo>
                  <a:lnTo>
                    <a:pt x="6842" y="2946"/>
                  </a:lnTo>
                  <a:lnTo>
                    <a:pt x="6851" y="2947"/>
                  </a:lnTo>
                  <a:lnTo>
                    <a:pt x="6858" y="2951"/>
                  </a:lnTo>
                  <a:lnTo>
                    <a:pt x="6861" y="2957"/>
                  </a:lnTo>
                  <a:lnTo>
                    <a:pt x="6863" y="2965"/>
                  </a:lnTo>
                  <a:lnTo>
                    <a:pt x="6861" y="2973"/>
                  </a:lnTo>
                  <a:lnTo>
                    <a:pt x="6858" y="2979"/>
                  </a:lnTo>
                  <a:lnTo>
                    <a:pt x="6851" y="2983"/>
                  </a:lnTo>
                  <a:lnTo>
                    <a:pt x="6842" y="2985"/>
                  </a:lnTo>
                  <a:lnTo>
                    <a:pt x="6709" y="2985"/>
                  </a:lnTo>
                  <a:lnTo>
                    <a:pt x="6700" y="2983"/>
                  </a:lnTo>
                  <a:lnTo>
                    <a:pt x="6693" y="2979"/>
                  </a:lnTo>
                  <a:lnTo>
                    <a:pt x="6690" y="2973"/>
                  </a:lnTo>
                  <a:lnTo>
                    <a:pt x="6688" y="2965"/>
                  </a:lnTo>
                  <a:lnTo>
                    <a:pt x="6690" y="2957"/>
                  </a:lnTo>
                  <a:lnTo>
                    <a:pt x="6693" y="2951"/>
                  </a:lnTo>
                  <a:lnTo>
                    <a:pt x="6700" y="2947"/>
                  </a:lnTo>
                  <a:lnTo>
                    <a:pt x="6709" y="2946"/>
                  </a:lnTo>
                  <a:close/>
                  <a:moveTo>
                    <a:pt x="6946" y="2946"/>
                  </a:moveTo>
                  <a:lnTo>
                    <a:pt x="7078" y="2946"/>
                  </a:lnTo>
                  <a:lnTo>
                    <a:pt x="7087" y="2947"/>
                  </a:lnTo>
                  <a:lnTo>
                    <a:pt x="7094" y="2951"/>
                  </a:lnTo>
                  <a:lnTo>
                    <a:pt x="7097" y="2957"/>
                  </a:lnTo>
                  <a:lnTo>
                    <a:pt x="7099" y="2965"/>
                  </a:lnTo>
                  <a:lnTo>
                    <a:pt x="7097" y="2973"/>
                  </a:lnTo>
                  <a:lnTo>
                    <a:pt x="7094" y="2979"/>
                  </a:lnTo>
                  <a:lnTo>
                    <a:pt x="7087" y="2983"/>
                  </a:lnTo>
                  <a:lnTo>
                    <a:pt x="7078" y="2985"/>
                  </a:lnTo>
                  <a:lnTo>
                    <a:pt x="6946" y="2985"/>
                  </a:lnTo>
                  <a:lnTo>
                    <a:pt x="6937" y="2983"/>
                  </a:lnTo>
                  <a:lnTo>
                    <a:pt x="6931" y="2979"/>
                  </a:lnTo>
                  <a:lnTo>
                    <a:pt x="6927" y="2973"/>
                  </a:lnTo>
                  <a:lnTo>
                    <a:pt x="6926" y="2965"/>
                  </a:lnTo>
                  <a:lnTo>
                    <a:pt x="6927" y="2957"/>
                  </a:lnTo>
                  <a:lnTo>
                    <a:pt x="6931" y="2951"/>
                  </a:lnTo>
                  <a:lnTo>
                    <a:pt x="6937" y="2947"/>
                  </a:lnTo>
                  <a:lnTo>
                    <a:pt x="6946" y="2946"/>
                  </a:lnTo>
                  <a:close/>
                  <a:moveTo>
                    <a:pt x="6236" y="3208"/>
                  </a:moveTo>
                  <a:lnTo>
                    <a:pt x="6369" y="3208"/>
                  </a:lnTo>
                  <a:lnTo>
                    <a:pt x="6378" y="3211"/>
                  </a:lnTo>
                  <a:lnTo>
                    <a:pt x="6384" y="3214"/>
                  </a:lnTo>
                  <a:lnTo>
                    <a:pt x="6387" y="3221"/>
                  </a:lnTo>
                  <a:lnTo>
                    <a:pt x="6388" y="3228"/>
                  </a:lnTo>
                  <a:lnTo>
                    <a:pt x="6387" y="3236"/>
                  </a:lnTo>
                  <a:lnTo>
                    <a:pt x="6384" y="3242"/>
                  </a:lnTo>
                  <a:lnTo>
                    <a:pt x="6378" y="3246"/>
                  </a:lnTo>
                  <a:lnTo>
                    <a:pt x="6369" y="3248"/>
                  </a:lnTo>
                  <a:lnTo>
                    <a:pt x="6236" y="3248"/>
                  </a:lnTo>
                  <a:lnTo>
                    <a:pt x="6227" y="3246"/>
                  </a:lnTo>
                  <a:lnTo>
                    <a:pt x="6220" y="3242"/>
                  </a:lnTo>
                  <a:lnTo>
                    <a:pt x="6216" y="3236"/>
                  </a:lnTo>
                  <a:lnTo>
                    <a:pt x="6215" y="3228"/>
                  </a:lnTo>
                  <a:lnTo>
                    <a:pt x="6216" y="3221"/>
                  </a:lnTo>
                  <a:lnTo>
                    <a:pt x="6220" y="3214"/>
                  </a:lnTo>
                  <a:lnTo>
                    <a:pt x="6227" y="3211"/>
                  </a:lnTo>
                  <a:lnTo>
                    <a:pt x="6236" y="3208"/>
                  </a:lnTo>
                  <a:close/>
                  <a:moveTo>
                    <a:pt x="6472" y="3208"/>
                  </a:moveTo>
                  <a:lnTo>
                    <a:pt x="6605" y="3208"/>
                  </a:lnTo>
                  <a:lnTo>
                    <a:pt x="6614" y="3211"/>
                  </a:lnTo>
                  <a:lnTo>
                    <a:pt x="6620" y="3214"/>
                  </a:lnTo>
                  <a:lnTo>
                    <a:pt x="6624" y="3221"/>
                  </a:lnTo>
                  <a:lnTo>
                    <a:pt x="6626" y="3228"/>
                  </a:lnTo>
                  <a:lnTo>
                    <a:pt x="6624" y="3236"/>
                  </a:lnTo>
                  <a:lnTo>
                    <a:pt x="6620" y="3242"/>
                  </a:lnTo>
                  <a:lnTo>
                    <a:pt x="6614" y="3246"/>
                  </a:lnTo>
                  <a:lnTo>
                    <a:pt x="6605" y="3248"/>
                  </a:lnTo>
                  <a:lnTo>
                    <a:pt x="6472" y="3248"/>
                  </a:lnTo>
                  <a:lnTo>
                    <a:pt x="6464" y="3246"/>
                  </a:lnTo>
                  <a:lnTo>
                    <a:pt x="6458" y="3242"/>
                  </a:lnTo>
                  <a:lnTo>
                    <a:pt x="6454" y="3236"/>
                  </a:lnTo>
                  <a:lnTo>
                    <a:pt x="6452" y="3228"/>
                  </a:lnTo>
                  <a:lnTo>
                    <a:pt x="6454" y="3221"/>
                  </a:lnTo>
                  <a:lnTo>
                    <a:pt x="6458" y="3214"/>
                  </a:lnTo>
                  <a:lnTo>
                    <a:pt x="6464" y="3211"/>
                  </a:lnTo>
                  <a:lnTo>
                    <a:pt x="6472" y="3208"/>
                  </a:lnTo>
                  <a:close/>
                  <a:moveTo>
                    <a:pt x="6709" y="3208"/>
                  </a:moveTo>
                  <a:lnTo>
                    <a:pt x="6842" y="3208"/>
                  </a:lnTo>
                  <a:lnTo>
                    <a:pt x="6851" y="3211"/>
                  </a:lnTo>
                  <a:lnTo>
                    <a:pt x="6858" y="3214"/>
                  </a:lnTo>
                  <a:lnTo>
                    <a:pt x="6861" y="3221"/>
                  </a:lnTo>
                  <a:lnTo>
                    <a:pt x="6863" y="3228"/>
                  </a:lnTo>
                  <a:lnTo>
                    <a:pt x="6861" y="3236"/>
                  </a:lnTo>
                  <a:lnTo>
                    <a:pt x="6858" y="3242"/>
                  </a:lnTo>
                  <a:lnTo>
                    <a:pt x="6851" y="3246"/>
                  </a:lnTo>
                  <a:lnTo>
                    <a:pt x="6842" y="3248"/>
                  </a:lnTo>
                  <a:lnTo>
                    <a:pt x="6709" y="3248"/>
                  </a:lnTo>
                  <a:lnTo>
                    <a:pt x="6700" y="3246"/>
                  </a:lnTo>
                  <a:lnTo>
                    <a:pt x="6693" y="3242"/>
                  </a:lnTo>
                  <a:lnTo>
                    <a:pt x="6690" y="3236"/>
                  </a:lnTo>
                  <a:lnTo>
                    <a:pt x="6688" y="3228"/>
                  </a:lnTo>
                  <a:lnTo>
                    <a:pt x="6690" y="3221"/>
                  </a:lnTo>
                  <a:lnTo>
                    <a:pt x="6693" y="3214"/>
                  </a:lnTo>
                  <a:lnTo>
                    <a:pt x="6700" y="3211"/>
                  </a:lnTo>
                  <a:lnTo>
                    <a:pt x="6709" y="3208"/>
                  </a:lnTo>
                  <a:close/>
                  <a:moveTo>
                    <a:pt x="6946" y="3208"/>
                  </a:moveTo>
                  <a:lnTo>
                    <a:pt x="7078" y="3208"/>
                  </a:lnTo>
                  <a:lnTo>
                    <a:pt x="7087" y="3211"/>
                  </a:lnTo>
                  <a:lnTo>
                    <a:pt x="7094" y="3214"/>
                  </a:lnTo>
                  <a:lnTo>
                    <a:pt x="7097" y="3221"/>
                  </a:lnTo>
                  <a:lnTo>
                    <a:pt x="7099" y="3228"/>
                  </a:lnTo>
                  <a:lnTo>
                    <a:pt x="7097" y="3236"/>
                  </a:lnTo>
                  <a:lnTo>
                    <a:pt x="7094" y="3242"/>
                  </a:lnTo>
                  <a:lnTo>
                    <a:pt x="7087" y="3246"/>
                  </a:lnTo>
                  <a:lnTo>
                    <a:pt x="7078" y="3248"/>
                  </a:lnTo>
                  <a:lnTo>
                    <a:pt x="6946" y="3248"/>
                  </a:lnTo>
                  <a:lnTo>
                    <a:pt x="6937" y="3246"/>
                  </a:lnTo>
                  <a:lnTo>
                    <a:pt x="6931" y="3242"/>
                  </a:lnTo>
                  <a:lnTo>
                    <a:pt x="6927" y="3236"/>
                  </a:lnTo>
                  <a:lnTo>
                    <a:pt x="6926" y="3228"/>
                  </a:lnTo>
                  <a:lnTo>
                    <a:pt x="6927" y="3221"/>
                  </a:lnTo>
                  <a:lnTo>
                    <a:pt x="6931" y="3214"/>
                  </a:lnTo>
                  <a:lnTo>
                    <a:pt x="6937" y="3211"/>
                  </a:lnTo>
                  <a:lnTo>
                    <a:pt x="6946" y="3208"/>
                  </a:lnTo>
                  <a:close/>
                  <a:moveTo>
                    <a:pt x="6236" y="3471"/>
                  </a:moveTo>
                  <a:lnTo>
                    <a:pt x="6369" y="3471"/>
                  </a:lnTo>
                  <a:lnTo>
                    <a:pt x="6378" y="3473"/>
                  </a:lnTo>
                  <a:lnTo>
                    <a:pt x="6384" y="3478"/>
                  </a:lnTo>
                  <a:lnTo>
                    <a:pt x="6387" y="3484"/>
                  </a:lnTo>
                  <a:lnTo>
                    <a:pt x="6388" y="3492"/>
                  </a:lnTo>
                  <a:lnTo>
                    <a:pt x="6387" y="3498"/>
                  </a:lnTo>
                  <a:lnTo>
                    <a:pt x="6384" y="3505"/>
                  </a:lnTo>
                  <a:lnTo>
                    <a:pt x="6378" y="3510"/>
                  </a:lnTo>
                  <a:lnTo>
                    <a:pt x="6369" y="3511"/>
                  </a:lnTo>
                  <a:lnTo>
                    <a:pt x="6236" y="3511"/>
                  </a:lnTo>
                  <a:lnTo>
                    <a:pt x="6227" y="3510"/>
                  </a:lnTo>
                  <a:lnTo>
                    <a:pt x="6220" y="3505"/>
                  </a:lnTo>
                  <a:lnTo>
                    <a:pt x="6216" y="3498"/>
                  </a:lnTo>
                  <a:lnTo>
                    <a:pt x="6215" y="3492"/>
                  </a:lnTo>
                  <a:lnTo>
                    <a:pt x="6216" y="3484"/>
                  </a:lnTo>
                  <a:lnTo>
                    <a:pt x="6220" y="3478"/>
                  </a:lnTo>
                  <a:lnTo>
                    <a:pt x="6227" y="3473"/>
                  </a:lnTo>
                  <a:lnTo>
                    <a:pt x="6236" y="3471"/>
                  </a:lnTo>
                  <a:close/>
                  <a:moveTo>
                    <a:pt x="6472" y="3471"/>
                  </a:moveTo>
                  <a:lnTo>
                    <a:pt x="6605" y="3471"/>
                  </a:lnTo>
                  <a:lnTo>
                    <a:pt x="6614" y="3473"/>
                  </a:lnTo>
                  <a:lnTo>
                    <a:pt x="6620" y="3478"/>
                  </a:lnTo>
                  <a:lnTo>
                    <a:pt x="6624" y="3484"/>
                  </a:lnTo>
                  <a:lnTo>
                    <a:pt x="6626" y="3492"/>
                  </a:lnTo>
                  <a:lnTo>
                    <a:pt x="6624" y="3498"/>
                  </a:lnTo>
                  <a:lnTo>
                    <a:pt x="6620" y="3505"/>
                  </a:lnTo>
                  <a:lnTo>
                    <a:pt x="6614" y="3510"/>
                  </a:lnTo>
                  <a:lnTo>
                    <a:pt x="6605" y="3511"/>
                  </a:lnTo>
                  <a:lnTo>
                    <a:pt x="6472" y="3511"/>
                  </a:lnTo>
                  <a:lnTo>
                    <a:pt x="6464" y="3510"/>
                  </a:lnTo>
                  <a:lnTo>
                    <a:pt x="6458" y="3505"/>
                  </a:lnTo>
                  <a:lnTo>
                    <a:pt x="6454" y="3498"/>
                  </a:lnTo>
                  <a:lnTo>
                    <a:pt x="6452" y="3492"/>
                  </a:lnTo>
                  <a:lnTo>
                    <a:pt x="6454" y="3484"/>
                  </a:lnTo>
                  <a:lnTo>
                    <a:pt x="6458" y="3478"/>
                  </a:lnTo>
                  <a:lnTo>
                    <a:pt x="6464" y="3473"/>
                  </a:lnTo>
                  <a:lnTo>
                    <a:pt x="6472" y="3471"/>
                  </a:lnTo>
                  <a:close/>
                  <a:moveTo>
                    <a:pt x="6709" y="3471"/>
                  </a:moveTo>
                  <a:lnTo>
                    <a:pt x="6842" y="3471"/>
                  </a:lnTo>
                  <a:lnTo>
                    <a:pt x="6851" y="3473"/>
                  </a:lnTo>
                  <a:lnTo>
                    <a:pt x="6858" y="3478"/>
                  </a:lnTo>
                  <a:lnTo>
                    <a:pt x="6861" y="3484"/>
                  </a:lnTo>
                  <a:lnTo>
                    <a:pt x="6863" y="3492"/>
                  </a:lnTo>
                  <a:lnTo>
                    <a:pt x="6861" y="3498"/>
                  </a:lnTo>
                  <a:lnTo>
                    <a:pt x="6858" y="3505"/>
                  </a:lnTo>
                  <a:lnTo>
                    <a:pt x="6851" y="3510"/>
                  </a:lnTo>
                  <a:lnTo>
                    <a:pt x="6842" y="3511"/>
                  </a:lnTo>
                  <a:lnTo>
                    <a:pt x="6709" y="3511"/>
                  </a:lnTo>
                  <a:lnTo>
                    <a:pt x="6700" y="3510"/>
                  </a:lnTo>
                  <a:lnTo>
                    <a:pt x="6693" y="3505"/>
                  </a:lnTo>
                  <a:lnTo>
                    <a:pt x="6690" y="3498"/>
                  </a:lnTo>
                  <a:lnTo>
                    <a:pt x="6688" y="3492"/>
                  </a:lnTo>
                  <a:lnTo>
                    <a:pt x="6690" y="3484"/>
                  </a:lnTo>
                  <a:lnTo>
                    <a:pt x="6693" y="3478"/>
                  </a:lnTo>
                  <a:lnTo>
                    <a:pt x="6700" y="3473"/>
                  </a:lnTo>
                  <a:lnTo>
                    <a:pt x="6709" y="3471"/>
                  </a:lnTo>
                  <a:close/>
                  <a:moveTo>
                    <a:pt x="6946" y="3471"/>
                  </a:moveTo>
                  <a:lnTo>
                    <a:pt x="7078" y="3471"/>
                  </a:lnTo>
                  <a:lnTo>
                    <a:pt x="7087" y="3473"/>
                  </a:lnTo>
                  <a:lnTo>
                    <a:pt x="7094" y="3478"/>
                  </a:lnTo>
                  <a:lnTo>
                    <a:pt x="7097" y="3484"/>
                  </a:lnTo>
                  <a:lnTo>
                    <a:pt x="7099" y="3492"/>
                  </a:lnTo>
                  <a:lnTo>
                    <a:pt x="7097" y="3498"/>
                  </a:lnTo>
                  <a:lnTo>
                    <a:pt x="7094" y="3505"/>
                  </a:lnTo>
                  <a:lnTo>
                    <a:pt x="7087" y="3510"/>
                  </a:lnTo>
                  <a:lnTo>
                    <a:pt x="7078" y="3511"/>
                  </a:lnTo>
                  <a:lnTo>
                    <a:pt x="6946" y="3511"/>
                  </a:lnTo>
                  <a:lnTo>
                    <a:pt x="6937" y="3510"/>
                  </a:lnTo>
                  <a:lnTo>
                    <a:pt x="6931" y="3505"/>
                  </a:lnTo>
                  <a:lnTo>
                    <a:pt x="6927" y="3498"/>
                  </a:lnTo>
                  <a:lnTo>
                    <a:pt x="6926" y="3492"/>
                  </a:lnTo>
                  <a:lnTo>
                    <a:pt x="6927" y="3484"/>
                  </a:lnTo>
                  <a:lnTo>
                    <a:pt x="6931" y="3478"/>
                  </a:lnTo>
                  <a:lnTo>
                    <a:pt x="6937" y="3473"/>
                  </a:lnTo>
                  <a:lnTo>
                    <a:pt x="6946" y="3471"/>
                  </a:lnTo>
                  <a:close/>
                  <a:moveTo>
                    <a:pt x="6236" y="3735"/>
                  </a:moveTo>
                  <a:lnTo>
                    <a:pt x="6369" y="3735"/>
                  </a:lnTo>
                  <a:lnTo>
                    <a:pt x="6378" y="3736"/>
                  </a:lnTo>
                  <a:lnTo>
                    <a:pt x="6384" y="3741"/>
                  </a:lnTo>
                  <a:lnTo>
                    <a:pt x="6387" y="3748"/>
                  </a:lnTo>
                  <a:lnTo>
                    <a:pt x="6388" y="3754"/>
                  </a:lnTo>
                  <a:lnTo>
                    <a:pt x="6387" y="3762"/>
                  </a:lnTo>
                  <a:lnTo>
                    <a:pt x="6384" y="3768"/>
                  </a:lnTo>
                  <a:lnTo>
                    <a:pt x="6378" y="3773"/>
                  </a:lnTo>
                  <a:lnTo>
                    <a:pt x="6369" y="3774"/>
                  </a:lnTo>
                  <a:lnTo>
                    <a:pt x="6236" y="3774"/>
                  </a:lnTo>
                  <a:lnTo>
                    <a:pt x="6227" y="3773"/>
                  </a:lnTo>
                  <a:lnTo>
                    <a:pt x="6220" y="3768"/>
                  </a:lnTo>
                  <a:lnTo>
                    <a:pt x="6216" y="3762"/>
                  </a:lnTo>
                  <a:lnTo>
                    <a:pt x="6215" y="3754"/>
                  </a:lnTo>
                  <a:lnTo>
                    <a:pt x="6216" y="3748"/>
                  </a:lnTo>
                  <a:lnTo>
                    <a:pt x="6220" y="3741"/>
                  </a:lnTo>
                  <a:lnTo>
                    <a:pt x="6227" y="3736"/>
                  </a:lnTo>
                  <a:lnTo>
                    <a:pt x="6236" y="3735"/>
                  </a:lnTo>
                  <a:close/>
                  <a:moveTo>
                    <a:pt x="6472" y="3735"/>
                  </a:moveTo>
                  <a:lnTo>
                    <a:pt x="6605" y="3735"/>
                  </a:lnTo>
                  <a:lnTo>
                    <a:pt x="6614" y="3736"/>
                  </a:lnTo>
                  <a:lnTo>
                    <a:pt x="6620" y="3741"/>
                  </a:lnTo>
                  <a:lnTo>
                    <a:pt x="6624" y="3748"/>
                  </a:lnTo>
                  <a:lnTo>
                    <a:pt x="6626" y="3754"/>
                  </a:lnTo>
                  <a:lnTo>
                    <a:pt x="6624" y="3762"/>
                  </a:lnTo>
                  <a:lnTo>
                    <a:pt x="6620" y="3768"/>
                  </a:lnTo>
                  <a:lnTo>
                    <a:pt x="6614" y="3773"/>
                  </a:lnTo>
                  <a:lnTo>
                    <a:pt x="6605" y="3774"/>
                  </a:lnTo>
                  <a:lnTo>
                    <a:pt x="6472" y="3774"/>
                  </a:lnTo>
                  <a:lnTo>
                    <a:pt x="6464" y="3773"/>
                  </a:lnTo>
                  <a:lnTo>
                    <a:pt x="6458" y="3768"/>
                  </a:lnTo>
                  <a:lnTo>
                    <a:pt x="6454" y="3762"/>
                  </a:lnTo>
                  <a:lnTo>
                    <a:pt x="6452" y="3754"/>
                  </a:lnTo>
                  <a:lnTo>
                    <a:pt x="6454" y="3748"/>
                  </a:lnTo>
                  <a:lnTo>
                    <a:pt x="6458" y="3741"/>
                  </a:lnTo>
                  <a:lnTo>
                    <a:pt x="6464" y="3736"/>
                  </a:lnTo>
                  <a:lnTo>
                    <a:pt x="6472" y="3735"/>
                  </a:lnTo>
                  <a:close/>
                  <a:moveTo>
                    <a:pt x="6709" y="3735"/>
                  </a:moveTo>
                  <a:lnTo>
                    <a:pt x="6842" y="3735"/>
                  </a:lnTo>
                  <a:lnTo>
                    <a:pt x="6851" y="3736"/>
                  </a:lnTo>
                  <a:lnTo>
                    <a:pt x="6858" y="3741"/>
                  </a:lnTo>
                  <a:lnTo>
                    <a:pt x="6861" y="3748"/>
                  </a:lnTo>
                  <a:lnTo>
                    <a:pt x="6863" y="3754"/>
                  </a:lnTo>
                  <a:lnTo>
                    <a:pt x="6861" y="3762"/>
                  </a:lnTo>
                  <a:lnTo>
                    <a:pt x="6858" y="3768"/>
                  </a:lnTo>
                  <a:lnTo>
                    <a:pt x="6851" y="3773"/>
                  </a:lnTo>
                  <a:lnTo>
                    <a:pt x="6842" y="3774"/>
                  </a:lnTo>
                  <a:lnTo>
                    <a:pt x="6709" y="3774"/>
                  </a:lnTo>
                  <a:lnTo>
                    <a:pt x="6700" y="3773"/>
                  </a:lnTo>
                  <a:lnTo>
                    <a:pt x="6693" y="3768"/>
                  </a:lnTo>
                  <a:lnTo>
                    <a:pt x="6690" y="3762"/>
                  </a:lnTo>
                  <a:lnTo>
                    <a:pt x="6688" y="3754"/>
                  </a:lnTo>
                  <a:lnTo>
                    <a:pt x="6690" y="3748"/>
                  </a:lnTo>
                  <a:lnTo>
                    <a:pt x="6693" y="3741"/>
                  </a:lnTo>
                  <a:lnTo>
                    <a:pt x="6700" y="3736"/>
                  </a:lnTo>
                  <a:lnTo>
                    <a:pt x="6709" y="3735"/>
                  </a:lnTo>
                  <a:close/>
                  <a:moveTo>
                    <a:pt x="6946" y="3735"/>
                  </a:moveTo>
                  <a:lnTo>
                    <a:pt x="7078" y="3735"/>
                  </a:lnTo>
                  <a:lnTo>
                    <a:pt x="7087" y="3736"/>
                  </a:lnTo>
                  <a:lnTo>
                    <a:pt x="7094" y="3741"/>
                  </a:lnTo>
                  <a:lnTo>
                    <a:pt x="7097" y="3748"/>
                  </a:lnTo>
                  <a:lnTo>
                    <a:pt x="7099" y="3754"/>
                  </a:lnTo>
                  <a:lnTo>
                    <a:pt x="7097" y="3762"/>
                  </a:lnTo>
                  <a:lnTo>
                    <a:pt x="7094" y="3768"/>
                  </a:lnTo>
                  <a:lnTo>
                    <a:pt x="7087" y="3773"/>
                  </a:lnTo>
                  <a:lnTo>
                    <a:pt x="7078" y="3774"/>
                  </a:lnTo>
                  <a:lnTo>
                    <a:pt x="6946" y="3774"/>
                  </a:lnTo>
                  <a:lnTo>
                    <a:pt x="6937" y="3773"/>
                  </a:lnTo>
                  <a:lnTo>
                    <a:pt x="6931" y="3768"/>
                  </a:lnTo>
                  <a:lnTo>
                    <a:pt x="6927" y="3762"/>
                  </a:lnTo>
                  <a:lnTo>
                    <a:pt x="6926" y="3754"/>
                  </a:lnTo>
                  <a:lnTo>
                    <a:pt x="6927" y="3748"/>
                  </a:lnTo>
                  <a:lnTo>
                    <a:pt x="6931" y="3741"/>
                  </a:lnTo>
                  <a:lnTo>
                    <a:pt x="6937" y="3736"/>
                  </a:lnTo>
                  <a:lnTo>
                    <a:pt x="6946" y="3735"/>
                  </a:lnTo>
                  <a:close/>
                  <a:moveTo>
                    <a:pt x="6236" y="3997"/>
                  </a:moveTo>
                  <a:lnTo>
                    <a:pt x="6369" y="3997"/>
                  </a:lnTo>
                  <a:lnTo>
                    <a:pt x="6378" y="3999"/>
                  </a:lnTo>
                  <a:lnTo>
                    <a:pt x="6384" y="4003"/>
                  </a:lnTo>
                  <a:lnTo>
                    <a:pt x="6387" y="4010"/>
                  </a:lnTo>
                  <a:lnTo>
                    <a:pt x="6388" y="4017"/>
                  </a:lnTo>
                  <a:lnTo>
                    <a:pt x="6387" y="4025"/>
                  </a:lnTo>
                  <a:lnTo>
                    <a:pt x="6384" y="4031"/>
                  </a:lnTo>
                  <a:lnTo>
                    <a:pt x="6378" y="4035"/>
                  </a:lnTo>
                  <a:lnTo>
                    <a:pt x="6369" y="4038"/>
                  </a:lnTo>
                  <a:lnTo>
                    <a:pt x="6236" y="4038"/>
                  </a:lnTo>
                  <a:lnTo>
                    <a:pt x="6227" y="4035"/>
                  </a:lnTo>
                  <a:lnTo>
                    <a:pt x="6220" y="4031"/>
                  </a:lnTo>
                  <a:lnTo>
                    <a:pt x="6216" y="4025"/>
                  </a:lnTo>
                  <a:lnTo>
                    <a:pt x="6215" y="4017"/>
                  </a:lnTo>
                  <a:lnTo>
                    <a:pt x="6216" y="4010"/>
                  </a:lnTo>
                  <a:lnTo>
                    <a:pt x="6220" y="4003"/>
                  </a:lnTo>
                  <a:lnTo>
                    <a:pt x="6227" y="3999"/>
                  </a:lnTo>
                  <a:lnTo>
                    <a:pt x="6236" y="3997"/>
                  </a:lnTo>
                  <a:close/>
                  <a:moveTo>
                    <a:pt x="6472" y="3997"/>
                  </a:moveTo>
                  <a:lnTo>
                    <a:pt x="6605" y="3997"/>
                  </a:lnTo>
                  <a:lnTo>
                    <a:pt x="6614" y="3999"/>
                  </a:lnTo>
                  <a:lnTo>
                    <a:pt x="6620" y="4003"/>
                  </a:lnTo>
                  <a:lnTo>
                    <a:pt x="6624" y="4010"/>
                  </a:lnTo>
                  <a:lnTo>
                    <a:pt x="6626" y="4017"/>
                  </a:lnTo>
                  <a:lnTo>
                    <a:pt x="6624" y="4025"/>
                  </a:lnTo>
                  <a:lnTo>
                    <a:pt x="6620" y="4031"/>
                  </a:lnTo>
                  <a:lnTo>
                    <a:pt x="6614" y="4035"/>
                  </a:lnTo>
                  <a:lnTo>
                    <a:pt x="6605" y="4038"/>
                  </a:lnTo>
                  <a:lnTo>
                    <a:pt x="6472" y="4038"/>
                  </a:lnTo>
                  <a:lnTo>
                    <a:pt x="6464" y="4035"/>
                  </a:lnTo>
                  <a:lnTo>
                    <a:pt x="6458" y="4031"/>
                  </a:lnTo>
                  <a:lnTo>
                    <a:pt x="6454" y="4025"/>
                  </a:lnTo>
                  <a:lnTo>
                    <a:pt x="6452" y="4017"/>
                  </a:lnTo>
                  <a:lnTo>
                    <a:pt x="6454" y="4010"/>
                  </a:lnTo>
                  <a:lnTo>
                    <a:pt x="6458" y="4003"/>
                  </a:lnTo>
                  <a:lnTo>
                    <a:pt x="6464" y="3999"/>
                  </a:lnTo>
                  <a:lnTo>
                    <a:pt x="6472" y="3997"/>
                  </a:lnTo>
                  <a:close/>
                  <a:moveTo>
                    <a:pt x="6709" y="3997"/>
                  </a:moveTo>
                  <a:lnTo>
                    <a:pt x="6842" y="3997"/>
                  </a:lnTo>
                  <a:lnTo>
                    <a:pt x="6851" y="3999"/>
                  </a:lnTo>
                  <a:lnTo>
                    <a:pt x="6858" y="4003"/>
                  </a:lnTo>
                  <a:lnTo>
                    <a:pt x="6861" y="4010"/>
                  </a:lnTo>
                  <a:lnTo>
                    <a:pt x="6863" y="4017"/>
                  </a:lnTo>
                  <a:lnTo>
                    <a:pt x="6861" y="4025"/>
                  </a:lnTo>
                  <a:lnTo>
                    <a:pt x="6858" y="4031"/>
                  </a:lnTo>
                  <a:lnTo>
                    <a:pt x="6851" y="4035"/>
                  </a:lnTo>
                  <a:lnTo>
                    <a:pt x="6842" y="4038"/>
                  </a:lnTo>
                  <a:lnTo>
                    <a:pt x="6709" y="4038"/>
                  </a:lnTo>
                  <a:lnTo>
                    <a:pt x="6700" y="4035"/>
                  </a:lnTo>
                  <a:lnTo>
                    <a:pt x="6693" y="4031"/>
                  </a:lnTo>
                  <a:lnTo>
                    <a:pt x="6690" y="4025"/>
                  </a:lnTo>
                  <a:lnTo>
                    <a:pt x="6688" y="4017"/>
                  </a:lnTo>
                  <a:lnTo>
                    <a:pt x="6690" y="4010"/>
                  </a:lnTo>
                  <a:lnTo>
                    <a:pt x="6693" y="4003"/>
                  </a:lnTo>
                  <a:lnTo>
                    <a:pt x="6700" y="3999"/>
                  </a:lnTo>
                  <a:lnTo>
                    <a:pt x="6709" y="3997"/>
                  </a:lnTo>
                  <a:close/>
                  <a:moveTo>
                    <a:pt x="6946" y="3997"/>
                  </a:moveTo>
                  <a:lnTo>
                    <a:pt x="7078" y="3997"/>
                  </a:lnTo>
                  <a:lnTo>
                    <a:pt x="7087" y="3999"/>
                  </a:lnTo>
                  <a:lnTo>
                    <a:pt x="7094" y="4003"/>
                  </a:lnTo>
                  <a:lnTo>
                    <a:pt x="7097" y="4010"/>
                  </a:lnTo>
                  <a:lnTo>
                    <a:pt x="7099" y="4017"/>
                  </a:lnTo>
                  <a:lnTo>
                    <a:pt x="7097" y="4025"/>
                  </a:lnTo>
                  <a:lnTo>
                    <a:pt x="7094" y="4031"/>
                  </a:lnTo>
                  <a:lnTo>
                    <a:pt x="7087" y="4035"/>
                  </a:lnTo>
                  <a:lnTo>
                    <a:pt x="7078" y="4038"/>
                  </a:lnTo>
                  <a:lnTo>
                    <a:pt x="6946" y="4038"/>
                  </a:lnTo>
                  <a:lnTo>
                    <a:pt x="6937" y="4035"/>
                  </a:lnTo>
                  <a:lnTo>
                    <a:pt x="6931" y="4031"/>
                  </a:lnTo>
                  <a:lnTo>
                    <a:pt x="6927" y="4025"/>
                  </a:lnTo>
                  <a:lnTo>
                    <a:pt x="6926" y="4017"/>
                  </a:lnTo>
                  <a:lnTo>
                    <a:pt x="6927" y="4010"/>
                  </a:lnTo>
                  <a:lnTo>
                    <a:pt x="6931" y="4003"/>
                  </a:lnTo>
                  <a:lnTo>
                    <a:pt x="6937" y="3999"/>
                  </a:lnTo>
                  <a:lnTo>
                    <a:pt x="6946" y="3997"/>
                  </a:lnTo>
                  <a:close/>
                  <a:moveTo>
                    <a:pt x="7545" y="2941"/>
                  </a:moveTo>
                  <a:lnTo>
                    <a:pt x="7545" y="3052"/>
                  </a:lnTo>
                  <a:lnTo>
                    <a:pt x="7542" y="3061"/>
                  </a:lnTo>
                  <a:lnTo>
                    <a:pt x="7539" y="3067"/>
                  </a:lnTo>
                  <a:lnTo>
                    <a:pt x="7532" y="3071"/>
                  </a:lnTo>
                  <a:lnTo>
                    <a:pt x="7524" y="3072"/>
                  </a:lnTo>
                  <a:lnTo>
                    <a:pt x="7517" y="3071"/>
                  </a:lnTo>
                  <a:lnTo>
                    <a:pt x="7510" y="3067"/>
                  </a:lnTo>
                  <a:lnTo>
                    <a:pt x="7506" y="3061"/>
                  </a:lnTo>
                  <a:lnTo>
                    <a:pt x="7505" y="3052"/>
                  </a:lnTo>
                  <a:lnTo>
                    <a:pt x="7505" y="2941"/>
                  </a:lnTo>
                  <a:lnTo>
                    <a:pt x="7506" y="2932"/>
                  </a:lnTo>
                  <a:lnTo>
                    <a:pt x="7510" y="2925"/>
                  </a:lnTo>
                  <a:lnTo>
                    <a:pt x="7517" y="2922"/>
                  </a:lnTo>
                  <a:lnTo>
                    <a:pt x="7524" y="2920"/>
                  </a:lnTo>
                  <a:lnTo>
                    <a:pt x="7532" y="2922"/>
                  </a:lnTo>
                  <a:lnTo>
                    <a:pt x="7539" y="2925"/>
                  </a:lnTo>
                  <a:lnTo>
                    <a:pt x="7542" y="2932"/>
                  </a:lnTo>
                  <a:lnTo>
                    <a:pt x="7545" y="2941"/>
                  </a:lnTo>
                  <a:close/>
                  <a:moveTo>
                    <a:pt x="7808" y="2941"/>
                  </a:moveTo>
                  <a:lnTo>
                    <a:pt x="7808" y="3052"/>
                  </a:lnTo>
                  <a:lnTo>
                    <a:pt x="7807" y="3061"/>
                  </a:lnTo>
                  <a:lnTo>
                    <a:pt x="7801" y="3067"/>
                  </a:lnTo>
                  <a:lnTo>
                    <a:pt x="7795" y="3071"/>
                  </a:lnTo>
                  <a:lnTo>
                    <a:pt x="7787" y="3072"/>
                  </a:lnTo>
                  <a:lnTo>
                    <a:pt x="7781" y="3071"/>
                  </a:lnTo>
                  <a:lnTo>
                    <a:pt x="7774" y="3067"/>
                  </a:lnTo>
                  <a:lnTo>
                    <a:pt x="7769" y="3061"/>
                  </a:lnTo>
                  <a:lnTo>
                    <a:pt x="7768" y="3052"/>
                  </a:lnTo>
                  <a:lnTo>
                    <a:pt x="7768" y="2941"/>
                  </a:lnTo>
                  <a:lnTo>
                    <a:pt x="7769" y="2932"/>
                  </a:lnTo>
                  <a:lnTo>
                    <a:pt x="7774" y="2925"/>
                  </a:lnTo>
                  <a:lnTo>
                    <a:pt x="7781" y="2922"/>
                  </a:lnTo>
                  <a:lnTo>
                    <a:pt x="7787" y="2920"/>
                  </a:lnTo>
                  <a:lnTo>
                    <a:pt x="7795" y="2922"/>
                  </a:lnTo>
                  <a:lnTo>
                    <a:pt x="7801" y="2925"/>
                  </a:lnTo>
                  <a:lnTo>
                    <a:pt x="7807" y="2932"/>
                  </a:lnTo>
                  <a:lnTo>
                    <a:pt x="7808" y="2941"/>
                  </a:lnTo>
                  <a:close/>
                  <a:moveTo>
                    <a:pt x="8071" y="2941"/>
                  </a:moveTo>
                  <a:lnTo>
                    <a:pt x="8071" y="3052"/>
                  </a:lnTo>
                  <a:lnTo>
                    <a:pt x="8069" y="3061"/>
                  </a:lnTo>
                  <a:lnTo>
                    <a:pt x="8064" y="3067"/>
                  </a:lnTo>
                  <a:lnTo>
                    <a:pt x="8058" y="3071"/>
                  </a:lnTo>
                  <a:lnTo>
                    <a:pt x="8051" y="3072"/>
                  </a:lnTo>
                  <a:lnTo>
                    <a:pt x="8044" y="3071"/>
                  </a:lnTo>
                  <a:lnTo>
                    <a:pt x="8037" y="3067"/>
                  </a:lnTo>
                  <a:lnTo>
                    <a:pt x="8032" y="3061"/>
                  </a:lnTo>
                  <a:lnTo>
                    <a:pt x="8031" y="3052"/>
                  </a:lnTo>
                  <a:lnTo>
                    <a:pt x="8031" y="2941"/>
                  </a:lnTo>
                  <a:lnTo>
                    <a:pt x="8032" y="2932"/>
                  </a:lnTo>
                  <a:lnTo>
                    <a:pt x="8037" y="2925"/>
                  </a:lnTo>
                  <a:lnTo>
                    <a:pt x="8044" y="2922"/>
                  </a:lnTo>
                  <a:lnTo>
                    <a:pt x="8051" y="2920"/>
                  </a:lnTo>
                  <a:lnTo>
                    <a:pt x="8058" y="2922"/>
                  </a:lnTo>
                  <a:lnTo>
                    <a:pt x="8064" y="2925"/>
                  </a:lnTo>
                  <a:lnTo>
                    <a:pt x="8069" y="2932"/>
                  </a:lnTo>
                  <a:lnTo>
                    <a:pt x="8071" y="2941"/>
                  </a:lnTo>
                  <a:close/>
                  <a:moveTo>
                    <a:pt x="8334" y="2941"/>
                  </a:moveTo>
                  <a:lnTo>
                    <a:pt x="8334" y="3052"/>
                  </a:lnTo>
                  <a:lnTo>
                    <a:pt x="8332" y="3061"/>
                  </a:lnTo>
                  <a:lnTo>
                    <a:pt x="8327" y="3067"/>
                  </a:lnTo>
                  <a:lnTo>
                    <a:pt x="8322" y="3071"/>
                  </a:lnTo>
                  <a:lnTo>
                    <a:pt x="8314" y="3072"/>
                  </a:lnTo>
                  <a:lnTo>
                    <a:pt x="8307" y="3071"/>
                  </a:lnTo>
                  <a:lnTo>
                    <a:pt x="8300" y="3067"/>
                  </a:lnTo>
                  <a:lnTo>
                    <a:pt x="8296" y="3061"/>
                  </a:lnTo>
                  <a:lnTo>
                    <a:pt x="8294" y="3052"/>
                  </a:lnTo>
                  <a:lnTo>
                    <a:pt x="8294" y="2941"/>
                  </a:lnTo>
                  <a:lnTo>
                    <a:pt x="8296" y="2932"/>
                  </a:lnTo>
                  <a:lnTo>
                    <a:pt x="8300" y="2925"/>
                  </a:lnTo>
                  <a:lnTo>
                    <a:pt x="8307" y="2922"/>
                  </a:lnTo>
                  <a:lnTo>
                    <a:pt x="8314" y="2920"/>
                  </a:lnTo>
                  <a:lnTo>
                    <a:pt x="8322" y="2922"/>
                  </a:lnTo>
                  <a:lnTo>
                    <a:pt x="8327" y="2925"/>
                  </a:lnTo>
                  <a:lnTo>
                    <a:pt x="8332" y="2932"/>
                  </a:lnTo>
                  <a:lnTo>
                    <a:pt x="8334" y="2941"/>
                  </a:lnTo>
                  <a:close/>
                  <a:moveTo>
                    <a:pt x="8598" y="2941"/>
                  </a:moveTo>
                  <a:lnTo>
                    <a:pt x="8598" y="3052"/>
                  </a:lnTo>
                  <a:lnTo>
                    <a:pt x="8595" y="3061"/>
                  </a:lnTo>
                  <a:lnTo>
                    <a:pt x="8591" y="3067"/>
                  </a:lnTo>
                  <a:lnTo>
                    <a:pt x="8585" y="3071"/>
                  </a:lnTo>
                  <a:lnTo>
                    <a:pt x="8577" y="3072"/>
                  </a:lnTo>
                  <a:lnTo>
                    <a:pt x="8569" y="3071"/>
                  </a:lnTo>
                  <a:lnTo>
                    <a:pt x="8563" y="3067"/>
                  </a:lnTo>
                  <a:lnTo>
                    <a:pt x="8559" y="3061"/>
                  </a:lnTo>
                  <a:lnTo>
                    <a:pt x="8557" y="3052"/>
                  </a:lnTo>
                  <a:lnTo>
                    <a:pt x="8557" y="2941"/>
                  </a:lnTo>
                  <a:lnTo>
                    <a:pt x="8559" y="2932"/>
                  </a:lnTo>
                  <a:lnTo>
                    <a:pt x="8563" y="2925"/>
                  </a:lnTo>
                  <a:lnTo>
                    <a:pt x="8569" y="2922"/>
                  </a:lnTo>
                  <a:lnTo>
                    <a:pt x="8577" y="2920"/>
                  </a:lnTo>
                  <a:lnTo>
                    <a:pt x="8585" y="2922"/>
                  </a:lnTo>
                  <a:lnTo>
                    <a:pt x="8591" y="2925"/>
                  </a:lnTo>
                  <a:lnTo>
                    <a:pt x="8595" y="2932"/>
                  </a:lnTo>
                  <a:lnTo>
                    <a:pt x="8598" y="2941"/>
                  </a:lnTo>
                  <a:close/>
                  <a:moveTo>
                    <a:pt x="8861" y="2941"/>
                  </a:moveTo>
                  <a:lnTo>
                    <a:pt x="8861" y="3052"/>
                  </a:lnTo>
                  <a:lnTo>
                    <a:pt x="8858" y="3061"/>
                  </a:lnTo>
                  <a:lnTo>
                    <a:pt x="8854" y="3067"/>
                  </a:lnTo>
                  <a:lnTo>
                    <a:pt x="8848" y="3071"/>
                  </a:lnTo>
                  <a:lnTo>
                    <a:pt x="8840" y="3072"/>
                  </a:lnTo>
                  <a:lnTo>
                    <a:pt x="8832" y="3071"/>
                  </a:lnTo>
                  <a:lnTo>
                    <a:pt x="8826" y="3067"/>
                  </a:lnTo>
                  <a:lnTo>
                    <a:pt x="8822" y="3061"/>
                  </a:lnTo>
                  <a:lnTo>
                    <a:pt x="8821" y="3052"/>
                  </a:lnTo>
                  <a:lnTo>
                    <a:pt x="8821" y="2941"/>
                  </a:lnTo>
                  <a:lnTo>
                    <a:pt x="8822" y="2932"/>
                  </a:lnTo>
                  <a:lnTo>
                    <a:pt x="8826" y="2925"/>
                  </a:lnTo>
                  <a:lnTo>
                    <a:pt x="8832" y="2922"/>
                  </a:lnTo>
                  <a:lnTo>
                    <a:pt x="8840" y="2920"/>
                  </a:lnTo>
                  <a:lnTo>
                    <a:pt x="8848" y="2922"/>
                  </a:lnTo>
                  <a:lnTo>
                    <a:pt x="8854" y="2925"/>
                  </a:lnTo>
                  <a:lnTo>
                    <a:pt x="8858" y="2932"/>
                  </a:lnTo>
                  <a:lnTo>
                    <a:pt x="8861" y="2941"/>
                  </a:lnTo>
                  <a:close/>
                  <a:moveTo>
                    <a:pt x="7545" y="3186"/>
                  </a:moveTo>
                  <a:lnTo>
                    <a:pt x="7545" y="3299"/>
                  </a:lnTo>
                  <a:lnTo>
                    <a:pt x="7542" y="3308"/>
                  </a:lnTo>
                  <a:lnTo>
                    <a:pt x="7539" y="3314"/>
                  </a:lnTo>
                  <a:lnTo>
                    <a:pt x="7532" y="3318"/>
                  </a:lnTo>
                  <a:lnTo>
                    <a:pt x="7524" y="3319"/>
                  </a:lnTo>
                  <a:lnTo>
                    <a:pt x="7517" y="3318"/>
                  </a:lnTo>
                  <a:lnTo>
                    <a:pt x="7510" y="3314"/>
                  </a:lnTo>
                  <a:lnTo>
                    <a:pt x="7506" y="3308"/>
                  </a:lnTo>
                  <a:lnTo>
                    <a:pt x="7505" y="3299"/>
                  </a:lnTo>
                  <a:lnTo>
                    <a:pt x="7505" y="3186"/>
                  </a:lnTo>
                  <a:lnTo>
                    <a:pt x="7506" y="3179"/>
                  </a:lnTo>
                  <a:lnTo>
                    <a:pt x="7510" y="3172"/>
                  </a:lnTo>
                  <a:lnTo>
                    <a:pt x="7517" y="3168"/>
                  </a:lnTo>
                  <a:lnTo>
                    <a:pt x="7524" y="3167"/>
                  </a:lnTo>
                  <a:lnTo>
                    <a:pt x="7532" y="3168"/>
                  </a:lnTo>
                  <a:lnTo>
                    <a:pt x="7539" y="3172"/>
                  </a:lnTo>
                  <a:lnTo>
                    <a:pt x="7542" y="3179"/>
                  </a:lnTo>
                  <a:lnTo>
                    <a:pt x="7545" y="3186"/>
                  </a:lnTo>
                  <a:close/>
                  <a:moveTo>
                    <a:pt x="7808" y="3186"/>
                  </a:moveTo>
                  <a:lnTo>
                    <a:pt x="7808" y="3299"/>
                  </a:lnTo>
                  <a:lnTo>
                    <a:pt x="7807" y="3308"/>
                  </a:lnTo>
                  <a:lnTo>
                    <a:pt x="7801" y="3314"/>
                  </a:lnTo>
                  <a:lnTo>
                    <a:pt x="7795" y="3318"/>
                  </a:lnTo>
                  <a:lnTo>
                    <a:pt x="7787" y="3319"/>
                  </a:lnTo>
                  <a:lnTo>
                    <a:pt x="7781" y="3318"/>
                  </a:lnTo>
                  <a:lnTo>
                    <a:pt x="7774" y="3314"/>
                  </a:lnTo>
                  <a:lnTo>
                    <a:pt x="7769" y="3308"/>
                  </a:lnTo>
                  <a:lnTo>
                    <a:pt x="7768" y="3299"/>
                  </a:lnTo>
                  <a:lnTo>
                    <a:pt x="7768" y="3186"/>
                  </a:lnTo>
                  <a:lnTo>
                    <a:pt x="7769" y="3179"/>
                  </a:lnTo>
                  <a:lnTo>
                    <a:pt x="7774" y="3172"/>
                  </a:lnTo>
                  <a:lnTo>
                    <a:pt x="7781" y="3168"/>
                  </a:lnTo>
                  <a:lnTo>
                    <a:pt x="7787" y="3167"/>
                  </a:lnTo>
                  <a:lnTo>
                    <a:pt x="7795" y="3168"/>
                  </a:lnTo>
                  <a:lnTo>
                    <a:pt x="7801" y="3172"/>
                  </a:lnTo>
                  <a:lnTo>
                    <a:pt x="7807" y="3179"/>
                  </a:lnTo>
                  <a:lnTo>
                    <a:pt x="7808" y="3186"/>
                  </a:lnTo>
                  <a:close/>
                  <a:moveTo>
                    <a:pt x="8071" y="3186"/>
                  </a:moveTo>
                  <a:lnTo>
                    <a:pt x="8071" y="3299"/>
                  </a:lnTo>
                  <a:lnTo>
                    <a:pt x="8069" y="3308"/>
                  </a:lnTo>
                  <a:lnTo>
                    <a:pt x="8064" y="3314"/>
                  </a:lnTo>
                  <a:lnTo>
                    <a:pt x="8058" y="3318"/>
                  </a:lnTo>
                  <a:lnTo>
                    <a:pt x="8051" y="3319"/>
                  </a:lnTo>
                  <a:lnTo>
                    <a:pt x="8044" y="3318"/>
                  </a:lnTo>
                  <a:lnTo>
                    <a:pt x="8037" y="3314"/>
                  </a:lnTo>
                  <a:lnTo>
                    <a:pt x="8032" y="3308"/>
                  </a:lnTo>
                  <a:lnTo>
                    <a:pt x="8031" y="3299"/>
                  </a:lnTo>
                  <a:lnTo>
                    <a:pt x="8031" y="3186"/>
                  </a:lnTo>
                  <a:lnTo>
                    <a:pt x="8032" y="3179"/>
                  </a:lnTo>
                  <a:lnTo>
                    <a:pt x="8037" y="3172"/>
                  </a:lnTo>
                  <a:lnTo>
                    <a:pt x="8044" y="3168"/>
                  </a:lnTo>
                  <a:lnTo>
                    <a:pt x="8051" y="3167"/>
                  </a:lnTo>
                  <a:lnTo>
                    <a:pt x="8058" y="3168"/>
                  </a:lnTo>
                  <a:lnTo>
                    <a:pt x="8064" y="3172"/>
                  </a:lnTo>
                  <a:lnTo>
                    <a:pt x="8069" y="3179"/>
                  </a:lnTo>
                  <a:lnTo>
                    <a:pt x="8071" y="3186"/>
                  </a:lnTo>
                  <a:close/>
                  <a:moveTo>
                    <a:pt x="8334" y="3186"/>
                  </a:moveTo>
                  <a:lnTo>
                    <a:pt x="8334" y="3299"/>
                  </a:lnTo>
                  <a:lnTo>
                    <a:pt x="8332" y="3308"/>
                  </a:lnTo>
                  <a:lnTo>
                    <a:pt x="8327" y="3314"/>
                  </a:lnTo>
                  <a:lnTo>
                    <a:pt x="8322" y="3318"/>
                  </a:lnTo>
                  <a:lnTo>
                    <a:pt x="8314" y="3319"/>
                  </a:lnTo>
                  <a:lnTo>
                    <a:pt x="8307" y="3318"/>
                  </a:lnTo>
                  <a:lnTo>
                    <a:pt x="8300" y="3314"/>
                  </a:lnTo>
                  <a:lnTo>
                    <a:pt x="8296" y="3308"/>
                  </a:lnTo>
                  <a:lnTo>
                    <a:pt x="8294" y="3299"/>
                  </a:lnTo>
                  <a:lnTo>
                    <a:pt x="8294" y="3186"/>
                  </a:lnTo>
                  <a:lnTo>
                    <a:pt x="8296" y="3179"/>
                  </a:lnTo>
                  <a:lnTo>
                    <a:pt x="8300" y="3172"/>
                  </a:lnTo>
                  <a:lnTo>
                    <a:pt x="8307" y="3168"/>
                  </a:lnTo>
                  <a:lnTo>
                    <a:pt x="8314" y="3167"/>
                  </a:lnTo>
                  <a:lnTo>
                    <a:pt x="8322" y="3168"/>
                  </a:lnTo>
                  <a:lnTo>
                    <a:pt x="8327" y="3172"/>
                  </a:lnTo>
                  <a:lnTo>
                    <a:pt x="8332" y="3179"/>
                  </a:lnTo>
                  <a:lnTo>
                    <a:pt x="8334" y="3186"/>
                  </a:lnTo>
                  <a:close/>
                  <a:moveTo>
                    <a:pt x="8598" y="3186"/>
                  </a:moveTo>
                  <a:lnTo>
                    <a:pt x="8598" y="3299"/>
                  </a:lnTo>
                  <a:lnTo>
                    <a:pt x="8595" y="3308"/>
                  </a:lnTo>
                  <a:lnTo>
                    <a:pt x="8591" y="3314"/>
                  </a:lnTo>
                  <a:lnTo>
                    <a:pt x="8585" y="3318"/>
                  </a:lnTo>
                  <a:lnTo>
                    <a:pt x="8577" y="3319"/>
                  </a:lnTo>
                  <a:lnTo>
                    <a:pt x="8569" y="3318"/>
                  </a:lnTo>
                  <a:lnTo>
                    <a:pt x="8563" y="3314"/>
                  </a:lnTo>
                  <a:lnTo>
                    <a:pt x="8559" y="3308"/>
                  </a:lnTo>
                  <a:lnTo>
                    <a:pt x="8557" y="3299"/>
                  </a:lnTo>
                  <a:lnTo>
                    <a:pt x="8557" y="3186"/>
                  </a:lnTo>
                  <a:lnTo>
                    <a:pt x="8559" y="3179"/>
                  </a:lnTo>
                  <a:lnTo>
                    <a:pt x="8563" y="3172"/>
                  </a:lnTo>
                  <a:lnTo>
                    <a:pt x="8569" y="3168"/>
                  </a:lnTo>
                  <a:lnTo>
                    <a:pt x="8577" y="3167"/>
                  </a:lnTo>
                  <a:lnTo>
                    <a:pt x="8585" y="3168"/>
                  </a:lnTo>
                  <a:lnTo>
                    <a:pt x="8591" y="3172"/>
                  </a:lnTo>
                  <a:lnTo>
                    <a:pt x="8595" y="3179"/>
                  </a:lnTo>
                  <a:lnTo>
                    <a:pt x="8598" y="3186"/>
                  </a:lnTo>
                  <a:close/>
                  <a:moveTo>
                    <a:pt x="8861" y="3186"/>
                  </a:moveTo>
                  <a:lnTo>
                    <a:pt x="8861" y="3299"/>
                  </a:lnTo>
                  <a:lnTo>
                    <a:pt x="8858" y="3308"/>
                  </a:lnTo>
                  <a:lnTo>
                    <a:pt x="8854" y="3314"/>
                  </a:lnTo>
                  <a:lnTo>
                    <a:pt x="8848" y="3318"/>
                  </a:lnTo>
                  <a:lnTo>
                    <a:pt x="8840" y="3319"/>
                  </a:lnTo>
                  <a:lnTo>
                    <a:pt x="8832" y="3318"/>
                  </a:lnTo>
                  <a:lnTo>
                    <a:pt x="8826" y="3314"/>
                  </a:lnTo>
                  <a:lnTo>
                    <a:pt x="8822" y="3308"/>
                  </a:lnTo>
                  <a:lnTo>
                    <a:pt x="8821" y="3299"/>
                  </a:lnTo>
                  <a:lnTo>
                    <a:pt x="8821" y="3186"/>
                  </a:lnTo>
                  <a:lnTo>
                    <a:pt x="8822" y="3179"/>
                  </a:lnTo>
                  <a:lnTo>
                    <a:pt x="8826" y="3172"/>
                  </a:lnTo>
                  <a:lnTo>
                    <a:pt x="8832" y="3168"/>
                  </a:lnTo>
                  <a:lnTo>
                    <a:pt x="8840" y="3167"/>
                  </a:lnTo>
                  <a:lnTo>
                    <a:pt x="8848" y="3168"/>
                  </a:lnTo>
                  <a:lnTo>
                    <a:pt x="8854" y="3172"/>
                  </a:lnTo>
                  <a:lnTo>
                    <a:pt x="8858" y="3179"/>
                  </a:lnTo>
                  <a:lnTo>
                    <a:pt x="8861" y="3186"/>
                  </a:lnTo>
                  <a:close/>
                  <a:moveTo>
                    <a:pt x="7545" y="3433"/>
                  </a:moveTo>
                  <a:lnTo>
                    <a:pt x="7545" y="3546"/>
                  </a:lnTo>
                  <a:lnTo>
                    <a:pt x="7542" y="3554"/>
                  </a:lnTo>
                  <a:lnTo>
                    <a:pt x="7539" y="3561"/>
                  </a:lnTo>
                  <a:lnTo>
                    <a:pt x="7532" y="3565"/>
                  </a:lnTo>
                  <a:lnTo>
                    <a:pt x="7524" y="3565"/>
                  </a:lnTo>
                  <a:lnTo>
                    <a:pt x="7517" y="3565"/>
                  </a:lnTo>
                  <a:lnTo>
                    <a:pt x="7510" y="3561"/>
                  </a:lnTo>
                  <a:lnTo>
                    <a:pt x="7506" y="3554"/>
                  </a:lnTo>
                  <a:lnTo>
                    <a:pt x="7505" y="3546"/>
                  </a:lnTo>
                  <a:lnTo>
                    <a:pt x="7505" y="3433"/>
                  </a:lnTo>
                  <a:lnTo>
                    <a:pt x="7506" y="3424"/>
                  </a:lnTo>
                  <a:lnTo>
                    <a:pt x="7510" y="3419"/>
                  </a:lnTo>
                  <a:lnTo>
                    <a:pt x="7517" y="3415"/>
                  </a:lnTo>
                  <a:lnTo>
                    <a:pt x="7524" y="3414"/>
                  </a:lnTo>
                  <a:lnTo>
                    <a:pt x="7532" y="3415"/>
                  </a:lnTo>
                  <a:lnTo>
                    <a:pt x="7539" y="3419"/>
                  </a:lnTo>
                  <a:lnTo>
                    <a:pt x="7542" y="3424"/>
                  </a:lnTo>
                  <a:lnTo>
                    <a:pt x="7545" y="3433"/>
                  </a:lnTo>
                  <a:close/>
                  <a:moveTo>
                    <a:pt x="7808" y="3433"/>
                  </a:moveTo>
                  <a:lnTo>
                    <a:pt x="7808" y="3546"/>
                  </a:lnTo>
                  <a:lnTo>
                    <a:pt x="7807" y="3554"/>
                  </a:lnTo>
                  <a:lnTo>
                    <a:pt x="7801" y="3561"/>
                  </a:lnTo>
                  <a:lnTo>
                    <a:pt x="7795" y="3565"/>
                  </a:lnTo>
                  <a:lnTo>
                    <a:pt x="7787" y="3565"/>
                  </a:lnTo>
                  <a:lnTo>
                    <a:pt x="7781" y="3565"/>
                  </a:lnTo>
                  <a:lnTo>
                    <a:pt x="7774" y="3561"/>
                  </a:lnTo>
                  <a:lnTo>
                    <a:pt x="7769" y="3554"/>
                  </a:lnTo>
                  <a:lnTo>
                    <a:pt x="7768" y="3546"/>
                  </a:lnTo>
                  <a:lnTo>
                    <a:pt x="7768" y="3433"/>
                  </a:lnTo>
                  <a:lnTo>
                    <a:pt x="7769" y="3424"/>
                  </a:lnTo>
                  <a:lnTo>
                    <a:pt x="7774" y="3419"/>
                  </a:lnTo>
                  <a:lnTo>
                    <a:pt x="7781" y="3415"/>
                  </a:lnTo>
                  <a:lnTo>
                    <a:pt x="7787" y="3414"/>
                  </a:lnTo>
                  <a:lnTo>
                    <a:pt x="7795" y="3415"/>
                  </a:lnTo>
                  <a:lnTo>
                    <a:pt x="7801" y="3419"/>
                  </a:lnTo>
                  <a:lnTo>
                    <a:pt x="7807" y="3424"/>
                  </a:lnTo>
                  <a:lnTo>
                    <a:pt x="7808" y="3433"/>
                  </a:lnTo>
                  <a:close/>
                  <a:moveTo>
                    <a:pt x="8071" y="3433"/>
                  </a:moveTo>
                  <a:lnTo>
                    <a:pt x="8071" y="3546"/>
                  </a:lnTo>
                  <a:lnTo>
                    <a:pt x="8069" y="3554"/>
                  </a:lnTo>
                  <a:lnTo>
                    <a:pt x="8064" y="3561"/>
                  </a:lnTo>
                  <a:lnTo>
                    <a:pt x="8058" y="3565"/>
                  </a:lnTo>
                  <a:lnTo>
                    <a:pt x="8051" y="3565"/>
                  </a:lnTo>
                  <a:lnTo>
                    <a:pt x="8044" y="3565"/>
                  </a:lnTo>
                  <a:lnTo>
                    <a:pt x="8037" y="3561"/>
                  </a:lnTo>
                  <a:lnTo>
                    <a:pt x="8032" y="3554"/>
                  </a:lnTo>
                  <a:lnTo>
                    <a:pt x="8031" y="3546"/>
                  </a:lnTo>
                  <a:lnTo>
                    <a:pt x="8031" y="3433"/>
                  </a:lnTo>
                  <a:lnTo>
                    <a:pt x="8032" y="3424"/>
                  </a:lnTo>
                  <a:lnTo>
                    <a:pt x="8037" y="3419"/>
                  </a:lnTo>
                  <a:lnTo>
                    <a:pt x="8044" y="3415"/>
                  </a:lnTo>
                  <a:lnTo>
                    <a:pt x="8051" y="3414"/>
                  </a:lnTo>
                  <a:lnTo>
                    <a:pt x="8058" y="3415"/>
                  </a:lnTo>
                  <a:lnTo>
                    <a:pt x="8064" y="3419"/>
                  </a:lnTo>
                  <a:lnTo>
                    <a:pt x="8069" y="3424"/>
                  </a:lnTo>
                  <a:lnTo>
                    <a:pt x="8071" y="3433"/>
                  </a:lnTo>
                  <a:close/>
                  <a:moveTo>
                    <a:pt x="8334" y="3433"/>
                  </a:moveTo>
                  <a:lnTo>
                    <a:pt x="8334" y="3546"/>
                  </a:lnTo>
                  <a:lnTo>
                    <a:pt x="8332" y="3554"/>
                  </a:lnTo>
                  <a:lnTo>
                    <a:pt x="8327" y="3561"/>
                  </a:lnTo>
                  <a:lnTo>
                    <a:pt x="8322" y="3565"/>
                  </a:lnTo>
                  <a:lnTo>
                    <a:pt x="8314" y="3565"/>
                  </a:lnTo>
                  <a:lnTo>
                    <a:pt x="8307" y="3565"/>
                  </a:lnTo>
                  <a:lnTo>
                    <a:pt x="8300" y="3561"/>
                  </a:lnTo>
                  <a:lnTo>
                    <a:pt x="8296" y="3554"/>
                  </a:lnTo>
                  <a:lnTo>
                    <a:pt x="8294" y="3546"/>
                  </a:lnTo>
                  <a:lnTo>
                    <a:pt x="8294" y="3433"/>
                  </a:lnTo>
                  <a:lnTo>
                    <a:pt x="8296" y="3424"/>
                  </a:lnTo>
                  <a:lnTo>
                    <a:pt x="8300" y="3419"/>
                  </a:lnTo>
                  <a:lnTo>
                    <a:pt x="8307" y="3415"/>
                  </a:lnTo>
                  <a:lnTo>
                    <a:pt x="8314" y="3414"/>
                  </a:lnTo>
                  <a:lnTo>
                    <a:pt x="8322" y="3415"/>
                  </a:lnTo>
                  <a:lnTo>
                    <a:pt x="8327" y="3419"/>
                  </a:lnTo>
                  <a:lnTo>
                    <a:pt x="8332" y="3424"/>
                  </a:lnTo>
                  <a:lnTo>
                    <a:pt x="8334" y="3433"/>
                  </a:lnTo>
                  <a:close/>
                  <a:moveTo>
                    <a:pt x="8598" y="3433"/>
                  </a:moveTo>
                  <a:lnTo>
                    <a:pt x="8598" y="3546"/>
                  </a:lnTo>
                  <a:lnTo>
                    <a:pt x="8595" y="3554"/>
                  </a:lnTo>
                  <a:lnTo>
                    <a:pt x="8591" y="3561"/>
                  </a:lnTo>
                  <a:lnTo>
                    <a:pt x="8585" y="3565"/>
                  </a:lnTo>
                  <a:lnTo>
                    <a:pt x="8577" y="3565"/>
                  </a:lnTo>
                  <a:lnTo>
                    <a:pt x="8569" y="3565"/>
                  </a:lnTo>
                  <a:lnTo>
                    <a:pt x="8563" y="3561"/>
                  </a:lnTo>
                  <a:lnTo>
                    <a:pt x="8559" y="3554"/>
                  </a:lnTo>
                  <a:lnTo>
                    <a:pt x="8557" y="3546"/>
                  </a:lnTo>
                  <a:lnTo>
                    <a:pt x="8557" y="3433"/>
                  </a:lnTo>
                  <a:lnTo>
                    <a:pt x="8559" y="3424"/>
                  </a:lnTo>
                  <a:lnTo>
                    <a:pt x="8563" y="3419"/>
                  </a:lnTo>
                  <a:lnTo>
                    <a:pt x="8569" y="3415"/>
                  </a:lnTo>
                  <a:lnTo>
                    <a:pt x="8577" y="3414"/>
                  </a:lnTo>
                  <a:lnTo>
                    <a:pt x="8585" y="3415"/>
                  </a:lnTo>
                  <a:lnTo>
                    <a:pt x="8591" y="3419"/>
                  </a:lnTo>
                  <a:lnTo>
                    <a:pt x="8595" y="3424"/>
                  </a:lnTo>
                  <a:lnTo>
                    <a:pt x="8598" y="3433"/>
                  </a:lnTo>
                  <a:close/>
                  <a:moveTo>
                    <a:pt x="8861" y="3433"/>
                  </a:moveTo>
                  <a:lnTo>
                    <a:pt x="8861" y="3546"/>
                  </a:lnTo>
                  <a:lnTo>
                    <a:pt x="8858" y="3554"/>
                  </a:lnTo>
                  <a:lnTo>
                    <a:pt x="8854" y="3561"/>
                  </a:lnTo>
                  <a:lnTo>
                    <a:pt x="8848" y="3565"/>
                  </a:lnTo>
                  <a:lnTo>
                    <a:pt x="8840" y="3565"/>
                  </a:lnTo>
                  <a:lnTo>
                    <a:pt x="8832" y="3565"/>
                  </a:lnTo>
                  <a:lnTo>
                    <a:pt x="8826" y="3561"/>
                  </a:lnTo>
                  <a:lnTo>
                    <a:pt x="8822" y="3554"/>
                  </a:lnTo>
                  <a:lnTo>
                    <a:pt x="8821" y="3546"/>
                  </a:lnTo>
                  <a:lnTo>
                    <a:pt x="8821" y="3433"/>
                  </a:lnTo>
                  <a:lnTo>
                    <a:pt x="8822" y="3424"/>
                  </a:lnTo>
                  <a:lnTo>
                    <a:pt x="8826" y="3419"/>
                  </a:lnTo>
                  <a:lnTo>
                    <a:pt x="8832" y="3415"/>
                  </a:lnTo>
                  <a:lnTo>
                    <a:pt x="8840" y="3414"/>
                  </a:lnTo>
                  <a:lnTo>
                    <a:pt x="8848" y="3415"/>
                  </a:lnTo>
                  <a:lnTo>
                    <a:pt x="8854" y="3419"/>
                  </a:lnTo>
                  <a:lnTo>
                    <a:pt x="8858" y="3424"/>
                  </a:lnTo>
                  <a:lnTo>
                    <a:pt x="8861" y="3433"/>
                  </a:lnTo>
                  <a:close/>
                  <a:moveTo>
                    <a:pt x="7545" y="3680"/>
                  </a:moveTo>
                  <a:lnTo>
                    <a:pt x="7545" y="3792"/>
                  </a:lnTo>
                  <a:lnTo>
                    <a:pt x="7542" y="3801"/>
                  </a:lnTo>
                  <a:lnTo>
                    <a:pt x="7539" y="3806"/>
                  </a:lnTo>
                  <a:lnTo>
                    <a:pt x="7532" y="3810"/>
                  </a:lnTo>
                  <a:lnTo>
                    <a:pt x="7524" y="3811"/>
                  </a:lnTo>
                  <a:lnTo>
                    <a:pt x="7517" y="3810"/>
                  </a:lnTo>
                  <a:lnTo>
                    <a:pt x="7510" y="3806"/>
                  </a:lnTo>
                  <a:lnTo>
                    <a:pt x="7506" y="3801"/>
                  </a:lnTo>
                  <a:lnTo>
                    <a:pt x="7505" y="3792"/>
                  </a:lnTo>
                  <a:lnTo>
                    <a:pt x="7505" y="3680"/>
                  </a:lnTo>
                  <a:lnTo>
                    <a:pt x="7506" y="3671"/>
                  </a:lnTo>
                  <a:lnTo>
                    <a:pt x="7510" y="3664"/>
                  </a:lnTo>
                  <a:lnTo>
                    <a:pt x="7517" y="3661"/>
                  </a:lnTo>
                  <a:lnTo>
                    <a:pt x="7524" y="3659"/>
                  </a:lnTo>
                  <a:lnTo>
                    <a:pt x="7532" y="3661"/>
                  </a:lnTo>
                  <a:lnTo>
                    <a:pt x="7539" y="3664"/>
                  </a:lnTo>
                  <a:lnTo>
                    <a:pt x="7542" y="3671"/>
                  </a:lnTo>
                  <a:lnTo>
                    <a:pt x="7545" y="3680"/>
                  </a:lnTo>
                  <a:close/>
                  <a:moveTo>
                    <a:pt x="7808" y="3680"/>
                  </a:moveTo>
                  <a:lnTo>
                    <a:pt x="7808" y="3792"/>
                  </a:lnTo>
                  <a:lnTo>
                    <a:pt x="7807" y="3801"/>
                  </a:lnTo>
                  <a:lnTo>
                    <a:pt x="7801" y="3806"/>
                  </a:lnTo>
                  <a:lnTo>
                    <a:pt x="7795" y="3810"/>
                  </a:lnTo>
                  <a:lnTo>
                    <a:pt x="7787" y="3811"/>
                  </a:lnTo>
                  <a:lnTo>
                    <a:pt x="7781" y="3810"/>
                  </a:lnTo>
                  <a:lnTo>
                    <a:pt x="7774" y="3806"/>
                  </a:lnTo>
                  <a:lnTo>
                    <a:pt x="7769" y="3801"/>
                  </a:lnTo>
                  <a:lnTo>
                    <a:pt x="7768" y="3792"/>
                  </a:lnTo>
                  <a:lnTo>
                    <a:pt x="7768" y="3680"/>
                  </a:lnTo>
                  <a:lnTo>
                    <a:pt x="7769" y="3671"/>
                  </a:lnTo>
                  <a:lnTo>
                    <a:pt x="7774" y="3664"/>
                  </a:lnTo>
                  <a:lnTo>
                    <a:pt x="7781" y="3661"/>
                  </a:lnTo>
                  <a:lnTo>
                    <a:pt x="7787" y="3659"/>
                  </a:lnTo>
                  <a:lnTo>
                    <a:pt x="7795" y="3661"/>
                  </a:lnTo>
                  <a:lnTo>
                    <a:pt x="7801" y="3664"/>
                  </a:lnTo>
                  <a:lnTo>
                    <a:pt x="7807" y="3671"/>
                  </a:lnTo>
                  <a:lnTo>
                    <a:pt x="7808" y="3680"/>
                  </a:lnTo>
                  <a:close/>
                  <a:moveTo>
                    <a:pt x="8071" y="3680"/>
                  </a:moveTo>
                  <a:lnTo>
                    <a:pt x="8071" y="3792"/>
                  </a:lnTo>
                  <a:lnTo>
                    <a:pt x="8069" y="3801"/>
                  </a:lnTo>
                  <a:lnTo>
                    <a:pt x="8064" y="3806"/>
                  </a:lnTo>
                  <a:lnTo>
                    <a:pt x="8058" y="3810"/>
                  </a:lnTo>
                  <a:lnTo>
                    <a:pt x="8051" y="3811"/>
                  </a:lnTo>
                  <a:lnTo>
                    <a:pt x="8044" y="3810"/>
                  </a:lnTo>
                  <a:lnTo>
                    <a:pt x="8037" y="3806"/>
                  </a:lnTo>
                  <a:lnTo>
                    <a:pt x="8032" y="3801"/>
                  </a:lnTo>
                  <a:lnTo>
                    <a:pt x="8031" y="3792"/>
                  </a:lnTo>
                  <a:lnTo>
                    <a:pt x="8031" y="3680"/>
                  </a:lnTo>
                  <a:lnTo>
                    <a:pt x="8032" y="3671"/>
                  </a:lnTo>
                  <a:lnTo>
                    <a:pt x="8037" y="3664"/>
                  </a:lnTo>
                  <a:lnTo>
                    <a:pt x="8044" y="3661"/>
                  </a:lnTo>
                  <a:lnTo>
                    <a:pt x="8051" y="3659"/>
                  </a:lnTo>
                  <a:lnTo>
                    <a:pt x="8058" y="3661"/>
                  </a:lnTo>
                  <a:lnTo>
                    <a:pt x="8064" y="3664"/>
                  </a:lnTo>
                  <a:lnTo>
                    <a:pt x="8069" y="3671"/>
                  </a:lnTo>
                  <a:lnTo>
                    <a:pt x="8071" y="3680"/>
                  </a:lnTo>
                  <a:close/>
                  <a:moveTo>
                    <a:pt x="8334" y="3680"/>
                  </a:moveTo>
                  <a:lnTo>
                    <a:pt x="8334" y="3792"/>
                  </a:lnTo>
                  <a:lnTo>
                    <a:pt x="8332" y="3801"/>
                  </a:lnTo>
                  <a:lnTo>
                    <a:pt x="8327" y="3806"/>
                  </a:lnTo>
                  <a:lnTo>
                    <a:pt x="8322" y="3810"/>
                  </a:lnTo>
                  <a:lnTo>
                    <a:pt x="8314" y="3811"/>
                  </a:lnTo>
                  <a:lnTo>
                    <a:pt x="8307" y="3810"/>
                  </a:lnTo>
                  <a:lnTo>
                    <a:pt x="8300" y="3806"/>
                  </a:lnTo>
                  <a:lnTo>
                    <a:pt x="8296" y="3801"/>
                  </a:lnTo>
                  <a:lnTo>
                    <a:pt x="8294" y="3792"/>
                  </a:lnTo>
                  <a:lnTo>
                    <a:pt x="8294" y="3680"/>
                  </a:lnTo>
                  <a:lnTo>
                    <a:pt x="8296" y="3671"/>
                  </a:lnTo>
                  <a:lnTo>
                    <a:pt x="8300" y="3664"/>
                  </a:lnTo>
                  <a:lnTo>
                    <a:pt x="8307" y="3661"/>
                  </a:lnTo>
                  <a:lnTo>
                    <a:pt x="8314" y="3659"/>
                  </a:lnTo>
                  <a:lnTo>
                    <a:pt x="8322" y="3661"/>
                  </a:lnTo>
                  <a:lnTo>
                    <a:pt x="8327" y="3664"/>
                  </a:lnTo>
                  <a:lnTo>
                    <a:pt x="8332" y="3671"/>
                  </a:lnTo>
                  <a:lnTo>
                    <a:pt x="8334" y="3680"/>
                  </a:lnTo>
                  <a:close/>
                  <a:moveTo>
                    <a:pt x="8598" y="3680"/>
                  </a:moveTo>
                  <a:lnTo>
                    <a:pt x="8598" y="3792"/>
                  </a:lnTo>
                  <a:lnTo>
                    <a:pt x="8595" y="3801"/>
                  </a:lnTo>
                  <a:lnTo>
                    <a:pt x="8591" y="3806"/>
                  </a:lnTo>
                  <a:lnTo>
                    <a:pt x="8585" y="3810"/>
                  </a:lnTo>
                  <a:lnTo>
                    <a:pt x="8577" y="3811"/>
                  </a:lnTo>
                  <a:lnTo>
                    <a:pt x="8569" y="3810"/>
                  </a:lnTo>
                  <a:lnTo>
                    <a:pt x="8563" y="3806"/>
                  </a:lnTo>
                  <a:lnTo>
                    <a:pt x="8559" y="3801"/>
                  </a:lnTo>
                  <a:lnTo>
                    <a:pt x="8557" y="3792"/>
                  </a:lnTo>
                  <a:lnTo>
                    <a:pt x="8557" y="3680"/>
                  </a:lnTo>
                  <a:lnTo>
                    <a:pt x="8559" y="3671"/>
                  </a:lnTo>
                  <a:lnTo>
                    <a:pt x="8563" y="3664"/>
                  </a:lnTo>
                  <a:lnTo>
                    <a:pt x="8569" y="3661"/>
                  </a:lnTo>
                  <a:lnTo>
                    <a:pt x="8577" y="3659"/>
                  </a:lnTo>
                  <a:lnTo>
                    <a:pt x="8585" y="3661"/>
                  </a:lnTo>
                  <a:lnTo>
                    <a:pt x="8591" y="3664"/>
                  </a:lnTo>
                  <a:lnTo>
                    <a:pt x="8595" y="3671"/>
                  </a:lnTo>
                  <a:lnTo>
                    <a:pt x="8598" y="3680"/>
                  </a:lnTo>
                  <a:close/>
                  <a:moveTo>
                    <a:pt x="8861" y="3680"/>
                  </a:moveTo>
                  <a:lnTo>
                    <a:pt x="8861" y="3792"/>
                  </a:lnTo>
                  <a:lnTo>
                    <a:pt x="8858" y="3801"/>
                  </a:lnTo>
                  <a:lnTo>
                    <a:pt x="8854" y="3806"/>
                  </a:lnTo>
                  <a:lnTo>
                    <a:pt x="8848" y="3810"/>
                  </a:lnTo>
                  <a:lnTo>
                    <a:pt x="8840" y="3811"/>
                  </a:lnTo>
                  <a:lnTo>
                    <a:pt x="8832" y="3810"/>
                  </a:lnTo>
                  <a:lnTo>
                    <a:pt x="8826" y="3806"/>
                  </a:lnTo>
                  <a:lnTo>
                    <a:pt x="8822" y="3801"/>
                  </a:lnTo>
                  <a:lnTo>
                    <a:pt x="8821" y="3792"/>
                  </a:lnTo>
                  <a:lnTo>
                    <a:pt x="8821" y="3680"/>
                  </a:lnTo>
                  <a:lnTo>
                    <a:pt x="8822" y="3671"/>
                  </a:lnTo>
                  <a:lnTo>
                    <a:pt x="8826" y="3664"/>
                  </a:lnTo>
                  <a:lnTo>
                    <a:pt x="8832" y="3661"/>
                  </a:lnTo>
                  <a:lnTo>
                    <a:pt x="8840" y="3659"/>
                  </a:lnTo>
                  <a:lnTo>
                    <a:pt x="8848" y="3661"/>
                  </a:lnTo>
                  <a:lnTo>
                    <a:pt x="8854" y="3664"/>
                  </a:lnTo>
                  <a:lnTo>
                    <a:pt x="8858" y="3671"/>
                  </a:lnTo>
                  <a:lnTo>
                    <a:pt x="8861" y="3680"/>
                  </a:lnTo>
                  <a:close/>
                  <a:moveTo>
                    <a:pt x="9081" y="2604"/>
                  </a:moveTo>
                  <a:lnTo>
                    <a:pt x="9075" y="2604"/>
                  </a:lnTo>
                  <a:lnTo>
                    <a:pt x="9081" y="2604"/>
                  </a:lnTo>
                  <a:close/>
                  <a:moveTo>
                    <a:pt x="5536" y="1840"/>
                  </a:moveTo>
                  <a:lnTo>
                    <a:pt x="5109" y="1840"/>
                  </a:lnTo>
                  <a:lnTo>
                    <a:pt x="5109" y="1950"/>
                  </a:lnTo>
                  <a:lnTo>
                    <a:pt x="5536" y="1950"/>
                  </a:lnTo>
                  <a:lnTo>
                    <a:pt x="5536" y="1840"/>
                  </a:lnTo>
                  <a:close/>
                  <a:moveTo>
                    <a:pt x="4446" y="3790"/>
                  </a:moveTo>
                  <a:lnTo>
                    <a:pt x="5309" y="3790"/>
                  </a:lnTo>
                  <a:lnTo>
                    <a:pt x="5318" y="3791"/>
                  </a:lnTo>
                  <a:lnTo>
                    <a:pt x="5324" y="3796"/>
                  </a:lnTo>
                  <a:lnTo>
                    <a:pt x="5328" y="3803"/>
                  </a:lnTo>
                  <a:lnTo>
                    <a:pt x="5329" y="3809"/>
                  </a:lnTo>
                  <a:lnTo>
                    <a:pt x="5328" y="3817"/>
                  </a:lnTo>
                  <a:lnTo>
                    <a:pt x="5324" y="3823"/>
                  </a:lnTo>
                  <a:lnTo>
                    <a:pt x="5318" y="3828"/>
                  </a:lnTo>
                  <a:lnTo>
                    <a:pt x="5309" y="3829"/>
                  </a:lnTo>
                  <a:lnTo>
                    <a:pt x="5215" y="3829"/>
                  </a:lnTo>
                  <a:lnTo>
                    <a:pt x="5215" y="4317"/>
                  </a:lnTo>
                  <a:lnTo>
                    <a:pt x="5754" y="4317"/>
                  </a:lnTo>
                  <a:lnTo>
                    <a:pt x="5754" y="3782"/>
                  </a:lnTo>
                  <a:lnTo>
                    <a:pt x="5754" y="3249"/>
                  </a:lnTo>
                  <a:lnTo>
                    <a:pt x="5754" y="2716"/>
                  </a:lnTo>
                  <a:lnTo>
                    <a:pt x="5754" y="2182"/>
                  </a:lnTo>
                  <a:lnTo>
                    <a:pt x="5195" y="2182"/>
                  </a:lnTo>
                  <a:lnTo>
                    <a:pt x="4637" y="2182"/>
                  </a:lnTo>
                  <a:lnTo>
                    <a:pt x="4629" y="2181"/>
                  </a:lnTo>
                  <a:lnTo>
                    <a:pt x="4623" y="2176"/>
                  </a:lnTo>
                  <a:lnTo>
                    <a:pt x="4619" y="2170"/>
                  </a:lnTo>
                  <a:lnTo>
                    <a:pt x="4617" y="2163"/>
                  </a:lnTo>
                  <a:lnTo>
                    <a:pt x="4619" y="2156"/>
                  </a:lnTo>
                  <a:lnTo>
                    <a:pt x="4623" y="2149"/>
                  </a:lnTo>
                  <a:lnTo>
                    <a:pt x="4629" y="2144"/>
                  </a:lnTo>
                  <a:lnTo>
                    <a:pt x="4637" y="2143"/>
                  </a:lnTo>
                  <a:lnTo>
                    <a:pt x="5615" y="2143"/>
                  </a:lnTo>
                  <a:lnTo>
                    <a:pt x="5615" y="1989"/>
                  </a:lnTo>
                  <a:lnTo>
                    <a:pt x="5555" y="1989"/>
                  </a:lnTo>
                  <a:lnTo>
                    <a:pt x="5089" y="1989"/>
                  </a:lnTo>
                  <a:lnTo>
                    <a:pt x="4119" y="1989"/>
                  </a:lnTo>
                  <a:lnTo>
                    <a:pt x="4119" y="2143"/>
                  </a:lnTo>
                  <a:lnTo>
                    <a:pt x="4373" y="2143"/>
                  </a:lnTo>
                  <a:lnTo>
                    <a:pt x="4382" y="2144"/>
                  </a:lnTo>
                  <a:lnTo>
                    <a:pt x="4387" y="2149"/>
                  </a:lnTo>
                  <a:lnTo>
                    <a:pt x="4391" y="2156"/>
                  </a:lnTo>
                  <a:lnTo>
                    <a:pt x="4392" y="2163"/>
                  </a:lnTo>
                  <a:lnTo>
                    <a:pt x="4391" y="2170"/>
                  </a:lnTo>
                  <a:lnTo>
                    <a:pt x="4387" y="2176"/>
                  </a:lnTo>
                  <a:lnTo>
                    <a:pt x="4382" y="2181"/>
                  </a:lnTo>
                  <a:lnTo>
                    <a:pt x="4373" y="2182"/>
                  </a:lnTo>
                  <a:lnTo>
                    <a:pt x="4001" y="2182"/>
                  </a:lnTo>
                  <a:lnTo>
                    <a:pt x="4001" y="3195"/>
                  </a:lnTo>
                  <a:lnTo>
                    <a:pt x="3999" y="3204"/>
                  </a:lnTo>
                  <a:lnTo>
                    <a:pt x="3994" y="3211"/>
                  </a:lnTo>
                  <a:lnTo>
                    <a:pt x="3988" y="3214"/>
                  </a:lnTo>
                  <a:lnTo>
                    <a:pt x="3980" y="3216"/>
                  </a:lnTo>
                  <a:lnTo>
                    <a:pt x="3974" y="3214"/>
                  </a:lnTo>
                  <a:lnTo>
                    <a:pt x="3967" y="3211"/>
                  </a:lnTo>
                  <a:lnTo>
                    <a:pt x="3962" y="3204"/>
                  </a:lnTo>
                  <a:lnTo>
                    <a:pt x="3961" y="3195"/>
                  </a:lnTo>
                  <a:lnTo>
                    <a:pt x="3961" y="2679"/>
                  </a:lnTo>
                  <a:lnTo>
                    <a:pt x="3961" y="2163"/>
                  </a:lnTo>
                  <a:lnTo>
                    <a:pt x="3962" y="2156"/>
                  </a:lnTo>
                  <a:lnTo>
                    <a:pt x="3966" y="2149"/>
                  </a:lnTo>
                  <a:lnTo>
                    <a:pt x="3973" y="2144"/>
                  </a:lnTo>
                  <a:lnTo>
                    <a:pt x="3980" y="2143"/>
                  </a:lnTo>
                  <a:lnTo>
                    <a:pt x="4079" y="2143"/>
                  </a:lnTo>
                  <a:lnTo>
                    <a:pt x="4079" y="1970"/>
                  </a:lnTo>
                  <a:lnTo>
                    <a:pt x="4080" y="1963"/>
                  </a:lnTo>
                  <a:lnTo>
                    <a:pt x="4085" y="1956"/>
                  </a:lnTo>
                  <a:lnTo>
                    <a:pt x="4092" y="1951"/>
                  </a:lnTo>
                  <a:lnTo>
                    <a:pt x="4099" y="1950"/>
                  </a:lnTo>
                  <a:lnTo>
                    <a:pt x="5069" y="1950"/>
                  </a:lnTo>
                  <a:lnTo>
                    <a:pt x="5069" y="1819"/>
                  </a:lnTo>
                  <a:lnTo>
                    <a:pt x="5070" y="1812"/>
                  </a:lnTo>
                  <a:lnTo>
                    <a:pt x="5075" y="1805"/>
                  </a:lnTo>
                  <a:lnTo>
                    <a:pt x="5082" y="1801"/>
                  </a:lnTo>
                  <a:lnTo>
                    <a:pt x="5089" y="1799"/>
                  </a:lnTo>
                  <a:lnTo>
                    <a:pt x="5555" y="1799"/>
                  </a:lnTo>
                  <a:lnTo>
                    <a:pt x="5563" y="1801"/>
                  </a:lnTo>
                  <a:lnTo>
                    <a:pt x="5569" y="1805"/>
                  </a:lnTo>
                  <a:lnTo>
                    <a:pt x="5573" y="1812"/>
                  </a:lnTo>
                  <a:lnTo>
                    <a:pt x="5575" y="1819"/>
                  </a:lnTo>
                  <a:lnTo>
                    <a:pt x="5575" y="1950"/>
                  </a:lnTo>
                  <a:lnTo>
                    <a:pt x="5636" y="1950"/>
                  </a:lnTo>
                  <a:lnTo>
                    <a:pt x="5643" y="1951"/>
                  </a:lnTo>
                  <a:lnTo>
                    <a:pt x="5650" y="1956"/>
                  </a:lnTo>
                  <a:lnTo>
                    <a:pt x="5654" y="1963"/>
                  </a:lnTo>
                  <a:lnTo>
                    <a:pt x="5656" y="1970"/>
                  </a:lnTo>
                  <a:lnTo>
                    <a:pt x="5656" y="2143"/>
                  </a:lnTo>
                  <a:lnTo>
                    <a:pt x="5773" y="2143"/>
                  </a:lnTo>
                  <a:lnTo>
                    <a:pt x="5781" y="2144"/>
                  </a:lnTo>
                  <a:lnTo>
                    <a:pt x="5787" y="2149"/>
                  </a:lnTo>
                  <a:lnTo>
                    <a:pt x="5792" y="2156"/>
                  </a:lnTo>
                  <a:lnTo>
                    <a:pt x="5793" y="2163"/>
                  </a:lnTo>
                  <a:lnTo>
                    <a:pt x="5793" y="2705"/>
                  </a:lnTo>
                  <a:lnTo>
                    <a:pt x="5793" y="3249"/>
                  </a:lnTo>
                  <a:lnTo>
                    <a:pt x="5793" y="3792"/>
                  </a:lnTo>
                  <a:lnTo>
                    <a:pt x="5793" y="4336"/>
                  </a:lnTo>
                  <a:lnTo>
                    <a:pt x="5792" y="4343"/>
                  </a:lnTo>
                  <a:lnTo>
                    <a:pt x="5787" y="4350"/>
                  </a:lnTo>
                  <a:lnTo>
                    <a:pt x="5781" y="4355"/>
                  </a:lnTo>
                  <a:lnTo>
                    <a:pt x="5773" y="4356"/>
                  </a:lnTo>
                  <a:lnTo>
                    <a:pt x="5195" y="4356"/>
                  </a:lnTo>
                  <a:lnTo>
                    <a:pt x="4560" y="4356"/>
                  </a:lnTo>
                  <a:lnTo>
                    <a:pt x="3980" y="4356"/>
                  </a:lnTo>
                  <a:lnTo>
                    <a:pt x="3973" y="4355"/>
                  </a:lnTo>
                  <a:lnTo>
                    <a:pt x="3966" y="4350"/>
                  </a:lnTo>
                  <a:lnTo>
                    <a:pt x="3962" y="4343"/>
                  </a:lnTo>
                  <a:lnTo>
                    <a:pt x="3961" y="4336"/>
                  </a:lnTo>
                  <a:lnTo>
                    <a:pt x="3961" y="4037"/>
                  </a:lnTo>
                  <a:lnTo>
                    <a:pt x="3962" y="4028"/>
                  </a:lnTo>
                  <a:lnTo>
                    <a:pt x="3967" y="4021"/>
                  </a:lnTo>
                  <a:lnTo>
                    <a:pt x="3974" y="4017"/>
                  </a:lnTo>
                  <a:lnTo>
                    <a:pt x="3980" y="4016"/>
                  </a:lnTo>
                  <a:lnTo>
                    <a:pt x="3988" y="4017"/>
                  </a:lnTo>
                  <a:lnTo>
                    <a:pt x="3994" y="4021"/>
                  </a:lnTo>
                  <a:lnTo>
                    <a:pt x="3999" y="4028"/>
                  </a:lnTo>
                  <a:lnTo>
                    <a:pt x="4001" y="4037"/>
                  </a:lnTo>
                  <a:lnTo>
                    <a:pt x="4001" y="4317"/>
                  </a:lnTo>
                  <a:lnTo>
                    <a:pt x="4539" y="4317"/>
                  </a:lnTo>
                  <a:lnTo>
                    <a:pt x="4539" y="3829"/>
                  </a:lnTo>
                  <a:lnTo>
                    <a:pt x="4446" y="3829"/>
                  </a:lnTo>
                  <a:lnTo>
                    <a:pt x="4437" y="3828"/>
                  </a:lnTo>
                  <a:lnTo>
                    <a:pt x="4430" y="3823"/>
                  </a:lnTo>
                  <a:lnTo>
                    <a:pt x="4426" y="3817"/>
                  </a:lnTo>
                  <a:lnTo>
                    <a:pt x="4425" y="3809"/>
                  </a:lnTo>
                  <a:lnTo>
                    <a:pt x="4426" y="3803"/>
                  </a:lnTo>
                  <a:lnTo>
                    <a:pt x="4430" y="3796"/>
                  </a:lnTo>
                  <a:lnTo>
                    <a:pt x="4437" y="3791"/>
                  </a:lnTo>
                  <a:lnTo>
                    <a:pt x="4446" y="3790"/>
                  </a:lnTo>
                  <a:close/>
                  <a:moveTo>
                    <a:pt x="4897" y="3950"/>
                  </a:moveTo>
                  <a:lnTo>
                    <a:pt x="4897" y="4317"/>
                  </a:lnTo>
                  <a:lnTo>
                    <a:pt x="5175" y="4317"/>
                  </a:lnTo>
                  <a:lnTo>
                    <a:pt x="5175" y="3829"/>
                  </a:lnTo>
                  <a:lnTo>
                    <a:pt x="4579" y="3829"/>
                  </a:lnTo>
                  <a:lnTo>
                    <a:pt x="4579" y="4317"/>
                  </a:lnTo>
                  <a:lnTo>
                    <a:pt x="4857" y="4317"/>
                  </a:lnTo>
                  <a:lnTo>
                    <a:pt x="4857" y="3950"/>
                  </a:lnTo>
                  <a:lnTo>
                    <a:pt x="4859" y="3941"/>
                  </a:lnTo>
                  <a:lnTo>
                    <a:pt x="4864" y="3934"/>
                  </a:lnTo>
                  <a:lnTo>
                    <a:pt x="4870" y="3930"/>
                  </a:lnTo>
                  <a:lnTo>
                    <a:pt x="4877" y="3929"/>
                  </a:lnTo>
                  <a:lnTo>
                    <a:pt x="4884" y="3930"/>
                  </a:lnTo>
                  <a:lnTo>
                    <a:pt x="4891" y="3934"/>
                  </a:lnTo>
                  <a:lnTo>
                    <a:pt x="4896" y="3941"/>
                  </a:lnTo>
                  <a:lnTo>
                    <a:pt x="4897" y="3950"/>
                  </a:lnTo>
                  <a:close/>
                  <a:moveTo>
                    <a:pt x="8349" y="481"/>
                  </a:moveTo>
                  <a:lnTo>
                    <a:pt x="8337" y="483"/>
                  </a:lnTo>
                  <a:lnTo>
                    <a:pt x="8328" y="482"/>
                  </a:lnTo>
                  <a:lnTo>
                    <a:pt x="8321" y="475"/>
                  </a:lnTo>
                  <a:lnTo>
                    <a:pt x="8318" y="464"/>
                  </a:lnTo>
                  <a:lnTo>
                    <a:pt x="8316" y="446"/>
                  </a:lnTo>
                  <a:lnTo>
                    <a:pt x="8312" y="428"/>
                  </a:lnTo>
                  <a:lnTo>
                    <a:pt x="8299" y="394"/>
                  </a:lnTo>
                  <a:lnTo>
                    <a:pt x="8280" y="364"/>
                  </a:lnTo>
                  <a:lnTo>
                    <a:pt x="8255" y="337"/>
                  </a:lnTo>
                  <a:lnTo>
                    <a:pt x="8226" y="316"/>
                  </a:lnTo>
                  <a:lnTo>
                    <a:pt x="8192" y="299"/>
                  </a:lnTo>
                  <a:lnTo>
                    <a:pt x="8175" y="293"/>
                  </a:lnTo>
                  <a:lnTo>
                    <a:pt x="8157" y="289"/>
                  </a:lnTo>
                  <a:lnTo>
                    <a:pt x="8137" y="286"/>
                  </a:lnTo>
                  <a:lnTo>
                    <a:pt x="8119" y="285"/>
                  </a:lnTo>
                  <a:lnTo>
                    <a:pt x="8080" y="289"/>
                  </a:lnTo>
                  <a:lnTo>
                    <a:pt x="8060" y="294"/>
                  </a:lnTo>
                  <a:lnTo>
                    <a:pt x="8042" y="300"/>
                  </a:lnTo>
                  <a:lnTo>
                    <a:pt x="8008" y="318"/>
                  </a:lnTo>
                  <a:lnTo>
                    <a:pt x="7978" y="341"/>
                  </a:lnTo>
                  <a:lnTo>
                    <a:pt x="7966" y="355"/>
                  </a:lnTo>
                  <a:lnTo>
                    <a:pt x="7954" y="369"/>
                  </a:lnTo>
                  <a:lnTo>
                    <a:pt x="7935" y="403"/>
                  </a:lnTo>
                  <a:lnTo>
                    <a:pt x="7928" y="420"/>
                  </a:lnTo>
                  <a:lnTo>
                    <a:pt x="7923" y="438"/>
                  </a:lnTo>
                  <a:lnTo>
                    <a:pt x="7919" y="477"/>
                  </a:lnTo>
                  <a:lnTo>
                    <a:pt x="7867" y="477"/>
                  </a:lnTo>
                  <a:lnTo>
                    <a:pt x="7836" y="474"/>
                  </a:lnTo>
                  <a:lnTo>
                    <a:pt x="7815" y="477"/>
                  </a:lnTo>
                  <a:lnTo>
                    <a:pt x="7798" y="482"/>
                  </a:lnTo>
                  <a:lnTo>
                    <a:pt x="7780" y="492"/>
                  </a:lnTo>
                  <a:lnTo>
                    <a:pt x="7765" y="504"/>
                  </a:lnTo>
                  <a:lnTo>
                    <a:pt x="7754" y="519"/>
                  </a:lnTo>
                  <a:lnTo>
                    <a:pt x="7745" y="537"/>
                  </a:lnTo>
                  <a:lnTo>
                    <a:pt x="7740" y="556"/>
                  </a:lnTo>
                  <a:lnTo>
                    <a:pt x="7737" y="576"/>
                  </a:lnTo>
                  <a:lnTo>
                    <a:pt x="7740" y="598"/>
                  </a:lnTo>
                  <a:lnTo>
                    <a:pt x="8505" y="599"/>
                  </a:lnTo>
                  <a:lnTo>
                    <a:pt x="8508" y="574"/>
                  </a:lnTo>
                  <a:lnTo>
                    <a:pt x="8505" y="552"/>
                  </a:lnTo>
                  <a:lnTo>
                    <a:pt x="8499" y="532"/>
                  </a:lnTo>
                  <a:lnTo>
                    <a:pt x="8490" y="514"/>
                  </a:lnTo>
                  <a:lnTo>
                    <a:pt x="8477" y="497"/>
                  </a:lnTo>
                  <a:lnTo>
                    <a:pt x="8460" y="484"/>
                  </a:lnTo>
                  <a:lnTo>
                    <a:pt x="8443" y="474"/>
                  </a:lnTo>
                  <a:lnTo>
                    <a:pt x="8423" y="468"/>
                  </a:lnTo>
                  <a:lnTo>
                    <a:pt x="8401" y="465"/>
                  </a:lnTo>
                  <a:lnTo>
                    <a:pt x="8373" y="469"/>
                  </a:lnTo>
                  <a:lnTo>
                    <a:pt x="8349" y="481"/>
                  </a:lnTo>
                  <a:close/>
                  <a:moveTo>
                    <a:pt x="7880" y="455"/>
                  </a:moveTo>
                  <a:lnTo>
                    <a:pt x="7883" y="433"/>
                  </a:lnTo>
                  <a:lnTo>
                    <a:pt x="7889" y="411"/>
                  </a:lnTo>
                  <a:lnTo>
                    <a:pt x="7896" y="391"/>
                  </a:lnTo>
                  <a:lnTo>
                    <a:pt x="7905" y="372"/>
                  </a:lnTo>
                  <a:lnTo>
                    <a:pt x="7917" y="354"/>
                  </a:lnTo>
                  <a:lnTo>
                    <a:pt x="7930" y="336"/>
                  </a:lnTo>
                  <a:lnTo>
                    <a:pt x="7944" y="321"/>
                  </a:lnTo>
                  <a:lnTo>
                    <a:pt x="7959" y="305"/>
                  </a:lnTo>
                  <a:lnTo>
                    <a:pt x="7994" y="280"/>
                  </a:lnTo>
                  <a:lnTo>
                    <a:pt x="8032" y="261"/>
                  </a:lnTo>
                  <a:lnTo>
                    <a:pt x="8075" y="249"/>
                  </a:lnTo>
                  <a:lnTo>
                    <a:pt x="8119" y="245"/>
                  </a:lnTo>
                  <a:lnTo>
                    <a:pt x="8160" y="249"/>
                  </a:lnTo>
                  <a:lnTo>
                    <a:pt x="8200" y="259"/>
                  </a:lnTo>
                  <a:lnTo>
                    <a:pt x="8237" y="276"/>
                  </a:lnTo>
                  <a:lnTo>
                    <a:pt x="8254" y="286"/>
                  </a:lnTo>
                  <a:lnTo>
                    <a:pt x="8271" y="299"/>
                  </a:lnTo>
                  <a:lnTo>
                    <a:pt x="8300" y="326"/>
                  </a:lnTo>
                  <a:lnTo>
                    <a:pt x="8325" y="358"/>
                  </a:lnTo>
                  <a:lnTo>
                    <a:pt x="8335" y="376"/>
                  </a:lnTo>
                  <a:lnTo>
                    <a:pt x="8343" y="395"/>
                  </a:lnTo>
                  <a:lnTo>
                    <a:pt x="8350" y="414"/>
                  </a:lnTo>
                  <a:lnTo>
                    <a:pt x="8354" y="433"/>
                  </a:lnTo>
                  <a:lnTo>
                    <a:pt x="8377" y="428"/>
                  </a:lnTo>
                  <a:lnTo>
                    <a:pt x="8401" y="426"/>
                  </a:lnTo>
                  <a:lnTo>
                    <a:pt x="8431" y="428"/>
                  </a:lnTo>
                  <a:lnTo>
                    <a:pt x="8459" y="437"/>
                  </a:lnTo>
                  <a:lnTo>
                    <a:pt x="8484" y="451"/>
                  </a:lnTo>
                  <a:lnTo>
                    <a:pt x="8505" y="470"/>
                  </a:lnTo>
                  <a:lnTo>
                    <a:pt x="8523" y="492"/>
                  </a:lnTo>
                  <a:lnTo>
                    <a:pt x="8531" y="505"/>
                  </a:lnTo>
                  <a:lnTo>
                    <a:pt x="8536" y="518"/>
                  </a:lnTo>
                  <a:lnTo>
                    <a:pt x="8545" y="544"/>
                  </a:lnTo>
                  <a:lnTo>
                    <a:pt x="8548" y="560"/>
                  </a:lnTo>
                  <a:lnTo>
                    <a:pt x="8548" y="574"/>
                  </a:lnTo>
                  <a:lnTo>
                    <a:pt x="8548" y="592"/>
                  </a:lnTo>
                  <a:lnTo>
                    <a:pt x="8544" y="613"/>
                  </a:lnTo>
                  <a:lnTo>
                    <a:pt x="8540" y="624"/>
                  </a:lnTo>
                  <a:lnTo>
                    <a:pt x="8535" y="631"/>
                  </a:lnTo>
                  <a:lnTo>
                    <a:pt x="8528" y="638"/>
                  </a:lnTo>
                  <a:lnTo>
                    <a:pt x="8521" y="640"/>
                  </a:lnTo>
                  <a:lnTo>
                    <a:pt x="7724" y="638"/>
                  </a:lnTo>
                  <a:lnTo>
                    <a:pt x="7717" y="637"/>
                  </a:lnTo>
                  <a:lnTo>
                    <a:pt x="7710" y="631"/>
                  </a:lnTo>
                  <a:lnTo>
                    <a:pt x="7705" y="622"/>
                  </a:lnTo>
                  <a:lnTo>
                    <a:pt x="7701" y="613"/>
                  </a:lnTo>
                  <a:lnTo>
                    <a:pt x="7699" y="593"/>
                  </a:lnTo>
                  <a:lnTo>
                    <a:pt x="7698" y="576"/>
                  </a:lnTo>
                  <a:lnTo>
                    <a:pt x="7700" y="548"/>
                  </a:lnTo>
                  <a:lnTo>
                    <a:pt x="7708" y="521"/>
                  </a:lnTo>
                  <a:lnTo>
                    <a:pt x="7721" y="497"/>
                  </a:lnTo>
                  <a:lnTo>
                    <a:pt x="7737" y="477"/>
                  </a:lnTo>
                  <a:lnTo>
                    <a:pt x="7757" y="459"/>
                  </a:lnTo>
                  <a:lnTo>
                    <a:pt x="7781" y="446"/>
                  </a:lnTo>
                  <a:lnTo>
                    <a:pt x="7807" y="437"/>
                  </a:lnTo>
                  <a:lnTo>
                    <a:pt x="7836" y="434"/>
                  </a:lnTo>
                  <a:lnTo>
                    <a:pt x="7851" y="436"/>
                  </a:lnTo>
                  <a:lnTo>
                    <a:pt x="7864" y="440"/>
                  </a:lnTo>
                  <a:lnTo>
                    <a:pt x="7874" y="445"/>
                  </a:lnTo>
                  <a:lnTo>
                    <a:pt x="7880" y="455"/>
                  </a:lnTo>
                  <a:close/>
                  <a:moveTo>
                    <a:pt x="4157" y="902"/>
                  </a:moveTo>
                  <a:lnTo>
                    <a:pt x="4683" y="902"/>
                  </a:lnTo>
                  <a:lnTo>
                    <a:pt x="5210" y="902"/>
                  </a:lnTo>
                  <a:lnTo>
                    <a:pt x="5210" y="892"/>
                  </a:lnTo>
                  <a:lnTo>
                    <a:pt x="5207" y="865"/>
                  </a:lnTo>
                  <a:lnTo>
                    <a:pt x="5203" y="854"/>
                  </a:lnTo>
                  <a:lnTo>
                    <a:pt x="5200" y="841"/>
                  </a:lnTo>
                  <a:lnTo>
                    <a:pt x="5187" y="819"/>
                  </a:lnTo>
                  <a:lnTo>
                    <a:pt x="5179" y="809"/>
                  </a:lnTo>
                  <a:lnTo>
                    <a:pt x="5171" y="799"/>
                  </a:lnTo>
                  <a:lnTo>
                    <a:pt x="5151" y="784"/>
                  </a:lnTo>
                  <a:lnTo>
                    <a:pt x="5141" y="777"/>
                  </a:lnTo>
                  <a:lnTo>
                    <a:pt x="5129" y="771"/>
                  </a:lnTo>
                  <a:lnTo>
                    <a:pt x="5103" y="763"/>
                  </a:lnTo>
                  <a:lnTo>
                    <a:pt x="5077" y="761"/>
                  </a:lnTo>
                  <a:lnTo>
                    <a:pt x="5052" y="763"/>
                  </a:lnTo>
                  <a:lnTo>
                    <a:pt x="5042" y="767"/>
                  </a:lnTo>
                  <a:lnTo>
                    <a:pt x="5030" y="771"/>
                  </a:lnTo>
                  <a:lnTo>
                    <a:pt x="4996" y="791"/>
                  </a:lnTo>
                  <a:lnTo>
                    <a:pt x="4982" y="799"/>
                  </a:lnTo>
                  <a:lnTo>
                    <a:pt x="4970" y="801"/>
                  </a:lnTo>
                  <a:lnTo>
                    <a:pt x="4961" y="799"/>
                  </a:lnTo>
                  <a:lnTo>
                    <a:pt x="4955" y="786"/>
                  </a:lnTo>
                  <a:lnTo>
                    <a:pt x="4944" y="758"/>
                  </a:lnTo>
                  <a:lnTo>
                    <a:pt x="4938" y="745"/>
                  </a:lnTo>
                  <a:lnTo>
                    <a:pt x="4929" y="732"/>
                  </a:lnTo>
                  <a:lnTo>
                    <a:pt x="4911" y="711"/>
                  </a:lnTo>
                  <a:lnTo>
                    <a:pt x="4900" y="700"/>
                  </a:lnTo>
                  <a:lnTo>
                    <a:pt x="4888" y="690"/>
                  </a:lnTo>
                  <a:lnTo>
                    <a:pt x="4864" y="675"/>
                  </a:lnTo>
                  <a:lnTo>
                    <a:pt x="4837" y="662"/>
                  </a:lnTo>
                  <a:lnTo>
                    <a:pt x="4821" y="658"/>
                  </a:lnTo>
                  <a:lnTo>
                    <a:pt x="4807" y="656"/>
                  </a:lnTo>
                  <a:lnTo>
                    <a:pt x="4775" y="653"/>
                  </a:lnTo>
                  <a:lnTo>
                    <a:pt x="4751" y="656"/>
                  </a:lnTo>
                  <a:lnTo>
                    <a:pt x="4725" y="661"/>
                  </a:lnTo>
                  <a:lnTo>
                    <a:pt x="4702" y="665"/>
                  </a:lnTo>
                  <a:lnTo>
                    <a:pt x="4694" y="663"/>
                  </a:lnTo>
                  <a:lnTo>
                    <a:pt x="4688" y="660"/>
                  </a:lnTo>
                  <a:lnTo>
                    <a:pt x="4671" y="643"/>
                  </a:lnTo>
                  <a:lnTo>
                    <a:pt x="4653" y="628"/>
                  </a:lnTo>
                  <a:lnTo>
                    <a:pt x="4634" y="615"/>
                  </a:lnTo>
                  <a:lnTo>
                    <a:pt x="4614" y="605"/>
                  </a:lnTo>
                  <a:lnTo>
                    <a:pt x="4592" y="596"/>
                  </a:lnTo>
                  <a:lnTo>
                    <a:pt x="4570" y="589"/>
                  </a:lnTo>
                  <a:lnTo>
                    <a:pt x="4546" y="585"/>
                  </a:lnTo>
                  <a:lnTo>
                    <a:pt x="4521" y="584"/>
                  </a:lnTo>
                  <a:lnTo>
                    <a:pt x="4480" y="587"/>
                  </a:lnTo>
                  <a:lnTo>
                    <a:pt x="4462" y="590"/>
                  </a:lnTo>
                  <a:lnTo>
                    <a:pt x="4446" y="594"/>
                  </a:lnTo>
                  <a:lnTo>
                    <a:pt x="4416" y="607"/>
                  </a:lnTo>
                  <a:lnTo>
                    <a:pt x="4393" y="622"/>
                  </a:lnTo>
                  <a:lnTo>
                    <a:pt x="4373" y="640"/>
                  </a:lnTo>
                  <a:lnTo>
                    <a:pt x="4356" y="661"/>
                  </a:lnTo>
                  <a:lnTo>
                    <a:pt x="4343" y="683"/>
                  </a:lnTo>
                  <a:lnTo>
                    <a:pt x="4333" y="704"/>
                  </a:lnTo>
                  <a:lnTo>
                    <a:pt x="4317" y="749"/>
                  </a:lnTo>
                  <a:lnTo>
                    <a:pt x="4306" y="786"/>
                  </a:lnTo>
                  <a:lnTo>
                    <a:pt x="4293" y="812"/>
                  </a:lnTo>
                  <a:lnTo>
                    <a:pt x="4287" y="818"/>
                  </a:lnTo>
                  <a:lnTo>
                    <a:pt x="4276" y="819"/>
                  </a:lnTo>
                  <a:lnTo>
                    <a:pt x="4261" y="818"/>
                  </a:lnTo>
                  <a:lnTo>
                    <a:pt x="4242" y="819"/>
                  </a:lnTo>
                  <a:lnTo>
                    <a:pt x="4224" y="824"/>
                  </a:lnTo>
                  <a:lnTo>
                    <a:pt x="4207" y="832"/>
                  </a:lnTo>
                  <a:lnTo>
                    <a:pt x="4193" y="842"/>
                  </a:lnTo>
                  <a:lnTo>
                    <a:pt x="4180" y="854"/>
                  </a:lnTo>
                  <a:lnTo>
                    <a:pt x="4170" y="868"/>
                  </a:lnTo>
                  <a:lnTo>
                    <a:pt x="4162" y="885"/>
                  </a:lnTo>
                  <a:lnTo>
                    <a:pt x="4157" y="902"/>
                  </a:lnTo>
                  <a:close/>
                  <a:moveTo>
                    <a:pt x="5248" y="923"/>
                  </a:moveTo>
                  <a:lnTo>
                    <a:pt x="5243" y="933"/>
                  </a:lnTo>
                  <a:lnTo>
                    <a:pt x="5238" y="938"/>
                  </a:lnTo>
                  <a:lnTo>
                    <a:pt x="5227" y="942"/>
                  </a:lnTo>
                  <a:lnTo>
                    <a:pt x="4680" y="942"/>
                  </a:lnTo>
                  <a:lnTo>
                    <a:pt x="4135" y="942"/>
                  </a:lnTo>
                  <a:lnTo>
                    <a:pt x="4129" y="940"/>
                  </a:lnTo>
                  <a:lnTo>
                    <a:pt x="4123" y="936"/>
                  </a:lnTo>
                  <a:lnTo>
                    <a:pt x="4117" y="928"/>
                  </a:lnTo>
                  <a:lnTo>
                    <a:pt x="4116" y="920"/>
                  </a:lnTo>
                  <a:lnTo>
                    <a:pt x="4119" y="891"/>
                  </a:lnTo>
                  <a:lnTo>
                    <a:pt x="4128" y="864"/>
                  </a:lnTo>
                  <a:lnTo>
                    <a:pt x="4140" y="840"/>
                  </a:lnTo>
                  <a:lnTo>
                    <a:pt x="4158" y="819"/>
                  </a:lnTo>
                  <a:lnTo>
                    <a:pt x="4180" y="801"/>
                  </a:lnTo>
                  <a:lnTo>
                    <a:pt x="4205" y="789"/>
                  </a:lnTo>
                  <a:lnTo>
                    <a:pt x="4232" y="781"/>
                  </a:lnTo>
                  <a:lnTo>
                    <a:pt x="4261" y="777"/>
                  </a:lnTo>
                  <a:lnTo>
                    <a:pt x="4265" y="753"/>
                  </a:lnTo>
                  <a:lnTo>
                    <a:pt x="4270" y="730"/>
                  </a:lnTo>
                  <a:lnTo>
                    <a:pt x="4279" y="707"/>
                  </a:lnTo>
                  <a:lnTo>
                    <a:pt x="4288" y="686"/>
                  </a:lnTo>
                  <a:lnTo>
                    <a:pt x="4301" y="666"/>
                  </a:lnTo>
                  <a:lnTo>
                    <a:pt x="4314" y="647"/>
                  </a:lnTo>
                  <a:lnTo>
                    <a:pt x="4329" y="629"/>
                  </a:lnTo>
                  <a:lnTo>
                    <a:pt x="4346" y="612"/>
                  </a:lnTo>
                  <a:lnTo>
                    <a:pt x="4364" y="597"/>
                  </a:lnTo>
                  <a:lnTo>
                    <a:pt x="4383" y="584"/>
                  </a:lnTo>
                  <a:lnTo>
                    <a:pt x="4425" y="562"/>
                  </a:lnTo>
                  <a:lnTo>
                    <a:pt x="4448" y="555"/>
                  </a:lnTo>
                  <a:lnTo>
                    <a:pt x="4471" y="550"/>
                  </a:lnTo>
                  <a:lnTo>
                    <a:pt x="4496" y="546"/>
                  </a:lnTo>
                  <a:lnTo>
                    <a:pt x="4521" y="544"/>
                  </a:lnTo>
                  <a:lnTo>
                    <a:pt x="4548" y="546"/>
                  </a:lnTo>
                  <a:lnTo>
                    <a:pt x="4575" y="550"/>
                  </a:lnTo>
                  <a:lnTo>
                    <a:pt x="4625" y="565"/>
                  </a:lnTo>
                  <a:lnTo>
                    <a:pt x="4648" y="576"/>
                  </a:lnTo>
                  <a:lnTo>
                    <a:pt x="4670" y="590"/>
                  </a:lnTo>
                  <a:lnTo>
                    <a:pt x="4689" y="606"/>
                  </a:lnTo>
                  <a:lnTo>
                    <a:pt x="4709" y="622"/>
                  </a:lnTo>
                  <a:lnTo>
                    <a:pt x="4741" y="615"/>
                  </a:lnTo>
                  <a:lnTo>
                    <a:pt x="4775" y="612"/>
                  </a:lnTo>
                  <a:lnTo>
                    <a:pt x="4810" y="615"/>
                  </a:lnTo>
                  <a:lnTo>
                    <a:pt x="4827" y="619"/>
                  </a:lnTo>
                  <a:lnTo>
                    <a:pt x="4842" y="622"/>
                  </a:lnTo>
                  <a:lnTo>
                    <a:pt x="4873" y="635"/>
                  </a:lnTo>
                  <a:lnTo>
                    <a:pt x="4901" y="651"/>
                  </a:lnTo>
                  <a:lnTo>
                    <a:pt x="4927" y="671"/>
                  </a:lnTo>
                  <a:lnTo>
                    <a:pt x="4950" y="694"/>
                  </a:lnTo>
                  <a:lnTo>
                    <a:pt x="4969" y="720"/>
                  </a:lnTo>
                  <a:lnTo>
                    <a:pt x="4984" y="749"/>
                  </a:lnTo>
                  <a:lnTo>
                    <a:pt x="5005" y="738"/>
                  </a:lnTo>
                  <a:lnTo>
                    <a:pt x="5028" y="729"/>
                  </a:lnTo>
                  <a:lnTo>
                    <a:pt x="5052" y="722"/>
                  </a:lnTo>
                  <a:lnTo>
                    <a:pt x="5077" y="721"/>
                  </a:lnTo>
                  <a:lnTo>
                    <a:pt x="5112" y="725"/>
                  </a:lnTo>
                  <a:lnTo>
                    <a:pt x="5128" y="729"/>
                  </a:lnTo>
                  <a:lnTo>
                    <a:pt x="5145" y="734"/>
                  </a:lnTo>
                  <a:lnTo>
                    <a:pt x="5174" y="750"/>
                  </a:lnTo>
                  <a:lnTo>
                    <a:pt x="5200" y="771"/>
                  </a:lnTo>
                  <a:lnTo>
                    <a:pt x="5210" y="784"/>
                  </a:lnTo>
                  <a:lnTo>
                    <a:pt x="5220" y="796"/>
                  </a:lnTo>
                  <a:lnTo>
                    <a:pt x="5229" y="810"/>
                  </a:lnTo>
                  <a:lnTo>
                    <a:pt x="5237" y="826"/>
                  </a:lnTo>
                  <a:lnTo>
                    <a:pt x="5247" y="858"/>
                  </a:lnTo>
                  <a:lnTo>
                    <a:pt x="5250" y="892"/>
                  </a:lnTo>
                  <a:lnTo>
                    <a:pt x="5250" y="908"/>
                  </a:lnTo>
                  <a:lnTo>
                    <a:pt x="5248" y="923"/>
                  </a:lnTo>
                  <a:close/>
                  <a:moveTo>
                    <a:pt x="4239" y="2494"/>
                  </a:moveTo>
                  <a:lnTo>
                    <a:pt x="4239" y="2607"/>
                  </a:lnTo>
                  <a:lnTo>
                    <a:pt x="4238" y="2616"/>
                  </a:lnTo>
                  <a:lnTo>
                    <a:pt x="4233" y="2622"/>
                  </a:lnTo>
                  <a:lnTo>
                    <a:pt x="4226" y="2626"/>
                  </a:lnTo>
                  <a:lnTo>
                    <a:pt x="4219" y="2627"/>
                  </a:lnTo>
                  <a:lnTo>
                    <a:pt x="4212" y="2626"/>
                  </a:lnTo>
                  <a:lnTo>
                    <a:pt x="4206" y="2622"/>
                  </a:lnTo>
                  <a:lnTo>
                    <a:pt x="4201" y="2616"/>
                  </a:lnTo>
                  <a:lnTo>
                    <a:pt x="4199" y="2607"/>
                  </a:lnTo>
                  <a:lnTo>
                    <a:pt x="4199" y="2494"/>
                  </a:lnTo>
                  <a:lnTo>
                    <a:pt x="4201" y="2487"/>
                  </a:lnTo>
                  <a:lnTo>
                    <a:pt x="4206" y="2480"/>
                  </a:lnTo>
                  <a:lnTo>
                    <a:pt x="4212" y="2477"/>
                  </a:lnTo>
                  <a:lnTo>
                    <a:pt x="4219" y="2475"/>
                  </a:lnTo>
                  <a:lnTo>
                    <a:pt x="4226" y="2477"/>
                  </a:lnTo>
                  <a:lnTo>
                    <a:pt x="4233" y="2480"/>
                  </a:lnTo>
                  <a:lnTo>
                    <a:pt x="4238" y="2487"/>
                  </a:lnTo>
                  <a:lnTo>
                    <a:pt x="4239" y="2494"/>
                  </a:lnTo>
                  <a:close/>
                  <a:moveTo>
                    <a:pt x="4502" y="2494"/>
                  </a:moveTo>
                  <a:lnTo>
                    <a:pt x="4502" y="2607"/>
                  </a:lnTo>
                  <a:lnTo>
                    <a:pt x="4501" y="2616"/>
                  </a:lnTo>
                  <a:lnTo>
                    <a:pt x="4496" y="2622"/>
                  </a:lnTo>
                  <a:lnTo>
                    <a:pt x="4489" y="2626"/>
                  </a:lnTo>
                  <a:lnTo>
                    <a:pt x="4483" y="2627"/>
                  </a:lnTo>
                  <a:lnTo>
                    <a:pt x="4475" y="2626"/>
                  </a:lnTo>
                  <a:lnTo>
                    <a:pt x="4469" y="2622"/>
                  </a:lnTo>
                  <a:lnTo>
                    <a:pt x="4464" y="2616"/>
                  </a:lnTo>
                  <a:lnTo>
                    <a:pt x="4462" y="2607"/>
                  </a:lnTo>
                  <a:lnTo>
                    <a:pt x="4462" y="2494"/>
                  </a:lnTo>
                  <a:lnTo>
                    <a:pt x="4464" y="2487"/>
                  </a:lnTo>
                  <a:lnTo>
                    <a:pt x="4469" y="2480"/>
                  </a:lnTo>
                  <a:lnTo>
                    <a:pt x="4475" y="2477"/>
                  </a:lnTo>
                  <a:lnTo>
                    <a:pt x="4483" y="2475"/>
                  </a:lnTo>
                  <a:lnTo>
                    <a:pt x="4489" y="2477"/>
                  </a:lnTo>
                  <a:lnTo>
                    <a:pt x="4496" y="2480"/>
                  </a:lnTo>
                  <a:lnTo>
                    <a:pt x="4501" y="2487"/>
                  </a:lnTo>
                  <a:lnTo>
                    <a:pt x="4502" y="2494"/>
                  </a:lnTo>
                  <a:close/>
                  <a:moveTo>
                    <a:pt x="4765" y="2494"/>
                  </a:moveTo>
                  <a:lnTo>
                    <a:pt x="4765" y="2607"/>
                  </a:lnTo>
                  <a:lnTo>
                    <a:pt x="4764" y="2616"/>
                  </a:lnTo>
                  <a:lnTo>
                    <a:pt x="4759" y="2622"/>
                  </a:lnTo>
                  <a:lnTo>
                    <a:pt x="4752" y="2626"/>
                  </a:lnTo>
                  <a:lnTo>
                    <a:pt x="4746" y="2627"/>
                  </a:lnTo>
                  <a:lnTo>
                    <a:pt x="4738" y="2626"/>
                  </a:lnTo>
                  <a:lnTo>
                    <a:pt x="4732" y="2622"/>
                  </a:lnTo>
                  <a:lnTo>
                    <a:pt x="4728" y="2616"/>
                  </a:lnTo>
                  <a:lnTo>
                    <a:pt x="4725" y="2607"/>
                  </a:lnTo>
                  <a:lnTo>
                    <a:pt x="4725" y="2494"/>
                  </a:lnTo>
                  <a:lnTo>
                    <a:pt x="4728" y="2487"/>
                  </a:lnTo>
                  <a:lnTo>
                    <a:pt x="4732" y="2480"/>
                  </a:lnTo>
                  <a:lnTo>
                    <a:pt x="4738" y="2477"/>
                  </a:lnTo>
                  <a:lnTo>
                    <a:pt x="4746" y="2475"/>
                  </a:lnTo>
                  <a:lnTo>
                    <a:pt x="4752" y="2477"/>
                  </a:lnTo>
                  <a:lnTo>
                    <a:pt x="4759" y="2480"/>
                  </a:lnTo>
                  <a:lnTo>
                    <a:pt x="4764" y="2487"/>
                  </a:lnTo>
                  <a:lnTo>
                    <a:pt x="4765" y="2494"/>
                  </a:lnTo>
                  <a:close/>
                  <a:moveTo>
                    <a:pt x="5029" y="2494"/>
                  </a:moveTo>
                  <a:lnTo>
                    <a:pt x="5029" y="2607"/>
                  </a:lnTo>
                  <a:lnTo>
                    <a:pt x="5027" y="2616"/>
                  </a:lnTo>
                  <a:lnTo>
                    <a:pt x="5023" y="2622"/>
                  </a:lnTo>
                  <a:lnTo>
                    <a:pt x="5016" y="2626"/>
                  </a:lnTo>
                  <a:lnTo>
                    <a:pt x="5009" y="2627"/>
                  </a:lnTo>
                  <a:lnTo>
                    <a:pt x="5001" y="2626"/>
                  </a:lnTo>
                  <a:lnTo>
                    <a:pt x="4994" y="2622"/>
                  </a:lnTo>
                  <a:lnTo>
                    <a:pt x="4991" y="2616"/>
                  </a:lnTo>
                  <a:lnTo>
                    <a:pt x="4988" y="2607"/>
                  </a:lnTo>
                  <a:lnTo>
                    <a:pt x="4988" y="2494"/>
                  </a:lnTo>
                  <a:lnTo>
                    <a:pt x="4991" y="2487"/>
                  </a:lnTo>
                  <a:lnTo>
                    <a:pt x="4994" y="2480"/>
                  </a:lnTo>
                  <a:lnTo>
                    <a:pt x="5001" y="2477"/>
                  </a:lnTo>
                  <a:lnTo>
                    <a:pt x="5009" y="2475"/>
                  </a:lnTo>
                  <a:lnTo>
                    <a:pt x="5016" y="2477"/>
                  </a:lnTo>
                  <a:lnTo>
                    <a:pt x="5023" y="2480"/>
                  </a:lnTo>
                  <a:lnTo>
                    <a:pt x="5027" y="2487"/>
                  </a:lnTo>
                  <a:lnTo>
                    <a:pt x="5029" y="2494"/>
                  </a:lnTo>
                  <a:close/>
                  <a:moveTo>
                    <a:pt x="5292" y="2494"/>
                  </a:moveTo>
                  <a:lnTo>
                    <a:pt x="5292" y="2607"/>
                  </a:lnTo>
                  <a:lnTo>
                    <a:pt x="5289" y="2616"/>
                  </a:lnTo>
                  <a:lnTo>
                    <a:pt x="5286" y="2622"/>
                  </a:lnTo>
                  <a:lnTo>
                    <a:pt x="5279" y="2626"/>
                  </a:lnTo>
                  <a:lnTo>
                    <a:pt x="5271" y="2627"/>
                  </a:lnTo>
                  <a:lnTo>
                    <a:pt x="5264" y="2626"/>
                  </a:lnTo>
                  <a:lnTo>
                    <a:pt x="5257" y="2622"/>
                  </a:lnTo>
                  <a:lnTo>
                    <a:pt x="5253" y="2616"/>
                  </a:lnTo>
                  <a:lnTo>
                    <a:pt x="5252" y="2607"/>
                  </a:lnTo>
                  <a:lnTo>
                    <a:pt x="5252" y="2494"/>
                  </a:lnTo>
                  <a:lnTo>
                    <a:pt x="5253" y="2487"/>
                  </a:lnTo>
                  <a:lnTo>
                    <a:pt x="5257" y="2480"/>
                  </a:lnTo>
                  <a:lnTo>
                    <a:pt x="5264" y="2477"/>
                  </a:lnTo>
                  <a:lnTo>
                    <a:pt x="5271" y="2475"/>
                  </a:lnTo>
                  <a:lnTo>
                    <a:pt x="5279" y="2477"/>
                  </a:lnTo>
                  <a:lnTo>
                    <a:pt x="5286" y="2480"/>
                  </a:lnTo>
                  <a:lnTo>
                    <a:pt x="5289" y="2487"/>
                  </a:lnTo>
                  <a:lnTo>
                    <a:pt x="5292" y="2494"/>
                  </a:lnTo>
                  <a:close/>
                  <a:moveTo>
                    <a:pt x="5555" y="2494"/>
                  </a:moveTo>
                  <a:lnTo>
                    <a:pt x="5555" y="2607"/>
                  </a:lnTo>
                  <a:lnTo>
                    <a:pt x="5554" y="2616"/>
                  </a:lnTo>
                  <a:lnTo>
                    <a:pt x="5548" y="2622"/>
                  </a:lnTo>
                  <a:lnTo>
                    <a:pt x="5542" y="2626"/>
                  </a:lnTo>
                  <a:lnTo>
                    <a:pt x="5534" y="2627"/>
                  </a:lnTo>
                  <a:lnTo>
                    <a:pt x="5528" y="2626"/>
                  </a:lnTo>
                  <a:lnTo>
                    <a:pt x="5521" y="2622"/>
                  </a:lnTo>
                  <a:lnTo>
                    <a:pt x="5516" y="2616"/>
                  </a:lnTo>
                  <a:lnTo>
                    <a:pt x="5515" y="2607"/>
                  </a:lnTo>
                  <a:lnTo>
                    <a:pt x="5515" y="2494"/>
                  </a:lnTo>
                  <a:lnTo>
                    <a:pt x="5516" y="2487"/>
                  </a:lnTo>
                  <a:lnTo>
                    <a:pt x="5521" y="2480"/>
                  </a:lnTo>
                  <a:lnTo>
                    <a:pt x="5528" y="2477"/>
                  </a:lnTo>
                  <a:lnTo>
                    <a:pt x="5534" y="2475"/>
                  </a:lnTo>
                  <a:lnTo>
                    <a:pt x="5542" y="2477"/>
                  </a:lnTo>
                  <a:lnTo>
                    <a:pt x="5548" y="2480"/>
                  </a:lnTo>
                  <a:lnTo>
                    <a:pt x="5554" y="2487"/>
                  </a:lnTo>
                  <a:lnTo>
                    <a:pt x="5555" y="2494"/>
                  </a:lnTo>
                  <a:close/>
                  <a:moveTo>
                    <a:pt x="4239" y="2741"/>
                  </a:moveTo>
                  <a:lnTo>
                    <a:pt x="4239" y="2854"/>
                  </a:lnTo>
                  <a:lnTo>
                    <a:pt x="4238" y="2863"/>
                  </a:lnTo>
                  <a:lnTo>
                    <a:pt x="4233" y="2869"/>
                  </a:lnTo>
                  <a:lnTo>
                    <a:pt x="4226" y="2873"/>
                  </a:lnTo>
                  <a:lnTo>
                    <a:pt x="4219" y="2874"/>
                  </a:lnTo>
                  <a:lnTo>
                    <a:pt x="4212" y="2873"/>
                  </a:lnTo>
                  <a:lnTo>
                    <a:pt x="4206" y="2869"/>
                  </a:lnTo>
                  <a:lnTo>
                    <a:pt x="4201" y="2863"/>
                  </a:lnTo>
                  <a:lnTo>
                    <a:pt x="4199" y="2854"/>
                  </a:lnTo>
                  <a:lnTo>
                    <a:pt x="4199" y="2741"/>
                  </a:lnTo>
                  <a:lnTo>
                    <a:pt x="4201" y="2732"/>
                  </a:lnTo>
                  <a:lnTo>
                    <a:pt x="4206" y="2727"/>
                  </a:lnTo>
                  <a:lnTo>
                    <a:pt x="4212" y="2723"/>
                  </a:lnTo>
                  <a:lnTo>
                    <a:pt x="4219" y="2722"/>
                  </a:lnTo>
                  <a:lnTo>
                    <a:pt x="4226" y="2723"/>
                  </a:lnTo>
                  <a:lnTo>
                    <a:pt x="4233" y="2727"/>
                  </a:lnTo>
                  <a:lnTo>
                    <a:pt x="4238" y="2732"/>
                  </a:lnTo>
                  <a:lnTo>
                    <a:pt x="4239" y="2741"/>
                  </a:lnTo>
                  <a:close/>
                  <a:moveTo>
                    <a:pt x="4502" y="2741"/>
                  </a:moveTo>
                  <a:lnTo>
                    <a:pt x="4502" y="2854"/>
                  </a:lnTo>
                  <a:lnTo>
                    <a:pt x="4501" y="2863"/>
                  </a:lnTo>
                  <a:lnTo>
                    <a:pt x="4496" y="2869"/>
                  </a:lnTo>
                  <a:lnTo>
                    <a:pt x="4489" y="2873"/>
                  </a:lnTo>
                  <a:lnTo>
                    <a:pt x="4483" y="2874"/>
                  </a:lnTo>
                  <a:lnTo>
                    <a:pt x="4475" y="2873"/>
                  </a:lnTo>
                  <a:lnTo>
                    <a:pt x="4469" y="2869"/>
                  </a:lnTo>
                  <a:lnTo>
                    <a:pt x="4464" y="2863"/>
                  </a:lnTo>
                  <a:lnTo>
                    <a:pt x="4462" y="2854"/>
                  </a:lnTo>
                  <a:lnTo>
                    <a:pt x="4462" y="2741"/>
                  </a:lnTo>
                  <a:lnTo>
                    <a:pt x="4464" y="2732"/>
                  </a:lnTo>
                  <a:lnTo>
                    <a:pt x="4469" y="2727"/>
                  </a:lnTo>
                  <a:lnTo>
                    <a:pt x="4475" y="2723"/>
                  </a:lnTo>
                  <a:lnTo>
                    <a:pt x="4483" y="2722"/>
                  </a:lnTo>
                  <a:lnTo>
                    <a:pt x="4489" y="2723"/>
                  </a:lnTo>
                  <a:lnTo>
                    <a:pt x="4496" y="2727"/>
                  </a:lnTo>
                  <a:lnTo>
                    <a:pt x="4501" y="2732"/>
                  </a:lnTo>
                  <a:lnTo>
                    <a:pt x="4502" y="2741"/>
                  </a:lnTo>
                  <a:close/>
                  <a:moveTo>
                    <a:pt x="4765" y="2741"/>
                  </a:moveTo>
                  <a:lnTo>
                    <a:pt x="4765" y="2854"/>
                  </a:lnTo>
                  <a:lnTo>
                    <a:pt x="4764" y="2863"/>
                  </a:lnTo>
                  <a:lnTo>
                    <a:pt x="4759" y="2869"/>
                  </a:lnTo>
                  <a:lnTo>
                    <a:pt x="4752" y="2873"/>
                  </a:lnTo>
                  <a:lnTo>
                    <a:pt x="4746" y="2874"/>
                  </a:lnTo>
                  <a:lnTo>
                    <a:pt x="4738" y="2873"/>
                  </a:lnTo>
                  <a:lnTo>
                    <a:pt x="4732" y="2869"/>
                  </a:lnTo>
                  <a:lnTo>
                    <a:pt x="4728" y="2863"/>
                  </a:lnTo>
                  <a:lnTo>
                    <a:pt x="4725" y="2854"/>
                  </a:lnTo>
                  <a:lnTo>
                    <a:pt x="4725" y="2741"/>
                  </a:lnTo>
                  <a:lnTo>
                    <a:pt x="4728" y="2732"/>
                  </a:lnTo>
                  <a:lnTo>
                    <a:pt x="4732" y="2727"/>
                  </a:lnTo>
                  <a:lnTo>
                    <a:pt x="4738" y="2723"/>
                  </a:lnTo>
                  <a:lnTo>
                    <a:pt x="4746" y="2722"/>
                  </a:lnTo>
                  <a:lnTo>
                    <a:pt x="4752" y="2723"/>
                  </a:lnTo>
                  <a:lnTo>
                    <a:pt x="4759" y="2727"/>
                  </a:lnTo>
                  <a:lnTo>
                    <a:pt x="4764" y="2732"/>
                  </a:lnTo>
                  <a:lnTo>
                    <a:pt x="4765" y="2741"/>
                  </a:lnTo>
                  <a:close/>
                  <a:moveTo>
                    <a:pt x="5029" y="2741"/>
                  </a:moveTo>
                  <a:lnTo>
                    <a:pt x="5029" y="2854"/>
                  </a:lnTo>
                  <a:lnTo>
                    <a:pt x="5027" y="2863"/>
                  </a:lnTo>
                  <a:lnTo>
                    <a:pt x="5023" y="2869"/>
                  </a:lnTo>
                  <a:lnTo>
                    <a:pt x="5016" y="2873"/>
                  </a:lnTo>
                  <a:lnTo>
                    <a:pt x="5009" y="2874"/>
                  </a:lnTo>
                  <a:lnTo>
                    <a:pt x="5001" y="2873"/>
                  </a:lnTo>
                  <a:lnTo>
                    <a:pt x="4994" y="2869"/>
                  </a:lnTo>
                  <a:lnTo>
                    <a:pt x="4991" y="2863"/>
                  </a:lnTo>
                  <a:lnTo>
                    <a:pt x="4988" y="2854"/>
                  </a:lnTo>
                  <a:lnTo>
                    <a:pt x="4988" y="2741"/>
                  </a:lnTo>
                  <a:lnTo>
                    <a:pt x="4991" y="2732"/>
                  </a:lnTo>
                  <a:lnTo>
                    <a:pt x="4994" y="2727"/>
                  </a:lnTo>
                  <a:lnTo>
                    <a:pt x="5001" y="2723"/>
                  </a:lnTo>
                  <a:lnTo>
                    <a:pt x="5009" y="2722"/>
                  </a:lnTo>
                  <a:lnTo>
                    <a:pt x="5016" y="2723"/>
                  </a:lnTo>
                  <a:lnTo>
                    <a:pt x="5023" y="2727"/>
                  </a:lnTo>
                  <a:lnTo>
                    <a:pt x="5027" y="2732"/>
                  </a:lnTo>
                  <a:lnTo>
                    <a:pt x="5029" y="2741"/>
                  </a:lnTo>
                  <a:close/>
                  <a:moveTo>
                    <a:pt x="5292" y="2741"/>
                  </a:moveTo>
                  <a:lnTo>
                    <a:pt x="5292" y="2854"/>
                  </a:lnTo>
                  <a:lnTo>
                    <a:pt x="5289" y="2863"/>
                  </a:lnTo>
                  <a:lnTo>
                    <a:pt x="5286" y="2869"/>
                  </a:lnTo>
                  <a:lnTo>
                    <a:pt x="5279" y="2873"/>
                  </a:lnTo>
                  <a:lnTo>
                    <a:pt x="5271" y="2874"/>
                  </a:lnTo>
                  <a:lnTo>
                    <a:pt x="5264" y="2873"/>
                  </a:lnTo>
                  <a:lnTo>
                    <a:pt x="5257" y="2869"/>
                  </a:lnTo>
                  <a:lnTo>
                    <a:pt x="5253" y="2863"/>
                  </a:lnTo>
                  <a:lnTo>
                    <a:pt x="5252" y="2854"/>
                  </a:lnTo>
                  <a:lnTo>
                    <a:pt x="5252" y="2741"/>
                  </a:lnTo>
                  <a:lnTo>
                    <a:pt x="5253" y="2732"/>
                  </a:lnTo>
                  <a:lnTo>
                    <a:pt x="5257" y="2727"/>
                  </a:lnTo>
                  <a:lnTo>
                    <a:pt x="5264" y="2723"/>
                  </a:lnTo>
                  <a:lnTo>
                    <a:pt x="5271" y="2722"/>
                  </a:lnTo>
                  <a:lnTo>
                    <a:pt x="5279" y="2723"/>
                  </a:lnTo>
                  <a:lnTo>
                    <a:pt x="5286" y="2727"/>
                  </a:lnTo>
                  <a:lnTo>
                    <a:pt x="5289" y="2732"/>
                  </a:lnTo>
                  <a:lnTo>
                    <a:pt x="5292" y="2741"/>
                  </a:lnTo>
                  <a:close/>
                  <a:moveTo>
                    <a:pt x="5555" y="2741"/>
                  </a:moveTo>
                  <a:lnTo>
                    <a:pt x="5555" y="2854"/>
                  </a:lnTo>
                  <a:lnTo>
                    <a:pt x="5554" y="2863"/>
                  </a:lnTo>
                  <a:lnTo>
                    <a:pt x="5548" y="2869"/>
                  </a:lnTo>
                  <a:lnTo>
                    <a:pt x="5542" y="2873"/>
                  </a:lnTo>
                  <a:lnTo>
                    <a:pt x="5534" y="2874"/>
                  </a:lnTo>
                  <a:lnTo>
                    <a:pt x="5528" y="2873"/>
                  </a:lnTo>
                  <a:lnTo>
                    <a:pt x="5521" y="2869"/>
                  </a:lnTo>
                  <a:lnTo>
                    <a:pt x="5516" y="2863"/>
                  </a:lnTo>
                  <a:lnTo>
                    <a:pt x="5515" y="2854"/>
                  </a:lnTo>
                  <a:lnTo>
                    <a:pt x="5515" y="2741"/>
                  </a:lnTo>
                  <a:lnTo>
                    <a:pt x="5516" y="2732"/>
                  </a:lnTo>
                  <a:lnTo>
                    <a:pt x="5521" y="2727"/>
                  </a:lnTo>
                  <a:lnTo>
                    <a:pt x="5528" y="2723"/>
                  </a:lnTo>
                  <a:lnTo>
                    <a:pt x="5534" y="2722"/>
                  </a:lnTo>
                  <a:lnTo>
                    <a:pt x="5542" y="2723"/>
                  </a:lnTo>
                  <a:lnTo>
                    <a:pt x="5548" y="2727"/>
                  </a:lnTo>
                  <a:lnTo>
                    <a:pt x="5554" y="2732"/>
                  </a:lnTo>
                  <a:lnTo>
                    <a:pt x="5555" y="2741"/>
                  </a:lnTo>
                  <a:close/>
                  <a:moveTo>
                    <a:pt x="4239" y="2988"/>
                  </a:moveTo>
                  <a:lnTo>
                    <a:pt x="4239" y="3101"/>
                  </a:lnTo>
                  <a:lnTo>
                    <a:pt x="4238" y="3109"/>
                  </a:lnTo>
                  <a:lnTo>
                    <a:pt x="4233" y="3115"/>
                  </a:lnTo>
                  <a:lnTo>
                    <a:pt x="4226" y="3118"/>
                  </a:lnTo>
                  <a:lnTo>
                    <a:pt x="4219" y="3120"/>
                  </a:lnTo>
                  <a:lnTo>
                    <a:pt x="4212" y="3118"/>
                  </a:lnTo>
                  <a:lnTo>
                    <a:pt x="4206" y="3115"/>
                  </a:lnTo>
                  <a:lnTo>
                    <a:pt x="4201" y="3109"/>
                  </a:lnTo>
                  <a:lnTo>
                    <a:pt x="4199" y="3101"/>
                  </a:lnTo>
                  <a:lnTo>
                    <a:pt x="4199" y="2988"/>
                  </a:lnTo>
                  <a:lnTo>
                    <a:pt x="4201" y="2979"/>
                  </a:lnTo>
                  <a:lnTo>
                    <a:pt x="4206" y="2973"/>
                  </a:lnTo>
                  <a:lnTo>
                    <a:pt x="4212" y="2970"/>
                  </a:lnTo>
                  <a:lnTo>
                    <a:pt x="4219" y="2969"/>
                  </a:lnTo>
                  <a:lnTo>
                    <a:pt x="4226" y="2970"/>
                  </a:lnTo>
                  <a:lnTo>
                    <a:pt x="4233" y="2973"/>
                  </a:lnTo>
                  <a:lnTo>
                    <a:pt x="4238" y="2979"/>
                  </a:lnTo>
                  <a:lnTo>
                    <a:pt x="4239" y="2988"/>
                  </a:lnTo>
                  <a:close/>
                  <a:moveTo>
                    <a:pt x="4502" y="2988"/>
                  </a:moveTo>
                  <a:lnTo>
                    <a:pt x="4502" y="3101"/>
                  </a:lnTo>
                  <a:lnTo>
                    <a:pt x="4501" y="3109"/>
                  </a:lnTo>
                  <a:lnTo>
                    <a:pt x="4496" y="3115"/>
                  </a:lnTo>
                  <a:lnTo>
                    <a:pt x="4489" y="3118"/>
                  </a:lnTo>
                  <a:lnTo>
                    <a:pt x="4483" y="3120"/>
                  </a:lnTo>
                  <a:lnTo>
                    <a:pt x="4475" y="3118"/>
                  </a:lnTo>
                  <a:lnTo>
                    <a:pt x="4469" y="3115"/>
                  </a:lnTo>
                  <a:lnTo>
                    <a:pt x="4464" y="3109"/>
                  </a:lnTo>
                  <a:lnTo>
                    <a:pt x="4462" y="3101"/>
                  </a:lnTo>
                  <a:lnTo>
                    <a:pt x="4462" y="2988"/>
                  </a:lnTo>
                  <a:lnTo>
                    <a:pt x="4464" y="2979"/>
                  </a:lnTo>
                  <a:lnTo>
                    <a:pt x="4469" y="2973"/>
                  </a:lnTo>
                  <a:lnTo>
                    <a:pt x="4475" y="2970"/>
                  </a:lnTo>
                  <a:lnTo>
                    <a:pt x="4483" y="2969"/>
                  </a:lnTo>
                  <a:lnTo>
                    <a:pt x="4489" y="2970"/>
                  </a:lnTo>
                  <a:lnTo>
                    <a:pt x="4496" y="2973"/>
                  </a:lnTo>
                  <a:lnTo>
                    <a:pt x="4501" y="2979"/>
                  </a:lnTo>
                  <a:lnTo>
                    <a:pt x="4502" y="2988"/>
                  </a:lnTo>
                  <a:close/>
                  <a:moveTo>
                    <a:pt x="4765" y="2988"/>
                  </a:moveTo>
                  <a:lnTo>
                    <a:pt x="4765" y="3101"/>
                  </a:lnTo>
                  <a:lnTo>
                    <a:pt x="4764" y="3109"/>
                  </a:lnTo>
                  <a:lnTo>
                    <a:pt x="4759" y="3115"/>
                  </a:lnTo>
                  <a:lnTo>
                    <a:pt x="4752" y="3118"/>
                  </a:lnTo>
                  <a:lnTo>
                    <a:pt x="4746" y="3120"/>
                  </a:lnTo>
                  <a:lnTo>
                    <a:pt x="4738" y="3118"/>
                  </a:lnTo>
                  <a:lnTo>
                    <a:pt x="4732" y="3115"/>
                  </a:lnTo>
                  <a:lnTo>
                    <a:pt x="4728" y="3109"/>
                  </a:lnTo>
                  <a:lnTo>
                    <a:pt x="4725" y="3101"/>
                  </a:lnTo>
                  <a:lnTo>
                    <a:pt x="4725" y="2988"/>
                  </a:lnTo>
                  <a:lnTo>
                    <a:pt x="4728" y="2979"/>
                  </a:lnTo>
                  <a:lnTo>
                    <a:pt x="4732" y="2973"/>
                  </a:lnTo>
                  <a:lnTo>
                    <a:pt x="4738" y="2970"/>
                  </a:lnTo>
                  <a:lnTo>
                    <a:pt x="4746" y="2969"/>
                  </a:lnTo>
                  <a:lnTo>
                    <a:pt x="4752" y="2970"/>
                  </a:lnTo>
                  <a:lnTo>
                    <a:pt x="4759" y="2973"/>
                  </a:lnTo>
                  <a:lnTo>
                    <a:pt x="4764" y="2979"/>
                  </a:lnTo>
                  <a:lnTo>
                    <a:pt x="4765" y="2988"/>
                  </a:lnTo>
                  <a:close/>
                  <a:moveTo>
                    <a:pt x="5029" y="2988"/>
                  </a:moveTo>
                  <a:lnTo>
                    <a:pt x="5029" y="3101"/>
                  </a:lnTo>
                  <a:lnTo>
                    <a:pt x="5027" y="3109"/>
                  </a:lnTo>
                  <a:lnTo>
                    <a:pt x="5023" y="3115"/>
                  </a:lnTo>
                  <a:lnTo>
                    <a:pt x="5016" y="3118"/>
                  </a:lnTo>
                  <a:lnTo>
                    <a:pt x="5009" y="3120"/>
                  </a:lnTo>
                  <a:lnTo>
                    <a:pt x="5001" y="3118"/>
                  </a:lnTo>
                  <a:lnTo>
                    <a:pt x="4994" y="3115"/>
                  </a:lnTo>
                  <a:lnTo>
                    <a:pt x="4991" y="3109"/>
                  </a:lnTo>
                  <a:lnTo>
                    <a:pt x="4988" y="3101"/>
                  </a:lnTo>
                  <a:lnTo>
                    <a:pt x="4988" y="2988"/>
                  </a:lnTo>
                  <a:lnTo>
                    <a:pt x="4991" y="2979"/>
                  </a:lnTo>
                  <a:lnTo>
                    <a:pt x="4994" y="2973"/>
                  </a:lnTo>
                  <a:lnTo>
                    <a:pt x="5001" y="2970"/>
                  </a:lnTo>
                  <a:lnTo>
                    <a:pt x="5009" y="2969"/>
                  </a:lnTo>
                  <a:lnTo>
                    <a:pt x="5016" y="2970"/>
                  </a:lnTo>
                  <a:lnTo>
                    <a:pt x="5023" y="2973"/>
                  </a:lnTo>
                  <a:lnTo>
                    <a:pt x="5027" y="2979"/>
                  </a:lnTo>
                  <a:lnTo>
                    <a:pt x="5029" y="2988"/>
                  </a:lnTo>
                  <a:close/>
                  <a:moveTo>
                    <a:pt x="5292" y="2988"/>
                  </a:moveTo>
                  <a:lnTo>
                    <a:pt x="5292" y="3101"/>
                  </a:lnTo>
                  <a:lnTo>
                    <a:pt x="5289" y="3109"/>
                  </a:lnTo>
                  <a:lnTo>
                    <a:pt x="5286" y="3115"/>
                  </a:lnTo>
                  <a:lnTo>
                    <a:pt x="5279" y="3118"/>
                  </a:lnTo>
                  <a:lnTo>
                    <a:pt x="5271" y="3120"/>
                  </a:lnTo>
                  <a:lnTo>
                    <a:pt x="5264" y="3118"/>
                  </a:lnTo>
                  <a:lnTo>
                    <a:pt x="5257" y="3115"/>
                  </a:lnTo>
                  <a:lnTo>
                    <a:pt x="5253" y="3109"/>
                  </a:lnTo>
                  <a:lnTo>
                    <a:pt x="5252" y="3101"/>
                  </a:lnTo>
                  <a:lnTo>
                    <a:pt x="5252" y="2988"/>
                  </a:lnTo>
                  <a:lnTo>
                    <a:pt x="5253" y="2979"/>
                  </a:lnTo>
                  <a:lnTo>
                    <a:pt x="5257" y="2973"/>
                  </a:lnTo>
                  <a:lnTo>
                    <a:pt x="5264" y="2970"/>
                  </a:lnTo>
                  <a:lnTo>
                    <a:pt x="5271" y="2969"/>
                  </a:lnTo>
                  <a:lnTo>
                    <a:pt x="5279" y="2970"/>
                  </a:lnTo>
                  <a:lnTo>
                    <a:pt x="5286" y="2973"/>
                  </a:lnTo>
                  <a:lnTo>
                    <a:pt x="5289" y="2979"/>
                  </a:lnTo>
                  <a:lnTo>
                    <a:pt x="5292" y="2988"/>
                  </a:lnTo>
                  <a:close/>
                  <a:moveTo>
                    <a:pt x="5555" y="2988"/>
                  </a:moveTo>
                  <a:lnTo>
                    <a:pt x="5555" y="3101"/>
                  </a:lnTo>
                  <a:lnTo>
                    <a:pt x="5554" y="3109"/>
                  </a:lnTo>
                  <a:lnTo>
                    <a:pt x="5548" y="3115"/>
                  </a:lnTo>
                  <a:lnTo>
                    <a:pt x="5542" y="3118"/>
                  </a:lnTo>
                  <a:lnTo>
                    <a:pt x="5534" y="3120"/>
                  </a:lnTo>
                  <a:lnTo>
                    <a:pt x="5528" y="3118"/>
                  </a:lnTo>
                  <a:lnTo>
                    <a:pt x="5521" y="3115"/>
                  </a:lnTo>
                  <a:lnTo>
                    <a:pt x="5516" y="3109"/>
                  </a:lnTo>
                  <a:lnTo>
                    <a:pt x="5515" y="3101"/>
                  </a:lnTo>
                  <a:lnTo>
                    <a:pt x="5515" y="2988"/>
                  </a:lnTo>
                  <a:lnTo>
                    <a:pt x="5516" y="2979"/>
                  </a:lnTo>
                  <a:lnTo>
                    <a:pt x="5521" y="2973"/>
                  </a:lnTo>
                  <a:lnTo>
                    <a:pt x="5528" y="2970"/>
                  </a:lnTo>
                  <a:lnTo>
                    <a:pt x="5534" y="2969"/>
                  </a:lnTo>
                  <a:lnTo>
                    <a:pt x="5542" y="2970"/>
                  </a:lnTo>
                  <a:lnTo>
                    <a:pt x="5548" y="2973"/>
                  </a:lnTo>
                  <a:lnTo>
                    <a:pt x="5554" y="2979"/>
                  </a:lnTo>
                  <a:lnTo>
                    <a:pt x="5555" y="2988"/>
                  </a:lnTo>
                  <a:close/>
                  <a:moveTo>
                    <a:pt x="4239" y="3235"/>
                  </a:moveTo>
                  <a:lnTo>
                    <a:pt x="4239" y="3347"/>
                  </a:lnTo>
                  <a:lnTo>
                    <a:pt x="4238" y="3355"/>
                  </a:lnTo>
                  <a:lnTo>
                    <a:pt x="4233" y="3361"/>
                  </a:lnTo>
                  <a:lnTo>
                    <a:pt x="4226" y="3365"/>
                  </a:lnTo>
                  <a:lnTo>
                    <a:pt x="4219" y="3367"/>
                  </a:lnTo>
                  <a:lnTo>
                    <a:pt x="4212" y="3365"/>
                  </a:lnTo>
                  <a:lnTo>
                    <a:pt x="4206" y="3361"/>
                  </a:lnTo>
                  <a:lnTo>
                    <a:pt x="4201" y="3355"/>
                  </a:lnTo>
                  <a:lnTo>
                    <a:pt x="4199" y="3347"/>
                  </a:lnTo>
                  <a:lnTo>
                    <a:pt x="4199" y="3235"/>
                  </a:lnTo>
                  <a:lnTo>
                    <a:pt x="4201" y="3226"/>
                  </a:lnTo>
                  <a:lnTo>
                    <a:pt x="4206" y="3219"/>
                  </a:lnTo>
                  <a:lnTo>
                    <a:pt x="4212" y="3216"/>
                  </a:lnTo>
                  <a:lnTo>
                    <a:pt x="4219" y="3214"/>
                  </a:lnTo>
                  <a:lnTo>
                    <a:pt x="4226" y="3216"/>
                  </a:lnTo>
                  <a:lnTo>
                    <a:pt x="4233" y="3219"/>
                  </a:lnTo>
                  <a:lnTo>
                    <a:pt x="4238" y="3226"/>
                  </a:lnTo>
                  <a:lnTo>
                    <a:pt x="4239" y="3235"/>
                  </a:lnTo>
                  <a:close/>
                  <a:moveTo>
                    <a:pt x="4502" y="3235"/>
                  </a:moveTo>
                  <a:lnTo>
                    <a:pt x="4502" y="3347"/>
                  </a:lnTo>
                  <a:lnTo>
                    <a:pt x="4501" y="3355"/>
                  </a:lnTo>
                  <a:lnTo>
                    <a:pt x="4496" y="3361"/>
                  </a:lnTo>
                  <a:lnTo>
                    <a:pt x="4489" y="3365"/>
                  </a:lnTo>
                  <a:lnTo>
                    <a:pt x="4483" y="3367"/>
                  </a:lnTo>
                  <a:lnTo>
                    <a:pt x="4475" y="3365"/>
                  </a:lnTo>
                  <a:lnTo>
                    <a:pt x="4469" y="3361"/>
                  </a:lnTo>
                  <a:lnTo>
                    <a:pt x="4464" y="3355"/>
                  </a:lnTo>
                  <a:lnTo>
                    <a:pt x="4462" y="3347"/>
                  </a:lnTo>
                  <a:lnTo>
                    <a:pt x="4462" y="3235"/>
                  </a:lnTo>
                  <a:lnTo>
                    <a:pt x="4464" y="3226"/>
                  </a:lnTo>
                  <a:lnTo>
                    <a:pt x="4469" y="3219"/>
                  </a:lnTo>
                  <a:lnTo>
                    <a:pt x="4475" y="3216"/>
                  </a:lnTo>
                  <a:lnTo>
                    <a:pt x="4483" y="3214"/>
                  </a:lnTo>
                  <a:lnTo>
                    <a:pt x="4489" y="3216"/>
                  </a:lnTo>
                  <a:lnTo>
                    <a:pt x="4496" y="3219"/>
                  </a:lnTo>
                  <a:lnTo>
                    <a:pt x="4501" y="3226"/>
                  </a:lnTo>
                  <a:lnTo>
                    <a:pt x="4502" y="3235"/>
                  </a:lnTo>
                  <a:close/>
                  <a:moveTo>
                    <a:pt x="4765" y="3235"/>
                  </a:moveTo>
                  <a:lnTo>
                    <a:pt x="4765" y="3347"/>
                  </a:lnTo>
                  <a:lnTo>
                    <a:pt x="4764" y="3355"/>
                  </a:lnTo>
                  <a:lnTo>
                    <a:pt x="4759" y="3361"/>
                  </a:lnTo>
                  <a:lnTo>
                    <a:pt x="4752" y="3365"/>
                  </a:lnTo>
                  <a:lnTo>
                    <a:pt x="4746" y="3367"/>
                  </a:lnTo>
                  <a:lnTo>
                    <a:pt x="4738" y="3365"/>
                  </a:lnTo>
                  <a:lnTo>
                    <a:pt x="4732" y="3361"/>
                  </a:lnTo>
                  <a:lnTo>
                    <a:pt x="4728" y="3355"/>
                  </a:lnTo>
                  <a:lnTo>
                    <a:pt x="4725" y="3347"/>
                  </a:lnTo>
                  <a:lnTo>
                    <a:pt x="4725" y="3235"/>
                  </a:lnTo>
                  <a:lnTo>
                    <a:pt x="4728" y="3226"/>
                  </a:lnTo>
                  <a:lnTo>
                    <a:pt x="4732" y="3219"/>
                  </a:lnTo>
                  <a:lnTo>
                    <a:pt x="4738" y="3216"/>
                  </a:lnTo>
                  <a:lnTo>
                    <a:pt x="4746" y="3214"/>
                  </a:lnTo>
                  <a:lnTo>
                    <a:pt x="4752" y="3216"/>
                  </a:lnTo>
                  <a:lnTo>
                    <a:pt x="4759" y="3219"/>
                  </a:lnTo>
                  <a:lnTo>
                    <a:pt x="4764" y="3226"/>
                  </a:lnTo>
                  <a:lnTo>
                    <a:pt x="4765" y="3235"/>
                  </a:lnTo>
                  <a:close/>
                  <a:moveTo>
                    <a:pt x="5029" y="3235"/>
                  </a:moveTo>
                  <a:lnTo>
                    <a:pt x="5029" y="3347"/>
                  </a:lnTo>
                  <a:lnTo>
                    <a:pt x="5027" y="3355"/>
                  </a:lnTo>
                  <a:lnTo>
                    <a:pt x="5023" y="3361"/>
                  </a:lnTo>
                  <a:lnTo>
                    <a:pt x="5016" y="3365"/>
                  </a:lnTo>
                  <a:lnTo>
                    <a:pt x="5009" y="3367"/>
                  </a:lnTo>
                  <a:lnTo>
                    <a:pt x="5001" y="3365"/>
                  </a:lnTo>
                  <a:lnTo>
                    <a:pt x="4994" y="3361"/>
                  </a:lnTo>
                  <a:lnTo>
                    <a:pt x="4991" y="3355"/>
                  </a:lnTo>
                  <a:lnTo>
                    <a:pt x="4988" y="3347"/>
                  </a:lnTo>
                  <a:lnTo>
                    <a:pt x="4988" y="3235"/>
                  </a:lnTo>
                  <a:lnTo>
                    <a:pt x="4991" y="3226"/>
                  </a:lnTo>
                  <a:lnTo>
                    <a:pt x="4994" y="3219"/>
                  </a:lnTo>
                  <a:lnTo>
                    <a:pt x="5001" y="3216"/>
                  </a:lnTo>
                  <a:lnTo>
                    <a:pt x="5009" y="3214"/>
                  </a:lnTo>
                  <a:lnTo>
                    <a:pt x="5016" y="3216"/>
                  </a:lnTo>
                  <a:lnTo>
                    <a:pt x="5023" y="3219"/>
                  </a:lnTo>
                  <a:lnTo>
                    <a:pt x="5027" y="3226"/>
                  </a:lnTo>
                  <a:lnTo>
                    <a:pt x="5029" y="3235"/>
                  </a:lnTo>
                  <a:close/>
                  <a:moveTo>
                    <a:pt x="5292" y="3235"/>
                  </a:moveTo>
                  <a:lnTo>
                    <a:pt x="5292" y="3347"/>
                  </a:lnTo>
                  <a:lnTo>
                    <a:pt x="5289" y="3355"/>
                  </a:lnTo>
                  <a:lnTo>
                    <a:pt x="5286" y="3361"/>
                  </a:lnTo>
                  <a:lnTo>
                    <a:pt x="5279" y="3365"/>
                  </a:lnTo>
                  <a:lnTo>
                    <a:pt x="5271" y="3367"/>
                  </a:lnTo>
                  <a:lnTo>
                    <a:pt x="5264" y="3365"/>
                  </a:lnTo>
                  <a:lnTo>
                    <a:pt x="5257" y="3361"/>
                  </a:lnTo>
                  <a:lnTo>
                    <a:pt x="5253" y="3355"/>
                  </a:lnTo>
                  <a:lnTo>
                    <a:pt x="5252" y="3347"/>
                  </a:lnTo>
                  <a:lnTo>
                    <a:pt x="5252" y="3235"/>
                  </a:lnTo>
                  <a:lnTo>
                    <a:pt x="5253" y="3226"/>
                  </a:lnTo>
                  <a:lnTo>
                    <a:pt x="5257" y="3219"/>
                  </a:lnTo>
                  <a:lnTo>
                    <a:pt x="5264" y="3216"/>
                  </a:lnTo>
                  <a:lnTo>
                    <a:pt x="5271" y="3214"/>
                  </a:lnTo>
                  <a:lnTo>
                    <a:pt x="5279" y="3216"/>
                  </a:lnTo>
                  <a:lnTo>
                    <a:pt x="5286" y="3219"/>
                  </a:lnTo>
                  <a:lnTo>
                    <a:pt x="5289" y="3226"/>
                  </a:lnTo>
                  <a:lnTo>
                    <a:pt x="5292" y="3235"/>
                  </a:lnTo>
                  <a:close/>
                  <a:moveTo>
                    <a:pt x="5555" y="3235"/>
                  </a:moveTo>
                  <a:lnTo>
                    <a:pt x="5555" y="3347"/>
                  </a:lnTo>
                  <a:lnTo>
                    <a:pt x="5554" y="3355"/>
                  </a:lnTo>
                  <a:lnTo>
                    <a:pt x="5548" y="3361"/>
                  </a:lnTo>
                  <a:lnTo>
                    <a:pt x="5542" y="3365"/>
                  </a:lnTo>
                  <a:lnTo>
                    <a:pt x="5534" y="3367"/>
                  </a:lnTo>
                  <a:lnTo>
                    <a:pt x="5528" y="3365"/>
                  </a:lnTo>
                  <a:lnTo>
                    <a:pt x="5521" y="3361"/>
                  </a:lnTo>
                  <a:lnTo>
                    <a:pt x="5516" y="3355"/>
                  </a:lnTo>
                  <a:lnTo>
                    <a:pt x="5515" y="3347"/>
                  </a:lnTo>
                  <a:lnTo>
                    <a:pt x="5515" y="3235"/>
                  </a:lnTo>
                  <a:lnTo>
                    <a:pt x="5516" y="3226"/>
                  </a:lnTo>
                  <a:lnTo>
                    <a:pt x="5521" y="3219"/>
                  </a:lnTo>
                  <a:lnTo>
                    <a:pt x="5528" y="3216"/>
                  </a:lnTo>
                  <a:lnTo>
                    <a:pt x="5534" y="3214"/>
                  </a:lnTo>
                  <a:lnTo>
                    <a:pt x="5542" y="3216"/>
                  </a:lnTo>
                  <a:lnTo>
                    <a:pt x="5548" y="3219"/>
                  </a:lnTo>
                  <a:lnTo>
                    <a:pt x="5554" y="3226"/>
                  </a:lnTo>
                  <a:lnTo>
                    <a:pt x="5555" y="3235"/>
                  </a:lnTo>
                  <a:close/>
                  <a:moveTo>
                    <a:pt x="3624" y="4034"/>
                  </a:moveTo>
                  <a:lnTo>
                    <a:pt x="3624" y="3864"/>
                  </a:lnTo>
                  <a:lnTo>
                    <a:pt x="3625" y="3856"/>
                  </a:lnTo>
                  <a:lnTo>
                    <a:pt x="3629" y="3851"/>
                  </a:lnTo>
                  <a:lnTo>
                    <a:pt x="3634" y="3847"/>
                  </a:lnTo>
                  <a:lnTo>
                    <a:pt x="3639" y="3845"/>
                  </a:lnTo>
                  <a:lnTo>
                    <a:pt x="3646" y="3845"/>
                  </a:lnTo>
                  <a:lnTo>
                    <a:pt x="3652" y="3846"/>
                  </a:lnTo>
                  <a:lnTo>
                    <a:pt x="3657" y="3849"/>
                  </a:lnTo>
                  <a:lnTo>
                    <a:pt x="3662" y="3854"/>
                  </a:lnTo>
                  <a:lnTo>
                    <a:pt x="3666" y="3860"/>
                  </a:lnTo>
                  <a:lnTo>
                    <a:pt x="3667" y="3869"/>
                  </a:lnTo>
                  <a:lnTo>
                    <a:pt x="3667" y="4034"/>
                  </a:lnTo>
                  <a:lnTo>
                    <a:pt x="3710" y="4029"/>
                  </a:lnTo>
                  <a:lnTo>
                    <a:pt x="3751" y="4021"/>
                  </a:lnTo>
                  <a:lnTo>
                    <a:pt x="3789" y="4010"/>
                  </a:lnTo>
                  <a:lnTo>
                    <a:pt x="3828" y="3994"/>
                  </a:lnTo>
                  <a:lnTo>
                    <a:pt x="3846" y="3985"/>
                  </a:lnTo>
                  <a:lnTo>
                    <a:pt x="3864" y="3975"/>
                  </a:lnTo>
                  <a:lnTo>
                    <a:pt x="3897" y="3953"/>
                  </a:lnTo>
                  <a:lnTo>
                    <a:pt x="3928" y="3928"/>
                  </a:lnTo>
                  <a:lnTo>
                    <a:pt x="3957" y="3901"/>
                  </a:lnTo>
                  <a:lnTo>
                    <a:pt x="3970" y="3886"/>
                  </a:lnTo>
                  <a:lnTo>
                    <a:pt x="3983" y="3870"/>
                  </a:lnTo>
                  <a:lnTo>
                    <a:pt x="4006" y="3838"/>
                  </a:lnTo>
                  <a:lnTo>
                    <a:pt x="4026" y="3804"/>
                  </a:lnTo>
                  <a:lnTo>
                    <a:pt x="4043" y="3767"/>
                  </a:lnTo>
                  <a:lnTo>
                    <a:pt x="4057" y="3728"/>
                  </a:lnTo>
                  <a:lnTo>
                    <a:pt x="4067" y="3689"/>
                  </a:lnTo>
                  <a:lnTo>
                    <a:pt x="4074" y="3648"/>
                  </a:lnTo>
                  <a:lnTo>
                    <a:pt x="4075" y="3604"/>
                  </a:lnTo>
                  <a:lnTo>
                    <a:pt x="4074" y="3569"/>
                  </a:lnTo>
                  <a:lnTo>
                    <a:pt x="4069" y="3533"/>
                  </a:lnTo>
                  <a:lnTo>
                    <a:pt x="4062" y="3498"/>
                  </a:lnTo>
                  <a:lnTo>
                    <a:pt x="4052" y="3464"/>
                  </a:lnTo>
                  <a:lnTo>
                    <a:pt x="4039" y="3432"/>
                  </a:lnTo>
                  <a:lnTo>
                    <a:pt x="4024" y="3401"/>
                  </a:lnTo>
                  <a:lnTo>
                    <a:pt x="4006" y="3372"/>
                  </a:lnTo>
                  <a:lnTo>
                    <a:pt x="3987" y="3343"/>
                  </a:lnTo>
                  <a:lnTo>
                    <a:pt x="3955" y="3308"/>
                  </a:lnTo>
                  <a:lnTo>
                    <a:pt x="3919" y="3276"/>
                  </a:lnTo>
                  <a:lnTo>
                    <a:pt x="3880" y="3248"/>
                  </a:lnTo>
                  <a:lnTo>
                    <a:pt x="3860" y="3236"/>
                  </a:lnTo>
                  <a:lnTo>
                    <a:pt x="3839" y="3225"/>
                  </a:lnTo>
                  <a:lnTo>
                    <a:pt x="3817" y="3214"/>
                  </a:lnTo>
                  <a:lnTo>
                    <a:pt x="3794" y="3205"/>
                  </a:lnTo>
                  <a:lnTo>
                    <a:pt x="3748" y="3191"/>
                  </a:lnTo>
                  <a:lnTo>
                    <a:pt x="3699" y="3184"/>
                  </a:lnTo>
                  <a:lnTo>
                    <a:pt x="3674" y="3181"/>
                  </a:lnTo>
                  <a:lnTo>
                    <a:pt x="3648" y="3180"/>
                  </a:lnTo>
                  <a:lnTo>
                    <a:pt x="3604" y="3182"/>
                  </a:lnTo>
                  <a:lnTo>
                    <a:pt x="3562" y="3189"/>
                  </a:lnTo>
                  <a:lnTo>
                    <a:pt x="3521" y="3200"/>
                  </a:lnTo>
                  <a:lnTo>
                    <a:pt x="3481" y="3214"/>
                  </a:lnTo>
                  <a:lnTo>
                    <a:pt x="3443" y="3232"/>
                  </a:lnTo>
                  <a:lnTo>
                    <a:pt x="3408" y="3254"/>
                  </a:lnTo>
                  <a:lnTo>
                    <a:pt x="3375" y="3278"/>
                  </a:lnTo>
                  <a:lnTo>
                    <a:pt x="3344" y="3306"/>
                  </a:lnTo>
                  <a:lnTo>
                    <a:pt x="3316" y="3337"/>
                  </a:lnTo>
                  <a:lnTo>
                    <a:pt x="3292" y="3369"/>
                  </a:lnTo>
                  <a:lnTo>
                    <a:pt x="3270" y="3405"/>
                  </a:lnTo>
                  <a:lnTo>
                    <a:pt x="3252" y="3443"/>
                  </a:lnTo>
                  <a:lnTo>
                    <a:pt x="3238" y="3482"/>
                  </a:lnTo>
                  <a:lnTo>
                    <a:pt x="3226" y="3524"/>
                  </a:lnTo>
                  <a:lnTo>
                    <a:pt x="3220" y="3566"/>
                  </a:lnTo>
                  <a:lnTo>
                    <a:pt x="3219" y="3609"/>
                  </a:lnTo>
                  <a:lnTo>
                    <a:pt x="3220" y="3647"/>
                  </a:lnTo>
                  <a:lnTo>
                    <a:pt x="3224" y="3682"/>
                  </a:lnTo>
                  <a:lnTo>
                    <a:pt x="3231" y="3717"/>
                  </a:lnTo>
                  <a:lnTo>
                    <a:pt x="3242" y="3750"/>
                  </a:lnTo>
                  <a:lnTo>
                    <a:pt x="3254" y="3783"/>
                  </a:lnTo>
                  <a:lnTo>
                    <a:pt x="3270" y="3814"/>
                  </a:lnTo>
                  <a:lnTo>
                    <a:pt x="3288" y="3843"/>
                  </a:lnTo>
                  <a:lnTo>
                    <a:pt x="3307" y="3872"/>
                  </a:lnTo>
                  <a:lnTo>
                    <a:pt x="3336" y="3905"/>
                  </a:lnTo>
                  <a:lnTo>
                    <a:pt x="3370" y="3936"/>
                  </a:lnTo>
                  <a:lnTo>
                    <a:pt x="3388" y="3950"/>
                  </a:lnTo>
                  <a:lnTo>
                    <a:pt x="3407" y="3962"/>
                  </a:lnTo>
                  <a:lnTo>
                    <a:pt x="3445" y="3985"/>
                  </a:lnTo>
                  <a:lnTo>
                    <a:pt x="3487" y="4005"/>
                  </a:lnTo>
                  <a:lnTo>
                    <a:pt x="3531" y="4019"/>
                  </a:lnTo>
                  <a:lnTo>
                    <a:pt x="3576" y="4029"/>
                  </a:lnTo>
                  <a:lnTo>
                    <a:pt x="3624" y="4034"/>
                  </a:lnTo>
                  <a:close/>
                  <a:moveTo>
                    <a:pt x="3628" y="4333"/>
                  </a:moveTo>
                  <a:lnTo>
                    <a:pt x="3625" y="4328"/>
                  </a:lnTo>
                  <a:lnTo>
                    <a:pt x="3624" y="4320"/>
                  </a:lnTo>
                  <a:lnTo>
                    <a:pt x="3624" y="4079"/>
                  </a:lnTo>
                  <a:lnTo>
                    <a:pt x="3571" y="4072"/>
                  </a:lnTo>
                  <a:lnTo>
                    <a:pt x="3521" y="4062"/>
                  </a:lnTo>
                  <a:lnTo>
                    <a:pt x="3472" y="4045"/>
                  </a:lnTo>
                  <a:lnTo>
                    <a:pt x="3449" y="4035"/>
                  </a:lnTo>
                  <a:lnTo>
                    <a:pt x="3428" y="4024"/>
                  </a:lnTo>
                  <a:lnTo>
                    <a:pt x="3384" y="3998"/>
                  </a:lnTo>
                  <a:lnTo>
                    <a:pt x="3363" y="3984"/>
                  </a:lnTo>
                  <a:lnTo>
                    <a:pt x="3344" y="3967"/>
                  </a:lnTo>
                  <a:lnTo>
                    <a:pt x="3326" y="3951"/>
                  </a:lnTo>
                  <a:lnTo>
                    <a:pt x="3308" y="3934"/>
                  </a:lnTo>
                  <a:lnTo>
                    <a:pt x="3292" y="3915"/>
                  </a:lnTo>
                  <a:lnTo>
                    <a:pt x="3276" y="3896"/>
                  </a:lnTo>
                  <a:lnTo>
                    <a:pt x="3253" y="3865"/>
                  </a:lnTo>
                  <a:lnTo>
                    <a:pt x="3233" y="3832"/>
                  </a:lnTo>
                  <a:lnTo>
                    <a:pt x="3216" y="3797"/>
                  </a:lnTo>
                  <a:lnTo>
                    <a:pt x="3201" y="3762"/>
                  </a:lnTo>
                  <a:lnTo>
                    <a:pt x="3189" y="3725"/>
                  </a:lnTo>
                  <a:lnTo>
                    <a:pt x="3181" y="3686"/>
                  </a:lnTo>
                  <a:lnTo>
                    <a:pt x="3176" y="3645"/>
                  </a:lnTo>
                  <a:lnTo>
                    <a:pt x="3174" y="3604"/>
                  </a:lnTo>
                  <a:lnTo>
                    <a:pt x="3176" y="3557"/>
                  </a:lnTo>
                  <a:lnTo>
                    <a:pt x="3184" y="3510"/>
                  </a:lnTo>
                  <a:lnTo>
                    <a:pt x="3189" y="3488"/>
                  </a:lnTo>
                  <a:lnTo>
                    <a:pt x="3195" y="3465"/>
                  </a:lnTo>
                  <a:lnTo>
                    <a:pt x="3211" y="3423"/>
                  </a:lnTo>
                  <a:lnTo>
                    <a:pt x="3231" y="3382"/>
                  </a:lnTo>
                  <a:lnTo>
                    <a:pt x="3254" y="3342"/>
                  </a:lnTo>
                  <a:lnTo>
                    <a:pt x="3281" y="3306"/>
                  </a:lnTo>
                  <a:lnTo>
                    <a:pt x="3297" y="3290"/>
                  </a:lnTo>
                  <a:lnTo>
                    <a:pt x="3312" y="3273"/>
                  </a:lnTo>
                  <a:lnTo>
                    <a:pt x="3345" y="3242"/>
                  </a:lnTo>
                  <a:lnTo>
                    <a:pt x="3363" y="3228"/>
                  </a:lnTo>
                  <a:lnTo>
                    <a:pt x="3381" y="3216"/>
                  </a:lnTo>
                  <a:lnTo>
                    <a:pt x="3420" y="3193"/>
                  </a:lnTo>
                  <a:lnTo>
                    <a:pt x="3440" y="3182"/>
                  </a:lnTo>
                  <a:lnTo>
                    <a:pt x="3462" y="3172"/>
                  </a:lnTo>
                  <a:lnTo>
                    <a:pt x="3483" y="3164"/>
                  </a:lnTo>
                  <a:lnTo>
                    <a:pt x="3504" y="3157"/>
                  </a:lnTo>
                  <a:lnTo>
                    <a:pt x="3528" y="3150"/>
                  </a:lnTo>
                  <a:lnTo>
                    <a:pt x="3549" y="3145"/>
                  </a:lnTo>
                  <a:lnTo>
                    <a:pt x="3597" y="3138"/>
                  </a:lnTo>
                  <a:lnTo>
                    <a:pt x="3644" y="3135"/>
                  </a:lnTo>
                  <a:lnTo>
                    <a:pt x="3701" y="3139"/>
                  </a:lnTo>
                  <a:lnTo>
                    <a:pt x="3728" y="3143"/>
                  </a:lnTo>
                  <a:lnTo>
                    <a:pt x="3755" y="3149"/>
                  </a:lnTo>
                  <a:lnTo>
                    <a:pt x="3781" y="3156"/>
                  </a:lnTo>
                  <a:lnTo>
                    <a:pt x="3807" y="3164"/>
                  </a:lnTo>
                  <a:lnTo>
                    <a:pt x="3831" y="3175"/>
                  </a:lnTo>
                  <a:lnTo>
                    <a:pt x="3856" y="3185"/>
                  </a:lnTo>
                  <a:lnTo>
                    <a:pt x="3902" y="3212"/>
                  </a:lnTo>
                  <a:lnTo>
                    <a:pt x="3944" y="3242"/>
                  </a:lnTo>
                  <a:lnTo>
                    <a:pt x="3965" y="3260"/>
                  </a:lnTo>
                  <a:lnTo>
                    <a:pt x="3983" y="3278"/>
                  </a:lnTo>
                  <a:lnTo>
                    <a:pt x="4001" y="3299"/>
                  </a:lnTo>
                  <a:lnTo>
                    <a:pt x="4017" y="3318"/>
                  </a:lnTo>
                  <a:lnTo>
                    <a:pt x="4040" y="3350"/>
                  </a:lnTo>
                  <a:lnTo>
                    <a:pt x="4060" y="3382"/>
                  </a:lnTo>
                  <a:lnTo>
                    <a:pt x="4078" y="3416"/>
                  </a:lnTo>
                  <a:lnTo>
                    <a:pt x="4092" y="3453"/>
                  </a:lnTo>
                  <a:lnTo>
                    <a:pt x="4103" y="3491"/>
                  </a:lnTo>
                  <a:lnTo>
                    <a:pt x="4112" y="3529"/>
                  </a:lnTo>
                  <a:lnTo>
                    <a:pt x="4117" y="3569"/>
                  </a:lnTo>
                  <a:lnTo>
                    <a:pt x="4119" y="3609"/>
                  </a:lnTo>
                  <a:lnTo>
                    <a:pt x="4117" y="3657"/>
                  </a:lnTo>
                  <a:lnTo>
                    <a:pt x="4110" y="3702"/>
                  </a:lnTo>
                  <a:lnTo>
                    <a:pt x="4105" y="3725"/>
                  </a:lnTo>
                  <a:lnTo>
                    <a:pt x="4099" y="3746"/>
                  </a:lnTo>
                  <a:lnTo>
                    <a:pt x="4084" y="3788"/>
                  </a:lnTo>
                  <a:lnTo>
                    <a:pt x="4075" y="3809"/>
                  </a:lnTo>
                  <a:lnTo>
                    <a:pt x="4065" y="3828"/>
                  </a:lnTo>
                  <a:lnTo>
                    <a:pt x="4043" y="3866"/>
                  </a:lnTo>
                  <a:lnTo>
                    <a:pt x="4016" y="3902"/>
                  </a:lnTo>
                  <a:lnTo>
                    <a:pt x="3988" y="3936"/>
                  </a:lnTo>
                  <a:lnTo>
                    <a:pt x="3956" y="3965"/>
                  </a:lnTo>
                  <a:lnTo>
                    <a:pt x="3921" y="3993"/>
                  </a:lnTo>
                  <a:lnTo>
                    <a:pt x="3884" y="4016"/>
                  </a:lnTo>
                  <a:lnTo>
                    <a:pt x="3844" y="4037"/>
                  </a:lnTo>
                  <a:lnTo>
                    <a:pt x="3802" y="4053"/>
                  </a:lnTo>
                  <a:lnTo>
                    <a:pt x="3760" y="4066"/>
                  </a:lnTo>
                  <a:lnTo>
                    <a:pt x="3715" y="4075"/>
                  </a:lnTo>
                  <a:lnTo>
                    <a:pt x="3667" y="4079"/>
                  </a:lnTo>
                  <a:lnTo>
                    <a:pt x="3667" y="4336"/>
                  </a:lnTo>
                  <a:lnTo>
                    <a:pt x="3666" y="4345"/>
                  </a:lnTo>
                  <a:lnTo>
                    <a:pt x="3661" y="4351"/>
                  </a:lnTo>
                  <a:lnTo>
                    <a:pt x="3654" y="4355"/>
                  </a:lnTo>
                  <a:lnTo>
                    <a:pt x="3648" y="4356"/>
                  </a:lnTo>
                  <a:lnTo>
                    <a:pt x="3640" y="4355"/>
                  </a:lnTo>
                  <a:lnTo>
                    <a:pt x="3634" y="4351"/>
                  </a:lnTo>
                  <a:lnTo>
                    <a:pt x="3629" y="4345"/>
                  </a:lnTo>
                  <a:lnTo>
                    <a:pt x="3628" y="4336"/>
                  </a:lnTo>
                  <a:lnTo>
                    <a:pt x="3628" y="4333"/>
                  </a:lnTo>
                  <a:close/>
                </a:path>
              </a:pathLst>
            </a:custGeom>
            <a:solidFill>
              <a:srgbClr val="FF6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33EF670B-30BD-4A10-B403-507CF595F201}"/>
                </a:ext>
              </a:extLst>
            </p:cNvPr>
            <p:cNvSpPr>
              <a:spLocks noChangeAspect="1" noEditPoints="1"/>
            </p:cNvSpPr>
            <p:nvPr userDrawn="1"/>
          </p:nvSpPr>
          <p:spPr bwMode="black">
            <a:xfrm>
              <a:off x="5610994" y="5177099"/>
              <a:ext cx="193514" cy="216000"/>
            </a:xfrm>
            <a:custGeom>
              <a:avLst/>
              <a:gdLst>
                <a:gd name="T0" fmla="*/ 2964 w 3578"/>
                <a:gd name="T1" fmla="*/ 3151 h 3996"/>
                <a:gd name="T2" fmla="*/ 2988 w 3578"/>
                <a:gd name="T3" fmla="*/ 3131 h 3996"/>
                <a:gd name="T4" fmla="*/ 3002 w 3578"/>
                <a:gd name="T5" fmla="*/ 3095 h 3996"/>
                <a:gd name="T6" fmla="*/ 2998 w 3578"/>
                <a:gd name="T7" fmla="*/ 3052 h 3996"/>
                <a:gd name="T8" fmla="*/ 2570 w 3578"/>
                <a:gd name="T9" fmla="*/ 2480 h 3996"/>
                <a:gd name="T10" fmla="*/ 2976 w 3578"/>
                <a:gd name="T11" fmla="*/ 956 h 3996"/>
                <a:gd name="T12" fmla="*/ 2988 w 3578"/>
                <a:gd name="T13" fmla="*/ 917 h 3996"/>
                <a:gd name="T14" fmla="*/ 2981 w 3578"/>
                <a:gd name="T15" fmla="*/ 878 h 3996"/>
                <a:gd name="T16" fmla="*/ 2961 w 3578"/>
                <a:gd name="T17" fmla="*/ 853 h 3996"/>
                <a:gd name="T18" fmla="*/ 2936 w 3578"/>
                <a:gd name="T19" fmla="*/ 840 h 3996"/>
                <a:gd name="T20" fmla="*/ 2275 w 3578"/>
                <a:gd name="T21" fmla="*/ 835 h 3996"/>
                <a:gd name="T22" fmla="*/ 2209 w 3578"/>
                <a:gd name="T23" fmla="*/ 845 h 3996"/>
                <a:gd name="T24" fmla="*/ 2160 w 3578"/>
                <a:gd name="T25" fmla="*/ 872 h 3996"/>
                <a:gd name="T26" fmla="*/ 2119 w 3578"/>
                <a:gd name="T27" fmla="*/ 915 h 3996"/>
                <a:gd name="T28" fmla="*/ 1365 w 3578"/>
                <a:gd name="T29" fmla="*/ 931 h 3996"/>
                <a:gd name="T30" fmla="*/ 1356 w 3578"/>
                <a:gd name="T31" fmla="*/ 884 h 3996"/>
                <a:gd name="T32" fmla="*/ 1325 w 3578"/>
                <a:gd name="T33" fmla="*/ 851 h 3996"/>
                <a:gd name="T34" fmla="*/ 1280 w 3578"/>
                <a:gd name="T35" fmla="*/ 835 h 3996"/>
                <a:gd name="T36" fmla="*/ 664 w 3578"/>
                <a:gd name="T37" fmla="*/ 840 h 3996"/>
                <a:gd name="T38" fmla="*/ 625 w 3578"/>
                <a:gd name="T39" fmla="*/ 862 h 3996"/>
                <a:gd name="T40" fmla="*/ 602 w 3578"/>
                <a:gd name="T41" fmla="*/ 902 h 3996"/>
                <a:gd name="T42" fmla="*/ 598 w 3578"/>
                <a:gd name="T43" fmla="*/ 1998 h 3996"/>
                <a:gd name="T44" fmla="*/ 602 w 3578"/>
                <a:gd name="T45" fmla="*/ 3094 h 3996"/>
                <a:gd name="T46" fmla="*/ 625 w 3578"/>
                <a:gd name="T47" fmla="*/ 3133 h 3996"/>
                <a:gd name="T48" fmla="*/ 664 w 3578"/>
                <a:gd name="T49" fmla="*/ 3156 h 3996"/>
                <a:gd name="T50" fmla="*/ 1280 w 3578"/>
                <a:gd name="T51" fmla="*/ 3160 h 3996"/>
                <a:gd name="T52" fmla="*/ 1325 w 3578"/>
                <a:gd name="T53" fmla="*/ 3144 h 3996"/>
                <a:gd name="T54" fmla="*/ 1356 w 3578"/>
                <a:gd name="T55" fmla="*/ 3111 h 3996"/>
                <a:gd name="T56" fmla="*/ 1365 w 3578"/>
                <a:gd name="T57" fmla="*/ 3064 h 3996"/>
                <a:gd name="T58" fmla="*/ 2119 w 3578"/>
                <a:gd name="T59" fmla="*/ 3080 h 3996"/>
                <a:gd name="T60" fmla="*/ 2160 w 3578"/>
                <a:gd name="T61" fmla="*/ 3123 h 3996"/>
                <a:gd name="T62" fmla="*/ 2209 w 3578"/>
                <a:gd name="T63" fmla="*/ 3151 h 3996"/>
                <a:gd name="T64" fmla="*/ 2275 w 3578"/>
                <a:gd name="T65" fmla="*/ 3160 h 3996"/>
                <a:gd name="T66" fmla="*/ 4 w 3578"/>
                <a:gd name="T67" fmla="*/ 3929 h 3996"/>
                <a:gd name="T68" fmla="*/ 27 w 3578"/>
                <a:gd name="T69" fmla="*/ 3968 h 3996"/>
                <a:gd name="T70" fmla="*/ 66 w 3578"/>
                <a:gd name="T71" fmla="*/ 3991 h 3996"/>
                <a:gd name="T72" fmla="*/ 1789 w 3578"/>
                <a:gd name="T73" fmla="*/ 3996 h 3996"/>
                <a:gd name="T74" fmla="*/ 3512 w 3578"/>
                <a:gd name="T75" fmla="*/ 3991 h 3996"/>
                <a:gd name="T76" fmla="*/ 3552 w 3578"/>
                <a:gd name="T77" fmla="*/ 3968 h 3996"/>
                <a:gd name="T78" fmla="*/ 3574 w 3578"/>
                <a:gd name="T79" fmla="*/ 3929 h 3996"/>
                <a:gd name="T80" fmla="*/ 3577 w 3578"/>
                <a:gd name="T81" fmla="*/ 3624 h 3996"/>
                <a:gd name="T82" fmla="*/ 3563 w 3578"/>
                <a:gd name="T83" fmla="*/ 3579 h 3996"/>
                <a:gd name="T84" fmla="*/ 3529 w 3578"/>
                <a:gd name="T85" fmla="*/ 3549 h 3996"/>
                <a:gd name="T86" fmla="*/ 3482 w 3578"/>
                <a:gd name="T87" fmla="*/ 3538 h 3996"/>
                <a:gd name="T88" fmla="*/ 85 w 3578"/>
                <a:gd name="T89" fmla="*/ 3538 h 3996"/>
                <a:gd name="T90" fmla="*/ 41 w 3578"/>
                <a:gd name="T91" fmla="*/ 3554 h 3996"/>
                <a:gd name="T92" fmla="*/ 11 w 3578"/>
                <a:gd name="T93" fmla="*/ 3587 h 3996"/>
                <a:gd name="T94" fmla="*/ 0 w 3578"/>
                <a:gd name="T95" fmla="*/ 3634 h 3996"/>
                <a:gd name="T96" fmla="*/ 4 w 3578"/>
                <a:gd name="T97" fmla="*/ 391 h 3996"/>
                <a:gd name="T98" fmla="*/ 27 w 3578"/>
                <a:gd name="T99" fmla="*/ 430 h 3996"/>
                <a:gd name="T100" fmla="*/ 66 w 3578"/>
                <a:gd name="T101" fmla="*/ 453 h 3996"/>
                <a:gd name="T102" fmla="*/ 1789 w 3578"/>
                <a:gd name="T103" fmla="*/ 456 h 3996"/>
                <a:gd name="T104" fmla="*/ 3512 w 3578"/>
                <a:gd name="T105" fmla="*/ 453 h 3996"/>
                <a:gd name="T106" fmla="*/ 3552 w 3578"/>
                <a:gd name="T107" fmla="*/ 430 h 3996"/>
                <a:gd name="T108" fmla="*/ 3574 w 3578"/>
                <a:gd name="T109" fmla="*/ 391 h 3996"/>
                <a:gd name="T110" fmla="*/ 3577 w 3578"/>
                <a:gd name="T111" fmla="*/ 85 h 3996"/>
                <a:gd name="T112" fmla="*/ 3563 w 3578"/>
                <a:gd name="T113" fmla="*/ 41 h 3996"/>
                <a:gd name="T114" fmla="*/ 3529 w 3578"/>
                <a:gd name="T115" fmla="*/ 11 h 3996"/>
                <a:gd name="T116" fmla="*/ 3482 w 3578"/>
                <a:gd name="T117" fmla="*/ 0 h 3996"/>
                <a:gd name="T118" fmla="*/ 85 w 3578"/>
                <a:gd name="T119" fmla="*/ 0 h 3996"/>
                <a:gd name="T120" fmla="*/ 41 w 3578"/>
                <a:gd name="T121" fmla="*/ 16 h 3996"/>
                <a:gd name="T122" fmla="*/ 11 w 3578"/>
                <a:gd name="T123" fmla="*/ 49 h 3996"/>
                <a:gd name="T124" fmla="*/ 0 w 3578"/>
                <a:gd name="T125" fmla="*/ 95 h 3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78" h="3996">
                  <a:moveTo>
                    <a:pt x="2924" y="3160"/>
                  </a:moveTo>
                  <a:lnTo>
                    <a:pt x="2936" y="3160"/>
                  </a:lnTo>
                  <a:lnTo>
                    <a:pt x="2947" y="3157"/>
                  </a:lnTo>
                  <a:lnTo>
                    <a:pt x="2958" y="3153"/>
                  </a:lnTo>
                  <a:lnTo>
                    <a:pt x="2964" y="3151"/>
                  </a:lnTo>
                  <a:lnTo>
                    <a:pt x="2968" y="3148"/>
                  </a:lnTo>
                  <a:lnTo>
                    <a:pt x="2977" y="3142"/>
                  </a:lnTo>
                  <a:lnTo>
                    <a:pt x="2981" y="3139"/>
                  </a:lnTo>
                  <a:lnTo>
                    <a:pt x="2985" y="3135"/>
                  </a:lnTo>
                  <a:lnTo>
                    <a:pt x="2988" y="3131"/>
                  </a:lnTo>
                  <a:lnTo>
                    <a:pt x="2991" y="3126"/>
                  </a:lnTo>
                  <a:lnTo>
                    <a:pt x="2996" y="3117"/>
                  </a:lnTo>
                  <a:lnTo>
                    <a:pt x="3000" y="3106"/>
                  </a:lnTo>
                  <a:lnTo>
                    <a:pt x="3001" y="3101"/>
                  </a:lnTo>
                  <a:lnTo>
                    <a:pt x="3002" y="3095"/>
                  </a:lnTo>
                  <a:lnTo>
                    <a:pt x="3003" y="3084"/>
                  </a:lnTo>
                  <a:lnTo>
                    <a:pt x="3002" y="3072"/>
                  </a:lnTo>
                  <a:lnTo>
                    <a:pt x="3001" y="3065"/>
                  </a:lnTo>
                  <a:lnTo>
                    <a:pt x="2999" y="3059"/>
                  </a:lnTo>
                  <a:lnTo>
                    <a:pt x="2998" y="3052"/>
                  </a:lnTo>
                  <a:lnTo>
                    <a:pt x="2995" y="3045"/>
                  </a:lnTo>
                  <a:lnTo>
                    <a:pt x="2988" y="3032"/>
                  </a:lnTo>
                  <a:lnTo>
                    <a:pt x="2985" y="3026"/>
                  </a:lnTo>
                  <a:lnTo>
                    <a:pt x="2980" y="3019"/>
                  </a:lnTo>
                  <a:lnTo>
                    <a:pt x="2570" y="2480"/>
                  </a:lnTo>
                  <a:lnTo>
                    <a:pt x="2162" y="1941"/>
                  </a:lnTo>
                  <a:lnTo>
                    <a:pt x="2562" y="1459"/>
                  </a:lnTo>
                  <a:lnTo>
                    <a:pt x="2962" y="976"/>
                  </a:lnTo>
                  <a:lnTo>
                    <a:pt x="2972" y="962"/>
                  </a:lnTo>
                  <a:lnTo>
                    <a:pt x="2976" y="956"/>
                  </a:lnTo>
                  <a:lnTo>
                    <a:pt x="2979" y="949"/>
                  </a:lnTo>
                  <a:lnTo>
                    <a:pt x="2985" y="936"/>
                  </a:lnTo>
                  <a:lnTo>
                    <a:pt x="2986" y="929"/>
                  </a:lnTo>
                  <a:lnTo>
                    <a:pt x="2988" y="923"/>
                  </a:lnTo>
                  <a:lnTo>
                    <a:pt x="2988" y="917"/>
                  </a:lnTo>
                  <a:lnTo>
                    <a:pt x="2989" y="910"/>
                  </a:lnTo>
                  <a:lnTo>
                    <a:pt x="2988" y="899"/>
                  </a:lnTo>
                  <a:lnTo>
                    <a:pt x="2987" y="894"/>
                  </a:lnTo>
                  <a:lnTo>
                    <a:pt x="2986" y="888"/>
                  </a:lnTo>
                  <a:lnTo>
                    <a:pt x="2981" y="878"/>
                  </a:lnTo>
                  <a:lnTo>
                    <a:pt x="2979" y="873"/>
                  </a:lnTo>
                  <a:lnTo>
                    <a:pt x="2976" y="868"/>
                  </a:lnTo>
                  <a:lnTo>
                    <a:pt x="2972" y="864"/>
                  </a:lnTo>
                  <a:lnTo>
                    <a:pt x="2969" y="861"/>
                  </a:lnTo>
                  <a:lnTo>
                    <a:pt x="2961" y="853"/>
                  </a:lnTo>
                  <a:lnTo>
                    <a:pt x="2957" y="849"/>
                  </a:lnTo>
                  <a:lnTo>
                    <a:pt x="2951" y="846"/>
                  </a:lnTo>
                  <a:lnTo>
                    <a:pt x="2947" y="844"/>
                  </a:lnTo>
                  <a:lnTo>
                    <a:pt x="2941" y="842"/>
                  </a:lnTo>
                  <a:lnTo>
                    <a:pt x="2936" y="840"/>
                  </a:lnTo>
                  <a:lnTo>
                    <a:pt x="2930" y="838"/>
                  </a:lnTo>
                  <a:lnTo>
                    <a:pt x="2925" y="836"/>
                  </a:lnTo>
                  <a:lnTo>
                    <a:pt x="2919" y="836"/>
                  </a:lnTo>
                  <a:lnTo>
                    <a:pt x="2907" y="835"/>
                  </a:lnTo>
                  <a:lnTo>
                    <a:pt x="2275" y="835"/>
                  </a:lnTo>
                  <a:lnTo>
                    <a:pt x="2260" y="835"/>
                  </a:lnTo>
                  <a:lnTo>
                    <a:pt x="2246" y="836"/>
                  </a:lnTo>
                  <a:lnTo>
                    <a:pt x="2234" y="838"/>
                  </a:lnTo>
                  <a:lnTo>
                    <a:pt x="2222" y="841"/>
                  </a:lnTo>
                  <a:lnTo>
                    <a:pt x="2209" y="845"/>
                  </a:lnTo>
                  <a:lnTo>
                    <a:pt x="2198" y="848"/>
                  </a:lnTo>
                  <a:lnTo>
                    <a:pt x="2188" y="854"/>
                  </a:lnTo>
                  <a:lnTo>
                    <a:pt x="2178" y="859"/>
                  </a:lnTo>
                  <a:lnTo>
                    <a:pt x="2168" y="865"/>
                  </a:lnTo>
                  <a:lnTo>
                    <a:pt x="2160" y="872"/>
                  </a:lnTo>
                  <a:lnTo>
                    <a:pt x="2151" y="879"/>
                  </a:lnTo>
                  <a:lnTo>
                    <a:pt x="2142" y="887"/>
                  </a:lnTo>
                  <a:lnTo>
                    <a:pt x="2134" y="896"/>
                  </a:lnTo>
                  <a:lnTo>
                    <a:pt x="2126" y="905"/>
                  </a:lnTo>
                  <a:lnTo>
                    <a:pt x="2119" y="915"/>
                  </a:lnTo>
                  <a:lnTo>
                    <a:pt x="2111" y="925"/>
                  </a:lnTo>
                  <a:lnTo>
                    <a:pt x="1738" y="1404"/>
                  </a:lnTo>
                  <a:lnTo>
                    <a:pt x="1365" y="1885"/>
                  </a:lnTo>
                  <a:lnTo>
                    <a:pt x="1365" y="1408"/>
                  </a:lnTo>
                  <a:lnTo>
                    <a:pt x="1365" y="931"/>
                  </a:lnTo>
                  <a:lnTo>
                    <a:pt x="1365" y="920"/>
                  </a:lnTo>
                  <a:lnTo>
                    <a:pt x="1364" y="910"/>
                  </a:lnTo>
                  <a:lnTo>
                    <a:pt x="1362" y="902"/>
                  </a:lnTo>
                  <a:lnTo>
                    <a:pt x="1359" y="892"/>
                  </a:lnTo>
                  <a:lnTo>
                    <a:pt x="1356" y="884"/>
                  </a:lnTo>
                  <a:lnTo>
                    <a:pt x="1350" y="876"/>
                  </a:lnTo>
                  <a:lnTo>
                    <a:pt x="1346" y="868"/>
                  </a:lnTo>
                  <a:lnTo>
                    <a:pt x="1339" y="862"/>
                  </a:lnTo>
                  <a:lnTo>
                    <a:pt x="1332" y="856"/>
                  </a:lnTo>
                  <a:lnTo>
                    <a:pt x="1325" y="851"/>
                  </a:lnTo>
                  <a:lnTo>
                    <a:pt x="1317" y="846"/>
                  </a:lnTo>
                  <a:lnTo>
                    <a:pt x="1309" y="842"/>
                  </a:lnTo>
                  <a:lnTo>
                    <a:pt x="1300" y="840"/>
                  </a:lnTo>
                  <a:lnTo>
                    <a:pt x="1290" y="837"/>
                  </a:lnTo>
                  <a:lnTo>
                    <a:pt x="1280" y="835"/>
                  </a:lnTo>
                  <a:lnTo>
                    <a:pt x="1270" y="835"/>
                  </a:lnTo>
                  <a:lnTo>
                    <a:pt x="694" y="835"/>
                  </a:lnTo>
                  <a:lnTo>
                    <a:pt x="684" y="835"/>
                  </a:lnTo>
                  <a:lnTo>
                    <a:pt x="674" y="837"/>
                  </a:lnTo>
                  <a:lnTo>
                    <a:pt x="664" y="840"/>
                  </a:lnTo>
                  <a:lnTo>
                    <a:pt x="656" y="842"/>
                  </a:lnTo>
                  <a:lnTo>
                    <a:pt x="647" y="846"/>
                  </a:lnTo>
                  <a:lnTo>
                    <a:pt x="639" y="851"/>
                  </a:lnTo>
                  <a:lnTo>
                    <a:pt x="632" y="856"/>
                  </a:lnTo>
                  <a:lnTo>
                    <a:pt x="625" y="862"/>
                  </a:lnTo>
                  <a:lnTo>
                    <a:pt x="619" y="868"/>
                  </a:lnTo>
                  <a:lnTo>
                    <a:pt x="614" y="876"/>
                  </a:lnTo>
                  <a:lnTo>
                    <a:pt x="609" y="884"/>
                  </a:lnTo>
                  <a:lnTo>
                    <a:pt x="606" y="892"/>
                  </a:lnTo>
                  <a:lnTo>
                    <a:pt x="602" y="902"/>
                  </a:lnTo>
                  <a:lnTo>
                    <a:pt x="600" y="910"/>
                  </a:lnTo>
                  <a:lnTo>
                    <a:pt x="599" y="920"/>
                  </a:lnTo>
                  <a:lnTo>
                    <a:pt x="598" y="931"/>
                  </a:lnTo>
                  <a:lnTo>
                    <a:pt x="598" y="1464"/>
                  </a:lnTo>
                  <a:lnTo>
                    <a:pt x="598" y="1998"/>
                  </a:lnTo>
                  <a:lnTo>
                    <a:pt x="598" y="2531"/>
                  </a:lnTo>
                  <a:lnTo>
                    <a:pt x="598" y="3064"/>
                  </a:lnTo>
                  <a:lnTo>
                    <a:pt x="599" y="3074"/>
                  </a:lnTo>
                  <a:lnTo>
                    <a:pt x="600" y="3084"/>
                  </a:lnTo>
                  <a:lnTo>
                    <a:pt x="602" y="3094"/>
                  </a:lnTo>
                  <a:lnTo>
                    <a:pt x="606" y="3103"/>
                  </a:lnTo>
                  <a:lnTo>
                    <a:pt x="609" y="3111"/>
                  </a:lnTo>
                  <a:lnTo>
                    <a:pt x="614" y="3120"/>
                  </a:lnTo>
                  <a:lnTo>
                    <a:pt x="619" y="3126"/>
                  </a:lnTo>
                  <a:lnTo>
                    <a:pt x="625" y="3133"/>
                  </a:lnTo>
                  <a:lnTo>
                    <a:pt x="632" y="3140"/>
                  </a:lnTo>
                  <a:lnTo>
                    <a:pt x="639" y="3144"/>
                  </a:lnTo>
                  <a:lnTo>
                    <a:pt x="647" y="3150"/>
                  </a:lnTo>
                  <a:lnTo>
                    <a:pt x="656" y="3153"/>
                  </a:lnTo>
                  <a:lnTo>
                    <a:pt x="664" y="3156"/>
                  </a:lnTo>
                  <a:lnTo>
                    <a:pt x="674" y="3158"/>
                  </a:lnTo>
                  <a:lnTo>
                    <a:pt x="684" y="3160"/>
                  </a:lnTo>
                  <a:lnTo>
                    <a:pt x="694" y="3160"/>
                  </a:lnTo>
                  <a:lnTo>
                    <a:pt x="1270" y="3160"/>
                  </a:lnTo>
                  <a:lnTo>
                    <a:pt x="1280" y="3160"/>
                  </a:lnTo>
                  <a:lnTo>
                    <a:pt x="1290" y="3158"/>
                  </a:lnTo>
                  <a:lnTo>
                    <a:pt x="1300" y="3156"/>
                  </a:lnTo>
                  <a:lnTo>
                    <a:pt x="1309" y="3153"/>
                  </a:lnTo>
                  <a:lnTo>
                    <a:pt x="1317" y="3150"/>
                  </a:lnTo>
                  <a:lnTo>
                    <a:pt x="1325" y="3144"/>
                  </a:lnTo>
                  <a:lnTo>
                    <a:pt x="1332" y="3140"/>
                  </a:lnTo>
                  <a:lnTo>
                    <a:pt x="1339" y="3133"/>
                  </a:lnTo>
                  <a:lnTo>
                    <a:pt x="1346" y="3126"/>
                  </a:lnTo>
                  <a:lnTo>
                    <a:pt x="1350" y="3120"/>
                  </a:lnTo>
                  <a:lnTo>
                    <a:pt x="1356" y="3111"/>
                  </a:lnTo>
                  <a:lnTo>
                    <a:pt x="1359" y="3103"/>
                  </a:lnTo>
                  <a:lnTo>
                    <a:pt x="1362" y="3094"/>
                  </a:lnTo>
                  <a:lnTo>
                    <a:pt x="1364" y="3084"/>
                  </a:lnTo>
                  <a:lnTo>
                    <a:pt x="1365" y="3074"/>
                  </a:lnTo>
                  <a:lnTo>
                    <a:pt x="1365" y="3064"/>
                  </a:lnTo>
                  <a:lnTo>
                    <a:pt x="1365" y="2539"/>
                  </a:lnTo>
                  <a:lnTo>
                    <a:pt x="1365" y="2014"/>
                  </a:lnTo>
                  <a:lnTo>
                    <a:pt x="1738" y="2542"/>
                  </a:lnTo>
                  <a:lnTo>
                    <a:pt x="2111" y="3070"/>
                  </a:lnTo>
                  <a:lnTo>
                    <a:pt x="2119" y="3080"/>
                  </a:lnTo>
                  <a:lnTo>
                    <a:pt x="2126" y="3090"/>
                  </a:lnTo>
                  <a:lnTo>
                    <a:pt x="2134" y="3099"/>
                  </a:lnTo>
                  <a:lnTo>
                    <a:pt x="2142" y="3108"/>
                  </a:lnTo>
                  <a:lnTo>
                    <a:pt x="2151" y="3115"/>
                  </a:lnTo>
                  <a:lnTo>
                    <a:pt x="2160" y="3123"/>
                  </a:lnTo>
                  <a:lnTo>
                    <a:pt x="2168" y="3130"/>
                  </a:lnTo>
                  <a:lnTo>
                    <a:pt x="2178" y="3136"/>
                  </a:lnTo>
                  <a:lnTo>
                    <a:pt x="2188" y="3142"/>
                  </a:lnTo>
                  <a:lnTo>
                    <a:pt x="2198" y="3146"/>
                  </a:lnTo>
                  <a:lnTo>
                    <a:pt x="2209" y="3151"/>
                  </a:lnTo>
                  <a:lnTo>
                    <a:pt x="2222" y="3154"/>
                  </a:lnTo>
                  <a:lnTo>
                    <a:pt x="2234" y="3156"/>
                  </a:lnTo>
                  <a:lnTo>
                    <a:pt x="2246" y="3158"/>
                  </a:lnTo>
                  <a:lnTo>
                    <a:pt x="2260" y="3160"/>
                  </a:lnTo>
                  <a:lnTo>
                    <a:pt x="2275" y="3160"/>
                  </a:lnTo>
                  <a:lnTo>
                    <a:pt x="2924" y="3160"/>
                  </a:lnTo>
                  <a:close/>
                  <a:moveTo>
                    <a:pt x="0" y="3899"/>
                  </a:moveTo>
                  <a:lnTo>
                    <a:pt x="1" y="3909"/>
                  </a:lnTo>
                  <a:lnTo>
                    <a:pt x="2" y="3919"/>
                  </a:lnTo>
                  <a:lnTo>
                    <a:pt x="4" y="3929"/>
                  </a:lnTo>
                  <a:lnTo>
                    <a:pt x="8" y="3938"/>
                  </a:lnTo>
                  <a:lnTo>
                    <a:pt x="11" y="3947"/>
                  </a:lnTo>
                  <a:lnTo>
                    <a:pt x="16" y="3955"/>
                  </a:lnTo>
                  <a:lnTo>
                    <a:pt x="21" y="3961"/>
                  </a:lnTo>
                  <a:lnTo>
                    <a:pt x="27" y="3968"/>
                  </a:lnTo>
                  <a:lnTo>
                    <a:pt x="33" y="3975"/>
                  </a:lnTo>
                  <a:lnTo>
                    <a:pt x="41" y="3980"/>
                  </a:lnTo>
                  <a:lnTo>
                    <a:pt x="49" y="3985"/>
                  </a:lnTo>
                  <a:lnTo>
                    <a:pt x="58" y="3988"/>
                  </a:lnTo>
                  <a:lnTo>
                    <a:pt x="66" y="3991"/>
                  </a:lnTo>
                  <a:lnTo>
                    <a:pt x="75" y="3993"/>
                  </a:lnTo>
                  <a:lnTo>
                    <a:pt x="85" y="3995"/>
                  </a:lnTo>
                  <a:lnTo>
                    <a:pt x="96" y="3996"/>
                  </a:lnTo>
                  <a:lnTo>
                    <a:pt x="942" y="3996"/>
                  </a:lnTo>
                  <a:lnTo>
                    <a:pt x="1789" y="3996"/>
                  </a:lnTo>
                  <a:lnTo>
                    <a:pt x="2635" y="3996"/>
                  </a:lnTo>
                  <a:lnTo>
                    <a:pt x="3482" y="3996"/>
                  </a:lnTo>
                  <a:lnTo>
                    <a:pt x="3493" y="3995"/>
                  </a:lnTo>
                  <a:lnTo>
                    <a:pt x="3503" y="3993"/>
                  </a:lnTo>
                  <a:lnTo>
                    <a:pt x="3512" y="3991"/>
                  </a:lnTo>
                  <a:lnTo>
                    <a:pt x="3521" y="3988"/>
                  </a:lnTo>
                  <a:lnTo>
                    <a:pt x="3529" y="3985"/>
                  </a:lnTo>
                  <a:lnTo>
                    <a:pt x="3537" y="3980"/>
                  </a:lnTo>
                  <a:lnTo>
                    <a:pt x="3545" y="3975"/>
                  </a:lnTo>
                  <a:lnTo>
                    <a:pt x="3552" y="3968"/>
                  </a:lnTo>
                  <a:lnTo>
                    <a:pt x="3557" y="3961"/>
                  </a:lnTo>
                  <a:lnTo>
                    <a:pt x="3563" y="3955"/>
                  </a:lnTo>
                  <a:lnTo>
                    <a:pt x="3567" y="3947"/>
                  </a:lnTo>
                  <a:lnTo>
                    <a:pt x="3572" y="3938"/>
                  </a:lnTo>
                  <a:lnTo>
                    <a:pt x="3574" y="3929"/>
                  </a:lnTo>
                  <a:lnTo>
                    <a:pt x="3576" y="3919"/>
                  </a:lnTo>
                  <a:lnTo>
                    <a:pt x="3577" y="3909"/>
                  </a:lnTo>
                  <a:lnTo>
                    <a:pt x="3578" y="3899"/>
                  </a:lnTo>
                  <a:lnTo>
                    <a:pt x="3578" y="3634"/>
                  </a:lnTo>
                  <a:lnTo>
                    <a:pt x="3577" y="3624"/>
                  </a:lnTo>
                  <a:lnTo>
                    <a:pt x="3576" y="3614"/>
                  </a:lnTo>
                  <a:lnTo>
                    <a:pt x="3574" y="3605"/>
                  </a:lnTo>
                  <a:lnTo>
                    <a:pt x="3572" y="3595"/>
                  </a:lnTo>
                  <a:lnTo>
                    <a:pt x="3567" y="3587"/>
                  </a:lnTo>
                  <a:lnTo>
                    <a:pt x="3563" y="3579"/>
                  </a:lnTo>
                  <a:lnTo>
                    <a:pt x="3557" y="3572"/>
                  </a:lnTo>
                  <a:lnTo>
                    <a:pt x="3552" y="3565"/>
                  </a:lnTo>
                  <a:lnTo>
                    <a:pt x="3545" y="3559"/>
                  </a:lnTo>
                  <a:lnTo>
                    <a:pt x="3537" y="3554"/>
                  </a:lnTo>
                  <a:lnTo>
                    <a:pt x="3529" y="3549"/>
                  </a:lnTo>
                  <a:lnTo>
                    <a:pt x="3521" y="3545"/>
                  </a:lnTo>
                  <a:lnTo>
                    <a:pt x="3512" y="3542"/>
                  </a:lnTo>
                  <a:lnTo>
                    <a:pt x="3503" y="3539"/>
                  </a:lnTo>
                  <a:lnTo>
                    <a:pt x="3493" y="3538"/>
                  </a:lnTo>
                  <a:lnTo>
                    <a:pt x="3482" y="3538"/>
                  </a:lnTo>
                  <a:lnTo>
                    <a:pt x="2635" y="3538"/>
                  </a:lnTo>
                  <a:lnTo>
                    <a:pt x="1789" y="3538"/>
                  </a:lnTo>
                  <a:lnTo>
                    <a:pt x="942" y="3538"/>
                  </a:lnTo>
                  <a:lnTo>
                    <a:pt x="96" y="3538"/>
                  </a:lnTo>
                  <a:lnTo>
                    <a:pt x="85" y="3538"/>
                  </a:lnTo>
                  <a:lnTo>
                    <a:pt x="75" y="3539"/>
                  </a:lnTo>
                  <a:lnTo>
                    <a:pt x="66" y="3542"/>
                  </a:lnTo>
                  <a:lnTo>
                    <a:pt x="58" y="3545"/>
                  </a:lnTo>
                  <a:lnTo>
                    <a:pt x="49" y="3549"/>
                  </a:lnTo>
                  <a:lnTo>
                    <a:pt x="41" y="3554"/>
                  </a:lnTo>
                  <a:lnTo>
                    <a:pt x="33" y="3559"/>
                  </a:lnTo>
                  <a:lnTo>
                    <a:pt x="27" y="3565"/>
                  </a:lnTo>
                  <a:lnTo>
                    <a:pt x="21" y="3572"/>
                  </a:lnTo>
                  <a:lnTo>
                    <a:pt x="16" y="3579"/>
                  </a:lnTo>
                  <a:lnTo>
                    <a:pt x="11" y="3587"/>
                  </a:lnTo>
                  <a:lnTo>
                    <a:pt x="8" y="3595"/>
                  </a:lnTo>
                  <a:lnTo>
                    <a:pt x="4" y="3605"/>
                  </a:lnTo>
                  <a:lnTo>
                    <a:pt x="2" y="3614"/>
                  </a:lnTo>
                  <a:lnTo>
                    <a:pt x="1" y="3624"/>
                  </a:lnTo>
                  <a:lnTo>
                    <a:pt x="0" y="3634"/>
                  </a:lnTo>
                  <a:lnTo>
                    <a:pt x="0" y="3899"/>
                  </a:lnTo>
                  <a:close/>
                  <a:moveTo>
                    <a:pt x="0" y="361"/>
                  </a:moveTo>
                  <a:lnTo>
                    <a:pt x="1" y="371"/>
                  </a:lnTo>
                  <a:lnTo>
                    <a:pt x="2" y="381"/>
                  </a:lnTo>
                  <a:lnTo>
                    <a:pt x="4" y="391"/>
                  </a:lnTo>
                  <a:lnTo>
                    <a:pt x="8" y="400"/>
                  </a:lnTo>
                  <a:lnTo>
                    <a:pt x="11" y="409"/>
                  </a:lnTo>
                  <a:lnTo>
                    <a:pt x="16" y="416"/>
                  </a:lnTo>
                  <a:lnTo>
                    <a:pt x="21" y="423"/>
                  </a:lnTo>
                  <a:lnTo>
                    <a:pt x="27" y="430"/>
                  </a:lnTo>
                  <a:lnTo>
                    <a:pt x="33" y="436"/>
                  </a:lnTo>
                  <a:lnTo>
                    <a:pt x="41" y="441"/>
                  </a:lnTo>
                  <a:lnTo>
                    <a:pt x="49" y="446"/>
                  </a:lnTo>
                  <a:lnTo>
                    <a:pt x="58" y="450"/>
                  </a:lnTo>
                  <a:lnTo>
                    <a:pt x="66" y="453"/>
                  </a:lnTo>
                  <a:lnTo>
                    <a:pt x="75" y="455"/>
                  </a:lnTo>
                  <a:lnTo>
                    <a:pt x="85" y="456"/>
                  </a:lnTo>
                  <a:lnTo>
                    <a:pt x="96" y="456"/>
                  </a:lnTo>
                  <a:lnTo>
                    <a:pt x="942" y="456"/>
                  </a:lnTo>
                  <a:lnTo>
                    <a:pt x="1789" y="456"/>
                  </a:lnTo>
                  <a:lnTo>
                    <a:pt x="2635" y="456"/>
                  </a:lnTo>
                  <a:lnTo>
                    <a:pt x="3482" y="456"/>
                  </a:lnTo>
                  <a:lnTo>
                    <a:pt x="3493" y="456"/>
                  </a:lnTo>
                  <a:lnTo>
                    <a:pt x="3503" y="455"/>
                  </a:lnTo>
                  <a:lnTo>
                    <a:pt x="3512" y="453"/>
                  </a:lnTo>
                  <a:lnTo>
                    <a:pt x="3521" y="450"/>
                  </a:lnTo>
                  <a:lnTo>
                    <a:pt x="3529" y="446"/>
                  </a:lnTo>
                  <a:lnTo>
                    <a:pt x="3537" y="441"/>
                  </a:lnTo>
                  <a:lnTo>
                    <a:pt x="3545" y="436"/>
                  </a:lnTo>
                  <a:lnTo>
                    <a:pt x="3552" y="430"/>
                  </a:lnTo>
                  <a:lnTo>
                    <a:pt x="3557" y="423"/>
                  </a:lnTo>
                  <a:lnTo>
                    <a:pt x="3563" y="416"/>
                  </a:lnTo>
                  <a:lnTo>
                    <a:pt x="3567" y="409"/>
                  </a:lnTo>
                  <a:lnTo>
                    <a:pt x="3572" y="400"/>
                  </a:lnTo>
                  <a:lnTo>
                    <a:pt x="3574" y="391"/>
                  </a:lnTo>
                  <a:lnTo>
                    <a:pt x="3576" y="381"/>
                  </a:lnTo>
                  <a:lnTo>
                    <a:pt x="3577" y="371"/>
                  </a:lnTo>
                  <a:lnTo>
                    <a:pt x="3578" y="361"/>
                  </a:lnTo>
                  <a:lnTo>
                    <a:pt x="3578" y="95"/>
                  </a:lnTo>
                  <a:lnTo>
                    <a:pt x="3577" y="85"/>
                  </a:lnTo>
                  <a:lnTo>
                    <a:pt x="3576" y="75"/>
                  </a:lnTo>
                  <a:lnTo>
                    <a:pt x="3574" y="65"/>
                  </a:lnTo>
                  <a:lnTo>
                    <a:pt x="3572" y="57"/>
                  </a:lnTo>
                  <a:lnTo>
                    <a:pt x="3567" y="49"/>
                  </a:lnTo>
                  <a:lnTo>
                    <a:pt x="3563" y="41"/>
                  </a:lnTo>
                  <a:lnTo>
                    <a:pt x="3557" y="33"/>
                  </a:lnTo>
                  <a:lnTo>
                    <a:pt x="3552" y="27"/>
                  </a:lnTo>
                  <a:lnTo>
                    <a:pt x="3545" y="20"/>
                  </a:lnTo>
                  <a:lnTo>
                    <a:pt x="3537" y="16"/>
                  </a:lnTo>
                  <a:lnTo>
                    <a:pt x="3529" y="11"/>
                  </a:lnTo>
                  <a:lnTo>
                    <a:pt x="3521" y="7"/>
                  </a:lnTo>
                  <a:lnTo>
                    <a:pt x="3512" y="3"/>
                  </a:lnTo>
                  <a:lnTo>
                    <a:pt x="3503" y="1"/>
                  </a:lnTo>
                  <a:lnTo>
                    <a:pt x="3493" y="0"/>
                  </a:lnTo>
                  <a:lnTo>
                    <a:pt x="3482" y="0"/>
                  </a:lnTo>
                  <a:lnTo>
                    <a:pt x="2635" y="0"/>
                  </a:lnTo>
                  <a:lnTo>
                    <a:pt x="1789" y="0"/>
                  </a:lnTo>
                  <a:lnTo>
                    <a:pt x="942" y="0"/>
                  </a:lnTo>
                  <a:lnTo>
                    <a:pt x="96" y="0"/>
                  </a:lnTo>
                  <a:lnTo>
                    <a:pt x="85" y="0"/>
                  </a:lnTo>
                  <a:lnTo>
                    <a:pt x="75" y="1"/>
                  </a:lnTo>
                  <a:lnTo>
                    <a:pt x="66" y="3"/>
                  </a:lnTo>
                  <a:lnTo>
                    <a:pt x="58" y="7"/>
                  </a:lnTo>
                  <a:lnTo>
                    <a:pt x="49" y="11"/>
                  </a:lnTo>
                  <a:lnTo>
                    <a:pt x="41" y="16"/>
                  </a:lnTo>
                  <a:lnTo>
                    <a:pt x="33" y="20"/>
                  </a:lnTo>
                  <a:lnTo>
                    <a:pt x="27" y="27"/>
                  </a:lnTo>
                  <a:lnTo>
                    <a:pt x="21" y="33"/>
                  </a:lnTo>
                  <a:lnTo>
                    <a:pt x="16" y="41"/>
                  </a:lnTo>
                  <a:lnTo>
                    <a:pt x="11" y="49"/>
                  </a:lnTo>
                  <a:lnTo>
                    <a:pt x="8" y="57"/>
                  </a:lnTo>
                  <a:lnTo>
                    <a:pt x="4" y="65"/>
                  </a:lnTo>
                  <a:lnTo>
                    <a:pt x="2" y="75"/>
                  </a:lnTo>
                  <a:lnTo>
                    <a:pt x="1" y="85"/>
                  </a:lnTo>
                  <a:lnTo>
                    <a:pt x="0" y="95"/>
                  </a:lnTo>
                  <a:lnTo>
                    <a:pt x="0" y="36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Skatta Sans Regular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32857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lhue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48A04CE7-E1AA-4735-837D-1EEC790C1912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RIA - RKL yrittäjäpäivä 1.11.202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0148927-3435-4F7D-ABDF-7627D06F6934}"/>
              </a:ext>
            </a:extLst>
          </p:cNvPr>
          <p:cNvGrpSpPr/>
          <p:nvPr userDrawn="1"/>
        </p:nvGrpSpPr>
        <p:grpSpPr>
          <a:xfrm>
            <a:off x="0" y="4077072"/>
            <a:ext cx="9874285" cy="1872000"/>
            <a:chOff x="0" y="4077072"/>
            <a:chExt cx="9874285" cy="1872000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3D5CA6BC-B95B-4DCC-A876-2FE4BFA44B58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0" y="4077072"/>
              <a:ext cx="9874285" cy="1872000"/>
            </a:xfrm>
            <a:custGeom>
              <a:avLst/>
              <a:gdLst>
                <a:gd name="T0" fmla="*/ 10894 w 23040"/>
                <a:gd name="T1" fmla="*/ 3037 h 4369"/>
                <a:gd name="T2" fmla="*/ 10931 w 23040"/>
                <a:gd name="T3" fmla="*/ 2661 h 4369"/>
                <a:gd name="T4" fmla="*/ 13479 w 23040"/>
                <a:gd name="T5" fmla="*/ 2241 h 4369"/>
                <a:gd name="T6" fmla="*/ 12981 w 23040"/>
                <a:gd name="T7" fmla="*/ 1865 h 4369"/>
                <a:gd name="T8" fmla="*/ 13222 w 23040"/>
                <a:gd name="T9" fmla="*/ 1543 h 4369"/>
                <a:gd name="T10" fmla="*/ 13525 w 23040"/>
                <a:gd name="T11" fmla="*/ 3907 h 4369"/>
                <a:gd name="T12" fmla="*/ 12729 w 23040"/>
                <a:gd name="T13" fmla="*/ 3813 h 4369"/>
                <a:gd name="T14" fmla="*/ 10912 w 23040"/>
                <a:gd name="T15" fmla="*/ 2402 h 4369"/>
                <a:gd name="T16" fmla="*/ 16652 w 23040"/>
                <a:gd name="T17" fmla="*/ 970 h 4369"/>
                <a:gd name="T18" fmla="*/ 16232 w 23040"/>
                <a:gd name="T19" fmla="*/ 332 h 4369"/>
                <a:gd name="T20" fmla="*/ 15103 w 23040"/>
                <a:gd name="T21" fmla="*/ 2262 h 4369"/>
                <a:gd name="T22" fmla="*/ 12814 w 23040"/>
                <a:gd name="T23" fmla="*/ 2991 h 4369"/>
                <a:gd name="T24" fmla="*/ 11678 w 23040"/>
                <a:gd name="T25" fmla="*/ 3172 h 4369"/>
                <a:gd name="T26" fmla="*/ 12355 w 23040"/>
                <a:gd name="T27" fmla="*/ 2838 h 4369"/>
                <a:gd name="T28" fmla="*/ 12184 w 23040"/>
                <a:gd name="T29" fmla="*/ 4304 h 4369"/>
                <a:gd name="T30" fmla="*/ 11739 w 23040"/>
                <a:gd name="T31" fmla="*/ 2627 h 4369"/>
                <a:gd name="T32" fmla="*/ 11666 w 23040"/>
                <a:gd name="T33" fmla="*/ 2291 h 4369"/>
                <a:gd name="T34" fmla="*/ 11184 w 23040"/>
                <a:gd name="T35" fmla="*/ 3107 h 4369"/>
                <a:gd name="T36" fmla="*/ 11469 w 23040"/>
                <a:gd name="T37" fmla="*/ 1044 h 4369"/>
                <a:gd name="T38" fmla="*/ 13150 w 23040"/>
                <a:gd name="T39" fmla="*/ 754 h 4369"/>
                <a:gd name="T40" fmla="*/ 16863 w 23040"/>
                <a:gd name="T41" fmla="*/ 4331 h 4369"/>
                <a:gd name="T42" fmla="*/ 14362 w 23040"/>
                <a:gd name="T43" fmla="*/ 3771 h 4369"/>
                <a:gd name="T44" fmla="*/ 14362 w 23040"/>
                <a:gd name="T45" fmla="*/ 3373 h 4369"/>
                <a:gd name="T46" fmla="*/ 14105 w 23040"/>
                <a:gd name="T47" fmla="*/ 3277 h 4369"/>
                <a:gd name="T48" fmla="*/ 14091 w 23040"/>
                <a:gd name="T49" fmla="*/ 2881 h 4369"/>
                <a:gd name="T50" fmla="*/ 20731 w 23040"/>
                <a:gd name="T51" fmla="*/ 4008 h 4369"/>
                <a:gd name="T52" fmla="*/ 19002 w 23040"/>
                <a:gd name="T53" fmla="*/ 3795 h 4369"/>
                <a:gd name="T54" fmla="*/ 19052 w 23040"/>
                <a:gd name="T55" fmla="*/ 3549 h 4369"/>
                <a:gd name="T56" fmla="*/ 19727 w 23040"/>
                <a:gd name="T57" fmla="*/ 3547 h 4369"/>
                <a:gd name="T58" fmla="*/ 21772 w 23040"/>
                <a:gd name="T59" fmla="*/ 1759 h 4369"/>
                <a:gd name="T60" fmla="*/ 20169 w 23040"/>
                <a:gd name="T61" fmla="*/ 1874 h 4369"/>
                <a:gd name="T62" fmla="*/ 18388 w 23040"/>
                <a:gd name="T63" fmla="*/ 2546 h 4369"/>
                <a:gd name="T64" fmla="*/ 19509 w 23040"/>
                <a:gd name="T65" fmla="*/ 3625 h 4369"/>
                <a:gd name="T66" fmla="*/ 18969 w 23040"/>
                <a:gd name="T67" fmla="*/ 3381 h 4369"/>
                <a:gd name="T68" fmla="*/ 2798 w 23040"/>
                <a:gd name="T69" fmla="*/ 3193 h 4369"/>
                <a:gd name="T70" fmla="*/ 440 w 23040"/>
                <a:gd name="T71" fmla="*/ 2751 h 4369"/>
                <a:gd name="T72" fmla="*/ 2868 w 23040"/>
                <a:gd name="T73" fmla="*/ 4141 h 4369"/>
                <a:gd name="T74" fmla="*/ 837 w 23040"/>
                <a:gd name="T75" fmla="*/ 3250 h 4369"/>
                <a:gd name="T76" fmla="*/ 823 w 23040"/>
                <a:gd name="T77" fmla="*/ 3336 h 4369"/>
                <a:gd name="T78" fmla="*/ 1107 w 23040"/>
                <a:gd name="T79" fmla="*/ 3717 h 4369"/>
                <a:gd name="T80" fmla="*/ 1080 w 23040"/>
                <a:gd name="T81" fmla="*/ 3810 h 4369"/>
                <a:gd name="T82" fmla="*/ 188 w 23040"/>
                <a:gd name="T83" fmla="*/ 1799 h 4369"/>
                <a:gd name="T84" fmla="*/ 2556 w 23040"/>
                <a:gd name="T85" fmla="*/ 2016 h 4369"/>
                <a:gd name="T86" fmla="*/ 2583 w 23040"/>
                <a:gd name="T87" fmla="*/ 2578 h 4369"/>
                <a:gd name="T88" fmla="*/ 8182 w 23040"/>
                <a:gd name="T89" fmla="*/ 2792 h 4369"/>
                <a:gd name="T90" fmla="*/ 9070 w 23040"/>
                <a:gd name="T91" fmla="*/ 2753 h 4369"/>
                <a:gd name="T92" fmla="*/ 6863 w 23040"/>
                <a:gd name="T93" fmla="*/ 2176 h 4369"/>
                <a:gd name="T94" fmla="*/ 6215 w 23040"/>
                <a:gd name="T95" fmla="*/ 2702 h 4369"/>
                <a:gd name="T96" fmla="*/ 7097 w 23040"/>
                <a:gd name="T97" fmla="*/ 2957 h 4369"/>
                <a:gd name="T98" fmla="*/ 6454 w 23040"/>
                <a:gd name="T99" fmla="*/ 3498 h 4369"/>
                <a:gd name="T100" fmla="*/ 6384 w 23040"/>
                <a:gd name="T101" fmla="*/ 4003 h 4369"/>
                <a:gd name="T102" fmla="*/ 8037 w 23040"/>
                <a:gd name="T103" fmla="*/ 2925 h 4369"/>
                <a:gd name="T104" fmla="*/ 8332 w 23040"/>
                <a:gd name="T105" fmla="*/ 3308 h 4369"/>
                <a:gd name="T106" fmla="*/ 8296 w 23040"/>
                <a:gd name="T107" fmla="*/ 3424 h 4369"/>
                <a:gd name="T108" fmla="*/ 8598 w 23040"/>
                <a:gd name="T109" fmla="*/ 3792 h 4369"/>
                <a:gd name="T110" fmla="*/ 5650 w 23040"/>
                <a:gd name="T111" fmla="*/ 1956 h 4369"/>
                <a:gd name="T112" fmla="*/ 8119 w 23040"/>
                <a:gd name="T113" fmla="*/ 245 h 4369"/>
                <a:gd name="T114" fmla="*/ 4680 w 23040"/>
                <a:gd name="T115" fmla="*/ 942 h 4369"/>
                <a:gd name="T116" fmla="*/ 5027 w 23040"/>
                <a:gd name="T117" fmla="*/ 2616 h 4369"/>
                <a:gd name="T118" fmla="*/ 4991 w 23040"/>
                <a:gd name="T119" fmla="*/ 2732 h 4369"/>
                <a:gd name="T120" fmla="*/ 5292 w 23040"/>
                <a:gd name="T121" fmla="*/ 3101 h 4369"/>
                <a:gd name="T122" fmla="*/ 5252 w 23040"/>
                <a:gd name="T123" fmla="*/ 3235 h 4369"/>
                <a:gd name="T124" fmla="*/ 3326 w 23040"/>
                <a:gd name="T125" fmla="*/ 3951 h 4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040" h="4369">
                  <a:moveTo>
                    <a:pt x="10933" y="3163"/>
                  </a:moveTo>
                  <a:lnTo>
                    <a:pt x="10933" y="3274"/>
                  </a:lnTo>
                  <a:lnTo>
                    <a:pt x="10931" y="3283"/>
                  </a:lnTo>
                  <a:lnTo>
                    <a:pt x="10926" y="3290"/>
                  </a:lnTo>
                  <a:lnTo>
                    <a:pt x="10920" y="3294"/>
                  </a:lnTo>
                  <a:lnTo>
                    <a:pt x="10912" y="3295"/>
                  </a:lnTo>
                  <a:lnTo>
                    <a:pt x="10906" y="3294"/>
                  </a:lnTo>
                  <a:lnTo>
                    <a:pt x="10899" y="3290"/>
                  </a:lnTo>
                  <a:lnTo>
                    <a:pt x="10894" y="3283"/>
                  </a:lnTo>
                  <a:lnTo>
                    <a:pt x="10893" y="3274"/>
                  </a:lnTo>
                  <a:lnTo>
                    <a:pt x="10893" y="3163"/>
                  </a:lnTo>
                  <a:lnTo>
                    <a:pt x="10894" y="3154"/>
                  </a:lnTo>
                  <a:lnTo>
                    <a:pt x="10899" y="3148"/>
                  </a:lnTo>
                  <a:lnTo>
                    <a:pt x="10906" y="3144"/>
                  </a:lnTo>
                  <a:lnTo>
                    <a:pt x="10912" y="3143"/>
                  </a:lnTo>
                  <a:lnTo>
                    <a:pt x="10920" y="3144"/>
                  </a:lnTo>
                  <a:lnTo>
                    <a:pt x="10926" y="3148"/>
                  </a:lnTo>
                  <a:lnTo>
                    <a:pt x="10931" y="3154"/>
                  </a:lnTo>
                  <a:lnTo>
                    <a:pt x="10933" y="3163"/>
                  </a:lnTo>
                  <a:close/>
                  <a:moveTo>
                    <a:pt x="10670" y="3163"/>
                  </a:moveTo>
                  <a:lnTo>
                    <a:pt x="10670" y="3274"/>
                  </a:lnTo>
                  <a:lnTo>
                    <a:pt x="10669" y="3283"/>
                  </a:lnTo>
                  <a:lnTo>
                    <a:pt x="10663" y="3290"/>
                  </a:lnTo>
                  <a:lnTo>
                    <a:pt x="10657" y="3294"/>
                  </a:lnTo>
                  <a:lnTo>
                    <a:pt x="10649" y="3295"/>
                  </a:lnTo>
                  <a:lnTo>
                    <a:pt x="10643" y="3294"/>
                  </a:lnTo>
                  <a:lnTo>
                    <a:pt x="10637" y="3290"/>
                  </a:lnTo>
                  <a:lnTo>
                    <a:pt x="10631" y="3283"/>
                  </a:lnTo>
                  <a:lnTo>
                    <a:pt x="10630" y="3274"/>
                  </a:lnTo>
                  <a:lnTo>
                    <a:pt x="10630" y="3163"/>
                  </a:lnTo>
                  <a:lnTo>
                    <a:pt x="10631" y="3154"/>
                  </a:lnTo>
                  <a:lnTo>
                    <a:pt x="10637" y="3148"/>
                  </a:lnTo>
                  <a:lnTo>
                    <a:pt x="10643" y="3144"/>
                  </a:lnTo>
                  <a:lnTo>
                    <a:pt x="10649" y="3143"/>
                  </a:lnTo>
                  <a:lnTo>
                    <a:pt x="10657" y="3144"/>
                  </a:lnTo>
                  <a:lnTo>
                    <a:pt x="10663" y="3148"/>
                  </a:lnTo>
                  <a:lnTo>
                    <a:pt x="10669" y="3154"/>
                  </a:lnTo>
                  <a:lnTo>
                    <a:pt x="10670" y="3163"/>
                  </a:lnTo>
                  <a:close/>
                  <a:moveTo>
                    <a:pt x="10407" y="3163"/>
                  </a:moveTo>
                  <a:lnTo>
                    <a:pt x="10407" y="3274"/>
                  </a:lnTo>
                  <a:lnTo>
                    <a:pt x="10404" y="3283"/>
                  </a:lnTo>
                  <a:lnTo>
                    <a:pt x="10401" y="3290"/>
                  </a:lnTo>
                  <a:lnTo>
                    <a:pt x="10394" y="3294"/>
                  </a:lnTo>
                  <a:lnTo>
                    <a:pt x="10386" y="3295"/>
                  </a:lnTo>
                  <a:lnTo>
                    <a:pt x="10379" y="3294"/>
                  </a:lnTo>
                  <a:lnTo>
                    <a:pt x="10372" y="3290"/>
                  </a:lnTo>
                  <a:lnTo>
                    <a:pt x="10369" y="3283"/>
                  </a:lnTo>
                  <a:lnTo>
                    <a:pt x="10366" y="3274"/>
                  </a:lnTo>
                  <a:lnTo>
                    <a:pt x="10366" y="3163"/>
                  </a:lnTo>
                  <a:lnTo>
                    <a:pt x="10369" y="3154"/>
                  </a:lnTo>
                  <a:lnTo>
                    <a:pt x="10372" y="3148"/>
                  </a:lnTo>
                  <a:lnTo>
                    <a:pt x="10379" y="3144"/>
                  </a:lnTo>
                  <a:lnTo>
                    <a:pt x="10386" y="3143"/>
                  </a:lnTo>
                  <a:lnTo>
                    <a:pt x="10394" y="3144"/>
                  </a:lnTo>
                  <a:lnTo>
                    <a:pt x="10401" y="3148"/>
                  </a:lnTo>
                  <a:lnTo>
                    <a:pt x="10404" y="3154"/>
                  </a:lnTo>
                  <a:lnTo>
                    <a:pt x="10407" y="3163"/>
                  </a:lnTo>
                  <a:close/>
                  <a:moveTo>
                    <a:pt x="10143" y="3163"/>
                  </a:moveTo>
                  <a:lnTo>
                    <a:pt x="10143" y="3274"/>
                  </a:lnTo>
                  <a:lnTo>
                    <a:pt x="10142" y="3283"/>
                  </a:lnTo>
                  <a:lnTo>
                    <a:pt x="10138" y="3290"/>
                  </a:lnTo>
                  <a:lnTo>
                    <a:pt x="10131" y="3294"/>
                  </a:lnTo>
                  <a:lnTo>
                    <a:pt x="10124" y="3295"/>
                  </a:lnTo>
                  <a:lnTo>
                    <a:pt x="10116" y="3294"/>
                  </a:lnTo>
                  <a:lnTo>
                    <a:pt x="10109" y="3290"/>
                  </a:lnTo>
                  <a:lnTo>
                    <a:pt x="10106" y="3283"/>
                  </a:lnTo>
                  <a:lnTo>
                    <a:pt x="10103" y="3274"/>
                  </a:lnTo>
                  <a:lnTo>
                    <a:pt x="10103" y="3163"/>
                  </a:lnTo>
                  <a:lnTo>
                    <a:pt x="10106" y="3154"/>
                  </a:lnTo>
                  <a:lnTo>
                    <a:pt x="10109" y="3148"/>
                  </a:lnTo>
                  <a:lnTo>
                    <a:pt x="10116" y="3144"/>
                  </a:lnTo>
                  <a:lnTo>
                    <a:pt x="10124" y="3143"/>
                  </a:lnTo>
                  <a:lnTo>
                    <a:pt x="10131" y="3144"/>
                  </a:lnTo>
                  <a:lnTo>
                    <a:pt x="10138" y="3148"/>
                  </a:lnTo>
                  <a:lnTo>
                    <a:pt x="10142" y="3154"/>
                  </a:lnTo>
                  <a:lnTo>
                    <a:pt x="10143" y="3163"/>
                  </a:lnTo>
                  <a:close/>
                  <a:moveTo>
                    <a:pt x="9880" y="3163"/>
                  </a:moveTo>
                  <a:lnTo>
                    <a:pt x="9880" y="3274"/>
                  </a:lnTo>
                  <a:lnTo>
                    <a:pt x="9879" y="3283"/>
                  </a:lnTo>
                  <a:lnTo>
                    <a:pt x="9874" y="3290"/>
                  </a:lnTo>
                  <a:lnTo>
                    <a:pt x="9867" y="3294"/>
                  </a:lnTo>
                  <a:lnTo>
                    <a:pt x="9861" y="3295"/>
                  </a:lnTo>
                  <a:lnTo>
                    <a:pt x="9853" y="3294"/>
                  </a:lnTo>
                  <a:lnTo>
                    <a:pt x="9847" y="3290"/>
                  </a:lnTo>
                  <a:lnTo>
                    <a:pt x="9841" y="3283"/>
                  </a:lnTo>
                  <a:lnTo>
                    <a:pt x="9840" y="3274"/>
                  </a:lnTo>
                  <a:lnTo>
                    <a:pt x="9840" y="3163"/>
                  </a:lnTo>
                  <a:lnTo>
                    <a:pt x="9841" y="3154"/>
                  </a:lnTo>
                  <a:lnTo>
                    <a:pt x="9847" y="3148"/>
                  </a:lnTo>
                  <a:lnTo>
                    <a:pt x="9853" y="3144"/>
                  </a:lnTo>
                  <a:lnTo>
                    <a:pt x="9861" y="3143"/>
                  </a:lnTo>
                  <a:lnTo>
                    <a:pt x="9867" y="3144"/>
                  </a:lnTo>
                  <a:lnTo>
                    <a:pt x="9874" y="3148"/>
                  </a:lnTo>
                  <a:lnTo>
                    <a:pt x="9879" y="3154"/>
                  </a:lnTo>
                  <a:lnTo>
                    <a:pt x="9880" y="3163"/>
                  </a:lnTo>
                  <a:close/>
                  <a:moveTo>
                    <a:pt x="9617" y="3163"/>
                  </a:moveTo>
                  <a:lnTo>
                    <a:pt x="9617" y="3274"/>
                  </a:lnTo>
                  <a:lnTo>
                    <a:pt x="9616" y="3283"/>
                  </a:lnTo>
                  <a:lnTo>
                    <a:pt x="9611" y="3290"/>
                  </a:lnTo>
                  <a:lnTo>
                    <a:pt x="9604" y="3294"/>
                  </a:lnTo>
                  <a:lnTo>
                    <a:pt x="9598" y="3295"/>
                  </a:lnTo>
                  <a:lnTo>
                    <a:pt x="9590" y="3294"/>
                  </a:lnTo>
                  <a:lnTo>
                    <a:pt x="9584" y="3290"/>
                  </a:lnTo>
                  <a:lnTo>
                    <a:pt x="9579" y="3283"/>
                  </a:lnTo>
                  <a:lnTo>
                    <a:pt x="9577" y="3274"/>
                  </a:lnTo>
                  <a:lnTo>
                    <a:pt x="9577" y="3163"/>
                  </a:lnTo>
                  <a:lnTo>
                    <a:pt x="9579" y="3154"/>
                  </a:lnTo>
                  <a:lnTo>
                    <a:pt x="9584" y="3148"/>
                  </a:lnTo>
                  <a:lnTo>
                    <a:pt x="9590" y="3144"/>
                  </a:lnTo>
                  <a:lnTo>
                    <a:pt x="9598" y="3143"/>
                  </a:lnTo>
                  <a:lnTo>
                    <a:pt x="9604" y="3144"/>
                  </a:lnTo>
                  <a:lnTo>
                    <a:pt x="9611" y="3148"/>
                  </a:lnTo>
                  <a:lnTo>
                    <a:pt x="9616" y="3154"/>
                  </a:lnTo>
                  <a:lnTo>
                    <a:pt x="9617" y="3163"/>
                  </a:lnTo>
                  <a:close/>
                  <a:moveTo>
                    <a:pt x="10933" y="2916"/>
                  </a:moveTo>
                  <a:lnTo>
                    <a:pt x="10933" y="3028"/>
                  </a:lnTo>
                  <a:lnTo>
                    <a:pt x="10931" y="3037"/>
                  </a:lnTo>
                  <a:lnTo>
                    <a:pt x="10926" y="3043"/>
                  </a:lnTo>
                  <a:lnTo>
                    <a:pt x="10920" y="3047"/>
                  </a:lnTo>
                  <a:lnTo>
                    <a:pt x="10912" y="3048"/>
                  </a:lnTo>
                  <a:lnTo>
                    <a:pt x="10906" y="3047"/>
                  </a:lnTo>
                  <a:lnTo>
                    <a:pt x="10899" y="3043"/>
                  </a:lnTo>
                  <a:lnTo>
                    <a:pt x="10894" y="3037"/>
                  </a:lnTo>
                  <a:lnTo>
                    <a:pt x="10893" y="3028"/>
                  </a:lnTo>
                  <a:lnTo>
                    <a:pt x="10893" y="2916"/>
                  </a:lnTo>
                  <a:lnTo>
                    <a:pt x="10894" y="2907"/>
                  </a:lnTo>
                  <a:lnTo>
                    <a:pt x="10899" y="2901"/>
                  </a:lnTo>
                  <a:lnTo>
                    <a:pt x="10906" y="2897"/>
                  </a:lnTo>
                  <a:lnTo>
                    <a:pt x="10912" y="2896"/>
                  </a:lnTo>
                  <a:lnTo>
                    <a:pt x="10920" y="2897"/>
                  </a:lnTo>
                  <a:lnTo>
                    <a:pt x="10926" y="2901"/>
                  </a:lnTo>
                  <a:lnTo>
                    <a:pt x="10931" y="2907"/>
                  </a:lnTo>
                  <a:lnTo>
                    <a:pt x="10933" y="2916"/>
                  </a:lnTo>
                  <a:close/>
                  <a:moveTo>
                    <a:pt x="10670" y="2916"/>
                  </a:moveTo>
                  <a:lnTo>
                    <a:pt x="10670" y="3028"/>
                  </a:lnTo>
                  <a:lnTo>
                    <a:pt x="10669" y="3037"/>
                  </a:lnTo>
                  <a:lnTo>
                    <a:pt x="10663" y="3043"/>
                  </a:lnTo>
                  <a:lnTo>
                    <a:pt x="10657" y="3047"/>
                  </a:lnTo>
                  <a:lnTo>
                    <a:pt x="10649" y="3048"/>
                  </a:lnTo>
                  <a:lnTo>
                    <a:pt x="10643" y="3047"/>
                  </a:lnTo>
                  <a:lnTo>
                    <a:pt x="10637" y="3043"/>
                  </a:lnTo>
                  <a:lnTo>
                    <a:pt x="10631" y="3037"/>
                  </a:lnTo>
                  <a:lnTo>
                    <a:pt x="10630" y="3028"/>
                  </a:lnTo>
                  <a:lnTo>
                    <a:pt x="10630" y="2916"/>
                  </a:lnTo>
                  <a:lnTo>
                    <a:pt x="10631" y="2907"/>
                  </a:lnTo>
                  <a:lnTo>
                    <a:pt x="10637" y="2901"/>
                  </a:lnTo>
                  <a:lnTo>
                    <a:pt x="10643" y="2897"/>
                  </a:lnTo>
                  <a:lnTo>
                    <a:pt x="10649" y="2896"/>
                  </a:lnTo>
                  <a:lnTo>
                    <a:pt x="10657" y="2897"/>
                  </a:lnTo>
                  <a:lnTo>
                    <a:pt x="10663" y="2901"/>
                  </a:lnTo>
                  <a:lnTo>
                    <a:pt x="10669" y="2907"/>
                  </a:lnTo>
                  <a:lnTo>
                    <a:pt x="10670" y="2916"/>
                  </a:lnTo>
                  <a:close/>
                  <a:moveTo>
                    <a:pt x="10407" y="2916"/>
                  </a:moveTo>
                  <a:lnTo>
                    <a:pt x="10407" y="3028"/>
                  </a:lnTo>
                  <a:lnTo>
                    <a:pt x="10404" y="3037"/>
                  </a:lnTo>
                  <a:lnTo>
                    <a:pt x="10401" y="3043"/>
                  </a:lnTo>
                  <a:lnTo>
                    <a:pt x="10394" y="3047"/>
                  </a:lnTo>
                  <a:lnTo>
                    <a:pt x="10386" y="3048"/>
                  </a:lnTo>
                  <a:lnTo>
                    <a:pt x="10379" y="3047"/>
                  </a:lnTo>
                  <a:lnTo>
                    <a:pt x="10372" y="3043"/>
                  </a:lnTo>
                  <a:lnTo>
                    <a:pt x="10369" y="3037"/>
                  </a:lnTo>
                  <a:lnTo>
                    <a:pt x="10366" y="3028"/>
                  </a:lnTo>
                  <a:lnTo>
                    <a:pt x="10366" y="2916"/>
                  </a:lnTo>
                  <a:lnTo>
                    <a:pt x="10369" y="2907"/>
                  </a:lnTo>
                  <a:lnTo>
                    <a:pt x="10372" y="2901"/>
                  </a:lnTo>
                  <a:lnTo>
                    <a:pt x="10379" y="2897"/>
                  </a:lnTo>
                  <a:lnTo>
                    <a:pt x="10386" y="2896"/>
                  </a:lnTo>
                  <a:lnTo>
                    <a:pt x="10394" y="2897"/>
                  </a:lnTo>
                  <a:lnTo>
                    <a:pt x="10401" y="2901"/>
                  </a:lnTo>
                  <a:lnTo>
                    <a:pt x="10404" y="2907"/>
                  </a:lnTo>
                  <a:lnTo>
                    <a:pt x="10407" y="2916"/>
                  </a:lnTo>
                  <a:close/>
                  <a:moveTo>
                    <a:pt x="10143" y="2916"/>
                  </a:moveTo>
                  <a:lnTo>
                    <a:pt x="10143" y="3028"/>
                  </a:lnTo>
                  <a:lnTo>
                    <a:pt x="10142" y="3037"/>
                  </a:lnTo>
                  <a:lnTo>
                    <a:pt x="10138" y="3043"/>
                  </a:lnTo>
                  <a:lnTo>
                    <a:pt x="10131" y="3047"/>
                  </a:lnTo>
                  <a:lnTo>
                    <a:pt x="10124" y="3048"/>
                  </a:lnTo>
                  <a:lnTo>
                    <a:pt x="10116" y="3047"/>
                  </a:lnTo>
                  <a:lnTo>
                    <a:pt x="10109" y="3043"/>
                  </a:lnTo>
                  <a:lnTo>
                    <a:pt x="10106" y="3037"/>
                  </a:lnTo>
                  <a:lnTo>
                    <a:pt x="10103" y="3028"/>
                  </a:lnTo>
                  <a:lnTo>
                    <a:pt x="10103" y="2916"/>
                  </a:lnTo>
                  <a:lnTo>
                    <a:pt x="10106" y="2907"/>
                  </a:lnTo>
                  <a:lnTo>
                    <a:pt x="10109" y="2901"/>
                  </a:lnTo>
                  <a:lnTo>
                    <a:pt x="10116" y="2897"/>
                  </a:lnTo>
                  <a:lnTo>
                    <a:pt x="10124" y="2896"/>
                  </a:lnTo>
                  <a:lnTo>
                    <a:pt x="10131" y="2897"/>
                  </a:lnTo>
                  <a:lnTo>
                    <a:pt x="10138" y="2901"/>
                  </a:lnTo>
                  <a:lnTo>
                    <a:pt x="10142" y="2907"/>
                  </a:lnTo>
                  <a:lnTo>
                    <a:pt x="10143" y="2916"/>
                  </a:lnTo>
                  <a:close/>
                  <a:moveTo>
                    <a:pt x="9880" y="2916"/>
                  </a:moveTo>
                  <a:lnTo>
                    <a:pt x="9880" y="3028"/>
                  </a:lnTo>
                  <a:lnTo>
                    <a:pt x="9879" y="3037"/>
                  </a:lnTo>
                  <a:lnTo>
                    <a:pt x="9874" y="3043"/>
                  </a:lnTo>
                  <a:lnTo>
                    <a:pt x="9867" y="3047"/>
                  </a:lnTo>
                  <a:lnTo>
                    <a:pt x="9861" y="3048"/>
                  </a:lnTo>
                  <a:lnTo>
                    <a:pt x="9853" y="3047"/>
                  </a:lnTo>
                  <a:lnTo>
                    <a:pt x="9847" y="3043"/>
                  </a:lnTo>
                  <a:lnTo>
                    <a:pt x="9841" y="3037"/>
                  </a:lnTo>
                  <a:lnTo>
                    <a:pt x="9840" y="3028"/>
                  </a:lnTo>
                  <a:lnTo>
                    <a:pt x="9840" y="2916"/>
                  </a:lnTo>
                  <a:lnTo>
                    <a:pt x="9841" y="2907"/>
                  </a:lnTo>
                  <a:lnTo>
                    <a:pt x="9847" y="2901"/>
                  </a:lnTo>
                  <a:lnTo>
                    <a:pt x="9853" y="2897"/>
                  </a:lnTo>
                  <a:lnTo>
                    <a:pt x="9861" y="2896"/>
                  </a:lnTo>
                  <a:lnTo>
                    <a:pt x="9867" y="2897"/>
                  </a:lnTo>
                  <a:lnTo>
                    <a:pt x="9874" y="2901"/>
                  </a:lnTo>
                  <a:lnTo>
                    <a:pt x="9879" y="2907"/>
                  </a:lnTo>
                  <a:lnTo>
                    <a:pt x="9880" y="2916"/>
                  </a:lnTo>
                  <a:close/>
                  <a:moveTo>
                    <a:pt x="9617" y="2916"/>
                  </a:moveTo>
                  <a:lnTo>
                    <a:pt x="9617" y="3028"/>
                  </a:lnTo>
                  <a:lnTo>
                    <a:pt x="9616" y="3037"/>
                  </a:lnTo>
                  <a:lnTo>
                    <a:pt x="9611" y="3043"/>
                  </a:lnTo>
                  <a:lnTo>
                    <a:pt x="9604" y="3047"/>
                  </a:lnTo>
                  <a:lnTo>
                    <a:pt x="9598" y="3048"/>
                  </a:lnTo>
                  <a:lnTo>
                    <a:pt x="9590" y="3047"/>
                  </a:lnTo>
                  <a:lnTo>
                    <a:pt x="9584" y="3043"/>
                  </a:lnTo>
                  <a:lnTo>
                    <a:pt x="9579" y="3037"/>
                  </a:lnTo>
                  <a:lnTo>
                    <a:pt x="9577" y="3028"/>
                  </a:lnTo>
                  <a:lnTo>
                    <a:pt x="9577" y="2916"/>
                  </a:lnTo>
                  <a:lnTo>
                    <a:pt x="9579" y="2907"/>
                  </a:lnTo>
                  <a:lnTo>
                    <a:pt x="9584" y="2901"/>
                  </a:lnTo>
                  <a:lnTo>
                    <a:pt x="9590" y="2897"/>
                  </a:lnTo>
                  <a:lnTo>
                    <a:pt x="9598" y="2896"/>
                  </a:lnTo>
                  <a:lnTo>
                    <a:pt x="9604" y="2897"/>
                  </a:lnTo>
                  <a:lnTo>
                    <a:pt x="9611" y="2901"/>
                  </a:lnTo>
                  <a:lnTo>
                    <a:pt x="9616" y="2907"/>
                  </a:lnTo>
                  <a:lnTo>
                    <a:pt x="9617" y="2916"/>
                  </a:lnTo>
                  <a:close/>
                  <a:moveTo>
                    <a:pt x="10933" y="2670"/>
                  </a:moveTo>
                  <a:lnTo>
                    <a:pt x="10933" y="2782"/>
                  </a:lnTo>
                  <a:lnTo>
                    <a:pt x="10931" y="2790"/>
                  </a:lnTo>
                  <a:lnTo>
                    <a:pt x="10926" y="2796"/>
                  </a:lnTo>
                  <a:lnTo>
                    <a:pt x="10920" y="2800"/>
                  </a:lnTo>
                  <a:lnTo>
                    <a:pt x="10912" y="2801"/>
                  </a:lnTo>
                  <a:lnTo>
                    <a:pt x="10906" y="2800"/>
                  </a:lnTo>
                  <a:lnTo>
                    <a:pt x="10899" y="2796"/>
                  </a:lnTo>
                  <a:lnTo>
                    <a:pt x="10894" y="2790"/>
                  </a:lnTo>
                  <a:lnTo>
                    <a:pt x="10893" y="2782"/>
                  </a:lnTo>
                  <a:lnTo>
                    <a:pt x="10893" y="2670"/>
                  </a:lnTo>
                  <a:lnTo>
                    <a:pt x="10894" y="2661"/>
                  </a:lnTo>
                  <a:lnTo>
                    <a:pt x="10899" y="2654"/>
                  </a:lnTo>
                  <a:lnTo>
                    <a:pt x="10906" y="2650"/>
                  </a:lnTo>
                  <a:lnTo>
                    <a:pt x="10912" y="2649"/>
                  </a:lnTo>
                  <a:lnTo>
                    <a:pt x="10920" y="2650"/>
                  </a:lnTo>
                  <a:lnTo>
                    <a:pt x="10926" y="2654"/>
                  </a:lnTo>
                  <a:lnTo>
                    <a:pt x="10931" y="2661"/>
                  </a:lnTo>
                  <a:lnTo>
                    <a:pt x="10933" y="2670"/>
                  </a:lnTo>
                  <a:close/>
                  <a:moveTo>
                    <a:pt x="10670" y="2670"/>
                  </a:moveTo>
                  <a:lnTo>
                    <a:pt x="10670" y="2782"/>
                  </a:lnTo>
                  <a:lnTo>
                    <a:pt x="10669" y="2790"/>
                  </a:lnTo>
                  <a:lnTo>
                    <a:pt x="10663" y="2796"/>
                  </a:lnTo>
                  <a:lnTo>
                    <a:pt x="10657" y="2800"/>
                  </a:lnTo>
                  <a:lnTo>
                    <a:pt x="10649" y="2801"/>
                  </a:lnTo>
                  <a:lnTo>
                    <a:pt x="10643" y="2800"/>
                  </a:lnTo>
                  <a:lnTo>
                    <a:pt x="10637" y="2796"/>
                  </a:lnTo>
                  <a:lnTo>
                    <a:pt x="10631" y="2790"/>
                  </a:lnTo>
                  <a:lnTo>
                    <a:pt x="10630" y="2782"/>
                  </a:lnTo>
                  <a:lnTo>
                    <a:pt x="10630" y="2670"/>
                  </a:lnTo>
                  <a:lnTo>
                    <a:pt x="10631" y="2661"/>
                  </a:lnTo>
                  <a:lnTo>
                    <a:pt x="10637" y="2654"/>
                  </a:lnTo>
                  <a:lnTo>
                    <a:pt x="10643" y="2650"/>
                  </a:lnTo>
                  <a:lnTo>
                    <a:pt x="10649" y="2649"/>
                  </a:lnTo>
                  <a:lnTo>
                    <a:pt x="10657" y="2650"/>
                  </a:lnTo>
                  <a:lnTo>
                    <a:pt x="10663" y="2654"/>
                  </a:lnTo>
                  <a:lnTo>
                    <a:pt x="10669" y="2661"/>
                  </a:lnTo>
                  <a:lnTo>
                    <a:pt x="10670" y="2670"/>
                  </a:lnTo>
                  <a:close/>
                  <a:moveTo>
                    <a:pt x="10407" y="2670"/>
                  </a:moveTo>
                  <a:lnTo>
                    <a:pt x="10407" y="2782"/>
                  </a:lnTo>
                  <a:lnTo>
                    <a:pt x="10404" y="2790"/>
                  </a:lnTo>
                  <a:lnTo>
                    <a:pt x="10401" y="2796"/>
                  </a:lnTo>
                  <a:lnTo>
                    <a:pt x="10394" y="2800"/>
                  </a:lnTo>
                  <a:lnTo>
                    <a:pt x="10386" y="2801"/>
                  </a:lnTo>
                  <a:lnTo>
                    <a:pt x="10379" y="2800"/>
                  </a:lnTo>
                  <a:lnTo>
                    <a:pt x="10372" y="2796"/>
                  </a:lnTo>
                  <a:lnTo>
                    <a:pt x="10369" y="2790"/>
                  </a:lnTo>
                  <a:lnTo>
                    <a:pt x="10366" y="2782"/>
                  </a:lnTo>
                  <a:lnTo>
                    <a:pt x="10366" y="2670"/>
                  </a:lnTo>
                  <a:lnTo>
                    <a:pt x="10369" y="2661"/>
                  </a:lnTo>
                  <a:lnTo>
                    <a:pt x="10372" y="2654"/>
                  </a:lnTo>
                  <a:lnTo>
                    <a:pt x="10379" y="2650"/>
                  </a:lnTo>
                  <a:lnTo>
                    <a:pt x="10386" y="2649"/>
                  </a:lnTo>
                  <a:lnTo>
                    <a:pt x="10394" y="2650"/>
                  </a:lnTo>
                  <a:lnTo>
                    <a:pt x="10401" y="2654"/>
                  </a:lnTo>
                  <a:lnTo>
                    <a:pt x="10404" y="2661"/>
                  </a:lnTo>
                  <a:lnTo>
                    <a:pt x="10407" y="2670"/>
                  </a:lnTo>
                  <a:close/>
                  <a:moveTo>
                    <a:pt x="10143" y="2670"/>
                  </a:moveTo>
                  <a:lnTo>
                    <a:pt x="10143" y="2782"/>
                  </a:lnTo>
                  <a:lnTo>
                    <a:pt x="10142" y="2790"/>
                  </a:lnTo>
                  <a:lnTo>
                    <a:pt x="10138" y="2796"/>
                  </a:lnTo>
                  <a:lnTo>
                    <a:pt x="10131" y="2800"/>
                  </a:lnTo>
                  <a:lnTo>
                    <a:pt x="10124" y="2801"/>
                  </a:lnTo>
                  <a:lnTo>
                    <a:pt x="10116" y="2800"/>
                  </a:lnTo>
                  <a:lnTo>
                    <a:pt x="10109" y="2796"/>
                  </a:lnTo>
                  <a:lnTo>
                    <a:pt x="10106" y="2790"/>
                  </a:lnTo>
                  <a:lnTo>
                    <a:pt x="10103" y="2782"/>
                  </a:lnTo>
                  <a:lnTo>
                    <a:pt x="10103" y="2670"/>
                  </a:lnTo>
                  <a:lnTo>
                    <a:pt x="10106" y="2661"/>
                  </a:lnTo>
                  <a:lnTo>
                    <a:pt x="10109" y="2654"/>
                  </a:lnTo>
                  <a:lnTo>
                    <a:pt x="10116" y="2650"/>
                  </a:lnTo>
                  <a:lnTo>
                    <a:pt x="10124" y="2649"/>
                  </a:lnTo>
                  <a:lnTo>
                    <a:pt x="10131" y="2650"/>
                  </a:lnTo>
                  <a:lnTo>
                    <a:pt x="10138" y="2654"/>
                  </a:lnTo>
                  <a:lnTo>
                    <a:pt x="10142" y="2661"/>
                  </a:lnTo>
                  <a:lnTo>
                    <a:pt x="10143" y="2670"/>
                  </a:lnTo>
                  <a:close/>
                  <a:moveTo>
                    <a:pt x="9880" y="2670"/>
                  </a:moveTo>
                  <a:lnTo>
                    <a:pt x="9880" y="2782"/>
                  </a:lnTo>
                  <a:lnTo>
                    <a:pt x="9879" y="2790"/>
                  </a:lnTo>
                  <a:lnTo>
                    <a:pt x="9874" y="2796"/>
                  </a:lnTo>
                  <a:lnTo>
                    <a:pt x="9867" y="2800"/>
                  </a:lnTo>
                  <a:lnTo>
                    <a:pt x="9861" y="2801"/>
                  </a:lnTo>
                  <a:lnTo>
                    <a:pt x="9853" y="2800"/>
                  </a:lnTo>
                  <a:lnTo>
                    <a:pt x="9847" y="2796"/>
                  </a:lnTo>
                  <a:lnTo>
                    <a:pt x="9841" y="2790"/>
                  </a:lnTo>
                  <a:lnTo>
                    <a:pt x="9840" y="2782"/>
                  </a:lnTo>
                  <a:lnTo>
                    <a:pt x="9840" y="2670"/>
                  </a:lnTo>
                  <a:lnTo>
                    <a:pt x="9841" y="2661"/>
                  </a:lnTo>
                  <a:lnTo>
                    <a:pt x="9847" y="2654"/>
                  </a:lnTo>
                  <a:lnTo>
                    <a:pt x="9853" y="2650"/>
                  </a:lnTo>
                  <a:lnTo>
                    <a:pt x="9861" y="2649"/>
                  </a:lnTo>
                  <a:lnTo>
                    <a:pt x="9867" y="2650"/>
                  </a:lnTo>
                  <a:lnTo>
                    <a:pt x="9874" y="2654"/>
                  </a:lnTo>
                  <a:lnTo>
                    <a:pt x="9879" y="2661"/>
                  </a:lnTo>
                  <a:lnTo>
                    <a:pt x="9880" y="2670"/>
                  </a:lnTo>
                  <a:close/>
                  <a:moveTo>
                    <a:pt x="9617" y="2670"/>
                  </a:moveTo>
                  <a:lnTo>
                    <a:pt x="9617" y="2782"/>
                  </a:lnTo>
                  <a:lnTo>
                    <a:pt x="9616" y="2790"/>
                  </a:lnTo>
                  <a:lnTo>
                    <a:pt x="9611" y="2796"/>
                  </a:lnTo>
                  <a:lnTo>
                    <a:pt x="9604" y="2800"/>
                  </a:lnTo>
                  <a:lnTo>
                    <a:pt x="9598" y="2801"/>
                  </a:lnTo>
                  <a:lnTo>
                    <a:pt x="9590" y="2800"/>
                  </a:lnTo>
                  <a:lnTo>
                    <a:pt x="9584" y="2796"/>
                  </a:lnTo>
                  <a:lnTo>
                    <a:pt x="9579" y="2790"/>
                  </a:lnTo>
                  <a:lnTo>
                    <a:pt x="9577" y="2782"/>
                  </a:lnTo>
                  <a:lnTo>
                    <a:pt x="9577" y="2670"/>
                  </a:lnTo>
                  <a:lnTo>
                    <a:pt x="9579" y="2661"/>
                  </a:lnTo>
                  <a:lnTo>
                    <a:pt x="9584" y="2654"/>
                  </a:lnTo>
                  <a:lnTo>
                    <a:pt x="9590" y="2650"/>
                  </a:lnTo>
                  <a:lnTo>
                    <a:pt x="9598" y="2649"/>
                  </a:lnTo>
                  <a:lnTo>
                    <a:pt x="9604" y="2650"/>
                  </a:lnTo>
                  <a:lnTo>
                    <a:pt x="9611" y="2654"/>
                  </a:lnTo>
                  <a:lnTo>
                    <a:pt x="9616" y="2661"/>
                  </a:lnTo>
                  <a:lnTo>
                    <a:pt x="9617" y="2670"/>
                  </a:lnTo>
                  <a:close/>
                  <a:moveTo>
                    <a:pt x="13776" y="2113"/>
                  </a:moveTo>
                  <a:lnTo>
                    <a:pt x="13776" y="2226"/>
                  </a:lnTo>
                  <a:lnTo>
                    <a:pt x="13774" y="2235"/>
                  </a:lnTo>
                  <a:lnTo>
                    <a:pt x="13769" y="2241"/>
                  </a:lnTo>
                  <a:lnTo>
                    <a:pt x="13763" y="2245"/>
                  </a:lnTo>
                  <a:lnTo>
                    <a:pt x="13756" y="2246"/>
                  </a:lnTo>
                  <a:lnTo>
                    <a:pt x="13749" y="2245"/>
                  </a:lnTo>
                  <a:lnTo>
                    <a:pt x="13742" y="2241"/>
                  </a:lnTo>
                  <a:lnTo>
                    <a:pt x="13737" y="2235"/>
                  </a:lnTo>
                  <a:lnTo>
                    <a:pt x="13736" y="2226"/>
                  </a:lnTo>
                  <a:lnTo>
                    <a:pt x="13736" y="2113"/>
                  </a:lnTo>
                  <a:lnTo>
                    <a:pt x="13737" y="2106"/>
                  </a:lnTo>
                  <a:lnTo>
                    <a:pt x="13742" y="2099"/>
                  </a:lnTo>
                  <a:lnTo>
                    <a:pt x="13749" y="2095"/>
                  </a:lnTo>
                  <a:lnTo>
                    <a:pt x="13756" y="2094"/>
                  </a:lnTo>
                  <a:lnTo>
                    <a:pt x="13763" y="2095"/>
                  </a:lnTo>
                  <a:lnTo>
                    <a:pt x="13769" y="2099"/>
                  </a:lnTo>
                  <a:lnTo>
                    <a:pt x="13774" y="2106"/>
                  </a:lnTo>
                  <a:lnTo>
                    <a:pt x="13776" y="2113"/>
                  </a:lnTo>
                  <a:close/>
                  <a:moveTo>
                    <a:pt x="13513" y="2113"/>
                  </a:moveTo>
                  <a:lnTo>
                    <a:pt x="13513" y="2226"/>
                  </a:lnTo>
                  <a:lnTo>
                    <a:pt x="13511" y="2235"/>
                  </a:lnTo>
                  <a:lnTo>
                    <a:pt x="13506" y="2241"/>
                  </a:lnTo>
                  <a:lnTo>
                    <a:pt x="13500" y="2245"/>
                  </a:lnTo>
                  <a:lnTo>
                    <a:pt x="13492" y="2246"/>
                  </a:lnTo>
                  <a:lnTo>
                    <a:pt x="13486" y="2245"/>
                  </a:lnTo>
                  <a:lnTo>
                    <a:pt x="13479" y="2241"/>
                  </a:lnTo>
                  <a:lnTo>
                    <a:pt x="13474" y="2235"/>
                  </a:lnTo>
                  <a:lnTo>
                    <a:pt x="13473" y="2226"/>
                  </a:lnTo>
                  <a:lnTo>
                    <a:pt x="13473" y="2113"/>
                  </a:lnTo>
                  <a:lnTo>
                    <a:pt x="13474" y="2106"/>
                  </a:lnTo>
                  <a:lnTo>
                    <a:pt x="13479" y="2099"/>
                  </a:lnTo>
                  <a:lnTo>
                    <a:pt x="13486" y="2095"/>
                  </a:lnTo>
                  <a:lnTo>
                    <a:pt x="13492" y="2094"/>
                  </a:lnTo>
                  <a:lnTo>
                    <a:pt x="13500" y="2095"/>
                  </a:lnTo>
                  <a:lnTo>
                    <a:pt x="13506" y="2099"/>
                  </a:lnTo>
                  <a:lnTo>
                    <a:pt x="13511" y="2106"/>
                  </a:lnTo>
                  <a:lnTo>
                    <a:pt x="13513" y="2113"/>
                  </a:lnTo>
                  <a:close/>
                  <a:moveTo>
                    <a:pt x="13250" y="2113"/>
                  </a:moveTo>
                  <a:lnTo>
                    <a:pt x="13250" y="2226"/>
                  </a:lnTo>
                  <a:lnTo>
                    <a:pt x="13247" y="2235"/>
                  </a:lnTo>
                  <a:lnTo>
                    <a:pt x="13243" y="2241"/>
                  </a:lnTo>
                  <a:lnTo>
                    <a:pt x="13237" y="2245"/>
                  </a:lnTo>
                  <a:lnTo>
                    <a:pt x="13229" y="2246"/>
                  </a:lnTo>
                  <a:lnTo>
                    <a:pt x="13222" y="2245"/>
                  </a:lnTo>
                  <a:lnTo>
                    <a:pt x="13215" y="2241"/>
                  </a:lnTo>
                  <a:lnTo>
                    <a:pt x="13211" y="2235"/>
                  </a:lnTo>
                  <a:lnTo>
                    <a:pt x="13210" y="2226"/>
                  </a:lnTo>
                  <a:lnTo>
                    <a:pt x="13210" y="2113"/>
                  </a:lnTo>
                  <a:lnTo>
                    <a:pt x="13211" y="2106"/>
                  </a:lnTo>
                  <a:lnTo>
                    <a:pt x="13215" y="2099"/>
                  </a:lnTo>
                  <a:lnTo>
                    <a:pt x="13222" y="2095"/>
                  </a:lnTo>
                  <a:lnTo>
                    <a:pt x="13229" y="2094"/>
                  </a:lnTo>
                  <a:lnTo>
                    <a:pt x="13237" y="2095"/>
                  </a:lnTo>
                  <a:lnTo>
                    <a:pt x="13243" y="2099"/>
                  </a:lnTo>
                  <a:lnTo>
                    <a:pt x="13247" y="2106"/>
                  </a:lnTo>
                  <a:lnTo>
                    <a:pt x="13250" y="2113"/>
                  </a:lnTo>
                  <a:close/>
                  <a:moveTo>
                    <a:pt x="12987" y="2113"/>
                  </a:moveTo>
                  <a:lnTo>
                    <a:pt x="12987" y="2226"/>
                  </a:lnTo>
                  <a:lnTo>
                    <a:pt x="12984" y="2235"/>
                  </a:lnTo>
                  <a:lnTo>
                    <a:pt x="12981" y="2241"/>
                  </a:lnTo>
                  <a:lnTo>
                    <a:pt x="12974" y="2245"/>
                  </a:lnTo>
                  <a:lnTo>
                    <a:pt x="12966" y="2246"/>
                  </a:lnTo>
                  <a:lnTo>
                    <a:pt x="12959" y="2245"/>
                  </a:lnTo>
                  <a:lnTo>
                    <a:pt x="12952" y="2241"/>
                  </a:lnTo>
                  <a:lnTo>
                    <a:pt x="12948" y="2235"/>
                  </a:lnTo>
                  <a:lnTo>
                    <a:pt x="12946" y="2226"/>
                  </a:lnTo>
                  <a:lnTo>
                    <a:pt x="12946" y="2113"/>
                  </a:lnTo>
                  <a:lnTo>
                    <a:pt x="12948" y="2106"/>
                  </a:lnTo>
                  <a:lnTo>
                    <a:pt x="12952" y="2099"/>
                  </a:lnTo>
                  <a:lnTo>
                    <a:pt x="12959" y="2095"/>
                  </a:lnTo>
                  <a:lnTo>
                    <a:pt x="12966" y="2094"/>
                  </a:lnTo>
                  <a:lnTo>
                    <a:pt x="12974" y="2095"/>
                  </a:lnTo>
                  <a:lnTo>
                    <a:pt x="12981" y="2099"/>
                  </a:lnTo>
                  <a:lnTo>
                    <a:pt x="12984" y="2106"/>
                  </a:lnTo>
                  <a:lnTo>
                    <a:pt x="12987" y="2113"/>
                  </a:lnTo>
                  <a:close/>
                  <a:moveTo>
                    <a:pt x="13776" y="1879"/>
                  </a:moveTo>
                  <a:lnTo>
                    <a:pt x="13776" y="1992"/>
                  </a:lnTo>
                  <a:lnTo>
                    <a:pt x="13774" y="2001"/>
                  </a:lnTo>
                  <a:lnTo>
                    <a:pt x="13769" y="2007"/>
                  </a:lnTo>
                  <a:lnTo>
                    <a:pt x="13763" y="2011"/>
                  </a:lnTo>
                  <a:lnTo>
                    <a:pt x="13756" y="2012"/>
                  </a:lnTo>
                  <a:lnTo>
                    <a:pt x="13749" y="2011"/>
                  </a:lnTo>
                  <a:lnTo>
                    <a:pt x="13742" y="2007"/>
                  </a:lnTo>
                  <a:lnTo>
                    <a:pt x="13737" y="2001"/>
                  </a:lnTo>
                  <a:lnTo>
                    <a:pt x="13736" y="1992"/>
                  </a:lnTo>
                  <a:lnTo>
                    <a:pt x="13736" y="1879"/>
                  </a:lnTo>
                  <a:lnTo>
                    <a:pt x="13737" y="1872"/>
                  </a:lnTo>
                  <a:lnTo>
                    <a:pt x="13742" y="1865"/>
                  </a:lnTo>
                  <a:lnTo>
                    <a:pt x="13749" y="1861"/>
                  </a:lnTo>
                  <a:lnTo>
                    <a:pt x="13756" y="1860"/>
                  </a:lnTo>
                  <a:lnTo>
                    <a:pt x="13763" y="1861"/>
                  </a:lnTo>
                  <a:lnTo>
                    <a:pt x="13769" y="1865"/>
                  </a:lnTo>
                  <a:lnTo>
                    <a:pt x="13774" y="1872"/>
                  </a:lnTo>
                  <a:lnTo>
                    <a:pt x="13776" y="1879"/>
                  </a:lnTo>
                  <a:close/>
                  <a:moveTo>
                    <a:pt x="13513" y="1879"/>
                  </a:moveTo>
                  <a:lnTo>
                    <a:pt x="13513" y="1992"/>
                  </a:lnTo>
                  <a:lnTo>
                    <a:pt x="13511" y="2001"/>
                  </a:lnTo>
                  <a:lnTo>
                    <a:pt x="13506" y="2007"/>
                  </a:lnTo>
                  <a:lnTo>
                    <a:pt x="13500" y="2011"/>
                  </a:lnTo>
                  <a:lnTo>
                    <a:pt x="13492" y="2012"/>
                  </a:lnTo>
                  <a:lnTo>
                    <a:pt x="13486" y="2011"/>
                  </a:lnTo>
                  <a:lnTo>
                    <a:pt x="13479" y="2007"/>
                  </a:lnTo>
                  <a:lnTo>
                    <a:pt x="13474" y="2001"/>
                  </a:lnTo>
                  <a:lnTo>
                    <a:pt x="13473" y="1992"/>
                  </a:lnTo>
                  <a:lnTo>
                    <a:pt x="13473" y="1879"/>
                  </a:lnTo>
                  <a:lnTo>
                    <a:pt x="13474" y="1872"/>
                  </a:lnTo>
                  <a:lnTo>
                    <a:pt x="13479" y="1865"/>
                  </a:lnTo>
                  <a:lnTo>
                    <a:pt x="13486" y="1861"/>
                  </a:lnTo>
                  <a:lnTo>
                    <a:pt x="13492" y="1860"/>
                  </a:lnTo>
                  <a:lnTo>
                    <a:pt x="13500" y="1861"/>
                  </a:lnTo>
                  <a:lnTo>
                    <a:pt x="13506" y="1865"/>
                  </a:lnTo>
                  <a:lnTo>
                    <a:pt x="13511" y="1872"/>
                  </a:lnTo>
                  <a:lnTo>
                    <a:pt x="13513" y="1879"/>
                  </a:lnTo>
                  <a:close/>
                  <a:moveTo>
                    <a:pt x="13250" y="1879"/>
                  </a:moveTo>
                  <a:lnTo>
                    <a:pt x="13250" y="1992"/>
                  </a:lnTo>
                  <a:lnTo>
                    <a:pt x="13247" y="2001"/>
                  </a:lnTo>
                  <a:lnTo>
                    <a:pt x="13243" y="2007"/>
                  </a:lnTo>
                  <a:lnTo>
                    <a:pt x="13237" y="2011"/>
                  </a:lnTo>
                  <a:lnTo>
                    <a:pt x="13229" y="2012"/>
                  </a:lnTo>
                  <a:lnTo>
                    <a:pt x="13222" y="2011"/>
                  </a:lnTo>
                  <a:lnTo>
                    <a:pt x="13215" y="2007"/>
                  </a:lnTo>
                  <a:lnTo>
                    <a:pt x="13211" y="2001"/>
                  </a:lnTo>
                  <a:lnTo>
                    <a:pt x="13210" y="1992"/>
                  </a:lnTo>
                  <a:lnTo>
                    <a:pt x="13210" y="1879"/>
                  </a:lnTo>
                  <a:lnTo>
                    <a:pt x="13211" y="1872"/>
                  </a:lnTo>
                  <a:lnTo>
                    <a:pt x="13215" y="1865"/>
                  </a:lnTo>
                  <a:lnTo>
                    <a:pt x="13222" y="1861"/>
                  </a:lnTo>
                  <a:lnTo>
                    <a:pt x="13229" y="1860"/>
                  </a:lnTo>
                  <a:lnTo>
                    <a:pt x="13237" y="1861"/>
                  </a:lnTo>
                  <a:lnTo>
                    <a:pt x="13243" y="1865"/>
                  </a:lnTo>
                  <a:lnTo>
                    <a:pt x="13247" y="1872"/>
                  </a:lnTo>
                  <a:lnTo>
                    <a:pt x="13250" y="1879"/>
                  </a:lnTo>
                  <a:close/>
                  <a:moveTo>
                    <a:pt x="12987" y="1879"/>
                  </a:moveTo>
                  <a:lnTo>
                    <a:pt x="12987" y="1992"/>
                  </a:lnTo>
                  <a:lnTo>
                    <a:pt x="12984" y="2001"/>
                  </a:lnTo>
                  <a:lnTo>
                    <a:pt x="12981" y="2007"/>
                  </a:lnTo>
                  <a:lnTo>
                    <a:pt x="12974" y="2011"/>
                  </a:lnTo>
                  <a:lnTo>
                    <a:pt x="12966" y="2012"/>
                  </a:lnTo>
                  <a:lnTo>
                    <a:pt x="12959" y="2011"/>
                  </a:lnTo>
                  <a:lnTo>
                    <a:pt x="12952" y="2007"/>
                  </a:lnTo>
                  <a:lnTo>
                    <a:pt x="12948" y="2001"/>
                  </a:lnTo>
                  <a:lnTo>
                    <a:pt x="12946" y="1992"/>
                  </a:lnTo>
                  <a:lnTo>
                    <a:pt x="12946" y="1879"/>
                  </a:lnTo>
                  <a:lnTo>
                    <a:pt x="12948" y="1872"/>
                  </a:lnTo>
                  <a:lnTo>
                    <a:pt x="12952" y="1865"/>
                  </a:lnTo>
                  <a:lnTo>
                    <a:pt x="12959" y="1861"/>
                  </a:lnTo>
                  <a:lnTo>
                    <a:pt x="12966" y="1860"/>
                  </a:lnTo>
                  <a:lnTo>
                    <a:pt x="12974" y="1861"/>
                  </a:lnTo>
                  <a:lnTo>
                    <a:pt x="12981" y="1865"/>
                  </a:lnTo>
                  <a:lnTo>
                    <a:pt x="12984" y="1872"/>
                  </a:lnTo>
                  <a:lnTo>
                    <a:pt x="12987" y="1879"/>
                  </a:lnTo>
                  <a:close/>
                  <a:moveTo>
                    <a:pt x="13776" y="1645"/>
                  </a:moveTo>
                  <a:lnTo>
                    <a:pt x="13776" y="1758"/>
                  </a:lnTo>
                  <a:lnTo>
                    <a:pt x="13774" y="1767"/>
                  </a:lnTo>
                  <a:lnTo>
                    <a:pt x="13769" y="1773"/>
                  </a:lnTo>
                  <a:lnTo>
                    <a:pt x="13763" y="1777"/>
                  </a:lnTo>
                  <a:lnTo>
                    <a:pt x="13756" y="1778"/>
                  </a:lnTo>
                  <a:lnTo>
                    <a:pt x="13749" y="1777"/>
                  </a:lnTo>
                  <a:lnTo>
                    <a:pt x="13742" y="1773"/>
                  </a:lnTo>
                  <a:lnTo>
                    <a:pt x="13737" y="1767"/>
                  </a:lnTo>
                  <a:lnTo>
                    <a:pt x="13736" y="1758"/>
                  </a:lnTo>
                  <a:lnTo>
                    <a:pt x="13736" y="1645"/>
                  </a:lnTo>
                  <a:lnTo>
                    <a:pt x="13737" y="1636"/>
                  </a:lnTo>
                  <a:lnTo>
                    <a:pt x="13742" y="1631"/>
                  </a:lnTo>
                  <a:lnTo>
                    <a:pt x="13749" y="1627"/>
                  </a:lnTo>
                  <a:lnTo>
                    <a:pt x="13756" y="1626"/>
                  </a:lnTo>
                  <a:lnTo>
                    <a:pt x="13763" y="1627"/>
                  </a:lnTo>
                  <a:lnTo>
                    <a:pt x="13769" y="1631"/>
                  </a:lnTo>
                  <a:lnTo>
                    <a:pt x="13774" y="1636"/>
                  </a:lnTo>
                  <a:lnTo>
                    <a:pt x="13776" y="1645"/>
                  </a:lnTo>
                  <a:close/>
                  <a:moveTo>
                    <a:pt x="13513" y="1645"/>
                  </a:moveTo>
                  <a:lnTo>
                    <a:pt x="13513" y="1758"/>
                  </a:lnTo>
                  <a:lnTo>
                    <a:pt x="13511" y="1767"/>
                  </a:lnTo>
                  <a:lnTo>
                    <a:pt x="13506" y="1773"/>
                  </a:lnTo>
                  <a:lnTo>
                    <a:pt x="13500" y="1777"/>
                  </a:lnTo>
                  <a:lnTo>
                    <a:pt x="13492" y="1778"/>
                  </a:lnTo>
                  <a:lnTo>
                    <a:pt x="13486" y="1777"/>
                  </a:lnTo>
                  <a:lnTo>
                    <a:pt x="13479" y="1773"/>
                  </a:lnTo>
                  <a:lnTo>
                    <a:pt x="13474" y="1767"/>
                  </a:lnTo>
                  <a:lnTo>
                    <a:pt x="13473" y="1758"/>
                  </a:lnTo>
                  <a:lnTo>
                    <a:pt x="13473" y="1645"/>
                  </a:lnTo>
                  <a:lnTo>
                    <a:pt x="13474" y="1636"/>
                  </a:lnTo>
                  <a:lnTo>
                    <a:pt x="13479" y="1631"/>
                  </a:lnTo>
                  <a:lnTo>
                    <a:pt x="13486" y="1627"/>
                  </a:lnTo>
                  <a:lnTo>
                    <a:pt x="13492" y="1626"/>
                  </a:lnTo>
                  <a:lnTo>
                    <a:pt x="13500" y="1627"/>
                  </a:lnTo>
                  <a:lnTo>
                    <a:pt x="13506" y="1631"/>
                  </a:lnTo>
                  <a:lnTo>
                    <a:pt x="13511" y="1636"/>
                  </a:lnTo>
                  <a:lnTo>
                    <a:pt x="13513" y="1645"/>
                  </a:lnTo>
                  <a:close/>
                  <a:moveTo>
                    <a:pt x="13250" y="1645"/>
                  </a:moveTo>
                  <a:lnTo>
                    <a:pt x="13250" y="1758"/>
                  </a:lnTo>
                  <a:lnTo>
                    <a:pt x="13247" y="1767"/>
                  </a:lnTo>
                  <a:lnTo>
                    <a:pt x="13243" y="1773"/>
                  </a:lnTo>
                  <a:lnTo>
                    <a:pt x="13237" y="1777"/>
                  </a:lnTo>
                  <a:lnTo>
                    <a:pt x="13229" y="1778"/>
                  </a:lnTo>
                  <a:lnTo>
                    <a:pt x="13222" y="1777"/>
                  </a:lnTo>
                  <a:lnTo>
                    <a:pt x="13215" y="1773"/>
                  </a:lnTo>
                  <a:lnTo>
                    <a:pt x="13211" y="1767"/>
                  </a:lnTo>
                  <a:lnTo>
                    <a:pt x="13210" y="1758"/>
                  </a:lnTo>
                  <a:lnTo>
                    <a:pt x="13210" y="1645"/>
                  </a:lnTo>
                  <a:lnTo>
                    <a:pt x="13211" y="1636"/>
                  </a:lnTo>
                  <a:lnTo>
                    <a:pt x="13215" y="1631"/>
                  </a:lnTo>
                  <a:lnTo>
                    <a:pt x="13222" y="1627"/>
                  </a:lnTo>
                  <a:lnTo>
                    <a:pt x="13229" y="1626"/>
                  </a:lnTo>
                  <a:lnTo>
                    <a:pt x="13237" y="1627"/>
                  </a:lnTo>
                  <a:lnTo>
                    <a:pt x="13243" y="1631"/>
                  </a:lnTo>
                  <a:lnTo>
                    <a:pt x="13247" y="1636"/>
                  </a:lnTo>
                  <a:lnTo>
                    <a:pt x="13250" y="1645"/>
                  </a:lnTo>
                  <a:close/>
                  <a:moveTo>
                    <a:pt x="12987" y="1645"/>
                  </a:moveTo>
                  <a:lnTo>
                    <a:pt x="12987" y="1758"/>
                  </a:lnTo>
                  <a:lnTo>
                    <a:pt x="12984" y="1767"/>
                  </a:lnTo>
                  <a:lnTo>
                    <a:pt x="12981" y="1773"/>
                  </a:lnTo>
                  <a:lnTo>
                    <a:pt x="12974" y="1777"/>
                  </a:lnTo>
                  <a:lnTo>
                    <a:pt x="12966" y="1778"/>
                  </a:lnTo>
                  <a:lnTo>
                    <a:pt x="12959" y="1777"/>
                  </a:lnTo>
                  <a:lnTo>
                    <a:pt x="12952" y="1773"/>
                  </a:lnTo>
                  <a:lnTo>
                    <a:pt x="12948" y="1767"/>
                  </a:lnTo>
                  <a:lnTo>
                    <a:pt x="12946" y="1758"/>
                  </a:lnTo>
                  <a:lnTo>
                    <a:pt x="12946" y="1645"/>
                  </a:lnTo>
                  <a:lnTo>
                    <a:pt x="12948" y="1636"/>
                  </a:lnTo>
                  <a:lnTo>
                    <a:pt x="12952" y="1631"/>
                  </a:lnTo>
                  <a:lnTo>
                    <a:pt x="12959" y="1627"/>
                  </a:lnTo>
                  <a:lnTo>
                    <a:pt x="12966" y="1626"/>
                  </a:lnTo>
                  <a:lnTo>
                    <a:pt x="12974" y="1627"/>
                  </a:lnTo>
                  <a:lnTo>
                    <a:pt x="12981" y="1631"/>
                  </a:lnTo>
                  <a:lnTo>
                    <a:pt x="12984" y="1636"/>
                  </a:lnTo>
                  <a:lnTo>
                    <a:pt x="12987" y="1645"/>
                  </a:lnTo>
                  <a:close/>
                  <a:moveTo>
                    <a:pt x="13776" y="1411"/>
                  </a:moveTo>
                  <a:lnTo>
                    <a:pt x="13776" y="1524"/>
                  </a:lnTo>
                  <a:lnTo>
                    <a:pt x="13774" y="1533"/>
                  </a:lnTo>
                  <a:lnTo>
                    <a:pt x="13769" y="1539"/>
                  </a:lnTo>
                  <a:lnTo>
                    <a:pt x="13763" y="1543"/>
                  </a:lnTo>
                  <a:lnTo>
                    <a:pt x="13756" y="1544"/>
                  </a:lnTo>
                  <a:lnTo>
                    <a:pt x="13749" y="1543"/>
                  </a:lnTo>
                  <a:lnTo>
                    <a:pt x="13742" y="1539"/>
                  </a:lnTo>
                  <a:lnTo>
                    <a:pt x="13737" y="1533"/>
                  </a:lnTo>
                  <a:lnTo>
                    <a:pt x="13736" y="1524"/>
                  </a:lnTo>
                  <a:lnTo>
                    <a:pt x="13736" y="1411"/>
                  </a:lnTo>
                  <a:lnTo>
                    <a:pt x="13737" y="1402"/>
                  </a:lnTo>
                  <a:lnTo>
                    <a:pt x="13742" y="1397"/>
                  </a:lnTo>
                  <a:lnTo>
                    <a:pt x="13749" y="1393"/>
                  </a:lnTo>
                  <a:lnTo>
                    <a:pt x="13756" y="1392"/>
                  </a:lnTo>
                  <a:lnTo>
                    <a:pt x="13763" y="1393"/>
                  </a:lnTo>
                  <a:lnTo>
                    <a:pt x="13769" y="1397"/>
                  </a:lnTo>
                  <a:lnTo>
                    <a:pt x="13774" y="1402"/>
                  </a:lnTo>
                  <a:lnTo>
                    <a:pt x="13776" y="1411"/>
                  </a:lnTo>
                  <a:close/>
                  <a:moveTo>
                    <a:pt x="13513" y="1411"/>
                  </a:moveTo>
                  <a:lnTo>
                    <a:pt x="13513" y="1524"/>
                  </a:lnTo>
                  <a:lnTo>
                    <a:pt x="13511" y="1533"/>
                  </a:lnTo>
                  <a:lnTo>
                    <a:pt x="13506" y="1539"/>
                  </a:lnTo>
                  <a:lnTo>
                    <a:pt x="13500" y="1543"/>
                  </a:lnTo>
                  <a:lnTo>
                    <a:pt x="13492" y="1544"/>
                  </a:lnTo>
                  <a:lnTo>
                    <a:pt x="13486" y="1543"/>
                  </a:lnTo>
                  <a:lnTo>
                    <a:pt x="13479" y="1539"/>
                  </a:lnTo>
                  <a:lnTo>
                    <a:pt x="13474" y="1533"/>
                  </a:lnTo>
                  <a:lnTo>
                    <a:pt x="13473" y="1524"/>
                  </a:lnTo>
                  <a:lnTo>
                    <a:pt x="13473" y="1411"/>
                  </a:lnTo>
                  <a:lnTo>
                    <a:pt x="13474" y="1402"/>
                  </a:lnTo>
                  <a:lnTo>
                    <a:pt x="13479" y="1397"/>
                  </a:lnTo>
                  <a:lnTo>
                    <a:pt x="13486" y="1393"/>
                  </a:lnTo>
                  <a:lnTo>
                    <a:pt x="13492" y="1392"/>
                  </a:lnTo>
                  <a:lnTo>
                    <a:pt x="13500" y="1393"/>
                  </a:lnTo>
                  <a:lnTo>
                    <a:pt x="13506" y="1397"/>
                  </a:lnTo>
                  <a:lnTo>
                    <a:pt x="13511" y="1402"/>
                  </a:lnTo>
                  <a:lnTo>
                    <a:pt x="13513" y="1411"/>
                  </a:lnTo>
                  <a:close/>
                  <a:moveTo>
                    <a:pt x="13250" y="1411"/>
                  </a:moveTo>
                  <a:lnTo>
                    <a:pt x="13250" y="1524"/>
                  </a:lnTo>
                  <a:lnTo>
                    <a:pt x="13247" y="1533"/>
                  </a:lnTo>
                  <a:lnTo>
                    <a:pt x="13243" y="1539"/>
                  </a:lnTo>
                  <a:lnTo>
                    <a:pt x="13237" y="1543"/>
                  </a:lnTo>
                  <a:lnTo>
                    <a:pt x="13229" y="1544"/>
                  </a:lnTo>
                  <a:lnTo>
                    <a:pt x="13222" y="1543"/>
                  </a:lnTo>
                  <a:lnTo>
                    <a:pt x="13215" y="1539"/>
                  </a:lnTo>
                  <a:lnTo>
                    <a:pt x="13211" y="1533"/>
                  </a:lnTo>
                  <a:lnTo>
                    <a:pt x="13210" y="1524"/>
                  </a:lnTo>
                  <a:lnTo>
                    <a:pt x="13210" y="1411"/>
                  </a:lnTo>
                  <a:lnTo>
                    <a:pt x="13211" y="1402"/>
                  </a:lnTo>
                  <a:lnTo>
                    <a:pt x="13215" y="1397"/>
                  </a:lnTo>
                  <a:lnTo>
                    <a:pt x="13222" y="1393"/>
                  </a:lnTo>
                  <a:lnTo>
                    <a:pt x="13229" y="1392"/>
                  </a:lnTo>
                  <a:lnTo>
                    <a:pt x="13237" y="1393"/>
                  </a:lnTo>
                  <a:lnTo>
                    <a:pt x="13243" y="1397"/>
                  </a:lnTo>
                  <a:lnTo>
                    <a:pt x="13247" y="1402"/>
                  </a:lnTo>
                  <a:lnTo>
                    <a:pt x="13250" y="1411"/>
                  </a:lnTo>
                  <a:close/>
                  <a:moveTo>
                    <a:pt x="12987" y="1411"/>
                  </a:moveTo>
                  <a:lnTo>
                    <a:pt x="12987" y="1524"/>
                  </a:lnTo>
                  <a:lnTo>
                    <a:pt x="12984" y="1533"/>
                  </a:lnTo>
                  <a:lnTo>
                    <a:pt x="12981" y="1539"/>
                  </a:lnTo>
                  <a:lnTo>
                    <a:pt x="12974" y="1543"/>
                  </a:lnTo>
                  <a:lnTo>
                    <a:pt x="12966" y="1544"/>
                  </a:lnTo>
                  <a:lnTo>
                    <a:pt x="12959" y="1543"/>
                  </a:lnTo>
                  <a:lnTo>
                    <a:pt x="12952" y="1539"/>
                  </a:lnTo>
                  <a:lnTo>
                    <a:pt x="12948" y="1533"/>
                  </a:lnTo>
                  <a:lnTo>
                    <a:pt x="12946" y="1524"/>
                  </a:lnTo>
                  <a:lnTo>
                    <a:pt x="12946" y="1411"/>
                  </a:lnTo>
                  <a:lnTo>
                    <a:pt x="12948" y="1402"/>
                  </a:lnTo>
                  <a:lnTo>
                    <a:pt x="12952" y="1397"/>
                  </a:lnTo>
                  <a:lnTo>
                    <a:pt x="12959" y="1393"/>
                  </a:lnTo>
                  <a:lnTo>
                    <a:pt x="12966" y="1392"/>
                  </a:lnTo>
                  <a:lnTo>
                    <a:pt x="12974" y="1393"/>
                  </a:lnTo>
                  <a:lnTo>
                    <a:pt x="12981" y="1397"/>
                  </a:lnTo>
                  <a:lnTo>
                    <a:pt x="12984" y="1402"/>
                  </a:lnTo>
                  <a:lnTo>
                    <a:pt x="12987" y="1411"/>
                  </a:lnTo>
                  <a:close/>
                  <a:moveTo>
                    <a:pt x="13776" y="1177"/>
                  </a:moveTo>
                  <a:lnTo>
                    <a:pt x="13776" y="1290"/>
                  </a:lnTo>
                  <a:lnTo>
                    <a:pt x="13774" y="1299"/>
                  </a:lnTo>
                  <a:lnTo>
                    <a:pt x="13769" y="1305"/>
                  </a:lnTo>
                  <a:lnTo>
                    <a:pt x="13763" y="1309"/>
                  </a:lnTo>
                  <a:lnTo>
                    <a:pt x="13756" y="1309"/>
                  </a:lnTo>
                  <a:lnTo>
                    <a:pt x="13749" y="1309"/>
                  </a:lnTo>
                  <a:lnTo>
                    <a:pt x="13742" y="1305"/>
                  </a:lnTo>
                  <a:lnTo>
                    <a:pt x="13737" y="1299"/>
                  </a:lnTo>
                  <a:lnTo>
                    <a:pt x="13736" y="1290"/>
                  </a:lnTo>
                  <a:lnTo>
                    <a:pt x="13736" y="1177"/>
                  </a:lnTo>
                  <a:lnTo>
                    <a:pt x="13737" y="1168"/>
                  </a:lnTo>
                  <a:lnTo>
                    <a:pt x="13742" y="1163"/>
                  </a:lnTo>
                  <a:lnTo>
                    <a:pt x="13749" y="1159"/>
                  </a:lnTo>
                  <a:lnTo>
                    <a:pt x="13756" y="1158"/>
                  </a:lnTo>
                  <a:lnTo>
                    <a:pt x="13763" y="1159"/>
                  </a:lnTo>
                  <a:lnTo>
                    <a:pt x="13769" y="1163"/>
                  </a:lnTo>
                  <a:lnTo>
                    <a:pt x="13774" y="1168"/>
                  </a:lnTo>
                  <a:lnTo>
                    <a:pt x="13776" y="1177"/>
                  </a:lnTo>
                  <a:close/>
                  <a:moveTo>
                    <a:pt x="13513" y="1177"/>
                  </a:moveTo>
                  <a:lnTo>
                    <a:pt x="13513" y="1290"/>
                  </a:lnTo>
                  <a:lnTo>
                    <a:pt x="13511" y="1299"/>
                  </a:lnTo>
                  <a:lnTo>
                    <a:pt x="13506" y="1305"/>
                  </a:lnTo>
                  <a:lnTo>
                    <a:pt x="13500" y="1309"/>
                  </a:lnTo>
                  <a:lnTo>
                    <a:pt x="13492" y="1309"/>
                  </a:lnTo>
                  <a:lnTo>
                    <a:pt x="13486" y="1309"/>
                  </a:lnTo>
                  <a:lnTo>
                    <a:pt x="13479" y="1305"/>
                  </a:lnTo>
                  <a:lnTo>
                    <a:pt x="13474" y="1299"/>
                  </a:lnTo>
                  <a:lnTo>
                    <a:pt x="13473" y="1290"/>
                  </a:lnTo>
                  <a:lnTo>
                    <a:pt x="13473" y="1177"/>
                  </a:lnTo>
                  <a:lnTo>
                    <a:pt x="13474" y="1168"/>
                  </a:lnTo>
                  <a:lnTo>
                    <a:pt x="13479" y="1163"/>
                  </a:lnTo>
                  <a:lnTo>
                    <a:pt x="13486" y="1159"/>
                  </a:lnTo>
                  <a:lnTo>
                    <a:pt x="13492" y="1158"/>
                  </a:lnTo>
                  <a:lnTo>
                    <a:pt x="13500" y="1159"/>
                  </a:lnTo>
                  <a:lnTo>
                    <a:pt x="13506" y="1163"/>
                  </a:lnTo>
                  <a:lnTo>
                    <a:pt x="13511" y="1168"/>
                  </a:lnTo>
                  <a:lnTo>
                    <a:pt x="13513" y="1177"/>
                  </a:lnTo>
                  <a:close/>
                  <a:moveTo>
                    <a:pt x="13250" y="1177"/>
                  </a:moveTo>
                  <a:lnTo>
                    <a:pt x="13250" y="1290"/>
                  </a:lnTo>
                  <a:lnTo>
                    <a:pt x="13247" y="1299"/>
                  </a:lnTo>
                  <a:lnTo>
                    <a:pt x="13243" y="1305"/>
                  </a:lnTo>
                  <a:lnTo>
                    <a:pt x="13237" y="1309"/>
                  </a:lnTo>
                  <a:lnTo>
                    <a:pt x="13229" y="1309"/>
                  </a:lnTo>
                  <a:lnTo>
                    <a:pt x="13222" y="1309"/>
                  </a:lnTo>
                  <a:lnTo>
                    <a:pt x="13215" y="1305"/>
                  </a:lnTo>
                  <a:lnTo>
                    <a:pt x="13211" y="1299"/>
                  </a:lnTo>
                  <a:lnTo>
                    <a:pt x="13210" y="1290"/>
                  </a:lnTo>
                  <a:lnTo>
                    <a:pt x="13210" y="1177"/>
                  </a:lnTo>
                  <a:lnTo>
                    <a:pt x="13211" y="1168"/>
                  </a:lnTo>
                  <a:lnTo>
                    <a:pt x="13215" y="1163"/>
                  </a:lnTo>
                  <a:lnTo>
                    <a:pt x="13222" y="1159"/>
                  </a:lnTo>
                  <a:lnTo>
                    <a:pt x="13229" y="1158"/>
                  </a:lnTo>
                  <a:lnTo>
                    <a:pt x="13237" y="1159"/>
                  </a:lnTo>
                  <a:lnTo>
                    <a:pt x="13243" y="1163"/>
                  </a:lnTo>
                  <a:lnTo>
                    <a:pt x="13247" y="1168"/>
                  </a:lnTo>
                  <a:lnTo>
                    <a:pt x="13250" y="1177"/>
                  </a:lnTo>
                  <a:close/>
                  <a:moveTo>
                    <a:pt x="12987" y="1177"/>
                  </a:moveTo>
                  <a:lnTo>
                    <a:pt x="12987" y="1290"/>
                  </a:lnTo>
                  <a:lnTo>
                    <a:pt x="12984" y="1299"/>
                  </a:lnTo>
                  <a:lnTo>
                    <a:pt x="12981" y="1305"/>
                  </a:lnTo>
                  <a:lnTo>
                    <a:pt x="12974" y="1309"/>
                  </a:lnTo>
                  <a:lnTo>
                    <a:pt x="12966" y="1309"/>
                  </a:lnTo>
                  <a:lnTo>
                    <a:pt x="12959" y="1309"/>
                  </a:lnTo>
                  <a:lnTo>
                    <a:pt x="12952" y="1305"/>
                  </a:lnTo>
                  <a:lnTo>
                    <a:pt x="12948" y="1299"/>
                  </a:lnTo>
                  <a:lnTo>
                    <a:pt x="12946" y="1290"/>
                  </a:lnTo>
                  <a:lnTo>
                    <a:pt x="12946" y="1177"/>
                  </a:lnTo>
                  <a:lnTo>
                    <a:pt x="12948" y="1168"/>
                  </a:lnTo>
                  <a:lnTo>
                    <a:pt x="12952" y="1163"/>
                  </a:lnTo>
                  <a:lnTo>
                    <a:pt x="12959" y="1159"/>
                  </a:lnTo>
                  <a:lnTo>
                    <a:pt x="12966" y="1158"/>
                  </a:lnTo>
                  <a:lnTo>
                    <a:pt x="12974" y="1159"/>
                  </a:lnTo>
                  <a:lnTo>
                    <a:pt x="12981" y="1163"/>
                  </a:lnTo>
                  <a:lnTo>
                    <a:pt x="12984" y="1168"/>
                  </a:lnTo>
                  <a:lnTo>
                    <a:pt x="12987" y="1177"/>
                  </a:lnTo>
                  <a:close/>
                  <a:moveTo>
                    <a:pt x="13538" y="3927"/>
                  </a:moveTo>
                  <a:lnTo>
                    <a:pt x="13538" y="4038"/>
                  </a:lnTo>
                  <a:lnTo>
                    <a:pt x="13536" y="4047"/>
                  </a:lnTo>
                  <a:lnTo>
                    <a:pt x="13532" y="4053"/>
                  </a:lnTo>
                  <a:lnTo>
                    <a:pt x="13525" y="4057"/>
                  </a:lnTo>
                  <a:lnTo>
                    <a:pt x="13518" y="4058"/>
                  </a:lnTo>
                  <a:lnTo>
                    <a:pt x="13510" y="4057"/>
                  </a:lnTo>
                  <a:lnTo>
                    <a:pt x="13504" y="4053"/>
                  </a:lnTo>
                  <a:lnTo>
                    <a:pt x="13500" y="4047"/>
                  </a:lnTo>
                  <a:lnTo>
                    <a:pt x="13497" y="4038"/>
                  </a:lnTo>
                  <a:lnTo>
                    <a:pt x="13497" y="3927"/>
                  </a:lnTo>
                  <a:lnTo>
                    <a:pt x="13500" y="3918"/>
                  </a:lnTo>
                  <a:lnTo>
                    <a:pt x="13504" y="3911"/>
                  </a:lnTo>
                  <a:lnTo>
                    <a:pt x="13510" y="3907"/>
                  </a:lnTo>
                  <a:lnTo>
                    <a:pt x="13518" y="3906"/>
                  </a:lnTo>
                  <a:lnTo>
                    <a:pt x="13525" y="3907"/>
                  </a:lnTo>
                  <a:lnTo>
                    <a:pt x="13532" y="3911"/>
                  </a:lnTo>
                  <a:lnTo>
                    <a:pt x="13536" y="3918"/>
                  </a:lnTo>
                  <a:lnTo>
                    <a:pt x="13538" y="3927"/>
                  </a:lnTo>
                  <a:close/>
                  <a:moveTo>
                    <a:pt x="13274" y="3927"/>
                  </a:moveTo>
                  <a:lnTo>
                    <a:pt x="13274" y="4038"/>
                  </a:lnTo>
                  <a:lnTo>
                    <a:pt x="13273" y="4047"/>
                  </a:lnTo>
                  <a:lnTo>
                    <a:pt x="13269" y="4053"/>
                  </a:lnTo>
                  <a:lnTo>
                    <a:pt x="13263" y="4057"/>
                  </a:lnTo>
                  <a:lnTo>
                    <a:pt x="13255" y="4058"/>
                  </a:lnTo>
                  <a:lnTo>
                    <a:pt x="13247" y="4057"/>
                  </a:lnTo>
                  <a:lnTo>
                    <a:pt x="13241" y="4053"/>
                  </a:lnTo>
                  <a:lnTo>
                    <a:pt x="13237" y="4047"/>
                  </a:lnTo>
                  <a:lnTo>
                    <a:pt x="13234" y="4038"/>
                  </a:lnTo>
                  <a:lnTo>
                    <a:pt x="13234" y="3927"/>
                  </a:lnTo>
                  <a:lnTo>
                    <a:pt x="13237" y="3918"/>
                  </a:lnTo>
                  <a:lnTo>
                    <a:pt x="13241" y="3911"/>
                  </a:lnTo>
                  <a:lnTo>
                    <a:pt x="13247" y="3907"/>
                  </a:lnTo>
                  <a:lnTo>
                    <a:pt x="13255" y="3906"/>
                  </a:lnTo>
                  <a:lnTo>
                    <a:pt x="13263" y="3907"/>
                  </a:lnTo>
                  <a:lnTo>
                    <a:pt x="13269" y="3911"/>
                  </a:lnTo>
                  <a:lnTo>
                    <a:pt x="13273" y="3918"/>
                  </a:lnTo>
                  <a:lnTo>
                    <a:pt x="13274" y="3927"/>
                  </a:lnTo>
                  <a:close/>
                  <a:moveTo>
                    <a:pt x="13011" y="3927"/>
                  </a:moveTo>
                  <a:lnTo>
                    <a:pt x="13011" y="4038"/>
                  </a:lnTo>
                  <a:lnTo>
                    <a:pt x="13010" y="4047"/>
                  </a:lnTo>
                  <a:lnTo>
                    <a:pt x="13005" y="4053"/>
                  </a:lnTo>
                  <a:lnTo>
                    <a:pt x="12998" y="4057"/>
                  </a:lnTo>
                  <a:lnTo>
                    <a:pt x="12992" y="4058"/>
                  </a:lnTo>
                  <a:lnTo>
                    <a:pt x="12984" y="4057"/>
                  </a:lnTo>
                  <a:lnTo>
                    <a:pt x="12978" y="4053"/>
                  </a:lnTo>
                  <a:lnTo>
                    <a:pt x="12973" y="4047"/>
                  </a:lnTo>
                  <a:lnTo>
                    <a:pt x="12972" y="4038"/>
                  </a:lnTo>
                  <a:lnTo>
                    <a:pt x="12972" y="3927"/>
                  </a:lnTo>
                  <a:lnTo>
                    <a:pt x="12973" y="3918"/>
                  </a:lnTo>
                  <a:lnTo>
                    <a:pt x="12978" y="3911"/>
                  </a:lnTo>
                  <a:lnTo>
                    <a:pt x="12984" y="3907"/>
                  </a:lnTo>
                  <a:lnTo>
                    <a:pt x="12992" y="3906"/>
                  </a:lnTo>
                  <a:lnTo>
                    <a:pt x="12998" y="3907"/>
                  </a:lnTo>
                  <a:lnTo>
                    <a:pt x="13005" y="3911"/>
                  </a:lnTo>
                  <a:lnTo>
                    <a:pt x="13010" y="3918"/>
                  </a:lnTo>
                  <a:lnTo>
                    <a:pt x="13011" y="3927"/>
                  </a:lnTo>
                  <a:close/>
                  <a:moveTo>
                    <a:pt x="12748" y="3927"/>
                  </a:moveTo>
                  <a:lnTo>
                    <a:pt x="12748" y="4038"/>
                  </a:lnTo>
                  <a:lnTo>
                    <a:pt x="12747" y="4047"/>
                  </a:lnTo>
                  <a:lnTo>
                    <a:pt x="12742" y="4053"/>
                  </a:lnTo>
                  <a:lnTo>
                    <a:pt x="12736" y="4057"/>
                  </a:lnTo>
                  <a:lnTo>
                    <a:pt x="12729" y="4058"/>
                  </a:lnTo>
                  <a:lnTo>
                    <a:pt x="12721" y="4057"/>
                  </a:lnTo>
                  <a:lnTo>
                    <a:pt x="12715" y="4053"/>
                  </a:lnTo>
                  <a:lnTo>
                    <a:pt x="12710" y="4047"/>
                  </a:lnTo>
                  <a:lnTo>
                    <a:pt x="12709" y="4038"/>
                  </a:lnTo>
                  <a:lnTo>
                    <a:pt x="12709" y="3927"/>
                  </a:lnTo>
                  <a:lnTo>
                    <a:pt x="12710" y="3918"/>
                  </a:lnTo>
                  <a:lnTo>
                    <a:pt x="12715" y="3911"/>
                  </a:lnTo>
                  <a:lnTo>
                    <a:pt x="12721" y="3907"/>
                  </a:lnTo>
                  <a:lnTo>
                    <a:pt x="12729" y="3906"/>
                  </a:lnTo>
                  <a:lnTo>
                    <a:pt x="12736" y="3907"/>
                  </a:lnTo>
                  <a:lnTo>
                    <a:pt x="12742" y="3911"/>
                  </a:lnTo>
                  <a:lnTo>
                    <a:pt x="12747" y="3918"/>
                  </a:lnTo>
                  <a:lnTo>
                    <a:pt x="12748" y="3927"/>
                  </a:lnTo>
                  <a:close/>
                  <a:moveTo>
                    <a:pt x="13538" y="3681"/>
                  </a:moveTo>
                  <a:lnTo>
                    <a:pt x="13538" y="3792"/>
                  </a:lnTo>
                  <a:lnTo>
                    <a:pt x="13536" y="3801"/>
                  </a:lnTo>
                  <a:lnTo>
                    <a:pt x="13532" y="3808"/>
                  </a:lnTo>
                  <a:lnTo>
                    <a:pt x="13525" y="3811"/>
                  </a:lnTo>
                  <a:lnTo>
                    <a:pt x="13518" y="3813"/>
                  </a:lnTo>
                  <a:lnTo>
                    <a:pt x="13510" y="3811"/>
                  </a:lnTo>
                  <a:lnTo>
                    <a:pt x="13504" y="3808"/>
                  </a:lnTo>
                  <a:lnTo>
                    <a:pt x="13500" y="3801"/>
                  </a:lnTo>
                  <a:lnTo>
                    <a:pt x="13497" y="3792"/>
                  </a:lnTo>
                  <a:lnTo>
                    <a:pt x="13497" y="3681"/>
                  </a:lnTo>
                  <a:lnTo>
                    <a:pt x="13500" y="3672"/>
                  </a:lnTo>
                  <a:lnTo>
                    <a:pt x="13504" y="3666"/>
                  </a:lnTo>
                  <a:lnTo>
                    <a:pt x="13510" y="3662"/>
                  </a:lnTo>
                  <a:lnTo>
                    <a:pt x="13518" y="3661"/>
                  </a:lnTo>
                  <a:lnTo>
                    <a:pt x="13525" y="3662"/>
                  </a:lnTo>
                  <a:lnTo>
                    <a:pt x="13532" y="3666"/>
                  </a:lnTo>
                  <a:lnTo>
                    <a:pt x="13536" y="3672"/>
                  </a:lnTo>
                  <a:lnTo>
                    <a:pt x="13538" y="3681"/>
                  </a:lnTo>
                  <a:close/>
                  <a:moveTo>
                    <a:pt x="13274" y="3681"/>
                  </a:moveTo>
                  <a:lnTo>
                    <a:pt x="13274" y="3792"/>
                  </a:lnTo>
                  <a:lnTo>
                    <a:pt x="13273" y="3801"/>
                  </a:lnTo>
                  <a:lnTo>
                    <a:pt x="13269" y="3808"/>
                  </a:lnTo>
                  <a:lnTo>
                    <a:pt x="13263" y="3811"/>
                  </a:lnTo>
                  <a:lnTo>
                    <a:pt x="13255" y="3813"/>
                  </a:lnTo>
                  <a:lnTo>
                    <a:pt x="13247" y="3811"/>
                  </a:lnTo>
                  <a:lnTo>
                    <a:pt x="13241" y="3808"/>
                  </a:lnTo>
                  <a:lnTo>
                    <a:pt x="13237" y="3801"/>
                  </a:lnTo>
                  <a:lnTo>
                    <a:pt x="13234" y="3792"/>
                  </a:lnTo>
                  <a:lnTo>
                    <a:pt x="13234" y="3681"/>
                  </a:lnTo>
                  <a:lnTo>
                    <a:pt x="13237" y="3672"/>
                  </a:lnTo>
                  <a:lnTo>
                    <a:pt x="13241" y="3666"/>
                  </a:lnTo>
                  <a:lnTo>
                    <a:pt x="13247" y="3662"/>
                  </a:lnTo>
                  <a:lnTo>
                    <a:pt x="13255" y="3661"/>
                  </a:lnTo>
                  <a:lnTo>
                    <a:pt x="13263" y="3662"/>
                  </a:lnTo>
                  <a:lnTo>
                    <a:pt x="13269" y="3666"/>
                  </a:lnTo>
                  <a:lnTo>
                    <a:pt x="13273" y="3672"/>
                  </a:lnTo>
                  <a:lnTo>
                    <a:pt x="13274" y="3681"/>
                  </a:lnTo>
                  <a:close/>
                  <a:moveTo>
                    <a:pt x="13011" y="3681"/>
                  </a:moveTo>
                  <a:lnTo>
                    <a:pt x="13011" y="3792"/>
                  </a:lnTo>
                  <a:lnTo>
                    <a:pt x="13010" y="3801"/>
                  </a:lnTo>
                  <a:lnTo>
                    <a:pt x="13005" y="3808"/>
                  </a:lnTo>
                  <a:lnTo>
                    <a:pt x="12998" y="3811"/>
                  </a:lnTo>
                  <a:lnTo>
                    <a:pt x="12992" y="3813"/>
                  </a:lnTo>
                  <a:lnTo>
                    <a:pt x="12984" y="3811"/>
                  </a:lnTo>
                  <a:lnTo>
                    <a:pt x="12978" y="3808"/>
                  </a:lnTo>
                  <a:lnTo>
                    <a:pt x="12973" y="3801"/>
                  </a:lnTo>
                  <a:lnTo>
                    <a:pt x="12972" y="3792"/>
                  </a:lnTo>
                  <a:lnTo>
                    <a:pt x="12972" y="3681"/>
                  </a:lnTo>
                  <a:lnTo>
                    <a:pt x="12973" y="3672"/>
                  </a:lnTo>
                  <a:lnTo>
                    <a:pt x="12978" y="3666"/>
                  </a:lnTo>
                  <a:lnTo>
                    <a:pt x="12984" y="3662"/>
                  </a:lnTo>
                  <a:lnTo>
                    <a:pt x="12992" y="3661"/>
                  </a:lnTo>
                  <a:lnTo>
                    <a:pt x="12998" y="3662"/>
                  </a:lnTo>
                  <a:lnTo>
                    <a:pt x="13005" y="3666"/>
                  </a:lnTo>
                  <a:lnTo>
                    <a:pt x="13010" y="3672"/>
                  </a:lnTo>
                  <a:lnTo>
                    <a:pt x="13011" y="3681"/>
                  </a:lnTo>
                  <a:close/>
                  <a:moveTo>
                    <a:pt x="12748" y="3681"/>
                  </a:moveTo>
                  <a:lnTo>
                    <a:pt x="12748" y="3792"/>
                  </a:lnTo>
                  <a:lnTo>
                    <a:pt x="12747" y="3801"/>
                  </a:lnTo>
                  <a:lnTo>
                    <a:pt x="12742" y="3808"/>
                  </a:lnTo>
                  <a:lnTo>
                    <a:pt x="12736" y="3811"/>
                  </a:lnTo>
                  <a:lnTo>
                    <a:pt x="12729" y="3813"/>
                  </a:lnTo>
                  <a:lnTo>
                    <a:pt x="12721" y="3811"/>
                  </a:lnTo>
                  <a:lnTo>
                    <a:pt x="12715" y="3808"/>
                  </a:lnTo>
                  <a:lnTo>
                    <a:pt x="12710" y="3801"/>
                  </a:lnTo>
                  <a:lnTo>
                    <a:pt x="12709" y="3792"/>
                  </a:lnTo>
                  <a:lnTo>
                    <a:pt x="12709" y="3681"/>
                  </a:lnTo>
                  <a:lnTo>
                    <a:pt x="12710" y="3672"/>
                  </a:lnTo>
                  <a:lnTo>
                    <a:pt x="12715" y="3666"/>
                  </a:lnTo>
                  <a:lnTo>
                    <a:pt x="12721" y="3662"/>
                  </a:lnTo>
                  <a:lnTo>
                    <a:pt x="12729" y="3661"/>
                  </a:lnTo>
                  <a:lnTo>
                    <a:pt x="12736" y="3662"/>
                  </a:lnTo>
                  <a:lnTo>
                    <a:pt x="12742" y="3666"/>
                  </a:lnTo>
                  <a:lnTo>
                    <a:pt x="12747" y="3672"/>
                  </a:lnTo>
                  <a:lnTo>
                    <a:pt x="12748" y="3681"/>
                  </a:lnTo>
                  <a:close/>
                  <a:moveTo>
                    <a:pt x="13538" y="3436"/>
                  </a:moveTo>
                  <a:lnTo>
                    <a:pt x="13538" y="3547"/>
                  </a:lnTo>
                  <a:lnTo>
                    <a:pt x="13536" y="3556"/>
                  </a:lnTo>
                  <a:lnTo>
                    <a:pt x="13532" y="3562"/>
                  </a:lnTo>
                  <a:lnTo>
                    <a:pt x="13525" y="3566"/>
                  </a:lnTo>
                  <a:lnTo>
                    <a:pt x="13518" y="3567"/>
                  </a:lnTo>
                  <a:lnTo>
                    <a:pt x="13510" y="3566"/>
                  </a:lnTo>
                  <a:lnTo>
                    <a:pt x="13504" y="3562"/>
                  </a:lnTo>
                  <a:lnTo>
                    <a:pt x="13500" y="3556"/>
                  </a:lnTo>
                  <a:lnTo>
                    <a:pt x="13497" y="3547"/>
                  </a:lnTo>
                  <a:lnTo>
                    <a:pt x="13497" y="3436"/>
                  </a:lnTo>
                  <a:lnTo>
                    <a:pt x="13500" y="3427"/>
                  </a:lnTo>
                  <a:lnTo>
                    <a:pt x="13504" y="3420"/>
                  </a:lnTo>
                  <a:lnTo>
                    <a:pt x="13510" y="3416"/>
                  </a:lnTo>
                  <a:lnTo>
                    <a:pt x="13518" y="3415"/>
                  </a:lnTo>
                  <a:lnTo>
                    <a:pt x="13525" y="3416"/>
                  </a:lnTo>
                  <a:lnTo>
                    <a:pt x="13532" y="3420"/>
                  </a:lnTo>
                  <a:lnTo>
                    <a:pt x="13536" y="3427"/>
                  </a:lnTo>
                  <a:lnTo>
                    <a:pt x="13538" y="3436"/>
                  </a:lnTo>
                  <a:close/>
                  <a:moveTo>
                    <a:pt x="13274" y="3436"/>
                  </a:moveTo>
                  <a:lnTo>
                    <a:pt x="13274" y="3547"/>
                  </a:lnTo>
                  <a:lnTo>
                    <a:pt x="13273" y="3556"/>
                  </a:lnTo>
                  <a:lnTo>
                    <a:pt x="13269" y="3562"/>
                  </a:lnTo>
                  <a:lnTo>
                    <a:pt x="13263" y="3566"/>
                  </a:lnTo>
                  <a:lnTo>
                    <a:pt x="13255" y="3567"/>
                  </a:lnTo>
                  <a:lnTo>
                    <a:pt x="13247" y="3566"/>
                  </a:lnTo>
                  <a:lnTo>
                    <a:pt x="13241" y="3562"/>
                  </a:lnTo>
                  <a:lnTo>
                    <a:pt x="13237" y="3556"/>
                  </a:lnTo>
                  <a:lnTo>
                    <a:pt x="13234" y="3547"/>
                  </a:lnTo>
                  <a:lnTo>
                    <a:pt x="13234" y="3436"/>
                  </a:lnTo>
                  <a:lnTo>
                    <a:pt x="13237" y="3427"/>
                  </a:lnTo>
                  <a:lnTo>
                    <a:pt x="13241" y="3420"/>
                  </a:lnTo>
                  <a:lnTo>
                    <a:pt x="13247" y="3416"/>
                  </a:lnTo>
                  <a:lnTo>
                    <a:pt x="13255" y="3415"/>
                  </a:lnTo>
                  <a:lnTo>
                    <a:pt x="13263" y="3416"/>
                  </a:lnTo>
                  <a:lnTo>
                    <a:pt x="13269" y="3420"/>
                  </a:lnTo>
                  <a:lnTo>
                    <a:pt x="13273" y="3427"/>
                  </a:lnTo>
                  <a:lnTo>
                    <a:pt x="13274" y="3436"/>
                  </a:lnTo>
                  <a:close/>
                  <a:moveTo>
                    <a:pt x="13011" y="3436"/>
                  </a:moveTo>
                  <a:lnTo>
                    <a:pt x="13011" y="3547"/>
                  </a:lnTo>
                  <a:lnTo>
                    <a:pt x="13010" y="3556"/>
                  </a:lnTo>
                  <a:lnTo>
                    <a:pt x="13005" y="3562"/>
                  </a:lnTo>
                  <a:lnTo>
                    <a:pt x="12998" y="3566"/>
                  </a:lnTo>
                  <a:lnTo>
                    <a:pt x="12992" y="3567"/>
                  </a:lnTo>
                  <a:lnTo>
                    <a:pt x="12984" y="3566"/>
                  </a:lnTo>
                  <a:lnTo>
                    <a:pt x="12978" y="3562"/>
                  </a:lnTo>
                  <a:lnTo>
                    <a:pt x="12973" y="3556"/>
                  </a:lnTo>
                  <a:lnTo>
                    <a:pt x="12972" y="3547"/>
                  </a:lnTo>
                  <a:lnTo>
                    <a:pt x="12972" y="3436"/>
                  </a:lnTo>
                  <a:lnTo>
                    <a:pt x="12973" y="3427"/>
                  </a:lnTo>
                  <a:lnTo>
                    <a:pt x="12978" y="3420"/>
                  </a:lnTo>
                  <a:lnTo>
                    <a:pt x="12984" y="3416"/>
                  </a:lnTo>
                  <a:lnTo>
                    <a:pt x="12992" y="3415"/>
                  </a:lnTo>
                  <a:lnTo>
                    <a:pt x="12998" y="3416"/>
                  </a:lnTo>
                  <a:lnTo>
                    <a:pt x="13005" y="3420"/>
                  </a:lnTo>
                  <a:lnTo>
                    <a:pt x="13010" y="3427"/>
                  </a:lnTo>
                  <a:lnTo>
                    <a:pt x="13011" y="3436"/>
                  </a:lnTo>
                  <a:close/>
                  <a:moveTo>
                    <a:pt x="12748" y="3436"/>
                  </a:moveTo>
                  <a:lnTo>
                    <a:pt x="12748" y="3547"/>
                  </a:lnTo>
                  <a:lnTo>
                    <a:pt x="12747" y="3556"/>
                  </a:lnTo>
                  <a:lnTo>
                    <a:pt x="12742" y="3562"/>
                  </a:lnTo>
                  <a:lnTo>
                    <a:pt x="12736" y="3566"/>
                  </a:lnTo>
                  <a:lnTo>
                    <a:pt x="12729" y="3567"/>
                  </a:lnTo>
                  <a:lnTo>
                    <a:pt x="12721" y="3566"/>
                  </a:lnTo>
                  <a:lnTo>
                    <a:pt x="12715" y="3562"/>
                  </a:lnTo>
                  <a:lnTo>
                    <a:pt x="12710" y="3556"/>
                  </a:lnTo>
                  <a:lnTo>
                    <a:pt x="12709" y="3547"/>
                  </a:lnTo>
                  <a:lnTo>
                    <a:pt x="12709" y="3436"/>
                  </a:lnTo>
                  <a:lnTo>
                    <a:pt x="12710" y="3427"/>
                  </a:lnTo>
                  <a:lnTo>
                    <a:pt x="12715" y="3420"/>
                  </a:lnTo>
                  <a:lnTo>
                    <a:pt x="12721" y="3416"/>
                  </a:lnTo>
                  <a:lnTo>
                    <a:pt x="12729" y="3415"/>
                  </a:lnTo>
                  <a:lnTo>
                    <a:pt x="12736" y="3416"/>
                  </a:lnTo>
                  <a:lnTo>
                    <a:pt x="12742" y="3420"/>
                  </a:lnTo>
                  <a:lnTo>
                    <a:pt x="12747" y="3427"/>
                  </a:lnTo>
                  <a:lnTo>
                    <a:pt x="12748" y="3436"/>
                  </a:lnTo>
                  <a:close/>
                  <a:moveTo>
                    <a:pt x="12486" y="3436"/>
                  </a:moveTo>
                  <a:lnTo>
                    <a:pt x="12486" y="3547"/>
                  </a:lnTo>
                  <a:lnTo>
                    <a:pt x="12484" y="3556"/>
                  </a:lnTo>
                  <a:lnTo>
                    <a:pt x="12479" y="3562"/>
                  </a:lnTo>
                  <a:lnTo>
                    <a:pt x="12473" y="3566"/>
                  </a:lnTo>
                  <a:lnTo>
                    <a:pt x="12465" y="3567"/>
                  </a:lnTo>
                  <a:lnTo>
                    <a:pt x="12459" y="3566"/>
                  </a:lnTo>
                  <a:lnTo>
                    <a:pt x="12452" y="3562"/>
                  </a:lnTo>
                  <a:lnTo>
                    <a:pt x="12447" y="3556"/>
                  </a:lnTo>
                  <a:lnTo>
                    <a:pt x="12446" y="3547"/>
                  </a:lnTo>
                  <a:lnTo>
                    <a:pt x="12446" y="3436"/>
                  </a:lnTo>
                  <a:lnTo>
                    <a:pt x="12447" y="3427"/>
                  </a:lnTo>
                  <a:lnTo>
                    <a:pt x="12452" y="3420"/>
                  </a:lnTo>
                  <a:lnTo>
                    <a:pt x="12459" y="3416"/>
                  </a:lnTo>
                  <a:lnTo>
                    <a:pt x="12465" y="3415"/>
                  </a:lnTo>
                  <a:lnTo>
                    <a:pt x="12473" y="3416"/>
                  </a:lnTo>
                  <a:lnTo>
                    <a:pt x="12479" y="3420"/>
                  </a:lnTo>
                  <a:lnTo>
                    <a:pt x="12484" y="3427"/>
                  </a:lnTo>
                  <a:lnTo>
                    <a:pt x="12486" y="3436"/>
                  </a:lnTo>
                  <a:close/>
                  <a:moveTo>
                    <a:pt x="10933" y="2423"/>
                  </a:moveTo>
                  <a:lnTo>
                    <a:pt x="10933" y="2535"/>
                  </a:lnTo>
                  <a:lnTo>
                    <a:pt x="10931" y="2543"/>
                  </a:lnTo>
                  <a:lnTo>
                    <a:pt x="10926" y="2549"/>
                  </a:lnTo>
                  <a:lnTo>
                    <a:pt x="10920" y="2553"/>
                  </a:lnTo>
                  <a:lnTo>
                    <a:pt x="10912" y="2555"/>
                  </a:lnTo>
                  <a:lnTo>
                    <a:pt x="10906" y="2553"/>
                  </a:lnTo>
                  <a:lnTo>
                    <a:pt x="10899" y="2549"/>
                  </a:lnTo>
                  <a:lnTo>
                    <a:pt x="10894" y="2543"/>
                  </a:lnTo>
                  <a:lnTo>
                    <a:pt x="10893" y="2535"/>
                  </a:lnTo>
                  <a:lnTo>
                    <a:pt x="10893" y="2423"/>
                  </a:lnTo>
                  <a:lnTo>
                    <a:pt x="10894" y="2414"/>
                  </a:lnTo>
                  <a:lnTo>
                    <a:pt x="10899" y="2407"/>
                  </a:lnTo>
                  <a:lnTo>
                    <a:pt x="10906" y="2404"/>
                  </a:lnTo>
                  <a:lnTo>
                    <a:pt x="10912" y="2402"/>
                  </a:lnTo>
                  <a:lnTo>
                    <a:pt x="10920" y="2404"/>
                  </a:lnTo>
                  <a:lnTo>
                    <a:pt x="10926" y="2407"/>
                  </a:lnTo>
                  <a:lnTo>
                    <a:pt x="10931" y="2414"/>
                  </a:lnTo>
                  <a:lnTo>
                    <a:pt x="10933" y="2423"/>
                  </a:lnTo>
                  <a:close/>
                  <a:moveTo>
                    <a:pt x="10670" y="2423"/>
                  </a:moveTo>
                  <a:lnTo>
                    <a:pt x="10670" y="2535"/>
                  </a:lnTo>
                  <a:lnTo>
                    <a:pt x="10669" y="2543"/>
                  </a:lnTo>
                  <a:lnTo>
                    <a:pt x="10663" y="2549"/>
                  </a:lnTo>
                  <a:lnTo>
                    <a:pt x="10657" y="2553"/>
                  </a:lnTo>
                  <a:lnTo>
                    <a:pt x="10649" y="2555"/>
                  </a:lnTo>
                  <a:lnTo>
                    <a:pt x="10643" y="2553"/>
                  </a:lnTo>
                  <a:lnTo>
                    <a:pt x="10637" y="2549"/>
                  </a:lnTo>
                  <a:lnTo>
                    <a:pt x="10631" y="2543"/>
                  </a:lnTo>
                  <a:lnTo>
                    <a:pt x="10630" y="2535"/>
                  </a:lnTo>
                  <a:lnTo>
                    <a:pt x="10630" y="2423"/>
                  </a:lnTo>
                  <a:lnTo>
                    <a:pt x="10631" y="2414"/>
                  </a:lnTo>
                  <a:lnTo>
                    <a:pt x="10637" y="2407"/>
                  </a:lnTo>
                  <a:lnTo>
                    <a:pt x="10643" y="2404"/>
                  </a:lnTo>
                  <a:lnTo>
                    <a:pt x="10649" y="2402"/>
                  </a:lnTo>
                  <a:lnTo>
                    <a:pt x="10657" y="2404"/>
                  </a:lnTo>
                  <a:lnTo>
                    <a:pt x="10663" y="2407"/>
                  </a:lnTo>
                  <a:lnTo>
                    <a:pt x="10669" y="2414"/>
                  </a:lnTo>
                  <a:lnTo>
                    <a:pt x="10670" y="2423"/>
                  </a:lnTo>
                  <a:close/>
                  <a:moveTo>
                    <a:pt x="10407" y="2423"/>
                  </a:moveTo>
                  <a:lnTo>
                    <a:pt x="10407" y="2535"/>
                  </a:lnTo>
                  <a:lnTo>
                    <a:pt x="10404" y="2543"/>
                  </a:lnTo>
                  <a:lnTo>
                    <a:pt x="10401" y="2549"/>
                  </a:lnTo>
                  <a:lnTo>
                    <a:pt x="10394" y="2553"/>
                  </a:lnTo>
                  <a:lnTo>
                    <a:pt x="10386" y="2555"/>
                  </a:lnTo>
                  <a:lnTo>
                    <a:pt x="10379" y="2553"/>
                  </a:lnTo>
                  <a:lnTo>
                    <a:pt x="10372" y="2549"/>
                  </a:lnTo>
                  <a:lnTo>
                    <a:pt x="10369" y="2543"/>
                  </a:lnTo>
                  <a:lnTo>
                    <a:pt x="10366" y="2535"/>
                  </a:lnTo>
                  <a:lnTo>
                    <a:pt x="10366" y="2423"/>
                  </a:lnTo>
                  <a:lnTo>
                    <a:pt x="10369" y="2414"/>
                  </a:lnTo>
                  <a:lnTo>
                    <a:pt x="10372" y="2407"/>
                  </a:lnTo>
                  <a:lnTo>
                    <a:pt x="10379" y="2404"/>
                  </a:lnTo>
                  <a:lnTo>
                    <a:pt x="10386" y="2402"/>
                  </a:lnTo>
                  <a:lnTo>
                    <a:pt x="10394" y="2404"/>
                  </a:lnTo>
                  <a:lnTo>
                    <a:pt x="10401" y="2407"/>
                  </a:lnTo>
                  <a:lnTo>
                    <a:pt x="10404" y="2414"/>
                  </a:lnTo>
                  <a:lnTo>
                    <a:pt x="10407" y="2423"/>
                  </a:lnTo>
                  <a:close/>
                  <a:moveTo>
                    <a:pt x="10143" y="2423"/>
                  </a:moveTo>
                  <a:lnTo>
                    <a:pt x="10143" y="2535"/>
                  </a:lnTo>
                  <a:lnTo>
                    <a:pt x="10142" y="2543"/>
                  </a:lnTo>
                  <a:lnTo>
                    <a:pt x="10138" y="2549"/>
                  </a:lnTo>
                  <a:lnTo>
                    <a:pt x="10131" y="2553"/>
                  </a:lnTo>
                  <a:lnTo>
                    <a:pt x="10124" y="2555"/>
                  </a:lnTo>
                  <a:lnTo>
                    <a:pt x="10116" y="2553"/>
                  </a:lnTo>
                  <a:lnTo>
                    <a:pt x="10109" y="2549"/>
                  </a:lnTo>
                  <a:lnTo>
                    <a:pt x="10106" y="2543"/>
                  </a:lnTo>
                  <a:lnTo>
                    <a:pt x="10103" y="2535"/>
                  </a:lnTo>
                  <a:lnTo>
                    <a:pt x="10103" y="2423"/>
                  </a:lnTo>
                  <a:lnTo>
                    <a:pt x="10106" y="2414"/>
                  </a:lnTo>
                  <a:lnTo>
                    <a:pt x="10109" y="2407"/>
                  </a:lnTo>
                  <a:lnTo>
                    <a:pt x="10116" y="2404"/>
                  </a:lnTo>
                  <a:lnTo>
                    <a:pt x="10124" y="2402"/>
                  </a:lnTo>
                  <a:lnTo>
                    <a:pt x="10131" y="2404"/>
                  </a:lnTo>
                  <a:lnTo>
                    <a:pt x="10138" y="2407"/>
                  </a:lnTo>
                  <a:lnTo>
                    <a:pt x="10142" y="2414"/>
                  </a:lnTo>
                  <a:lnTo>
                    <a:pt x="10143" y="2423"/>
                  </a:lnTo>
                  <a:close/>
                  <a:moveTo>
                    <a:pt x="9880" y="2423"/>
                  </a:moveTo>
                  <a:lnTo>
                    <a:pt x="9880" y="2535"/>
                  </a:lnTo>
                  <a:lnTo>
                    <a:pt x="9879" y="2543"/>
                  </a:lnTo>
                  <a:lnTo>
                    <a:pt x="9874" y="2549"/>
                  </a:lnTo>
                  <a:lnTo>
                    <a:pt x="9867" y="2553"/>
                  </a:lnTo>
                  <a:lnTo>
                    <a:pt x="9861" y="2555"/>
                  </a:lnTo>
                  <a:lnTo>
                    <a:pt x="9853" y="2553"/>
                  </a:lnTo>
                  <a:lnTo>
                    <a:pt x="9847" y="2549"/>
                  </a:lnTo>
                  <a:lnTo>
                    <a:pt x="9841" y="2543"/>
                  </a:lnTo>
                  <a:lnTo>
                    <a:pt x="9840" y="2535"/>
                  </a:lnTo>
                  <a:lnTo>
                    <a:pt x="9840" y="2423"/>
                  </a:lnTo>
                  <a:lnTo>
                    <a:pt x="9841" y="2414"/>
                  </a:lnTo>
                  <a:lnTo>
                    <a:pt x="9847" y="2407"/>
                  </a:lnTo>
                  <a:lnTo>
                    <a:pt x="9853" y="2404"/>
                  </a:lnTo>
                  <a:lnTo>
                    <a:pt x="9861" y="2402"/>
                  </a:lnTo>
                  <a:lnTo>
                    <a:pt x="9867" y="2404"/>
                  </a:lnTo>
                  <a:lnTo>
                    <a:pt x="9874" y="2407"/>
                  </a:lnTo>
                  <a:lnTo>
                    <a:pt x="9879" y="2414"/>
                  </a:lnTo>
                  <a:lnTo>
                    <a:pt x="9880" y="2423"/>
                  </a:lnTo>
                  <a:close/>
                  <a:moveTo>
                    <a:pt x="9617" y="2423"/>
                  </a:moveTo>
                  <a:lnTo>
                    <a:pt x="9617" y="2535"/>
                  </a:lnTo>
                  <a:lnTo>
                    <a:pt x="9616" y="2543"/>
                  </a:lnTo>
                  <a:lnTo>
                    <a:pt x="9611" y="2549"/>
                  </a:lnTo>
                  <a:lnTo>
                    <a:pt x="9604" y="2553"/>
                  </a:lnTo>
                  <a:lnTo>
                    <a:pt x="9598" y="2555"/>
                  </a:lnTo>
                  <a:lnTo>
                    <a:pt x="9590" y="2553"/>
                  </a:lnTo>
                  <a:lnTo>
                    <a:pt x="9584" y="2549"/>
                  </a:lnTo>
                  <a:lnTo>
                    <a:pt x="9579" y="2543"/>
                  </a:lnTo>
                  <a:lnTo>
                    <a:pt x="9577" y="2535"/>
                  </a:lnTo>
                  <a:lnTo>
                    <a:pt x="9577" y="2423"/>
                  </a:lnTo>
                  <a:lnTo>
                    <a:pt x="9579" y="2414"/>
                  </a:lnTo>
                  <a:lnTo>
                    <a:pt x="9584" y="2407"/>
                  </a:lnTo>
                  <a:lnTo>
                    <a:pt x="9590" y="2404"/>
                  </a:lnTo>
                  <a:lnTo>
                    <a:pt x="9598" y="2402"/>
                  </a:lnTo>
                  <a:lnTo>
                    <a:pt x="9604" y="2404"/>
                  </a:lnTo>
                  <a:lnTo>
                    <a:pt x="9611" y="2407"/>
                  </a:lnTo>
                  <a:lnTo>
                    <a:pt x="9616" y="2414"/>
                  </a:lnTo>
                  <a:lnTo>
                    <a:pt x="9617" y="2423"/>
                  </a:lnTo>
                  <a:close/>
                  <a:moveTo>
                    <a:pt x="16589" y="796"/>
                  </a:moveTo>
                  <a:lnTo>
                    <a:pt x="16589" y="847"/>
                  </a:lnTo>
                  <a:lnTo>
                    <a:pt x="16588" y="859"/>
                  </a:lnTo>
                  <a:lnTo>
                    <a:pt x="16584" y="869"/>
                  </a:lnTo>
                  <a:lnTo>
                    <a:pt x="16576" y="878"/>
                  </a:lnTo>
                  <a:lnTo>
                    <a:pt x="16566" y="883"/>
                  </a:lnTo>
                  <a:lnTo>
                    <a:pt x="16556" y="890"/>
                  </a:lnTo>
                  <a:lnTo>
                    <a:pt x="16547" y="896"/>
                  </a:lnTo>
                  <a:lnTo>
                    <a:pt x="16534" y="913"/>
                  </a:lnTo>
                  <a:lnTo>
                    <a:pt x="16529" y="923"/>
                  </a:lnTo>
                  <a:lnTo>
                    <a:pt x="16526" y="934"/>
                  </a:lnTo>
                  <a:lnTo>
                    <a:pt x="16526" y="956"/>
                  </a:lnTo>
                  <a:lnTo>
                    <a:pt x="16530" y="968"/>
                  </a:lnTo>
                  <a:lnTo>
                    <a:pt x="16535" y="978"/>
                  </a:lnTo>
                  <a:lnTo>
                    <a:pt x="16541" y="987"/>
                  </a:lnTo>
                  <a:lnTo>
                    <a:pt x="16549" y="996"/>
                  </a:lnTo>
                  <a:lnTo>
                    <a:pt x="16568" y="1006"/>
                  </a:lnTo>
                  <a:lnTo>
                    <a:pt x="16591" y="1011"/>
                  </a:lnTo>
                  <a:lnTo>
                    <a:pt x="16604" y="1009"/>
                  </a:lnTo>
                  <a:lnTo>
                    <a:pt x="16617" y="1005"/>
                  </a:lnTo>
                  <a:lnTo>
                    <a:pt x="16629" y="1000"/>
                  </a:lnTo>
                  <a:lnTo>
                    <a:pt x="16638" y="991"/>
                  </a:lnTo>
                  <a:lnTo>
                    <a:pt x="16647" y="982"/>
                  </a:lnTo>
                  <a:lnTo>
                    <a:pt x="16652" y="970"/>
                  </a:lnTo>
                  <a:lnTo>
                    <a:pt x="16656" y="957"/>
                  </a:lnTo>
                  <a:lnTo>
                    <a:pt x="16657" y="945"/>
                  </a:lnTo>
                  <a:lnTo>
                    <a:pt x="16659" y="936"/>
                  </a:lnTo>
                  <a:lnTo>
                    <a:pt x="16663" y="929"/>
                  </a:lnTo>
                  <a:lnTo>
                    <a:pt x="16670" y="925"/>
                  </a:lnTo>
                  <a:lnTo>
                    <a:pt x="16677" y="924"/>
                  </a:lnTo>
                  <a:lnTo>
                    <a:pt x="16685" y="925"/>
                  </a:lnTo>
                  <a:lnTo>
                    <a:pt x="16691" y="929"/>
                  </a:lnTo>
                  <a:lnTo>
                    <a:pt x="16695" y="936"/>
                  </a:lnTo>
                  <a:lnTo>
                    <a:pt x="16698" y="945"/>
                  </a:lnTo>
                  <a:lnTo>
                    <a:pt x="16695" y="966"/>
                  </a:lnTo>
                  <a:lnTo>
                    <a:pt x="16689" y="986"/>
                  </a:lnTo>
                  <a:lnTo>
                    <a:pt x="16679" y="1003"/>
                  </a:lnTo>
                  <a:lnTo>
                    <a:pt x="16666" y="1020"/>
                  </a:lnTo>
                  <a:lnTo>
                    <a:pt x="16650" y="1033"/>
                  </a:lnTo>
                  <a:lnTo>
                    <a:pt x="16632" y="1042"/>
                  </a:lnTo>
                  <a:lnTo>
                    <a:pt x="16612" y="1048"/>
                  </a:lnTo>
                  <a:lnTo>
                    <a:pt x="16591" y="1051"/>
                  </a:lnTo>
                  <a:lnTo>
                    <a:pt x="16572" y="1048"/>
                  </a:lnTo>
                  <a:lnTo>
                    <a:pt x="16556" y="1044"/>
                  </a:lnTo>
                  <a:lnTo>
                    <a:pt x="16539" y="1037"/>
                  </a:lnTo>
                  <a:lnTo>
                    <a:pt x="16523" y="1025"/>
                  </a:lnTo>
                  <a:lnTo>
                    <a:pt x="16511" y="1014"/>
                  </a:lnTo>
                  <a:lnTo>
                    <a:pt x="16500" y="998"/>
                  </a:lnTo>
                  <a:lnTo>
                    <a:pt x="16495" y="991"/>
                  </a:lnTo>
                  <a:lnTo>
                    <a:pt x="16491" y="982"/>
                  </a:lnTo>
                  <a:lnTo>
                    <a:pt x="16488" y="964"/>
                  </a:lnTo>
                  <a:lnTo>
                    <a:pt x="16485" y="945"/>
                  </a:lnTo>
                  <a:lnTo>
                    <a:pt x="16486" y="928"/>
                  </a:lnTo>
                  <a:lnTo>
                    <a:pt x="16490" y="910"/>
                  </a:lnTo>
                  <a:lnTo>
                    <a:pt x="16498" y="895"/>
                  </a:lnTo>
                  <a:lnTo>
                    <a:pt x="16507" y="879"/>
                  </a:lnTo>
                  <a:lnTo>
                    <a:pt x="16518" y="867"/>
                  </a:lnTo>
                  <a:lnTo>
                    <a:pt x="16532" y="856"/>
                  </a:lnTo>
                  <a:lnTo>
                    <a:pt x="16549" y="847"/>
                  </a:lnTo>
                  <a:lnTo>
                    <a:pt x="16549" y="796"/>
                  </a:lnTo>
                  <a:lnTo>
                    <a:pt x="16550" y="787"/>
                  </a:lnTo>
                  <a:lnTo>
                    <a:pt x="16556" y="782"/>
                  </a:lnTo>
                  <a:lnTo>
                    <a:pt x="16562" y="778"/>
                  </a:lnTo>
                  <a:lnTo>
                    <a:pt x="16568" y="777"/>
                  </a:lnTo>
                  <a:lnTo>
                    <a:pt x="16576" y="778"/>
                  </a:lnTo>
                  <a:lnTo>
                    <a:pt x="16582" y="782"/>
                  </a:lnTo>
                  <a:lnTo>
                    <a:pt x="16588" y="787"/>
                  </a:lnTo>
                  <a:lnTo>
                    <a:pt x="16589" y="796"/>
                  </a:lnTo>
                  <a:close/>
                  <a:moveTo>
                    <a:pt x="17183" y="112"/>
                  </a:moveTo>
                  <a:lnTo>
                    <a:pt x="17100" y="225"/>
                  </a:lnTo>
                  <a:lnTo>
                    <a:pt x="17100" y="309"/>
                  </a:lnTo>
                  <a:lnTo>
                    <a:pt x="17183" y="309"/>
                  </a:lnTo>
                  <a:lnTo>
                    <a:pt x="17183" y="112"/>
                  </a:lnTo>
                  <a:close/>
                  <a:moveTo>
                    <a:pt x="17059" y="309"/>
                  </a:moveTo>
                  <a:lnTo>
                    <a:pt x="17059" y="218"/>
                  </a:lnTo>
                  <a:lnTo>
                    <a:pt x="17063" y="207"/>
                  </a:lnTo>
                  <a:lnTo>
                    <a:pt x="17175" y="55"/>
                  </a:lnTo>
                  <a:lnTo>
                    <a:pt x="16382" y="309"/>
                  </a:lnTo>
                  <a:lnTo>
                    <a:pt x="16906" y="309"/>
                  </a:lnTo>
                  <a:lnTo>
                    <a:pt x="17015" y="309"/>
                  </a:lnTo>
                  <a:lnTo>
                    <a:pt x="17059" y="309"/>
                  </a:lnTo>
                  <a:close/>
                  <a:moveTo>
                    <a:pt x="17222" y="309"/>
                  </a:moveTo>
                  <a:lnTo>
                    <a:pt x="17388" y="309"/>
                  </a:lnTo>
                  <a:lnTo>
                    <a:pt x="17222" y="80"/>
                  </a:lnTo>
                  <a:lnTo>
                    <a:pt x="17222" y="309"/>
                  </a:lnTo>
                  <a:close/>
                  <a:moveTo>
                    <a:pt x="17183" y="481"/>
                  </a:moveTo>
                  <a:lnTo>
                    <a:pt x="17015" y="481"/>
                  </a:lnTo>
                  <a:lnTo>
                    <a:pt x="17007" y="478"/>
                  </a:lnTo>
                  <a:lnTo>
                    <a:pt x="17000" y="474"/>
                  </a:lnTo>
                  <a:lnTo>
                    <a:pt x="16995" y="468"/>
                  </a:lnTo>
                  <a:lnTo>
                    <a:pt x="16994" y="460"/>
                  </a:lnTo>
                  <a:lnTo>
                    <a:pt x="16994" y="349"/>
                  </a:lnTo>
                  <a:lnTo>
                    <a:pt x="16926" y="349"/>
                  </a:lnTo>
                  <a:lnTo>
                    <a:pt x="16926" y="552"/>
                  </a:lnTo>
                  <a:lnTo>
                    <a:pt x="17067" y="552"/>
                  </a:lnTo>
                  <a:lnTo>
                    <a:pt x="17183" y="552"/>
                  </a:lnTo>
                  <a:lnTo>
                    <a:pt x="17183" y="481"/>
                  </a:lnTo>
                  <a:close/>
                  <a:moveTo>
                    <a:pt x="17222" y="349"/>
                  </a:moveTo>
                  <a:lnTo>
                    <a:pt x="17222" y="460"/>
                  </a:lnTo>
                  <a:lnTo>
                    <a:pt x="17222" y="573"/>
                  </a:lnTo>
                  <a:lnTo>
                    <a:pt x="17222" y="1413"/>
                  </a:lnTo>
                  <a:lnTo>
                    <a:pt x="17222" y="2253"/>
                  </a:lnTo>
                  <a:lnTo>
                    <a:pt x="17220" y="2262"/>
                  </a:lnTo>
                  <a:lnTo>
                    <a:pt x="17216" y="2268"/>
                  </a:lnTo>
                  <a:lnTo>
                    <a:pt x="17209" y="2272"/>
                  </a:lnTo>
                  <a:lnTo>
                    <a:pt x="17202" y="2273"/>
                  </a:lnTo>
                  <a:lnTo>
                    <a:pt x="17194" y="2272"/>
                  </a:lnTo>
                  <a:lnTo>
                    <a:pt x="17188" y="2268"/>
                  </a:lnTo>
                  <a:lnTo>
                    <a:pt x="17184" y="2262"/>
                  </a:lnTo>
                  <a:lnTo>
                    <a:pt x="17183" y="2253"/>
                  </a:lnTo>
                  <a:lnTo>
                    <a:pt x="17183" y="1422"/>
                  </a:lnTo>
                  <a:lnTo>
                    <a:pt x="17183" y="592"/>
                  </a:lnTo>
                  <a:lnTo>
                    <a:pt x="17088" y="592"/>
                  </a:lnTo>
                  <a:lnTo>
                    <a:pt x="17088" y="1422"/>
                  </a:lnTo>
                  <a:lnTo>
                    <a:pt x="17088" y="2253"/>
                  </a:lnTo>
                  <a:lnTo>
                    <a:pt x="17085" y="2262"/>
                  </a:lnTo>
                  <a:lnTo>
                    <a:pt x="17081" y="2268"/>
                  </a:lnTo>
                  <a:lnTo>
                    <a:pt x="17075" y="2272"/>
                  </a:lnTo>
                  <a:lnTo>
                    <a:pt x="17067" y="2273"/>
                  </a:lnTo>
                  <a:lnTo>
                    <a:pt x="17059" y="2272"/>
                  </a:lnTo>
                  <a:lnTo>
                    <a:pt x="17053" y="2268"/>
                  </a:lnTo>
                  <a:lnTo>
                    <a:pt x="17049" y="2262"/>
                  </a:lnTo>
                  <a:lnTo>
                    <a:pt x="17047" y="2253"/>
                  </a:lnTo>
                  <a:lnTo>
                    <a:pt x="17047" y="1422"/>
                  </a:lnTo>
                  <a:lnTo>
                    <a:pt x="17047" y="592"/>
                  </a:lnTo>
                  <a:lnTo>
                    <a:pt x="16906" y="592"/>
                  </a:lnTo>
                  <a:lnTo>
                    <a:pt x="16898" y="590"/>
                  </a:lnTo>
                  <a:lnTo>
                    <a:pt x="16891" y="587"/>
                  </a:lnTo>
                  <a:lnTo>
                    <a:pt x="16888" y="580"/>
                  </a:lnTo>
                  <a:lnTo>
                    <a:pt x="16886" y="573"/>
                  </a:lnTo>
                  <a:lnTo>
                    <a:pt x="16886" y="349"/>
                  </a:lnTo>
                  <a:lnTo>
                    <a:pt x="16584" y="349"/>
                  </a:lnTo>
                  <a:lnTo>
                    <a:pt x="16584" y="740"/>
                  </a:lnTo>
                  <a:lnTo>
                    <a:pt x="16581" y="749"/>
                  </a:lnTo>
                  <a:lnTo>
                    <a:pt x="16577" y="755"/>
                  </a:lnTo>
                  <a:lnTo>
                    <a:pt x="16571" y="759"/>
                  </a:lnTo>
                  <a:lnTo>
                    <a:pt x="16563" y="761"/>
                  </a:lnTo>
                  <a:lnTo>
                    <a:pt x="16556" y="759"/>
                  </a:lnTo>
                  <a:lnTo>
                    <a:pt x="16549" y="755"/>
                  </a:lnTo>
                  <a:lnTo>
                    <a:pt x="16545" y="749"/>
                  </a:lnTo>
                  <a:lnTo>
                    <a:pt x="16544" y="740"/>
                  </a:lnTo>
                  <a:lnTo>
                    <a:pt x="16544" y="349"/>
                  </a:lnTo>
                  <a:lnTo>
                    <a:pt x="16255" y="349"/>
                  </a:lnTo>
                  <a:lnTo>
                    <a:pt x="16246" y="348"/>
                  </a:lnTo>
                  <a:lnTo>
                    <a:pt x="16239" y="344"/>
                  </a:lnTo>
                  <a:lnTo>
                    <a:pt x="16235" y="339"/>
                  </a:lnTo>
                  <a:lnTo>
                    <a:pt x="16232" y="332"/>
                  </a:lnTo>
                  <a:lnTo>
                    <a:pt x="16232" y="326"/>
                  </a:lnTo>
                  <a:lnTo>
                    <a:pt x="16235" y="319"/>
                  </a:lnTo>
                  <a:lnTo>
                    <a:pt x="16241" y="314"/>
                  </a:lnTo>
                  <a:lnTo>
                    <a:pt x="16249" y="310"/>
                  </a:lnTo>
                  <a:lnTo>
                    <a:pt x="17184" y="9"/>
                  </a:lnTo>
                  <a:lnTo>
                    <a:pt x="17188" y="5"/>
                  </a:lnTo>
                  <a:lnTo>
                    <a:pt x="17192" y="2"/>
                  </a:lnTo>
                  <a:lnTo>
                    <a:pt x="17203" y="0"/>
                  </a:lnTo>
                  <a:lnTo>
                    <a:pt x="17213" y="2"/>
                  </a:lnTo>
                  <a:lnTo>
                    <a:pt x="17220" y="10"/>
                  </a:lnTo>
                  <a:lnTo>
                    <a:pt x="17443" y="317"/>
                  </a:lnTo>
                  <a:lnTo>
                    <a:pt x="17447" y="323"/>
                  </a:lnTo>
                  <a:lnTo>
                    <a:pt x="17449" y="328"/>
                  </a:lnTo>
                  <a:lnTo>
                    <a:pt x="17447" y="339"/>
                  </a:lnTo>
                  <a:lnTo>
                    <a:pt x="17440" y="346"/>
                  </a:lnTo>
                  <a:lnTo>
                    <a:pt x="17427" y="349"/>
                  </a:lnTo>
                  <a:lnTo>
                    <a:pt x="17222" y="349"/>
                  </a:lnTo>
                  <a:close/>
                  <a:moveTo>
                    <a:pt x="17183" y="349"/>
                  </a:moveTo>
                  <a:lnTo>
                    <a:pt x="17034" y="349"/>
                  </a:lnTo>
                  <a:lnTo>
                    <a:pt x="17034" y="440"/>
                  </a:lnTo>
                  <a:lnTo>
                    <a:pt x="17183" y="440"/>
                  </a:lnTo>
                  <a:lnTo>
                    <a:pt x="17183" y="349"/>
                  </a:lnTo>
                  <a:close/>
                  <a:moveTo>
                    <a:pt x="15662" y="1363"/>
                  </a:moveTo>
                  <a:lnTo>
                    <a:pt x="15676" y="1370"/>
                  </a:lnTo>
                  <a:lnTo>
                    <a:pt x="15687" y="1379"/>
                  </a:lnTo>
                  <a:lnTo>
                    <a:pt x="15696" y="1391"/>
                  </a:lnTo>
                  <a:lnTo>
                    <a:pt x="15704" y="1404"/>
                  </a:lnTo>
                  <a:lnTo>
                    <a:pt x="15709" y="1417"/>
                  </a:lnTo>
                  <a:lnTo>
                    <a:pt x="15713" y="1431"/>
                  </a:lnTo>
                  <a:lnTo>
                    <a:pt x="15713" y="1461"/>
                  </a:lnTo>
                  <a:lnTo>
                    <a:pt x="15709" y="1477"/>
                  </a:lnTo>
                  <a:lnTo>
                    <a:pt x="15702" y="1491"/>
                  </a:lnTo>
                  <a:lnTo>
                    <a:pt x="15693" y="1503"/>
                  </a:lnTo>
                  <a:lnTo>
                    <a:pt x="15681" y="1515"/>
                  </a:lnTo>
                  <a:lnTo>
                    <a:pt x="15668" y="1524"/>
                  </a:lnTo>
                  <a:lnTo>
                    <a:pt x="15654" y="1530"/>
                  </a:lnTo>
                  <a:lnTo>
                    <a:pt x="15640" y="1534"/>
                  </a:lnTo>
                  <a:lnTo>
                    <a:pt x="15623" y="1535"/>
                  </a:lnTo>
                  <a:lnTo>
                    <a:pt x="15605" y="1534"/>
                  </a:lnTo>
                  <a:lnTo>
                    <a:pt x="15589" y="1529"/>
                  </a:lnTo>
                  <a:lnTo>
                    <a:pt x="15573" y="1520"/>
                  </a:lnTo>
                  <a:lnTo>
                    <a:pt x="15559" y="1509"/>
                  </a:lnTo>
                  <a:lnTo>
                    <a:pt x="15549" y="1496"/>
                  </a:lnTo>
                  <a:lnTo>
                    <a:pt x="15540" y="1480"/>
                  </a:lnTo>
                  <a:lnTo>
                    <a:pt x="15535" y="1464"/>
                  </a:lnTo>
                  <a:lnTo>
                    <a:pt x="15532" y="1445"/>
                  </a:lnTo>
                  <a:lnTo>
                    <a:pt x="15535" y="1437"/>
                  </a:lnTo>
                  <a:lnTo>
                    <a:pt x="15539" y="1431"/>
                  </a:lnTo>
                  <a:lnTo>
                    <a:pt x="15545" y="1427"/>
                  </a:lnTo>
                  <a:lnTo>
                    <a:pt x="15553" y="1425"/>
                  </a:lnTo>
                  <a:lnTo>
                    <a:pt x="15560" y="1427"/>
                  </a:lnTo>
                  <a:lnTo>
                    <a:pt x="15567" y="1431"/>
                  </a:lnTo>
                  <a:lnTo>
                    <a:pt x="15571" y="1437"/>
                  </a:lnTo>
                  <a:lnTo>
                    <a:pt x="15573" y="1445"/>
                  </a:lnTo>
                  <a:lnTo>
                    <a:pt x="15573" y="1455"/>
                  </a:lnTo>
                  <a:lnTo>
                    <a:pt x="15577" y="1465"/>
                  </a:lnTo>
                  <a:lnTo>
                    <a:pt x="15581" y="1474"/>
                  </a:lnTo>
                  <a:lnTo>
                    <a:pt x="15587" y="1480"/>
                  </a:lnTo>
                  <a:lnTo>
                    <a:pt x="15595" y="1487"/>
                  </a:lnTo>
                  <a:lnTo>
                    <a:pt x="15604" y="1492"/>
                  </a:lnTo>
                  <a:lnTo>
                    <a:pt x="15623" y="1496"/>
                  </a:lnTo>
                  <a:lnTo>
                    <a:pt x="15641" y="1492"/>
                  </a:lnTo>
                  <a:lnTo>
                    <a:pt x="15655" y="1484"/>
                  </a:lnTo>
                  <a:lnTo>
                    <a:pt x="15662" y="1478"/>
                  </a:lnTo>
                  <a:lnTo>
                    <a:pt x="15667" y="1470"/>
                  </a:lnTo>
                  <a:lnTo>
                    <a:pt x="15673" y="1455"/>
                  </a:lnTo>
                  <a:lnTo>
                    <a:pt x="15675" y="1436"/>
                  </a:lnTo>
                  <a:lnTo>
                    <a:pt x="15669" y="1423"/>
                  </a:lnTo>
                  <a:lnTo>
                    <a:pt x="15662" y="1413"/>
                  </a:lnTo>
                  <a:lnTo>
                    <a:pt x="15652" y="1405"/>
                  </a:lnTo>
                  <a:lnTo>
                    <a:pt x="15631" y="1390"/>
                  </a:lnTo>
                  <a:lnTo>
                    <a:pt x="15625" y="1379"/>
                  </a:lnTo>
                  <a:lnTo>
                    <a:pt x="15622" y="1365"/>
                  </a:lnTo>
                  <a:lnTo>
                    <a:pt x="15622" y="1323"/>
                  </a:lnTo>
                  <a:lnTo>
                    <a:pt x="15623" y="1314"/>
                  </a:lnTo>
                  <a:lnTo>
                    <a:pt x="15628" y="1308"/>
                  </a:lnTo>
                  <a:lnTo>
                    <a:pt x="15635" y="1305"/>
                  </a:lnTo>
                  <a:lnTo>
                    <a:pt x="15643" y="1304"/>
                  </a:lnTo>
                  <a:lnTo>
                    <a:pt x="15649" y="1305"/>
                  </a:lnTo>
                  <a:lnTo>
                    <a:pt x="15655" y="1308"/>
                  </a:lnTo>
                  <a:lnTo>
                    <a:pt x="15660" y="1314"/>
                  </a:lnTo>
                  <a:lnTo>
                    <a:pt x="15662" y="1323"/>
                  </a:lnTo>
                  <a:lnTo>
                    <a:pt x="15662" y="1363"/>
                  </a:lnTo>
                  <a:close/>
                  <a:moveTo>
                    <a:pt x="15667" y="963"/>
                  </a:moveTo>
                  <a:lnTo>
                    <a:pt x="15667" y="1277"/>
                  </a:lnTo>
                  <a:lnTo>
                    <a:pt x="15664" y="1286"/>
                  </a:lnTo>
                  <a:lnTo>
                    <a:pt x="15660" y="1292"/>
                  </a:lnTo>
                  <a:lnTo>
                    <a:pt x="15654" y="1296"/>
                  </a:lnTo>
                  <a:lnTo>
                    <a:pt x="15646" y="1298"/>
                  </a:lnTo>
                  <a:lnTo>
                    <a:pt x="15639" y="1296"/>
                  </a:lnTo>
                  <a:lnTo>
                    <a:pt x="15632" y="1292"/>
                  </a:lnTo>
                  <a:lnTo>
                    <a:pt x="15628" y="1286"/>
                  </a:lnTo>
                  <a:lnTo>
                    <a:pt x="15627" y="1277"/>
                  </a:lnTo>
                  <a:lnTo>
                    <a:pt x="15627" y="963"/>
                  </a:lnTo>
                  <a:lnTo>
                    <a:pt x="15385" y="963"/>
                  </a:lnTo>
                  <a:lnTo>
                    <a:pt x="15385" y="1139"/>
                  </a:lnTo>
                  <a:lnTo>
                    <a:pt x="15384" y="1147"/>
                  </a:lnTo>
                  <a:lnTo>
                    <a:pt x="15378" y="1153"/>
                  </a:lnTo>
                  <a:lnTo>
                    <a:pt x="15372" y="1157"/>
                  </a:lnTo>
                  <a:lnTo>
                    <a:pt x="15366" y="1158"/>
                  </a:lnTo>
                  <a:lnTo>
                    <a:pt x="15253" y="1158"/>
                  </a:lnTo>
                  <a:lnTo>
                    <a:pt x="15253" y="1705"/>
                  </a:lnTo>
                  <a:lnTo>
                    <a:pt x="15253" y="2253"/>
                  </a:lnTo>
                  <a:lnTo>
                    <a:pt x="15250" y="2262"/>
                  </a:lnTo>
                  <a:lnTo>
                    <a:pt x="15246" y="2268"/>
                  </a:lnTo>
                  <a:lnTo>
                    <a:pt x="15240" y="2272"/>
                  </a:lnTo>
                  <a:lnTo>
                    <a:pt x="15232" y="2273"/>
                  </a:lnTo>
                  <a:lnTo>
                    <a:pt x="15225" y="2272"/>
                  </a:lnTo>
                  <a:lnTo>
                    <a:pt x="15218" y="2268"/>
                  </a:lnTo>
                  <a:lnTo>
                    <a:pt x="15214" y="2262"/>
                  </a:lnTo>
                  <a:lnTo>
                    <a:pt x="15213" y="2253"/>
                  </a:lnTo>
                  <a:lnTo>
                    <a:pt x="15213" y="1705"/>
                  </a:lnTo>
                  <a:lnTo>
                    <a:pt x="15213" y="1158"/>
                  </a:lnTo>
                  <a:lnTo>
                    <a:pt x="15141" y="1158"/>
                  </a:lnTo>
                  <a:lnTo>
                    <a:pt x="15141" y="1705"/>
                  </a:lnTo>
                  <a:lnTo>
                    <a:pt x="15141" y="2253"/>
                  </a:lnTo>
                  <a:lnTo>
                    <a:pt x="15140" y="2262"/>
                  </a:lnTo>
                  <a:lnTo>
                    <a:pt x="15135" y="2268"/>
                  </a:lnTo>
                  <a:lnTo>
                    <a:pt x="15128" y="2272"/>
                  </a:lnTo>
                  <a:lnTo>
                    <a:pt x="15122" y="2273"/>
                  </a:lnTo>
                  <a:lnTo>
                    <a:pt x="15114" y="2272"/>
                  </a:lnTo>
                  <a:lnTo>
                    <a:pt x="15108" y="2268"/>
                  </a:lnTo>
                  <a:lnTo>
                    <a:pt x="15103" y="2262"/>
                  </a:lnTo>
                  <a:lnTo>
                    <a:pt x="15101" y="2253"/>
                  </a:lnTo>
                  <a:lnTo>
                    <a:pt x="15101" y="1695"/>
                  </a:lnTo>
                  <a:lnTo>
                    <a:pt x="15101" y="1139"/>
                  </a:lnTo>
                  <a:lnTo>
                    <a:pt x="15101" y="1047"/>
                  </a:lnTo>
                  <a:lnTo>
                    <a:pt x="15101" y="963"/>
                  </a:lnTo>
                  <a:lnTo>
                    <a:pt x="14931" y="963"/>
                  </a:lnTo>
                  <a:lnTo>
                    <a:pt x="14918" y="960"/>
                  </a:lnTo>
                  <a:lnTo>
                    <a:pt x="14913" y="956"/>
                  </a:lnTo>
                  <a:lnTo>
                    <a:pt x="14910" y="952"/>
                  </a:lnTo>
                  <a:lnTo>
                    <a:pt x="14909" y="947"/>
                  </a:lnTo>
                  <a:lnTo>
                    <a:pt x="14909" y="942"/>
                  </a:lnTo>
                  <a:lnTo>
                    <a:pt x="14914" y="931"/>
                  </a:lnTo>
                  <a:lnTo>
                    <a:pt x="15105" y="680"/>
                  </a:lnTo>
                  <a:lnTo>
                    <a:pt x="15116" y="675"/>
                  </a:lnTo>
                  <a:lnTo>
                    <a:pt x="15127" y="674"/>
                  </a:lnTo>
                  <a:lnTo>
                    <a:pt x="15907" y="924"/>
                  </a:lnTo>
                  <a:lnTo>
                    <a:pt x="15920" y="933"/>
                  </a:lnTo>
                  <a:lnTo>
                    <a:pt x="15922" y="940"/>
                  </a:lnTo>
                  <a:lnTo>
                    <a:pt x="15923" y="946"/>
                  </a:lnTo>
                  <a:lnTo>
                    <a:pt x="15921" y="952"/>
                  </a:lnTo>
                  <a:lnTo>
                    <a:pt x="15916" y="957"/>
                  </a:lnTo>
                  <a:lnTo>
                    <a:pt x="15909" y="961"/>
                  </a:lnTo>
                  <a:lnTo>
                    <a:pt x="15900" y="963"/>
                  </a:lnTo>
                  <a:lnTo>
                    <a:pt x="15667" y="963"/>
                  </a:lnTo>
                  <a:close/>
                  <a:moveTo>
                    <a:pt x="15167" y="727"/>
                  </a:moveTo>
                  <a:lnTo>
                    <a:pt x="15240" y="828"/>
                  </a:lnTo>
                  <a:lnTo>
                    <a:pt x="15244" y="840"/>
                  </a:lnTo>
                  <a:lnTo>
                    <a:pt x="15244" y="923"/>
                  </a:lnTo>
                  <a:lnTo>
                    <a:pt x="15276" y="923"/>
                  </a:lnTo>
                  <a:lnTo>
                    <a:pt x="15366" y="923"/>
                  </a:lnTo>
                  <a:lnTo>
                    <a:pt x="15773" y="923"/>
                  </a:lnTo>
                  <a:lnTo>
                    <a:pt x="15167" y="727"/>
                  </a:lnTo>
                  <a:close/>
                  <a:moveTo>
                    <a:pt x="15203" y="923"/>
                  </a:moveTo>
                  <a:lnTo>
                    <a:pt x="15203" y="846"/>
                  </a:lnTo>
                  <a:lnTo>
                    <a:pt x="15141" y="762"/>
                  </a:lnTo>
                  <a:lnTo>
                    <a:pt x="15141" y="923"/>
                  </a:lnTo>
                  <a:lnTo>
                    <a:pt x="15203" y="923"/>
                  </a:lnTo>
                  <a:close/>
                  <a:moveTo>
                    <a:pt x="15101" y="752"/>
                  </a:moveTo>
                  <a:lnTo>
                    <a:pt x="14971" y="923"/>
                  </a:lnTo>
                  <a:lnTo>
                    <a:pt x="15101" y="923"/>
                  </a:lnTo>
                  <a:lnTo>
                    <a:pt x="15101" y="752"/>
                  </a:lnTo>
                  <a:close/>
                  <a:moveTo>
                    <a:pt x="15296" y="963"/>
                  </a:moveTo>
                  <a:lnTo>
                    <a:pt x="15296" y="1047"/>
                  </a:lnTo>
                  <a:lnTo>
                    <a:pt x="15295" y="1055"/>
                  </a:lnTo>
                  <a:lnTo>
                    <a:pt x="15290" y="1061"/>
                  </a:lnTo>
                  <a:lnTo>
                    <a:pt x="15283" y="1065"/>
                  </a:lnTo>
                  <a:lnTo>
                    <a:pt x="15276" y="1066"/>
                  </a:lnTo>
                  <a:lnTo>
                    <a:pt x="15141" y="1066"/>
                  </a:lnTo>
                  <a:lnTo>
                    <a:pt x="15141" y="1119"/>
                  </a:lnTo>
                  <a:lnTo>
                    <a:pt x="15232" y="1119"/>
                  </a:lnTo>
                  <a:lnTo>
                    <a:pt x="15345" y="1119"/>
                  </a:lnTo>
                  <a:lnTo>
                    <a:pt x="15345" y="963"/>
                  </a:lnTo>
                  <a:lnTo>
                    <a:pt x="15296" y="963"/>
                  </a:lnTo>
                  <a:close/>
                  <a:moveTo>
                    <a:pt x="15257" y="963"/>
                  </a:moveTo>
                  <a:lnTo>
                    <a:pt x="15141" y="963"/>
                  </a:lnTo>
                  <a:lnTo>
                    <a:pt x="15141" y="1027"/>
                  </a:lnTo>
                  <a:lnTo>
                    <a:pt x="15257" y="1027"/>
                  </a:lnTo>
                  <a:lnTo>
                    <a:pt x="15257" y="963"/>
                  </a:lnTo>
                  <a:close/>
                  <a:moveTo>
                    <a:pt x="12486" y="3681"/>
                  </a:moveTo>
                  <a:lnTo>
                    <a:pt x="12486" y="3792"/>
                  </a:lnTo>
                  <a:lnTo>
                    <a:pt x="12484" y="3800"/>
                  </a:lnTo>
                  <a:lnTo>
                    <a:pt x="12482" y="3805"/>
                  </a:lnTo>
                  <a:lnTo>
                    <a:pt x="12523" y="3838"/>
                  </a:lnTo>
                  <a:lnTo>
                    <a:pt x="12559" y="3875"/>
                  </a:lnTo>
                  <a:lnTo>
                    <a:pt x="12592" y="3918"/>
                  </a:lnTo>
                  <a:lnTo>
                    <a:pt x="12606" y="3939"/>
                  </a:lnTo>
                  <a:lnTo>
                    <a:pt x="12619" y="3962"/>
                  </a:lnTo>
                  <a:lnTo>
                    <a:pt x="12641" y="4011"/>
                  </a:lnTo>
                  <a:lnTo>
                    <a:pt x="12657" y="4062"/>
                  </a:lnTo>
                  <a:lnTo>
                    <a:pt x="12666" y="4116"/>
                  </a:lnTo>
                  <a:lnTo>
                    <a:pt x="12670" y="4171"/>
                  </a:lnTo>
                  <a:lnTo>
                    <a:pt x="12666" y="4226"/>
                  </a:lnTo>
                  <a:lnTo>
                    <a:pt x="12661" y="4265"/>
                  </a:lnTo>
                  <a:lnTo>
                    <a:pt x="12654" y="4304"/>
                  </a:lnTo>
                  <a:lnTo>
                    <a:pt x="13197" y="4304"/>
                  </a:lnTo>
                  <a:lnTo>
                    <a:pt x="13741" y="4304"/>
                  </a:lnTo>
                  <a:lnTo>
                    <a:pt x="13741" y="3764"/>
                  </a:lnTo>
                  <a:lnTo>
                    <a:pt x="13741" y="3225"/>
                  </a:lnTo>
                  <a:lnTo>
                    <a:pt x="13183" y="3225"/>
                  </a:lnTo>
                  <a:lnTo>
                    <a:pt x="12625" y="3225"/>
                  </a:lnTo>
                  <a:lnTo>
                    <a:pt x="12616" y="3222"/>
                  </a:lnTo>
                  <a:lnTo>
                    <a:pt x="12610" y="3218"/>
                  </a:lnTo>
                  <a:lnTo>
                    <a:pt x="12606" y="3212"/>
                  </a:lnTo>
                  <a:lnTo>
                    <a:pt x="12606" y="3204"/>
                  </a:lnTo>
                  <a:lnTo>
                    <a:pt x="12606" y="3196"/>
                  </a:lnTo>
                  <a:lnTo>
                    <a:pt x="12610" y="3190"/>
                  </a:lnTo>
                  <a:lnTo>
                    <a:pt x="12616" y="3186"/>
                  </a:lnTo>
                  <a:lnTo>
                    <a:pt x="12625" y="3184"/>
                  </a:lnTo>
                  <a:lnTo>
                    <a:pt x="12793" y="3184"/>
                  </a:lnTo>
                  <a:lnTo>
                    <a:pt x="12793" y="3031"/>
                  </a:lnTo>
                  <a:lnTo>
                    <a:pt x="12353" y="3031"/>
                  </a:lnTo>
                  <a:lnTo>
                    <a:pt x="12353" y="3184"/>
                  </a:lnTo>
                  <a:lnTo>
                    <a:pt x="12493" y="3184"/>
                  </a:lnTo>
                  <a:lnTo>
                    <a:pt x="12502" y="3186"/>
                  </a:lnTo>
                  <a:lnTo>
                    <a:pt x="12509" y="3190"/>
                  </a:lnTo>
                  <a:lnTo>
                    <a:pt x="12512" y="3196"/>
                  </a:lnTo>
                  <a:lnTo>
                    <a:pt x="12514" y="3204"/>
                  </a:lnTo>
                  <a:lnTo>
                    <a:pt x="12512" y="3212"/>
                  </a:lnTo>
                  <a:lnTo>
                    <a:pt x="12509" y="3218"/>
                  </a:lnTo>
                  <a:lnTo>
                    <a:pt x="12502" y="3222"/>
                  </a:lnTo>
                  <a:lnTo>
                    <a:pt x="12493" y="3225"/>
                  </a:lnTo>
                  <a:lnTo>
                    <a:pt x="12236" y="3225"/>
                  </a:lnTo>
                  <a:lnTo>
                    <a:pt x="12236" y="3670"/>
                  </a:lnTo>
                  <a:lnTo>
                    <a:pt x="12233" y="3679"/>
                  </a:lnTo>
                  <a:lnTo>
                    <a:pt x="12229" y="3685"/>
                  </a:lnTo>
                  <a:lnTo>
                    <a:pt x="12223" y="3689"/>
                  </a:lnTo>
                  <a:lnTo>
                    <a:pt x="12215" y="3690"/>
                  </a:lnTo>
                  <a:lnTo>
                    <a:pt x="12207" y="3689"/>
                  </a:lnTo>
                  <a:lnTo>
                    <a:pt x="12201" y="3685"/>
                  </a:lnTo>
                  <a:lnTo>
                    <a:pt x="12197" y="3679"/>
                  </a:lnTo>
                  <a:lnTo>
                    <a:pt x="12194" y="3670"/>
                  </a:lnTo>
                  <a:lnTo>
                    <a:pt x="12194" y="3204"/>
                  </a:lnTo>
                  <a:lnTo>
                    <a:pt x="12197" y="3196"/>
                  </a:lnTo>
                  <a:lnTo>
                    <a:pt x="12201" y="3190"/>
                  </a:lnTo>
                  <a:lnTo>
                    <a:pt x="12207" y="3186"/>
                  </a:lnTo>
                  <a:lnTo>
                    <a:pt x="12215" y="3184"/>
                  </a:lnTo>
                  <a:lnTo>
                    <a:pt x="12314" y="3184"/>
                  </a:lnTo>
                  <a:lnTo>
                    <a:pt x="12314" y="3011"/>
                  </a:lnTo>
                  <a:lnTo>
                    <a:pt x="12315" y="3003"/>
                  </a:lnTo>
                  <a:lnTo>
                    <a:pt x="12319" y="2997"/>
                  </a:lnTo>
                  <a:lnTo>
                    <a:pt x="12325" y="2993"/>
                  </a:lnTo>
                  <a:lnTo>
                    <a:pt x="12333" y="2991"/>
                  </a:lnTo>
                  <a:lnTo>
                    <a:pt x="12814" y="2991"/>
                  </a:lnTo>
                  <a:lnTo>
                    <a:pt x="12822" y="2993"/>
                  </a:lnTo>
                  <a:lnTo>
                    <a:pt x="12828" y="2997"/>
                  </a:lnTo>
                  <a:lnTo>
                    <a:pt x="12832" y="3003"/>
                  </a:lnTo>
                  <a:lnTo>
                    <a:pt x="12833" y="3011"/>
                  </a:lnTo>
                  <a:lnTo>
                    <a:pt x="12833" y="3184"/>
                  </a:lnTo>
                  <a:lnTo>
                    <a:pt x="13761" y="3184"/>
                  </a:lnTo>
                  <a:lnTo>
                    <a:pt x="13769" y="3186"/>
                  </a:lnTo>
                  <a:lnTo>
                    <a:pt x="13776" y="3190"/>
                  </a:lnTo>
                  <a:lnTo>
                    <a:pt x="13779" y="3196"/>
                  </a:lnTo>
                  <a:lnTo>
                    <a:pt x="13782" y="3204"/>
                  </a:lnTo>
                  <a:lnTo>
                    <a:pt x="13782" y="3764"/>
                  </a:lnTo>
                  <a:lnTo>
                    <a:pt x="13782" y="4324"/>
                  </a:lnTo>
                  <a:lnTo>
                    <a:pt x="13779" y="4332"/>
                  </a:lnTo>
                  <a:lnTo>
                    <a:pt x="13776" y="4338"/>
                  </a:lnTo>
                  <a:lnTo>
                    <a:pt x="13769" y="4342"/>
                  </a:lnTo>
                  <a:lnTo>
                    <a:pt x="13761" y="4343"/>
                  </a:lnTo>
                  <a:lnTo>
                    <a:pt x="13197" y="4343"/>
                  </a:lnTo>
                  <a:lnTo>
                    <a:pt x="12633" y="4343"/>
                  </a:lnTo>
                  <a:lnTo>
                    <a:pt x="12628" y="4347"/>
                  </a:lnTo>
                  <a:lnTo>
                    <a:pt x="12621" y="4349"/>
                  </a:lnTo>
                  <a:lnTo>
                    <a:pt x="12016" y="4349"/>
                  </a:lnTo>
                  <a:lnTo>
                    <a:pt x="11412" y="4349"/>
                  </a:lnTo>
                  <a:lnTo>
                    <a:pt x="11403" y="4346"/>
                  </a:lnTo>
                  <a:lnTo>
                    <a:pt x="11397" y="4341"/>
                  </a:lnTo>
                  <a:lnTo>
                    <a:pt x="11388" y="4334"/>
                  </a:lnTo>
                  <a:lnTo>
                    <a:pt x="11385" y="4329"/>
                  </a:lnTo>
                  <a:lnTo>
                    <a:pt x="11385" y="4323"/>
                  </a:lnTo>
                  <a:lnTo>
                    <a:pt x="11385" y="3936"/>
                  </a:lnTo>
                  <a:lnTo>
                    <a:pt x="11346" y="3930"/>
                  </a:lnTo>
                  <a:lnTo>
                    <a:pt x="11307" y="3924"/>
                  </a:lnTo>
                  <a:lnTo>
                    <a:pt x="11271" y="3913"/>
                  </a:lnTo>
                  <a:lnTo>
                    <a:pt x="11235" y="3898"/>
                  </a:lnTo>
                  <a:lnTo>
                    <a:pt x="11202" y="3881"/>
                  </a:lnTo>
                  <a:lnTo>
                    <a:pt x="11171" y="3860"/>
                  </a:lnTo>
                  <a:lnTo>
                    <a:pt x="11142" y="3837"/>
                  </a:lnTo>
                  <a:lnTo>
                    <a:pt x="11115" y="3811"/>
                  </a:lnTo>
                  <a:lnTo>
                    <a:pt x="11090" y="3783"/>
                  </a:lnTo>
                  <a:lnTo>
                    <a:pt x="11069" y="3753"/>
                  </a:lnTo>
                  <a:lnTo>
                    <a:pt x="11049" y="3721"/>
                  </a:lnTo>
                  <a:lnTo>
                    <a:pt x="11034" y="3686"/>
                  </a:lnTo>
                  <a:lnTo>
                    <a:pt x="11021" y="3650"/>
                  </a:lnTo>
                  <a:lnTo>
                    <a:pt x="11011" y="3613"/>
                  </a:lnTo>
                  <a:lnTo>
                    <a:pt x="11006" y="3575"/>
                  </a:lnTo>
                  <a:lnTo>
                    <a:pt x="11005" y="3535"/>
                  </a:lnTo>
                  <a:lnTo>
                    <a:pt x="11006" y="3494"/>
                  </a:lnTo>
                  <a:lnTo>
                    <a:pt x="11012" y="3453"/>
                  </a:lnTo>
                  <a:lnTo>
                    <a:pt x="11022" y="3415"/>
                  </a:lnTo>
                  <a:lnTo>
                    <a:pt x="11035" y="3379"/>
                  </a:lnTo>
                  <a:lnTo>
                    <a:pt x="11052" y="3343"/>
                  </a:lnTo>
                  <a:lnTo>
                    <a:pt x="11072" y="3310"/>
                  </a:lnTo>
                  <a:lnTo>
                    <a:pt x="11096" y="3280"/>
                  </a:lnTo>
                  <a:lnTo>
                    <a:pt x="11121" y="3251"/>
                  </a:lnTo>
                  <a:lnTo>
                    <a:pt x="11151" y="3226"/>
                  </a:lnTo>
                  <a:lnTo>
                    <a:pt x="11181" y="3203"/>
                  </a:lnTo>
                  <a:lnTo>
                    <a:pt x="11214" y="3182"/>
                  </a:lnTo>
                  <a:lnTo>
                    <a:pt x="11249" y="3166"/>
                  </a:lnTo>
                  <a:lnTo>
                    <a:pt x="11287" y="3152"/>
                  </a:lnTo>
                  <a:lnTo>
                    <a:pt x="11325" y="3143"/>
                  </a:lnTo>
                  <a:lnTo>
                    <a:pt x="11365" y="3136"/>
                  </a:lnTo>
                  <a:lnTo>
                    <a:pt x="11406" y="3134"/>
                  </a:lnTo>
                  <a:lnTo>
                    <a:pt x="11447" y="3136"/>
                  </a:lnTo>
                  <a:lnTo>
                    <a:pt x="11487" y="3143"/>
                  </a:lnTo>
                  <a:lnTo>
                    <a:pt x="11525" y="3152"/>
                  </a:lnTo>
                  <a:lnTo>
                    <a:pt x="11562" y="3166"/>
                  </a:lnTo>
                  <a:lnTo>
                    <a:pt x="11597" y="3182"/>
                  </a:lnTo>
                  <a:lnTo>
                    <a:pt x="11630" y="3203"/>
                  </a:lnTo>
                  <a:lnTo>
                    <a:pt x="11661" y="3226"/>
                  </a:lnTo>
                  <a:lnTo>
                    <a:pt x="11689" y="3251"/>
                  </a:lnTo>
                  <a:lnTo>
                    <a:pt x="11716" y="3280"/>
                  </a:lnTo>
                  <a:lnTo>
                    <a:pt x="11739" y="3310"/>
                  </a:lnTo>
                  <a:lnTo>
                    <a:pt x="11759" y="3343"/>
                  </a:lnTo>
                  <a:lnTo>
                    <a:pt x="11775" y="3379"/>
                  </a:lnTo>
                  <a:lnTo>
                    <a:pt x="11789" y="3415"/>
                  </a:lnTo>
                  <a:lnTo>
                    <a:pt x="11800" y="3453"/>
                  </a:lnTo>
                  <a:lnTo>
                    <a:pt x="11805" y="3494"/>
                  </a:lnTo>
                  <a:lnTo>
                    <a:pt x="11807" y="3535"/>
                  </a:lnTo>
                  <a:lnTo>
                    <a:pt x="11806" y="3575"/>
                  </a:lnTo>
                  <a:lnTo>
                    <a:pt x="11800" y="3613"/>
                  </a:lnTo>
                  <a:lnTo>
                    <a:pt x="11791" y="3650"/>
                  </a:lnTo>
                  <a:lnTo>
                    <a:pt x="11778" y="3686"/>
                  </a:lnTo>
                  <a:lnTo>
                    <a:pt x="11761" y="3721"/>
                  </a:lnTo>
                  <a:lnTo>
                    <a:pt x="11743" y="3753"/>
                  </a:lnTo>
                  <a:lnTo>
                    <a:pt x="11720" y="3783"/>
                  </a:lnTo>
                  <a:lnTo>
                    <a:pt x="11696" y="3811"/>
                  </a:lnTo>
                  <a:lnTo>
                    <a:pt x="11669" y="3837"/>
                  </a:lnTo>
                  <a:lnTo>
                    <a:pt x="11639" y="3860"/>
                  </a:lnTo>
                  <a:lnTo>
                    <a:pt x="11608" y="3881"/>
                  </a:lnTo>
                  <a:lnTo>
                    <a:pt x="11575" y="3898"/>
                  </a:lnTo>
                  <a:lnTo>
                    <a:pt x="11539" y="3913"/>
                  </a:lnTo>
                  <a:lnTo>
                    <a:pt x="11502" y="3924"/>
                  </a:lnTo>
                  <a:lnTo>
                    <a:pt x="11465" y="3932"/>
                  </a:lnTo>
                  <a:lnTo>
                    <a:pt x="11425" y="3936"/>
                  </a:lnTo>
                  <a:lnTo>
                    <a:pt x="11425" y="4205"/>
                  </a:lnTo>
                  <a:lnTo>
                    <a:pt x="11443" y="4178"/>
                  </a:lnTo>
                  <a:lnTo>
                    <a:pt x="11464" y="4153"/>
                  </a:lnTo>
                  <a:lnTo>
                    <a:pt x="11488" y="4130"/>
                  </a:lnTo>
                  <a:lnTo>
                    <a:pt x="11516" y="4108"/>
                  </a:lnTo>
                  <a:lnTo>
                    <a:pt x="11549" y="4090"/>
                  </a:lnTo>
                  <a:lnTo>
                    <a:pt x="11585" y="4076"/>
                  </a:lnTo>
                  <a:lnTo>
                    <a:pt x="11625" y="4067"/>
                  </a:lnTo>
                  <a:lnTo>
                    <a:pt x="11646" y="4065"/>
                  </a:lnTo>
                  <a:lnTo>
                    <a:pt x="11669" y="4065"/>
                  </a:lnTo>
                  <a:lnTo>
                    <a:pt x="11685" y="4066"/>
                  </a:lnTo>
                  <a:lnTo>
                    <a:pt x="11702" y="4069"/>
                  </a:lnTo>
                  <a:lnTo>
                    <a:pt x="11719" y="4074"/>
                  </a:lnTo>
                  <a:lnTo>
                    <a:pt x="11734" y="4080"/>
                  </a:lnTo>
                  <a:lnTo>
                    <a:pt x="11766" y="4092"/>
                  </a:lnTo>
                  <a:lnTo>
                    <a:pt x="11783" y="4095"/>
                  </a:lnTo>
                  <a:lnTo>
                    <a:pt x="11800" y="4097"/>
                  </a:lnTo>
                  <a:lnTo>
                    <a:pt x="11814" y="4095"/>
                  </a:lnTo>
                  <a:lnTo>
                    <a:pt x="11825" y="4090"/>
                  </a:lnTo>
                  <a:lnTo>
                    <a:pt x="11837" y="4084"/>
                  </a:lnTo>
                  <a:lnTo>
                    <a:pt x="11847" y="4076"/>
                  </a:lnTo>
                  <a:lnTo>
                    <a:pt x="11847" y="3213"/>
                  </a:lnTo>
                  <a:lnTo>
                    <a:pt x="11833" y="3208"/>
                  </a:lnTo>
                  <a:lnTo>
                    <a:pt x="11820" y="3199"/>
                  </a:lnTo>
                  <a:lnTo>
                    <a:pt x="11796" y="3182"/>
                  </a:lnTo>
                  <a:lnTo>
                    <a:pt x="11784" y="3173"/>
                  </a:lnTo>
                  <a:lnTo>
                    <a:pt x="11771" y="3167"/>
                  </a:lnTo>
                  <a:lnTo>
                    <a:pt x="11757" y="3163"/>
                  </a:lnTo>
                  <a:lnTo>
                    <a:pt x="11742" y="3163"/>
                  </a:lnTo>
                  <a:lnTo>
                    <a:pt x="11696" y="3170"/>
                  </a:lnTo>
                  <a:lnTo>
                    <a:pt x="11678" y="3172"/>
                  </a:lnTo>
                  <a:lnTo>
                    <a:pt x="11661" y="3171"/>
                  </a:lnTo>
                  <a:lnTo>
                    <a:pt x="11646" y="3166"/>
                  </a:lnTo>
                  <a:lnTo>
                    <a:pt x="11632" y="3156"/>
                  </a:lnTo>
                  <a:lnTo>
                    <a:pt x="11624" y="3148"/>
                  </a:lnTo>
                  <a:lnTo>
                    <a:pt x="11617" y="3139"/>
                  </a:lnTo>
                  <a:lnTo>
                    <a:pt x="11602" y="3115"/>
                  </a:lnTo>
                  <a:lnTo>
                    <a:pt x="11591" y="3093"/>
                  </a:lnTo>
                  <a:lnTo>
                    <a:pt x="11580" y="3079"/>
                  </a:lnTo>
                  <a:lnTo>
                    <a:pt x="11570" y="3070"/>
                  </a:lnTo>
                  <a:lnTo>
                    <a:pt x="11561" y="3065"/>
                  </a:lnTo>
                  <a:lnTo>
                    <a:pt x="11537" y="3060"/>
                  </a:lnTo>
                  <a:lnTo>
                    <a:pt x="11520" y="3055"/>
                  </a:lnTo>
                  <a:lnTo>
                    <a:pt x="11498" y="3047"/>
                  </a:lnTo>
                  <a:lnTo>
                    <a:pt x="11475" y="3033"/>
                  </a:lnTo>
                  <a:lnTo>
                    <a:pt x="11467" y="3024"/>
                  </a:lnTo>
                  <a:lnTo>
                    <a:pt x="11462" y="3015"/>
                  </a:lnTo>
                  <a:lnTo>
                    <a:pt x="11456" y="2996"/>
                  </a:lnTo>
                  <a:lnTo>
                    <a:pt x="11453" y="2974"/>
                  </a:lnTo>
                  <a:lnTo>
                    <a:pt x="11453" y="2953"/>
                  </a:lnTo>
                  <a:lnTo>
                    <a:pt x="11451" y="2933"/>
                  </a:lnTo>
                  <a:lnTo>
                    <a:pt x="11446" y="2913"/>
                  </a:lnTo>
                  <a:lnTo>
                    <a:pt x="11440" y="2904"/>
                  </a:lnTo>
                  <a:lnTo>
                    <a:pt x="11434" y="2896"/>
                  </a:lnTo>
                  <a:lnTo>
                    <a:pt x="11399" y="2864"/>
                  </a:lnTo>
                  <a:lnTo>
                    <a:pt x="11387" y="2851"/>
                  </a:lnTo>
                  <a:lnTo>
                    <a:pt x="11376" y="2837"/>
                  </a:lnTo>
                  <a:lnTo>
                    <a:pt x="11371" y="2823"/>
                  </a:lnTo>
                  <a:lnTo>
                    <a:pt x="11370" y="2805"/>
                  </a:lnTo>
                  <a:lnTo>
                    <a:pt x="11375" y="2783"/>
                  </a:lnTo>
                  <a:lnTo>
                    <a:pt x="11384" y="2757"/>
                  </a:lnTo>
                  <a:lnTo>
                    <a:pt x="11394" y="2734"/>
                  </a:lnTo>
                  <a:lnTo>
                    <a:pt x="11398" y="2722"/>
                  </a:lnTo>
                  <a:lnTo>
                    <a:pt x="11401" y="2711"/>
                  </a:lnTo>
                  <a:lnTo>
                    <a:pt x="11397" y="2689"/>
                  </a:lnTo>
                  <a:lnTo>
                    <a:pt x="11389" y="2670"/>
                  </a:lnTo>
                  <a:lnTo>
                    <a:pt x="11380" y="2650"/>
                  </a:lnTo>
                  <a:lnTo>
                    <a:pt x="11373" y="2633"/>
                  </a:lnTo>
                  <a:lnTo>
                    <a:pt x="11369" y="2613"/>
                  </a:lnTo>
                  <a:lnTo>
                    <a:pt x="11373" y="2593"/>
                  </a:lnTo>
                  <a:lnTo>
                    <a:pt x="11378" y="2581"/>
                  </a:lnTo>
                  <a:lnTo>
                    <a:pt x="11387" y="2570"/>
                  </a:lnTo>
                  <a:lnTo>
                    <a:pt x="11412" y="2543"/>
                  </a:lnTo>
                  <a:lnTo>
                    <a:pt x="11430" y="2526"/>
                  </a:lnTo>
                  <a:lnTo>
                    <a:pt x="11442" y="2512"/>
                  </a:lnTo>
                  <a:lnTo>
                    <a:pt x="11448" y="2502"/>
                  </a:lnTo>
                  <a:lnTo>
                    <a:pt x="11451" y="2492"/>
                  </a:lnTo>
                  <a:lnTo>
                    <a:pt x="11452" y="2466"/>
                  </a:lnTo>
                  <a:lnTo>
                    <a:pt x="11456" y="2427"/>
                  </a:lnTo>
                  <a:lnTo>
                    <a:pt x="11460" y="2413"/>
                  </a:lnTo>
                  <a:lnTo>
                    <a:pt x="11465" y="2401"/>
                  </a:lnTo>
                  <a:lnTo>
                    <a:pt x="11471" y="2392"/>
                  </a:lnTo>
                  <a:lnTo>
                    <a:pt x="11479" y="2384"/>
                  </a:lnTo>
                  <a:lnTo>
                    <a:pt x="11497" y="2374"/>
                  </a:lnTo>
                  <a:lnTo>
                    <a:pt x="11516" y="2368"/>
                  </a:lnTo>
                  <a:lnTo>
                    <a:pt x="11537" y="2363"/>
                  </a:lnTo>
                  <a:lnTo>
                    <a:pt x="11557" y="2356"/>
                  </a:lnTo>
                  <a:lnTo>
                    <a:pt x="11566" y="2351"/>
                  </a:lnTo>
                  <a:lnTo>
                    <a:pt x="11575" y="2346"/>
                  </a:lnTo>
                  <a:lnTo>
                    <a:pt x="11582" y="2340"/>
                  </a:lnTo>
                  <a:lnTo>
                    <a:pt x="11589" y="2331"/>
                  </a:lnTo>
                  <a:lnTo>
                    <a:pt x="11612" y="2291"/>
                  </a:lnTo>
                  <a:lnTo>
                    <a:pt x="11623" y="2275"/>
                  </a:lnTo>
                  <a:lnTo>
                    <a:pt x="11633" y="2263"/>
                  </a:lnTo>
                  <a:lnTo>
                    <a:pt x="11647" y="2254"/>
                  </a:lnTo>
                  <a:lnTo>
                    <a:pt x="11664" y="2249"/>
                  </a:lnTo>
                  <a:lnTo>
                    <a:pt x="11685" y="2248"/>
                  </a:lnTo>
                  <a:lnTo>
                    <a:pt x="11714" y="2251"/>
                  </a:lnTo>
                  <a:lnTo>
                    <a:pt x="11743" y="2257"/>
                  </a:lnTo>
                  <a:lnTo>
                    <a:pt x="11762" y="2257"/>
                  </a:lnTo>
                  <a:lnTo>
                    <a:pt x="11780" y="2249"/>
                  </a:lnTo>
                  <a:lnTo>
                    <a:pt x="11805" y="2231"/>
                  </a:lnTo>
                  <a:lnTo>
                    <a:pt x="11832" y="2213"/>
                  </a:lnTo>
                  <a:lnTo>
                    <a:pt x="11848" y="2207"/>
                  </a:lnTo>
                  <a:lnTo>
                    <a:pt x="11866" y="2204"/>
                  </a:lnTo>
                  <a:lnTo>
                    <a:pt x="11885" y="2207"/>
                  </a:lnTo>
                  <a:lnTo>
                    <a:pt x="11901" y="2213"/>
                  </a:lnTo>
                  <a:lnTo>
                    <a:pt x="11916" y="2222"/>
                  </a:lnTo>
                  <a:lnTo>
                    <a:pt x="11930" y="2232"/>
                  </a:lnTo>
                  <a:lnTo>
                    <a:pt x="11943" y="2243"/>
                  </a:lnTo>
                  <a:lnTo>
                    <a:pt x="11959" y="2251"/>
                  </a:lnTo>
                  <a:lnTo>
                    <a:pt x="11974" y="2257"/>
                  </a:lnTo>
                  <a:lnTo>
                    <a:pt x="11992" y="2257"/>
                  </a:lnTo>
                  <a:lnTo>
                    <a:pt x="12037" y="2250"/>
                  </a:lnTo>
                  <a:lnTo>
                    <a:pt x="12056" y="2248"/>
                  </a:lnTo>
                  <a:lnTo>
                    <a:pt x="12073" y="2249"/>
                  </a:lnTo>
                  <a:lnTo>
                    <a:pt x="12088" y="2254"/>
                  </a:lnTo>
                  <a:lnTo>
                    <a:pt x="12102" y="2264"/>
                  </a:lnTo>
                  <a:lnTo>
                    <a:pt x="12109" y="2272"/>
                  </a:lnTo>
                  <a:lnTo>
                    <a:pt x="12116" y="2281"/>
                  </a:lnTo>
                  <a:lnTo>
                    <a:pt x="12130" y="2305"/>
                  </a:lnTo>
                  <a:lnTo>
                    <a:pt x="12143" y="2327"/>
                  </a:lnTo>
                  <a:lnTo>
                    <a:pt x="12153" y="2341"/>
                  </a:lnTo>
                  <a:lnTo>
                    <a:pt x="12162" y="2350"/>
                  </a:lnTo>
                  <a:lnTo>
                    <a:pt x="12173" y="2355"/>
                  </a:lnTo>
                  <a:lnTo>
                    <a:pt x="12197" y="2360"/>
                  </a:lnTo>
                  <a:lnTo>
                    <a:pt x="12214" y="2365"/>
                  </a:lnTo>
                  <a:lnTo>
                    <a:pt x="12234" y="2373"/>
                  </a:lnTo>
                  <a:lnTo>
                    <a:pt x="12257" y="2388"/>
                  </a:lnTo>
                  <a:lnTo>
                    <a:pt x="12265" y="2396"/>
                  </a:lnTo>
                  <a:lnTo>
                    <a:pt x="12271" y="2405"/>
                  </a:lnTo>
                  <a:lnTo>
                    <a:pt x="12278" y="2425"/>
                  </a:lnTo>
                  <a:lnTo>
                    <a:pt x="12279" y="2446"/>
                  </a:lnTo>
                  <a:lnTo>
                    <a:pt x="12280" y="2466"/>
                  </a:lnTo>
                  <a:lnTo>
                    <a:pt x="12282" y="2488"/>
                  </a:lnTo>
                  <a:lnTo>
                    <a:pt x="12287" y="2507"/>
                  </a:lnTo>
                  <a:lnTo>
                    <a:pt x="12292" y="2516"/>
                  </a:lnTo>
                  <a:lnTo>
                    <a:pt x="12300" y="2524"/>
                  </a:lnTo>
                  <a:lnTo>
                    <a:pt x="12333" y="2556"/>
                  </a:lnTo>
                  <a:lnTo>
                    <a:pt x="12347" y="2569"/>
                  </a:lnTo>
                  <a:lnTo>
                    <a:pt x="12356" y="2583"/>
                  </a:lnTo>
                  <a:lnTo>
                    <a:pt x="12361" y="2598"/>
                  </a:lnTo>
                  <a:lnTo>
                    <a:pt x="12362" y="2615"/>
                  </a:lnTo>
                  <a:lnTo>
                    <a:pt x="12359" y="2636"/>
                  </a:lnTo>
                  <a:lnTo>
                    <a:pt x="12348" y="2663"/>
                  </a:lnTo>
                  <a:lnTo>
                    <a:pt x="12337" y="2690"/>
                  </a:lnTo>
                  <a:lnTo>
                    <a:pt x="12333" y="2711"/>
                  </a:lnTo>
                  <a:lnTo>
                    <a:pt x="12336" y="2731"/>
                  </a:lnTo>
                  <a:lnTo>
                    <a:pt x="12343" y="2750"/>
                  </a:lnTo>
                  <a:lnTo>
                    <a:pt x="12352" y="2769"/>
                  </a:lnTo>
                  <a:lnTo>
                    <a:pt x="12360" y="2787"/>
                  </a:lnTo>
                  <a:lnTo>
                    <a:pt x="12364" y="2806"/>
                  </a:lnTo>
                  <a:lnTo>
                    <a:pt x="12360" y="2828"/>
                  </a:lnTo>
                  <a:lnTo>
                    <a:pt x="12355" y="2838"/>
                  </a:lnTo>
                  <a:lnTo>
                    <a:pt x="12347" y="2851"/>
                  </a:lnTo>
                  <a:lnTo>
                    <a:pt x="12321" y="2877"/>
                  </a:lnTo>
                  <a:lnTo>
                    <a:pt x="12302" y="2893"/>
                  </a:lnTo>
                  <a:lnTo>
                    <a:pt x="12291" y="2907"/>
                  </a:lnTo>
                  <a:lnTo>
                    <a:pt x="12284" y="2918"/>
                  </a:lnTo>
                  <a:lnTo>
                    <a:pt x="12282" y="2929"/>
                  </a:lnTo>
                  <a:lnTo>
                    <a:pt x="12282" y="2953"/>
                  </a:lnTo>
                  <a:lnTo>
                    <a:pt x="12278" y="2993"/>
                  </a:lnTo>
                  <a:lnTo>
                    <a:pt x="12274" y="3007"/>
                  </a:lnTo>
                  <a:lnTo>
                    <a:pt x="12269" y="3019"/>
                  </a:lnTo>
                  <a:lnTo>
                    <a:pt x="12262" y="3028"/>
                  </a:lnTo>
                  <a:lnTo>
                    <a:pt x="12255" y="3035"/>
                  </a:lnTo>
                  <a:lnTo>
                    <a:pt x="12237" y="3046"/>
                  </a:lnTo>
                  <a:lnTo>
                    <a:pt x="12216" y="3053"/>
                  </a:lnTo>
                  <a:lnTo>
                    <a:pt x="12196" y="3058"/>
                  </a:lnTo>
                  <a:lnTo>
                    <a:pt x="12177" y="3065"/>
                  </a:lnTo>
                  <a:lnTo>
                    <a:pt x="12168" y="3069"/>
                  </a:lnTo>
                  <a:lnTo>
                    <a:pt x="12159" y="3074"/>
                  </a:lnTo>
                  <a:lnTo>
                    <a:pt x="12151" y="3081"/>
                  </a:lnTo>
                  <a:lnTo>
                    <a:pt x="12144" y="3089"/>
                  </a:lnTo>
                  <a:lnTo>
                    <a:pt x="12121" y="3130"/>
                  </a:lnTo>
                  <a:lnTo>
                    <a:pt x="12111" y="3145"/>
                  </a:lnTo>
                  <a:lnTo>
                    <a:pt x="12100" y="3158"/>
                  </a:lnTo>
                  <a:lnTo>
                    <a:pt x="12087" y="3167"/>
                  </a:lnTo>
                  <a:lnTo>
                    <a:pt x="12070" y="3171"/>
                  </a:lnTo>
                  <a:lnTo>
                    <a:pt x="12048" y="3172"/>
                  </a:lnTo>
                  <a:lnTo>
                    <a:pt x="12020" y="3168"/>
                  </a:lnTo>
                  <a:lnTo>
                    <a:pt x="11989" y="3163"/>
                  </a:lnTo>
                  <a:lnTo>
                    <a:pt x="11971" y="3163"/>
                  </a:lnTo>
                  <a:lnTo>
                    <a:pt x="11953" y="3172"/>
                  </a:lnTo>
                  <a:lnTo>
                    <a:pt x="11929" y="3189"/>
                  </a:lnTo>
                  <a:lnTo>
                    <a:pt x="11910" y="3202"/>
                  </a:lnTo>
                  <a:lnTo>
                    <a:pt x="11887" y="3213"/>
                  </a:lnTo>
                  <a:lnTo>
                    <a:pt x="11887" y="4017"/>
                  </a:lnTo>
                  <a:lnTo>
                    <a:pt x="11933" y="3925"/>
                  </a:lnTo>
                  <a:lnTo>
                    <a:pt x="11961" y="3877"/>
                  </a:lnTo>
                  <a:lnTo>
                    <a:pt x="11994" y="3829"/>
                  </a:lnTo>
                  <a:lnTo>
                    <a:pt x="12014" y="3808"/>
                  </a:lnTo>
                  <a:lnTo>
                    <a:pt x="12035" y="3787"/>
                  </a:lnTo>
                  <a:lnTo>
                    <a:pt x="12060" y="3769"/>
                  </a:lnTo>
                  <a:lnTo>
                    <a:pt x="12073" y="3762"/>
                  </a:lnTo>
                  <a:lnTo>
                    <a:pt x="12085" y="3754"/>
                  </a:lnTo>
                  <a:lnTo>
                    <a:pt x="12115" y="3741"/>
                  </a:lnTo>
                  <a:lnTo>
                    <a:pt x="12148" y="3731"/>
                  </a:lnTo>
                  <a:lnTo>
                    <a:pt x="12184" y="3725"/>
                  </a:lnTo>
                  <a:lnTo>
                    <a:pt x="12224" y="3723"/>
                  </a:lnTo>
                  <a:lnTo>
                    <a:pt x="12283" y="3727"/>
                  </a:lnTo>
                  <a:lnTo>
                    <a:pt x="12341" y="3739"/>
                  </a:lnTo>
                  <a:lnTo>
                    <a:pt x="12368" y="3748"/>
                  </a:lnTo>
                  <a:lnTo>
                    <a:pt x="12395" y="3758"/>
                  </a:lnTo>
                  <a:lnTo>
                    <a:pt x="12420" y="3769"/>
                  </a:lnTo>
                  <a:lnTo>
                    <a:pt x="12446" y="3782"/>
                  </a:lnTo>
                  <a:lnTo>
                    <a:pt x="12446" y="3681"/>
                  </a:lnTo>
                  <a:lnTo>
                    <a:pt x="12447" y="3672"/>
                  </a:lnTo>
                  <a:lnTo>
                    <a:pt x="12452" y="3666"/>
                  </a:lnTo>
                  <a:lnTo>
                    <a:pt x="12459" y="3662"/>
                  </a:lnTo>
                  <a:lnTo>
                    <a:pt x="12465" y="3661"/>
                  </a:lnTo>
                  <a:lnTo>
                    <a:pt x="12473" y="3662"/>
                  </a:lnTo>
                  <a:lnTo>
                    <a:pt x="12479" y="3666"/>
                  </a:lnTo>
                  <a:lnTo>
                    <a:pt x="12484" y="3672"/>
                  </a:lnTo>
                  <a:lnTo>
                    <a:pt x="12486" y="3681"/>
                  </a:lnTo>
                  <a:close/>
                  <a:moveTo>
                    <a:pt x="12630" y="4171"/>
                  </a:moveTo>
                  <a:lnTo>
                    <a:pt x="12628" y="4130"/>
                  </a:lnTo>
                  <a:lnTo>
                    <a:pt x="12621" y="4089"/>
                  </a:lnTo>
                  <a:lnTo>
                    <a:pt x="12613" y="4051"/>
                  </a:lnTo>
                  <a:lnTo>
                    <a:pt x="12598" y="4012"/>
                  </a:lnTo>
                  <a:lnTo>
                    <a:pt x="12582" y="3976"/>
                  </a:lnTo>
                  <a:lnTo>
                    <a:pt x="12561" y="3943"/>
                  </a:lnTo>
                  <a:lnTo>
                    <a:pt x="12537" y="3911"/>
                  </a:lnTo>
                  <a:lnTo>
                    <a:pt x="12511" y="3883"/>
                  </a:lnTo>
                  <a:lnTo>
                    <a:pt x="12482" y="3856"/>
                  </a:lnTo>
                  <a:lnTo>
                    <a:pt x="12451" y="3833"/>
                  </a:lnTo>
                  <a:lnTo>
                    <a:pt x="12418" y="3813"/>
                  </a:lnTo>
                  <a:lnTo>
                    <a:pt x="12382" y="3795"/>
                  </a:lnTo>
                  <a:lnTo>
                    <a:pt x="12345" y="3781"/>
                  </a:lnTo>
                  <a:lnTo>
                    <a:pt x="12306" y="3772"/>
                  </a:lnTo>
                  <a:lnTo>
                    <a:pt x="12265" y="3765"/>
                  </a:lnTo>
                  <a:lnTo>
                    <a:pt x="12224" y="3763"/>
                  </a:lnTo>
                  <a:lnTo>
                    <a:pt x="12197" y="3764"/>
                  </a:lnTo>
                  <a:lnTo>
                    <a:pt x="12173" y="3767"/>
                  </a:lnTo>
                  <a:lnTo>
                    <a:pt x="12150" y="3772"/>
                  </a:lnTo>
                  <a:lnTo>
                    <a:pt x="12128" y="3780"/>
                  </a:lnTo>
                  <a:lnTo>
                    <a:pt x="12089" y="3797"/>
                  </a:lnTo>
                  <a:lnTo>
                    <a:pt x="12073" y="3809"/>
                  </a:lnTo>
                  <a:lnTo>
                    <a:pt x="12057" y="3822"/>
                  </a:lnTo>
                  <a:lnTo>
                    <a:pt x="12029" y="3850"/>
                  </a:lnTo>
                  <a:lnTo>
                    <a:pt x="12005" y="3881"/>
                  </a:lnTo>
                  <a:lnTo>
                    <a:pt x="11984" y="3915"/>
                  </a:lnTo>
                  <a:lnTo>
                    <a:pt x="11965" y="3950"/>
                  </a:lnTo>
                  <a:lnTo>
                    <a:pt x="11932" y="4017"/>
                  </a:lnTo>
                  <a:lnTo>
                    <a:pt x="11915" y="4049"/>
                  </a:lnTo>
                  <a:lnTo>
                    <a:pt x="11897" y="4077"/>
                  </a:lnTo>
                  <a:lnTo>
                    <a:pt x="11878" y="4102"/>
                  </a:lnTo>
                  <a:lnTo>
                    <a:pt x="11866" y="4112"/>
                  </a:lnTo>
                  <a:lnTo>
                    <a:pt x="11855" y="4120"/>
                  </a:lnTo>
                  <a:lnTo>
                    <a:pt x="11843" y="4127"/>
                  </a:lnTo>
                  <a:lnTo>
                    <a:pt x="11830" y="4132"/>
                  </a:lnTo>
                  <a:lnTo>
                    <a:pt x="11800" y="4136"/>
                  </a:lnTo>
                  <a:lnTo>
                    <a:pt x="11783" y="4135"/>
                  </a:lnTo>
                  <a:lnTo>
                    <a:pt x="11766" y="4131"/>
                  </a:lnTo>
                  <a:lnTo>
                    <a:pt x="11750" y="4126"/>
                  </a:lnTo>
                  <a:lnTo>
                    <a:pt x="11734" y="4120"/>
                  </a:lnTo>
                  <a:lnTo>
                    <a:pt x="11702" y="4109"/>
                  </a:lnTo>
                  <a:lnTo>
                    <a:pt x="11685" y="4106"/>
                  </a:lnTo>
                  <a:lnTo>
                    <a:pt x="11669" y="4104"/>
                  </a:lnTo>
                  <a:lnTo>
                    <a:pt x="11625" y="4108"/>
                  </a:lnTo>
                  <a:lnTo>
                    <a:pt x="11603" y="4112"/>
                  </a:lnTo>
                  <a:lnTo>
                    <a:pt x="11584" y="4118"/>
                  </a:lnTo>
                  <a:lnTo>
                    <a:pt x="11565" y="4127"/>
                  </a:lnTo>
                  <a:lnTo>
                    <a:pt x="11546" y="4136"/>
                  </a:lnTo>
                  <a:lnTo>
                    <a:pt x="11529" y="4148"/>
                  </a:lnTo>
                  <a:lnTo>
                    <a:pt x="11512" y="4161"/>
                  </a:lnTo>
                  <a:lnTo>
                    <a:pt x="11498" y="4175"/>
                  </a:lnTo>
                  <a:lnTo>
                    <a:pt x="11484" y="4190"/>
                  </a:lnTo>
                  <a:lnTo>
                    <a:pt x="11471" y="4208"/>
                  </a:lnTo>
                  <a:lnTo>
                    <a:pt x="11461" y="4226"/>
                  </a:lnTo>
                  <a:lnTo>
                    <a:pt x="11452" y="4245"/>
                  </a:lnTo>
                  <a:lnTo>
                    <a:pt x="11444" y="4265"/>
                  </a:lnTo>
                  <a:lnTo>
                    <a:pt x="11438" y="4286"/>
                  </a:lnTo>
                  <a:lnTo>
                    <a:pt x="11434" y="4309"/>
                  </a:lnTo>
                  <a:lnTo>
                    <a:pt x="12171" y="4309"/>
                  </a:lnTo>
                  <a:lnTo>
                    <a:pt x="12177" y="4305"/>
                  </a:lnTo>
                  <a:lnTo>
                    <a:pt x="12184" y="4304"/>
                  </a:lnTo>
                  <a:lnTo>
                    <a:pt x="12609" y="4304"/>
                  </a:lnTo>
                  <a:lnTo>
                    <a:pt x="12618" y="4271"/>
                  </a:lnTo>
                  <a:lnTo>
                    <a:pt x="12625" y="4239"/>
                  </a:lnTo>
                  <a:lnTo>
                    <a:pt x="12629" y="4204"/>
                  </a:lnTo>
                  <a:lnTo>
                    <a:pt x="12630" y="4171"/>
                  </a:lnTo>
                  <a:close/>
                  <a:moveTo>
                    <a:pt x="11425" y="3810"/>
                  </a:moveTo>
                  <a:lnTo>
                    <a:pt x="11524" y="3712"/>
                  </a:lnTo>
                  <a:lnTo>
                    <a:pt x="11532" y="3707"/>
                  </a:lnTo>
                  <a:lnTo>
                    <a:pt x="11539" y="3705"/>
                  </a:lnTo>
                  <a:lnTo>
                    <a:pt x="11547" y="3707"/>
                  </a:lnTo>
                  <a:lnTo>
                    <a:pt x="11553" y="3712"/>
                  </a:lnTo>
                  <a:lnTo>
                    <a:pt x="11557" y="3717"/>
                  </a:lnTo>
                  <a:lnTo>
                    <a:pt x="11558" y="3725"/>
                  </a:lnTo>
                  <a:lnTo>
                    <a:pt x="11557" y="3732"/>
                  </a:lnTo>
                  <a:lnTo>
                    <a:pt x="11553" y="3740"/>
                  </a:lnTo>
                  <a:lnTo>
                    <a:pt x="11426" y="3866"/>
                  </a:lnTo>
                  <a:lnTo>
                    <a:pt x="11425" y="3895"/>
                  </a:lnTo>
                  <a:lnTo>
                    <a:pt x="11460" y="3892"/>
                  </a:lnTo>
                  <a:lnTo>
                    <a:pt x="11494" y="3884"/>
                  </a:lnTo>
                  <a:lnTo>
                    <a:pt x="11528" y="3874"/>
                  </a:lnTo>
                  <a:lnTo>
                    <a:pt x="11558" y="3861"/>
                  </a:lnTo>
                  <a:lnTo>
                    <a:pt x="11589" y="3846"/>
                  </a:lnTo>
                  <a:lnTo>
                    <a:pt x="11617" y="3828"/>
                  </a:lnTo>
                  <a:lnTo>
                    <a:pt x="11643" y="3806"/>
                  </a:lnTo>
                  <a:lnTo>
                    <a:pt x="11667" y="3783"/>
                  </a:lnTo>
                  <a:lnTo>
                    <a:pt x="11689" y="3758"/>
                  </a:lnTo>
                  <a:lnTo>
                    <a:pt x="11710" y="3731"/>
                  </a:lnTo>
                  <a:lnTo>
                    <a:pt x="11726" y="3702"/>
                  </a:lnTo>
                  <a:lnTo>
                    <a:pt x="11741" y="3671"/>
                  </a:lnTo>
                  <a:lnTo>
                    <a:pt x="11752" y="3639"/>
                  </a:lnTo>
                  <a:lnTo>
                    <a:pt x="11761" y="3606"/>
                  </a:lnTo>
                  <a:lnTo>
                    <a:pt x="11766" y="3571"/>
                  </a:lnTo>
                  <a:lnTo>
                    <a:pt x="11767" y="3535"/>
                  </a:lnTo>
                  <a:lnTo>
                    <a:pt x="11765" y="3498"/>
                  </a:lnTo>
                  <a:lnTo>
                    <a:pt x="11760" y="3462"/>
                  </a:lnTo>
                  <a:lnTo>
                    <a:pt x="11751" y="3428"/>
                  </a:lnTo>
                  <a:lnTo>
                    <a:pt x="11739" y="3395"/>
                  </a:lnTo>
                  <a:lnTo>
                    <a:pt x="11724" y="3363"/>
                  </a:lnTo>
                  <a:lnTo>
                    <a:pt x="11706" y="3333"/>
                  </a:lnTo>
                  <a:lnTo>
                    <a:pt x="11684" y="3305"/>
                  </a:lnTo>
                  <a:lnTo>
                    <a:pt x="11661" y="3280"/>
                  </a:lnTo>
                  <a:lnTo>
                    <a:pt x="11635" y="3257"/>
                  </a:lnTo>
                  <a:lnTo>
                    <a:pt x="11608" y="3236"/>
                  </a:lnTo>
                  <a:lnTo>
                    <a:pt x="11578" y="3218"/>
                  </a:lnTo>
                  <a:lnTo>
                    <a:pt x="11547" y="3203"/>
                  </a:lnTo>
                  <a:lnTo>
                    <a:pt x="11530" y="3196"/>
                  </a:lnTo>
                  <a:lnTo>
                    <a:pt x="11514" y="3190"/>
                  </a:lnTo>
                  <a:lnTo>
                    <a:pt x="11479" y="3181"/>
                  </a:lnTo>
                  <a:lnTo>
                    <a:pt x="11443" y="3176"/>
                  </a:lnTo>
                  <a:lnTo>
                    <a:pt x="11406" y="3175"/>
                  </a:lnTo>
                  <a:lnTo>
                    <a:pt x="11369" y="3176"/>
                  </a:lnTo>
                  <a:lnTo>
                    <a:pt x="11333" y="3181"/>
                  </a:lnTo>
                  <a:lnTo>
                    <a:pt x="11298" y="3190"/>
                  </a:lnTo>
                  <a:lnTo>
                    <a:pt x="11265" y="3203"/>
                  </a:lnTo>
                  <a:lnTo>
                    <a:pt x="11233" y="3218"/>
                  </a:lnTo>
                  <a:lnTo>
                    <a:pt x="11203" y="3236"/>
                  </a:lnTo>
                  <a:lnTo>
                    <a:pt x="11175" y="3257"/>
                  </a:lnTo>
                  <a:lnTo>
                    <a:pt x="11149" y="3280"/>
                  </a:lnTo>
                  <a:lnTo>
                    <a:pt x="11126" y="3305"/>
                  </a:lnTo>
                  <a:lnTo>
                    <a:pt x="11106" y="3333"/>
                  </a:lnTo>
                  <a:lnTo>
                    <a:pt x="11088" y="3363"/>
                  </a:lnTo>
                  <a:lnTo>
                    <a:pt x="11072" y="3395"/>
                  </a:lnTo>
                  <a:lnTo>
                    <a:pt x="11066" y="3411"/>
                  </a:lnTo>
                  <a:lnTo>
                    <a:pt x="11060" y="3428"/>
                  </a:lnTo>
                  <a:lnTo>
                    <a:pt x="11051" y="3462"/>
                  </a:lnTo>
                  <a:lnTo>
                    <a:pt x="11046" y="3498"/>
                  </a:lnTo>
                  <a:lnTo>
                    <a:pt x="11044" y="3535"/>
                  </a:lnTo>
                  <a:lnTo>
                    <a:pt x="11046" y="3570"/>
                  </a:lnTo>
                  <a:lnTo>
                    <a:pt x="11051" y="3606"/>
                  </a:lnTo>
                  <a:lnTo>
                    <a:pt x="11060" y="3639"/>
                  </a:lnTo>
                  <a:lnTo>
                    <a:pt x="11070" y="3671"/>
                  </a:lnTo>
                  <a:lnTo>
                    <a:pt x="11085" y="3702"/>
                  </a:lnTo>
                  <a:lnTo>
                    <a:pt x="11102" y="3731"/>
                  </a:lnTo>
                  <a:lnTo>
                    <a:pt x="11121" y="3758"/>
                  </a:lnTo>
                  <a:lnTo>
                    <a:pt x="11143" y="3783"/>
                  </a:lnTo>
                  <a:lnTo>
                    <a:pt x="11167" y="3806"/>
                  </a:lnTo>
                  <a:lnTo>
                    <a:pt x="11193" y="3827"/>
                  </a:lnTo>
                  <a:lnTo>
                    <a:pt x="11221" y="3846"/>
                  </a:lnTo>
                  <a:lnTo>
                    <a:pt x="11252" y="3861"/>
                  </a:lnTo>
                  <a:lnTo>
                    <a:pt x="11283" y="3874"/>
                  </a:lnTo>
                  <a:lnTo>
                    <a:pt x="11316" y="3884"/>
                  </a:lnTo>
                  <a:lnTo>
                    <a:pt x="11349" y="3891"/>
                  </a:lnTo>
                  <a:lnTo>
                    <a:pt x="11385" y="3895"/>
                  </a:lnTo>
                  <a:lnTo>
                    <a:pt x="11385" y="3757"/>
                  </a:lnTo>
                  <a:lnTo>
                    <a:pt x="11258" y="3631"/>
                  </a:lnTo>
                  <a:lnTo>
                    <a:pt x="11253" y="3624"/>
                  </a:lnTo>
                  <a:lnTo>
                    <a:pt x="11252" y="3616"/>
                  </a:lnTo>
                  <a:lnTo>
                    <a:pt x="11255" y="3608"/>
                  </a:lnTo>
                  <a:lnTo>
                    <a:pt x="11258" y="3602"/>
                  </a:lnTo>
                  <a:lnTo>
                    <a:pt x="11265" y="3598"/>
                  </a:lnTo>
                  <a:lnTo>
                    <a:pt x="11271" y="3597"/>
                  </a:lnTo>
                  <a:lnTo>
                    <a:pt x="11279" y="3598"/>
                  </a:lnTo>
                  <a:lnTo>
                    <a:pt x="11287" y="3602"/>
                  </a:lnTo>
                  <a:lnTo>
                    <a:pt x="11385" y="3700"/>
                  </a:lnTo>
                  <a:lnTo>
                    <a:pt x="11385" y="3589"/>
                  </a:lnTo>
                  <a:lnTo>
                    <a:pt x="11385" y="3581"/>
                  </a:lnTo>
                  <a:lnTo>
                    <a:pt x="11385" y="3447"/>
                  </a:lnTo>
                  <a:lnTo>
                    <a:pt x="11387" y="3439"/>
                  </a:lnTo>
                  <a:lnTo>
                    <a:pt x="11392" y="3433"/>
                  </a:lnTo>
                  <a:lnTo>
                    <a:pt x="11398" y="3429"/>
                  </a:lnTo>
                  <a:lnTo>
                    <a:pt x="11405" y="3428"/>
                  </a:lnTo>
                  <a:lnTo>
                    <a:pt x="11412" y="3429"/>
                  </a:lnTo>
                  <a:lnTo>
                    <a:pt x="11419" y="3433"/>
                  </a:lnTo>
                  <a:lnTo>
                    <a:pt x="11424" y="3439"/>
                  </a:lnTo>
                  <a:lnTo>
                    <a:pt x="11425" y="3447"/>
                  </a:lnTo>
                  <a:lnTo>
                    <a:pt x="11425" y="3537"/>
                  </a:lnTo>
                  <a:lnTo>
                    <a:pt x="11517" y="3445"/>
                  </a:lnTo>
                  <a:lnTo>
                    <a:pt x="11525" y="3439"/>
                  </a:lnTo>
                  <a:lnTo>
                    <a:pt x="11533" y="3438"/>
                  </a:lnTo>
                  <a:lnTo>
                    <a:pt x="11541" y="3441"/>
                  </a:lnTo>
                  <a:lnTo>
                    <a:pt x="11546" y="3445"/>
                  </a:lnTo>
                  <a:lnTo>
                    <a:pt x="11551" y="3451"/>
                  </a:lnTo>
                  <a:lnTo>
                    <a:pt x="11552" y="3457"/>
                  </a:lnTo>
                  <a:lnTo>
                    <a:pt x="11551" y="3465"/>
                  </a:lnTo>
                  <a:lnTo>
                    <a:pt x="11546" y="3473"/>
                  </a:lnTo>
                  <a:lnTo>
                    <a:pt x="11425" y="3593"/>
                  </a:lnTo>
                  <a:lnTo>
                    <a:pt x="11425" y="3810"/>
                  </a:lnTo>
                  <a:close/>
                  <a:moveTo>
                    <a:pt x="11847" y="2875"/>
                  </a:moveTo>
                  <a:lnTo>
                    <a:pt x="11847" y="2753"/>
                  </a:lnTo>
                  <a:lnTo>
                    <a:pt x="11743" y="2650"/>
                  </a:lnTo>
                  <a:lnTo>
                    <a:pt x="11738" y="2643"/>
                  </a:lnTo>
                  <a:lnTo>
                    <a:pt x="11737" y="2635"/>
                  </a:lnTo>
                  <a:lnTo>
                    <a:pt x="11739" y="2627"/>
                  </a:lnTo>
                  <a:lnTo>
                    <a:pt x="11743" y="2622"/>
                  </a:lnTo>
                  <a:lnTo>
                    <a:pt x="11750" y="2617"/>
                  </a:lnTo>
                  <a:lnTo>
                    <a:pt x="11757" y="2616"/>
                  </a:lnTo>
                  <a:lnTo>
                    <a:pt x="11764" y="2617"/>
                  </a:lnTo>
                  <a:lnTo>
                    <a:pt x="11771" y="2622"/>
                  </a:lnTo>
                  <a:lnTo>
                    <a:pt x="11847" y="2696"/>
                  </a:lnTo>
                  <a:lnTo>
                    <a:pt x="11847" y="2643"/>
                  </a:lnTo>
                  <a:lnTo>
                    <a:pt x="11848" y="2634"/>
                  </a:lnTo>
                  <a:lnTo>
                    <a:pt x="11853" y="2627"/>
                  </a:lnTo>
                  <a:lnTo>
                    <a:pt x="11860" y="2624"/>
                  </a:lnTo>
                  <a:lnTo>
                    <a:pt x="11866" y="2622"/>
                  </a:lnTo>
                  <a:lnTo>
                    <a:pt x="11874" y="2624"/>
                  </a:lnTo>
                  <a:lnTo>
                    <a:pt x="11880" y="2627"/>
                  </a:lnTo>
                  <a:lnTo>
                    <a:pt x="11885" y="2634"/>
                  </a:lnTo>
                  <a:lnTo>
                    <a:pt x="11887" y="2643"/>
                  </a:lnTo>
                  <a:lnTo>
                    <a:pt x="11887" y="2741"/>
                  </a:lnTo>
                  <a:lnTo>
                    <a:pt x="11887" y="2748"/>
                  </a:lnTo>
                  <a:lnTo>
                    <a:pt x="11887" y="2831"/>
                  </a:lnTo>
                  <a:lnTo>
                    <a:pt x="12024" y="2693"/>
                  </a:lnTo>
                  <a:lnTo>
                    <a:pt x="12032" y="2688"/>
                  </a:lnTo>
                  <a:lnTo>
                    <a:pt x="12039" y="2686"/>
                  </a:lnTo>
                  <a:lnTo>
                    <a:pt x="12047" y="2689"/>
                  </a:lnTo>
                  <a:lnTo>
                    <a:pt x="12052" y="2693"/>
                  </a:lnTo>
                  <a:lnTo>
                    <a:pt x="12057" y="2699"/>
                  </a:lnTo>
                  <a:lnTo>
                    <a:pt x="12059" y="2707"/>
                  </a:lnTo>
                  <a:lnTo>
                    <a:pt x="12057" y="2714"/>
                  </a:lnTo>
                  <a:lnTo>
                    <a:pt x="12052" y="2721"/>
                  </a:lnTo>
                  <a:lnTo>
                    <a:pt x="11887" y="2887"/>
                  </a:lnTo>
                  <a:lnTo>
                    <a:pt x="11887" y="2960"/>
                  </a:lnTo>
                  <a:lnTo>
                    <a:pt x="11887" y="2968"/>
                  </a:lnTo>
                  <a:lnTo>
                    <a:pt x="11887" y="3172"/>
                  </a:lnTo>
                  <a:lnTo>
                    <a:pt x="11897" y="3164"/>
                  </a:lnTo>
                  <a:lnTo>
                    <a:pt x="11907" y="3156"/>
                  </a:lnTo>
                  <a:lnTo>
                    <a:pt x="11919" y="3147"/>
                  </a:lnTo>
                  <a:lnTo>
                    <a:pt x="11932" y="3138"/>
                  </a:lnTo>
                  <a:lnTo>
                    <a:pt x="11947" y="3130"/>
                  </a:lnTo>
                  <a:lnTo>
                    <a:pt x="11968" y="3126"/>
                  </a:lnTo>
                  <a:lnTo>
                    <a:pt x="11993" y="3125"/>
                  </a:lnTo>
                  <a:lnTo>
                    <a:pt x="12027" y="3129"/>
                  </a:lnTo>
                  <a:lnTo>
                    <a:pt x="12043" y="3131"/>
                  </a:lnTo>
                  <a:lnTo>
                    <a:pt x="12056" y="3131"/>
                  </a:lnTo>
                  <a:lnTo>
                    <a:pt x="12066" y="3129"/>
                  </a:lnTo>
                  <a:lnTo>
                    <a:pt x="12075" y="3125"/>
                  </a:lnTo>
                  <a:lnTo>
                    <a:pt x="12088" y="3112"/>
                  </a:lnTo>
                  <a:lnTo>
                    <a:pt x="12097" y="3097"/>
                  </a:lnTo>
                  <a:lnTo>
                    <a:pt x="12106" y="3078"/>
                  </a:lnTo>
                  <a:lnTo>
                    <a:pt x="12118" y="3058"/>
                  </a:lnTo>
                  <a:lnTo>
                    <a:pt x="12135" y="3040"/>
                  </a:lnTo>
                  <a:lnTo>
                    <a:pt x="12148" y="3033"/>
                  </a:lnTo>
                  <a:lnTo>
                    <a:pt x="12162" y="3026"/>
                  </a:lnTo>
                  <a:lnTo>
                    <a:pt x="12211" y="3012"/>
                  </a:lnTo>
                  <a:lnTo>
                    <a:pt x="12224" y="3007"/>
                  </a:lnTo>
                  <a:lnTo>
                    <a:pt x="12232" y="3001"/>
                  </a:lnTo>
                  <a:lnTo>
                    <a:pt x="12237" y="2992"/>
                  </a:lnTo>
                  <a:lnTo>
                    <a:pt x="12238" y="2978"/>
                  </a:lnTo>
                  <a:lnTo>
                    <a:pt x="12242" y="2928"/>
                  </a:lnTo>
                  <a:lnTo>
                    <a:pt x="12244" y="2911"/>
                  </a:lnTo>
                  <a:lnTo>
                    <a:pt x="12250" y="2897"/>
                  </a:lnTo>
                  <a:lnTo>
                    <a:pt x="12262" y="2875"/>
                  </a:lnTo>
                  <a:lnTo>
                    <a:pt x="12270" y="2868"/>
                  </a:lnTo>
                  <a:lnTo>
                    <a:pt x="12279" y="2860"/>
                  </a:lnTo>
                  <a:lnTo>
                    <a:pt x="12296" y="2847"/>
                  </a:lnTo>
                  <a:lnTo>
                    <a:pt x="12310" y="2836"/>
                  </a:lnTo>
                  <a:lnTo>
                    <a:pt x="12315" y="2828"/>
                  </a:lnTo>
                  <a:lnTo>
                    <a:pt x="12319" y="2821"/>
                  </a:lnTo>
                  <a:lnTo>
                    <a:pt x="12320" y="2812"/>
                  </a:lnTo>
                  <a:lnTo>
                    <a:pt x="12320" y="2801"/>
                  </a:lnTo>
                  <a:lnTo>
                    <a:pt x="12312" y="2773"/>
                  </a:lnTo>
                  <a:lnTo>
                    <a:pt x="12300" y="2743"/>
                  </a:lnTo>
                  <a:lnTo>
                    <a:pt x="12294" y="2727"/>
                  </a:lnTo>
                  <a:lnTo>
                    <a:pt x="12293" y="2711"/>
                  </a:lnTo>
                  <a:lnTo>
                    <a:pt x="12294" y="2693"/>
                  </a:lnTo>
                  <a:lnTo>
                    <a:pt x="12300" y="2676"/>
                  </a:lnTo>
                  <a:lnTo>
                    <a:pt x="12318" y="2629"/>
                  </a:lnTo>
                  <a:lnTo>
                    <a:pt x="12323" y="2616"/>
                  </a:lnTo>
                  <a:lnTo>
                    <a:pt x="12323" y="2606"/>
                  </a:lnTo>
                  <a:lnTo>
                    <a:pt x="12319" y="2598"/>
                  </a:lnTo>
                  <a:lnTo>
                    <a:pt x="12309" y="2588"/>
                  </a:lnTo>
                  <a:lnTo>
                    <a:pt x="12271" y="2553"/>
                  </a:lnTo>
                  <a:lnTo>
                    <a:pt x="12261" y="2540"/>
                  </a:lnTo>
                  <a:lnTo>
                    <a:pt x="12252" y="2529"/>
                  </a:lnTo>
                  <a:lnTo>
                    <a:pt x="12247" y="2516"/>
                  </a:lnTo>
                  <a:lnTo>
                    <a:pt x="12243" y="2505"/>
                  </a:lnTo>
                  <a:lnTo>
                    <a:pt x="12242" y="2483"/>
                  </a:lnTo>
                  <a:lnTo>
                    <a:pt x="12242" y="2461"/>
                  </a:lnTo>
                  <a:lnTo>
                    <a:pt x="12241" y="2443"/>
                  </a:lnTo>
                  <a:lnTo>
                    <a:pt x="12238" y="2434"/>
                  </a:lnTo>
                  <a:lnTo>
                    <a:pt x="12236" y="2427"/>
                  </a:lnTo>
                  <a:lnTo>
                    <a:pt x="12229" y="2419"/>
                  </a:lnTo>
                  <a:lnTo>
                    <a:pt x="12220" y="2413"/>
                  </a:lnTo>
                  <a:lnTo>
                    <a:pt x="12209" y="2406"/>
                  </a:lnTo>
                  <a:lnTo>
                    <a:pt x="12193" y="2401"/>
                  </a:lnTo>
                  <a:lnTo>
                    <a:pt x="12164" y="2393"/>
                  </a:lnTo>
                  <a:lnTo>
                    <a:pt x="12143" y="2384"/>
                  </a:lnTo>
                  <a:lnTo>
                    <a:pt x="12129" y="2376"/>
                  </a:lnTo>
                  <a:lnTo>
                    <a:pt x="12120" y="2365"/>
                  </a:lnTo>
                  <a:lnTo>
                    <a:pt x="12106" y="2340"/>
                  </a:lnTo>
                  <a:lnTo>
                    <a:pt x="12096" y="2322"/>
                  </a:lnTo>
                  <a:lnTo>
                    <a:pt x="12082" y="2301"/>
                  </a:lnTo>
                  <a:lnTo>
                    <a:pt x="12077" y="2295"/>
                  </a:lnTo>
                  <a:lnTo>
                    <a:pt x="12070" y="2291"/>
                  </a:lnTo>
                  <a:lnTo>
                    <a:pt x="12055" y="2287"/>
                  </a:lnTo>
                  <a:lnTo>
                    <a:pt x="12038" y="2289"/>
                  </a:lnTo>
                  <a:lnTo>
                    <a:pt x="12020" y="2292"/>
                  </a:lnTo>
                  <a:lnTo>
                    <a:pt x="12000" y="2296"/>
                  </a:lnTo>
                  <a:lnTo>
                    <a:pt x="11978" y="2296"/>
                  </a:lnTo>
                  <a:lnTo>
                    <a:pt x="11955" y="2292"/>
                  </a:lnTo>
                  <a:lnTo>
                    <a:pt x="11930" y="2281"/>
                  </a:lnTo>
                  <a:lnTo>
                    <a:pt x="11900" y="2259"/>
                  </a:lnTo>
                  <a:lnTo>
                    <a:pt x="11882" y="2248"/>
                  </a:lnTo>
                  <a:lnTo>
                    <a:pt x="11866" y="2244"/>
                  </a:lnTo>
                  <a:lnTo>
                    <a:pt x="11851" y="2246"/>
                  </a:lnTo>
                  <a:lnTo>
                    <a:pt x="11843" y="2250"/>
                  </a:lnTo>
                  <a:lnTo>
                    <a:pt x="11837" y="2254"/>
                  </a:lnTo>
                  <a:lnTo>
                    <a:pt x="11812" y="2276"/>
                  </a:lnTo>
                  <a:lnTo>
                    <a:pt x="11796" y="2286"/>
                  </a:lnTo>
                  <a:lnTo>
                    <a:pt x="11774" y="2294"/>
                  </a:lnTo>
                  <a:lnTo>
                    <a:pt x="11744" y="2295"/>
                  </a:lnTo>
                  <a:lnTo>
                    <a:pt x="11726" y="2294"/>
                  </a:lnTo>
                  <a:lnTo>
                    <a:pt x="11706" y="2291"/>
                  </a:lnTo>
                  <a:lnTo>
                    <a:pt x="11691" y="2289"/>
                  </a:lnTo>
                  <a:lnTo>
                    <a:pt x="11676" y="2289"/>
                  </a:lnTo>
                  <a:lnTo>
                    <a:pt x="11666" y="2291"/>
                  </a:lnTo>
                  <a:lnTo>
                    <a:pt x="11658" y="2295"/>
                  </a:lnTo>
                  <a:lnTo>
                    <a:pt x="11646" y="2308"/>
                  </a:lnTo>
                  <a:lnTo>
                    <a:pt x="11637" y="2324"/>
                  </a:lnTo>
                  <a:lnTo>
                    <a:pt x="11628" y="2342"/>
                  </a:lnTo>
                  <a:lnTo>
                    <a:pt x="11616" y="2361"/>
                  </a:lnTo>
                  <a:lnTo>
                    <a:pt x="11598" y="2379"/>
                  </a:lnTo>
                  <a:lnTo>
                    <a:pt x="11585" y="2387"/>
                  </a:lnTo>
                  <a:lnTo>
                    <a:pt x="11570" y="2393"/>
                  </a:lnTo>
                  <a:lnTo>
                    <a:pt x="11521" y="2409"/>
                  </a:lnTo>
                  <a:lnTo>
                    <a:pt x="11508" y="2414"/>
                  </a:lnTo>
                  <a:lnTo>
                    <a:pt x="11501" y="2419"/>
                  </a:lnTo>
                  <a:lnTo>
                    <a:pt x="11497" y="2428"/>
                  </a:lnTo>
                  <a:lnTo>
                    <a:pt x="11494" y="2442"/>
                  </a:lnTo>
                  <a:lnTo>
                    <a:pt x="11491" y="2492"/>
                  </a:lnTo>
                  <a:lnTo>
                    <a:pt x="11488" y="2509"/>
                  </a:lnTo>
                  <a:lnTo>
                    <a:pt x="11484" y="2523"/>
                  </a:lnTo>
                  <a:lnTo>
                    <a:pt x="11470" y="2544"/>
                  </a:lnTo>
                  <a:lnTo>
                    <a:pt x="11462" y="2552"/>
                  </a:lnTo>
                  <a:lnTo>
                    <a:pt x="11455" y="2560"/>
                  </a:lnTo>
                  <a:lnTo>
                    <a:pt x="11438" y="2572"/>
                  </a:lnTo>
                  <a:lnTo>
                    <a:pt x="11424" y="2585"/>
                  </a:lnTo>
                  <a:lnTo>
                    <a:pt x="11419" y="2592"/>
                  </a:lnTo>
                  <a:lnTo>
                    <a:pt x="11415" y="2599"/>
                  </a:lnTo>
                  <a:lnTo>
                    <a:pt x="11412" y="2608"/>
                  </a:lnTo>
                  <a:lnTo>
                    <a:pt x="11412" y="2620"/>
                  </a:lnTo>
                  <a:lnTo>
                    <a:pt x="11421" y="2647"/>
                  </a:lnTo>
                  <a:lnTo>
                    <a:pt x="11434" y="2677"/>
                  </a:lnTo>
                  <a:lnTo>
                    <a:pt x="11438" y="2694"/>
                  </a:lnTo>
                  <a:lnTo>
                    <a:pt x="11440" y="2711"/>
                  </a:lnTo>
                  <a:lnTo>
                    <a:pt x="11438" y="2732"/>
                  </a:lnTo>
                  <a:lnTo>
                    <a:pt x="11432" y="2751"/>
                  </a:lnTo>
                  <a:lnTo>
                    <a:pt x="11416" y="2782"/>
                  </a:lnTo>
                  <a:lnTo>
                    <a:pt x="11411" y="2797"/>
                  </a:lnTo>
                  <a:lnTo>
                    <a:pt x="11411" y="2805"/>
                  </a:lnTo>
                  <a:lnTo>
                    <a:pt x="11412" y="2812"/>
                  </a:lnTo>
                  <a:lnTo>
                    <a:pt x="11420" y="2828"/>
                  </a:lnTo>
                  <a:lnTo>
                    <a:pt x="11438" y="2847"/>
                  </a:lnTo>
                  <a:lnTo>
                    <a:pt x="11461" y="2868"/>
                  </a:lnTo>
                  <a:lnTo>
                    <a:pt x="11476" y="2884"/>
                  </a:lnTo>
                  <a:lnTo>
                    <a:pt x="11484" y="2899"/>
                  </a:lnTo>
                  <a:lnTo>
                    <a:pt x="11488" y="2911"/>
                  </a:lnTo>
                  <a:lnTo>
                    <a:pt x="11491" y="2941"/>
                  </a:lnTo>
                  <a:lnTo>
                    <a:pt x="11491" y="2960"/>
                  </a:lnTo>
                  <a:lnTo>
                    <a:pt x="11494" y="2985"/>
                  </a:lnTo>
                  <a:lnTo>
                    <a:pt x="11502" y="3000"/>
                  </a:lnTo>
                  <a:lnTo>
                    <a:pt x="11514" y="3010"/>
                  </a:lnTo>
                  <a:lnTo>
                    <a:pt x="11529" y="3015"/>
                  </a:lnTo>
                  <a:lnTo>
                    <a:pt x="11547" y="3020"/>
                  </a:lnTo>
                  <a:lnTo>
                    <a:pt x="11567" y="3026"/>
                  </a:lnTo>
                  <a:lnTo>
                    <a:pt x="11587" y="3034"/>
                  </a:lnTo>
                  <a:lnTo>
                    <a:pt x="11606" y="3048"/>
                  </a:lnTo>
                  <a:lnTo>
                    <a:pt x="11615" y="3057"/>
                  </a:lnTo>
                  <a:lnTo>
                    <a:pt x="11623" y="3069"/>
                  </a:lnTo>
                  <a:lnTo>
                    <a:pt x="11648" y="3112"/>
                  </a:lnTo>
                  <a:lnTo>
                    <a:pt x="11656" y="3124"/>
                  </a:lnTo>
                  <a:lnTo>
                    <a:pt x="11664" y="3130"/>
                  </a:lnTo>
                  <a:lnTo>
                    <a:pt x="11673" y="3133"/>
                  </a:lnTo>
                  <a:lnTo>
                    <a:pt x="11687" y="3131"/>
                  </a:lnTo>
                  <a:lnTo>
                    <a:pt x="11737" y="3124"/>
                  </a:lnTo>
                  <a:lnTo>
                    <a:pt x="11757" y="3124"/>
                  </a:lnTo>
                  <a:lnTo>
                    <a:pt x="11774" y="3126"/>
                  </a:lnTo>
                  <a:lnTo>
                    <a:pt x="11789" y="3131"/>
                  </a:lnTo>
                  <a:lnTo>
                    <a:pt x="11803" y="3139"/>
                  </a:lnTo>
                  <a:lnTo>
                    <a:pt x="11826" y="3156"/>
                  </a:lnTo>
                  <a:lnTo>
                    <a:pt x="11847" y="3171"/>
                  </a:lnTo>
                  <a:lnTo>
                    <a:pt x="11847" y="2973"/>
                  </a:lnTo>
                  <a:lnTo>
                    <a:pt x="11769" y="2895"/>
                  </a:lnTo>
                  <a:lnTo>
                    <a:pt x="11764" y="2887"/>
                  </a:lnTo>
                  <a:lnTo>
                    <a:pt x="11762" y="2879"/>
                  </a:lnTo>
                  <a:lnTo>
                    <a:pt x="11765" y="2873"/>
                  </a:lnTo>
                  <a:lnTo>
                    <a:pt x="11769" y="2867"/>
                  </a:lnTo>
                  <a:lnTo>
                    <a:pt x="11775" y="2863"/>
                  </a:lnTo>
                  <a:lnTo>
                    <a:pt x="11782" y="2860"/>
                  </a:lnTo>
                  <a:lnTo>
                    <a:pt x="11789" y="2861"/>
                  </a:lnTo>
                  <a:lnTo>
                    <a:pt x="11797" y="2867"/>
                  </a:lnTo>
                  <a:lnTo>
                    <a:pt x="11847" y="2916"/>
                  </a:lnTo>
                  <a:lnTo>
                    <a:pt x="11847" y="2882"/>
                  </a:lnTo>
                  <a:lnTo>
                    <a:pt x="11847" y="2875"/>
                  </a:lnTo>
                  <a:close/>
                  <a:moveTo>
                    <a:pt x="11887" y="2960"/>
                  </a:moveTo>
                  <a:lnTo>
                    <a:pt x="11887" y="2968"/>
                  </a:lnTo>
                  <a:lnTo>
                    <a:pt x="11887" y="2960"/>
                  </a:lnTo>
                  <a:close/>
                  <a:moveTo>
                    <a:pt x="11887" y="2741"/>
                  </a:moveTo>
                  <a:lnTo>
                    <a:pt x="11887" y="2748"/>
                  </a:lnTo>
                  <a:lnTo>
                    <a:pt x="11887" y="2741"/>
                  </a:lnTo>
                  <a:close/>
                  <a:moveTo>
                    <a:pt x="11847" y="2882"/>
                  </a:moveTo>
                  <a:lnTo>
                    <a:pt x="11847" y="2875"/>
                  </a:lnTo>
                  <a:lnTo>
                    <a:pt x="11847" y="2882"/>
                  </a:lnTo>
                  <a:close/>
                  <a:moveTo>
                    <a:pt x="9740" y="1741"/>
                  </a:moveTo>
                  <a:lnTo>
                    <a:pt x="9740" y="1619"/>
                  </a:lnTo>
                  <a:lnTo>
                    <a:pt x="9741" y="1611"/>
                  </a:lnTo>
                  <a:lnTo>
                    <a:pt x="9747" y="1604"/>
                  </a:lnTo>
                  <a:lnTo>
                    <a:pt x="9753" y="1601"/>
                  </a:lnTo>
                  <a:lnTo>
                    <a:pt x="9761" y="1599"/>
                  </a:lnTo>
                  <a:lnTo>
                    <a:pt x="10006" y="1599"/>
                  </a:lnTo>
                  <a:lnTo>
                    <a:pt x="10013" y="1601"/>
                  </a:lnTo>
                  <a:lnTo>
                    <a:pt x="10020" y="1604"/>
                  </a:lnTo>
                  <a:lnTo>
                    <a:pt x="10024" y="1611"/>
                  </a:lnTo>
                  <a:lnTo>
                    <a:pt x="10026" y="1619"/>
                  </a:lnTo>
                  <a:lnTo>
                    <a:pt x="10026" y="1741"/>
                  </a:lnTo>
                  <a:lnTo>
                    <a:pt x="10978" y="1741"/>
                  </a:lnTo>
                  <a:lnTo>
                    <a:pt x="10987" y="1744"/>
                  </a:lnTo>
                  <a:lnTo>
                    <a:pt x="10994" y="1749"/>
                  </a:lnTo>
                  <a:lnTo>
                    <a:pt x="11211" y="2048"/>
                  </a:lnTo>
                  <a:lnTo>
                    <a:pt x="11235" y="2048"/>
                  </a:lnTo>
                  <a:lnTo>
                    <a:pt x="11242" y="2051"/>
                  </a:lnTo>
                  <a:lnTo>
                    <a:pt x="11248" y="2055"/>
                  </a:lnTo>
                  <a:lnTo>
                    <a:pt x="11253" y="2061"/>
                  </a:lnTo>
                  <a:lnTo>
                    <a:pt x="11255" y="2069"/>
                  </a:lnTo>
                  <a:lnTo>
                    <a:pt x="11255" y="2241"/>
                  </a:lnTo>
                  <a:lnTo>
                    <a:pt x="11253" y="2249"/>
                  </a:lnTo>
                  <a:lnTo>
                    <a:pt x="11248" y="2255"/>
                  </a:lnTo>
                  <a:lnTo>
                    <a:pt x="11242" y="2260"/>
                  </a:lnTo>
                  <a:lnTo>
                    <a:pt x="11235" y="2262"/>
                  </a:lnTo>
                  <a:lnTo>
                    <a:pt x="11224" y="2262"/>
                  </a:lnTo>
                  <a:lnTo>
                    <a:pt x="11224" y="3107"/>
                  </a:lnTo>
                  <a:lnTo>
                    <a:pt x="11223" y="3116"/>
                  </a:lnTo>
                  <a:lnTo>
                    <a:pt x="11217" y="3122"/>
                  </a:lnTo>
                  <a:lnTo>
                    <a:pt x="11211" y="3126"/>
                  </a:lnTo>
                  <a:lnTo>
                    <a:pt x="11205" y="3127"/>
                  </a:lnTo>
                  <a:lnTo>
                    <a:pt x="11197" y="3126"/>
                  </a:lnTo>
                  <a:lnTo>
                    <a:pt x="11190" y="3122"/>
                  </a:lnTo>
                  <a:lnTo>
                    <a:pt x="11185" y="3116"/>
                  </a:lnTo>
                  <a:lnTo>
                    <a:pt x="11184" y="3107"/>
                  </a:lnTo>
                  <a:lnTo>
                    <a:pt x="11184" y="2262"/>
                  </a:lnTo>
                  <a:lnTo>
                    <a:pt x="10285" y="2262"/>
                  </a:lnTo>
                  <a:lnTo>
                    <a:pt x="9388" y="2262"/>
                  </a:lnTo>
                  <a:lnTo>
                    <a:pt x="9388" y="3282"/>
                  </a:lnTo>
                  <a:lnTo>
                    <a:pt x="9388" y="4304"/>
                  </a:lnTo>
                  <a:lnTo>
                    <a:pt x="10285" y="4304"/>
                  </a:lnTo>
                  <a:lnTo>
                    <a:pt x="11184" y="4304"/>
                  </a:lnTo>
                  <a:lnTo>
                    <a:pt x="11184" y="3976"/>
                  </a:lnTo>
                  <a:lnTo>
                    <a:pt x="11185" y="3969"/>
                  </a:lnTo>
                  <a:lnTo>
                    <a:pt x="11190" y="3962"/>
                  </a:lnTo>
                  <a:lnTo>
                    <a:pt x="11197" y="3959"/>
                  </a:lnTo>
                  <a:lnTo>
                    <a:pt x="11205" y="3957"/>
                  </a:lnTo>
                  <a:lnTo>
                    <a:pt x="11211" y="3959"/>
                  </a:lnTo>
                  <a:lnTo>
                    <a:pt x="11217" y="3962"/>
                  </a:lnTo>
                  <a:lnTo>
                    <a:pt x="11223" y="3969"/>
                  </a:lnTo>
                  <a:lnTo>
                    <a:pt x="11224" y="3976"/>
                  </a:lnTo>
                  <a:lnTo>
                    <a:pt x="11224" y="4324"/>
                  </a:lnTo>
                  <a:lnTo>
                    <a:pt x="11223" y="4332"/>
                  </a:lnTo>
                  <a:lnTo>
                    <a:pt x="11217" y="4338"/>
                  </a:lnTo>
                  <a:lnTo>
                    <a:pt x="11211" y="4342"/>
                  </a:lnTo>
                  <a:lnTo>
                    <a:pt x="11205" y="4343"/>
                  </a:lnTo>
                  <a:lnTo>
                    <a:pt x="10285" y="4343"/>
                  </a:lnTo>
                  <a:lnTo>
                    <a:pt x="9367" y="4343"/>
                  </a:lnTo>
                  <a:lnTo>
                    <a:pt x="9361" y="4342"/>
                  </a:lnTo>
                  <a:lnTo>
                    <a:pt x="9354" y="4338"/>
                  </a:lnTo>
                  <a:lnTo>
                    <a:pt x="9349" y="4332"/>
                  </a:lnTo>
                  <a:lnTo>
                    <a:pt x="9348" y="4324"/>
                  </a:lnTo>
                  <a:lnTo>
                    <a:pt x="9348" y="3808"/>
                  </a:lnTo>
                  <a:lnTo>
                    <a:pt x="9348" y="3292"/>
                  </a:lnTo>
                  <a:lnTo>
                    <a:pt x="9348" y="2777"/>
                  </a:lnTo>
                  <a:lnTo>
                    <a:pt x="9348" y="2262"/>
                  </a:lnTo>
                  <a:lnTo>
                    <a:pt x="9336" y="2262"/>
                  </a:lnTo>
                  <a:lnTo>
                    <a:pt x="9329" y="2260"/>
                  </a:lnTo>
                  <a:lnTo>
                    <a:pt x="9322" y="2255"/>
                  </a:lnTo>
                  <a:lnTo>
                    <a:pt x="9318" y="2249"/>
                  </a:lnTo>
                  <a:lnTo>
                    <a:pt x="9317" y="2241"/>
                  </a:lnTo>
                  <a:lnTo>
                    <a:pt x="9317" y="2069"/>
                  </a:lnTo>
                  <a:lnTo>
                    <a:pt x="9318" y="2061"/>
                  </a:lnTo>
                  <a:lnTo>
                    <a:pt x="9322" y="2055"/>
                  </a:lnTo>
                  <a:lnTo>
                    <a:pt x="9329" y="2051"/>
                  </a:lnTo>
                  <a:lnTo>
                    <a:pt x="9336" y="2048"/>
                  </a:lnTo>
                  <a:lnTo>
                    <a:pt x="9364" y="2048"/>
                  </a:lnTo>
                  <a:lnTo>
                    <a:pt x="9581" y="1749"/>
                  </a:lnTo>
                  <a:lnTo>
                    <a:pt x="9589" y="1744"/>
                  </a:lnTo>
                  <a:lnTo>
                    <a:pt x="9598" y="1741"/>
                  </a:lnTo>
                  <a:lnTo>
                    <a:pt x="9740" y="1741"/>
                  </a:lnTo>
                  <a:close/>
                  <a:moveTo>
                    <a:pt x="9985" y="1741"/>
                  </a:moveTo>
                  <a:lnTo>
                    <a:pt x="9985" y="1639"/>
                  </a:lnTo>
                  <a:lnTo>
                    <a:pt x="9780" y="1639"/>
                  </a:lnTo>
                  <a:lnTo>
                    <a:pt x="9780" y="1741"/>
                  </a:lnTo>
                  <a:lnTo>
                    <a:pt x="9799" y="1741"/>
                  </a:lnTo>
                  <a:lnTo>
                    <a:pt x="9808" y="1743"/>
                  </a:lnTo>
                  <a:lnTo>
                    <a:pt x="9815" y="1748"/>
                  </a:lnTo>
                  <a:lnTo>
                    <a:pt x="9818" y="1754"/>
                  </a:lnTo>
                  <a:lnTo>
                    <a:pt x="9820" y="1762"/>
                  </a:lnTo>
                  <a:lnTo>
                    <a:pt x="9818" y="1768"/>
                  </a:lnTo>
                  <a:lnTo>
                    <a:pt x="9815" y="1775"/>
                  </a:lnTo>
                  <a:lnTo>
                    <a:pt x="9808" y="1780"/>
                  </a:lnTo>
                  <a:lnTo>
                    <a:pt x="9799" y="1781"/>
                  </a:lnTo>
                  <a:lnTo>
                    <a:pt x="9607" y="1781"/>
                  </a:lnTo>
                  <a:lnTo>
                    <a:pt x="9413" y="2048"/>
                  </a:lnTo>
                  <a:lnTo>
                    <a:pt x="10288" y="2048"/>
                  </a:lnTo>
                  <a:lnTo>
                    <a:pt x="11162" y="2048"/>
                  </a:lnTo>
                  <a:lnTo>
                    <a:pt x="10967" y="1781"/>
                  </a:lnTo>
                  <a:lnTo>
                    <a:pt x="9953" y="1781"/>
                  </a:lnTo>
                  <a:lnTo>
                    <a:pt x="9944" y="1780"/>
                  </a:lnTo>
                  <a:lnTo>
                    <a:pt x="9938" y="1775"/>
                  </a:lnTo>
                  <a:lnTo>
                    <a:pt x="9934" y="1768"/>
                  </a:lnTo>
                  <a:lnTo>
                    <a:pt x="9933" y="1762"/>
                  </a:lnTo>
                  <a:lnTo>
                    <a:pt x="9934" y="1754"/>
                  </a:lnTo>
                  <a:lnTo>
                    <a:pt x="9938" y="1748"/>
                  </a:lnTo>
                  <a:lnTo>
                    <a:pt x="9944" y="1743"/>
                  </a:lnTo>
                  <a:lnTo>
                    <a:pt x="9953" y="1741"/>
                  </a:lnTo>
                  <a:lnTo>
                    <a:pt x="9985" y="1741"/>
                  </a:lnTo>
                  <a:close/>
                  <a:moveTo>
                    <a:pt x="9372" y="2089"/>
                  </a:moveTo>
                  <a:lnTo>
                    <a:pt x="9357" y="2089"/>
                  </a:lnTo>
                  <a:lnTo>
                    <a:pt x="9357" y="2222"/>
                  </a:lnTo>
                  <a:lnTo>
                    <a:pt x="10285" y="2222"/>
                  </a:lnTo>
                  <a:lnTo>
                    <a:pt x="11215" y="2222"/>
                  </a:lnTo>
                  <a:lnTo>
                    <a:pt x="11215" y="2089"/>
                  </a:lnTo>
                  <a:lnTo>
                    <a:pt x="11205" y="2089"/>
                  </a:lnTo>
                  <a:lnTo>
                    <a:pt x="11198" y="2089"/>
                  </a:lnTo>
                  <a:lnTo>
                    <a:pt x="10288" y="2089"/>
                  </a:lnTo>
                  <a:lnTo>
                    <a:pt x="9379" y="2089"/>
                  </a:lnTo>
                  <a:lnTo>
                    <a:pt x="9372" y="2089"/>
                  </a:lnTo>
                  <a:close/>
                  <a:moveTo>
                    <a:pt x="11205" y="2089"/>
                  </a:moveTo>
                  <a:lnTo>
                    <a:pt x="11198" y="2089"/>
                  </a:lnTo>
                  <a:lnTo>
                    <a:pt x="11205" y="2089"/>
                  </a:lnTo>
                  <a:close/>
                  <a:moveTo>
                    <a:pt x="9379" y="2089"/>
                  </a:moveTo>
                  <a:lnTo>
                    <a:pt x="9372" y="2089"/>
                  </a:lnTo>
                  <a:lnTo>
                    <a:pt x="9379" y="2089"/>
                  </a:lnTo>
                  <a:close/>
                  <a:moveTo>
                    <a:pt x="11106" y="1136"/>
                  </a:moveTo>
                  <a:lnTo>
                    <a:pt x="11083" y="1126"/>
                  </a:lnTo>
                  <a:lnTo>
                    <a:pt x="11056" y="1122"/>
                  </a:lnTo>
                  <a:lnTo>
                    <a:pt x="11035" y="1125"/>
                  </a:lnTo>
                  <a:lnTo>
                    <a:pt x="11017" y="1130"/>
                  </a:lnTo>
                  <a:lnTo>
                    <a:pt x="10999" y="1140"/>
                  </a:lnTo>
                  <a:lnTo>
                    <a:pt x="10985" y="1152"/>
                  </a:lnTo>
                  <a:lnTo>
                    <a:pt x="10972" y="1167"/>
                  </a:lnTo>
                  <a:lnTo>
                    <a:pt x="10963" y="1185"/>
                  </a:lnTo>
                  <a:lnTo>
                    <a:pt x="10957" y="1204"/>
                  </a:lnTo>
                  <a:lnTo>
                    <a:pt x="10956" y="1225"/>
                  </a:lnTo>
                  <a:lnTo>
                    <a:pt x="10958" y="1246"/>
                  </a:lnTo>
                  <a:lnTo>
                    <a:pt x="11683" y="1245"/>
                  </a:lnTo>
                  <a:lnTo>
                    <a:pt x="11683" y="1227"/>
                  </a:lnTo>
                  <a:lnTo>
                    <a:pt x="11682" y="1208"/>
                  </a:lnTo>
                  <a:lnTo>
                    <a:pt x="11675" y="1190"/>
                  </a:lnTo>
                  <a:lnTo>
                    <a:pt x="11666" y="1174"/>
                  </a:lnTo>
                  <a:lnTo>
                    <a:pt x="11653" y="1159"/>
                  </a:lnTo>
                  <a:lnTo>
                    <a:pt x="11647" y="1153"/>
                  </a:lnTo>
                  <a:lnTo>
                    <a:pt x="11639" y="1148"/>
                  </a:lnTo>
                  <a:lnTo>
                    <a:pt x="11621" y="1139"/>
                  </a:lnTo>
                  <a:lnTo>
                    <a:pt x="11603" y="1133"/>
                  </a:lnTo>
                  <a:lnTo>
                    <a:pt x="11583" y="1131"/>
                  </a:lnTo>
                  <a:lnTo>
                    <a:pt x="11558" y="1134"/>
                  </a:lnTo>
                  <a:lnTo>
                    <a:pt x="11542" y="1138"/>
                  </a:lnTo>
                  <a:lnTo>
                    <a:pt x="11523" y="1139"/>
                  </a:lnTo>
                  <a:lnTo>
                    <a:pt x="11489" y="1133"/>
                  </a:lnTo>
                  <a:lnTo>
                    <a:pt x="11489" y="1113"/>
                  </a:lnTo>
                  <a:lnTo>
                    <a:pt x="11487" y="1096"/>
                  </a:lnTo>
                  <a:lnTo>
                    <a:pt x="11482" y="1078"/>
                  </a:lnTo>
                  <a:lnTo>
                    <a:pt x="11476" y="1061"/>
                  </a:lnTo>
                  <a:lnTo>
                    <a:pt x="11469" y="1044"/>
                  </a:lnTo>
                  <a:lnTo>
                    <a:pt x="11460" y="1030"/>
                  </a:lnTo>
                  <a:lnTo>
                    <a:pt x="11451" y="1016"/>
                  </a:lnTo>
                  <a:lnTo>
                    <a:pt x="11439" y="1002"/>
                  </a:lnTo>
                  <a:lnTo>
                    <a:pt x="11412" y="980"/>
                  </a:lnTo>
                  <a:lnTo>
                    <a:pt x="11383" y="964"/>
                  </a:lnTo>
                  <a:lnTo>
                    <a:pt x="11366" y="957"/>
                  </a:lnTo>
                  <a:lnTo>
                    <a:pt x="11349" y="954"/>
                  </a:lnTo>
                  <a:lnTo>
                    <a:pt x="11312" y="950"/>
                  </a:lnTo>
                  <a:lnTo>
                    <a:pt x="11278" y="954"/>
                  </a:lnTo>
                  <a:lnTo>
                    <a:pt x="11261" y="957"/>
                  </a:lnTo>
                  <a:lnTo>
                    <a:pt x="11246" y="963"/>
                  </a:lnTo>
                  <a:lnTo>
                    <a:pt x="11230" y="970"/>
                  </a:lnTo>
                  <a:lnTo>
                    <a:pt x="11216" y="978"/>
                  </a:lnTo>
                  <a:lnTo>
                    <a:pt x="11190" y="998"/>
                  </a:lnTo>
                  <a:lnTo>
                    <a:pt x="11170" y="1024"/>
                  </a:lnTo>
                  <a:lnTo>
                    <a:pt x="11153" y="1053"/>
                  </a:lnTo>
                  <a:lnTo>
                    <a:pt x="11147" y="1069"/>
                  </a:lnTo>
                  <a:lnTo>
                    <a:pt x="11142" y="1085"/>
                  </a:lnTo>
                  <a:lnTo>
                    <a:pt x="11138" y="1102"/>
                  </a:lnTo>
                  <a:lnTo>
                    <a:pt x="11137" y="1120"/>
                  </a:lnTo>
                  <a:lnTo>
                    <a:pt x="11134" y="1131"/>
                  </a:lnTo>
                  <a:lnTo>
                    <a:pt x="11126" y="1138"/>
                  </a:lnTo>
                  <a:lnTo>
                    <a:pt x="11122" y="1139"/>
                  </a:lnTo>
                  <a:lnTo>
                    <a:pt x="11117" y="1140"/>
                  </a:lnTo>
                  <a:lnTo>
                    <a:pt x="11106" y="1136"/>
                  </a:lnTo>
                  <a:close/>
                  <a:moveTo>
                    <a:pt x="11528" y="1106"/>
                  </a:moveTo>
                  <a:lnTo>
                    <a:pt x="11539" y="1098"/>
                  </a:lnTo>
                  <a:lnTo>
                    <a:pt x="11555" y="1094"/>
                  </a:lnTo>
                  <a:lnTo>
                    <a:pt x="11583" y="1090"/>
                  </a:lnTo>
                  <a:lnTo>
                    <a:pt x="11611" y="1094"/>
                  </a:lnTo>
                  <a:lnTo>
                    <a:pt x="11624" y="1097"/>
                  </a:lnTo>
                  <a:lnTo>
                    <a:pt x="11637" y="1102"/>
                  </a:lnTo>
                  <a:lnTo>
                    <a:pt x="11660" y="1115"/>
                  </a:lnTo>
                  <a:lnTo>
                    <a:pt x="11682" y="1131"/>
                  </a:lnTo>
                  <a:lnTo>
                    <a:pt x="11698" y="1151"/>
                  </a:lnTo>
                  <a:lnTo>
                    <a:pt x="11712" y="1174"/>
                  </a:lnTo>
                  <a:lnTo>
                    <a:pt x="11720" y="1199"/>
                  </a:lnTo>
                  <a:lnTo>
                    <a:pt x="11723" y="1213"/>
                  </a:lnTo>
                  <a:lnTo>
                    <a:pt x="11723" y="1227"/>
                  </a:lnTo>
                  <a:lnTo>
                    <a:pt x="11723" y="1243"/>
                  </a:lnTo>
                  <a:lnTo>
                    <a:pt x="11721" y="1262"/>
                  </a:lnTo>
                  <a:lnTo>
                    <a:pt x="11714" y="1278"/>
                  </a:lnTo>
                  <a:lnTo>
                    <a:pt x="11707" y="1284"/>
                  </a:lnTo>
                  <a:lnTo>
                    <a:pt x="11700" y="1285"/>
                  </a:lnTo>
                  <a:lnTo>
                    <a:pt x="10943" y="1286"/>
                  </a:lnTo>
                  <a:lnTo>
                    <a:pt x="10934" y="1285"/>
                  </a:lnTo>
                  <a:lnTo>
                    <a:pt x="10928" y="1280"/>
                  </a:lnTo>
                  <a:lnTo>
                    <a:pt x="10924" y="1271"/>
                  </a:lnTo>
                  <a:lnTo>
                    <a:pt x="10920" y="1262"/>
                  </a:lnTo>
                  <a:lnTo>
                    <a:pt x="10916" y="1240"/>
                  </a:lnTo>
                  <a:lnTo>
                    <a:pt x="10915" y="1225"/>
                  </a:lnTo>
                  <a:lnTo>
                    <a:pt x="10919" y="1197"/>
                  </a:lnTo>
                  <a:lnTo>
                    <a:pt x="10926" y="1170"/>
                  </a:lnTo>
                  <a:lnTo>
                    <a:pt x="10939" y="1145"/>
                  </a:lnTo>
                  <a:lnTo>
                    <a:pt x="10956" y="1125"/>
                  </a:lnTo>
                  <a:lnTo>
                    <a:pt x="10978" y="1107"/>
                  </a:lnTo>
                  <a:lnTo>
                    <a:pt x="10989" y="1099"/>
                  </a:lnTo>
                  <a:lnTo>
                    <a:pt x="11001" y="1094"/>
                  </a:lnTo>
                  <a:lnTo>
                    <a:pt x="11028" y="1085"/>
                  </a:lnTo>
                  <a:lnTo>
                    <a:pt x="11042" y="1083"/>
                  </a:lnTo>
                  <a:lnTo>
                    <a:pt x="11056" y="1083"/>
                  </a:lnTo>
                  <a:lnTo>
                    <a:pt x="11079" y="1084"/>
                  </a:lnTo>
                  <a:lnTo>
                    <a:pt x="11101" y="1089"/>
                  </a:lnTo>
                  <a:lnTo>
                    <a:pt x="11110" y="1052"/>
                  </a:lnTo>
                  <a:lnTo>
                    <a:pt x="11126" y="1019"/>
                  </a:lnTo>
                  <a:lnTo>
                    <a:pt x="11147" y="988"/>
                  </a:lnTo>
                  <a:lnTo>
                    <a:pt x="11173" y="961"/>
                  </a:lnTo>
                  <a:lnTo>
                    <a:pt x="11202" y="940"/>
                  </a:lnTo>
                  <a:lnTo>
                    <a:pt x="11237" y="923"/>
                  </a:lnTo>
                  <a:lnTo>
                    <a:pt x="11274" y="913"/>
                  </a:lnTo>
                  <a:lnTo>
                    <a:pt x="11312" y="910"/>
                  </a:lnTo>
                  <a:lnTo>
                    <a:pt x="11355" y="914"/>
                  </a:lnTo>
                  <a:lnTo>
                    <a:pt x="11374" y="918"/>
                  </a:lnTo>
                  <a:lnTo>
                    <a:pt x="11393" y="925"/>
                  </a:lnTo>
                  <a:lnTo>
                    <a:pt x="11428" y="942"/>
                  </a:lnTo>
                  <a:lnTo>
                    <a:pt x="11444" y="954"/>
                  </a:lnTo>
                  <a:lnTo>
                    <a:pt x="11458" y="966"/>
                  </a:lnTo>
                  <a:lnTo>
                    <a:pt x="11473" y="980"/>
                  </a:lnTo>
                  <a:lnTo>
                    <a:pt x="11485" y="996"/>
                  </a:lnTo>
                  <a:lnTo>
                    <a:pt x="11506" y="1029"/>
                  </a:lnTo>
                  <a:lnTo>
                    <a:pt x="11514" y="1047"/>
                  </a:lnTo>
                  <a:lnTo>
                    <a:pt x="11520" y="1066"/>
                  </a:lnTo>
                  <a:lnTo>
                    <a:pt x="11525" y="1085"/>
                  </a:lnTo>
                  <a:lnTo>
                    <a:pt x="11528" y="1106"/>
                  </a:lnTo>
                  <a:close/>
                  <a:moveTo>
                    <a:pt x="13515" y="644"/>
                  </a:moveTo>
                  <a:lnTo>
                    <a:pt x="13404" y="644"/>
                  </a:lnTo>
                  <a:lnTo>
                    <a:pt x="13404" y="754"/>
                  </a:lnTo>
                  <a:lnTo>
                    <a:pt x="13515" y="754"/>
                  </a:lnTo>
                  <a:lnTo>
                    <a:pt x="13515" y="644"/>
                  </a:lnTo>
                  <a:close/>
                  <a:moveTo>
                    <a:pt x="13534" y="605"/>
                  </a:moveTo>
                  <a:lnTo>
                    <a:pt x="13542" y="606"/>
                  </a:lnTo>
                  <a:lnTo>
                    <a:pt x="13549" y="611"/>
                  </a:lnTo>
                  <a:lnTo>
                    <a:pt x="13552" y="617"/>
                  </a:lnTo>
                  <a:lnTo>
                    <a:pt x="13555" y="624"/>
                  </a:lnTo>
                  <a:lnTo>
                    <a:pt x="13555" y="754"/>
                  </a:lnTo>
                  <a:lnTo>
                    <a:pt x="14078" y="754"/>
                  </a:lnTo>
                  <a:lnTo>
                    <a:pt x="14086" y="757"/>
                  </a:lnTo>
                  <a:lnTo>
                    <a:pt x="14092" y="761"/>
                  </a:lnTo>
                  <a:lnTo>
                    <a:pt x="14097" y="767"/>
                  </a:lnTo>
                  <a:lnTo>
                    <a:pt x="14099" y="775"/>
                  </a:lnTo>
                  <a:lnTo>
                    <a:pt x="14099" y="1471"/>
                  </a:lnTo>
                  <a:lnTo>
                    <a:pt x="14099" y="2170"/>
                  </a:lnTo>
                  <a:lnTo>
                    <a:pt x="14097" y="2177"/>
                  </a:lnTo>
                  <a:lnTo>
                    <a:pt x="14092" y="2184"/>
                  </a:lnTo>
                  <a:lnTo>
                    <a:pt x="14086" y="2188"/>
                  </a:lnTo>
                  <a:lnTo>
                    <a:pt x="14078" y="2189"/>
                  </a:lnTo>
                  <a:lnTo>
                    <a:pt x="14072" y="2188"/>
                  </a:lnTo>
                  <a:lnTo>
                    <a:pt x="14065" y="2184"/>
                  </a:lnTo>
                  <a:lnTo>
                    <a:pt x="14060" y="2177"/>
                  </a:lnTo>
                  <a:lnTo>
                    <a:pt x="14059" y="2170"/>
                  </a:lnTo>
                  <a:lnTo>
                    <a:pt x="14059" y="1482"/>
                  </a:lnTo>
                  <a:lnTo>
                    <a:pt x="14059" y="795"/>
                  </a:lnTo>
                  <a:lnTo>
                    <a:pt x="13534" y="795"/>
                  </a:lnTo>
                  <a:lnTo>
                    <a:pt x="13384" y="795"/>
                  </a:lnTo>
                  <a:lnTo>
                    <a:pt x="13150" y="795"/>
                  </a:lnTo>
                  <a:lnTo>
                    <a:pt x="13141" y="793"/>
                  </a:lnTo>
                  <a:lnTo>
                    <a:pt x="13134" y="789"/>
                  </a:lnTo>
                  <a:lnTo>
                    <a:pt x="13131" y="782"/>
                  </a:lnTo>
                  <a:lnTo>
                    <a:pt x="13129" y="775"/>
                  </a:lnTo>
                  <a:lnTo>
                    <a:pt x="13131" y="767"/>
                  </a:lnTo>
                  <a:lnTo>
                    <a:pt x="13134" y="761"/>
                  </a:lnTo>
                  <a:lnTo>
                    <a:pt x="13141" y="757"/>
                  </a:lnTo>
                  <a:lnTo>
                    <a:pt x="13150" y="754"/>
                  </a:lnTo>
                  <a:lnTo>
                    <a:pt x="13201" y="754"/>
                  </a:lnTo>
                  <a:lnTo>
                    <a:pt x="13201" y="612"/>
                  </a:lnTo>
                  <a:lnTo>
                    <a:pt x="12798" y="612"/>
                  </a:lnTo>
                  <a:lnTo>
                    <a:pt x="12798" y="754"/>
                  </a:lnTo>
                  <a:lnTo>
                    <a:pt x="12852" y="754"/>
                  </a:lnTo>
                  <a:lnTo>
                    <a:pt x="12861" y="757"/>
                  </a:lnTo>
                  <a:lnTo>
                    <a:pt x="12868" y="761"/>
                  </a:lnTo>
                  <a:lnTo>
                    <a:pt x="12872" y="767"/>
                  </a:lnTo>
                  <a:lnTo>
                    <a:pt x="12873" y="775"/>
                  </a:lnTo>
                  <a:lnTo>
                    <a:pt x="12872" y="782"/>
                  </a:lnTo>
                  <a:lnTo>
                    <a:pt x="12868" y="789"/>
                  </a:lnTo>
                  <a:lnTo>
                    <a:pt x="12861" y="793"/>
                  </a:lnTo>
                  <a:lnTo>
                    <a:pt x="12852" y="795"/>
                  </a:lnTo>
                  <a:lnTo>
                    <a:pt x="12664" y="795"/>
                  </a:lnTo>
                  <a:lnTo>
                    <a:pt x="12664" y="1810"/>
                  </a:lnTo>
                  <a:lnTo>
                    <a:pt x="12664" y="2826"/>
                  </a:lnTo>
                  <a:lnTo>
                    <a:pt x="12661" y="2835"/>
                  </a:lnTo>
                  <a:lnTo>
                    <a:pt x="12657" y="2840"/>
                  </a:lnTo>
                  <a:lnTo>
                    <a:pt x="12651" y="2844"/>
                  </a:lnTo>
                  <a:lnTo>
                    <a:pt x="12643" y="2845"/>
                  </a:lnTo>
                  <a:lnTo>
                    <a:pt x="12636" y="2844"/>
                  </a:lnTo>
                  <a:lnTo>
                    <a:pt x="12629" y="2840"/>
                  </a:lnTo>
                  <a:lnTo>
                    <a:pt x="12625" y="2835"/>
                  </a:lnTo>
                  <a:lnTo>
                    <a:pt x="12624" y="2826"/>
                  </a:lnTo>
                  <a:lnTo>
                    <a:pt x="12624" y="2313"/>
                  </a:lnTo>
                  <a:lnTo>
                    <a:pt x="12624" y="1800"/>
                  </a:lnTo>
                  <a:lnTo>
                    <a:pt x="12624" y="1287"/>
                  </a:lnTo>
                  <a:lnTo>
                    <a:pt x="12624" y="775"/>
                  </a:lnTo>
                  <a:lnTo>
                    <a:pt x="12625" y="767"/>
                  </a:lnTo>
                  <a:lnTo>
                    <a:pt x="12629" y="761"/>
                  </a:lnTo>
                  <a:lnTo>
                    <a:pt x="12636" y="757"/>
                  </a:lnTo>
                  <a:lnTo>
                    <a:pt x="12643" y="754"/>
                  </a:lnTo>
                  <a:lnTo>
                    <a:pt x="12759" y="754"/>
                  </a:lnTo>
                  <a:lnTo>
                    <a:pt x="12759" y="592"/>
                  </a:lnTo>
                  <a:lnTo>
                    <a:pt x="12760" y="584"/>
                  </a:lnTo>
                  <a:lnTo>
                    <a:pt x="12764" y="578"/>
                  </a:lnTo>
                  <a:lnTo>
                    <a:pt x="12770" y="574"/>
                  </a:lnTo>
                  <a:lnTo>
                    <a:pt x="12778" y="573"/>
                  </a:lnTo>
                  <a:lnTo>
                    <a:pt x="13220" y="573"/>
                  </a:lnTo>
                  <a:lnTo>
                    <a:pt x="13228" y="574"/>
                  </a:lnTo>
                  <a:lnTo>
                    <a:pt x="13234" y="578"/>
                  </a:lnTo>
                  <a:lnTo>
                    <a:pt x="13240" y="584"/>
                  </a:lnTo>
                  <a:lnTo>
                    <a:pt x="13241" y="592"/>
                  </a:lnTo>
                  <a:lnTo>
                    <a:pt x="13241" y="754"/>
                  </a:lnTo>
                  <a:lnTo>
                    <a:pt x="13364" y="754"/>
                  </a:lnTo>
                  <a:lnTo>
                    <a:pt x="13364" y="624"/>
                  </a:lnTo>
                  <a:lnTo>
                    <a:pt x="13365" y="617"/>
                  </a:lnTo>
                  <a:lnTo>
                    <a:pt x="13370" y="611"/>
                  </a:lnTo>
                  <a:lnTo>
                    <a:pt x="13377" y="606"/>
                  </a:lnTo>
                  <a:lnTo>
                    <a:pt x="13384" y="605"/>
                  </a:lnTo>
                  <a:lnTo>
                    <a:pt x="13534" y="605"/>
                  </a:lnTo>
                  <a:close/>
                  <a:moveTo>
                    <a:pt x="15835" y="2587"/>
                  </a:moveTo>
                  <a:lnTo>
                    <a:pt x="15677" y="2587"/>
                  </a:lnTo>
                  <a:lnTo>
                    <a:pt x="15677" y="3445"/>
                  </a:lnTo>
                  <a:lnTo>
                    <a:pt x="15677" y="4304"/>
                  </a:lnTo>
                  <a:lnTo>
                    <a:pt x="16008" y="4304"/>
                  </a:lnTo>
                  <a:lnTo>
                    <a:pt x="16008" y="3419"/>
                  </a:lnTo>
                  <a:lnTo>
                    <a:pt x="16008" y="2534"/>
                  </a:lnTo>
                  <a:lnTo>
                    <a:pt x="16009" y="2525"/>
                  </a:lnTo>
                  <a:lnTo>
                    <a:pt x="16012" y="2519"/>
                  </a:lnTo>
                  <a:lnTo>
                    <a:pt x="16016" y="2515"/>
                  </a:lnTo>
                  <a:lnTo>
                    <a:pt x="16021" y="2511"/>
                  </a:lnTo>
                  <a:lnTo>
                    <a:pt x="16027" y="2511"/>
                  </a:lnTo>
                  <a:lnTo>
                    <a:pt x="16032" y="2512"/>
                  </a:lnTo>
                  <a:lnTo>
                    <a:pt x="16039" y="2516"/>
                  </a:lnTo>
                  <a:lnTo>
                    <a:pt x="16045" y="2523"/>
                  </a:lnTo>
                  <a:lnTo>
                    <a:pt x="16536" y="3199"/>
                  </a:lnTo>
                  <a:lnTo>
                    <a:pt x="16536" y="2534"/>
                  </a:lnTo>
                  <a:lnTo>
                    <a:pt x="16538" y="2525"/>
                  </a:lnTo>
                  <a:lnTo>
                    <a:pt x="16540" y="2519"/>
                  </a:lnTo>
                  <a:lnTo>
                    <a:pt x="16544" y="2515"/>
                  </a:lnTo>
                  <a:lnTo>
                    <a:pt x="16549" y="2511"/>
                  </a:lnTo>
                  <a:lnTo>
                    <a:pt x="16556" y="2511"/>
                  </a:lnTo>
                  <a:lnTo>
                    <a:pt x="16562" y="2512"/>
                  </a:lnTo>
                  <a:lnTo>
                    <a:pt x="16567" y="2516"/>
                  </a:lnTo>
                  <a:lnTo>
                    <a:pt x="16573" y="2523"/>
                  </a:lnTo>
                  <a:lnTo>
                    <a:pt x="17076" y="3214"/>
                  </a:lnTo>
                  <a:lnTo>
                    <a:pt x="17076" y="2534"/>
                  </a:lnTo>
                  <a:lnTo>
                    <a:pt x="17077" y="2525"/>
                  </a:lnTo>
                  <a:lnTo>
                    <a:pt x="17080" y="2519"/>
                  </a:lnTo>
                  <a:lnTo>
                    <a:pt x="17084" y="2515"/>
                  </a:lnTo>
                  <a:lnTo>
                    <a:pt x="17089" y="2511"/>
                  </a:lnTo>
                  <a:lnTo>
                    <a:pt x="17094" y="2511"/>
                  </a:lnTo>
                  <a:lnTo>
                    <a:pt x="17100" y="2512"/>
                  </a:lnTo>
                  <a:lnTo>
                    <a:pt x="17107" y="2516"/>
                  </a:lnTo>
                  <a:lnTo>
                    <a:pt x="17112" y="2523"/>
                  </a:lnTo>
                  <a:lnTo>
                    <a:pt x="17640" y="3249"/>
                  </a:lnTo>
                  <a:lnTo>
                    <a:pt x="17644" y="3258"/>
                  </a:lnTo>
                  <a:lnTo>
                    <a:pt x="17644" y="3265"/>
                  </a:lnTo>
                  <a:lnTo>
                    <a:pt x="17642" y="3272"/>
                  </a:lnTo>
                  <a:lnTo>
                    <a:pt x="17636" y="3277"/>
                  </a:lnTo>
                  <a:lnTo>
                    <a:pt x="17630" y="3281"/>
                  </a:lnTo>
                  <a:lnTo>
                    <a:pt x="17622" y="3281"/>
                  </a:lnTo>
                  <a:lnTo>
                    <a:pt x="17615" y="3280"/>
                  </a:lnTo>
                  <a:lnTo>
                    <a:pt x="17608" y="3273"/>
                  </a:lnTo>
                  <a:lnTo>
                    <a:pt x="17116" y="2595"/>
                  </a:lnTo>
                  <a:lnTo>
                    <a:pt x="17116" y="3262"/>
                  </a:lnTo>
                  <a:lnTo>
                    <a:pt x="17113" y="3271"/>
                  </a:lnTo>
                  <a:lnTo>
                    <a:pt x="17108" y="3278"/>
                  </a:lnTo>
                  <a:lnTo>
                    <a:pt x="17099" y="3281"/>
                  </a:lnTo>
                  <a:lnTo>
                    <a:pt x="17090" y="3281"/>
                  </a:lnTo>
                  <a:lnTo>
                    <a:pt x="17080" y="3281"/>
                  </a:lnTo>
                  <a:lnTo>
                    <a:pt x="17074" y="3278"/>
                  </a:lnTo>
                  <a:lnTo>
                    <a:pt x="17070" y="3273"/>
                  </a:lnTo>
                  <a:lnTo>
                    <a:pt x="16577" y="2595"/>
                  </a:lnTo>
                  <a:lnTo>
                    <a:pt x="16577" y="3258"/>
                  </a:lnTo>
                  <a:lnTo>
                    <a:pt x="16577" y="3264"/>
                  </a:lnTo>
                  <a:lnTo>
                    <a:pt x="16575" y="3269"/>
                  </a:lnTo>
                  <a:lnTo>
                    <a:pt x="16571" y="3276"/>
                  </a:lnTo>
                  <a:lnTo>
                    <a:pt x="16563" y="3281"/>
                  </a:lnTo>
                  <a:lnTo>
                    <a:pt x="16554" y="3281"/>
                  </a:lnTo>
                  <a:lnTo>
                    <a:pt x="16547" y="3278"/>
                  </a:lnTo>
                  <a:lnTo>
                    <a:pt x="16541" y="3276"/>
                  </a:lnTo>
                  <a:lnTo>
                    <a:pt x="16539" y="3271"/>
                  </a:lnTo>
                  <a:lnTo>
                    <a:pt x="16049" y="2595"/>
                  </a:lnTo>
                  <a:lnTo>
                    <a:pt x="16049" y="3450"/>
                  </a:lnTo>
                  <a:lnTo>
                    <a:pt x="16049" y="4304"/>
                  </a:lnTo>
                  <a:lnTo>
                    <a:pt x="16844" y="4304"/>
                  </a:lnTo>
                  <a:lnTo>
                    <a:pt x="16853" y="4305"/>
                  </a:lnTo>
                  <a:lnTo>
                    <a:pt x="16859" y="4310"/>
                  </a:lnTo>
                  <a:lnTo>
                    <a:pt x="16863" y="4317"/>
                  </a:lnTo>
                  <a:lnTo>
                    <a:pt x="16865" y="4324"/>
                  </a:lnTo>
                  <a:lnTo>
                    <a:pt x="16863" y="4331"/>
                  </a:lnTo>
                  <a:lnTo>
                    <a:pt x="16859" y="4337"/>
                  </a:lnTo>
                  <a:lnTo>
                    <a:pt x="16853" y="4342"/>
                  </a:lnTo>
                  <a:lnTo>
                    <a:pt x="16844" y="4343"/>
                  </a:lnTo>
                  <a:lnTo>
                    <a:pt x="16250" y="4343"/>
                  </a:lnTo>
                  <a:lnTo>
                    <a:pt x="15657" y="4343"/>
                  </a:lnTo>
                  <a:lnTo>
                    <a:pt x="14760" y="4343"/>
                  </a:lnTo>
                  <a:lnTo>
                    <a:pt x="13864" y="4343"/>
                  </a:lnTo>
                  <a:lnTo>
                    <a:pt x="13856" y="4342"/>
                  </a:lnTo>
                  <a:lnTo>
                    <a:pt x="13850" y="4338"/>
                  </a:lnTo>
                  <a:lnTo>
                    <a:pt x="13846" y="4332"/>
                  </a:lnTo>
                  <a:lnTo>
                    <a:pt x="13843" y="4324"/>
                  </a:lnTo>
                  <a:lnTo>
                    <a:pt x="13843" y="3455"/>
                  </a:lnTo>
                  <a:lnTo>
                    <a:pt x="13843" y="2587"/>
                  </a:lnTo>
                  <a:lnTo>
                    <a:pt x="13686" y="2587"/>
                  </a:lnTo>
                  <a:lnTo>
                    <a:pt x="13677" y="2585"/>
                  </a:lnTo>
                  <a:lnTo>
                    <a:pt x="13670" y="2581"/>
                  </a:lnTo>
                  <a:lnTo>
                    <a:pt x="13667" y="2575"/>
                  </a:lnTo>
                  <a:lnTo>
                    <a:pt x="13665" y="2567"/>
                  </a:lnTo>
                  <a:lnTo>
                    <a:pt x="13667" y="2560"/>
                  </a:lnTo>
                  <a:lnTo>
                    <a:pt x="13670" y="2553"/>
                  </a:lnTo>
                  <a:lnTo>
                    <a:pt x="13677" y="2549"/>
                  </a:lnTo>
                  <a:lnTo>
                    <a:pt x="13686" y="2547"/>
                  </a:lnTo>
                  <a:lnTo>
                    <a:pt x="13963" y="2547"/>
                  </a:lnTo>
                  <a:lnTo>
                    <a:pt x="13963" y="2374"/>
                  </a:lnTo>
                  <a:lnTo>
                    <a:pt x="13964" y="2367"/>
                  </a:lnTo>
                  <a:lnTo>
                    <a:pt x="13968" y="2360"/>
                  </a:lnTo>
                  <a:lnTo>
                    <a:pt x="13974" y="2355"/>
                  </a:lnTo>
                  <a:lnTo>
                    <a:pt x="13982" y="2354"/>
                  </a:lnTo>
                  <a:lnTo>
                    <a:pt x="14750" y="2354"/>
                  </a:lnTo>
                  <a:lnTo>
                    <a:pt x="15519" y="2354"/>
                  </a:lnTo>
                  <a:lnTo>
                    <a:pt x="15527" y="2355"/>
                  </a:lnTo>
                  <a:lnTo>
                    <a:pt x="15534" y="2360"/>
                  </a:lnTo>
                  <a:lnTo>
                    <a:pt x="15537" y="2367"/>
                  </a:lnTo>
                  <a:lnTo>
                    <a:pt x="15539" y="2374"/>
                  </a:lnTo>
                  <a:lnTo>
                    <a:pt x="15539" y="2547"/>
                  </a:lnTo>
                  <a:lnTo>
                    <a:pt x="15835" y="2547"/>
                  </a:lnTo>
                  <a:lnTo>
                    <a:pt x="15844" y="2549"/>
                  </a:lnTo>
                  <a:lnTo>
                    <a:pt x="15850" y="2553"/>
                  </a:lnTo>
                  <a:lnTo>
                    <a:pt x="15854" y="2560"/>
                  </a:lnTo>
                  <a:lnTo>
                    <a:pt x="15855" y="2567"/>
                  </a:lnTo>
                  <a:lnTo>
                    <a:pt x="15854" y="2575"/>
                  </a:lnTo>
                  <a:lnTo>
                    <a:pt x="15850" y="2581"/>
                  </a:lnTo>
                  <a:lnTo>
                    <a:pt x="15844" y="2585"/>
                  </a:lnTo>
                  <a:lnTo>
                    <a:pt x="15835" y="2587"/>
                  </a:lnTo>
                  <a:close/>
                  <a:moveTo>
                    <a:pt x="15636" y="2587"/>
                  </a:moveTo>
                  <a:lnTo>
                    <a:pt x="14760" y="2587"/>
                  </a:lnTo>
                  <a:lnTo>
                    <a:pt x="13885" y="2587"/>
                  </a:lnTo>
                  <a:lnTo>
                    <a:pt x="13885" y="3445"/>
                  </a:lnTo>
                  <a:lnTo>
                    <a:pt x="13885" y="4304"/>
                  </a:lnTo>
                  <a:lnTo>
                    <a:pt x="14760" y="4304"/>
                  </a:lnTo>
                  <a:lnTo>
                    <a:pt x="15636" y="4304"/>
                  </a:lnTo>
                  <a:lnTo>
                    <a:pt x="15636" y="3445"/>
                  </a:lnTo>
                  <a:lnTo>
                    <a:pt x="15636" y="2587"/>
                  </a:lnTo>
                  <a:close/>
                  <a:moveTo>
                    <a:pt x="14002" y="2547"/>
                  </a:moveTo>
                  <a:lnTo>
                    <a:pt x="14750" y="2547"/>
                  </a:lnTo>
                  <a:lnTo>
                    <a:pt x="15499" y="2547"/>
                  </a:lnTo>
                  <a:lnTo>
                    <a:pt x="15499" y="2393"/>
                  </a:lnTo>
                  <a:lnTo>
                    <a:pt x="14750" y="2393"/>
                  </a:lnTo>
                  <a:lnTo>
                    <a:pt x="14002" y="2393"/>
                  </a:lnTo>
                  <a:lnTo>
                    <a:pt x="14002" y="2547"/>
                  </a:lnTo>
                  <a:close/>
                  <a:moveTo>
                    <a:pt x="15171" y="3639"/>
                  </a:moveTo>
                  <a:lnTo>
                    <a:pt x="15171" y="3751"/>
                  </a:lnTo>
                  <a:lnTo>
                    <a:pt x="15168" y="3760"/>
                  </a:lnTo>
                  <a:lnTo>
                    <a:pt x="15164" y="3765"/>
                  </a:lnTo>
                  <a:lnTo>
                    <a:pt x="15158" y="3769"/>
                  </a:lnTo>
                  <a:lnTo>
                    <a:pt x="15150" y="3771"/>
                  </a:lnTo>
                  <a:lnTo>
                    <a:pt x="15142" y="3769"/>
                  </a:lnTo>
                  <a:lnTo>
                    <a:pt x="15136" y="3765"/>
                  </a:lnTo>
                  <a:lnTo>
                    <a:pt x="15132" y="3760"/>
                  </a:lnTo>
                  <a:lnTo>
                    <a:pt x="15131" y="3751"/>
                  </a:lnTo>
                  <a:lnTo>
                    <a:pt x="15131" y="3639"/>
                  </a:lnTo>
                  <a:lnTo>
                    <a:pt x="15132" y="3630"/>
                  </a:lnTo>
                  <a:lnTo>
                    <a:pt x="15136" y="3624"/>
                  </a:lnTo>
                  <a:lnTo>
                    <a:pt x="15142" y="3620"/>
                  </a:lnTo>
                  <a:lnTo>
                    <a:pt x="15150" y="3618"/>
                  </a:lnTo>
                  <a:lnTo>
                    <a:pt x="15158" y="3620"/>
                  </a:lnTo>
                  <a:lnTo>
                    <a:pt x="15164" y="3624"/>
                  </a:lnTo>
                  <a:lnTo>
                    <a:pt x="15168" y="3630"/>
                  </a:lnTo>
                  <a:lnTo>
                    <a:pt x="15171" y="3639"/>
                  </a:lnTo>
                  <a:close/>
                  <a:moveTo>
                    <a:pt x="14908" y="3639"/>
                  </a:moveTo>
                  <a:lnTo>
                    <a:pt x="14908" y="3751"/>
                  </a:lnTo>
                  <a:lnTo>
                    <a:pt x="14905" y="3760"/>
                  </a:lnTo>
                  <a:lnTo>
                    <a:pt x="14901" y="3765"/>
                  </a:lnTo>
                  <a:lnTo>
                    <a:pt x="14895" y="3769"/>
                  </a:lnTo>
                  <a:lnTo>
                    <a:pt x="14887" y="3771"/>
                  </a:lnTo>
                  <a:lnTo>
                    <a:pt x="14880" y="3769"/>
                  </a:lnTo>
                  <a:lnTo>
                    <a:pt x="14873" y="3765"/>
                  </a:lnTo>
                  <a:lnTo>
                    <a:pt x="14869" y="3760"/>
                  </a:lnTo>
                  <a:lnTo>
                    <a:pt x="14867" y="3751"/>
                  </a:lnTo>
                  <a:lnTo>
                    <a:pt x="14867" y="3639"/>
                  </a:lnTo>
                  <a:lnTo>
                    <a:pt x="14869" y="3630"/>
                  </a:lnTo>
                  <a:lnTo>
                    <a:pt x="14873" y="3624"/>
                  </a:lnTo>
                  <a:lnTo>
                    <a:pt x="14880" y="3620"/>
                  </a:lnTo>
                  <a:lnTo>
                    <a:pt x="14887" y="3618"/>
                  </a:lnTo>
                  <a:lnTo>
                    <a:pt x="14895" y="3620"/>
                  </a:lnTo>
                  <a:lnTo>
                    <a:pt x="14901" y="3624"/>
                  </a:lnTo>
                  <a:lnTo>
                    <a:pt x="14905" y="3630"/>
                  </a:lnTo>
                  <a:lnTo>
                    <a:pt x="14908" y="3639"/>
                  </a:lnTo>
                  <a:close/>
                  <a:moveTo>
                    <a:pt x="14644" y="3639"/>
                  </a:moveTo>
                  <a:lnTo>
                    <a:pt x="14644" y="3751"/>
                  </a:lnTo>
                  <a:lnTo>
                    <a:pt x="14642" y="3760"/>
                  </a:lnTo>
                  <a:lnTo>
                    <a:pt x="14637" y="3765"/>
                  </a:lnTo>
                  <a:lnTo>
                    <a:pt x="14631" y="3769"/>
                  </a:lnTo>
                  <a:lnTo>
                    <a:pt x="14624" y="3771"/>
                  </a:lnTo>
                  <a:lnTo>
                    <a:pt x="14617" y="3769"/>
                  </a:lnTo>
                  <a:lnTo>
                    <a:pt x="14610" y="3765"/>
                  </a:lnTo>
                  <a:lnTo>
                    <a:pt x="14606" y="3760"/>
                  </a:lnTo>
                  <a:lnTo>
                    <a:pt x="14604" y="3751"/>
                  </a:lnTo>
                  <a:lnTo>
                    <a:pt x="14604" y="3639"/>
                  </a:lnTo>
                  <a:lnTo>
                    <a:pt x="14606" y="3630"/>
                  </a:lnTo>
                  <a:lnTo>
                    <a:pt x="14610" y="3624"/>
                  </a:lnTo>
                  <a:lnTo>
                    <a:pt x="14617" y="3620"/>
                  </a:lnTo>
                  <a:lnTo>
                    <a:pt x="14624" y="3618"/>
                  </a:lnTo>
                  <a:lnTo>
                    <a:pt x="14631" y="3620"/>
                  </a:lnTo>
                  <a:lnTo>
                    <a:pt x="14637" y="3624"/>
                  </a:lnTo>
                  <a:lnTo>
                    <a:pt x="14642" y="3630"/>
                  </a:lnTo>
                  <a:lnTo>
                    <a:pt x="14644" y="3639"/>
                  </a:lnTo>
                  <a:close/>
                  <a:moveTo>
                    <a:pt x="14381" y="3639"/>
                  </a:moveTo>
                  <a:lnTo>
                    <a:pt x="14381" y="3751"/>
                  </a:lnTo>
                  <a:lnTo>
                    <a:pt x="14379" y="3760"/>
                  </a:lnTo>
                  <a:lnTo>
                    <a:pt x="14374" y="3765"/>
                  </a:lnTo>
                  <a:lnTo>
                    <a:pt x="14368" y="3769"/>
                  </a:lnTo>
                  <a:lnTo>
                    <a:pt x="14362" y="3771"/>
                  </a:lnTo>
                  <a:lnTo>
                    <a:pt x="14354" y="3769"/>
                  </a:lnTo>
                  <a:lnTo>
                    <a:pt x="14347" y="3765"/>
                  </a:lnTo>
                  <a:lnTo>
                    <a:pt x="14342" y="3760"/>
                  </a:lnTo>
                  <a:lnTo>
                    <a:pt x="14341" y="3751"/>
                  </a:lnTo>
                  <a:lnTo>
                    <a:pt x="14341" y="3639"/>
                  </a:lnTo>
                  <a:lnTo>
                    <a:pt x="14342" y="3630"/>
                  </a:lnTo>
                  <a:lnTo>
                    <a:pt x="14347" y="3624"/>
                  </a:lnTo>
                  <a:lnTo>
                    <a:pt x="14354" y="3620"/>
                  </a:lnTo>
                  <a:lnTo>
                    <a:pt x="14362" y="3618"/>
                  </a:lnTo>
                  <a:lnTo>
                    <a:pt x="14368" y="3620"/>
                  </a:lnTo>
                  <a:lnTo>
                    <a:pt x="14374" y="3624"/>
                  </a:lnTo>
                  <a:lnTo>
                    <a:pt x="14379" y="3630"/>
                  </a:lnTo>
                  <a:lnTo>
                    <a:pt x="14381" y="3639"/>
                  </a:lnTo>
                  <a:close/>
                  <a:moveTo>
                    <a:pt x="14118" y="3639"/>
                  </a:moveTo>
                  <a:lnTo>
                    <a:pt x="14118" y="3751"/>
                  </a:lnTo>
                  <a:lnTo>
                    <a:pt x="14117" y="3760"/>
                  </a:lnTo>
                  <a:lnTo>
                    <a:pt x="14111" y="3765"/>
                  </a:lnTo>
                  <a:lnTo>
                    <a:pt x="14105" y="3769"/>
                  </a:lnTo>
                  <a:lnTo>
                    <a:pt x="14097" y="3771"/>
                  </a:lnTo>
                  <a:lnTo>
                    <a:pt x="14091" y="3769"/>
                  </a:lnTo>
                  <a:lnTo>
                    <a:pt x="14085" y="3765"/>
                  </a:lnTo>
                  <a:lnTo>
                    <a:pt x="14079" y="3760"/>
                  </a:lnTo>
                  <a:lnTo>
                    <a:pt x="14078" y="3751"/>
                  </a:lnTo>
                  <a:lnTo>
                    <a:pt x="14078" y="3639"/>
                  </a:lnTo>
                  <a:lnTo>
                    <a:pt x="14079" y="3630"/>
                  </a:lnTo>
                  <a:lnTo>
                    <a:pt x="14085" y="3624"/>
                  </a:lnTo>
                  <a:lnTo>
                    <a:pt x="14091" y="3620"/>
                  </a:lnTo>
                  <a:lnTo>
                    <a:pt x="14097" y="3618"/>
                  </a:lnTo>
                  <a:lnTo>
                    <a:pt x="14105" y="3620"/>
                  </a:lnTo>
                  <a:lnTo>
                    <a:pt x="14111" y="3624"/>
                  </a:lnTo>
                  <a:lnTo>
                    <a:pt x="14117" y="3630"/>
                  </a:lnTo>
                  <a:lnTo>
                    <a:pt x="14118" y="3639"/>
                  </a:lnTo>
                  <a:close/>
                  <a:moveTo>
                    <a:pt x="15434" y="3392"/>
                  </a:moveTo>
                  <a:lnTo>
                    <a:pt x="15434" y="3505"/>
                  </a:lnTo>
                  <a:lnTo>
                    <a:pt x="15432" y="3514"/>
                  </a:lnTo>
                  <a:lnTo>
                    <a:pt x="15427" y="3520"/>
                  </a:lnTo>
                  <a:lnTo>
                    <a:pt x="15421" y="3524"/>
                  </a:lnTo>
                  <a:lnTo>
                    <a:pt x="15413" y="3524"/>
                  </a:lnTo>
                  <a:lnTo>
                    <a:pt x="15407" y="3524"/>
                  </a:lnTo>
                  <a:lnTo>
                    <a:pt x="15400" y="3520"/>
                  </a:lnTo>
                  <a:lnTo>
                    <a:pt x="15395" y="3514"/>
                  </a:lnTo>
                  <a:lnTo>
                    <a:pt x="15394" y="3505"/>
                  </a:lnTo>
                  <a:lnTo>
                    <a:pt x="15394" y="3392"/>
                  </a:lnTo>
                  <a:lnTo>
                    <a:pt x="15395" y="3383"/>
                  </a:lnTo>
                  <a:lnTo>
                    <a:pt x="15400" y="3378"/>
                  </a:lnTo>
                  <a:lnTo>
                    <a:pt x="15407" y="3374"/>
                  </a:lnTo>
                  <a:lnTo>
                    <a:pt x="15413" y="3373"/>
                  </a:lnTo>
                  <a:lnTo>
                    <a:pt x="15421" y="3374"/>
                  </a:lnTo>
                  <a:lnTo>
                    <a:pt x="15427" y="3378"/>
                  </a:lnTo>
                  <a:lnTo>
                    <a:pt x="15432" y="3383"/>
                  </a:lnTo>
                  <a:lnTo>
                    <a:pt x="15434" y="3392"/>
                  </a:lnTo>
                  <a:close/>
                  <a:moveTo>
                    <a:pt x="15171" y="3392"/>
                  </a:moveTo>
                  <a:lnTo>
                    <a:pt x="15171" y="3505"/>
                  </a:lnTo>
                  <a:lnTo>
                    <a:pt x="15168" y="3514"/>
                  </a:lnTo>
                  <a:lnTo>
                    <a:pt x="15164" y="3520"/>
                  </a:lnTo>
                  <a:lnTo>
                    <a:pt x="15158" y="3524"/>
                  </a:lnTo>
                  <a:lnTo>
                    <a:pt x="15150" y="3524"/>
                  </a:lnTo>
                  <a:lnTo>
                    <a:pt x="15142" y="3524"/>
                  </a:lnTo>
                  <a:lnTo>
                    <a:pt x="15136" y="3520"/>
                  </a:lnTo>
                  <a:lnTo>
                    <a:pt x="15132" y="3514"/>
                  </a:lnTo>
                  <a:lnTo>
                    <a:pt x="15131" y="3505"/>
                  </a:lnTo>
                  <a:lnTo>
                    <a:pt x="15131" y="3392"/>
                  </a:lnTo>
                  <a:lnTo>
                    <a:pt x="15132" y="3383"/>
                  </a:lnTo>
                  <a:lnTo>
                    <a:pt x="15136" y="3378"/>
                  </a:lnTo>
                  <a:lnTo>
                    <a:pt x="15142" y="3374"/>
                  </a:lnTo>
                  <a:lnTo>
                    <a:pt x="15150" y="3373"/>
                  </a:lnTo>
                  <a:lnTo>
                    <a:pt x="15158" y="3374"/>
                  </a:lnTo>
                  <a:lnTo>
                    <a:pt x="15164" y="3378"/>
                  </a:lnTo>
                  <a:lnTo>
                    <a:pt x="15168" y="3383"/>
                  </a:lnTo>
                  <a:lnTo>
                    <a:pt x="15171" y="3392"/>
                  </a:lnTo>
                  <a:close/>
                  <a:moveTo>
                    <a:pt x="14908" y="3392"/>
                  </a:moveTo>
                  <a:lnTo>
                    <a:pt x="14908" y="3505"/>
                  </a:lnTo>
                  <a:lnTo>
                    <a:pt x="14905" y="3514"/>
                  </a:lnTo>
                  <a:lnTo>
                    <a:pt x="14901" y="3520"/>
                  </a:lnTo>
                  <a:lnTo>
                    <a:pt x="14895" y="3524"/>
                  </a:lnTo>
                  <a:lnTo>
                    <a:pt x="14887" y="3524"/>
                  </a:lnTo>
                  <a:lnTo>
                    <a:pt x="14880" y="3524"/>
                  </a:lnTo>
                  <a:lnTo>
                    <a:pt x="14873" y="3520"/>
                  </a:lnTo>
                  <a:lnTo>
                    <a:pt x="14869" y="3514"/>
                  </a:lnTo>
                  <a:lnTo>
                    <a:pt x="14867" y="3505"/>
                  </a:lnTo>
                  <a:lnTo>
                    <a:pt x="14867" y="3392"/>
                  </a:lnTo>
                  <a:lnTo>
                    <a:pt x="14869" y="3383"/>
                  </a:lnTo>
                  <a:lnTo>
                    <a:pt x="14873" y="3378"/>
                  </a:lnTo>
                  <a:lnTo>
                    <a:pt x="14880" y="3374"/>
                  </a:lnTo>
                  <a:lnTo>
                    <a:pt x="14887" y="3373"/>
                  </a:lnTo>
                  <a:lnTo>
                    <a:pt x="14895" y="3374"/>
                  </a:lnTo>
                  <a:lnTo>
                    <a:pt x="14901" y="3378"/>
                  </a:lnTo>
                  <a:lnTo>
                    <a:pt x="14905" y="3383"/>
                  </a:lnTo>
                  <a:lnTo>
                    <a:pt x="14908" y="3392"/>
                  </a:lnTo>
                  <a:close/>
                  <a:moveTo>
                    <a:pt x="14644" y="3392"/>
                  </a:moveTo>
                  <a:lnTo>
                    <a:pt x="14644" y="3505"/>
                  </a:lnTo>
                  <a:lnTo>
                    <a:pt x="14642" y="3514"/>
                  </a:lnTo>
                  <a:lnTo>
                    <a:pt x="14637" y="3520"/>
                  </a:lnTo>
                  <a:lnTo>
                    <a:pt x="14631" y="3524"/>
                  </a:lnTo>
                  <a:lnTo>
                    <a:pt x="14624" y="3524"/>
                  </a:lnTo>
                  <a:lnTo>
                    <a:pt x="14617" y="3524"/>
                  </a:lnTo>
                  <a:lnTo>
                    <a:pt x="14610" y="3520"/>
                  </a:lnTo>
                  <a:lnTo>
                    <a:pt x="14606" y="3514"/>
                  </a:lnTo>
                  <a:lnTo>
                    <a:pt x="14604" y="3505"/>
                  </a:lnTo>
                  <a:lnTo>
                    <a:pt x="14604" y="3392"/>
                  </a:lnTo>
                  <a:lnTo>
                    <a:pt x="14606" y="3383"/>
                  </a:lnTo>
                  <a:lnTo>
                    <a:pt x="14610" y="3378"/>
                  </a:lnTo>
                  <a:lnTo>
                    <a:pt x="14617" y="3374"/>
                  </a:lnTo>
                  <a:lnTo>
                    <a:pt x="14624" y="3373"/>
                  </a:lnTo>
                  <a:lnTo>
                    <a:pt x="14631" y="3374"/>
                  </a:lnTo>
                  <a:lnTo>
                    <a:pt x="14637" y="3378"/>
                  </a:lnTo>
                  <a:lnTo>
                    <a:pt x="14642" y="3383"/>
                  </a:lnTo>
                  <a:lnTo>
                    <a:pt x="14644" y="3392"/>
                  </a:lnTo>
                  <a:close/>
                  <a:moveTo>
                    <a:pt x="14381" y="3392"/>
                  </a:moveTo>
                  <a:lnTo>
                    <a:pt x="14381" y="3505"/>
                  </a:lnTo>
                  <a:lnTo>
                    <a:pt x="14379" y="3514"/>
                  </a:lnTo>
                  <a:lnTo>
                    <a:pt x="14374" y="3520"/>
                  </a:lnTo>
                  <a:lnTo>
                    <a:pt x="14368" y="3524"/>
                  </a:lnTo>
                  <a:lnTo>
                    <a:pt x="14362" y="3524"/>
                  </a:lnTo>
                  <a:lnTo>
                    <a:pt x="14354" y="3524"/>
                  </a:lnTo>
                  <a:lnTo>
                    <a:pt x="14347" y="3520"/>
                  </a:lnTo>
                  <a:lnTo>
                    <a:pt x="14342" y="3514"/>
                  </a:lnTo>
                  <a:lnTo>
                    <a:pt x="14341" y="3505"/>
                  </a:lnTo>
                  <a:lnTo>
                    <a:pt x="14341" y="3392"/>
                  </a:lnTo>
                  <a:lnTo>
                    <a:pt x="14342" y="3383"/>
                  </a:lnTo>
                  <a:lnTo>
                    <a:pt x="14347" y="3378"/>
                  </a:lnTo>
                  <a:lnTo>
                    <a:pt x="14354" y="3374"/>
                  </a:lnTo>
                  <a:lnTo>
                    <a:pt x="14362" y="3373"/>
                  </a:lnTo>
                  <a:lnTo>
                    <a:pt x="14368" y="3374"/>
                  </a:lnTo>
                  <a:lnTo>
                    <a:pt x="14374" y="3378"/>
                  </a:lnTo>
                  <a:lnTo>
                    <a:pt x="14379" y="3383"/>
                  </a:lnTo>
                  <a:lnTo>
                    <a:pt x="14381" y="3392"/>
                  </a:lnTo>
                  <a:close/>
                  <a:moveTo>
                    <a:pt x="14118" y="3392"/>
                  </a:moveTo>
                  <a:lnTo>
                    <a:pt x="14118" y="3505"/>
                  </a:lnTo>
                  <a:lnTo>
                    <a:pt x="14117" y="3514"/>
                  </a:lnTo>
                  <a:lnTo>
                    <a:pt x="14111" y="3520"/>
                  </a:lnTo>
                  <a:lnTo>
                    <a:pt x="14105" y="3524"/>
                  </a:lnTo>
                  <a:lnTo>
                    <a:pt x="14097" y="3524"/>
                  </a:lnTo>
                  <a:lnTo>
                    <a:pt x="14091" y="3524"/>
                  </a:lnTo>
                  <a:lnTo>
                    <a:pt x="14085" y="3520"/>
                  </a:lnTo>
                  <a:lnTo>
                    <a:pt x="14079" y="3514"/>
                  </a:lnTo>
                  <a:lnTo>
                    <a:pt x="14078" y="3505"/>
                  </a:lnTo>
                  <a:lnTo>
                    <a:pt x="14078" y="3392"/>
                  </a:lnTo>
                  <a:lnTo>
                    <a:pt x="14079" y="3383"/>
                  </a:lnTo>
                  <a:lnTo>
                    <a:pt x="14085" y="3378"/>
                  </a:lnTo>
                  <a:lnTo>
                    <a:pt x="14091" y="3374"/>
                  </a:lnTo>
                  <a:lnTo>
                    <a:pt x="14097" y="3373"/>
                  </a:lnTo>
                  <a:lnTo>
                    <a:pt x="14105" y="3374"/>
                  </a:lnTo>
                  <a:lnTo>
                    <a:pt x="14111" y="3378"/>
                  </a:lnTo>
                  <a:lnTo>
                    <a:pt x="14117" y="3383"/>
                  </a:lnTo>
                  <a:lnTo>
                    <a:pt x="14118" y="3392"/>
                  </a:lnTo>
                  <a:close/>
                  <a:moveTo>
                    <a:pt x="15434" y="3145"/>
                  </a:moveTo>
                  <a:lnTo>
                    <a:pt x="15434" y="3258"/>
                  </a:lnTo>
                  <a:lnTo>
                    <a:pt x="15432" y="3267"/>
                  </a:lnTo>
                  <a:lnTo>
                    <a:pt x="15427" y="3273"/>
                  </a:lnTo>
                  <a:lnTo>
                    <a:pt x="15421" y="3277"/>
                  </a:lnTo>
                  <a:lnTo>
                    <a:pt x="15413" y="3278"/>
                  </a:lnTo>
                  <a:lnTo>
                    <a:pt x="15407" y="3277"/>
                  </a:lnTo>
                  <a:lnTo>
                    <a:pt x="15400" y="3273"/>
                  </a:lnTo>
                  <a:lnTo>
                    <a:pt x="15395" y="3267"/>
                  </a:lnTo>
                  <a:lnTo>
                    <a:pt x="15394" y="3258"/>
                  </a:lnTo>
                  <a:lnTo>
                    <a:pt x="15394" y="3145"/>
                  </a:lnTo>
                  <a:lnTo>
                    <a:pt x="15395" y="3138"/>
                  </a:lnTo>
                  <a:lnTo>
                    <a:pt x="15400" y="3131"/>
                  </a:lnTo>
                  <a:lnTo>
                    <a:pt x="15407" y="3127"/>
                  </a:lnTo>
                  <a:lnTo>
                    <a:pt x="15413" y="3126"/>
                  </a:lnTo>
                  <a:lnTo>
                    <a:pt x="15421" y="3127"/>
                  </a:lnTo>
                  <a:lnTo>
                    <a:pt x="15427" y="3131"/>
                  </a:lnTo>
                  <a:lnTo>
                    <a:pt x="15432" y="3138"/>
                  </a:lnTo>
                  <a:lnTo>
                    <a:pt x="15434" y="3145"/>
                  </a:lnTo>
                  <a:close/>
                  <a:moveTo>
                    <a:pt x="15171" y="3145"/>
                  </a:moveTo>
                  <a:lnTo>
                    <a:pt x="15171" y="3258"/>
                  </a:lnTo>
                  <a:lnTo>
                    <a:pt x="15168" y="3267"/>
                  </a:lnTo>
                  <a:lnTo>
                    <a:pt x="15164" y="3273"/>
                  </a:lnTo>
                  <a:lnTo>
                    <a:pt x="15158" y="3277"/>
                  </a:lnTo>
                  <a:lnTo>
                    <a:pt x="15150" y="3278"/>
                  </a:lnTo>
                  <a:lnTo>
                    <a:pt x="15142" y="3277"/>
                  </a:lnTo>
                  <a:lnTo>
                    <a:pt x="15136" y="3273"/>
                  </a:lnTo>
                  <a:lnTo>
                    <a:pt x="15132" y="3267"/>
                  </a:lnTo>
                  <a:lnTo>
                    <a:pt x="15131" y="3258"/>
                  </a:lnTo>
                  <a:lnTo>
                    <a:pt x="15131" y="3145"/>
                  </a:lnTo>
                  <a:lnTo>
                    <a:pt x="15132" y="3138"/>
                  </a:lnTo>
                  <a:lnTo>
                    <a:pt x="15136" y="3131"/>
                  </a:lnTo>
                  <a:lnTo>
                    <a:pt x="15142" y="3127"/>
                  </a:lnTo>
                  <a:lnTo>
                    <a:pt x="15150" y="3126"/>
                  </a:lnTo>
                  <a:lnTo>
                    <a:pt x="15158" y="3127"/>
                  </a:lnTo>
                  <a:lnTo>
                    <a:pt x="15164" y="3131"/>
                  </a:lnTo>
                  <a:lnTo>
                    <a:pt x="15168" y="3138"/>
                  </a:lnTo>
                  <a:lnTo>
                    <a:pt x="15171" y="3145"/>
                  </a:lnTo>
                  <a:close/>
                  <a:moveTo>
                    <a:pt x="14908" y="3145"/>
                  </a:moveTo>
                  <a:lnTo>
                    <a:pt x="14908" y="3258"/>
                  </a:lnTo>
                  <a:lnTo>
                    <a:pt x="14905" y="3267"/>
                  </a:lnTo>
                  <a:lnTo>
                    <a:pt x="14901" y="3273"/>
                  </a:lnTo>
                  <a:lnTo>
                    <a:pt x="14895" y="3277"/>
                  </a:lnTo>
                  <a:lnTo>
                    <a:pt x="14887" y="3278"/>
                  </a:lnTo>
                  <a:lnTo>
                    <a:pt x="14880" y="3277"/>
                  </a:lnTo>
                  <a:lnTo>
                    <a:pt x="14873" y="3273"/>
                  </a:lnTo>
                  <a:lnTo>
                    <a:pt x="14869" y="3267"/>
                  </a:lnTo>
                  <a:lnTo>
                    <a:pt x="14867" y="3258"/>
                  </a:lnTo>
                  <a:lnTo>
                    <a:pt x="14867" y="3145"/>
                  </a:lnTo>
                  <a:lnTo>
                    <a:pt x="14869" y="3138"/>
                  </a:lnTo>
                  <a:lnTo>
                    <a:pt x="14873" y="3131"/>
                  </a:lnTo>
                  <a:lnTo>
                    <a:pt x="14880" y="3127"/>
                  </a:lnTo>
                  <a:lnTo>
                    <a:pt x="14887" y="3126"/>
                  </a:lnTo>
                  <a:lnTo>
                    <a:pt x="14895" y="3127"/>
                  </a:lnTo>
                  <a:lnTo>
                    <a:pt x="14901" y="3131"/>
                  </a:lnTo>
                  <a:lnTo>
                    <a:pt x="14905" y="3138"/>
                  </a:lnTo>
                  <a:lnTo>
                    <a:pt x="14908" y="3145"/>
                  </a:lnTo>
                  <a:close/>
                  <a:moveTo>
                    <a:pt x="14644" y="3145"/>
                  </a:moveTo>
                  <a:lnTo>
                    <a:pt x="14644" y="3258"/>
                  </a:lnTo>
                  <a:lnTo>
                    <a:pt x="14642" y="3267"/>
                  </a:lnTo>
                  <a:lnTo>
                    <a:pt x="14637" y="3273"/>
                  </a:lnTo>
                  <a:lnTo>
                    <a:pt x="14631" y="3277"/>
                  </a:lnTo>
                  <a:lnTo>
                    <a:pt x="14624" y="3278"/>
                  </a:lnTo>
                  <a:lnTo>
                    <a:pt x="14617" y="3277"/>
                  </a:lnTo>
                  <a:lnTo>
                    <a:pt x="14610" y="3273"/>
                  </a:lnTo>
                  <a:lnTo>
                    <a:pt x="14606" y="3267"/>
                  </a:lnTo>
                  <a:lnTo>
                    <a:pt x="14604" y="3258"/>
                  </a:lnTo>
                  <a:lnTo>
                    <a:pt x="14604" y="3145"/>
                  </a:lnTo>
                  <a:lnTo>
                    <a:pt x="14606" y="3138"/>
                  </a:lnTo>
                  <a:lnTo>
                    <a:pt x="14610" y="3131"/>
                  </a:lnTo>
                  <a:lnTo>
                    <a:pt x="14617" y="3127"/>
                  </a:lnTo>
                  <a:lnTo>
                    <a:pt x="14624" y="3126"/>
                  </a:lnTo>
                  <a:lnTo>
                    <a:pt x="14631" y="3127"/>
                  </a:lnTo>
                  <a:lnTo>
                    <a:pt x="14637" y="3131"/>
                  </a:lnTo>
                  <a:lnTo>
                    <a:pt x="14642" y="3138"/>
                  </a:lnTo>
                  <a:lnTo>
                    <a:pt x="14644" y="3145"/>
                  </a:lnTo>
                  <a:close/>
                  <a:moveTo>
                    <a:pt x="14381" y="3145"/>
                  </a:moveTo>
                  <a:lnTo>
                    <a:pt x="14381" y="3258"/>
                  </a:lnTo>
                  <a:lnTo>
                    <a:pt x="14379" y="3267"/>
                  </a:lnTo>
                  <a:lnTo>
                    <a:pt x="14374" y="3273"/>
                  </a:lnTo>
                  <a:lnTo>
                    <a:pt x="14368" y="3277"/>
                  </a:lnTo>
                  <a:lnTo>
                    <a:pt x="14362" y="3278"/>
                  </a:lnTo>
                  <a:lnTo>
                    <a:pt x="14354" y="3277"/>
                  </a:lnTo>
                  <a:lnTo>
                    <a:pt x="14347" y="3273"/>
                  </a:lnTo>
                  <a:lnTo>
                    <a:pt x="14342" y="3267"/>
                  </a:lnTo>
                  <a:lnTo>
                    <a:pt x="14341" y="3258"/>
                  </a:lnTo>
                  <a:lnTo>
                    <a:pt x="14341" y="3145"/>
                  </a:lnTo>
                  <a:lnTo>
                    <a:pt x="14342" y="3138"/>
                  </a:lnTo>
                  <a:lnTo>
                    <a:pt x="14347" y="3131"/>
                  </a:lnTo>
                  <a:lnTo>
                    <a:pt x="14354" y="3127"/>
                  </a:lnTo>
                  <a:lnTo>
                    <a:pt x="14362" y="3126"/>
                  </a:lnTo>
                  <a:lnTo>
                    <a:pt x="14368" y="3127"/>
                  </a:lnTo>
                  <a:lnTo>
                    <a:pt x="14374" y="3131"/>
                  </a:lnTo>
                  <a:lnTo>
                    <a:pt x="14379" y="3138"/>
                  </a:lnTo>
                  <a:lnTo>
                    <a:pt x="14381" y="3145"/>
                  </a:lnTo>
                  <a:close/>
                  <a:moveTo>
                    <a:pt x="14118" y="3145"/>
                  </a:moveTo>
                  <a:lnTo>
                    <a:pt x="14118" y="3258"/>
                  </a:lnTo>
                  <a:lnTo>
                    <a:pt x="14117" y="3267"/>
                  </a:lnTo>
                  <a:lnTo>
                    <a:pt x="14111" y="3273"/>
                  </a:lnTo>
                  <a:lnTo>
                    <a:pt x="14105" y="3277"/>
                  </a:lnTo>
                  <a:lnTo>
                    <a:pt x="14097" y="3278"/>
                  </a:lnTo>
                  <a:lnTo>
                    <a:pt x="14091" y="3277"/>
                  </a:lnTo>
                  <a:lnTo>
                    <a:pt x="14085" y="3273"/>
                  </a:lnTo>
                  <a:lnTo>
                    <a:pt x="14079" y="3267"/>
                  </a:lnTo>
                  <a:lnTo>
                    <a:pt x="14078" y="3258"/>
                  </a:lnTo>
                  <a:lnTo>
                    <a:pt x="14078" y="3145"/>
                  </a:lnTo>
                  <a:lnTo>
                    <a:pt x="14079" y="3138"/>
                  </a:lnTo>
                  <a:lnTo>
                    <a:pt x="14085" y="3131"/>
                  </a:lnTo>
                  <a:lnTo>
                    <a:pt x="14091" y="3127"/>
                  </a:lnTo>
                  <a:lnTo>
                    <a:pt x="14097" y="3126"/>
                  </a:lnTo>
                  <a:lnTo>
                    <a:pt x="14105" y="3127"/>
                  </a:lnTo>
                  <a:lnTo>
                    <a:pt x="14111" y="3131"/>
                  </a:lnTo>
                  <a:lnTo>
                    <a:pt x="14117" y="3138"/>
                  </a:lnTo>
                  <a:lnTo>
                    <a:pt x="14118" y="3145"/>
                  </a:lnTo>
                  <a:close/>
                  <a:moveTo>
                    <a:pt x="15434" y="2900"/>
                  </a:moveTo>
                  <a:lnTo>
                    <a:pt x="15434" y="3011"/>
                  </a:lnTo>
                  <a:lnTo>
                    <a:pt x="15432" y="3020"/>
                  </a:lnTo>
                  <a:lnTo>
                    <a:pt x="15427" y="3026"/>
                  </a:lnTo>
                  <a:lnTo>
                    <a:pt x="15421" y="3030"/>
                  </a:lnTo>
                  <a:lnTo>
                    <a:pt x="15413" y="3031"/>
                  </a:lnTo>
                  <a:lnTo>
                    <a:pt x="15407" y="3030"/>
                  </a:lnTo>
                  <a:lnTo>
                    <a:pt x="15400" y="3026"/>
                  </a:lnTo>
                  <a:lnTo>
                    <a:pt x="15395" y="3020"/>
                  </a:lnTo>
                  <a:lnTo>
                    <a:pt x="15394" y="3011"/>
                  </a:lnTo>
                  <a:lnTo>
                    <a:pt x="15394" y="2900"/>
                  </a:lnTo>
                  <a:lnTo>
                    <a:pt x="15395" y="2891"/>
                  </a:lnTo>
                  <a:lnTo>
                    <a:pt x="15400" y="2884"/>
                  </a:lnTo>
                  <a:lnTo>
                    <a:pt x="15407" y="2881"/>
                  </a:lnTo>
                  <a:lnTo>
                    <a:pt x="15413" y="2879"/>
                  </a:lnTo>
                  <a:lnTo>
                    <a:pt x="15421" y="2881"/>
                  </a:lnTo>
                  <a:lnTo>
                    <a:pt x="15427" y="2884"/>
                  </a:lnTo>
                  <a:lnTo>
                    <a:pt x="15432" y="2891"/>
                  </a:lnTo>
                  <a:lnTo>
                    <a:pt x="15434" y="2900"/>
                  </a:lnTo>
                  <a:close/>
                  <a:moveTo>
                    <a:pt x="15171" y="2900"/>
                  </a:moveTo>
                  <a:lnTo>
                    <a:pt x="15171" y="3011"/>
                  </a:lnTo>
                  <a:lnTo>
                    <a:pt x="15168" y="3020"/>
                  </a:lnTo>
                  <a:lnTo>
                    <a:pt x="15164" y="3026"/>
                  </a:lnTo>
                  <a:lnTo>
                    <a:pt x="15158" y="3030"/>
                  </a:lnTo>
                  <a:lnTo>
                    <a:pt x="15150" y="3031"/>
                  </a:lnTo>
                  <a:lnTo>
                    <a:pt x="15142" y="3030"/>
                  </a:lnTo>
                  <a:lnTo>
                    <a:pt x="15136" y="3026"/>
                  </a:lnTo>
                  <a:lnTo>
                    <a:pt x="15132" y="3020"/>
                  </a:lnTo>
                  <a:lnTo>
                    <a:pt x="15131" y="3011"/>
                  </a:lnTo>
                  <a:lnTo>
                    <a:pt x="15131" y="2900"/>
                  </a:lnTo>
                  <a:lnTo>
                    <a:pt x="15132" y="2891"/>
                  </a:lnTo>
                  <a:lnTo>
                    <a:pt x="15136" y="2884"/>
                  </a:lnTo>
                  <a:lnTo>
                    <a:pt x="15142" y="2881"/>
                  </a:lnTo>
                  <a:lnTo>
                    <a:pt x="15150" y="2879"/>
                  </a:lnTo>
                  <a:lnTo>
                    <a:pt x="15158" y="2881"/>
                  </a:lnTo>
                  <a:lnTo>
                    <a:pt x="15164" y="2884"/>
                  </a:lnTo>
                  <a:lnTo>
                    <a:pt x="15168" y="2891"/>
                  </a:lnTo>
                  <a:lnTo>
                    <a:pt x="15171" y="2900"/>
                  </a:lnTo>
                  <a:close/>
                  <a:moveTo>
                    <a:pt x="14908" y="2900"/>
                  </a:moveTo>
                  <a:lnTo>
                    <a:pt x="14908" y="3011"/>
                  </a:lnTo>
                  <a:lnTo>
                    <a:pt x="14905" y="3020"/>
                  </a:lnTo>
                  <a:lnTo>
                    <a:pt x="14901" y="3026"/>
                  </a:lnTo>
                  <a:lnTo>
                    <a:pt x="14895" y="3030"/>
                  </a:lnTo>
                  <a:lnTo>
                    <a:pt x="14887" y="3031"/>
                  </a:lnTo>
                  <a:lnTo>
                    <a:pt x="14880" y="3030"/>
                  </a:lnTo>
                  <a:lnTo>
                    <a:pt x="14873" y="3026"/>
                  </a:lnTo>
                  <a:lnTo>
                    <a:pt x="14869" y="3020"/>
                  </a:lnTo>
                  <a:lnTo>
                    <a:pt x="14867" y="3011"/>
                  </a:lnTo>
                  <a:lnTo>
                    <a:pt x="14867" y="2900"/>
                  </a:lnTo>
                  <a:lnTo>
                    <a:pt x="14869" y="2891"/>
                  </a:lnTo>
                  <a:lnTo>
                    <a:pt x="14873" y="2884"/>
                  </a:lnTo>
                  <a:lnTo>
                    <a:pt x="14880" y="2881"/>
                  </a:lnTo>
                  <a:lnTo>
                    <a:pt x="14887" y="2879"/>
                  </a:lnTo>
                  <a:lnTo>
                    <a:pt x="14895" y="2881"/>
                  </a:lnTo>
                  <a:lnTo>
                    <a:pt x="14901" y="2884"/>
                  </a:lnTo>
                  <a:lnTo>
                    <a:pt x="14905" y="2891"/>
                  </a:lnTo>
                  <a:lnTo>
                    <a:pt x="14908" y="2900"/>
                  </a:lnTo>
                  <a:close/>
                  <a:moveTo>
                    <a:pt x="14644" y="2900"/>
                  </a:moveTo>
                  <a:lnTo>
                    <a:pt x="14644" y="3011"/>
                  </a:lnTo>
                  <a:lnTo>
                    <a:pt x="14642" y="3020"/>
                  </a:lnTo>
                  <a:lnTo>
                    <a:pt x="14637" y="3026"/>
                  </a:lnTo>
                  <a:lnTo>
                    <a:pt x="14631" y="3030"/>
                  </a:lnTo>
                  <a:lnTo>
                    <a:pt x="14624" y="3031"/>
                  </a:lnTo>
                  <a:lnTo>
                    <a:pt x="14617" y="3030"/>
                  </a:lnTo>
                  <a:lnTo>
                    <a:pt x="14610" y="3026"/>
                  </a:lnTo>
                  <a:lnTo>
                    <a:pt x="14606" y="3020"/>
                  </a:lnTo>
                  <a:lnTo>
                    <a:pt x="14604" y="3011"/>
                  </a:lnTo>
                  <a:lnTo>
                    <a:pt x="14604" y="2900"/>
                  </a:lnTo>
                  <a:lnTo>
                    <a:pt x="14606" y="2891"/>
                  </a:lnTo>
                  <a:lnTo>
                    <a:pt x="14610" y="2884"/>
                  </a:lnTo>
                  <a:lnTo>
                    <a:pt x="14617" y="2881"/>
                  </a:lnTo>
                  <a:lnTo>
                    <a:pt x="14624" y="2879"/>
                  </a:lnTo>
                  <a:lnTo>
                    <a:pt x="14631" y="2881"/>
                  </a:lnTo>
                  <a:lnTo>
                    <a:pt x="14637" y="2884"/>
                  </a:lnTo>
                  <a:lnTo>
                    <a:pt x="14642" y="2891"/>
                  </a:lnTo>
                  <a:lnTo>
                    <a:pt x="14644" y="2900"/>
                  </a:lnTo>
                  <a:close/>
                  <a:moveTo>
                    <a:pt x="14381" y="2900"/>
                  </a:moveTo>
                  <a:lnTo>
                    <a:pt x="14381" y="3011"/>
                  </a:lnTo>
                  <a:lnTo>
                    <a:pt x="14379" y="3020"/>
                  </a:lnTo>
                  <a:lnTo>
                    <a:pt x="14374" y="3026"/>
                  </a:lnTo>
                  <a:lnTo>
                    <a:pt x="14368" y="3030"/>
                  </a:lnTo>
                  <a:lnTo>
                    <a:pt x="14362" y="3031"/>
                  </a:lnTo>
                  <a:lnTo>
                    <a:pt x="14354" y="3030"/>
                  </a:lnTo>
                  <a:lnTo>
                    <a:pt x="14347" y="3026"/>
                  </a:lnTo>
                  <a:lnTo>
                    <a:pt x="14342" y="3020"/>
                  </a:lnTo>
                  <a:lnTo>
                    <a:pt x="14341" y="3011"/>
                  </a:lnTo>
                  <a:lnTo>
                    <a:pt x="14341" y="2900"/>
                  </a:lnTo>
                  <a:lnTo>
                    <a:pt x="14342" y="2891"/>
                  </a:lnTo>
                  <a:lnTo>
                    <a:pt x="14347" y="2884"/>
                  </a:lnTo>
                  <a:lnTo>
                    <a:pt x="14354" y="2881"/>
                  </a:lnTo>
                  <a:lnTo>
                    <a:pt x="14362" y="2879"/>
                  </a:lnTo>
                  <a:lnTo>
                    <a:pt x="14368" y="2881"/>
                  </a:lnTo>
                  <a:lnTo>
                    <a:pt x="14374" y="2884"/>
                  </a:lnTo>
                  <a:lnTo>
                    <a:pt x="14379" y="2891"/>
                  </a:lnTo>
                  <a:lnTo>
                    <a:pt x="14381" y="2900"/>
                  </a:lnTo>
                  <a:close/>
                  <a:moveTo>
                    <a:pt x="14118" y="2900"/>
                  </a:moveTo>
                  <a:lnTo>
                    <a:pt x="14118" y="3011"/>
                  </a:lnTo>
                  <a:lnTo>
                    <a:pt x="14117" y="3020"/>
                  </a:lnTo>
                  <a:lnTo>
                    <a:pt x="14111" y="3026"/>
                  </a:lnTo>
                  <a:lnTo>
                    <a:pt x="14105" y="3030"/>
                  </a:lnTo>
                  <a:lnTo>
                    <a:pt x="14097" y="3031"/>
                  </a:lnTo>
                  <a:lnTo>
                    <a:pt x="14091" y="3030"/>
                  </a:lnTo>
                  <a:lnTo>
                    <a:pt x="14085" y="3026"/>
                  </a:lnTo>
                  <a:lnTo>
                    <a:pt x="14079" y="3020"/>
                  </a:lnTo>
                  <a:lnTo>
                    <a:pt x="14078" y="3011"/>
                  </a:lnTo>
                  <a:lnTo>
                    <a:pt x="14078" y="2900"/>
                  </a:lnTo>
                  <a:lnTo>
                    <a:pt x="14079" y="2891"/>
                  </a:lnTo>
                  <a:lnTo>
                    <a:pt x="14085" y="2884"/>
                  </a:lnTo>
                  <a:lnTo>
                    <a:pt x="14091" y="2881"/>
                  </a:lnTo>
                  <a:lnTo>
                    <a:pt x="14097" y="2879"/>
                  </a:lnTo>
                  <a:lnTo>
                    <a:pt x="14105" y="2881"/>
                  </a:lnTo>
                  <a:lnTo>
                    <a:pt x="14111" y="2884"/>
                  </a:lnTo>
                  <a:lnTo>
                    <a:pt x="14117" y="2891"/>
                  </a:lnTo>
                  <a:lnTo>
                    <a:pt x="14118" y="2900"/>
                  </a:lnTo>
                  <a:close/>
                  <a:moveTo>
                    <a:pt x="15434" y="3639"/>
                  </a:moveTo>
                  <a:lnTo>
                    <a:pt x="15434" y="3751"/>
                  </a:lnTo>
                  <a:lnTo>
                    <a:pt x="15432" y="3760"/>
                  </a:lnTo>
                  <a:lnTo>
                    <a:pt x="15427" y="3765"/>
                  </a:lnTo>
                  <a:lnTo>
                    <a:pt x="15421" y="3769"/>
                  </a:lnTo>
                  <a:lnTo>
                    <a:pt x="15413" y="3771"/>
                  </a:lnTo>
                  <a:lnTo>
                    <a:pt x="15407" y="3769"/>
                  </a:lnTo>
                  <a:lnTo>
                    <a:pt x="15400" y="3765"/>
                  </a:lnTo>
                  <a:lnTo>
                    <a:pt x="15395" y="3760"/>
                  </a:lnTo>
                  <a:lnTo>
                    <a:pt x="15394" y="3751"/>
                  </a:lnTo>
                  <a:lnTo>
                    <a:pt x="15394" y="3639"/>
                  </a:lnTo>
                  <a:lnTo>
                    <a:pt x="15395" y="3630"/>
                  </a:lnTo>
                  <a:lnTo>
                    <a:pt x="15400" y="3624"/>
                  </a:lnTo>
                  <a:lnTo>
                    <a:pt x="15407" y="3620"/>
                  </a:lnTo>
                  <a:lnTo>
                    <a:pt x="15413" y="3618"/>
                  </a:lnTo>
                  <a:lnTo>
                    <a:pt x="15421" y="3620"/>
                  </a:lnTo>
                  <a:lnTo>
                    <a:pt x="15427" y="3624"/>
                  </a:lnTo>
                  <a:lnTo>
                    <a:pt x="15432" y="3630"/>
                  </a:lnTo>
                  <a:lnTo>
                    <a:pt x="15434" y="3639"/>
                  </a:lnTo>
                  <a:close/>
                  <a:moveTo>
                    <a:pt x="18172" y="964"/>
                  </a:moveTo>
                  <a:lnTo>
                    <a:pt x="17643" y="964"/>
                  </a:lnTo>
                  <a:lnTo>
                    <a:pt x="17643" y="1019"/>
                  </a:lnTo>
                  <a:lnTo>
                    <a:pt x="18172" y="1019"/>
                  </a:lnTo>
                  <a:lnTo>
                    <a:pt x="18172" y="964"/>
                  </a:lnTo>
                  <a:close/>
                  <a:moveTo>
                    <a:pt x="17665" y="1323"/>
                  </a:moveTo>
                  <a:lnTo>
                    <a:pt x="18163" y="2010"/>
                  </a:lnTo>
                  <a:lnTo>
                    <a:pt x="18134" y="1058"/>
                  </a:lnTo>
                  <a:lnTo>
                    <a:pt x="17680" y="1058"/>
                  </a:lnTo>
                  <a:lnTo>
                    <a:pt x="17665" y="1322"/>
                  </a:lnTo>
                  <a:lnTo>
                    <a:pt x="17665" y="1323"/>
                  </a:lnTo>
                  <a:close/>
                  <a:moveTo>
                    <a:pt x="17638" y="1754"/>
                  </a:moveTo>
                  <a:lnTo>
                    <a:pt x="18179" y="2500"/>
                  </a:lnTo>
                  <a:lnTo>
                    <a:pt x="18166" y="2079"/>
                  </a:lnTo>
                  <a:lnTo>
                    <a:pt x="18161" y="2074"/>
                  </a:lnTo>
                  <a:lnTo>
                    <a:pt x="17661" y="1385"/>
                  </a:lnTo>
                  <a:lnTo>
                    <a:pt x="17638" y="1754"/>
                  </a:lnTo>
                  <a:close/>
                  <a:moveTo>
                    <a:pt x="17611" y="2186"/>
                  </a:moveTo>
                  <a:lnTo>
                    <a:pt x="18194" y="2989"/>
                  </a:lnTo>
                  <a:lnTo>
                    <a:pt x="18181" y="2571"/>
                  </a:lnTo>
                  <a:lnTo>
                    <a:pt x="17634" y="1817"/>
                  </a:lnTo>
                  <a:lnTo>
                    <a:pt x="17611" y="2186"/>
                  </a:lnTo>
                  <a:close/>
                  <a:moveTo>
                    <a:pt x="22919" y="2556"/>
                  </a:moveTo>
                  <a:lnTo>
                    <a:pt x="22895" y="2525"/>
                  </a:lnTo>
                  <a:lnTo>
                    <a:pt x="22869" y="2494"/>
                  </a:lnTo>
                  <a:lnTo>
                    <a:pt x="22841" y="2464"/>
                  </a:lnTo>
                  <a:lnTo>
                    <a:pt x="22812" y="2434"/>
                  </a:lnTo>
                  <a:lnTo>
                    <a:pt x="22748" y="2377"/>
                  </a:lnTo>
                  <a:lnTo>
                    <a:pt x="22714" y="2350"/>
                  </a:lnTo>
                  <a:lnTo>
                    <a:pt x="22678" y="2323"/>
                  </a:lnTo>
                  <a:lnTo>
                    <a:pt x="22603" y="2272"/>
                  </a:lnTo>
                  <a:lnTo>
                    <a:pt x="22522" y="2225"/>
                  </a:lnTo>
                  <a:lnTo>
                    <a:pt x="22436" y="2181"/>
                  </a:lnTo>
                  <a:lnTo>
                    <a:pt x="22346" y="2142"/>
                  </a:lnTo>
                  <a:lnTo>
                    <a:pt x="22250" y="2104"/>
                  </a:lnTo>
                  <a:lnTo>
                    <a:pt x="22151" y="2072"/>
                  </a:lnTo>
                  <a:lnTo>
                    <a:pt x="22048" y="2046"/>
                  </a:lnTo>
                  <a:lnTo>
                    <a:pt x="21995" y="2033"/>
                  </a:lnTo>
                  <a:lnTo>
                    <a:pt x="21941" y="2023"/>
                  </a:lnTo>
                  <a:lnTo>
                    <a:pt x="21831" y="2003"/>
                  </a:lnTo>
                  <a:lnTo>
                    <a:pt x="21774" y="1997"/>
                  </a:lnTo>
                  <a:lnTo>
                    <a:pt x="21718" y="1991"/>
                  </a:lnTo>
                  <a:lnTo>
                    <a:pt x="21601" y="1983"/>
                  </a:lnTo>
                  <a:lnTo>
                    <a:pt x="21483" y="1980"/>
                  </a:lnTo>
                  <a:lnTo>
                    <a:pt x="21365" y="1983"/>
                  </a:lnTo>
                  <a:lnTo>
                    <a:pt x="21249" y="1991"/>
                  </a:lnTo>
                  <a:lnTo>
                    <a:pt x="21136" y="2003"/>
                  </a:lnTo>
                  <a:lnTo>
                    <a:pt x="21026" y="2023"/>
                  </a:lnTo>
                  <a:lnTo>
                    <a:pt x="20972" y="2033"/>
                  </a:lnTo>
                  <a:lnTo>
                    <a:pt x="20919" y="2046"/>
                  </a:lnTo>
                  <a:lnTo>
                    <a:pt x="20815" y="2072"/>
                  </a:lnTo>
                  <a:lnTo>
                    <a:pt x="20717" y="2104"/>
                  </a:lnTo>
                  <a:lnTo>
                    <a:pt x="20622" y="2142"/>
                  </a:lnTo>
                  <a:lnTo>
                    <a:pt x="20531" y="2181"/>
                  </a:lnTo>
                  <a:lnTo>
                    <a:pt x="20445" y="2225"/>
                  </a:lnTo>
                  <a:lnTo>
                    <a:pt x="20364" y="2272"/>
                  </a:lnTo>
                  <a:lnTo>
                    <a:pt x="20288" y="2323"/>
                  </a:lnTo>
                  <a:lnTo>
                    <a:pt x="20219" y="2377"/>
                  </a:lnTo>
                  <a:lnTo>
                    <a:pt x="20187" y="2405"/>
                  </a:lnTo>
                  <a:lnTo>
                    <a:pt x="20155" y="2434"/>
                  </a:lnTo>
                  <a:lnTo>
                    <a:pt x="20125" y="2464"/>
                  </a:lnTo>
                  <a:lnTo>
                    <a:pt x="20098" y="2494"/>
                  </a:lnTo>
                  <a:lnTo>
                    <a:pt x="20047" y="2556"/>
                  </a:lnTo>
                  <a:lnTo>
                    <a:pt x="20765" y="2556"/>
                  </a:lnTo>
                  <a:lnTo>
                    <a:pt x="21483" y="2556"/>
                  </a:lnTo>
                  <a:lnTo>
                    <a:pt x="22201" y="2556"/>
                  </a:lnTo>
                  <a:lnTo>
                    <a:pt x="22919" y="2556"/>
                  </a:lnTo>
                  <a:close/>
                  <a:moveTo>
                    <a:pt x="21733" y="1952"/>
                  </a:moveTo>
                  <a:lnTo>
                    <a:pt x="21733" y="1794"/>
                  </a:lnTo>
                  <a:lnTo>
                    <a:pt x="21235" y="1794"/>
                  </a:lnTo>
                  <a:lnTo>
                    <a:pt x="21235" y="1952"/>
                  </a:lnTo>
                  <a:lnTo>
                    <a:pt x="21295" y="1947"/>
                  </a:lnTo>
                  <a:lnTo>
                    <a:pt x="21358" y="1943"/>
                  </a:lnTo>
                  <a:lnTo>
                    <a:pt x="21420" y="1941"/>
                  </a:lnTo>
                  <a:lnTo>
                    <a:pt x="21483" y="1939"/>
                  </a:lnTo>
                  <a:lnTo>
                    <a:pt x="21609" y="1943"/>
                  </a:lnTo>
                  <a:lnTo>
                    <a:pt x="21733" y="1952"/>
                  </a:lnTo>
                  <a:close/>
                  <a:moveTo>
                    <a:pt x="20024" y="2977"/>
                  </a:moveTo>
                  <a:lnTo>
                    <a:pt x="20754" y="2977"/>
                  </a:lnTo>
                  <a:lnTo>
                    <a:pt x="21483" y="2977"/>
                  </a:lnTo>
                  <a:lnTo>
                    <a:pt x="22213" y="2977"/>
                  </a:lnTo>
                  <a:lnTo>
                    <a:pt x="22943" y="2977"/>
                  </a:lnTo>
                  <a:lnTo>
                    <a:pt x="22943" y="2750"/>
                  </a:lnTo>
                  <a:lnTo>
                    <a:pt x="22213" y="2750"/>
                  </a:lnTo>
                  <a:lnTo>
                    <a:pt x="21483" y="2750"/>
                  </a:lnTo>
                  <a:lnTo>
                    <a:pt x="20754" y="2750"/>
                  </a:lnTo>
                  <a:lnTo>
                    <a:pt x="20024" y="2750"/>
                  </a:lnTo>
                  <a:lnTo>
                    <a:pt x="20024" y="2977"/>
                  </a:lnTo>
                  <a:close/>
                  <a:moveTo>
                    <a:pt x="20768" y="4017"/>
                  </a:moveTo>
                  <a:lnTo>
                    <a:pt x="20768" y="4324"/>
                  </a:lnTo>
                  <a:lnTo>
                    <a:pt x="20974" y="4324"/>
                  </a:lnTo>
                  <a:lnTo>
                    <a:pt x="20974" y="3670"/>
                  </a:lnTo>
                  <a:lnTo>
                    <a:pt x="20974" y="3016"/>
                  </a:lnTo>
                  <a:lnTo>
                    <a:pt x="20523" y="3016"/>
                  </a:lnTo>
                  <a:lnTo>
                    <a:pt x="20523" y="3670"/>
                  </a:lnTo>
                  <a:lnTo>
                    <a:pt x="20523" y="4324"/>
                  </a:lnTo>
                  <a:lnTo>
                    <a:pt x="20728" y="4324"/>
                  </a:lnTo>
                  <a:lnTo>
                    <a:pt x="20728" y="4017"/>
                  </a:lnTo>
                  <a:lnTo>
                    <a:pt x="20731" y="4008"/>
                  </a:lnTo>
                  <a:lnTo>
                    <a:pt x="20734" y="4002"/>
                  </a:lnTo>
                  <a:lnTo>
                    <a:pt x="20741" y="3998"/>
                  </a:lnTo>
                  <a:lnTo>
                    <a:pt x="20749" y="3997"/>
                  </a:lnTo>
                  <a:lnTo>
                    <a:pt x="20756" y="3998"/>
                  </a:lnTo>
                  <a:lnTo>
                    <a:pt x="20763" y="4002"/>
                  </a:lnTo>
                  <a:lnTo>
                    <a:pt x="20767" y="4008"/>
                  </a:lnTo>
                  <a:lnTo>
                    <a:pt x="20768" y="4017"/>
                  </a:lnTo>
                  <a:close/>
                  <a:moveTo>
                    <a:pt x="21260" y="4017"/>
                  </a:moveTo>
                  <a:lnTo>
                    <a:pt x="21260" y="4324"/>
                  </a:lnTo>
                  <a:lnTo>
                    <a:pt x="21467" y="4324"/>
                  </a:lnTo>
                  <a:lnTo>
                    <a:pt x="21467" y="3670"/>
                  </a:lnTo>
                  <a:lnTo>
                    <a:pt x="21467" y="3016"/>
                  </a:lnTo>
                  <a:lnTo>
                    <a:pt x="21014" y="3016"/>
                  </a:lnTo>
                  <a:lnTo>
                    <a:pt x="21014" y="3670"/>
                  </a:lnTo>
                  <a:lnTo>
                    <a:pt x="21014" y="4324"/>
                  </a:lnTo>
                  <a:lnTo>
                    <a:pt x="21220" y="4324"/>
                  </a:lnTo>
                  <a:lnTo>
                    <a:pt x="21220" y="4017"/>
                  </a:lnTo>
                  <a:lnTo>
                    <a:pt x="21222" y="4008"/>
                  </a:lnTo>
                  <a:lnTo>
                    <a:pt x="21227" y="4002"/>
                  </a:lnTo>
                  <a:lnTo>
                    <a:pt x="21233" y="3998"/>
                  </a:lnTo>
                  <a:lnTo>
                    <a:pt x="21241" y="3997"/>
                  </a:lnTo>
                  <a:lnTo>
                    <a:pt x="21247" y="3998"/>
                  </a:lnTo>
                  <a:lnTo>
                    <a:pt x="21254" y="4002"/>
                  </a:lnTo>
                  <a:lnTo>
                    <a:pt x="21259" y="4008"/>
                  </a:lnTo>
                  <a:lnTo>
                    <a:pt x="21260" y="4017"/>
                  </a:lnTo>
                  <a:close/>
                  <a:moveTo>
                    <a:pt x="21753" y="4017"/>
                  </a:moveTo>
                  <a:lnTo>
                    <a:pt x="21753" y="4324"/>
                  </a:lnTo>
                  <a:lnTo>
                    <a:pt x="21959" y="4324"/>
                  </a:lnTo>
                  <a:lnTo>
                    <a:pt x="21959" y="3670"/>
                  </a:lnTo>
                  <a:lnTo>
                    <a:pt x="21959" y="3016"/>
                  </a:lnTo>
                  <a:lnTo>
                    <a:pt x="21506" y="3016"/>
                  </a:lnTo>
                  <a:lnTo>
                    <a:pt x="21506" y="3670"/>
                  </a:lnTo>
                  <a:lnTo>
                    <a:pt x="21506" y="4324"/>
                  </a:lnTo>
                  <a:lnTo>
                    <a:pt x="21713" y="4324"/>
                  </a:lnTo>
                  <a:lnTo>
                    <a:pt x="21713" y="4017"/>
                  </a:lnTo>
                  <a:lnTo>
                    <a:pt x="21714" y="4008"/>
                  </a:lnTo>
                  <a:lnTo>
                    <a:pt x="21719" y="4002"/>
                  </a:lnTo>
                  <a:lnTo>
                    <a:pt x="21726" y="3998"/>
                  </a:lnTo>
                  <a:lnTo>
                    <a:pt x="21732" y="3997"/>
                  </a:lnTo>
                  <a:lnTo>
                    <a:pt x="21740" y="3998"/>
                  </a:lnTo>
                  <a:lnTo>
                    <a:pt x="21746" y="4002"/>
                  </a:lnTo>
                  <a:lnTo>
                    <a:pt x="21751" y="4008"/>
                  </a:lnTo>
                  <a:lnTo>
                    <a:pt x="21753" y="4017"/>
                  </a:lnTo>
                  <a:close/>
                  <a:moveTo>
                    <a:pt x="22245" y="4017"/>
                  </a:moveTo>
                  <a:lnTo>
                    <a:pt x="22245" y="4324"/>
                  </a:lnTo>
                  <a:lnTo>
                    <a:pt x="22450" y="4324"/>
                  </a:lnTo>
                  <a:lnTo>
                    <a:pt x="22450" y="3670"/>
                  </a:lnTo>
                  <a:lnTo>
                    <a:pt x="22450" y="3016"/>
                  </a:lnTo>
                  <a:lnTo>
                    <a:pt x="21999" y="3016"/>
                  </a:lnTo>
                  <a:lnTo>
                    <a:pt x="21999" y="3670"/>
                  </a:lnTo>
                  <a:lnTo>
                    <a:pt x="21999" y="4324"/>
                  </a:lnTo>
                  <a:lnTo>
                    <a:pt x="22205" y="4324"/>
                  </a:lnTo>
                  <a:lnTo>
                    <a:pt x="22205" y="4017"/>
                  </a:lnTo>
                  <a:lnTo>
                    <a:pt x="22207" y="4008"/>
                  </a:lnTo>
                  <a:lnTo>
                    <a:pt x="22210" y="4002"/>
                  </a:lnTo>
                  <a:lnTo>
                    <a:pt x="22217" y="3998"/>
                  </a:lnTo>
                  <a:lnTo>
                    <a:pt x="22224" y="3997"/>
                  </a:lnTo>
                  <a:lnTo>
                    <a:pt x="22232" y="3998"/>
                  </a:lnTo>
                  <a:lnTo>
                    <a:pt x="22239" y="4002"/>
                  </a:lnTo>
                  <a:lnTo>
                    <a:pt x="22242" y="4008"/>
                  </a:lnTo>
                  <a:lnTo>
                    <a:pt x="22245" y="4017"/>
                  </a:lnTo>
                  <a:close/>
                  <a:moveTo>
                    <a:pt x="22737" y="4017"/>
                  </a:moveTo>
                  <a:lnTo>
                    <a:pt x="22737" y="4324"/>
                  </a:lnTo>
                  <a:lnTo>
                    <a:pt x="22943" y="4324"/>
                  </a:lnTo>
                  <a:lnTo>
                    <a:pt x="22943" y="3670"/>
                  </a:lnTo>
                  <a:lnTo>
                    <a:pt x="22943" y="3016"/>
                  </a:lnTo>
                  <a:lnTo>
                    <a:pt x="22491" y="3016"/>
                  </a:lnTo>
                  <a:lnTo>
                    <a:pt x="22491" y="3670"/>
                  </a:lnTo>
                  <a:lnTo>
                    <a:pt x="22491" y="4324"/>
                  </a:lnTo>
                  <a:lnTo>
                    <a:pt x="22696" y="4324"/>
                  </a:lnTo>
                  <a:lnTo>
                    <a:pt x="22696" y="4017"/>
                  </a:lnTo>
                  <a:lnTo>
                    <a:pt x="22699" y="4008"/>
                  </a:lnTo>
                  <a:lnTo>
                    <a:pt x="22703" y="4002"/>
                  </a:lnTo>
                  <a:lnTo>
                    <a:pt x="22709" y="3998"/>
                  </a:lnTo>
                  <a:lnTo>
                    <a:pt x="22717" y="3997"/>
                  </a:lnTo>
                  <a:lnTo>
                    <a:pt x="22725" y="3998"/>
                  </a:lnTo>
                  <a:lnTo>
                    <a:pt x="22731" y="4002"/>
                  </a:lnTo>
                  <a:lnTo>
                    <a:pt x="22735" y="4008"/>
                  </a:lnTo>
                  <a:lnTo>
                    <a:pt x="22737" y="4017"/>
                  </a:lnTo>
                  <a:close/>
                  <a:moveTo>
                    <a:pt x="21727" y="1754"/>
                  </a:moveTo>
                  <a:lnTo>
                    <a:pt x="21714" y="1740"/>
                  </a:lnTo>
                  <a:lnTo>
                    <a:pt x="21696" y="1727"/>
                  </a:lnTo>
                  <a:lnTo>
                    <a:pt x="21673" y="1714"/>
                  </a:lnTo>
                  <a:lnTo>
                    <a:pt x="21645" y="1703"/>
                  </a:lnTo>
                  <a:lnTo>
                    <a:pt x="21612" y="1693"/>
                  </a:lnTo>
                  <a:lnTo>
                    <a:pt x="21573" y="1686"/>
                  </a:lnTo>
                  <a:lnTo>
                    <a:pt x="21531" y="1681"/>
                  </a:lnTo>
                  <a:lnTo>
                    <a:pt x="21483" y="1679"/>
                  </a:lnTo>
                  <a:lnTo>
                    <a:pt x="21437" y="1681"/>
                  </a:lnTo>
                  <a:lnTo>
                    <a:pt x="21394" y="1686"/>
                  </a:lnTo>
                  <a:lnTo>
                    <a:pt x="21356" y="1693"/>
                  </a:lnTo>
                  <a:lnTo>
                    <a:pt x="21322" y="1703"/>
                  </a:lnTo>
                  <a:lnTo>
                    <a:pt x="21294" y="1714"/>
                  </a:lnTo>
                  <a:lnTo>
                    <a:pt x="21270" y="1727"/>
                  </a:lnTo>
                  <a:lnTo>
                    <a:pt x="21253" y="1740"/>
                  </a:lnTo>
                  <a:lnTo>
                    <a:pt x="21241" y="1754"/>
                  </a:lnTo>
                  <a:lnTo>
                    <a:pt x="21727" y="1754"/>
                  </a:lnTo>
                  <a:close/>
                  <a:moveTo>
                    <a:pt x="19597" y="4131"/>
                  </a:moveTo>
                  <a:lnTo>
                    <a:pt x="19564" y="4135"/>
                  </a:lnTo>
                  <a:lnTo>
                    <a:pt x="19532" y="4145"/>
                  </a:lnTo>
                  <a:lnTo>
                    <a:pt x="19500" y="4154"/>
                  </a:lnTo>
                  <a:lnTo>
                    <a:pt x="19465" y="4159"/>
                  </a:lnTo>
                  <a:lnTo>
                    <a:pt x="19436" y="4154"/>
                  </a:lnTo>
                  <a:lnTo>
                    <a:pt x="19423" y="4149"/>
                  </a:lnTo>
                  <a:lnTo>
                    <a:pt x="19410" y="4143"/>
                  </a:lnTo>
                  <a:lnTo>
                    <a:pt x="19388" y="4125"/>
                  </a:lnTo>
                  <a:lnTo>
                    <a:pt x="19369" y="4100"/>
                  </a:lnTo>
                  <a:lnTo>
                    <a:pt x="19351" y="4072"/>
                  </a:lnTo>
                  <a:lnTo>
                    <a:pt x="19334" y="4040"/>
                  </a:lnTo>
                  <a:lnTo>
                    <a:pt x="19300" y="3973"/>
                  </a:lnTo>
                  <a:lnTo>
                    <a:pt x="19282" y="3937"/>
                  </a:lnTo>
                  <a:lnTo>
                    <a:pt x="19260" y="3904"/>
                  </a:lnTo>
                  <a:lnTo>
                    <a:pt x="19235" y="3872"/>
                  </a:lnTo>
                  <a:lnTo>
                    <a:pt x="19209" y="3843"/>
                  </a:lnTo>
                  <a:lnTo>
                    <a:pt x="19175" y="3820"/>
                  </a:lnTo>
                  <a:lnTo>
                    <a:pt x="19157" y="3810"/>
                  </a:lnTo>
                  <a:lnTo>
                    <a:pt x="19138" y="3801"/>
                  </a:lnTo>
                  <a:lnTo>
                    <a:pt x="19116" y="3795"/>
                  </a:lnTo>
                  <a:lnTo>
                    <a:pt x="19093" y="3790"/>
                  </a:lnTo>
                  <a:lnTo>
                    <a:pt x="19069" y="3787"/>
                  </a:lnTo>
                  <a:lnTo>
                    <a:pt x="19042" y="3786"/>
                  </a:lnTo>
                  <a:lnTo>
                    <a:pt x="19014" y="3790"/>
                  </a:lnTo>
                  <a:lnTo>
                    <a:pt x="19002" y="3795"/>
                  </a:lnTo>
                  <a:lnTo>
                    <a:pt x="18993" y="3801"/>
                  </a:lnTo>
                  <a:lnTo>
                    <a:pt x="18974" y="3817"/>
                  </a:lnTo>
                  <a:lnTo>
                    <a:pt x="18952" y="3836"/>
                  </a:lnTo>
                  <a:lnTo>
                    <a:pt x="18925" y="3854"/>
                  </a:lnTo>
                  <a:lnTo>
                    <a:pt x="18908" y="3863"/>
                  </a:lnTo>
                  <a:lnTo>
                    <a:pt x="18889" y="3869"/>
                  </a:lnTo>
                  <a:lnTo>
                    <a:pt x="18865" y="3875"/>
                  </a:lnTo>
                  <a:lnTo>
                    <a:pt x="18838" y="3881"/>
                  </a:lnTo>
                  <a:lnTo>
                    <a:pt x="18806" y="3884"/>
                  </a:lnTo>
                  <a:lnTo>
                    <a:pt x="18769" y="3886"/>
                  </a:lnTo>
                  <a:lnTo>
                    <a:pt x="18742" y="3883"/>
                  </a:lnTo>
                  <a:lnTo>
                    <a:pt x="18720" y="3879"/>
                  </a:lnTo>
                  <a:lnTo>
                    <a:pt x="18688" y="3868"/>
                  </a:lnTo>
                  <a:lnTo>
                    <a:pt x="18662" y="3855"/>
                  </a:lnTo>
                  <a:lnTo>
                    <a:pt x="18649" y="3851"/>
                  </a:lnTo>
                  <a:lnTo>
                    <a:pt x="18637" y="3850"/>
                  </a:lnTo>
                  <a:lnTo>
                    <a:pt x="18615" y="3851"/>
                  </a:lnTo>
                  <a:lnTo>
                    <a:pt x="18594" y="3856"/>
                  </a:lnTo>
                  <a:lnTo>
                    <a:pt x="18575" y="3864"/>
                  </a:lnTo>
                  <a:lnTo>
                    <a:pt x="18557" y="3875"/>
                  </a:lnTo>
                  <a:lnTo>
                    <a:pt x="18540" y="3888"/>
                  </a:lnTo>
                  <a:lnTo>
                    <a:pt x="18524" y="3902"/>
                  </a:lnTo>
                  <a:lnTo>
                    <a:pt x="18494" y="3936"/>
                  </a:lnTo>
                  <a:lnTo>
                    <a:pt x="18467" y="3973"/>
                  </a:lnTo>
                  <a:lnTo>
                    <a:pt x="18442" y="4011"/>
                  </a:lnTo>
                  <a:lnTo>
                    <a:pt x="18416" y="4047"/>
                  </a:lnTo>
                  <a:lnTo>
                    <a:pt x="18389" y="4077"/>
                  </a:lnTo>
                  <a:lnTo>
                    <a:pt x="18366" y="4097"/>
                  </a:lnTo>
                  <a:lnTo>
                    <a:pt x="18337" y="4116"/>
                  </a:lnTo>
                  <a:lnTo>
                    <a:pt x="18266" y="4155"/>
                  </a:lnTo>
                  <a:lnTo>
                    <a:pt x="18261" y="4161"/>
                  </a:lnTo>
                  <a:lnTo>
                    <a:pt x="18253" y="4163"/>
                  </a:lnTo>
                  <a:lnTo>
                    <a:pt x="18207" y="4191"/>
                  </a:lnTo>
                  <a:lnTo>
                    <a:pt x="18169" y="4221"/>
                  </a:lnTo>
                  <a:lnTo>
                    <a:pt x="18153" y="4236"/>
                  </a:lnTo>
                  <a:lnTo>
                    <a:pt x="18147" y="4245"/>
                  </a:lnTo>
                  <a:lnTo>
                    <a:pt x="18142" y="4253"/>
                  </a:lnTo>
                  <a:lnTo>
                    <a:pt x="18134" y="4269"/>
                  </a:lnTo>
                  <a:lnTo>
                    <a:pt x="18131" y="4287"/>
                  </a:lnTo>
                  <a:lnTo>
                    <a:pt x="18133" y="4308"/>
                  </a:lnTo>
                  <a:lnTo>
                    <a:pt x="18137" y="4329"/>
                  </a:lnTo>
                  <a:lnTo>
                    <a:pt x="18256" y="4329"/>
                  </a:lnTo>
                  <a:lnTo>
                    <a:pt x="18261" y="4329"/>
                  </a:lnTo>
                  <a:lnTo>
                    <a:pt x="19046" y="4329"/>
                  </a:lnTo>
                  <a:lnTo>
                    <a:pt x="19830" y="4329"/>
                  </a:lnTo>
                  <a:lnTo>
                    <a:pt x="19825" y="4308"/>
                  </a:lnTo>
                  <a:lnTo>
                    <a:pt x="19819" y="4286"/>
                  </a:lnTo>
                  <a:lnTo>
                    <a:pt x="19810" y="4265"/>
                  </a:lnTo>
                  <a:lnTo>
                    <a:pt x="19801" y="4248"/>
                  </a:lnTo>
                  <a:lnTo>
                    <a:pt x="19778" y="4213"/>
                  </a:lnTo>
                  <a:lnTo>
                    <a:pt x="19764" y="4198"/>
                  </a:lnTo>
                  <a:lnTo>
                    <a:pt x="19748" y="4185"/>
                  </a:lnTo>
                  <a:lnTo>
                    <a:pt x="19733" y="4172"/>
                  </a:lnTo>
                  <a:lnTo>
                    <a:pt x="19716" y="4162"/>
                  </a:lnTo>
                  <a:lnTo>
                    <a:pt x="19698" y="4153"/>
                  </a:lnTo>
                  <a:lnTo>
                    <a:pt x="19679" y="4145"/>
                  </a:lnTo>
                  <a:lnTo>
                    <a:pt x="19660" y="4139"/>
                  </a:lnTo>
                  <a:lnTo>
                    <a:pt x="19639" y="4134"/>
                  </a:lnTo>
                  <a:lnTo>
                    <a:pt x="19597" y="4131"/>
                  </a:lnTo>
                  <a:close/>
                  <a:moveTo>
                    <a:pt x="18860" y="2743"/>
                  </a:moveTo>
                  <a:lnTo>
                    <a:pt x="18742" y="2904"/>
                  </a:lnTo>
                  <a:lnTo>
                    <a:pt x="18742" y="3047"/>
                  </a:lnTo>
                  <a:lnTo>
                    <a:pt x="18794" y="3040"/>
                  </a:lnTo>
                  <a:lnTo>
                    <a:pt x="18803" y="3039"/>
                  </a:lnTo>
                  <a:lnTo>
                    <a:pt x="18811" y="3043"/>
                  </a:lnTo>
                  <a:lnTo>
                    <a:pt x="18815" y="3048"/>
                  </a:lnTo>
                  <a:lnTo>
                    <a:pt x="18819" y="3056"/>
                  </a:lnTo>
                  <a:lnTo>
                    <a:pt x="18819" y="3062"/>
                  </a:lnTo>
                  <a:lnTo>
                    <a:pt x="18816" y="3070"/>
                  </a:lnTo>
                  <a:lnTo>
                    <a:pt x="18811" y="3075"/>
                  </a:lnTo>
                  <a:lnTo>
                    <a:pt x="18802" y="3079"/>
                  </a:lnTo>
                  <a:lnTo>
                    <a:pt x="18773" y="3084"/>
                  </a:lnTo>
                  <a:lnTo>
                    <a:pt x="18742" y="3086"/>
                  </a:lnTo>
                  <a:lnTo>
                    <a:pt x="18742" y="3827"/>
                  </a:lnTo>
                  <a:lnTo>
                    <a:pt x="18741" y="3836"/>
                  </a:lnTo>
                  <a:lnTo>
                    <a:pt x="18735" y="3842"/>
                  </a:lnTo>
                  <a:lnTo>
                    <a:pt x="18751" y="3845"/>
                  </a:lnTo>
                  <a:lnTo>
                    <a:pt x="18769" y="3845"/>
                  </a:lnTo>
                  <a:lnTo>
                    <a:pt x="18798" y="3845"/>
                  </a:lnTo>
                  <a:lnTo>
                    <a:pt x="18825" y="3843"/>
                  </a:lnTo>
                  <a:lnTo>
                    <a:pt x="18850" y="3840"/>
                  </a:lnTo>
                  <a:lnTo>
                    <a:pt x="18871" y="3835"/>
                  </a:lnTo>
                  <a:lnTo>
                    <a:pt x="18892" y="3826"/>
                  </a:lnTo>
                  <a:lnTo>
                    <a:pt x="18911" y="3815"/>
                  </a:lnTo>
                  <a:lnTo>
                    <a:pt x="18952" y="3782"/>
                  </a:lnTo>
                  <a:lnTo>
                    <a:pt x="18973" y="3767"/>
                  </a:lnTo>
                  <a:lnTo>
                    <a:pt x="18982" y="3760"/>
                  </a:lnTo>
                  <a:lnTo>
                    <a:pt x="18992" y="3755"/>
                  </a:lnTo>
                  <a:lnTo>
                    <a:pt x="19015" y="3748"/>
                  </a:lnTo>
                  <a:lnTo>
                    <a:pt x="19042" y="3745"/>
                  </a:lnTo>
                  <a:lnTo>
                    <a:pt x="19075" y="3748"/>
                  </a:lnTo>
                  <a:lnTo>
                    <a:pt x="19107" y="3751"/>
                  </a:lnTo>
                  <a:lnTo>
                    <a:pt x="19135" y="3758"/>
                  </a:lnTo>
                  <a:lnTo>
                    <a:pt x="19162" y="3768"/>
                  </a:lnTo>
                  <a:lnTo>
                    <a:pt x="19187" y="3780"/>
                  </a:lnTo>
                  <a:lnTo>
                    <a:pt x="19209" y="3794"/>
                  </a:lnTo>
                  <a:lnTo>
                    <a:pt x="19229" y="3809"/>
                  </a:lnTo>
                  <a:lnTo>
                    <a:pt x="19248" y="3827"/>
                  </a:lnTo>
                  <a:lnTo>
                    <a:pt x="19282" y="3866"/>
                  </a:lnTo>
                  <a:lnTo>
                    <a:pt x="19311" y="3911"/>
                  </a:lnTo>
                  <a:lnTo>
                    <a:pt x="19338" y="3960"/>
                  </a:lnTo>
                  <a:lnTo>
                    <a:pt x="19364" y="4012"/>
                  </a:lnTo>
                  <a:lnTo>
                    <a:pt x="19369" y="4021"/>
                  </a:lnTo>
                  <a:lnTo>
                    <a:pt x="19369" y="3649"/>
                  </a:lnTo>
                  <a:lnTo>
                    <a:pt x="19334" y="3663"/>
                  </a:lnTo>
                  <a:lnTo>
                    <a:pt x="19319" y="3670"/>
                  </a:lnTo>
                  <a:lnTo>
                    <a:pt x="19302" y="3676"/>
                  </a:lnTo>
                  <a:lnTo>
                    <a:pt x="19284" y="3676"/>
                  </a:lnTo>
                  <a:lnTo>
                    <a:pt x="19275" y="3675"/>
                  </a:lnTo>
                  <a:lnTo>
                    <a:pt x="19265" y="3671"/>
                  </a:lnTo>
                  <a:lnTo>
                    <a:pt x="19255" y="3666"/>
                  </a:lnTo>
                  <a:lnTo>
                    <a:pt x="19244" y="3658"/>
                  </a:lnTo>
                  <a:lnTo>
                    <a:pt x="19221" y="3634"/>
                  </a:lnTo>
                  <a:lnTo>
                    <a:pt x="19205" y="3616"/>
                  </a:lnTo>
                  <a:lnTo>
                    <a:pt x="19191" y="3604"/>
                  </a:lnTo>
                  <a:lnTo>
                    <a:pt x="19180" y="3598"/>
                  </a:lnTo>
                  <a:lnTo>
                    <a:pt x="19169" y="3595"/>
                  </a:lnTo>
                  <a:lnTo>
                    <a:pt x="19144" y="3594"/>
                  </a:lnTo>
                  <a:lnTo>
                    <a:pt x="19105" y="3590"/>
                  </a:lnTo>
                  <a:lnTo>
                    <a:pt x="19091" y="3586"/>
                  </a:lnTo>
                  <a:lnTo>
                    <a:pt x="19079" y="3581"/>
                  </a:lnTo>
                  <a:lnTo>
                    <a:pt x="19062" y="3567"/>
                  </a:lnTo>
                  <a:lnTo>
                    <a:pt x="19052" y="3549"/>
                  </a:lnTo>
                  <a:lnTo>
                    <a:pt x="19044" y="3530"/>
                  </a:lnTo>
                  <a:lnTo>
                    <a:pt x="19039" y="3510"/>
                  </a:lnTo>
                  <a:lnTo>
                    <a:pt x="19033" y="3489"/>
                  </a:lnTo>
                  <a:lnTo>
                    <a:pt x="19029" y="3480"/>
                  </a:lnTo>
                  <a:lnTo>
                    <a:pt x="19024" y="3471"/>
                  </a:lnTo>
                  <a:lnTo>
                    <a:pt x="19016" y="3464"/>
                  </a:lnTo>
                  <a:lnTo>
                    <a:pt x="19009" y="3457"/>
                  </a:lnTo>
                  <a:lnTo>
                    <a:pt x="18967" y="3434"/>
                  </a:lnTo>
                  <a:lnTo>
                    <a:pt x="18952" y="3424"/>
                  </a:lnTo>
                  <a:lnTo>
                    <a:pt x="18939" y="3414"/>
                  </a:lnTo>
                  <a:lnTo>
                    <a:pt x="18930" y="3400"/>
                  </a:lnTo>
                  <a:lnTo>
                    <a:pt x="18926" y="3383"/>
                  </a:lnTo>
                  <a:lnTo>
                    <a:pt x="18925" y="3361"/>
                  </a:lnTo>
                  <a:lnTo>
                    <a:pt x="18929" y="3333"/>
                  </a:lnTo>
                  <a:lnTo>
                    <a:pt x="18934" y="3304"/>
                  </a:lnTo>
                  <a:lnTo>
                    <a:pt x="18934" y="3285"/>
                  </a:lnTo>
                  <a:lnTo>
                    <a:pt x="18925" y="3267"/>
                  </a:lnTo>
                  <a:lnTo>
                    <a:pt x="18908" y="3242"/>
                  </a:lnTo>
                  <a:lnTo>
                    <a:pt x="18891" y="3216"/>
                  </a:lnTo>
                  <a:lnTo>
                    <a:pt x="18884" y="3199"/>
                  </a:lnTo>
                  <a:lnTo>
                    <a:pt x="18882" y="3181"/>
                  </a:lnTo>
                  <a:lnTo>
                    <a:pt x="18884" y="3162"/>
                  </a:lnTo>
                  <a:lnTo>
                    <a:pt x="18891" y="3145"/>
                  </a:lnTo>
                  <a:lnTo>
                    <a:pt x="18908" y="3118"/>
                  </a:lnTo>
                  <a:lnTo>
                    <a:pt x="18923" y="3098"/>
                  </a:lnTo>
                  <a:lnTo>
                    <a:pt x="18930" y="3083"/>
                  </a:lnTo>
                  <a:lnTo>
                    <a:pt x="18934" y="3070"/>
                  </a:lnTo>
                  <a:lnTo>
                    <a:pt x="18935" y="3060"/>
                  </a:lnTo>
                  <a:lnTo>
                    <a:pt x="18929" y="3035"/>
                  </a:lnTo>
                  <a:lnTo>
                    <a:pt x="18925" y="2996"/>
                  </a:lnTo>
                  <a:lnTo>
                    <a:pt x="18928" y="2969"/>
                  </a:lnTo>
                  <a:lnTo>
                    <a:pt x="18932" y="2959"/>
                  </a:lnTo>
                  <a:lnTo>
                    <a:pt x="18938" y="2950"/>
                  </a:lnTo>
                  <a:lnTo>
                    <a:pt x="18944" y="2942"/>
                  </a:lnTo>
                  <a:lnTo>
                    <a:pt x="18952" y="2936"/>
                  </a:lnTo>
                  <a:lnTo>
                    <a:pt x="18970" y="2924"/>
                  </a:lnTo>
                  <a:lnTo>
                    <a:pt x="19007" y="2904"/>
                  </a:lnTo>
                  <a:lnTo>
                    <a:pt x="19023" y="2891"/>
                  </a:lnTo>
                  <a:lnTo>
                    <a:pt x="19033" y="2872"/>
                  </a:lnTo>
                  <a:lnTo>
                    <a:pt x="19047" y="2828"/>
                  </a:lnTo>
                  <a:lnTo>
                    <a:pt x="19053" y="2810"/>
                  </a:lnTo>
                  <a:lnTo>
                    <a:pt x="19061" y="2796"/>
                  </a:lnTo>
                  <a:lnTo>
                    <a:pt x="19073" y="2785"/>
                  </a:lnTo>
                  <a:lnTo>
                    <a:pt x="19088" y="2776"/>
                  </a:lnTo>
                  <a:lnTo>
                    <a:pt x="19109" y="2771"/>
                  </a:lnTo>
                  <a:lnTo>
                    <a:pt x="19138" y="2768"/>
                  </a:lnTo>
                  <a:lnTo>
                    <a:pt x="19162" y="2766"/>
                  </a:lnTo>
                  <a:lnTo>
                    <a:pt x="19180" y="2763"/>
                  </a:lnTo>
                  <a:lnTo>
                    <a:pt x="19192" y="2758"/>
                  </a:lnTo>
                  <a:lnTo>
                    <a:pt x="19201" y="2751"/>
                  </a:lnTo>
                  <a:lnTo>
                    <a:pt x="19216" y="2732"/>
                  </a:lnTo>
                  <a:lnTo>
                    <a:pt x="19228" y="2719"/>
                  </a:lnTo>
                  <a:lnTo>
                    <a:pt x="19243" y="2704"/>
                  </a:lnTo>
                  <a:lnTo>
                    <a:pt x="19265" y="2690"/>
                  </a:lnTo>
                  <a:lnTo>
                    <a:pt x="19274" y="2686"/>
                  </a:lnTo>
                  <a:lnTo>
                    <a:pt x="19284" y="2685"/>
                  </a:lnTo>
                  <a:lnTo>
                    <a:pt x="19302" y="2686"/>
                  </a:lnTo>
                  <a:lnTo>
                    <a:pt x="19319" y="2691"/>
                  </a:lnTo>
                  <a:lnTo>
                    <a:pt x="19352" y="2707"/>
                  </a:lnTo>
                  <a:lnTo>
                    <a:pt x="19370" y="2713"/>
                  </a:lnTo>
                  <a:lnTo>
                    <a:pt x="19388" y="2716"/>
                  </a:lnTo>
                  <a:lnTo>
                    <a:pt x="19410" y="2712"/>
                  </a:lnTo>
                  <a:lnTo>
                    <a:pt x="19429" y="2705"/>
                  </a:lnTo>
                  <a:lnTo>
                    <a:pt x="19448" y="2696"/>
                  </a:lnTo>
                  <a:lnTo>
                    <a:pt x="19466" y="2689"/>
                  </a:lnTo>
                  <a:lnTo>
                    <a:pt x="19486" y="2685"/>
                  </a:lnTo>
                  <a:lnTo>
                    <a:pt x="19506" y="2688"/>
                  </a:lnTo>
                  <a:lnTo>
                    <a:pt x="19518" y="2694"/>
                  </a:lnTo>
                  <a:lnTo>
                    <a:pt x="19529" y="2702"/>
                  </a:lnTo>
                  <a:lnTo>
                    <a:pt x="19556" y="2727"/>
                  </a:lnTo>
                  <a:lnTo>
                    <a:pt x="19573" y="2746"/>
                  </a:lnTo>
                  <a:lnTo>
                    <a:pt x="19586" y="2758"/>
                  </a:lnTo>
                  <a:lnTo>
                    <a:pt x="19597" y="2764"/>
                  </a:lnTo>
                  <a:lnTo>
                    <a:pt x="19607" y="2767"/>
                  </a:lnTo>
                  <a:lnTo>
                    <a:pt x="19633" y="2767"/>
                  </a:lnTo>
                  <a:lnTo>
                    <a:pt x="19673" y="2771"/>
                  </a:lnTo>
                  <a:lnTo>
                    <a:pt x="19687" y="2774"/>
                  </a:lnTo>
                  <a:lnTo>
                    <a:pt x="19698" y="2780"/>
                  </a:lnTo>
                  <a:lnTo>
                    <a:pt x="19715" y="2794"/>
                  </a:lnTo>
                  <a:lnTo>
                    <a:pt x="19725" y="2812"/>
                  </a:lnTo>
                  <a:lnTo>
                    <a:pt x="19732" y="2832"/>
                  </a:lnTo>
                  <a:lnTo>
                    <a:pt x="19737" y="2852"/>
                  </a:lnTo>
                  <a:lnTo>
                    <a:pt x="19743" y="2872"/>
                  </a:lnTo>
                  <a:lnTo>
                    <a:pt x="19748" y="2881"/>
                  </a:lnTo>
                  <a:lnTo>
                    <a:pt x="19754" y="2890"/>
                  </a:lnTo>
                  <a:lnTo>
                    <a:pt x="19760" y="2897"/>
                  </a:lnTo>
                  <a:lnTo>
                    <a:pt x="19769" y="2904"/>
                  </a:lnTo>
                  <a:lnTo>
                    <a:pt x="19809" y="2927"/>
                  </a:lnTo>
                  <a:lnTo>
                    <a:pt x="19825" y="2937"/>
                  </a:lnTo>
                  <a:lnTo>
                    <a:pt x="19837" y="2948"/>
                  </a:lnTo>
                  <a:lnTo>
                    <a:pt x="19846" y="2961"/>
                  </a:lnTo>
                  <a:lnTo>
                    <a:pt x="19851" y="2978"/>
                  </a:lnTo>
                  <a:lnTo>
                    <a:pt x="19852" y="3000"/>
                  </a:lnTo>
                  <a:lnTo>
                    <a:pt x="19848" y="3028"/>
                  </a:lnTo>
                  <a:lnTo>
                    <a:pt x="19843" y="3057"/>
                  </a:lnTo>
                  <a:lnTo>
                    <a:pt x="19843" y="3076"/>
                  </a:lnTo>
                  <a:lnTo>
                    <a:pt x="19851" y="3094"/>
                  </a:lnTo>
                  <a:lnTo>
                    <a:pt x="19869" y="3118"/>
                  </a:lnTo>
                  <a:lnTo>
                    <a:pt x="19887" y="3145"/>
                  </a:lnTo>
                  <a:lnTo>
                    <a:pt x="19893" y="3162"/>
                  </a:lnTo>
                  <a:lnTo>
                    <a:pt x="19896" y="3181"/>
                  </a:lnTo>
                  <a:lnTo>
                    <a:pt x="19893" y="3199"/>
                  </a:lnTo>
                  <a:lnTo>
                    <a:pt x="19887" y="3216"/>
                  </a:lnTo>
                  <a:lnTo>
                    <a:pt x="19878" y="3230"/>
                  </a:lnTo>
                  <a:lnTo>
                    <a:pt x="19868" y="3244"/>
                  </a:lnTo>
                  <a:lnTo>
                    <a:pt x="19857" y="3258"/>
                  </a:lnTo>
                  <a:lnTo>
                    <a:pt x="19848" y="3272"/>
                  </a:lnTo>
                  <a:lnTo>
                    <a:pt x="19843" y="3287"/>
                  </a:lnTo>
                  <a:lnTo>
                    <a:pt x="19843" y="3305"/>
                  </a:lnTo>
                  <a:lnTo>
                    <a:pt x="19850" y="3351"/>
                  </a:lnTo>
                  <a:lnTo>
                    <a:pt x="19852" y="3369"/>
                  </a:lnTo>
                  <a:lnTo>
                    <a:pt x="19851" y="3386"/>
                  </a:lnTo>
                  <a:lnTo>
                    <a:pt x="19846" y="3401"/>
                  </a:lnTo>
                  <a:lnTo>
                    <a:pt x="19836" y="3415"/>
                  </a:lnTo>
                  <a:lnTo>
                    <a:pt x="19819" y="3429"/>
                  </a:lnTo>
                  <a:lnTo>
                    <a:pt x="19795" y="3445"/>
                  </a:lnTo>
                  <a:lnTo>
                    <a:pt x="19773" y="3456"/>
                  </a:lnTo>
                  <a:lnTo>
                    <a:pt x="19759" y="3466"/>
                  </a:lnTo>
                  <a:lnTo>
                    <a:pt x="19750" y="3476"/>
                  </a:lnTo>
                  <a:lnTo>
                    <a:pt x="19745" y="3485"/>
                  </a:lnTo>
                  <a:lnTo>
                    <a:pt x="19739" y="3510"/>
                  </a:lnTo>
                  <a:lnTo>
                    <a:pt x="19734" y="3526"/>
                  </a:lnTo>
                  <a:lnTo>
                    <a:pt x="19727" y="3547"/>
                  </a:lnTo>
                  <a:lnTo>
                    <a:pt x="19711" y="3570"/>
                  </a:lnTo>
                  <a:lnTo>
                    <a:pt x="19704" y="3579"/>
                  </a:lnTo>
                  <a:lnTo>
                    <a:pt x="19695" y="3584"/>
                  </a:lnTo>
                  <a:lnTo>
                    <a:pt x="19674" y="3590"/>
                  </a:lnTo>
                  <a:lnTo>
                    <a:pt x="19653" y="3593"/>
                  </a:lnTo>
                  <a:lnTo>
                    <a:pt x="19632" y="3593"/>
                  </a:lnTo>
                  <a:lnTo>
                    <a:pt x="19611" y="3594"/>
                  </a:lnTo>
                  <a:lnTo>
                    <a:pt x="19592" y="3601"/>
                  </a:lnTo>
                  <a:lnTo>
                    <a:pt x="19583" y="3606"/>
                  </a:lnTo>
                  <a:lnTo>
                    <a:pt x="19575" y="3612"/>
                  </a:lnTo>
                  <a:lnTo>
                    <a:pt x="19543" y="3647"/>
                  </a:lnTo>
                  <a:lnTo>
                    <a:pt x="19530" y="3659"/>
                  </a:lnTo>
                  <a:lnTo>
                    <a:pt x="19516" y="3668"/>
                  </a:lnTo>
                  <a:lnTo>
                    <a:pt x="19501" y="3675"/>
                  </a:lnTo>
                  <a:lnTo>
                    <a:pt x="19484" y="3676"/>
                  </a:lnTo>
                  <a:lnTo>
                    <a:pt x="19462" y="3671"/>
                  </a:lnTo>
                  <a:lnTo>
                    <a:pt x="19436" y="3661"/>
                  </a:lnTo>
                  <a:lnTo>
                    <a:pt x="19409" y="3649"/>
                  </a:lnTo>
                  <a:lnTo>
                    <a:pt x="19409" y="4083"/>
                  </a:lnTo>
                  <a:lnTo>
                    <a:pt x="19409" y="4086"/>
                  </a:lnTo>
                  <a:lnTo>
                    <a:pt x="19420" y="4099"/>
                  </a:lnTo>
                  <a:lnTo>
                    <a:pt x="19434" y="4109"/>
                  </a:lnTo>
                  <a:lnTo>
                    <a:pt x="19448" y="4117"/>
                  </a:lnTo>
                  <a:lnTo>
                    <a:pt x="19465" y="4118"/>
                  </a:lnTo>
                  <a:lnTo>
                    <a:pt x="19498" y="4115"/>
                  </a:lnTo>
                  <a:lnTo>
                    <a:pt x="19530" y="4104"/>
                  </a:lnTo>
                  <a:lnTo>
                    <a:pt x="19564" y="4095"/>
                  </a:lnTo>
                  <a:lnTo>
                    <a:pt x="19597" y="4090"/>
                  </a:lnTo>
                  <a:lnTo>
                    <a:pt x="19629" y="4093"/>
                  </a:lnTo>
                  <a:lnTo>
                    <a:pt x="19660" y="4098"/>
                  </a:lnTo>
                  <a:lnTo>
                    <a:pt x="19688" y="4106"/>
                  </a:lnTo>
                  <a:lnTo>
                    <a:pt x="19715" y="4116"/>
                  </a:lnTo>
                  <a:lnTo>
                    <a:pt x="19739" y="4130"/>
                  </a:lnTo>
                  <a:lnTo>
                    <a:pt x="19761" y="4144"/>
                  </a:lnTo>
                  <a:lnTo>
                    <a:pt x="19782" y="4161"/>
                  </a:lnTo>
                  <a:lnTo>
                    <a:pt x="19800" y="4178"/>
                  </a:lnTo>
                  <a:lnTo>
                    <a:pt x="19830" y="4217"/>
                  </a:lnTo>
                  <a:lnTo>
                    <a:pt x="19842" y="4236"/>
                  </a:lnTo>
                  <a:lnTo>
                    <a:pt x="19852" y="4255"/>
                  </a:lnTo>
                  <a:lnTo>
                    <a:pt x="19861" y="4274"/>
                  </a:lnTo>
                  <a:lnTo>
                    <a:pt x="19866" y="4292"/>
                  </a:lnTo>
                  <a:lnTo>
                    <a:pt x="19871" y="4309"/>
                  </a:lnTo>
                  <a:lnTo>
                    <a:pt x="19874" y="4324"/>
                  </a:lnTo>
                  <a:lnTo>
                    <a:pt x="20236" y="4324"/>
                  </a:lnTo>
                  <a:lnTo>
                    <a:pt x="20236" y="4017"/>
                  </a:lnTo>
                  <a:lnTo>
                    <a:pt x="20238" y="4008"/>
                  </a:lnTo>
                  <a:lnTo>
                    <a:pt x="20242" y="4002"/>
                  </a:lnTo>
                  <a:lnTo>
                    <a:pt x="20248" y="3998"/>
                  </a:lnTo>
                  <a:lnTo>
                    <a:pt x="20256" y="3997"/>
                  </a:lnTo>
                  <a:lnTo>
                    <a:pt x="20264" y="3998"/>
                  </a:lnTo>
                  <a:lnTo>
                    <a:pt x="20270" y="4002"/>
                  </a:lnTo>
                  <a:lnTo>
                    <a:pt x="20274" y="4008"/>
                  </a:lnTo>
                  <a:lnTo>
                    <a:pt x="20277" y="4017"/>
                  </a:lnTo>
                  <a:lnTo>
                    <a:pt x="20277" y="4324"/>
                  </a:lnTo>
                  <a:lnTo>
                    <a:pt x="20482" y="4324"/>
                  </a:lnTo>
                  <a:lnTo>
                    <a:pt x="20482" y="3670"/>
                  </a:lnTo>
                  <a:lnTo>
                    <a:pt x="20482" y="3016"/>
                  </a:lnTo>
                  <a:lnTo>
                    <a:pt x="20024" y="3016"/>
                  </a:lnTo>
                  <a:lnTo>
                    <a:pt x="20024" y="3584"/>
                  </a:lnTo>
                  <a:lnTo>
                    <a:pt x="20024" y="4152"/>
                  </a:lnTo>
                  <a:lnTo>
                    <a:pt x="20023" y="4161"/>
                  </a:lnTo>
                  <a:lnTo>
                    <a:pt x="20018" y="4167"/>
                  </a:lnTo>
                  <a:lnTo>
                    <a:pt x="20011" y="4171"/>
                  </a:lnTo>
                  <a:lnTo>
                    <a:pt x="20005" y="4172"/>
                  </a:lnTo>
                  <a:lnTo>
                    <a:pt x="19997" y="4171"/>
                  </a:lnTo>
                  <a:lnTo>
                    <a:pt x="19991" y="4167"/>
                  </a:lnTo>
                  <a:lnTo>
                    <a:pt x="19986" y="4161"/>
                  </a:lnTo>
                  <a:lnTo>
                    <a:pt x="19984" y="4152"/>
                  </a:lnTo>
                  <a:lnTo>
                    <a:pt x="19984" y="3451"/>
                  </a:lnTo>
                  <a:lnTo>
                    <a:pt x="19984" y="2750"/>
                  </a:lnTo>
                  <a:lnTo>
                    <a:pt x="19946" y="2750"/>
                  </a:lnTo>
                  <a:lnTo>
                    <a:pt x="19939" y="2748"/>
                  </a:lnTo>
                  <a:lnTo>
                    <a:pt x="19933" y="2744"/>
                  </a:lnTo>
                  <a:lnTo>
                    <a:pt x="19928" y="2737"/>
                  </a:lnTo>
                  <a:lnTo>
                    <a:pt x="19927" y="2730"/>
                  </a:lnTo>
                  <a:lnTo>
                    <a:pt x="19927" y="2576"/>
                  </a:lnTo>
                  <a:lnTo>
                    <a:pt x="19928" y="2569"/>
                  </a:lnTo>
                  <a:lnTo>
                    <a:pt x="19933" y="2562"/>
                  </a:lnTo>
                  <a:lnTo>
                    <a:pt x="19939" y="2558"/>
                  </a:lnTo>
                  <a:lnTo>
                    <a:pt x="19946" y="2556"/>
                  </a:lnTo>
                  <a:lnTo>
                    <a:pt x="19998" y="2556"/>
                  </a:lnTo>
                  <a:lnTo>
                    <a:pt x="20041" y="2500"/>
                  </a:lnTo>
                  <a:lnTo>
                    <a:pt x="20089" y="2443"/>
                  </a:lnTo>
                  <a:lnTo>
                    <a:pt x="20116" y="2418"/>
                  </a:lnTo>
                  <a:lnTo>
                    <a:pt x="20143" y="2391"/>
                  </a:lnTo>
                  <a:lnTo>
                    <a:pt x="20201" y="2340"/>
                  </a:lnTo>
                  <a:lnTo>
                    <a:pt x="20264" y="2292"/>
                  </a:lnTo>
                  <a:lnTo>
                    <a:pt x="20331" y="2246"/>
                  </a:lnTo>
                  <a:lnTo>
                    <a:pt x="20402" y="2203"/>
                  </a:lnTo>
                  <a:lnTo>
                    <a:pt x="20477" y="2163"/>
                  </a:lnTo>
                  <a:lnTo>
                    <a:pt x="20556" y="2126"/>
                  </a:lnTo>
                  <a:lnTo>
                    <a:pt x="20638" y="2092"/>
                  </a:lnTo>
                  <a:lnTo>
                    <a:pt x="20681" y="2075"/>
                  </a:lnTo>
                  <a:lnTo>
                    <a:pt x="20724" y="2060"/>
                  </a:lnTo>
                  <a:lnTo>
                    <a:pt x="20813" y="2033"/>
                  </a:lnTo>
                  <a:lnTo>
                    <a:pt x="20904" y="2009"/>
                  </a:lnTo>
                  <a:lnTo>
                    <a:pt x="20999" y="1987"/>
                  </a:lnTo>
                  <a:lnTo>
                    <a:pt x="21095" y="1970"/>
                  </a:lnTo>
                  <a:lnTo>
                    <a:pt x="21194" y="1956"/>
                  </a:lnTo>
                  <a:lnTo>
                    <a:pt x="21194" y="1775"/>
                  </a:lnTo>
                  <a:lnTo>
                    <a:pt x="21196" y="1759"/>
                  </a:lnTo>
                  <a:lnTo>
                    <a:pt x="21200" y="1744"/>
                  </a:lnTo>
                  <a:lnTo>
                    <a:pt x="21209" y="1730"/>
                  </a:lnTo>
                  <a:lnTo>
                    <a:pt x="21219" y="1717"/>
                  </a:lnTo>
                  <a:lnTo>
                    <a:pt x="21232" y="1705"/>
                  </a:lnTo>
                  <a:lnTo>
                    <a:pt x="21247" y="1694"/>
                  </a:lnTo>
                  <a:lnTo>
                    <a:pt x="21265" y="1684"/>
                  </a:lnTo>
                  <a:lnTo>
                    <a:pt x="21285" y="1675"/>
                  </a:lnTo>
                  <a:lnTo>
                    <a:pt x="21329" y="1659"/>
                  </a:lnTo>
                  <a:lnTo>
                    <a:pt x="21378" y="1648"/>
                  </a:lnTo>
                  <a:lnTo>
                    <a:pt x="21429" y="1642"/>
                  </a:lnTo>
                  <a:lnTo>
                    <a:pt x="21483" y="1639"/>
                  </a:lnTo>
                  <a:lnTo>
                    <a:pt x="21537" y="1642"/>
                  </a:lnTo>
                  <a:lnTo>
                    <a:pt x="21590" y="1648"/>
                  </a:lnTo>
                  <a:lnTo>
                    <a:pt x="21614" y="1653"/>
                  </a:lnTo>
                  <a:lnTo>
                    <a:pt x="21638" y="1659"/>
                  </a:lnTo>
                  <a:lnTo>
                    <a:pt x="21660" y="1666"/>
                  </a:lnTo>
                  <a:lnTo>
                    <a:pt x="21682" y="1675"/>
                  </a:lnTo>
                  <a:lnTo>
                    <a:pt x="21719" y="1694"/>
                  </a:lnTo>
                  <a:lnTo>
                    <a:pt x="21747" y="1717"/>
                  </a:lnTo>
                  <a:lnTo>
                    <a:pt x="21759" y="1730"/>
                  </a:lnTo>
                  <a:lnTo>
                    <a:pt x="21767" y="1744"/>
                  </a:lnTo>
                  <a:lnTo>
                    <a:pt x="21772" y="1759"/>
                  </a:lnTo>
                  <a:lnTo>
                    <a:pt x="21773" y="1775"/>
                  </a:lnTo>
                  <a:lnTo>
                    <a:pt x="21773" y="1956"/>
                  </a:lnTo>
                  <a:lnTo>
                    <a:pt x="21872" y="1970"/>
                  </a:lnTo>
                  <a:lnTo>
                    <a:pt x="21969" y="1987"/>
                  </a:lnTo>
                  <a:lnTo>
                    <a:pt x="22063" y="2009"/>
                  </a:lnTo>
                  <a:lnTo>
                    <a:pt x="22155" y="2033"/>
                  </a:lnTo>
                  <a:lnTo>
                    <a:pt x="22244" y="2060"/>
                  </a:lnTo>
                  <a:lnTo>
                    <a:pt x="22328" y="2092"/>
                  </a:lnTo>
                  <a:lnTo>
                    <a:pt x="22412" y="2126"/>
                  </a:lnTo>
                  <a:lnTo>
                    <a:pt x="22490" y="2163"/>
                  </a:lnTo>
                  <a:lnTo>
                    <a:pt x="22566" y="2203"/>
                  </a:lnTo>
                  <a:lnTo>
                    <a:pt x="22601" y="2225"/>
                  </a:lnTo>
                  <a:lnTo>
                    <a:pt x="22636" y="2246"/>
                  </a:lnTo>
                  <a:lnTo>
                    <a:pt x="22703" y="2292"/>
                  </a:lnTo>
                  <a:lnTo>
                    <a:pt x="22766" y="2340"/>
                  </a:lnTo>
                  <a:lnTo>
                    <a:pt x="22795" y="2365"/>
                  </a:lnTo>
                  <a:lnTo>
                    <a:pt x="22825" y="2391"/>
                  </a:lnTo>
                  <a:lnTo>
                    <a:pt x="22877" y="2445"/>
                  </a:lnTo>
                  <a:lnTo>
                    <a:pt x="22926" y="2500"/>
                  </a:lnTo>
                  <a:lnTo>
                    <a:pt x="22969" y="2556"/>
                  </a:lnTo>
                  <a:lnTo>
                    <a:pt x="23021" y="2556"/>
                  </a:lnTo>
                  <a:lnTo>
                    <a:pt x="23028" y="2558"/>
                  </a:lnTo>
                  <a:lnTo>
                    <a:pt x="23035" y="2562"/>
                  </a:lnTo>
                  <a:lnTo>
                    <a:pt x="23039" y="2569"/>
                  </a:lnTo>
                  <a:lnTo>
                    <a:pt x="23040" y="2576"/>
                  </a:lnTo>
                  <a:lnTo>
                    <a:pt x="23040" y="2730"/>
                  </a:lnTo>
                  <a:lnTo>
                    <a:pt x="23039" y="2737"/>
                  </a:lnTo>
                  <a:lnTo>
                    <a:pt x="23035" y="2744"/>
                  </a:lnTo>
                  <a:lnTo>
                    <a:pt x="23028" y="2748"/>
                  </a:lnTo>
                  <a:lnTo>
                    <a:pt x="23021" y="2750"/>
                  </a:lnTo>
                  <a:lnTo>
                    <a:pt x="22982" y="2750"/>
                  </a:lnTo>
                  <a:lnTo>
                    <a:pt x="22982" y="3547"/>
                  </a:lnTo>
                  <a:lnTo>
                    <a:pt x="22982" y="4345"/>
                  </a:lnTo>
                  <a:lnTo>
                    <a:pt x="22981" y="4352"/>
                  </a:lnTo>
                  <a:lnTo>
                    <a:pt x="22977" y="4359"/>
                  </a:lnTo>
                  <a:lnTo>
                    <a:pt x="22971" y="4363"/>
                  </a:lnTo>
                  <a:lnTo>
                    <a:pt x="22963" y="4365"/>
                  </a:lnTo>
                  <a:lnTo>
                    <a:pt x="22717" y="4365"/>
                  </a:lnTo>
                  <a:lnTo>
                    <a:pt x="21733" y="4365"/>
                  </a:lnTo>
                  <a:lnTo>
                    <a:pt x="21241" y="4365"/>
                  </a:lnTo>
                  <a:lnTo>
                    <a:pt x="20749" y="4365"/>
                  </a:lnTo>
                  <a:lnTo>
                    <a:pt x="20257" y="4365"/>
                  </a:lnTo>
                  <a:lnTo>
                    <a:pt x="19865" y="4365"/>
                  </a:lnTo>
                  <a:lnTo>
                    <a:pt x="19859" y="4368"/>
                  </a:lnTo>
                  <a:lnTo>
                    <a:pt x="19852" y="4369"/>
                  </a:lnTo>
                  <a:lnTo>
                    <a:pt x="18987" y="4369"/>
                  </a:lnTo>
                  <a:lnTo>
                    <a:pt x="18122" y="4369"/>
                  </a:lnTo>
                  <a:lnTo>
                    <a:pt x="18119" y="4369"/>
                  </a:lnTo>
                  <a:lnTo>
                    <a:pt x="17558" y="4369"/>
                  </a:lnTo>
                  <a:lnTo>
                    <a:pt x="17549" y="4366"/>
                  </a:lnTo>
                  <a:lnTo>
                    <a:pt x="17543" y="4363"/>
                  </a:lnTo>
                  <a:lnTo>
                    <a:pt x="17540" y="4356"/>
                  </a:lnTo>
                  <a:lnTo>
                    <a:pt x="17539" y="4349"/>
                  </a:lnTo>
                  <a:lnTo>
                    <a:pt x="17540" y="4341"/>
                  </a:lnTo>
                  <a:lnTo>
                    <a:pt x="17543" y="4334"/>
                  </a:lnTo>
                  <a:lnTo>
                    <a:pt x="17549" y="4331"/>
                  </a:lnTo>
                  <a:lnTo>
                    <a:pt x="17558" y="4329"/>
                  </a:lnTo>
                  <a:lnTo>
                    <a:pt x="18096" y="4329"/>
                  </a:lnTo>
                  <a:lnTo>
                    <a:pt x="18092" y="4305"/>
                  </a:lnTo>
                  <a:lnTo>
                    <a:pt x="18090" y="4287"/>
                  </a:lnTo>
                  <a:lnTo>
                    <a:pt x="18094" y="4262"/>
                  </a:lnTo>
                  <a:lnTo>
                    <a:pt x="18103" y="4237"/>
                  </a:lnTo>
                  <a:lnTo>
                    <a:pt x="18116" y="4216"/>
                  </a:lnTo>
                  <a:lnTo>
                    <a:pt x="18134" y="4196"/>
                  </a:lnTo>
                  <a:lnTo>
                    <a:pt x="18155" y="4178"/>
                  </a:lnTo>
                  <a:lnTo>
                    <a:pt x="18178" y="4162"/>
                  </a:lnTo>
                  <a:lnTo>
                    <a:pt x="18230" y="4131"/>
                  </a:lnTo>
                  <a:lnTo>
                    <a:pt x="18213" y="3595"/>
                  </a:lnTo>
                  <a:lnTo>
                    <a:pt x="18197" y="3061"/>
                  </a:lnTo>
                  <a:lnTo>
                    <a:pt x="17607" y="2249"/>
                  </a:lnTo>
                  <a:lnTo>
                    <a:pt x="17579" y="2705"/>
                  </a:lnTo>
                  <a:lnTo>
                    <a:pt x="17576" y="2714"/>
                  </a:lnTo>
                  <a:lnTo>
                    <a:pt x="17571" y="2719"/>
                  </a:lnTo>
                  <a:lnTo>
                    <a:pt x="17557" y="2725"/>
                  </a:lnTo>
                  <a:lnTo>
                    <a:pt x="17551" y="2722"/>
                  </a:lnTo>
                  <a:lnTo>
                    <a:pt x="17544" y="2718"/>
                  </a:lnTo>
                  <a:lnTo>
                    <a:pt x="17540" y="2712"/>
                  </a:lnTo>
                  <a:lnTo>
                    <a:pt x="17539" y="2703"/>
                  </a:lnTo>
                  <a:lnTo>
                    <a:pt x="17570" y="2195"/>
                  </a:lnTo>
                  <a:lnTo>
                    <a:pt x="17571" y="2188"/>
                  </a:lnTo>
                  <a:lnTo>
                    <a:pt x="17597" y="1763"/>
                  </a:lnTo>
                  <a:lnTo>
                    <a:pt x="17597" y="1755"/>
                  </a:lnTo>
                  <a:lnTo>
                    <a:pt x="17640" y="1058"/>
                  </a:lnTo>
                  <a:lnTo>
                    <a:pt x="17622" y="1058"/>
                  </a:lnTo>
                  <a:lnTo>
                    <a:pt x="17615" y="1057"/>
                  </a:lnTo>
                  <a:lnTo>
                    <a:pt x="17608" y="1053"/>
                  </a:lnTo>
                  <a:lnTo>
                    <a:pt x="17604" y="1047"/>
                  </a:lnTo>
                  <a:lnTo>
                    <a:pt x="17603" y="1039"/>
                  </a:lnTo>
                  <a:lnTo>
                    <a:pt x="17603" y="943"/>
                  </a:lnTo>
                  <a:lnTo>
                    <a:pt x="17604" y="936"/>
                  </a:lnTo>
                  <a:lnTo>
                    <a:pt x="17608" y="929"/>
                  </a:lnTo>
                  <a:lnTo>
                    <a:pt x="17615" y="925"/>
                  </a:lnTo>
                  <a:lnTo>
                    <a:pt x="17622" y="924"/>
                  </a:lnTo>
                  <a:lnTo>
                    <a:pt x="18192" y="924"/>
                  </a:lnTo>
                  <a:lnTo>
                    <a:pt x="18199" y="925"/>
                  </a:lnTo>
                  <a:lnTo>
                    <a:pt x="18206" y="929"/>
                  </a:lnTo>
                  <a:lnTo>
                    <a:pt x="18211" y="936"/>
                  </a:lnTo>
                  <a:lnTo>
                    <a:pt x="18212" y="943"/>
                  </a:lnTo>
                  <a:lnTo>
                    <a:pt x="18212" y="1039"/>
                  </a:lnTo>
                  <a:lnTo>
                    <a:pt x="18211" y="1047"/>
                  </a:lnTo>
                  <a:lnTo>
                    <a:pt x="18206" y="1053"/>
                  </a:lnTo>
                  <a:lnTo>
                    <a:pt x="18199" y="1057"/>
                  </a:lnTo>
                  <a:lnTo>
                    <a:pt x="18192" y="1058"/>
                  </a:lnTo>
                  <a:lnTo>
                    <a:pt x="18174" y="1058"/>
                  </a:lnTo>
                  <a:lnTo>
                    <a:pt x="18201" y="1919"/>
                  </a:lnTo>
                  <a:lnTo>
                    <a:pt x="18930" y="1919"/>
                  </a:lnTo>
                  <a:lnTo>
                    <a:pt x="19661" y="1919"/>
                  </a:lnTo>
                  <a:lnTo>
                    <a:pt x="19698" y="1158"/>
                  </a:lnTo>
                  <a:lnTo>
                    <a:pt x="19736" y="399"/>
                  </a:lnTo>
                  <a:lnTo>
                    <a:pt x="19738" y="392"/>
                  </a:lnTo>
                  <a:lnTo>
                    <a:pt x="19742" y="386"/>
                  </a:lnTo>
                  <a:lnTo>
                    <a:pt x="19748" y="382"/>
                  </a:lnTo>
                  <a:lnTo>
                    <a:pt x="19756" y="381"/>
                  </a:lnTo>
                  <a:lnTo>
                    <a:pt x="20084" y="381"/>
                  </a:lnTo>
                  <a:lnTo>
                    <a:pt x="20092" y="382"/>
                  </a:lnTo>
                  <a:lnTo>
                    <a:pt x="20098" y="386"/>
                  </a:lnTo>
                  <a:lnTo>
                    <a:pt x="20102" y="392"/>
                  </a:lnTo>
                  <a:lnTo>
                    <a:pt x="20105" y="399"/>
                  </a:lnTo>
                  <a:lnTo>
                    <a:pt x="20142" y="1126"/>
                  </a:lnTo>
                  <a:lnTo>
                    <a:pt x="20181" y="1855"/>
                  </a:lnTo>
                  <a:lnTo>
                    <a:pt x="20179" y="1864"/>
                  </a:lnTo>
                  <a:lnTo>
                    <a:pt x="20175" y="1870"/>
                  </a:lnTo>
                  <a:lnTo>
                    <a:pt x="20169" y="1874"/>
                  </a:lnTo>
                  <a:lnTo>
                    <a:pt x="20161" y="1877"/>
                  </a:lnTo>
                  <a:lnTo>
                    <a:pt x="20147" y="1872"/>
                  </a:lnTo>
                  <a:lnTo>
                    <a:pt x="20143" y="1867"/>
                  </a:lnTo>
                  <a:lnTo>
                    <a:pt x="20141" y="1858"/>
                  </a:lnTo>
                  <a:lnTo>
                    <a:pt x="20102" y="1139"/>
                  </a:lnTo>
                  <a:lnTo>
                    <a:pt x="20065" y="420"/>
                  </a:lnTo>
                  <a:lnTo>
                    <a:pt x="19775" y="420"/>
                  </a:lnTo>
                  <a:lnTo>
                    <a:pt x="19737" y="1180"/>
                  </a:lnTo>
                  <a:lnTo>
                    <a:pt x="19700" y="1939"/>
                  </a:lnTo>
                  <a:lnTo>
                    <a:pt x="19700" y="1942"/>
                  </a:lnTo>
                  <a:lnTo>
                    <a:pt x="19698" y="1947"/>
                  </a:lnTo>
                  <a:lnTo>
                    <a:pt x="19695" y="1952"/>
                  </a:lnTo>
                  <a:lnTo>
                    <a:pt x="19688" y="1956"/>
                  </a:lnTo>
                  <a:lnTo>
                    <a:pt x="19682" y="1959"/>
                  </a:lnTo>
                  <a:lnTo>
                    <a:pt x="18942" y="1959"/>
                  </a:lnTo>
                  <a:lnTo>
                    <a:pt x="18202" y="1959"/>
                  </a:lnTo>
                  <a:lnTo>
                    <a:pt x="18221" y="2560"/>
                  </a:lnTo>
                  <a:lnTo>
                    <a:pt x="18221" y="2567"/>
                  </a:lnTo>
                  <a:lnTo>
                    <a:pt x="18244" y="3338"/>
                  </a:lnTo>
                  <a:lnTo>
                    <a:pt x="18269" y="4111"/>
                  </a:lnTo>
                  <a:lnTo>
                    <a:pt x="18320" y="4081"/>
                  </a:lnTo>
                  <a:lnTo>
                    <a:pt x="18342" y="4066"/>
                  </a:lnTo>
                  <a:lnTo>
                    <a:pt x="18361" y="4049"/>
                  </a:lnTo>
                  <a:lnTo>
                    <a:pt x="18392" y="4015"/>
                  </a:lnTo>
                  <a:lnTo>
                    <a:pt x="18419" y="3976"/>
                  </a:lnTo>
                  <a:lnTo>
                    <a:pt x="18447" y="3936"/>
                  </a:lnTo>
                  <a:lnTo>
                    <a:pt x="18475" y="3897"/>
                  </a:lnTo>
                  <a:lnTo>
                    <a:pt x="18506" y="3863"/>
                  </a:lnTo>
                  <a:lnTo>
                    <a:pt x="18524" y="3849"/>
                  </a:lnTo>
                  <a:lnTo>
                    <a:pt x="18542" y="3835"/>
                  </a:lnTo>
                  <a:lnTo>
                    <a:pt x="18562" y="3824"/>
                  </a:lnTo>
                  <a:lnTo>
                    <a:pt x="18585" y="3817"/>
                  </a:lnTo>
                  <a:lnTo>
                    <a:pt x="18610" y="3811"/>
                  </a:lnTo>
                  <a:lnTo>
                    <a:pt x="18637" y="3810"/>
                  </a:lnTo>
                  <a:lnTo>
                    <a:pt x="18656" y="3811"/>
                  </a:lnTo>
                  <a:lnTo>
                    <a:pt x="18673" y="3817"/>
                  </a:lnTo>
                  <a:lnTo>
                    <a:pt x="18702" y="3831"/>
                  </a:lnTo>
                  <a:lnTo>
                    <a:pt x="18702" y="3827"/>
                  </a:lnTo>
                  <a:lnTo>
                    <a:pt x="18702" y="3086"/>
                  </a:lnTo>
                  <a:lnTo>
                    <a:pt x="18664" y="3083"/>
                  </a:lnTo>
                  <a:lnTo>
                    <a:pt x="18625" y="3075"/>
                  </a:lnTo>
                  <a:lnTo>
                    <a:pt x="18588" y="3065"/>
                  </a:lnTo>
                  <a:lnTo>
                    <a:pt x="18553" y="3051"/>
                  </a:lnTo>
                  <a:lnTo>
                    <a:pt x="18519" y="3033"/>
                  </a:lnTo>
                  <a:lnTo>
                    <a:pt x="18488" y="3012"/>
                  </a:lnTo>
                  <a:lnTo>
                    <a:pt x="18458" y="2989"/>
                  </a:lnTo>
                  <a:lnTo>
                    <a:pt x="18431" y="2964"/>
                  </a:lnTo>
                  <a:lnTo>
                    <a:pt x="18407" y="2936"/>
                  </a:lnTo>
                  <a:lnTo>
                    <a:pt x="18385" y="2905"/>
                  </a:lnTo>
                  <a:lnTo>
                    <a:pt x="18366" y="2873"/>
                  </a:lnTo>
                  <a:lnTo>
                    <a:pt x="18349" y="2838"/>
                  </a:lnTo>
                  <a:lnTo>
                    <a:pt x="18337" y="2803"/>
                  </a:lnTo>
                  <a:lnTo>
                    <a:pt x="18328" y="2766"/>
                  </a:lnTo>
                  <a:lnTo>
                    <a:pt x="18322" y="2726"/>
                  </a:lnTo>
                  <a:lnTo>
                    <a:pt x="18320" y="2686"/>
                  </a:lnTo>
                  <a:lnTo>
                    <a:pt x="18322" y="2645"/>
                  </a:lnTo>
                  <a:lnTo>
                    <a:pt x="18328" y="2606"/>
                  </a:lnTo>
                  <a:lnTo>
                    <a:pt x="18338" y="2567"/>
                  </a:lnTo>
                  <a:lnTo>
                    <a:pt x="18352" y="2530"/>
                  </a:lnTo>
                  <a:lnTo>
                    <a:pt x="18369" y="2496"/>
                  </a:lnTo>
                  <a:lnTo>
                    <a:pt x="18388" y="2462"/>
                  </a:lnTo>
                  <a:lnTo>
                    <a:pt x="18412" y="2432"/>
                  </a:lnTo>
                  <a:lnTo>
                    <a:pt x="18438" y="2404"/>
                  </a:lnTo>
                  <a:lnTo>
                    <a:pt x="18466" y="2377"/>
                  </a:lnTo>
                  <a:lnTo>
                    <a:pt x="18497" y="2354"/>
                  </a:lnTo>
                  <a:lnTo>
                    <a:pt x="18530" y="2335"/>
                  </a:lnTo>
                  <a:lnTo>
                    <a:pt x="18565" y="2317"/>
                  </a:lnTo>
                  <a:lnTo>
                    <a:pt x="18602" y="2304"/>
                  </a:lnTo>
                  <a:lnTo>
                    <a:pt x="18640" y="2294"/>
                  </a:lnTo>
                  <a:lnTo>
                    <a:pt x="18680" y="2287"/>
                  </a:lnTo>
                  <a:lnTo>
                    <a:pt x="18721" y="2286"/>
                  </a:lnTo>
                  <a:lnTo>
                    <a:pt x="18764" y="2287"/>
                  </a:lnTo>
                  <a:lnTo>
                    <a:pt x="18803" y="2294"/>
                  </a:lnTo>
                  <a:lnTo>
                    <a:pt x="18842" y="2304"/>
                  </a:lnTo>
                  <a:lnTo>
                    <a:pt x="18879" y="2318"/>
                  </a:lnTo>
                  <a:lnTo>
                    <a:pt x="18914" y="2335"/>
                  </a:lnTo>
                  <a:lnTo>
                    <a:pt x="18947" y="2355"/>
                  </a:lnTo>
                  <a:lnTo>
                    <a:pt x="18978" y="2378"/>
                  </a:lnTo>
                  <a:lnTo>
                    <a:pt x="19007" y="2404"/>
                  </a:lnTo>
                  <a:lnTo>
                    <a:pt x="19033" y="2433"/>
                  </a:lnTo>
                  <a:lnTo>
                    <a:pt x="19056" y="2464"/>
                  </a:lnTo>
                  <a:lnTo>
                    <a:pt x="19075" y="2497"/>
                  </a:lnTo>
                  <a:lnTo>
                    <a:pt x="19092" y="2532"/>
                  </a:lnTo>
                  <a:lnTo>
                    <a:pt x="19106" y="2569"/>
                  </a:lnTo>
                  <a:lnTo>
                    <a:pt x="19115" y="2607"/>
                  </a:lnTo>
                  <a:lnTo>
                    <a:pt x="19121" y="2645"/>
                  </a:lnTo>
                  <a:lnTo>
                    <a:pt x="19124" y="2686"/>
                  </a:lnTo>
                  <a:lnTo>
                    <a:pt x="19121" y="2695"/>
                  </a:lnTo>
                  <a:lnTo>
                    <a:pt x="19118" y="2702"/>
                  </a:lnTo>
                  <a:lnTo>
                    <a:pt x="19111" y="2705"/>
                  </a:lnTo>
                  <a:lnTo>
                    <a:pt x="19103" y="2707"/>
                  </a:lnTo>
                  <a:lnTo>
                    <a:pt x="19096" y="2705"/>
                  </a:lnTo>
                  <a:lnTo>
                    <a:pt x="19089" y="2702"/>
                  </a:lnTo>
                  <a:lnTo>
                    <a:pt x="19085" y="2695"/>
                  </a:lnTo>
                  <a:lnTo>
                    <a:pt x="19083" y="2686"/>
                  </a:lnTo>
                  <a:lnTo>
                    <a:pt x="19082" y="2650"/>
                  </a:lnTo>
                  <a:lnTo>
                    <a:pt x="19076" y="2615"/>
                  </a:lnTo>
                  <a:lnTo>
                    <a:pt x="19067" y="2580"/>
                  </a:lnTo>
                  <a:lnTo>
                    <a:pt x="19055" y="2547"/>
                  </a:lnTo>
                  <a:lnTo>
                    <a:pt x="19041" y="2515"/>
                  </a:lnTo>
                  <a:lnTo>
                    <a:pt x="19023" y="2485"/>
                  </a:lnTo>
                  <a:lnTo>
                    <a:pt x="19002" y="2457"/>
                  </a:lnTo>
                  <a:lnTo>
                    <a:pt x="18978" y="2432"/>
                  </a:lnTo>
                  <a:lnTo>
                    <a:pt x="18952" y="2409"/>
                  </a:lnTo>
                  <a:lnTo>
                    <a:pt x="18925" y="2388"/>
                  </a:lnTo>
                  <a:lnTo>
                    <a:pt x="18894" y="2369"/>
                  </a:lnTo>
                  <a:lnTo>
                    <a:pt x="18864" y="2354"/>
                  </a:lnTo>
                  <a:lnTo>
                    <a:pt x="18830" y="2342"/>
                  </a:lnTo>
                  <a:lnTo>
                    <a:pt x="18796" y="2333"/>
                  </a:lnTo>
                  <a:lnTo>
                    <a:pt x="18758" y="2328"/>
                  </a:lnTo>
                  <a:lnTo>
                    <a:pt x="18721" y="2326"/>
                  </a:lnTo>
                  <a:lnTo>
                    <a:pt x="18684" y="2328"/>
                  </a:lnTo>
                  <a:lnTo>
                    <a:pt x="18648" y="2333"/>
                  </a:lnTo>
                  <a:lnTo>
                    <a:pt x="18614" y="2342"/>
                  </a:lnTo>
                  <a:lnTo>
                    <a:pt x="18580" y="2354"/>
                  </a:lnTo>
                  <a:lnTo>
                    <a:pt x="18549" y="2369"/>
                  </a:lnTo>
                  <a:lnTo>
                    <a:pt x="18520" y="2387"/>
                  </a:lnTo>
                  <a:lnTo>
                    <a:pt x="18492" y="2407"/>
                  </a:lnTo>
                  <a:lnTo>
                    <a:pt x="18466" y="2432"/>
                  </a:lnTo>
                  <a:lnTo>
                    <a:pt x="18443" y="2457"/>
                  </a:lnTo>
                  <a:lnTo>
                    <a:pt x="18421" y="2484"/>
                  </a:lnTo>
                  <a:lnTo>
                    <a:pt x="18403" y="2515"/>
                  </a:lnTo>
                  <a:lnTo>
                    <a:pt x="18388" y="2546"/>
                  </a:lnTo>
                  <a:lnTo>
                    <a:pt x="18381" y="2562"/>
                  </a:lnTo>
                  <a:lnTo>
                    <a:pt x="18376" y="2579"/>
                  </a:lnTo>
                  <a:lnTo>
                    <a:pt x="18367" y="2613"/>
                  </a:lnTo>
                  <a:lnTo>
                    <a:pt x="18362" y="2649"/>
                  </a:lnTo>
                  <a:lnTo>
                    <a:pt x="18360" y="2686"/>
                  </a:lnTo>
                  <a:lnTo>
                    <a:pt x="18362" y="2722"/>
                  </a:lnTo>
                  <a:lnTo>
                    <a:pt x="18367" y="2757"/>
                  </a:lnTo>
                  <a:lnTo>
                    <a:pt x="18375" y="2790"/>
                  </a:lnTo>
                  <a:lnTo>
                    <a:pt x="18387" y="2823"/>
                  </a:lnTo>
                  <a:lnTo>
                    <a:pt x="18401" y="2854"/>
                  </a:lnTo>
                  <a:lnTo>
                    <a:pt x="18417" y="2882"/>
                  </a:lnTo>
                  <a:lnTo>
                    <a:pt x="18438" y="2910"/>
                  </a:lnTo>
                  <a:lnTo>
                    <a:pt x="18460" y="2936"/>
                  </a:lnTo>
                  <a:lnTo>
                    <a:pt x="18484" y="2959"/>
                  </a:lnTo>
                  <a:lnTo>
                    <a:pt x="18510" y="2979"/>
                  </a:lnTo>
                  <a:lnTo>
                    <a:pt x="18538" y="2997"/>
                  </a:lnTo>
                  <a:lnTo>
                    <a:pt x="18569" y="3014"/>
                  </a:lnTo>
                  <a:lnTo>
                    <a:pt x="18599" y="3026"/>
                  </a:lnTo>
                  <a:lnTo>
                    <a:pt x="18633" y="3037"/>
                  </a:lnTo>
                  <a:lnTo>
                    <a:pt x="18667" y="3043"/>
                  </a:lnTo>
                  <a:lnTo>
                    <a:pt x="18702" y="3047"/>
                  </a:lnTo>
                  <a:lnTo>
                    <a:pt x="18702" y="3011"/>
                  </a:lnTo>
                  <a:lnTo>
                    <a:pt x="18701" y="3008"/>
                  </a:lnTo>
                  <a:lnTo>
                    <a:pt x="18597" y="2865"/>
                  </a:lnTo>
                  <a:lnTo>
                    <a:pt x="18593" y="2858"/>
                  </a:lnTo>
                  <a:lnTo>
                    <a:pt x="18593" y="2850"/>
                  </a:lnTo>
                  <a:lnTo>
                    <a:pt x="18596" y="2842"/>
                  </a:lnTo>
                  <a:lnTo>
                    <a:pt x="18601" y="2837"/>
                  </a:lnTo>
                  <a:lnTo>
                    <a:pt x="18607" y="2835"/>
                  </a:lnTo>
                  <a:lnTo>
                    <a:pt x="18615" y="2833"/>
                  </a:lnTo>
                  <a:lnTo>
                    <a:pt x="18623" y="2836"/>
                  </a:lnTo>
                  <a:lnTo>
                    <a:pt x="18629" y="2842"/>
                  </a:lnTo>
                  <a:lnTo>
                    <a:pt x="18702" y="2943"/>
                  </a:lnTo>
                  <a:lnTo>
                    <a:pt x="18702" y="2901"/>
                  </a:lnTo>
                  <a:lnTo>
                    <a:pt x="18702" y="2895"/>
                  </a:lnTo>
                  <a:lnTo>
                    <a:pt x="18702" y="2744"/>
                  </a:lnTo>
                  <a:lnTo>
                    <a:pt x="18606" y="2611"/>
                  </a:lnTo>
                  <a:lnTo>
                    <a:pt x="18602" y="2603"/>
                  </a:lnTo>
                  <a:lnTo>
                    <a:pt x="18602" y="2595"/>
                  </a:lnTo>
                  <a:lnTo>
                    <a:pt x="18606" y="2588"/>
                  </a:lnTo>
                  <a:lnTo>
                    <a:pt x="18611" y="2583"/>
                  </a:lnTo>
                  <a:lnTo>
                    <a:pt x="18617" y="2580"/>
                  </a:lnTo>
                  <a:lnTo>
                    <a:pt x="18625" y="2579"/>
                  </a:lnTo>
                  <a:lnTo>
                    <a:pt x="18633" y="2581"/>
                  </a:lnTo>
                  <a:lnTo>
                    <a:pt x="18639" y="2588"/>
                  </a:lnTo>
                  <a:lnTo>
                    <a:pt x="18702" y="2675"/>
                  </a:lnTo>
                  <a:lnTo>
                    <a:pt x="18702" y="2599"/>
                  </a:lnTo>
                  <a:lnTo>
                    <a:pt x="18705" y="2590"/>
                  </a:lnTo>
                  <a:lnTo>
                    <a:pt x="18708" y="2584"/>
                  </a:lnTo>
                  <a:lnTo>
                    <a:pt x="18715" y="2580"/>
                  </a:lnTo>
                  <a:lnTo>
                    <a:pt x="18723" y="2579"/>
                  </a:lnTo>
                  <a:lnTo>
                    <a:pt x="18730" y="2580"/>
                  </a:lnTo>
                  <a:lnTo>
                    <a:pt x="18737" y="2584"/>
                  </a:lnTo>
                  <a:lnTo>
                    <a:pt x="18741" y="2590"/>
                  </a:lnTo>
                  <a:lnTo>
                    <a:pt x="18742" y="2599"/>
                  </a:lnTo>
                  <a:lnTo>
                    <a:pt x="18742" y="2734"/>
                  </a:lnTo>
                  <a:lnTo>
                    <a:pt x="18742" y="2740"/>
                  </a:lnTo>
                  <a:lnTo>
                    <a:pt x="18742" y="2836"/>
                  </a:lnTo>
                  <a:lnTo>
                    <a:pt x="18828" y="2718"/>
                  </a:lnTo>
                  <a:lnTo>
                    <a:pt x="18834" y="2712"/>
                  </a:lnTo>
                  <a:lnTo>
                    <a:pt x="18842" y="2711"/>
                  </a:lnTo>
                  <a:lnTo>
                    <a:pt x="18856" y="2714"/>
                  </a:lnTo>
                  <a:lnTo>
                    <a:pt x="18861" y="2719"/>
                  </a:lnTo>
                  <a:lnTo>
                    <a:pt x="18864" y="2726"/>
                  </a:lnTo>
                  <a:lnTo>
                    <a:pt x="18864" y="2734"/>
                  </a:lnTo>
                  <a:lnTo>
                    <a:pt x="18860" y="2743"/>
                  </a:lnTo>
                  <a:close/>
                  <a:moveTo>
                    <a:pt x="20006" y="2597"/>
                  </a:moveTo>
                  <a:lnTo>
                    <a:pt x="19966" y="2597"/>
                  </a:lnTo>
                  <a:lnTo>
                    <a:pt x="19966" y="2709"/>
                  </a:lnTo>
                  <a:lnTo>
                    <a:pt x="20724" y="2709"/>
                  </a:lnTo>
                  <a:lnTo>
                    <a:pt x="21483" y="2709"/>
                  </a:lnTo>
                  <a:lnTo>
                    <a:pt x="22241" y="2709"/>
                  </a:lnTo>
                  <a:lnTo>
                    <a:pt x="23000" y="2709"/>
                  </a:lnTo>
                  <a:lnTo>
                    <a:pt x="23000" y="2597"/>
                  </a:lnTo>
                  <a:lnTo>
                    <a:pt x="22962" y="2597"/>
                  </a:lnTo>
                  <a:lnTo>
                    <a:pt x="22954" y="2597"/>
                  </a:lnTo>
                  <a:lnTo>
                    <a:pt x="22218" y="2597"/>
                  </a:lnTo>
                  <a:lnTo>
                    <a:pt x="21483" y="2597"/>
                  </a:lnTo>
                  <a:lnTo>
                    <a:pt x="20747" y="2597"/>
                  </a:lnTo>
                  <a:lnTo>
                    <a:pt x="20013" y="2597"/>
                  </a:lnTo>
                  <a:lnTo>
                    <a:pt x="20006" y="2597"/>
                  </a:lnTo>
                  <a:close/>
                  <a:moveTo>
                    <a:pt x="19369" y="3221"/>
                  </a:moveTo>
                  <a:lnTo>
                    <a:pt x="19369" y="3011"/>
                  </a:lnTo>
                  <a:lnTo>
                    <a:pt x="19370" y="3002"/>
                  </a:lnTo>
                  <a:lnTo>
                    <a:pt x="19375" y="2996"/>
                  </a:lnTo>
                  <a:lnTo>
                    <a:pt x="19382" y="2992"/>
                  </a:lnTo>
                  <a:lnTo>
                    <a:pt x="19388" y="2991"/>
                  </a:lnTo>
                  <a:lnTo>
                    <a:pt x="19396" y="2992"/>
                  </a:lnTo>
                  <a:lnTo>
                    <a:pt x="19402" y="2996"/>
                  </a:lnTo>
                  <a:lnTo>
                    <a:pt x="19407" y="3002"/>
                  </a:lnTo>
                  <a:lnTo>
                    <a:pt x="19409" y="3011"/>
                  </a:lnTo>
                  <a:lnTo>
                    <a:pt x="19409" y="3162"/>
                  </a:lnTo>
                  <a:lnTo>
                    <a:pt x="19442" y="3116"/>
                  </a:lnTo>
                  <a:lnTo>
                    <a:pt x="19448" y="3111"/>
                  </a:lnTo>
                  <a:lnTo>
                    <a:pt x="19456" y="3108"/>
                  </a:lnTo>
                  <a:lnTo>
                    <a:pt x="19470" y="3112"/>
                  </a:lnTo>
                  <a:lnTo>
                    <a:pt x="19475" y="3117"/>
                  </a:lnTo>
                  <a:lnTo>
                    <a:pt x="19478" y="3124"/>
                  </a:lnTo>
                  <a:lnTo>
                    <a:pt x="19478" y="3131"/>
                  </a:lnTo>
                  <a:lnTo>
                    <a:pt x="19474" y="3140"/>
                  </a:lnTo>
                  <a:lnTo>
                    <a:pt x="19409" y="3231"/>
                  </a:lnTo>
                  <a:lnTo>
                    <a:pt x="19409" y="3413"/>
                  </a:lnTo>
                  <a:lnTo>
                    <a:pt x="19432" y="3381"/>
                  </a:lnTo>
                  <a:lnTo>
                    <a:pt x="19438" y="3374"/>
                  </a:lnTo>
                  <a:lnTo>
                    <a:pt x="19446" y="3372"/>
                  </a:lnTo>
                  <a:lnTo>
                    <a:pt x="19460" y="3375"/>
                  </a:lnTo>
                  <a:lnTo>
                    <a:pt x="19465" y="3382"/>
                  </a:lnTo>
                  <a:lnTo>
                    <a:pt x="19468" y="3388"/>
                  </a:lnTo>
                  <a:lnTo>
                    <a:pt x="19468" y="3396"/>
                  </a:lnTo>
                  <a:lnTo>
                    <a:pt x="19464" y="3404"/>
                  </a:lnTo>
                  <a:lnTo>
                    <a:pt x="19409" y="3480"/>
                  </a:lnTo>
                  <a:lnTo>
                    <a:pt x="19409" y="3491"/>
                  </a:lnTo>
                  <a:lnTo>
                    <a:pt x="19409" y="3498"/>
                  </a:lnTo>
                  <a:lnTo>
                    <a:pt x="19409" y="3608"/>
                  </a:lnTo>
                  <a:lnTo>
                    <a:pt x="19425" y="3613"/>
                  </a:lnTo>
                  <a:lnTo>
                    <a:pt x="19441" y="3620"/>
                  </a:lnTo>
                  <a:lnTo>
                    <a:pt x="19455" y="3627"/>
                  </a:lnTo>
                  <a:lnTo>
                    <a:pt x="19468" y="3632"/>
                  </a:lnTo>
                  <a:lnTo>
                    <a:pt x="19480" y="3635"/>
                  </a:lnTo>
                  <a:lnTo>
                    <a:pt x="19488" y="3635"/>
                  </a:lnTo>
                  <a:lnTo>
                    <a:pt x="19494" y="3632"/>
                  </a:lnTo>
                  <a:lnTo>
                    <a:pt x="19501" y="3630"/>
                  </a:lnTo>
                  <a:lnTo>
                    <a:pt x="19509" y="3625"/>
                  </a:lnTo>
                  <a:lnTo>
                    <a:pt x="19525" y="3608"/>
                  </a:lnTo>
                  <a:lnTo>
                    <a:pt x="19547" y="3585"/>
                  </a:lnTo>
                  <a:lnTo>
                    <a:pt x="19562" y="3570"/>
                  </a:lnTo>
                  <a:lnTo>
                    <a:pt x="19577" y="3562"/>
                  </a:lnTo>
                  <a:lnTo>
                    <a:pt x="19591" y="3558"/>
                  </a:lnTo>
                  <a:lnTo>
                    <a:pt x="19620" y="3556"/>
                  </a:lnTo>
                  <a:lnTo>
                    <a:pt x="19639" y="3554"/>
                  </a:lnTo>
                  <a:lnTo>
                    <a:pt x="19664" y="3552"/>
                  </a:lnTo>
                  <a:lnTo>
                    <a:pt x="19679" y="3544"/>
                  </a:lnTo>
                  <a:lnTo>
                    <a:pt x="19684" y="3539"/>
                  </a:lnTo>
                  <a:lnTo>
                    <a:pt x="19688" y="3533"/>
                  </a:lnTo>
                  <a:lnTo>
                    <a:pt x="19695" y="3517"/>
                  </a:lnTo>
                  <a:lnTo>
                    <a:pt x="19700" y="3499"/>
                  </a:lnTo>
                  <a:lnTo>
                    <a:pt x="19705" y="3479"/>
                  </a:lnTo>
                  <a:lnTo>
                    <a:pt x="19714" y="3460"/>
                  </a:lnTo>
                  <a:lnTo>
                    <a:pt x="19728" y="3441"/>
                  </a:lnTo>
                  <a:lnTo>
                    <a:pt x="19737" y="3432"/>
                  </a:lnTo>
                  <a:lnTo>
                    <a:pt x="19748" y="3424"/>
                  </a:lnTo>
                  <a:lnTo>
                    <a:pt x="19792" y="3398"/>
                  </a:lnTo>
                  <a:lnTo>
                    <a:pt x="19804" y="3391"/>
                  </a:lnTo>
                  <a:lnTo>
                    <a:pt x="19810" y="3383"/>
                  </a:lnTo>
                  <a:lnTo>
                    <a:pt x="19813" y="3373"/>
                  </a:lnTo>
                  <a:lnTo>
                    <a:pt x="19811" y="3360"/>
                  </a:lnTo>
                  <a:lnTo>
                    <a:pt x="19804" y="3310"/>
                  </a:lnTo>
                  <a:lnTo>
                    <a:pt x="19804" y="3286"/>
                  </a:lnTo>
                  <a:lnTo>
                    <a:pt x="19807" y="3265"/>
                  </a:lnTo>
                  <a:lnTo>
                    <a:pt x="19816" y="3248"/>
                  </a:lnTo>
                  <a:lnTo>
                    <a:pt x="19827" y="3232"/>
                  </a:lnTo>
                  <a:lnTo>
                    <a:pt x="19847" y="3207"/>
                  </a:lnTo>
                  <a:lnTo>
                    <a:pt x="19854" y="3194"/>
                  </a:lnTo>
                  <a:lnTo>
                    <a:pt x="19856" y="3181"/>
                  </a:lnTo>
                  <a:lnTo>
                    <a:pt x="19854" y="3164"/>
                  </a:lnTo>
                  <a:lnTo>
                    <a:pt x="19850" y="3158"/>
                  </a:lnTo>
                  <a:lnTo>
                    <a:pt x="19846" y="3152"/>
                  </a:lnTo>
                  <a:lnTo>
                    <a:pt x="19824" y="3126"/>
                  </a:lnTo>
                  <a:lnTo>
                    <a:pt x="19814" y="3109"/>
                  </a:lnTo>
                  <a:lnTo>
                    <a:pt x="19806" y="3088"/>
                  </a:lnTo>
                  <a:lnTo>
                    <a:pt x="19805" y="3060"/>
                  </a:lnTo>
                  <a:lnTo>
                    <a:pt x="19806" y="3042"/>
                  </a:lnTo>
                  <a:lnTo>
                    <a:pt x="19809" y="3020"/>
                  </a:lnTo>
                  <a:lnTo>
                    <a:pt x="19811" y="3005"/>
                  </a:lnTo>
                  <a:lnTo>
                    <a:pt x="19811" y="2992"/>
                  </a:lnTo>
                  <a:lnTo>
                    <a:pt x="19809" y="2982"/>
                  </a:lnTo>
                  <a:lnTo>
                    <a:pt x="19805" y="2973"/>
                  </a:lnTo>
                  <a:lnTo>
                    <a:pt x="19792" y="2960"/>
                  </a:lnTo>
                  <a:lnTo>
                    <a:pt x="19775" y="2951"/>
                  </a:lnTo>
                  <a:lnTo>
                    <a:pt x="19757" y="2942"/>
                  </a:lnTo>
                  <a:lnTo>
                    <a:pt x="19738" y="2930"/>
                  </a:lnTo>
                  <a:lnTo>
                    <a:pt x="19720" y="2913"/>
                  </a:lnTo>
                  <a:lnTo>
                    <a:pt x="19712" y="2900"/>
                  </a:lnTo>
                  <a:lnTo>
                    <a:pt x="19706" y="2884"/>
                  </a:lnTo>
                  <a:lnTo>
                    <a:pt x="19691" y="2837"/>
                  </a:lnTo>
                  <a:lnTo>
                    <a:pt x="19686" y="2824"/>
                  </a:lnTo>
                  <a:lnTo>
                    <a:pt x="19683" y="2819"/>
                  </a:lnTo>
                  <a:lnTo>
                    <a:pt x="19680" y="2815"/>
                  </a:lnTo>
                  <a:lnTo>
                    <a:pt x="19671" y="2812"/>
                  </a:lnTo>
                  <a:lnTo>
                    <a:pt x="19657" y="2810"/>
                  </a:lnTo>
                  <a:lnTo>
                    <a:pt x="19607" y="2806"/>
                  </a:lnTo>
                  <a:lnTo>
                    <a:pt x="19591" y="2803"/>
                  </a:lnTo>
                  <a:lnTo>
                    <a:pt x="19577" y="2799"/>
                  </a:lnTo>
                  <a:lnTo>
                    <a:pt x="19555" y="2786"/>
                  </a:lnTo>
                  <a:lnTo>
                    <a:pt x="19547" y="2778"/>
                  </a:lnTo>
                  <a:lnTo>
                    <a:pt x="19539" y="2769"/>
                  </a:lnTo>
                  <a:lnTo>
                    <a:pt x="19527" y="2753"/>
                  </a:lnTo>
                  <a:lnTo>
                    <a:pt x="19514" y="2739"/>
                  </a:lnTo>
                  <a:lnTo>
                    <a:pt x="19507" y="2734"/>
                  </a:lnTo>
                  <a:lnTo>
                    <a:pt x="19500" y="2730"/>
                  </a:lnTo>
                  <a:lnTo>
                    <a:pt x="19491" y="2727"/>
                  </a:lnTo>
                  <a:lnTo>
                    <a:pt x="19479" y="2728"/>
                  </a:lnTo>
                  <a:lnTo>
                    <a:pt x="19452" y="2736"/>
                  </a:lnTo>
                  <a:lnTo>
                    <a:pt x="19421" y="2749"/>
                  </a:lnTo>
                  <a:lnTo>
                    <a:pt x="19405" y="2754"/>
                  </a:lnTo>
                  <a:lnTo>
                    <a:pt x="19388" y="2755"/>
                  </a:lnTo>
                  <a:lnTo>
                    <a:pt x="19366" y="2753"/>
                  </a:lnTo>
                  <a:lnTo>
                    <a:pt x="19347" y="2746"/>
                  </a:lnTo>
                  <a:lnTo>
                    <a:pt x="19316" y="2731"/>
                  </a:lnTo>
                  <a:lnTo>
                    <a:pt x="19301" y="2727"/>
                  </a:lnTo>
                  <a:lnTo>
                    <a:pt x="19293" y="2726"/>
                  </a:lnTo>
                  <a:lnTo>
                    <a:pt x="19287" y="2727"/>
                  </a:lnTo>
                  <a:lnTo>
                    <a:pt x="19270" y="2736"/>
                  </a:lnTo>
                  <a:lnTo>
                    <a:pt x="19251" y="2753"/>
                  </a:lnTo>
                  <a:lnTo>
                    <a:pt x="19230" y="2776"/>
                  </a:lnTo>
                  <a:lnTo>
                    <a:pt x="19214" y="2791"/>
                  </a:lnTo>
                  <a:lnTo>
                    <a:pt x="19200" y="2799"/>
                  </a:lnTo>
                  <a:lnTo>
                    <a:pt x="19187" y="2804"/>
                  </a:lnTo>
                  <a:lnTo>
                    <a:pt x="19157" y="2805"/>
                  </a:lnTo>
                  <a:lnTo>
                    <a:pt x="19138" y="2806"/>
                  </a:lnTo>
                  <a:lnTo>
                    <a:pt x="19112" y="2810"/>
                  </a:lnTo>
                  <a:lnTo>
                    <a:pt x="19098" y="2817"/>
                  </a:lnTo>
                  <a:lnTo>
                    <a:pt x="19093" y="2822"/>
                  </a:lnTo>
                  <a:lnTo>
                    <a:pt x="19088" y="2828"/>
                  </a:lnTo>
                  <a:lnTo>
                    <a:pt x="19082" y="2844"/>
                  </a:lnTo>
                  <a:lnTo>
                    <a:pt x="19078" y="2863"/>
                  </a:lnTo>
                  <a:lnTo>
                    <a:pt x="19071" y="2882"/>
                  </a:lnTo>
                  <a:lnTo>
                    <a:pt x="19064" y="2902"/>
                  </a:lnTo>
                  <a:lnTo>
                    <a:pt x="19050" y="2920"/>
                  </a:lnTo>
                  <a:lnTo>
                    <a:pt x="19041" y="2929"/>
                  </a:lnTo>
                  <a:lnTo>
                    <a:pt x="19029" y="2937"/>
                  </a:lnTo>
                  <a:lnTo>
                    <a:pt x="18985" y="2962"/>
                  </a:lnTo>
                  <a:lnTo>
                    <a:pt x="18974" y="2970"/>
                  </a:lnTo>
                  <a:lnTo>
                    <a:pt x="18967" y="2978"/>
                  </a:lnTo>
                  <a:lnTo>
                    <a:pt x="18965" y="2988"/>
                  </a:lnTo>
                  <a:lnTo>
                    <a:pt x="18966" y="3002"/>
                  </a:lnTo>
                  <a:lnTo>
                    <a:pt x="18974" y="3052"/>
                  </a:lnTo>
                  <a:lnTo>
                    <a:pt x="18974" y="3079"/>
                  </a:lnTo>
                  <a:lnTo>
                    <a:pt x="18967" y="3101"/>
                  </a:lnTo>
                  <a:lnTo>
                    <a:pt x="18956" y="3121"/>
                  </a:lnTo>
                  <a:lnTo>
                    <a:pt x="18941" y="3143"/>
                  </a:lnTo>
                  <a:lnTo>
                    <a:pt x="18926" y="3164"/>
                  </a:lnTo>
                  <a:lnTo>
                    <a:pt x="18923" y="3172"/>
                  </a:lnTo>
                  <a:lnTo>
                    <a:pt x="18921" y="3181"/>
                  </a:lnTo>
                  <a:lnTo>
                    <a:pt x="18924" y="3196"/>
                  </a:lnTo>
                  <a:lnTo>
                    <a:pt x="18928" y="3204"/>
                  </a:lnTo>
                  <a:lnTo>
                    <a:pt x="18932" y="3211"/>
                  </a:lnTo>
                  <a:lnTo>
                    <a:pt x="18953" y="3235"/>
                  </a:lnTo>
                  <a:lnTo>
                    <a:pt x="18964" y="3251"/>
                  </a:lnTo>
                  <a:lnTo>
                    <a:pt x="18970" y="3273"/>
                  </a:lnTo>
                  <a:lnTo>
                    <a:pt x="18973" y="3303"/>
                  </a:lnTo>
                  <a:lnTo>
                    <a:pt x="18971" y="3320"/>
                  </a:lnTo>
                  <a:lnTo>
                    <a:pt x="18969" y="3341"/>
                  </a:lnTo>
                  <a:lnTo>
                    <a:pt x="18966" y="3356"/>
                  </a:lnTo>
                  <a:lnTo>
                    <a:pt x="18966" y="3369"/>
                  </a:lnTo>
                  <a:lnTo>
                    <a:pt x="18969" y="3381"/>
                  </a:lnTo>
                  <a:lnTo>
                    <a:pt x="18973" y="3388"/>
                  </a:lnTo>
                  <a:lnTo>
                    <a:pt x="18984" y="3401"/>
                  </a:lnTo>
                  <a:lnTo>
                    <a:pt x="19001" y="3410"/>
                  </a:lnTo>
                  <a:lnTo>
                    <a:pt x="19020" y="3419"/>
                  </a:lnTo>
                  <a:lnTo>
                    <a:pt x="19039" y="3430"/>
                  </a:lnTo>
                  <a:lnTo>
                    <a:pt x="19057" y="3448"/>
                  </a:lnTo>
                  <a:lnTo>
                    <a:pt x="19065" y="3461"/>
                  </a:lnTo>
                  <a:lnTo>
                    <a:pt x="19071" y="3476"/>
                  </a:lnTo>
                  <a:lnTo>
                    <a:pt x="19085" y="3524"/>
                  </a:lnTo>
                  <a:lnTo>
                    <a:pt x="19091" y="3538"/>
                  </a:lnTo>
                  <a:lnTo>
                    <a:pt x="19093" y="3542"/>
                  </a:lnTo>
                  <a:lnTo>
                    <a:pt x="19097" y="3546"/>
                  </a:lnTo>
                  <a:lnTo>
                    <a:pt x="19106" y="3549"/>
                  </a:lnTo>
                  <a:lnTo>
                    <a:pt x="19120" y="3551"/>
                  </a:lnTo>
                  <a:lnTo>
                    <a:pt x="19170" y="3556"/>
                  </a:lnTo>
                  <a:lnTo>
                    <a:pt x="19187" y="3558"/>
                  </a:lnTo>
                  <a:lnTo>
                    <a:pt x="19201" y="3562"/>
                  </a:lnTo>
                  <a:lnTo>
                    <a:pt x="19221" y="3576"/>
                  </a:lnTo>
                  <a:lnTo>
                    <a:pt x="19230" y="3584"/>
                  </a:lnTo>
                  <a:lnTo>
                    <a:pt x="19238" y="3592"/>
                  </a:lnTo>
                  <a:lnTo>
                    <a:pt x="19251" y="3608"/>
                  </a:lnTo>
                  <a:lnTo>
                    <a:pt x="19262" y="3622"/>
                  </a:lnTo>
                  <a:lnTo>
                    <a:pt x="19270" y="3627"/>
                  </a:lnTo>
                  <a:lnTo>
                    <a:pt x="19278" y="3631"/>
                  </a:lnTo>
                  <a:lnTo>
                    <a:pt x="19287" y="3634"/>
                  </a:lnTo>
                  <a:lnTo>
                    <a:pt x="19297" y="3634"/>
                  </a:lnTo>
                  <a:lnTo>
                    <a:pt x="19325" y="3625"/>
                  </a:lnTo>
                  <a:lnTo>
                    <a:pt x="19347" y="3616"/>
                  </a:lnTo>
                  <a:lnTo>
                    <a:pt x="19369" y="3608"/>
                  </a:lnTo>
                  <a:lnTo>
                    <a:pt x="19369" y="3506"/>
                  </a:lnTo>
                  <a:lnTo>
                    <a:pt x="19364" y="3502"/>
                  </a:lnTo>
                  <a:lnTo>
                    <a:pt x="19360" y="3498"/>
                  </a:lnTo>
                  <a:lnTo>
                    <a:pt x="19359" y="3487"/>
                  </a:lnTo>
                  <a:lnTo>
                    <a:pt x="19264" y="3358"/>
                  </a:lnTo>
                  <a:lnTo>
                    <a:pt x="19260" y="3349"/>
                  </a:lnTo>
                  <a:lnTo>
                    <a:pt x="19260" y="3341"/>
                  </a:lnTo>
                  <a:lnTo>
                    <a:pt x="19264" y="3335"/>
                  </a:lnTo>
                  <a:lnTo>
                    <a:pt x="19269" y="3329"/>
                  </a:lnTo>
                  <a:lnTo>
                    <a:pt x="19275" y="3326"/>
                  </a:lnTo>
                  <a:lnTo>
                    <a:pt x="19283" y="3326"/>
                  </a:lnTo>
                  <a:lnTo>
                    <a:pt x="19289" y="3328"/>
                  </a:lnTo>
                  <a:lnTo>
                    <a:pt x="19297" y="3333"/>
                  </a:lnTo>
                  <a:lnTo>
                    <a:pt x="19369" y="3433"/>
                  </a:lnTo>
                  <a:lnTo>
                    <a:pt x="19369" y="3320"/>
                  </a:lnTo>
                  <a:lnTo>
                    <a:pt x="19262" y="3176"/>
                  </a:lnTo>
                  <a:lnTo>
                    <a:pt x="19259" y="3167"/>
                  </a:lnTo>
                  <a:lnTo>
                    <a:pt x="19259" y="3159"/>
                  </a:lnTo>
                  <a:lnTo>
                    <a:pt x="19262" y="3153"/>
                  </a:lnTo>
                  <a:lnTo>
                    <a:pt x="19268" y="3148"/>
                  </a:lnTo>
                  <a:lnTo>
                    <a:pt x="19274" y="3144"/>
                  </a:lnTo>
                  <a:lnTo>
                    <a:pt x="19282" y="3144"/>
                  </a:lnTo>
                  <a:lnTo>
                    <a:pt x="19289" y="3147"/>
                  </a:lnTo>
                  <a:lnTo>
                    <a:pt x="19296" y="3152"/>
                  </a:lnTo>
                  <a:lnTo>
                    <a:pt x="19369" y="3253"/>
                  </a:lnTo>
                  <a:lnTo>
                    <a:pt x="19369" y="3227"/>
                  </a:lnTo>
                  <a:lnTo>
                    <a:pt x="19369" y="3221"/>
                  </a:lnTo>
                  <a:close/>
                  <a:moveTo>
                    <a:pt x="22962" y="2597"/>
                  </a:moveTo>
                  <a:lnTo>
                    <a:pt x="22954" y="2597"/>
                  </a:lnTo>
                  <a:lnTo>
                    <a:pt x="22962" y="2597"/>
                  </a:lnTo>
                  <a:close/>
                  <a:moveTo>
                    <a:pt x="20013" y="2597"/>
                  </a:moveTo>
                  <a:lnTo>
                    <a:pt x="20006" y="2597"/>
                  </a:lnTo>
                  <a:lnTo>
                    <a:pt x="20013" y="2597"/>
                  </a:lnTo>
                  <a:close/>
                  <a:moveTo>
                    <a:pt x="19409" y="3491"/>
                  </a:moveTo>
                  <a:lnTo>
                    <a:pt x="19409" y="3498"/>
                  </a:lnTo>
                  <a:lnTo>
                    <a:pt x="19409" y="3491"/>
                  </a:lnTo>
                  <a:close/>
                  <a:moveTo>
                    <a:pt x="19369" y="3227"/>
                  </a:moveTo>
                  <a:lnTo>
                    <a:pt x="19369" y="3221"/>
                  </a:lnTo>
                  <a:lnTo>
                    <a:pt x="19369" y="3227"/>
                  </a:lnTo>
                  <a:close/>
                  <a:moveTo>
                    <a:pt x="20708" y="1885"/>
                  </a:moveTo>
                  <a:lnTo>
                    <a:pt x="20672" y="1152"/>
                  </a:lnTo>
                  <a:lnTo>
                    <a:pt x="20636" y="420"/>
                  </a:lnTo>
                  <a:lnTo>
                    <a:pt x="20345" y="420"/>
                  </a:lnTo>
                  <a:lnTo>
                    <a:pt x="20306" y="1139"/>
                  </a:lnTo>
                  <a:lnTo>
                    <a:pt x="20269" y="1858"/>
                  </a:lnTo>
                  <a:lnTo>
                    <a:pt x="20268" y="1867"/>
                  </a:lnTo>
                  <a:lnTo>
                    <a:pt x="20263" y="1872"/>
                  </a:lnTo>
                  <a:lnTo>
                    <a:pt x="20256" y="1876"/>
                  </a:lnTo>
                  <a:lnTo>
                    <a:pt x="20248" y="1877"/>
                  </a:lnTo>
                  <a:lnTo>
                    <a:pt x="20241" y="1874"/>
                  </a:lnTo>
                  <a:lnTo>
                    <a:pt x="20234" y="1870"/>
                  </a:lnTo>
                  <a:lnTo>
                    <a:pt x="20231" y="1864"/>
                  </a:lnTo>
                  <a:lnTo>
                    <a:pt x="20229" y="1855"/>
                  </a:lnTo>
                  <a:lnTo>
                    <a:pt x="20268" y="1126"/>
                  </a:lnTo>
                  <a:lnTo>
                    <a:pt x="20306" y="399"/>
                  </a:lnTo>
                  <a:lnTo>
                    <a:pt x="20307" y="392"/>
                  </a:lnTo>
                  <a:lnTo>
                    <a:pt x="20313" y="386"/>
                  </a:lnTo>
                  <a:lnTo>
                    <a:pt x="20318" y="382"/>
                  </a:lnTo>
                  <a:lnTo>
                    <a:pt x="20325" y="381"/>
                  </a:lnTo>
                  <a:lnTo>
                    <a:pt x="20655" y="381"/>
                  </a:lnTo>
                  <a:lnTo>
                    <a:pt x="20661" y="382"/>
                  </a:lnTo>
                  <a:lnTo>
                    <a:pt x="20668" y="386"/>
                  </a:lnTo>
                  <a:lnTo>
                    <a:pt x="20673" y="392"/>
                  </a:lnTo>
                  <a:lnTo>
                    <a:pt x="20674" y="399"/>
                  </a:lnTo>
                  <a:lnTo>
                    <a:pt x="20710" y="1140"/>
                  </a:lnTo>
                  <a:lnTo>
                    <a:pt x="20747" y="1882"/>
                  </a:lnTo>
                  <a:lnTo>
                    <a:pt x="20746" y="1891"/>
                  </a:lnTo>
                  <a:lnTo>
                    <a:pt x="20742" y="1897"/>
                  </a:lnTo>
                  <a:lnTo>
                    <a:pt x="20736" y="1901"/>
                  </a:lnTo>
                  <a:lnTo>
                    <a:pt x="20728" y="1902"/>
                  </a:lnTo>
                  <a:lnTo>
                    <a:pt x="20715" y="1899"/>
                  </a:lnTo>
                  <a:lnTo>
                    <a:pt x="20710" y="1892"/>
                  </a:lnTo>
                  <a:lnTo>
                    <a:pt x="20708" y="1885"/>
                  </a:lnTo>
                  <a:close/>
                  <a:moveTo>
                    <a:pt x="2868" y="3476"/>
                  </a:moveTo>
                  <a:lnTo>
                    <a:pt x="2980" y="3323"/>
                  </a:lnTo>
                  <a:lnTo>
                    <a:pt x="2953" y="3268"/>
                  </a:lnTo>
                  <a:lnTo>
                    <a:pt x="2939" y="3245"/>
                  </a:lnTo>
                  <a:lnTo>
                    <a:pt x="2925" y="3225"/>
                  </a:lnTo>
                  <a:lnTo>
                    <a:pt x="2911" y="3207"/>
                  </a:lnTo>
                  <a:lnTo>
                    <a:pt x="2897" y="3193"/>
                  </a:lnTo>
                  <a:lnTo>
                    <a:pt x="2883" y="3181"/>
                  </a:lnTo>
                  <a:lnTo>
                    <a:pt x="2868" y="3175"/>
                  </a:lnTo>
                  <a:lnTo>
                    <a:pt x="2868" y="3476"/>
                  </a:lnTo>
                  <a:close/>
                  <a:moveTo>
                    <a:pt x="2998" y="3365"/>
                  </a:moveTo>
                  <a:lnTo>
                    <a:pt x="2868" y="3544"/>
                  </a:lnTo>
                  <a:lnTo>
                    <a:pt x="2868" y="3753"/>
                  </a:lnTo>
                  <a:lnTo>
                    <a:pt x="3045" y="3507"/>
                  </a:lnTo>
                  <a:lnTo>
                    <a:pt x="3027" y="3445"/>
                  </a:lnTo>
                  <a:lnTo>
                    <a:pt x="2998" y="3365"/>
                  </a:lnTo>
                  <a:close/>
                  <a:moveTo>
                    <a:pt x="2716" y="3324"/>
                  </a:moveTo>
                  <a:lnTo>
                    <a:pt x="2829" y="3479"/>
                  </a:lnTo>
                  <a:lnTo>
                    <a:pt x="2829" y="3173"/>
                  </a:lnTo>
                  <a:lnTo>
                    <a:pt x="2813" y="3181"/>
                  </a:lnTo>
                  <a:lnTo>
                    <a:pt x="2798" y="3193"/>
                  </a:lnTo>
                  <a:lnTo>
                    <a:pt x="2790" y="3199"/>
                  </a:lnTo>
                  <a:lnTo>
                    <a:pt x="2783" y="3207"/>
                  </a:lnTo>
                  <a:lnTo>
                    <a:pt x="2768" y="3225"/>
                  </a:lnTo>
                  <a:lnTo>
                    <a:pt x="2742" y="3269"/>
                  </a:lnTo>
                  <a:lnTo>
                    <a:pt x="2715" y="3323"/>
                  </a:lnTo>
                  <a:lnTo>
                    <a:pt x="2716" y="3324"/>
                  </a:lnTo>
                  <a:close/>
                  <a:moveTo>
                    <a:pt x="3060" y="3557"/>
                  </a:moveTo>
                  <a:lnTo>
                    <a:pt x="2868" y="3820"/>
                  </a:lnTo>
                  <a:lnTo>
                    <a:pt x="2868" y="4028"/>
                  </a:lnTo>
                  <a:lnTo>
                    <a:pt x="3089" y="3725"/>
                  </a:lnTo>
                  <a:lnTo>
                    <a:pt x="3094" y="3718"/>
                  </a:lnTo>
                  <a:lnTo>
                    <a:pt x="3080" y="3640"/>
                  </a:lnTo>
                  <a:lnTo>
                    <a:pt x="3060" y="3557"/>
                  </a:lnTo>
                  <a:close/>
                  <a:moveTo>
                    <a:pt x="2654" y="3515"/>
                  </a:moveTo>
                  <a:lnTo>
                    <a:pt x="2829" y="3754"/>
                  </a:lnTo>
                  <a:lnTo>
                    <a:pt x="2829" y="3547"/>
                  </a:lnTo>
                  <a:lnTo>
                    <a:pt x="2698" y="3367"/>
                  </a:lnTo>
                  <a:lnTo>
                    <a:pt x="2672" y="3437"/>
                  </a:lnTo>
                  <a:lnTo>
                    <a:pt x="2650" y="3511"/>
                  </a:lnTo>
                  <a:lnTo>
                    <a:pt x="2654" y="3515"/>
                  </a:lnTo>
                  <a:close/>
                  <a:moveTo>
                    <a:pt x="3103" y="3773"/>
                  </a:moveTo>
                  <a:lnTo>
                    <a:pt x="2868" y="4095"/>
                  </a:lnTo>
                  <a:lnTo>
                    <a:pt x="2868" y="4102"/>
                  </a:lnTo>
                  <a:lnTo>
                    <a:pt x="2893" y="4098"/>
                  </a:lnTo>
                  <a:lnTo>
                    <a:pt x="2917" y="4093"/>
                  </a:lnTo>
                  <a:lnTo>
                    <a:pt x="2940" y="4085"/>
                  </a:lnTo>
                  <a:lnTo>
                    <a:pt x="2962" y="4076"/>
                  </a:lnTo>
                  <a:lnTo>
                    <a:pt x="2983" y="4065"/>
                  </a:lnTo>
                  <a:lnTo>
                    <a:pt x="3003" y="4051"/>
                  </a:lnTo>
                  <a:lnTo>
                    <a:pt x="3021" y="4037"/>
                  </a:lnTo>
                  <a:lnTo>
                    <a:pt x="3038" y="4020"/>
                  </a:lnTo>
                  <a:lnTo>
                    <a:pt x="3067" y="3982"/>
                  </a:lnTo>
                  <a:lnTo>
                    <a:pt x="3079" y="3961"/>
                  </a:lnTo>
                  <a:lnTo>
                    <a:pt x="3089" y="3939"/>
                  </a:lnTo>
                  <a:lnTo>
                    <a:pt x="3097" y="3916"/>
                  </a:lnTo>
                  <a:lnTo>
                    <a:pt x="3103" y="3893"/>
                  </a:lnTo>
                  <a:lnTo>
                    <a:pt x="3107" y="3868"/>
                  </a:lnTo>
                  <a:lnTo>
                    <a:pt x="3108" y="3843"/>
                  </a:lnTo>
                  <a:lnTo>
                    <a:pt x="3107" y="3811"/>
                  </a:lnTo>
                  <a:lnTo>
                    <a:pt x="3103" y="3773"/>
                  </a:lnTo>
                  <a:close/>
                  <a:moveTo>
                    <a:pt x="2603" y="3719"/>
                  </a:moveTo>
                  <a:lnTo>
                    <a:pt x="2829" y="4012"/>
                  </a:lnTo>
                  <a:lnTo>
                    <a:pt x="2829" y="3822"/>
                  </a:lnTo>
                  <a:lnTo>
                    <a:pt x="2638" y="3560"/>
                  </a:lnTo>
                  <a:lnTo>
                    <a:pt x="2618" y="3644"/>
                  </a:lnTo>
                  <a:lnTo>
                    <a:pt x="2603" y="3719"/>
                  </a:lnTo>
                  <a:close/>
                  <a:moveTo>
                    <a:pt x="2784" y="1296"/>
                  </a:moveTo>
                  <a:lnTo>
                    <a:pt x="2784" y="1465"/>
                  </a:lnTo>
                  <a:lnTo>
                    <a:pt x="2781" y="1474"/>
                  </a:lnTo>
                  <a:lnTo>
                    <a:pt x="2777" y="1480"/>
                  </a:lnTo>
                  <a:lnTo>
                    <a:pt x="2771" y="1484"/>
                  </a:lnTo>
                  <a:lnTo>
                    <a:pt x="2763" y="1486"/>
                  </a:lnTo>
                  <a:lnTo>
                    <a:pt x="2756" y="1484"/>
                  </a:lnTo>
                  <a:lnTo>
                    <a:pt x="2749" y="1480"/>
                  </a:lnTo>
                  <a:lnTo>
                    <a:pt x="2745" y="1474"/>
                  </a:lnTo>
                  <a:lnTo>
                    <a:pt x="2743" y="1465"/>
                  </a:lnTo>
                  <a:lnTo>
                    <a:pt x="2743" y="1296"/>
                  </a:lnTo>
                  <a:lnTo>
                    <a:pt x="2650" y="1296"/>
                  </a:lnTo>
                  <a:lnTo>
                    <a:pt x="2650" y="1465"/>
                  </a:lnTo>
                  <a:lnTo>
                    <a:pt x="2649" y="1474"/>
                  </a:lnTo>
                  <a:lnTo>
                    <a:pt x="2644" y="1480"/>
                  </a:lnTo>
                  <a:lnTo>
                    <a:pt x="2638" y="1484"/>
                  </a:lnTo>
                  <a:lnTo>
                    <a:pt x="2631" y="1486"/>
                  </a:lnTo>
                  <a:lnTo>
                    <a:pt x="2624" y="1484"/>
                  </a:lnTo>
                  <a:lnTo>
                    <a:pt x="2617" y="1480"/>
                  </a:lnTo>
                  <a:lnTo>
                    <a:pt x="2612" y="1474"/>
                  </a:lnTo>
                  <a:lnTo>
                    <a:pt x="2611" y="1465"/>
                  </a:lnTo>
                  <a:lnTo>
                    <a:pt x="2611" y="1296"/>
                  </a:lnTo>
                  <a:lnTo>
                    <a:pt x="2518" y="1296"/>
                  </a:lnTo>
                  <a:lnTo>
                    <a:pt x="2518" y="1465"/>
                  </a:lnTo>
                  <a:lnTo>
                    <a:pt x="2516" y="1474"/>
                  </a:lnTo>
                  <a:lnTo>
                    <a:pt x="2512" y="1480"/>
                  </a:lnTo>
                  <a:lnTo>
                    <a:pt x="2506" y="1484"/>
                  </a:lnTo>
                  <a:lnTo>
                    <a:pt x="2498" y="1486"/>
                  </a:lnTo>
                  <a:lnTo>
                    <a:pt x="2490" y="1484"/>
                  </a:lnTo>
                  <a:lnTo>
                    <a:pt x="2484" y="1480"/>
                  </a:lnTo>
                  <a:lnTo>
                    <a:pt x="2480" y="1474"/>
                  </a:lnTo>
                  <a:lnTo>
                    <a:pt x="2477" y="1465"/>
                  </a:lnTo>
                  <a:lnTo>
                    <a:pt x="2477" y="1296"/>
                  </a:lnTo>
                  <a:lnTo>
                    <a:pt x="2385" y="1296"/>
                  </a:lnTo>
                  <a:lnTo>
                    <a:pt x="2385" y="1465"/>
                  </a:lnTo>
                  <a:lnTo>
                    <a:pt x="2384" y="1474"/>
                  </a:lnTo>
                  <a:lnTo>
                    <a:pt x="2379" y="1480"/>
                  </a:lnTo>
                  <a:lnTo>
                    <a:pt x="2372" y="1484"/>
                  </a:lnTo>
                  <a:lnTo>
                    <a:pt x="2366" y="1486"/>
                  </a:lnTo>
                  <a:lnTo>
                    <a:pt x="2358" y="1484"/>
                  </a:lnTo>
                  <a:lnTo>
                    <a:pt x="2352" y="1480"/>
                  </a:lnTo>
                  <a:lnTo>
                    <a:pt x="2347" y="1474"/>
                  </a:lnTo>
                  <a:lnTo>
                    <a:pt x="2345" y="1465"/>
                  </a:lnTo>
                  <a:lnTo>
                    <a:pt x="2345" y="1296"/>
                  </a:lnTo>
                  <a:lnTo>
                    <a:pt x="2282" y="1296"/>
                  </a:lnTo>
                  <a:lnTo>
                    <a:pt x="2282" y="1634"/>
                  </a:lnTo>
                  <a:lnTo>
                    <a:pt x="2852" y="1634"/>
                  </a:lnTo>
                  <a:lnTo>
                    <a:pt x="2852" y="1296"/>
                  </a:lnTo>
                  <a:lnTo>
                    <a:pt x="2784" y="1296"/>
                  </a:lnTo>
                  <a:close/>
                  <a:moveTo>
                    <a:pt x="332" y="4356"/>
                  </a:moveTo>
                  <a:lnTo>
                    <a:pt x="322" y="4359"/>
                  </a:lnTo>
                  <a:lnTo>
                    <a:pt x="313" y="4356"/>
                  </a:lnTo>
                  <a:lnTo>
                    <a:pt x="0" y="4356"/>
                  </a:lnTo>
                  <a:lnTo>
                    <a:pt x="0" y="4317"/>
                  </a:lnTo>
                  <a:lnTo>
                    <a:pt x="64" y="4317"/>
                  </a:lnTo>
                  <a:lnTo>
                    <a:pt x="64" y="3833"/>
                  </a:lnTo>
                  <a:lnTo>
                    <a:pt x="0" y="3833"/>
                  </a:lnTo>
                  <a:lnTo>
                    <a:pt x="0" y="3792"/>
                  </a:lnTo>
                  <a:lnTo>
                    <a:pt x="197" y="3792"/>
                  </a:lnTo>
                  <a:lnTo>
                    <a:pt x="206" y="3795"/>
                  </a:lnTo>
                  <a:lnTo>
                    <a:pt x="213" y="3799"/>
                  </a:lnTo>
                  <a:lnTo>
                    <a:pt x="217" y="3805"/>
                  </a:lnTo>
                  <a:lnTo>
                    <a:pt x="218" y="3813"/>
                  </a:lnTo>
                  <a:lnTo>
                    <a:pt x="217" y="3820"/>
                  </a:lnTo>
                  <a:lnTo>
                    <a:pt x="213" y="3827"/>
                  </a:lnTo>
                  <a:lnTo>
                    <a:pt x="206" y="3831"/>
                  </a:lnTo>
                  <a:lnTo>
                    <a:pt x="197" y="3833"/>
                  </a:lnTo>
                  <a:lnTo>
                    <a:pt x="104" y="3833"/>
                  </a:lnTo>
                  <a:lnTo>
                    <a:pt x="104" y="4317"/>
                  </a:lnTo>
                  <a:lnTo>
                    <a:pt x="303" y="4317"/>
                  </a:lnTo>
                  <a:lnTo>
                    <a:pt x="303" y="3544"/>
                  </a:lnTo>
                  <a:lnTo>
                    <a:pt x="303" y="2772"/>
                  </a:lnTo>
                  <a:lnTo>
                    <a:pt x="304" y="2764"/>
                  </a:lnTo>
                  <a:lnTo>
                    <a:pt x="308" y="2758"/>
                  </a:lnTo>
                  <a:lnTo>
                    <a:pt x="314" y="2753"/>
                  </a:lnTo>
                  <a:lnTo>
                    <a:pt x="322" y="2751"/>
                  </a:lnTo>
                  <a:lnTo>
                    <a:pt x="440" y="2751"/>
                  </a:lnTo>
                  <a:lnTo>
                    <a:pt x="440" y="2579"/>
                  </a:lnTo>
                  <a:lnTo>
                    <a:pt x="441" y="2571"/>
                  </a:lnTo>
                  <a:lnTo>
                    <a:pt x="446" y="2565"/>
                  </a:lnTo>
                  <a:lnTo>
                    <a:pt x="453" y="2560"/>
                  </a:lnTo>
                  <a:lnTo>
                    <a:pt x="460" y="2558"/>
                  </a:lnTo>
                  <a:lnTo>
                    <a:pt x="541" y="2558"/>
                  </a:lnTo>
                  <a:lnTo>
                    <a:pt x="1007" y="2558"/>
                  </a:lnTo>
                  <a:lnTo>
                    <a:pt x="1997" y="2558"/>
                  </a:lnTo>
                  <a:lnTo>
                    <a:pt x="2004" y="2560"/>
                  </a:lnTo>
                  <a:lnTo>
                    <a:pt x="2011" y="2565"/>
                  </a:lnTo>
                  <a:lnTo>
                    <a:pt x="2014" y="2571"/>
                  </a:lnTo>
                  <a:lnTo>
                    <a:pt x="2017" y="2579"/>
                  </a:lnTo>
                  <a:lnTo>
                    <a:pt x="2017" y="2751"/>
                  </a:lnTo>
                  <a:lnTo>
                    <a:pt x="2098" y="2751"/>
                  </a:lnTo>
                  <a:lnTo>
                    <a:pt x="2098" y="2203"/>
                  </a:lnTo>
                  <a:lnTo>
                    <a:pt x="2098" y="1654"/>
                  </a:lnTo>
                  <a:lnTo>
                    <a:pt x="2099" y="1647"/>
                  </a:lnTo>
                  <a:lnTo>
                    <a:pt x="2103" y="1640"/>
                  </a:lnTo>
                  <a:lnTo>
                    <a:pt x="2109" y="1635"/>
                  </a:lnTo>
                  <a:lnTo>
                    <a:pt x="2117" y="1634"/>
                  </a:lnTo>
                  <a:lnTo>
                    <a:pt x="2243" y="1634"/>
                  </a:lnTo>
                  <a:lnTo>
                    <a:pt x="2243" y="1276"/>
                  </a:lnTo>
                  <a:lnTo>
                    <a:pt x="2244" y="1268"/>
                  </a:lnTo>
                  <a:lnTo>
                    <a:pt x="2249" y="1262"/>
                  </a:lnTo>
                  <a:lnTo>
                    <a:pt x="2254" y="1258"/>
                  </a:lnTo>
                  <a:lnTo>
                    <a:pt x="2262" y="1257"/>
                  </a:lnTo>
                  <a:lnTo>
                    <a:pt x="2872" y="1257"/>
                  </a:lnTo>
                  <a:lnTo>
                    <a:pt x="2880" y="1258"/>
                  </a:lnTo>
                  <a:lnTo>
                    <a:pt x="2886" y="1262"/>
                  </a:lnTo>
                  <a:lnTo>
                    <a:pt x="2890" y="1268"/>
                  </a:lnTo>
                  <a:lnTo>
                    <a:pt x="2893" y="1276"/>
                  </a:lnTo>
                  <a:lnTo>
                    <a:pt x="2893" y="1634"/>
                  </a:lnTo>
                  <a:lnTo>
                    <a:pt x="3017" y="1634"/>
                  </a:lnTo>
                  <a:lnTo>
                    <a:pt x="3025" y="1635"/>
                  </a:lnTo>
                  <a:lnTo>
                    <a:pt x="3031" y="1640"/>
                  </a:lnTo>
                  <a:lnTo>
                    <a:pt x="3035" y="1647"/>
                  </a:lnTo>
                  <a:lnTo>
                    <a:pt x="3038" y="1654"/>
                  </a:lnTo>
                  <a:lnTo>
                    <a:pt x="3038" y="2434"/>
                  </a:lnTo>
                  <a:lnTo>
                    <a:pt x="3038" y="3214"/>
                  </a:lnTo>
                  <a:lnTo>
                    <a:pt x="3035" y="3223"/>
                  </a:lnTo>
                  <a:lnTo>
                    <a:pt x="3031" y="3230"/>
                  </a:lnTo>
                  <a:lnTo>
                    <a:pt x="3025" y="3234"/>
                  </a:lnTo>
                  <a:lnTo>
                    <a:pt x="3017" y="3235"/>
                  </a:lnTo>
                  <a:lnTo>
                    <a:pt x="3010" y="3234"/>
                  </a:lnTo>
                  <a:lnTo>
                    <a:pt x="3003" y="3230"/>
                  </a:lnTo>
                  <a:lnTo>
                    <a:pt x="2999" y="3223"/>
                  </a:lnTo>
                  <a:lnTo>
                    <a:pt x="2998" y="3214"/>
                  </a:lnTo>
                  <a:lnTo>
                    <a:pt x="2998" y="2443"/>
                  </a:lnTo>
                  <a:lnTo>
                    <a:pt x="2998" y="1674"/>
                  </a:lnTo>
                  <a:lnTo>
                    <a:pt x="2138" y="1674"/>
                  </a:lnTo>
                  <a:lnTo>
                    <a:pt x="2138" y="2333"/>
                  </a:lnTo>
                  <a:lnTo>
                    <a:pt x="2138" y="2994"/>
                  </a:lnTo>
                  <a:lnTo>
                    <a:pt x="2138" y="3655"/>
                  </a:lnTo>
                  <a:lnTo>
                    <a:pt x="2138" y="4317"/>
                  </a:lnTo>
                  <a:lnTo>
                    <a:pt x="2829" y="4317"/>
                  </a:lnTo>
                  <a:lnTo>
                    <a:pt x="2829" y="4141"/>
                  </a:lnTo>
                  <a:lnTo>
                    <a:pt x="2799" y="4138"/>
                  </a:lnTo>
                  <a:lnTo>
                    <a:pt x="2771" y="4132"/>
                  </a:lnTo>
                  <a:lnTo>
                    <a:pt x="2744" y="4123"/>
                  </a:lnTo>
                  <a:lnTo>
                    <a:pt x="2731" y="4118"/>
                  </a:lnTo>
                  <a:lnTo>
                    <a:pt x="2718" y="4113"/>
                  </a:lnTo>
                  <a:lnTo>
                    <a:pt x="2694" y="4099"/>
                  </a:lnTo>
                  <a:lnTo>
                    <a:pt x="2671" y="4084"/>
                  </a:lnTo>
                  <a:lnTo>
                    <a:pt x="2649" y="4067"/>
                  </a:lnTo>
                  <a:lnTo>
                    <a:pt x="2630" y="4048"/>
                  </a:lnTo>
                  <a:lnTo>
                    <a:pt x="2612" y="4026"/>
                  </a:lnTo>
                  <a:lnTo>
                    <a:pt x="2595" y="4005"/>
                  </a:lnTo>
                  <a:lnTo>
                    <a:pt x="2581" y="3980"/>
                  </a:lnTo>
                  <a:lnTo>
                    <a:pt x="2570" y="3955"/>
                  </a:lnTo>
                  <a:lnTo>
                    <a:pt x="2561" y="3929"/>
                  </a:lnTo>
                  <a:lnTo>
                    <a:pt x="2554" y="3901"/>
                  </a:lnTo>
                  <a:lnTo>
                    <a:pt x="2549" y="3873"/>
                  </a:lnTo>
                  <a:lnTo>
                    <a:pt x="2548" y="3843"/>
                  </a:lnTo>
                  <a:lnTo>
                    <a:pt x="2549" y="3813"/>
                  </a:lnTo>
                  <a:lnTo>
                    <a:pt x="2554" y="3773"/>
                  </a:lnTo>
                  <a:lnTo>
                    <a:pt x="2570" y="3675"/>
                  </a:lnTo>
                  <a:lnTo>
                    <a:pt x="2581" y="3617"/>
                  </a:lnTo>
                  <a:lnTo>
                    <a:pt x="2595" y="3558"/>
                  </a:lnTo>
                  <a:lnTo>
                    <a:pt x="2630" y="3436"/>
                  </a:lnTo>
                  <a:lnTo>
                    <a:pt x="2650" y="3377"/>
                  </a:lnTo>
                  <a:lnTo>
                    <a:pt x="2674" y="3320"/>
                  </a:lnTo>
                  <a:lnTo>
                    <a:pt x="2698" y="3268"/>
                  </a:lnTo>
                  <a:lnTo>
                    <a:pt x="2725" y="3222"/>
                  </a:lnTo>
                  <a:lnTo>
                    <a:pt x="2753" y="3185"/>
                  </a:lnTo>
                  <a:lnTo>
                    <a:pt x="2783" y="3156"/>
                  </a:lnTo>
                  <a:lnTo>
                    <a:pt x="2799" y="3144"/>
                  </a:lnTo>
                  <a:lnTo>
                    <a:pt x="2815" y="3136"/>
                  </a:lnTo>
                  <a:lnTo>
                    <a:pt x="2831" y="3133"/>
                  </a:lnTo>
                  <a:lnTo>
                    <a:pt x="2848" y="3130"/>
                  </a:lnTo>
                  <a:lnTo>
                    <a:pt x="2866" y="3133"/>
                  </a:lnTo>
                  <a:lnTo>
                    <a:pt x="2883" y="3138"/>
                  </a:lnTo>
                  <a:lnTo>
                    <a:pt x="2899" y="3145"/>
                  </a:lnTo>
                  <a:lnTo>
                    <a:pt x="2915" y="3157"/>
                  </a:lnTo>
                  <a:lnTo>
                    <a:pt x="2945" y="3187"/>
                  </a:lnTo>
                  <a:lnTo>
                    <a:pt x="2953" y="3196"/>
                  </a:lnTo>
                  <a:lnTo>
                    <a:pt x="2960" y="3205"/>
                  </a:lnTo>
                  <a:lnTo>
                    <a:pt x="2974" y="3226"/>
                  </a:lnTo>
                  <a:lnTo>
                    <a:pt x="3001" y="3272"/>
                  </a:lnTo>
                  <a:lnTo>
                    <a:pt x="3024" y="3323"/>
                  </a:lnTo>
                  <a:lnTo>
                    <a:pt x="3045" y="3377"/>
                  </a:lnTo>
                  <a:lnTo>
                    <a:pt x="3065" y="3433"/>
                  </a:lnTo>
                  <a:lnTo>
                    <a:pt x="3083" y="3492"/>
                  </a:lnTo>
                  <a:lnTo>
                    <a:pt x="3099" y="3551"/>
                  </a:lnTo>
                  <a:lnTo>
                    <a:pt x="3113" y="3609"/>
                  </a:lnTo>
                  <a:lnTo>
                    <a:pt x="3125" y="3666"/>
                  </a:lnTo>
                  <a:lnTo>
                    <a:pt x="3135" y="3719"/>
                  </a:lnTo>
                  <a:lnTo>
                    <a:pt x="3142" y="3767"/>
                  </a:lnTo>
                  <a:lnTo>
                    <a:pt x="3147" y="3809"/>
                  </a:lnTo>
                  <a:lnTo>
                    <a:pt x="3148" y="3843"/>
                  </a:lnTo>
                  <a:lnTo>
                    <a:pt x="3147" y="3873"/>
                  </a:lnTo>
                  <a:lnTo>
                    <a:pt x="3143" y="3901"/>
                  </a:lnTo>
                  <a:lnTo>
                    <a:pt x="3135" y="3929"/>
                  </a:lnTo>
                  <a:lnTo>
                    <a:pt x="3126" y="3955"/>
                  </a:lnTo>
                  <a:lnTo>
                    <a:pt x="3115" y="3980"/>
                  </a:lnTo>
                  <a:lnTo>
                    <a:pt x="3101" y="4005"/>
                  </a:lnTo>
                  <a:lnTo>
                    <a:pt x="3067" y="4048"/>
                  </a:lnTo>
                  <a:lnTo>
                    <a:pt x="3025" y="4084"/>
                  </a:lnTo>
                  <a:lnTo>
                    <a:pt x="3002" y="4099"/>
                  </a:lnTo>
                  <a:lnTo>
                    <a:pt x="2977" y="4113"/>
                  </a:lnTo>
                  <a:lnTo>
                    <a:pt x="2952" y="4123"/>
                  </a:lnTo>
                  <a:lnTo>
                    <a:pt x="2925" y="4132"/>
                  </a:lnTo>
                  <a:lnTo>
                    <a:pt x="2897" y="4138"/>
                  </a:lnTo>
                  <a:lnTo>
                    <a:pt x="2868" y="4141"/>
                  </a:lnTo>
                  <a:lnTo>
                    <a:pt x="2868" y="4317"/>
                  </a:lnTo>
                  <a:lnTo>
                    <a:pt x="2998" y="4317"/>
                  </a:lnTo>
                  <a:lnTo>
                    <a:pt x="2998" y="4193"/>
                  </a:lnTo>
                  <a:lnTo>
                    <a:pt x="2999" y="4184"/>
                  </a:lnTo>
                  <a:lnTo>
                    <a:pt x="3003" y="4177"/>
                  </a:lnTo>
                  <a:lnTo>
                    <a:pt x="3010" y="4173"/>
                  </a:lnTo>
                  <a:lnTo>
                    <a:pt x="3017" y="4172"/>
                  </a:lnTo>
                  <a:lnTo>
                    <a:pt x="3025" y="4173"/>
                  </a:lnTo>
                  <a:lnTo>
                    <a:pt x="3031" y="4177"/>
                  </a:lnTo>
                  <a:lnTo>
                    <a:pt x="3035" y="4184"/>
                  </a:lnTo>
                  <a:lnTo>
                    <a:pt x="3038" y="4193"/>
                  </a:lnTo>
                  <a:lnTo>
                    <a:pt x="3038" y="4332"/>
                  </a:lnTo>
                  <a:lnTo>
                    <a:pt x="3036" y="4340"/>
                  </a:lnTo>
                  <a:lnTo>
                    <a:pt x="3031" y="4346"/>
                  </a:lnTo>
                  <a:lnTo>
                    <a:pt x="3025" y="4354"/>
                  </a:lnTo>
                  <a:lnTo>
                    <a:pt x="3013" y="4356"/>
                  </a:lnTo>
                  <a:lnTo>
                    <a:pt x="2343" y="4356"/>
                  </a:lnTo>
                  <a:lnTo>
                    <a:pt x="1672" y="4356"/>
                  </a:lnTo>
                  <a:lnTo>
                    <a:pt x="1001" y="4356"/>
                  </a:lnTo>
                  <a:lnTo>
                    <a:pt x="332" y="4356"/>
                  </a:lnTo>
                  <a:close/>
                  <a:moveTo>
                    <a:pt x="1458" y="2791"/>
                  </a:moveTo>
                  <a:lnTo>
                    <a:pt x="900" y="2791"/>
                  </a:lnTo>
                  <a:lnTo>
                    <a:pt x="342" y="2791"/>
                  </a:lnTo>
                  <a:lnTo>
                    <a:pt x="342" y="3553"/>
                  </a:lnTo>
                  <a:lnTo>
                    <a:pt x="342" y="4317"/>
                  </a:lnTo>
                  <a:lnTo>
                    <a:pt x="1218" y="4317"/>
                  </a:lnTo>
                  <a:lnTo>
                    <a:pt x="2095" y="4317"/>
                  </a:lnTo>
                  <a:lnTo>
                    <a:pt x="2095" y="3553"/>
                  </a:lnTo>
                  <a:lnTo>
                    <a:pt x="2095" y="2791"/>
                  </a:lnTo>
                  <a:lnTo>
                    <a:pt x="1723" y="2791"/>
                  </a:lnTo>
                  <a:lnTo>
                    <a:pt x="1714" y="2790"/>
                  </a:lnTo>
                  <a:lnTo>
                    <a:pt x="1708" y="2786"/>
                  </a:lnTo>
                  <a:lnTo>
                    <a:pt x="1704" y="2780"/>
                  </a:lnTo>
                  <a:lnTo>
                    <a:pt x="1703" y="2772"/>
                  </a:lnTo>
                  <a:lnTo>
                    <a:pt x="1704" y="2764"/>
                  </a:lnTo>
                  <a:lnTo>
                    <a:pt x="1708" y="2758"/>
                  </a:lnTo>
                  <a:lnTo>
                    <a:pt x="1714" y="2754"/>
                  </a:lnTo>
                  <a:lnTo>
                    <a:pt x="1723" y="2751"/>
                  </a:lnTo>
                  <a:lnTo>
                    <a:pt x="1976" y="2751"/>
                  </a:lnTo>
                  <a:lnTo>
                    <a:pt x="1976" y="2598"/>
                  </a:lnTo>
                  <a:lnTo>
                    <a:pt x="1025" y="2598"/>
                  </a:lnTo>
                  <a:lnTo>
                    <a:pt x="1018" y="2602"/>
                  </a:lnTo>
                  <a:lnTo>
                    <a:pt x="1010" y="2603"/>
                  </a:lnTo>
                  <a:lnTo>
                    <a:pt x="544" y="2603"/>
                  </a:lnTo>
                  <a:lnTo>
                    <a:pt x="536" y="2602"/>
                  </a:lnTo>
                  <a:lnTo>
                    <a:pt x="531" y="2598"/>
                  </a:lnTo>
                  <a:lnTo>
                    <a:pt x="480" y="2598"/>
                  </a:lnTo>
                  <a:lnTo>
                    <a:pt x="480" y="2751"/>
                  </a:lnTo>
                  <a:lnTo>
                    <a:pt x="1458" y="2751"/>
                  </a:lnTo>
                  <a:lnTo>
                    <a:pt x="1467" y="2754"/>
                  </a:lnTo>
                  <a:lnTo>
                    <a:pt x="1473" y="2758"/>
                  </a:lnTo>
                  <a:lnTo>
                    <a:pt x="1477" y="2764"/>
                  </a:lnTo>
                  <a:lnTo>
                    <a:pt x="1478" y="2772"/>
                  </a:lnTo>
                  <a:lnTo>
                    <a:pt x="1477" y="2780"/>
                  </a:lnTo>
                  <a:lnTo>
                    <a:pt x="1473" y="2786"/>
                  </a:lnTo>
                  <a:lnTo>
                    <a:pt x="1467" y="2790"/>
                  </a:lnTo>
                  <a:lnTo>
                    <a:pt x="1458" y="2791"/>
                  </a:lnTo>
                  <a:close/>
                  <a:moveTo>
                    <a:pt x="2829" y="4085"/>
                  </a:moveTo>
                  <a:lnTo>
                    <a:pt x="2829" y="4077"/>
                  </a:lnTo>
                  <a:lnTo>
                    <a:pt x="2594" y="3774"/>
                  </a:lnTo>
                  <a:lnTo>
                    <a:pt x="2590" y="3814"/>
                  </a:lnTo>
                  <a:lnTo>
                    <a:pt x="2588" y="3843"/>
                  </a:lnTo>
                  <a:lnTo>
                    <a:pt x="2589" y="3868"/>
                  </a:lnTo>
                  <a:lnTo>
                    <a:pt x="2593" y="3893"/>
                  </a:lnTo>
                  <a:lnTo>
                    <a:pt x="2599" y="3916"/>
                  </a:lnTo>
                  <a:lnTo>
                    <a:pt x="2607" y="3939"/>
                  </a:lnTo>
                  <a:lnTo>
                    <a:pt x="2617" y="3961"/>
                  </a:lnTo>
                  <a:lnTo>
                    <a:pt x="2629" y="3982"/>
                  </a:lnTo>
                  <a:lnTo>
                    <a:pt x="2643" y="4002"/>
                  </a:lnTo>
                  <a:lnTo>
                    <a:pt x="2658" y="4020"/>
                  </a:lnTo>
                  <a:lnTo>
                    <a:pt x="2675" y="4037"/>
                  </a:lnTo>
                  <a:lnTo>
                    <a:pt x="2693" y="4051"/>
                  </a:lnTo>
                  <a:lnTo>
                    <a:pt x="2713" y="4065"/>
                  </a:lnTo>
                  <a:lnTo>
                    <a:pt x="2734" y="4076"/>
                  </a:lnTo>
                  <a:lnTo>
                    <a:pt x="2756" y="4085"/>
                  </a:lnTo>
                  <a:lnTo>
                    <a:pt x="2779" y="4093"/>
                  </a:lnTo>
                  <a:lnTo>
                    <a:pt x="2803" y="4098"/>
                  </a:lnTo>
                  <a:lnTo>
                    <a:pt x="2829" y="4102"/>
                  </a:lnTo>
                  <a:lnTo>
                    <a:pt x="2829" y="4093"/>
                  </a:lnTo>
                  <a:lnTo>
                    <a:pt x="2829" y="4085"/>
                  </a:lnTo>
                  <a:close/>
                  <a:moveTo>
                    <a:pt x="1903" y="3824"/>
                  </a:moveTo>
                  <a:lnTo>
                    <a:pt x="1903" y="3937"/>
                  </a:lnTo>
                  <a:lnTo>
                    <a:pt x="1902" y="3946"/>
                  </a:lnTo>
                  <a:lnTo>
                    <a:pt x="1896" y="3952"/>
                  </a:lnTo>
                  <a:lnTo>
                    <a:pt x="1890" y="3956"/>
                  </a:lnTo>
                  <a:lnTo>
                    <a:pt x="1882" y="3957"/>
                  </a:lnTo>
                  <a:lnTo>
                    <a:pt x="1876" y="3956"/>
                  </a:lnTo>
                  <a:lnTo>
                    <a:pt x="1870" y="3952"/>
                  </a:lnTo>
                  <a:lnTo>
                    <a:pt x="1864" y="3946"/>
                  </a:lnTo>
                  <a:lnTo>
                    <a:pt x="1863" y="3937"/>
                  </a:lnTo>
                  <a:lnTo>
                    <a:pt x="1863" y="3824"/>
                  </a:lnTo>
                  <a:lnTo>
                    <a:pt x="1864" y="3817"/>
                  </a:lnTo>
                  <a:lnTo>
                    <a:pt x="1870" y="3810"/>
                  </a:lnTo>
                  <a:lnTo>
                    <a:pt x="1876" y="3806"/>
                  </a:lnTo>
                  <a:lnTo>
                    <a:pt x="1882" y="3805"/>
                  </a:lnTo>
                  <a:lnTo>
                    <a:pt x="1890" y="3806"/>
                  </a:lnTo>
                  <a:lnTo>
                    <a:pt x="1896" y="3810"/>
                  </a:lnTo>
                  <a:lnTo>
                    <a:pt x="1902" y="3817"/>
                  </a:lnTo>
                  <a:lnTo>
                    <a:pt x="1903" y="3824"/>
                  </a:lnTo>
                  <a:close/>
                  <a:moveTo>
                    <a:pt x="587" y="3118"/>
                  </a:moveTo>
                  <a:lnTo>
                    <a:pt x="587" y="3231"/>
                  </a:lnTo>
                  <a:lnTo>
                    <a:pt x="586" y="3240"/>
                  </a:lnTo>
                  <a:lnTo>
                    <a:pt x="581" y="3246"/>
                  </a:lnTo>
                  <a:lnTo>
                    <a:pt x="574" y="3250"/>
                  </a:lnTo>
                  <a:lnTo>
                    <a:pt x="567" y="3251"/>
                  </a:lnTo>
                  <a:lnTo>
                    <a:pt x="560" y="3250"/>
                  </a:lnTo>
                  <a:lnTo>
                    <a:pt x="554" y="3246"/>
                  </a:lnTo>
                  <a:lnTo>
                    <a:pt x="549" y="3240"/>
                  </a:lnTo>
                  <a:lnTo>
                    <a:pt x="548" y="3231"/>
                  </a:lnTo>
                  <a:lnTo>
                    <a:pt x="548" y="3118"/>
                  </a:lnTo>
                  <a:lnTo>
                    <a:pt x="549" y="3111"/>
                  </a:lnTo>
                  <a:lnTo>
                    <a:pt x="554" y="3104"/>
                  </a:lnTo>
                  <a:lnTo>
                    <a:pt x="560" y="3101"/>
                  </a:lnTo>
                  <a:lnTo>
                    <a:pt x="567" y="3099"/>
                  </a:lnTo>
                  <a:lnTo>
                    <a:pt x="574" y="3101"/>
                  </a:lnTo>
                  <a:lnTo>
                    <a:pt x="581" y="3104"/>
                  </a:lnTo>
                  <a:lnTo>
                    <a:pt x="586" y="3111"/>
                  </a:lnTo>
                  <a:lnTo>
                    <a:pt x="587" y="3118"/>
                  </a:lnTo>
                  <a:close/>
                  <a:moveTo>
                    <a:pt x="850" y="3118"/>
                  </a:moveTo>
                  <a:lnTo>
                    <a:pt x="850" y="3231"/>
                  </a:lnTo>
                  <a:lnTo>
                    <a:pt x="849" y="3240"/>
                  </a:lnTo>
                  <a:lnTo>
                    <a:pt x="844" y="3246"/>
                  </a:lnTo>
                  <a:lnTo>
                    <a:pt x="837" y="3250"/>
                  </a:lnTo>
                  <a:lnTo>
                    <a:pt x="831" y="3251"/>
                  </a:lnTo>
                  <a:lnTo>
                    <a:pt x="823" y="3250"/>
                  </a:lnTo>
                  <a:lnTo>
                    <a:pt x="817" y="3246"/>
                  </a:lnTo>
                  <a:lnTo>
                    <a:pt x="812" y="3240"/>
                  </a:lnTo>
                  <a:lnTo>
                    <a:pt x="810" y="3231"/>
                  </a:lnTo>
                  <a:lnTo>
                    <a:pt x="810" y="3118"/>
                  </a:lnTo>
                  <a:lnTo>
                    <a:pt x="812" y="3111"/>
                  </a:lnTo>
                  <a:lnTo>
                    <a:pt x="817" y="3104"/>
                  </a:lnTo>
                  <a:lnTo>
                    <a:pt x="823" y="3101"/>
                  </a:lnTo>
                  <a:lnTo>
                    <a:pt x="831" y="3099"/>
                  </a:lnTo>
                  <a:lnTo>
                    <a:pt x="837" y="3101"/>
                  </a:lnTo>
                  <a:lnTo>
                    <a:pt x="844" y="3104"/>
                  </a:lnTo>
                  <a:lnTo>
                    <a:pt x="849" y="3111"/>
                  </a:lnTo>
                  <a:lnTo>
                    <a:pt x="850" y="3118"/>
                  </a:lnTo>
                  <a:close/>
                  <a:moveTo>
                    <a:pt x="1113" y="3118"/>
                  </a:moveTo>
                  <a:lnTo>
                    <a:pt x="1113" y="3231"/>
                  </a:lnTo>
                  <a:lnTo>
                    <a:pt x="1112" y="3240"/>
                  </a:lnTo>
                  <a:lnTo>
                    <a:pt x="1107" y="3246"/>
                  </a:lnTo>
                  <a:lnTo>
                    <a:pt x="1100" y="3250"/>
                  </a:lnTo>
                  <a:lnTo>
                    <a:pt x="1094" y="3251"/>
                  </a:lnTo>
                  <a:lnTo>
                    <a:pt x="1086" y="3250"/>
                  </a:lnTo>
                  <a:lnTo>
                    <a:pt x="1080" y="3246"/>
                  </a:lnTo>
                  <a:lnTo>
                    <a:pt x="1076" y="3240"/>
                  </a:lnTo>
                  <a:lnTo>
                    <a:pt x="1073" y="3231"/>
                  </a:lnTo>
                  <a:lnTo>
                    <a:pt x="1073" y="3118"/>
                  </a:lnTo>
                  <a:lnTo>
                    <a:pt x="1076" y="3111"/>
                  </a:lnTo>
                  <a:lnTo>
                    <a:pt x="1080" y="3104"/>
                  </a:lnTo>
                  <a:lnTo>
                    <a:pt x="1086" y="3101"/>
                  </a:lnTo>
                  <a:lnTo>
                    <a:pt x="1094" y="3099"/>
                  </a:lnTo>
                  <a:lnTo>
                    <a:pt x="1100" y="3101"/>
                  </a:lnTo>
                  <a:lnTo>
                    <a:pt x="1107" y="3104"/>
                  </a:lnTo>
                  <a:lnTo>
                    <a:pt x="1112" y="3111"/>
                  </a:lnTo>
                  <a:lnTo>
                    <a:pt x="1113" y="3118"/>
                  </a:lnTo>
                  <a:close/>
                  <a:moveTo>
                    <a:pt x="1377" y="3118"/>
                  </a:moveTo>
                  <a:lnTo>
                    <a:pt x="1377" y="3231"/>
                  </a:lnTo>
                  <a:lnTo>
                    <a:pt x="1375" y="3240"/>
                  </a:lnTo>
                  <a:lnTo>
                    <a:pt x="1371" y="3246"/>
                  </a:lnTo>
                  <a:lnTo>
                    <a:pt x="1364" y="3250"/>
                  </a:lnTo>
                  <a:lnTo>
                    <a:pt x="1357" y="3251"/>
                  </a:lnTo>
                  <a:lnTo>
                    <a:pt x="1349" y="3250"/>
                  </a:lnTo>
                  <a:lnTo>
                    <a:pt x="1343" y="3246"/>
                  </a:lnTo>
                  <a:lnTo>
                    <a:pt x="1339" y="3240"/>
                  </a:lnTo>
                  <a:lnTo>
                    <a:pt x="1336" y="3231"/>
                  </a:lnTo>
                  <a:lnTo>
                    <a:pt x="1336" y="3118"/>
                  </a:lnTo>
                  <a:lnTo>
                    <a:pt x="1339" y="3111"/>
                  </a:lnTo>
                  <a:lnTo>
                    <a:pt x="1343" y="3104"/>
                  </a:lnTo>
                  <a:lnTo>
                    <a:pt x="1349" y="3101"/>
                  </a:lnTo>
                  <a:lnTo>
                    <a:pt x="1357" y="3099"/>
                  </a:lnTo>
                  <a:lnTo>
                    <a:pt x="1364" y="3101"/>
                  </a:lnTo>
                  <a:lnTo>
                    <a:pt x="1371" y="3104"/>
                  </a:lnTo>
                  <a:lnTo>
                    <a:pt x="1375" y="3111"/>
                  </a:lnTo>
                  <a:lnTo>
                    <a:pt x="1377" y="3118"/>
                  </a:lnTo>
                  <a:close/>
                  <a:moveTo>
                    <a:pt x="1640" y="3118"/>
                  </a:moveTo>
                  <a:lnTo>
                    <a:pt x="1640" y="3231"/>
                  </a:lnTo>
                  <a:lnTo>
                    <a:pt x="1637" y="3240"/>
                  </a:lnTo>
                  <a:lnTo>
                    <a:pt x="1634" y="3246"/>
                  </a:lnTo>
                  <a:lnTo>
                    <a:pt x="1627" y="3250"/>
                  </a:lnTo>
                  <a:lnTo>
                    <a:pt x="1620" y="3251"/>
                  </a:lnTo>
                  <a:lnTo>
                    <a:pt x="1612" y="3250"/>
                  </a:lnTo>
                  <a:lnTo>
                    <a:pt x="1605" y="3246"/>
                  </a:lnTo>
                  <a:lnTo>
                    <a:pt x="1602" y="3240"/>
                  </a:lnTo>
                  <a:lnTo>
                    <a:pt x="1600" y="3231"/>
                  </a:lnTo>
                  <a:lnTo>
                    <a:pt x="1600" y="3118"/>
                  </a:lnTo>
                  <a:lnTo>
                    <a:pt x="1602" y="3111"/>
                  </a:lnTo>
                  <a:lnTo>
                    <a:pt x="1605" y="3104"/>
                  </a:lnTo>
                  <a:lnTo>
                    <a:pt x="1612" y="3101"/>
                  </a:lnTo>
                  <a:lnTo>
                    <a:pt x="1620" y="3099"/>
                  </a:lnTo>
                  <a:lnTo>
                    <a:pt x="1627" y="3101"/>
                  </a:lnTo>
                  <a:lnTo>
                    <a:pt x="1634" y="3104"/>
                  </a:lnTo>
                  <a:lnTo>
                    <a:pt x="1637" y="3111"/>
                  </a:lnTo>
                  <a:lnTo>
                    <a:pt x="1640" y="3118"/>
                  </a:lnTo>
                  <a:close/>
                  <a:moveTo>
                    <a:pt x="1903" y="3118"/>
                  </a:moveTo>
                  <a:lnTo>
                    <a:pt x="1903" y="3231"/>
                  </a:lnTo>
                  <a:lnTo>
                    <a:pt x="1902" y="3240"/>
                  </a:lnTo>
                  <a:lnTo>
                    <a:pt x="1896" y="3246"/>
                  </a:lnTo>
                  <a:lnTo>
                    <a:pt x="1890" y="3250"/>
                  </a:lnTo>
                  <a:lnTo>
                    <a:pt x="1882" y="3251"/>
                  </a:lnTo>
                  <a:lnTo>
                    <a:pt x="1876" y="3250"/>
                  </a:lnTo>
                  <a:lnTo>
                    <a:pt x="1870" y="3246"/>
                  </a:lnTo>
                  <a:lnTo>
                    <a:pt x="1864" y="3240"/>
                  </a:lnTo>
                  <a:lnTo>
                    <a:pt x="1863" y="3231"/>
                  </a:lnTo>
                  <a:lnTo>
                    <a:pt x="1863" y="3118"/>
                  </a:lnTo>
                  <a:lnTo>
                    <a:pt x="1864" y="3111"/>
                  </a:lnTo>
                  <a:lnTo>
                    <a:pt x="1870" y="3104"/>
                  </a:lnTo>
                  <a:lnTo>
                    <a:pt x="1876" y="3101"/>
                  </a:lnTo>
                  <a:lnTo>
                    <a:pt x="1882" y="3099"/>
                  </a:lnTo>
                  <a:lnTo>
                    <a:pt x="1890" y="3101"/>
                  </a:lnTo>
                  <a:lnTo>
                    <a:pt x="1896" y="3104"/>
                  </a:lnTo>
                  <a:lnTo>
                    <a:pt x="1902" y="3111"/>
                  </a:lnTo>
                  <a:lnTo>
                    <a:pt x="1903" y="3118"/>
                  </a:lnTo>
                  <a:close/>
                  <a:moveTo>
                    <a:pt x="587" y="3354"/>
                  </a:moveTo>
                  <a:lnTo>
                    <a:pt x="587" y="3466"/>
                  </a:lnTo>
                  <a:lnTo>
                    <a:pt x="586" y="3475"/>
                  </a:lnTo>
                  <a:lnTo>
                    <a:pt x="581" y="3482"/>
                  </a:lnTo>
                  <a:lnTo>
                    <a:pt x="574" y="3485"/>
                  </a:lnTo>
                  <a:lnTo>
                    <a:pt x="567" y="3487"/>
                  </a:lnTo>
                  <a:lnTo>
                    <a:pt x="560" y="3485"/>
                  </a:lnTo>
                  <a:lnTo>
                    <a:pt x="554" y="3482"/>
                  </a:lnTo>
                  <a:lnTo>
                    <a:pt x="549" y="3475"/>
                  </a:lnTo>
                  <a:lnTo>
                    <a:pt x="548" y="3466"/>
                  </a:lnTo>
                  <a:lnTo>
                    <a:pt x="548" y="3354"/>
                  </a:lnTo>
                  <a:lnTo>
                    <a:pt x="549" y="3346"/>
                  </a:lnTo>
                  <a:lnTo>
                    <a:pt x="554" y="3340"/>
                  </a:lnTo>
                  <a:lnTo>
                    <a:pt x="560" y="3336"/>
                  </a:lnTo>
                  <a:lnTo>
                    <a:pt x="567" y="3335"/>
                  </a:lnTo>
                  <a:lnTo>
                    <a:pt x="574" y="3336"/>
                  </a:lnTo>
                  <a:lnTo>
                    <a:pt x="581" y="3340"/>
                  </a:lnTo>
                  <a:lnTo>
                    <a:pt x="586" y="3346"/>
                  </a:lnTo>
                  <a:lnTo>
                    <a:pt x="587" y="3354"/>
                  </a:lnTo>
                  <a:close/>
                  <a:moveTo>
                    <a:pt x="850" y="3354"/>
                  </a:moveTo>
                  <a:lnTo>
                    <a:pt x="850" y="3466"/>
                  </a:lnTo>
                  <a:lnTo>
                    <a:pt x="849" y="3475"/>
                  </a:lnTo>
                  <a:lnTo>
                    <a:pt x="844" y="3482"/>
                  </a:lnTo>
                  <a:lnTo>
                    <a:pt x="837" y="3485"/>
                  </a:lnTo>
                  <a:lnTo>
                    <a:pt x="831" y="3487"/>
                  </a:lnTo>
                  <a:lnTo>
                    <a:pt x="823" y="3485"/>
                  </a:lnTo>
                  <a:lnTo>
                    <a:pt x="817" y="3482"/>
                  </a:lnTo>
                  <a:lnTo>
                    <a:pt x="812" y="3475"/>
                  </a:lnTo>
                  <a:lnTo>
                    <a:pt x="810" y="3466"/>
                  </a:lnTo>
                  <a:lnTo>
                    <a:pt x="810" y="3354"/>
                  </a:lnTo>
                  <a:lnTo>
                    <a:pt x="812" y="3346"/>
                  </a:lnTo>
                  <a:lnTo>
                    <a:pt x="817" y="3340"/>
                  </a:lnTo>
                  <a:lnTo>
                    <a:pt x="823" y="3336"/>
                  </a:lnTo>
                  <a:lnTo>
                    <a:pt x="831" y="3335"/>
                  </a:lnTo>
                  <a:lnTo>
                    <a:pt x="837" y="3336"/>
                  </a:lnTo>
                  <a:lnTo>
                    <a:pt x="844" y="3340"/>
                  </a:lnTo>
                  <a:lnTo>
                    <a:pt x="849" y="3346"/>
                  </a:lnTo>
                  <a:lnTo>
                    <a:pt x="850" y="3354"/>
                  </a:lnTo>
                  <a:close/>
                  <a:moveTo>
                    <a:pt x="1113" y="3354"/>
                  </a:moveTo>
                  <a:lnTo>
                    <a:pt x="1113" y="3466"/>
                  </a:lnTo>
                  <a:lnTo>
                    <a:pt x="1112" y="3475"/>
                  </a:lnTo>
                  <a:lnTo>
                    <a:pt x="1107" y="3482"/>
                  </a:lnTo>
                  <a:lnTo>
                    <a:pt x="1100" y="3485"/>
                  </a:lnTo>
                  <a:lnTo>
                    <a:pt x="1094" y="3487"/>
                  </a:lnTo>
                  <a:lnTo>
                    <a:pt x="1086" y="3485"/>
                  </a:lnTo>
                  <a:lnTo>
                    <a:pt x="1080" y="3482"/>
                  </a:lnTo>
                  <a:lnTo>
                    <a:pt x="1076" y="3475"/>
                  </a:lnTo>
                  <a:lnTo>
                    <a:pt x="1073" y="3466"/>
                  </a:lnTo>
                  <a:lnTo>
                    <a:pt x="1073" y="3354"/>
                  </a:lnTo>
                  <a:lnTo>
                    <a:pt x="1076" y="3346"/>
                  </a:lnTo>
                  <a:lnTo>
                    <a:pt x="1080" y="3340"/>
                  </a:lnTo>
                  <a:lnTo>
                    <a:pt x="1086" y="3336"/>
                  </a:lnTo>
                  <a:lnTo>
                    <a:pt x="1094" y="3335"/>
                  </a:lnTo>
                  <a:lnTo>
                    <a:pt x="1100" y="3336"/>
                  </a:lnTo>
                  <a:lnTo>
                    <a:pt x="1107" y="3340"/>
                  </a:lnTo>
                  <a:lnTo>
                    <a:pt x="1112" y="3346"/>
                  </a:lnTo>
                  <a:lnTo>
                    <a:pt x="1113" y="3354"/>
                  </a:lnTo>
                  <a:close/>
                  <a:moveTo>
                    <a:pt x="1377" y="3354"/>
                  </a:moveTo>
                  <a:lnTo>
                    <a:pt x="1377" y="3466"/>
                  </a:lnTo>
                  <a:lnTo>
                    <a:pt x="1375" y="3475"/>
                  </a:lnTo>
                  <a:lnTo>
                    <a:pt x="1371" y="3482"/>
                  </a:lnTo>
                  <a:lnTo>
                    <a:pt x="1364" y="3485"/>
                  </a:lnTo>
                  <a:lnTo>
                    <a:pt x="1357" y="3487"/>
                  </a:lnTo>
                  <a:lnTo>
                    <a:pt x="1349" y="3485"/>
                  </a:lnTo>
                  <a:lnTo>
                    <a:pt x="1343" y="3482"/>
                  </a:lnTo>
                  <a:lnTo>
                    <a:pt x="1339" y="3475"/>
                  </a:lnTo>
                  <a:lnTo>
                    <a:pt x="1336" y="3466"/>
                  </a:lnTo>
                  <a:lnTo>
                    <a:pt x="1336" y="3354"/>
                  </a:lnTo>
                  <a:lnTo>
                    <a:pt x="1339" y="3346"/>
                  </a:lnTo>
                  <a:lnTo>
                    <a:pt x="1343" y="3340"/>
                  </a:lnTo>
                  <a:lnTo>
                    <a:pt x="1349" y="3336"/>
                  </a:lnTo>
                  <a:lnTo>
                    <a:pt x="1357" y="3335"/>
                  </a:lnTo>
                  <a:lnTo>
                    <a:pt x="1364" y="3336"/>
                  </a:lnTo>
                  <a:lnTo>
                    <a:pt x="1371" y="3340"/>
                  </a:lnTo>
                  <a:lnTo>
                    <a:pt x="1375" y="3346"/>
                  </a:lnTo>
                  <a:lnTo>
                    <a:pt x="1377" y="3354"/>
                  </a:lnTo>
                  <a:close/>
                  <a:moveTo>
                    <a:pt x="1640" y="3354"/>
                  </a:moveTo>
                  <a:lnTo>
                    <a:pt x="1640" y="3466"/>
                  </a:lnTo>
                  <a:lnTo>
                    <a:pt x="1637" y="3475"/>
                  </a:lnTo>
                  <a:lnTo>
                    <a:pt x="1634" y="3482"/>
                  </a:lnTo>
                  <a:lnTo>
                    <a:pt x="1627" y="3485"/>
                  </a:lnTo>
                  <a:lnTo>
                    <a:pt x="1620" y="3487"/>
                  </a:lnTo>
                  <a:lnTo>
                    <a:pt x="1612" y="3485"/>
                  </a:lnTo>
                  <a:lnTo>
                    <a:pt x="1605" y="3482"/>
                  </a:lnTo>
                  <a:lnTo>
                    <a:pt x="1602" y="3475"/>
                  </a:lnTo>
                  <a:lnTo>
                    <a:pt x="1600" y="3466"/>
                  </a:lnTo>
                  <a:lnTo>
                    <a:pt x="1600" y="3354"/>
                  </a:lnTo>
                  <a:lnTo>
                    <a:pt x="1602" y="3346"/>
                  </a:lnTo>
                  <a:lnTo>
                    <a:pt x="1605" y="3340"/>
                  </a:lnTo>
                  <a:lnTo>
                    <a:pt x="1612" y="3336"/>
                  </a:lnTo>
                  <a:lnTo>
                    <a:pt x="1620" y="3335"/>
                  </a:lnTo>
                  <a:lnTo>
                    <a:pt x="1627" y="3336"/>
                  </a:lnTo>
                  <a:lnTo>
                    <a:pt x="1634" y="3340"/>
                  </a:lnTo>
                  <a:lnTo>
                    <a:pt x="1637" y="3346"/>
                  </a:lnTo>
                  <a:lnTo>
                    <a:pt x="1640" y="3354"/>
                  </a:lnTo>
                  <a:close/>
                  <a:moveTo>
                    <a:pt x="1903" y="3354"/>
                  </a:moveTo>
                  <a:lnTo>
                    <a:pt x="1903" y="3466"/>
                  </a:lnTo>
                  <a:lnTo>
                    <a:pt x="1902" y="3475"/>
                  </a:lnTo>
                  <a:lnTo>
                    <a:pt x="1896" y="3482"/>
                  </a:lnTo>
                  <a:lnTo>
                    <a:pt x="1890" y="3485"/>
                  </a:lnTo>
                  <a:lnTo>
                    <a:pt x="1882" y="3487"/>
                  </a:lnTo>
                  <a:lnTo>
                    <a:pt x="1876" y="3485"/>
                  </a:lnTo>
                  <a:lnTo>
                    <a:pt x="1870" y="3482"/>
                  </a:lnTo>
                  <a:lnTo>
                    <a:pt x="1864" y="3475"/>
                  </a:lnTo>
                  <a:lnTo>
                    <a:pt x="1863" y="3466"/>
                  </a:lnTo>
                  <a:lnTo>
                    <a:pt x="1863" y="3354"/>
                  </a:lnTo>
                  <a:lnTo>
                    <a:pt x="1864" y="3346"/>
                  </a:lnTo>
                  <a:lnTo>
                    <a:pt x="1870" y="3340"/>
                  </a:lnTo>
                  <a:lnTo>
                    <a:pt x="1876" y="3336"/>
                  </a:lnTo>
                  <a:lnTo>
                    <a:pt x="1882" y="3335"/>
                  </a:lnTo>
                  <a:lnTo>
                    <a:pt x="1890" y="3336"/>
                  </a:lnTo>
                  <a:lnTo>
                    <a:pt x="1896" y="3340"/>
                  </a:lnTo>
                  <a:lnTo>
                    <a:pt x="1902" y="3346"/>
                  </a:lnTo>
                  <a:lnTo>
                    <a:pt x="1903" y="3354"/>
                  </a:lnTo>
                  <a:close/>
                  <a:moveTo>
                    <a:pt x="587" y="3589"/>
                  </a:moveTo>
                  <a:lnTo>
                    <a:pt x="587" y="3702"/>
                  </a:lnTo>
                  <a:lnTo>
                    <a:pt x="586" y="3710"/>
                  </a:lnTo>
                  <a:lnTo>
                    <a:pt x="581" y="3717"/>
                  </a:lnTo>
                  <a:lnTo>
                    <a:pt x="574" y="3721"/>
                  </a:lnTo>
                  <a:lnTo>
                    <a:pt x="567" y="3722"/>
                  </a:lnTo>
                  <a:lnTo>
                    <a:pt x="560" y="3721"/>
                  </a:lnTo>
                  <a:lnTo>
                    <a:pt x="554" y="3717"/>
                  </a:lnTo>
                  <a:lnTo>
                    <a:pt x="549" y="3710"/>
                  </a:lnTo>
                  <a:lnTo>
                    <a:pt x="548" y="3702"/>
                  </a:lnTo>
                  <a:lnTo>
                    <a:pt x="548" y="3589"/>
                  </a:lnTo>
                  <a:lnTo>
                    <a:pt x="549" y="3581"/>
                  </a:lnTo>
                  <a:lnTo>
                    <a:pt x="554" y="3575"/>
                  </a:lnTo>
                  <a:lnTo>
                    <a:pt x="560" y="3571"/>
                  </a:lnTo>
                  <a:lnTo>
                    <a:pt x="567" y="3570"/>
                  </a:lnTo>
                  <a:lnTo>
                    <a:pt x="574" y="3571"/>
                  </a:lnTo>
                  <a:lnTo>
                    <a:pt x="581" y="3575"/>
                  </a:lnTo>
                  <a:lnTo>
                    <a:pt x="586" y="3581"/>
                  </a:lnTo>
                  <a:lnTo>
                    <a:pt x="587" y="3589"/>
                  </a:lnTo>
                  <a:close/>
                  <a:moveTo>
                    <a:pt x="850" y="3589"/>
                  </a:moveTo>
                  <a:lnTo>
                    <a:pt x="850" y="3702"/>
                  </a:lnTo>
                  <a:lnTo>
                    <a:pt x="849" y="3710"/>
                  </a:lnTo>
                  <a:lnTo>
                    <a:pt x="844" y="3717"/>
                  </a:lnTo>
                  <a:lnTo>
                    <a:pt x="837" y="3721"/>
                  </a:lnTo>
                  <a:lnTo>
                    <a:pt x="831" y="3722"/>
                  </a:lnTo>
                  <a:lnTo>
                    <a:pt x="823" y="3721"/>
                  </a:lnTo>
                  <a:lnTo>
                    <a:pt x="817" y="3717"/>
                  </a:lnTo>
                  <a:lnTo>
                    <a:pt x="812" y="3710"/>
                  </a:lnTo>
                  <a:lnTo>
                    <a:pt x="810" y="3702"/>
                  </a:lnTo>
                  <a:lnTo>
                    <a:pt x="810" y="3589"/>
                  </a:lnTo>
                  <a:lnTo>
                    <a:pt x="812" y="3581"/>
                  </a:lnTo>
                  <a:lnTo>
                    <a:pt x="817" y="3575"/>
                  </a:lnTo>
                  <a:lnTo>
                    <a:pt x="823" y="3571"/>
                  </a:lnTo>
                  <a:lnTo>
                    <a:pt x="831" y="3570"/>
                  </a:lnTo>
                  <a:lnTo>
                    <a:pt x="837" y="3571"/>
                  </a:lnTo>
                  <a:lnTo>
                    <a:pt x="844" y="3575"/>
                  </a:lnTo>
                  <a:lnTo>
                    <a:pt x="849" y="3581"/>
                  </a:lnTo>
                  <a:lnTo>
                    <a:pt x="850" y="3589"/>
                  </a:lnTo>
                  <a:close/>
                  <a:moveTo>
                    <a:pt x="1113" y="3589"/>
                  </a:moveTo>
                  <a:lnTo>
                    <a:pt x="1113" y="3702"/>
                  </a:lnTo>
                  <a:lnTo>
                    <a:pt x="1112" y="3710"/>
                  </a:lnTo>
                  <a:lnTo>
                    <a:pt x="1107" y="3717"/>
                  </a:lnTo>
                  <a:lnTo>
                    <a:pt x="1100" y="3721"/>
                  </a:lnTo>
                  <a:lnTo>
                    <a:pt x="1094" y="3722"/>
                  </a:lnTo>
                  <a:lnTo>
                    <a:pt x="1086" y="3721"/>
                  </a:lnTo>
                  <a:lnTo>
                    <a:pt x="1080" y="3717"/>
                  </a:lnTo>
                  <a:lnTo>
                    <a:pt x="1076" y="3710"/>
                  </a:lnTo>
                  <a:lnTo>
                    <a:pt x="1073" y="3702"/>
                  </a:lnTo>
                  <a:lnTo>
                    <a:pt x="1073" y="3589"/>
                  </a:lnTo>
                  <a:lnTo>
                    <a:pt x="1076" y="3581"/>
                  </a:lnTo>
                  <a:lnTo>
                    <a:pt x="1080" y="3575"/>
                  </a:lnTo>
                  <a:lnTo>
                    <a:pt x="1086" y="3571"/>
                  </a:lnTo>
                  <a:lnTo>
                    <a:pt x="1094" y="3570"/>
                  </a:lnTo>
                  <a:lnTo>
                    <a:pt x="1100" y="3571"/>
                  </a:lnTo>
                  <a:lnTo>
                    <a:pt x="1107" y="3575"/>
                  </a:lnTo>
                  <a:lnTo>
                    <a:pt x="1112" y="3581"/>
                  </a:lnTo>
                  <a:lnTo>
                    <a:pt x="1113" y="3589"/>
                  </a:lnTo>
                  <a:close/>
                  <a:moveTo>
                    <a:pt x="1377" y="3589"/>
                  </a:moveTo>
                  <a:lnTo>
                    <a:pt x="1377" y="3702"/>
                  </a:lnTo>
                  <a:lnTo>
                    <a:pt x="1375" y="3710"/>
                  </a:lnTo>
                  <a:lnTo>
                    <a:pt x="1371" y="3717"/>
                  </a:lnTo>
                  <a:lnTo>
                    <a:pt x="1364" y="3721"/>
                  </a:lnTo>
                  <a:lnTo>
                    <a:pt x="1357" y="3722"/>
                  </a:lnTo>
                  <a:lnTo>
                    <a:pt x="1349" y="3721"/>
                  </a:lnTo>
                  <a:lnTo>
                    <a:pt x="1343" y="3717"/>
                  </a:lnTo>
                  <a:lnTo>
                    <a:pt x="1339" y="3710"/>
                  </a:lnTo>
                  <a:lnTo>
                    <a:pt x="1336" y="3702"/>
                  </a:lnTo>
                  <a:lnTo>
                    <a:pt x="1336" y="3589"/>
                  </a:lnTo>
                  <a:lnTo>
                    <a:pt x="1339" y="3581"/>
                  </a:lnTo>
                  <a:lnTo>
                    <a:pt x="1343" y="3575"/>
                  </a:lnTo>
                  <a:lnTo>
                    <a:pt x="1349" y="3571"/>
                  </a:lnTo>
                  <a:lnTo>
                    <a:pt x="1357" y="3570"/>
                  </a:lnTo>
                  <a:lnTo>
                    <a:pt x="1364" y="3571"/>
                  </a:lnTo>
                  <a:lnTo>
                    <a:pt x="1371" y="3575"/>
                  </a:lnTo>
                  <a:lnTo>
                    <a:pt x="1375" y="3581"/>
                  </a:lnTo>
                  <a:lnTo>
                    <a:pt x="1377" y="3589"/>
                  </a:lnTo>
                  <a:close/>
                  <a:moveTo>
                    <a:pt x="1640" y="3589"/>
                  </a:moveTo>
                  <a:lnTo>
                    <a:pt x="1640" y="3702"/>
                  </a:lnTo>
                  <a:lnTo>
                    <a:pt x="1637" y="3710"/>
                  </a:lnTo>
                  <a:lnTo>
                    <a:pt x="1634" y="3717"/>
                  </a:lnTo>
                  <a:lnTo>
                    <a:pt x="1627" y="3721"/>
                  </a:lnTo>
                  <a:lnTo>
                    <a:pt x="1620" y="3722"/>
                  </a:lnTo>
                  <a:lnTo>
                    <a:pt x="1612" y="3721"/>
                  </a:lnTo>
                  <a:lnTo>
                    <a:pt x="1605" y="3717"/>
                  </a:lnTo>
                  <a:lnTo>
                    <a:pt x="1602" y="3710"/>
                  </a:lnTo>
                  <a:lnTo>
                    <a:pt x="1600" y="3702"/>
                  </a:lnTo>
                  <a:lnTo>
                    <a:pt x="1600" y="3589"/>
                  </a:lnTo>
                  <a:lnTo>
                    <a:pt x="1602" y="3581"/>
                  </a:lnTo>
                  <a:lnTo>
                    <a:pt x="1605" y="3575"/>
                  </a:lnTo>
                  <a:lnTo>
                    <a:pt x="1612" y="3571"/>
                  </a:lnTo>
                  <a:lnTo>
                    <a:pt x="1620" y="3570"/>
                  </a:lnTo>
                  <a:lnTo>
                    <a:pt x="1627" y="3571"/>
                  </a:lnTo>
                  <a:lnTo>
                    <a:pt x="1634" y="3575"/>
                  </a:lnTo>
                  <a:lnTo>
                    <a:pt x="1637" y="3581"/>
                  </a:lnTo>
                  <a:lnTo>
                    <a:pt x="1640" y="3589"/>
                  </a:lnTo>
                  <a:close/>
                  <a:moveTo>
                    <a:pt x="1903" y="3589"/>
                  </a:moveTo>
                  <a:lnTo>
                    <a:pt x="1903" y="3702"/>
                  </a:lnTo>
                  <a:lnTo>
                    <a:pt x="1902" y="3710"/>
                  </a:lnTo>
                  <a:lnTo>
                    <a:pt x="1896" y="3717"/>
                  </a:lnTo>
                  <a:lnTo>
                    <a:pt x="1890" y="3721"/>
                  </a:lnTo>
                  <a:lnTo>
                    <a:pt x="1882" y="3722"/>
                  </a:lnTo>
                  <a:lnTo>
                    <a:pt x="1876" y="3721"/>
                  </a:lnTo>
                  <a:lnTo>
                    <a:pt x="1870" y="3717"/>
                  </a:lnTo>
                  <a:lnTo>
                    <a:pt x="1864" y="3710"/>
                  </a:lnTo>
                  <a:lnTo>
                    <a:pt x="1863" y="3702"/>
                  </a:lnTo>
                  <a:lnTo>
                    <a:pt x="1863" y="3589"/>
                  </a:lnTo>
                  <a:lnTo>
                    <a:pt x="1864" y="3581"/>
                  </a:lnTo>
                  <a:lnTo>
                    <a:pt x="1870" y="3575"/>
                  </a:lnTo>
                  <a:lnTo>
                    <a:pt x="1876" y="3571"/>
                  </a:lnTo>
                  <a:lnTo>
                    <a:pt x="1882" y="3570"/>
                  </a:lnTo>
                  <a:lnTo>
                    <a:pt x="1890" y="3571"/>
                  </a:lnTo>
                  <a:lnTo>
                    <a:pt x="1896" y="3575"/>
                  </a:lnTo>
                  <a:lnTo>
                    <a:pt x="1902" y="3581"/>
                  </a:lnTo>
                  <a:lnTo>
                    <a:pt x="1903" y="3589"/>
                  </a:lnTo>
                  <a:close/>
                  <a:moveTo>
                    <a:pt x="587" y="3824"/>
                  </a:moveTo>
                  <a:lnTo>
                    <a:pt x="587" y="3937"/>
                  </a:lnTo>
                  <a:lnTo>
                    <a:pt x="586" y="3946"/>
                  </a:lnTo>
                  <a:lnTo>
                    <a:pt x="581" y="3952"/>
                  </a:lnTo>
                  <a:lnTo>
                    <a:pt x="574" y="3956"/>
                  </a:lnTo>
                  <a:lnTo>
                    <a:pt x="567" y="3957"/>
                  </a:lnTo>
                  <a:lnTo>
                    <a:pt x="560" y="3956"/>
                  </a:lnTo>
                  <a:lnTo>
                    <a:pt x="554" y="3952"/>
                  </a:lnTo>
                  <a:lnTo>
                    <a:pt x="549" y="3946"/>
                  </a:lnTo>
                  <a:lnTo>
                    <a:pt x="548" y="3937"/>
                  </a:lnTo>
                  <a:lnTo>
                    <a:pt x="548" y="3824"/>
                  </a:lnTo>
                  <a:lnTo>
                    <a:pt x="549" y="3817"/>
                  </a:lnTo>
                  <a:lnTo>
                    <a:pt x="554" y="3810"/>
                  </a:lnTo>
                  <a:lnTo>
                    <a:pt x="560" y="3806"/>
                  </a:lnTo>
                  <a:lnTo>
                    <a:pt x="567" y="3805"/>
                  </a:lnTo>
                  <a:lnTo>
                    <a:pt x="574" y="3806"/>
                  </a:lnTo>
                  <a:lnTo>
                    <a:pt x="581" y="3810"/>
                  </a:lnTo>
                  <a:lnTo>
                    <a:pt x="586" y="3817"/>
                  </a:lnTo>
                  <a:lnTo>
                    <a:pt x="587" y="3824"/>
                  </a:lnTo>
                  <a:close/>
                  <a:moveTo>
                    <a:pt x="850" y="3824"/>
                  </a:moveTo>
                  <a:lnTo>
                    <a:pt x="850" y="3937"/>
                  </a:lnTo>
                  <a:lnTo>
                    <a:pt x="849" y="3946"/>
                  </a:lnTo>
                  <a:lnTo>
                    <a:pt x="844" y="3952"/>
                  </a:lnTo>
                  <a:lnTo>
                    <a:pt x="837" y="3956"/>
                  </a:lnTo>
                  <a:lnTo>
                    <a:pt x="831" y="3957"/>
                  </a:lnTo>
                  <a:lnTo>
                    <a:pt x="823" y="3956"/>
                  </a:lnTo>
                  <a:lnTo>
                    <a:pt x="817" y="3952"/>
                  </a:lnTo>
                  <a:lnTo>
                    <a:pt x="812" y="3946"/>
                  </a:lnTo>
                  <a:lnTo>
                    <a:pt x="810" y="3937"/>
                  </a:lnTo>
                  <a:lnTo>
                    <a:pt x="810" y="3824"/>
                  </a:lnTo>
                  <a:lnTo>
                    <a:pt x="812" y="3817"/>
                  </a:lnTo>
                  <a:lnTo>
                    <a:pt x="817" y="3810"/>
                  </a:lnTo>
                  <a:lnTo>
                    <a:pt x="823" y="3806"/>
                  </a:lnTo>
                  <a:lnTo>
                    <a:pt x="831" y="3805"/>
                  </a:lnTo>
                  <a:lnTo>
                    <a:pt x="837" y="3806"/>
                  </a:lnTo>
                  <a:lnTo>
                    <a:pt x="844" y="3810"/>
                  </a:lnTo>
                  <a:lnTo>
                    <a:pt x="849" y="3817"/>
                  </a:lnTo>
                  <a:lnTo>
                    <a:pt x="850" y="3824"/>
                  </a:lnTo>
                  <a:close/>
                  <a:moveTo>
                    <a:pt x="1113" y="3824"/>
                  </a:moveTo>
                  <a:lnTo>
                    <a:pt x="1113" y="3937"/>
                  </a:lnTo>
                  <a:lnTo>
                    <a:pt x="1112" y="3946"/>
                  </a:lnTo>
                  <a:lnTo>
                    <a:pt x="1107" y="3952"/>
                  </a:lnTo>
                  <a:lnTo>
                    <a:pt x="1100" y="3956"/>
                  </a:lnTo>
                  <a:lnTo>
                    <a:pt x="1094" y="3957"/>
                  </a:lnTo>
                  <a:lnTo>
                    <a:pt x="1086" y="3956"/>
                  </a:lnTo>
                  <a:lnTo>
                    <a:pt x="1080" y="3952"/>
                  </a:lnTo>
                  <a:lnTo>
                    <a:pt x="1076" y="3946"/>
                  </a:lnTo>
                  <a:lnTo>
                    <a:pt x="1073" y="3937"/>
                  </a:lnTo>
                  <a:lnTo>
                    <a:pt x="1073" y="3824"/>
                  </a:lnTo>
                  <a:lnTo>
                    <a:pt x="1076" y="3817"/>
                  </a:lnTo>
                  <a:lnTo>
                    <a:pt x="1080" y="3810"/>
                  </a:lnTo>
                  <a:lnTo>
                    <a:pt x="1086" y="3806"/>
                  </a:lnTo>
                  <a:lnTo>
                    <a:pt x="1094" y="3805"/>
                  </a:lnTo>
                  <a:lnTo>
                    <a:pt x="1100" y="3806"/>
                  </a:lnTo>
                  <a:lnTo>
                    <a:pt x="1107" y="3810"/>
                  </a:lnTo>
                  <a:lnTo>
                    <a:pt x="1112" y="3817"/>
                  </a:lnTo>
                  <a:lnTo>
                    <a:pt x="1113" y="3824"/>
                  </a:lnTo>
                  <a:close/>
                  <a:moveTo>
                    <a:pt x="1377" y="3824"/>
                  </a:moveTo>
                  <a:lnTo>
                    <a:pt x="1377" y="3937"/>
                  </a:lnTo>
                  <a:lnTo>
                    <a:pt x="1375" y="3946"/>
                  </a:lnTo>
                  <a:lnTo>
                    <a:pt x="1371" y="3952"/>
                  </a:lnTo>
                  <a:lnTo>
                    <a:pt x="1364" y="3956"/>
                  </a:lnTo>
                  <a:lnTo>
                    <a:pt x="1357" y="3957"/>
                  </a:lnTo>
                  <a:lnTo>
                    <a:pt x="1349" y="3956"/>
                  </a:lnTo>
                  <a:lnTo>
                    <a:pt x="1343" y="3952"/>
                  </a:lnTo>
                  <a:lnTo>
                    <a:pt x="1339" y="3946"/>
                  </a:lnTo>
                  <a:lnTo>
                    <a:pt x="1336" y="3937"/>
                  </a:lnTo>
                  <a:lnTo>
                    <a:pt x="1336" y="3824"/>
                  </a:lnTo>
                  <a:lnTo>
                    <a:pt x="1339" y="3817"/>
                  </a:lnTo>
                  <a:lnTo>
                    <a:pt x="1343" y="3810"/>
                  </a:lnTo>
                  <a:lnTo>
                    <a:pt x="1349" y="3806"/>
                  </a:lnTo>
                  <a:lnTo>
                    <a:pt x="1357" y="3805"/>
                  </a:lnTo>
                  <a:lnTo>
                    <a:pt x="1364" y="3806"/>
                  </a:lnTo>
                  <a:lnTo>
                    <a:pt x="1371" y="3810"/>
                  </a:lnTo>
                  <a:lnTo>
                    <a:pt x="1375" y="3817"/>
                  </a:lnTo>
                  <a:lnTo>
                    <a:pt x="1377" y="3824"/>
                  </a:lnTo>
                  <a:close/>
                  <a:moveTo>
                    <a:pt x="1640" y="3824"/>
                  </a:moveTo>
                  <a:lnTo>
                    <a:pt x="1640" y="3937"/>
                  </a:lnTo>
                  <a:lnTo>
                    <a:pt x="1637" y="3946"/>
                  </a:lnTo>
                  <a:lnTo>
                    <a:pt x="1634" y="3952"/>
                  </a:lnTo>
                  <a:lnTo>
                    <a:pt x="1627" y="3956"/>
                  </a:lnTo>
                  <a:lnTo>
                    <a:pt x="1620" y="3957"/>
                  </a:lnTo>
                  <a:lnTo>
                    <a:pt x="1612" y="3956"/>
                  </a:lnTo>
                  <a:lnTo>
                    <a:pt x="1605" y="3952"/>
                  </a:lnTo>
                  <a:lnTo>
                    <a:pt x="1602" y="3946"/>
                  </a:lnTo>
                  <a:lnTo>
                    <a:pt x="1600" y="3937"/>
                  </a:lnTo>
                  <a:lnTo>
                    <a:pt x="1600" y="3824"/>
                  </a:lnTo>
                  <a:lnTo>
                    <a:pt x="1602" y="3817"/>
                  </a:lnTo>
                  <a:lnTo>
                    <a:pt x="1605" y="3810"/>
                  </a:lnTo>
                  <a:lnTo>
                    <a:pt x="1612" y="3806"/>
                  </a:lnTo>
                  <a:lnTo>
                    <a:pt x="1620" y="3805"/>
                  </a:lnTo>
                  <a:lnTo>
                    <a:pt x="1627" y="3806"/>
                  </a:lnTo>
                  <a:lnTo>
                    <a:pt x="1634" y="3810"/>
                  </a:lnTo>
                  <a:lnTo>
                    <a:pt x="1637" y="3817"/>
                  </a:lnTo>
                  <a:lnTo>
                    <a:pt x="1640" y="3824"/>
                  </a:lnTo>
                  <a:close/>
                  <a:moveTo>
                    <a:pt x="2829" y="4093"/>
                  </a:moveTo>
                  <a:lnTo>
                    <a:pt x="2829" y="4085"/>
                  </a:lnTo>
                  <a:lnTo>
                    <a:pt x="2829" y="4093"/>
                  </a:lnTo>
                  <a:close/>
                  <a:moveTo>
                    <a:pt x="0" y="915"/>
                  </a:moveTo>
                  <a:lnTo>
                    <a:pt x="492" y="915"/>
                  </a:lnTo>
                  <a:lnTo>
                    <a:pt x="500" y="917"/>
                  </a:lnTo>
                  <a:lnTo>
                    <a:pt x="507" y="922"/>
                  </a:lnTo>
                  <a:lnTo>
                    <a:pt x="512" y="928"/>
                  </a:lnTo>
                  <a:lnTo>
                    <a:pt x="513" y="936"/>
                  </a:lnTo>
                  <a:lnTo>
                    <a:pt x="513" y="1633"/>
                  </a:lnTo>
                  <a:lnTo>
                    <a:pt x="513" y="2329"/>
                  </a:lnTo>
                  <a:lnTo>
                    <a:pt x="512" y="2338"/>
                  </a:lnTo>
                  <a:lnTo>
                    <a:pt x="507" y="2345"/>
                  </a:lnTo>
                  <a:lnTo>
                    <a:pt x="500" y="2349"/>
                  </a:lnTo>
                  <a:lnTo>
                    <a:pt x="492" y="2350"/>
                  </a:lnTo>
                  <a:lnTo>
                    <a:pt x="486" y="2349"/>
                  </a:lnTo>
                  <a:lnTo>
                    <a:pt x="480" y="2345"/>
                  </a:lnTo>
                  <a:lnTo>
                    <a:pt x="474" y="2338"/>
                  </a:lnTo>
                  <a:lnTo>
                    <a:pt x="473" y="2329"/>
                  </a:lnTo>
                  <a:lnTo>
                    <a:pt x="473" y="1642"/>
                  </a:lnTo>
                  <a:lnTo>
                    <a:pt x="473" y="955"/>
                  </a:lnTo>
                  <a:lnTo>
                    <a:pt x="0" y="955"/>
                  </a:lnTo>
                  <a:lnTo>
                    <a:pt x="0" y="915"/>
                  </a:lnTo>
                  <a:close/>
                  <a:moveTo>
                    <a:pt x="190" y="1345"/>
                  </a:moveTo>
                  <a:lnTo>
                    <a:pt x="190" y="1450"/>
                  </a:lnTo>
                  <a:lnTo>
                    <a:pt x="188" y="1457"/>
                  </a:lnTo>
                  <a:lnTo>
                    <a:pt x="183" y="1464"/>
                  </a:lnTo>
                  <a:lnTo>
                    <a:pt x="177" y="1468"/>
                  </a:lnTo>
                  <a:lnTo>
                    <a:pt x="171" y="1469"/>
                  </a:lnTo>
                  <a:lnTo>
                    <a:pt x="163" y="1468"/>
                  </a:lnTo>
                  <a:lnTo>
                    <a:pt x="156" y="1464"/>
                  </a:lnTo>
                  <a:lnTo>
                    <a:pt x="151" y="1457"/>
                  </a:lnTo>
                  <a:lnTo>
                    <a:pt x="150" y="1450"/>
                  </a:lnTo>
                  <a:lnTo>
                    <a:pt x="150" y="1345"/>
                  </a:lnTo>
                  <a:lnTo>
                    <a:pt x="151" y="1337"/>
                  </a:lnTo>
                  <a:lnTo>
                    <a:pt x="156" y="1331"/>
                  </a:lnTo>
                  <a:lnTo>
                    <a:pt x="163" y="1327"/>
                  </a:lnTo>
                  <a:lnTo>
                    <a:pt x="171" y="1326"/>
                  </a:lnTo>
                  <a:lnTo>
                    <a:pt x="177" y="1327"/>
                  </a:lnTo>
                  <a:lnTo>
                    <a:pt x="183" y="1331"/>
                  </a:lnTo>
                  <a:lnTo>
                    <a:pt x="188" y="1337"/>
                  </a:lnTo>
                  <a:lnTo>
                    <a:pt x="190" y="1345"/>
                  </a:lnTo>
                  <a:close/>
                  <a:moveTo>
                    <a:pt x="190" y="1576"/>
                  </a:moveTo>
                  <a:lnTo>
                    <a:pt x="190" y="1680"/>
                  </a:lnTo>
                  <a:lnTo>
                    <a:pt x="188" y="1689"/>
                  </a:lnTo>
                  <a:lnTo>
                    <a:pt x="183" y="1695"/>
                  </a:lnTo>
                  <a:lnTo>
                    <a:pt x="177" y="1699"/>
                  </a:lnTo>
                  <a:lnTo>
                    <a:pt x="171" y="1700"/>
                  </a:lnTo>
                  <a:lnTo>
                    <a:pt x="163" y="1699"/>
                  </a:lnTo>
                  <a:lnTo>
                    <a:pt x="156" y="1695"/>
                  </a:lnTo>
                  <a:lnTo>
                    <a:pt x="151" y="1689"/>
                  </a:lnTo>
                  <a:lnTo>
                    <a:pt x="150" y="1680"/>
                  </a:lnTo>
                  <a:lnTo>
                    <a:pt x="150" y="1576"/>
                  </a:lnTo>
                  <a:lnTo>
                    <a:pt x="151" y="1567"/>
                  </a:lnTo>
                  <a:lnTo>
                    <a:pt x="156" y="1561"/>
                  </a:lnTo>
                  <a:lnTo>
                    <a:pt x="163" y="1558"/>
                  </a:lnTo>
                  <a:lnTo>
                    <a:pt x="171" y="1557"/>
                  </a:lnTo>
                  <a:lnTo>
                    <a:pt x="177" y="1558"/>
                  </a:lnTo>
                  <a:lnTo>
                    <a:pt x="183" y="1561"/>
                  </a:lnTo>
                  <a:lnTo>
                    <a:pt x="188" y="1567"/>
                  </a:lnTo>
                  <a:lnTo>
                    <a:pt x="190" y="1576"/>
                  </a:lnTo>
                  <a:close/>
                  <a:moveTo>
                    <a:pt x="190" y="1808"/>
                  </a:moveTo>
                  <a:lnTo>
                    <a:pt x="190" y="1911"/>
                  </a:lnTo>
                  <a:lnTo>
                    <a:pt x="188" y="1920"/>
                  </a:lnTo>
                  <a:lnTo>
                    <a:pt x="183" y="1927"/>
                  </a:lnTo>
                  <a:lnTo>
                    <a:pt x="177" y="1931"/>
                  </a:lnTo>
                  <a:lnTo>
                    <a:pt x="171" y="1932"/>
                  </a:lnTo>
                  <a:lnTo>
                    <a:pt x="163" y="1931"/>
                  </a:lnTo>
                  <a:lnTo>
                    <a:pt x="156" y="1927"/>
                  </a:lnTo>
                  <a:lnTo>
                    <a:pt x="151" y="1920"/>
                  </a:lnTo>
                  <a:lnTo>
                    <a:pt x="150" y="1911"/>
                  </a:lnTo>
                  <a:lnTo>
                    <a:pt x="150" y="1808"/>
                  </a:lnTo>
                  <a:lnTo>
                    <a:pt x="151" y="1799"/>
                  </a:lnTo>
                  <a:lnTo>
                    <a:pt x="156" y="1792"/>
                  </a:lnTo>
                  <a:lnTo>
                    <a:pt x="163" y="1789"/>
                  </a:lnTo>
                  <a:lnTo>
                    <a:pt x="171" y="1787"/>
                  </a:lnTo>
                  <a:lnTo>
                    <a:pt x="177" y="1789"/>
                  </a:lnTo>
                  <a:lnTo>
                    <a:pt x="183" y="1792"/>
                  </a:lnTo>
                  <a:lnTo>
                    <a:pt x="188" y="1799"/>
                  </a:lnTo>
                  <a:lnTo>
                    <a:pt x="190" y="1808"/>
                  </a:lnTo>
                  <a:close/>
                  <a:moveTo>
                    <a:pt x="190" y="2039"/>
                  </a:moveTo>
                  <a:lnTo>
                    <a:pt x="190" y="2143"/>
                  </a:lnTo>
                  <a:lnTo>
                    <a:pt x="188" y="2150"/>
                  </a:lnTo>
                  <a:lnTo>
                    <a:pt x="183" y="2157"/>
                  </a:lnTo>
                  <a:lnTo>
                    <a:pt x="177" y="2161"/>
                  </a:lnTo>
                  <a:lnTo>
                    <a:pt x="171" y="2162"/>
                  </a:lnTo>
                  <a:lnTo>
                    <a:pt x="163" y="2161"/>
                  </a:lnTo>
                  <a:lnTo>
                    <a:pt x="156" y="2157"/>
                  </a:lnTo>
                  <a:lnTo>
                    <a:pt x="151" y="2150"/>
                  </a:lnTo>
                  <a:lnTo>
                    <a:pt x="150" y="2143"/>
                  </a:lnTo>
                  <a:lnTo>
                    <a:pt x="150" y="2039"/>
                  </a:lnTo>
                  <a:lnTo>
                    <a:pt x="151" y="2030"/>
                  </a:lnTo>
                  <a:lnTo>
                    <a:pt x="156" y="2024"/>
                  </a:lnTo>
                  <a:lnTo>
                    <a:pt x="163" y="2020"/>
                  </a:lnTo>
                  <a:lnTo>
                    <a:pt x="171" y="2019"/>
                  </a:lnTo>
                  <a:lnTo>
                    <a:pt x="177" y="2020"/>
                  </a:lnTo>
                  <a:lnTo>
                    <a:pt x="183" y="2024"/>
                  </a:lnTo>
                  <a:lnTo>
                    <a:pt x="188" y="2030"/>
                  </a:lnTo>
                  <a:lnTo>
                    <a:pt x="190" y="2039"/>
                  </a:lnTo>
                  <a:close/>
                  <a:moveTo>
                    <a:pt x="190" y="2269"/>
                  </a:moveTo>
                  <a:lnTo>
                    <a:pt x="190" y="2373"/>
                  </a:lnTo>
                  <a:lnTo>
                    <a:pt x="188" y="2382"/>
                  </a:lnTo>
                  <a:lnTo>
                    <a:pt x="183" y="2388"/>
                  </a:lnTo>
                  <a:lnTo>
                    <a:pt x="177" y="2392"/>
                  </a:lnTo>
                  <a:lnTo>
                    <a:pt x="171" y="2393"/>
                  </a:lnTo>
                  <a:lnTo>
                    <a:pt x="163" y="2392"/>
                  </a:lnTo>
                  <a:lnTo>
                    <a:pt x="156" y="2388"/>
                  </a:lnTo>
                  <a:lnTo>
                    <a:pt x="151" y="2382"/>
                  </a:lnTo>
                  <a:lnTo>
                    <a:pt x="150" y="2373"/>
                  </a:lnTo>
                  <a:lnTo>
                    <a:pt x="150" y="2269"/>
                  </a:lnTo>
                  <a:lnTo>
                    <a:pt x="151" y="2260"/>
                  </a:lnTo>
                  <a:lnTo>
                    <a:pt x="156" y="2255"/>
                  </a:lnTo>
                  <a:lnTo>
                    <a:pt x="163" y="2251"/>
                  </a:lnTo>
                  <a:lnTo>
                    <a:pt x="171" y="2250"/>
                  </a:lnTo>
                  <a:lnTo>
                    <a:pt x="177" y="2251"/>
                  </a:lnTo>
                  <a:lnTo>
                    <a:pt x="183" y="2255"/>
                  </a:lnTo>
                  <a:lnTo>
                    <a:pt x="188" y="2260"/>
                  </a:lnTo>
                  <a:lnTo>
                    <a:pt x="190" y="2269"/>
                  </a:lnTo>
                  <a:close/>
                  <a:moveTo>
                    <a:pt x="190" y="2501"/>
                  </a:moveTo>
                  <a:lnTo>
                    <a:pt x="190" y="2604"/>
                  </a:lnTo>
                  <a:lnTo>
                    <a:pt x="188" y="2613"/>
                  </a:lnTo>
                  <a:lnTo>
                    <a:pt x="183" y="2620"/>
                  </a:lnTo>
                  <a:lnTo>
                    <a:pt x="177" y="2624"/>
                  </a:lnTo>
                  <a:lnTo>
                    <a:pt x="171" y="2625"/>
                  </a:lnTo>
                  <a:lnTo>
                    <a:pt x="163" y="2624"/>
                  </a:lnTo>
                  <a:lnTo>
                    <a:pt x="156" y="2620"/>
                  </a:lnTo>
                  <a:lnTo>
                    <a:pt x="151" y="2613"/>
                  </a:lnTo>
                  <a:lnTo>
                    <a:pt x="150" y="2604"/>
                  </a:lnTo>
                  <a:lnTo>
                    <a:pt x="150" y="2501"/>
                  </a:lnTo>
                  <a:lnTo>
                    <a:pt x="151" y="2492"/>
                  </a:lnTo>
                  <a:lnTo>
                    <a:pt x="156" y="2485"/>
                  </a:lnTo>
                  <a:lnTo>
                    <a:pt x="163" y="2482"/>
                  </a:lnTo>
                  <a:lnTo>
                    <a:pt x="171" y="2480"/>
                  </a:lnTo>
                  <a:lnTo>
                    <a:pt x="177" y="2482"/>
                  </a:lnTo>
                  <a:lnTo>
                    <a:pt x="183" y="2485"/>
                  </a:lnTo>
                  <a:lnTo>
                    <a:pt x="188" y="2492"/>
                  </a:lnTo>
                  <a:lnTo>
                    <a:pt x="190" y="2501"/>
                  </a:lnTo>
                  <a:close/>
                  <a:moveTo>
                    <a:pt x="190" y="2732"/>
                  </a:moveTo>
                  <a:lnTo>
                    <a:pt x="190" y="2836"/>
                  </a:lnTo>
                  <a:lnTo>
                    <a:pt x="188" y="2845"/>
                  </a:lnTo>
                  <a:lnTo>
                    <a:pt x="183" y="2850"/>
                  </a:lnTo>
                  <a:lnTo>
                    <a:pt x="177" y="2854"/>
                  </a:lnTo>
                  <a:lnTo>
                    <a:pt x="171" y="2855"/>
                  </a:lnTo>
                  <a:lnTo>
                    <a:pt x="163" y="2854"/>
                  </a:lnTo>
                  <a:lnTo>
                    <a:pt x="156" y="2850"/>
                  </a:lnTo>
                  <a:lnTo>
                    <a:pt x="151" y="2845"/>
                  </a:lnTo>
                  <a:lnTo>
                    <a:pt x="150" y="2836"/>
                  </a:lnTo>
                  <a:lnTo>
                    <a:pt x="150" y="2732"/>
                  </a:lnTo>
                  <a:lnTo>
                    <a:pt x="151" y="2723"/>
                  </a:lnTo>
                  <a:lnTo>
                    <a:pt x="156" y="2717"/>
                  </a:lnTo>
                  <a:lnTo>
                    <a:pt x="163" y="2713"/>
                  </a:lnTo>
                  <a:lnTo>
                    <a:pt x="171" y="2712"/>
                  </a:lnTo>
                  <a:lnTo>
                    <a:pt x="177" y="2713"/>
                  </a:lnTo>
                  <a:lnTo>
                    <a:pt x="183" y="2717"/>
                  </a:lnTo>
                  <a:lnTo>
                    <a:pt x="188" y="2723"/>
                  </a:lnTo>
                  <a:lnTo>
                    <a:pt x="190" y="2732"/>
                  </a:lnTo>
                  <a:close/>
                  <a:moveTo>
                    <a:pt x="190" y="2962"/>
                  </a:moveTo>
                  <a:lnTo>
                    <a:pt x="190" y="3066"/>
                  </a:lnTo>
                  <a:lnTo>
                    <a:pt x="188" y="3075"/>
                  </a:lnTo>
                  <a:lnTo>
                    <a:pt x="183" y="3081"/>
                  </a:lnTo>
                  <a:lnTo>
                    <a:pt x="177" y="3085"/>
                  </a:lnTo>
                  <a:lnTo>
                    <a:pt x="171" y="3086"/>
                  </a:lnTo>
                  <a:lnTo>
                    <a:pt x="163" y="3085"/>
                  </a:lnTo>
                  <a:lnTo>
                    <a:pt x="156" y="3081"/>
                  </a:lnTo>
                  <a:lnTo>
                    <a:pt x="151" y="3075"/>
                  </a:lnTo>
                  <a:lnTo>
                    <a:pt x="150" y="3066"/>
                  </a:lnTo>
                  <a:lnTo>
                    <a:pt x="150" y="2962"/>
                  </a:lnTo>
                  <a:lnTo>
                    <a:pt x="151" y="2953"/>
                  </a:lnTo>
                  <a:lnTo>
                    <a:pt x="156" y="2948"/>
                  </a:lnTo>
                  <a:lnTo>
                    <a:pt x="163" y="2945"/>
                  </a:lnTo>
                  <a:lnTo>
                    <a:pt x="171" y="2943"/>
                  </a:lnTo>
                  <a:lnTo>
                    <a:pt x="177" y="2945"/>
                  </a:lnTo>
                  <a:lnTo>
                    <a:pt x="183" y="2948"/>
                  </a:lnTo>
                  <a:lnTo>
                    <a:pt x="188" y="2953"/>
                  </a:lnTo>
                  <a:lnTo>
                    <a:pt x="190" y="2962"/>
                  </a:lnTo>
                  <a:close/>
                  <a:moveTo>
                    <a:pt x="2375" y="1897"/>
                  </a:moveTo>
                  <a:lnTo>
                    <a:pt x="2375" y="2001"/>
                  </a:lnTo>
                  <a:lnTo>
                    <a:pt x="2372" y="2010"/>
                  </a:lnTo>
                  <a:lnTo>
                    <a:pt x="2368" y="2016"/>
                  </a:lnTo>
                  <a:lnTo>
                    <a:pt x="2362" y="2020"/>
                  </a:lnTo>
                  <a:lnTo>
                    <a:pt x="2354" y="2021"/>
                  </a:lnTo>
                  <a:lnTo>
                    <a:pt x="2347" y="2020"/>
                  </a:lnTo>
                  <a:lnTo>
                    <a:pt x="2340" y="2016"/>
                  </a:lnTo>
                  <a:lnTo>
                    <a:pt x="2336" y="2010"/>
                  </a:lnTo>
                  <a:lnTo>
                    <a:pt x="2334" y="2001"/>
                  </a:lnTo>
                  <a:lnTo>
                    <a:pt x="2334" y="1897"/>
                  </a:lnTo>
                  <a:lnTo>
                    <a:pt x="2336" y="1888"/>
                  </a:lnTo>
                  <a:lnTo>
                    <a:pt x="2340" y="1882"/>
                  </a:lnTo>
                  <a:lnTo>
                    <a:pt x="2347" y="1878"/>
                  </a:lnTo>
                  <a:lnTo>
                    <a:pt x="2354" y="1877"/>
                  </a:lnTo>
                  <a:lnTo>
                    <a:pt x="2362" y="1878"/>
                  </a:lnTo>
                  <a:lnTo>
                    <a:pt x="2368" y="1882"/>
                  </a:lnTo>
                  <a:lnTo>
                    <a:pt x="2372" y="1888"/>
                  </a:lnTo>
                  <a:lnTo>
                    <a:pt x="2375" y="1897"/>
                  </a:lnTo>
                  <a:close/>
                  <a:moveTo>
                    <a:pt x="2589" y="1897"/>
                  </a:moveTo>
                  <a:lnTo>
                    <a:pt x="2589" y="2001"/>
                  </a:lnTo>
                  <a:lnTo>
                    <a:pt x="2588" y="2010"/>
                  </a:lnTo>
                  <a:lnTo>
                    <a:pt x="2583" y="2016"/>
                  </a:lnTo>
                  <a:lnTo>
                    <a:pt x="2576" y="2020"/>
                  </a:lnTo>
                  <a:lnTo>
                    <a:pt x="2570" y="2021"/>
                  </a:lnTo>
                  <a:lnTo>
                    <a:pt x="2562" y="2020"/>
                  </a:lnTo>
                  <a:lnTo>
                    <a:pt x="2556" y="2016"/>
                  </a:lnTo>
                  <a:lnTo>
                    <a:pt x="2550" y="2010"/>
                  </a:lnTo>
                  <a:lnTo>
                    <a:pt x="2549" y="2001"/>
                  </a:lnTo>
                  <a:lnTo>
                    <a:pt x="2549" y="1897"/>
                  </a:lnTo>
                  <a:lnTo>
                    <a:pt x="2550" y="1888"/>
                  </a:lnTo>
                  <a:lnTo>
                    <a:pt x="2556" y="1882"/>
                  </a:lnTo>
                  <a:lnTo>
                    <a:pt x="2562" y="1878"/>
                  </a:lnTo>
                  <a:lnTo>
                    <a:pt x="2570" y="1877"/>
                  </a:lnTo>
                  <a:lnTo>
                    <a:pt x="2576" y="1878"/>
                  </a:lnTo>
                  <a:lnTo>
                    <a:pt x="2583" y="1882"/>
                  </a:lnTo>
                  <a:lnTo>
                    <a:pt x="2588" y="1888"/>
                  </a:lnTo>
                  <a:lnTo>
                    <a:pt x="2589" y="1897"/>
                  </a:lnTo>
                  <a:close/>
                  <a:moveTo>
                    <a:pt x="2804" y="1897"/>
                  </a:moveTo>
                  <a:lnTo>
                    <a:pt x="2804" y="2001"/>
                  </a:lnTo>
                  <a:lnTo>
                    <a:pt x="2803" y="2010"/>
                  </a:lnTo>
                  <a:lnTo>
                    <a:pt x="2798" y="2016"/>
                  </a:lnTo>
                  <a:lnTo>
                    <a:pt x="2792" y="2020"/>
                  </a:lnTo>
                  <a:lnTo>
                    <a:pt x="2784" y="2021"/>
                  </a:lnTo>
                  <a:lnTo>
                    <a:pt x="2777" y="2020"/>
                  </a:lnTo>
                  <a:lnTo>
                    <a:pt x="2771" y="2016"/>
                  </a:lnTo>
                  <a:lnTo>
                    <a:pt x="2766" y="2010"/>
                  </a:lnTo>
                  <a:lnTo>
                    <a:pt x="2765" y="2001"/>
                  </a:lnTo>
                  <a:lnTo>
                    <a:pt x="2765" y="1897"/>
                  </a:lnTo>
                  <a:lnTo>
                    <a:pt x="2766" y="1888"/>
                  </a:lnTo>
                  <a:lnTo>
                    <a:pt x="2771" y="1882"/>
                  </a:lnTo>
                  <a:lnTo>
                    <a:pt x="2777" y="1878"/>
                  </a:lnTo>
                  <a:lnTo>
                    <a:pt x="2784" y="1877"/>
                  </a:lnTo>
                  <a:lnTo>
                    <a:pt x="2792" y="1878"/>
                  </a:lnTo>
                  <a:lnTo>
                    <a:pt x="2798" y="1882"/>
                  </a:lnTo>
                  <a:lnTo>
                    <a:pt x="2803" y="1888"/>
                  </a:lnTo>
                  <a:lnTo>
                    <a:pt x="2804" y="1897"/>
                  </a:lnTo>
                  <a:close/>
                  <a:moveTo>
                    <a:pt x="2375" y="2245"/>
                  </a:moveTo>
                  <a:lnTo>
                    <a:pt x="2375" y="2349"/>
                  </a:lnTo>
                  <a:lnTo>
                    <a:pt x="2372" y="2358"/>
                  </a:lnTo>
                  <a:lnTo>
                    <a:pt x="2368" y="2364"/>
                  </a:lnTo>
                  <a:lnTo>
                    <a:pt x="2362" y="2368"/>
                  </a:lnTo>
                  <a:lnTo>
                    <a:pt x="2354" y="2369"/>
                  </a:lnTo>
                  <a:lnTo>
                    <a:pt x="2347" y="2368"/>
                  </a:lnTo>
                  <a:lnTo>
                    <a:pt x="2340" y="2364"/>
                  </a:lnTo>
                  <a:lnTo>
                    <a:pt x="2336" y="2358"/>
                  </a:lnTo>
                  <a:lnTo>
                    <a:pt x="2334" y="2349"/>
                  </a:lnTo>
                  <a:lnTo>
                    <a:pt x="2334" y="2245"/>
                  </a:lnTo>
                  <a:lnTo>
                    <a:pt x="2336" y="2236"/>
                  </a:lnTo>
                  <a:lnTo>
                    <a:pt x="2340" y="2230"/>
                  </a:lnTo>
                  <a:lnTo>
                    <a:pt x="2347" y="2226"/>
                  </a:lnTo>
                  <a:lnTo>
                    <a:pt x="2354" y="2225"/>
                  </a:lnTo>
                  <a:lnTo>
                    <a:pt x="2362" y="2226"/>
                  </a:lnTo>
                  <a:lnTo>
                    <a:pt x="2368" y="2230"/>
                  </a:lnTo>
                  <a:lnTo>
                    <a:pt x="2372" y="2236"/>
                  </a:lnTo>
                  <a:lnTo>
                    <a:pt x="2375" y="2245"/>
                  </a:lnTo>
                  <a:close/>
                  <a:moveTo>
                    <a:pt x="2589" y="2245"/>
                  </a:moveTo>
                  <a:lnTo>
                    <a:pt x="2589" y="2349"/>
                  </a:lnTo>
                  <a:lnTo>
                    <a:pt x="2588" y="2358"/>
                  </a:lnTo>
                  <a:lnTo>
                    <a:pt x="2583" y="2364"/>
                  </a:lnTo>
                  <a:lnTo>
                    <a:pt x="2576" y="2368"/>
                  </a:lnTo>
                  <a:lnTo>
                    <a:pt x="2570" y="2369"/>
                  </a:lnTo>
                  <a:lnTo>
                    <a:pt x="2562" y="2368"/>
                  </a:lnTo>
                  <a:lnTo>
                    <a:pt x="2556" y="2364"/>
                  </a:lnTo>
                  <a:lnTo>
                    <a:pt x="2550" y="2358"/>
                  </a:lnTo>
                  <a:lnTo>
                    <a:pt x="2549" y="2349"/>
                  </a:lnTo>
                  <a:lnTo>
                    <a:pt x="2549" y="2245"/>
                  </a:lnTo>
                  <a:lnTo>
                    <a:pt x="2550" y="2236"/>
                  </a:lnTo>
                  <a:lnTo>
                    <a:pt x="2556" y="2230"/>
                  </a:lnTo>
                  <a:lnTo>
                    <a:pt x="2562" y="2226"/>
                  </a:lnTo>
                  <a:lnTo>
                    <a:pt x="2570" y="2225"/>
                  </a:lnTo>
                  <a:lnTo>
                    <a:pt x="2576" y="2226"/>
                  </a:lnTo>
                  <a:lnTo>
                    <a:pt x="2583" y="2230"/>
                  </a:lnTo>
                  <a:lnTo>
                    <a:pt x="2588" y="2236"/>
                  </a:lnTo>
                  <a:lnTo>
                    <a:pt x="2589" y="2245"/>
                  </a:lnTo>
                  <a:close/>
                  <a:moveTo>
                    <a:pt x="2804" y="2245"/>
                  </a:moveTo>
                  <a:lnTo>
                    <a:pt x="2804" y="2349"/>
                  </a:lnTo>
                  <a:lnTo>
                    <a:pt x="2803" y="2358"/>
                  </a:lnTo>
                  <a:lnTo>
                    <a:pt x="2798" y="2364"/>
                  </a:lnTo>
                  <a:lnTo>
                    <a:pt x="2792" y="2368"/>
                  </a:lnTo>
                  <a:lnTo>
                    <a:pt x="2784" y="2369"/>
                  </a:lnTo>
                  <a:lnTo>
                    <a:pt x="2777" y="2368"/>
                  </a:lnTo>
                  <a:lnTo>
                    <a:pt x="2771" y="2364"/>
                  </a:lnTo>
                  <a:lnTo>
                    <a:pt x="2766" y="2358"/>
                  </a:lnTo>
                  <a:lnTo>
                    <a:pt x="2765" y="2349"/>
                  </a:lnTo>
                  <a:lnTo>
                    <a:pt x="2765" y="2245"/>
                  </a:lnTo>
                  <a:lnTo>
                    <a:pt x="2766" y="2236"/>
                  </a:lnTo>
                  <a:lnTo>
                    <a:pt x="2771" y="2230"/>
                  </a:lnTo>
                  <a:lnTo>
                    <a:pt x="2777" y="2226"/>
                  </a:lnTo>
                  <a:lnTo>
                    <a:pt x="2784" y="2225"/>
                  </a:lnTo>
                  <a:lnTo>
                    <a:pt x="2792" y="2226"/>
                  </a:lnTo>
                  <a:lnTo>
                    <a:pt x="2798" y="2230"/>
                  </a:lnTo>
                  <a:lnTo>
                    <a:pt x="2803" y="2236"/>
                  </a:lnTo>
                  <a:lnTo>
                    <a:pt x="2804" y="2245"/>
                  </a:lnTo>
                  <a:close/>
                  <a:moveTo>
                    <a:pt x="2375" y="2593"/>
                  </a:moveTo>
                  <a:lnTo>
                    <a:pt x="2375" y="2696"/>
                  </a:lnTo>
                  <a:lnTo>
                    <a:pt x="2372" y="2705"/>
                  </a:lnTo>
                  <a:lnTo>
                    <a:pt x="2368" y="2712"/>
                  </a:lnTo>
                  <a:lnTo>
                    <a:pt x="2362" y="2716"/>
                  </a:lnTo>
                  <a:lnTo>
                    <a:pt x="2354" y="2717"/>
                  </a:lnTo>
                  <a:lnTo>
                    <a:pt x="2347" y="2716"/>
                  </a:lnTo>
                  <a:lnTo>
                    <a:pt x="2340" y="2712"/>
                  </a:lnTo>
                  <a:lnTo>
                    <a:pt x="2336" y="2705"/>
                  </a:lnTo>
                  <a:lnTo>
                    <a:pt x="2334" y="2696"/>
                  </a:lnTo>
                  <a:lnTo>
                    <a:pt x="2334" y="2593"/>
                  </a:lnTo>
                  <a:lnTo>
                    <a:pt x="2336" y="2584"/>
                  </a:lnTo>
                  <a:lnTo>
                    <a:pt x="2340" y="2578"/>
                  </a:lnTo>
                  <a:lnTo>
                    <a:pt x="2347" y="2574"/>
                  </a:lnTo>
                  <a:lnTo>
                    <a:pt x="2354" y="2572"/>
                  </a:lnTo>
                  <a:lnTo>
                    <a:pt x="2362" y="2574"/>
                  </a:lnTo>
                  <a:lnTo>
                    <a:pt x="2368" y="2578"/>
                  </a:lnTo>
                  <a:lnTo>
                    <a:pt x="2372" y="2584"/>
                  </a:lnTo>
                  <a:lnTo>
                    <a:pt x="2375" y="2593"/>
                  </a:lnTo>
                  <a:close/>
                  <a:moveTo>
                    <a:pt x="2589" y="2593"/>
                  </a:moveTo>
                  <a:lnTo>
                    <a:pt x="2589" y="2696"/>
                  </a:lnTo>
                  <a:lnTo>
                    <a:pt x="2588" y="2705"/>
                  </a:lnTo>
                  <a:lnTo>
                    <a:pt x="2583" y="2712"/>
                  </a:lnTo>
                  <a:lnTo>
                    <a:pt x="2576" y="2716"/>
                  </a:lnTo>
                  <a:lnTo>
                    <a:pt x="2570" y="2717"/>
                  </a:lnTo>
                  <a:lnTo>
                    <a:pt x="2562" y="2716"/>
                  </a:lnTo>
                  <a:lnTo>
                    <a:pt x="2556" y="2712"/>
                  </a:lnTo>
                  <a:lnTo>
                    <a:pt x="2550" y="2705"/>
                  </a:lnTo>
                  <a:lnTo>
                    <a:pt x="2549" y="2696"/>
                  </a:lnTo>
                  <a:lnTo>
                    <a:pt x="2549" y="2593"/>
                  </a:lnTo>
                  <a:lnTo>
                    <a:pt x="2550" y="2584"/>
                  </a:lnTo>
                  <a:lnTo>
                    <a:pt x="2556" y="2578"/>
                  </a:lnTo>
                  <a:lnTo>
                    <a:pt x="2562" y="2574"/>
                  </a:lnTo>
                  <a:lnTo>
                    <a:pt x="2570" y="2572"/>
                  </a:lnTo>
                  <a:lnTo>
                    <a:pt x="2576" y="2574"/>
                  </a:lnTo>
                  <a:lnTo>
                    <a:pt x="2583" y="2578"/>
                  </a:lnTo>
                  <a:lnTo>
                    <a:pt x="2588" y="2584"/>
                  </a:lnTo>
                  <a:lnTo>
                    <a:pt x="2589" y="2593"/>
                  </a:lnTo>
                  <a:close/>
                  <a:moveTo>
                    <a:pt x="2804" y="2593"/>
                  </a:moveTo>
                  <a:lnTo>
                    <a:pt x="2804" y="2696"/>
                  </a:lnTo>
                  <a:lnTo>
                    <a:pt x="2803" y="2705"/>
                  </a:lnTo>
                  <a:lnTo>
                    <a:pt x="2798" y="2712"/>
                  </a:lnTo>
                  <a:lnTo>
                    <a:pt x="2792" y="2716"/>
                  </a:lnTo>
                  <a:lnTo>
                    <a:pt x="2784" y="2717"/>
                  </a:lnTo>
                  <a:lnTo>
                    <a:pt x="2777" y="2716"/>
                  </a:lnTo>
                  <a:lnTo>
                    <a:pt x="2771" y="2712"/>
                  </a:lnTo>
                  <a:lnTo>
                    <a:pt x="2766" y="2705"/>
                  </a:lnTo>
                  <a:lnTo>
                    <a:pt x="2765" y="2696"/>
                  </a:lnTo>
                  <a:lnTo>
                    <a:pt x="2765" y="2593"/>
                  </a:lnTo>
                  <a:lnTo>
                    <a:pt x="2766" y="2584"/>
                  </a:lnTo>
                  <a:lnTo>
                    <a:pt x="2771" y="2578"/>
                  </a:lnTo>
                  <a:lnTo>
                    <a:pt x="2777" y="2574"/>
                  </a:lnTo>
                  <a:lnTo>
                    <a:pt x="2784" y="2572"/>
                  </a:lnTo>
                  <a:lnTo>
                    <a:pt x="2792" y="2574"/>
                  </a:lnTo>
                  <a:lnTo>
                    <a:pt x="2798" y="2578"/>
                  </a:lnTo>
                  <a:lnTo>
                    <a:pt x="2803" y="2584"/>
                  </a:lnTo>
                  <a:lnTo>
                    <a:pt x="2804" y="2593"/>
                  </a:lnTo>
                  <a:close/>
                  <a:moveTo>
                    <a:pt x="2375" y="2941"/>
                  </a:moveTo>
                  <a:lnTo>
                    <a:pt x="2375" y="3044"/>
                  </a:lnTo>
                  <a:lnTo>
                    <a:pt x="2372" y="3053"/>
                  </a:lnTo>
                  <a:lnTo>
                    <a:pt x="2368" y="3060"/>
                  </a:lnTo>
                  <a:lnTo>
                    <a:pt x="2362" y="3063"/>
                  </a:lnTo>
                  <a:lnTo>
                    <a:pt x="2354" y="3065"/>
                  </a:lnTo>
                  <a:lnTo>
                    <a:pt x="2347" y="3063"/>
                  </a:lnTo>
                  <a:lnTo>
                    <a:pt x="2340" y="3060"/>
                  </a:lnTo>
                  <a:lnTo>
                    <a:pt x="2336" y="3053"/>
                  </a:lnTo>
                  <a:lnTo>
                    <a:pt x="2334" y="3044"/>
                  </a:lnTo>
                  <a:lnTo>
                    <a:pt x="2334" y="2941"/>
                  </a:lnTo>
                  <a:lnTo>
                    <a:pt x="2336" y="2932"/>
                  </a:lnTo>
                  <a:lnTo>
                    <a:pt x="2340" y="2925"/>
                  </a:lnTo>
                  <a:lnTo>
                    <a:pt x="2347" y="2922"/>
                  </a:lnTo>
                  <a:lnTo>
                    <a:pt x="2354" y="2920"/>
                  </a:lnTo>
                  <a:lnTo>
                    <a:pt x="2362" y="2922"/>
                  </a:lnTo>
                  <a:lnTo>
                    <a:pt x="2368" y="2925"/>
                  </a:lnTo>
                  <a:lnTo>
                    <a:pt x="2372" y="2932"/>
                  </a:lnTo>
                  <a:lnTo>
                    <a:pt x="2375" y="2941"/>
                  </a:lnTo>
                  <a:close/>
                  <a:moveTo>
                    <a:pt x="2589" y="2941"/>
                  </a:moveTo>
                  <a:lnTo>
                    <a:pt x="2589" y="3044"/>
                  </a:lnTo>
                  <a:lnTo>
                    <a:pt x="2588" y="3053"/>
                  </a:lnTo>
                  <a:lnTo>
                    <a:pt x="2583" y="3060"/>
                  </a:lnTo>
                  <a:lnTo>
                    <a:pt x="2576" y="3063"/>
                  </a:lnTo>
                  <a:lnTo>
                    <a:pt x="2570" y="3065"/>
                  </a:lnTo>
                  <a:lnTo>
                    <a:pt x="2562" y="3063"/>
                  </a:lnTo>
                  <a:lnTo>
                    <a:pt x="2556" y="3060"/>
                  </a:lnTo>
                  <a:lnTo>
                    <a:pt x="2550" y="3053"/>
                  </a:lnTo>
                  <a:lnTo>
                    <a:pt x="2549" y="3044"/>
                  </a:lnTo>
                  <a:lnTo>
                    <a:pt x="2549" y="2941"/>
                  </a:lnTo>
                  <a:lnTo>
                    <a:pt x="2550" y="2932"/>
                  </a:lnTo>
                  <a:lnTo>
                    <a:pt x="2556" y="2925"/>
                  </a:lnTo>
                  <a:lnTo>
                    <a:pt x="2562" y="2922"/>
                  </a:lnTo>
                  <a:lnTo>
                    <a:pt x="2570" y="2920"/>
                  </a:lnTo>
                  <a:lnTo>
                    <a:pt x="2576" y="2922"/>
                  </a:lnTo>
                  <a:lnTo>
                    <a:pt x="2583" y="2925"/>
                  </a:lnTo>
                  <a:lnTo>
                    <a:pt x="2588" y="2932"/>
                  </a:lnTo>
                  <a:lnTo>
                    <a:pt x="2589" y="2941"/>
                  </a:lnTo>
                  <a:close/>
                  <a:moveTo>
                    <a:pt x="2804" y="2941"/>
                  </a:moveTo>
                  <a:lnTo>
                    <a:pt x="2804" y="3044"/>
                  </a:lnTo>
                  <a:lnTo>
                    <a:pt x="2803" y="3053"/>
                  </a:lnTo>
                  <a:lnTo>
                    <a:pt x="2798" y="3060"/>
                  </a:lnTo>
                  <a:lnTo>
                    <a:pt x="2792" y="3063"/>
                  </a:lnTo>
                  <a:lnTo>
                    <a:pt x="2784" y="3065"/>
                  </a:lnTo>
                  <a:lnTo>
                    <a:pt x="2777" y="3063"/>
                  </a:lnTo>
                  <a:lnTo>
                    <a:pt x="2771" y="3060"/>
                  </a:lnTo>
                  <a:lnTo>
                    <a:pt x="2766" y="3053"/>
                  </a:lnTo>
                  <a:lnTo>
                    <a:pt x="2765" y="3044"/>
                  </a:lnTo>
                  <a:lnTo>
                    <a:pt x="2765" y="2941"/>
                  </a:lnTo>
                  <a:lnTo>
                    <a:pt x="2766" y="2932"/>
                  </a:lnTo>
                  <a:lnTo>
                    <a:pt x="2771" y="2925"/>
                  </a:lnTo>
                  <a:lnTo>
                    <a:pt x="2777" y="2922"/>
                  </a:lnTo>
                  <a:lnTo>
                    <a:pt x="2784" y="2920"/>
                  </a:lnTo>
                  <a:lnTo>
                    <a:pt x="2792" y="2922"/>
                  </a:lnTo>
                  <a:lnTo>
                    <a:pt x="2798" y="2925"/>
                  </a:lnTo>
                  <a:lnTo>
                    <a:pt x="2803" y="2932"/>
                  </a:lnTo>
                  <a:lnTo>
                    <a:pt x="2804" y="2941"/>
                  </a:lnTo>
                  <a:close/>
                  <a:moveTo>
                    <a:pt x="6888" y="1521"/>
                  </a:moveTo>
                  <a:lnTo>
                    <a:pt x="6778" y="1521"/>
                  </a:lnTo>
                  <a:lnTo>
                    <a:pt x="6778" y="1631"/>
                  </a:lnTo>
                  <a:lnTo>
                    <a:pt x="6888" y="1631"/>
                  </a:lnTo>
                  <a:lnTo>
                    <a:pt x="6888" y="1521"/>
                  </a:lnTo>
                  <a:close/>
                  <a:moveTo>
                    <a:pt x="7276" y="2772"/>
                  </a:moveTo>
                  <a:lnTo>
                    <a:pt x="7276" y="2585"/>
                  </a:lnTo>
                  <a:lnTo>
                    <a:pt x="7276" y="2277"/>
                  </a:lnTo>
                  <a:lnTo>
                    <a:pt x="7277" y="2271"/>
                  </a:lnTo>
                  <a:lnTo>
                    <a:pt x="7277" y="1671"/>
                  </a:lnTo>
                  <a:lnTo>
                    <a:pt x="6909" y="1671"/>
                  </a:lnTo>
                  <a:lnTo>
                    <a:pt x="6758" y="1671"/>
                  </a:lnTo>
                  <a:lnTo>
                    <a:pt x="6469" y="1671"/>
                  </a:lnTo>
                  <a:lnTo>
                    <a:pt x="6460" y="1670"/>
                  </a:lnTo>
                  <a:lnTo>
                    <a:pt x="6454" y="1665"/>
                  </a:lnTo>
                  <a:lnTo>
                    <a:pt x="6450" y="1658"/>
                  </a:lnTo>
                  <a:lnTo>
                    <a:pt x="6449" y="1652"/>
                  </a:lnTo>
                  <a:lnTo>
                    <a:pt x="6450" y="1644"/>
                  </a:lnTo>
                  <a:lnTo>
                    <a:pt x="6454" y="1638"/>
                  </a:lnTo>
                  <a:lnTo>
                    <a:pt x="6460" y="1633"/>
                  </a:lnTo>
                  <a:lnTo>
                    <a:pt x="6469" y="1631"/>
                  </a:lnTo>
                  <a:lnTo>
                    <a:pt x="6574" y="1631"/>
                  </a:lnTo>
                  <a:lnTo>
                    <a:pt x="6574" y="1488"/>
                  </a:lnTo>
                  <a:lnTo>
                    <a:pt x="6172" y="1488"/>
                  </a:lnTo>
                  <a:lnTo>
                    <a:pt x="6172" y="1631"/>
                  </a:lnTo>
                  <a:lnTo>
                    <a:pt x="6204" y="1631"/>
                  </a:lnTo>
                  <a:lnTo>
                    <a:pt x="6213" y="1633"/>
                  </a:lnTo>
                  <a:lnTo>
                    <a:pt x="6219" y="1638"/>
                  </a:lnTo>
                  <a:lnTo>
                    <a:pt x="6223" y="1644"/>
                  </a:lnTo>
                  <a:lnTo>
                    <a:pt x="6224" y="1652"/>
                  </a:lnTo>
                  <a:lnTo>
                    <a:pt x="6223" y="1658"/>
                  </a:lnTo>
                  <a:lnTo>
                    <a:pt x="6219" y="1665"/>
                  </a:lnTo>
                  <a:lnTo>
                    <a:pt x="6213" y="1670"/>
                  </a:lnTo>
                  <a:lnTo>
                    <a:pt x="6204" y="1671"/>
                  </a:lnTo>
                  <a:lnTo>
                    <a:pt x="6037" y="1671"/>
                  </a:lnTo>
                  <a:lnTo>
                    <a:pt x="6037" y="2332"/>
                  </a:lnTo>
                  <a:lnTo>
                    <a:pt x="6037" y="2993"/>
                  </a:lnTo>
                  <a:lnTo>
                    <a:pt x="6037" y="3654"/>
                  </a:lnTo>
                  <a:lnTo>
                    <a:pt x="6037" y="4317"/>
                  </a:lnTo>
                  <a:lnTo>
                    <a:pt x="6656" y="4317"/>
                  </a:lnTo>
                  <a:lnTo>
                    <a:pt x="7276" y="4317"/>
                  </a:lnTo>
                  <a:lnTo>
                    <a:pt x="7276" y="3544"/>
                  </a:lnTo>
                  <a:lnTo>
                    <a:pt x="7276" y="2772"/>
                  </a:lnTo>
                  <a:close/>
                  <a:moveTo>
                    <a:pt x="9050" y="2792"/>
                  </a:moveTo>
                  <a:lnTo>
                    <a:pt x="8182" y="2792"/>
                  </a:lnTo>
                  <a:lnTo>
                    <a:pt x="7315" y="2792"/>
                  </a:lnTo>
                  <a:lnTo>
                    <a:pt x="7315" y="3554"/>
                  </a:lnTo>
                  <a:lnTo>
                    <a:pt x="7315" y="4317"/>
                  </a:lnTo>
                  <a:lnTo>
                    <a:pt x="8182" y="4317"/>
                  </a:lnTo>
                  <a:lnTo>
                    <a:pt x="9050" y="4317"/>
                  </a:lnTo>
                  <a:lnTo>
                    <a:pt x="9050" y="3554"/>
                  </a:lnTo>
                  <a:lnTo>
                    <a:pt x="9050" y="2792"/>
                  </a:lnTo>
                  <a:close/>
                  <a:moveTo>
                    <a:pt x="8412" y="2258"/>
                  </a:moveTo>
                  <a:lnTo>
                    <a:pt x="8412" y="2135"/>
                  </a:lnTo>
                  <a:lnTo>
                    <a:pt x="8413" y="2127"/>
                  </a:lnTo>
                  <a:lnTo>
                    <a:pt x="8418" y="2121"/>
                  </a:lnTo>
                  <a:lnTo>
                    <a:pt x="8425" y="2117"/>
                  </a:lnTo>
                  <a:lnTo>
                    <a:pt x="8432" y="2116"/>
                  </a:lnTo>
                  <a:lnTo>
                    <a:pt x="8677" y="2116"/>
                  </a:lnTo>
                  <a:lnTo>
                    <a:pt x="8685" y="2117"/>
                  </a:lnTo>
                  <a:lnTo>
                    <a:pt x="8691" y="2121"/>
                  </a:lnTo>
                  <a:lnTo>
                    <a:pt x="8695" y="2127"/>
                  </a:lnTo>
                  <a:lnTo>
                    <a:pt x="8698" y="2135"/>
                  </a:lnTo>
                  <a:lnTo>
                    <a:pt x="8698" y="2258"/>
                  </a:lnTo>
                  <a:lnTo>
                    <a:pt x="8853" y="2258"/>
                  </a:lnTo>
                  <a:lnTo>
                    <a:pt x="8868" y="2266"/>
                  </a:lnTo>
                  <a:lnTo>
                    <a:pt x="9089" y="2565"/>
                  </a:lnTo>
                  <a:lnTo>
                    <a:pt x="9100" y="2565"/>
                  </a:lnTo>
                  <a:lnTo>
                    <a:pt x="9108" y="2566"/>
                  </a:lnTo>
                  <a:lnTo>
                    <a:pt x="9114" y="2571"/>
                  </a:lnTo>
                  <a:lnTo>
                    <a:pt x="9120" y="2578"/>
                  </a:lnTo>
                  <a:lnTo>
                    <a:pt x="9121" y="2585"/>
                  </a:lnTo>
                  <a:lnTo>
                    <a:pt x="9121" y="2772"/>
                  </a:lnTo>
                  <a:lnTo>
                    <a:pt x="9120" y="2780"/>
                  </a:lnTo>
                  <a:lnTo>
                    <a:pt x="9114" y="2786"/>
                  </a:lnTo>
                  <a:lnTo>
                    <a:pt x="9108" y="2791"/>
                  </a:lnTo>
                  <a:lnTo>
                    <a:pt x="9100" y="2792"/>
                  </a:lnTo>
                  <a:lnTo>
                    <a:pt x="9090" y="2792"/>
                  </a:lnTo>
                  <a:lnTo>
                    <a:pt x="9090" y="3563"/>
                  </a:lnTo>
                  <a:lnTo>
                    <a:pt x="9090" y="4336"/>
                  </a:lnTo>
                  <a:lnTo>
                    <a:pt x="9089" y="4343"/>
                  </a:lnTo>
                  <a:lnTo>
                    <a:pt x="9084" y="4350"/>
                  </a:lnTo>
                  <a:lnTo>
                    <a:pt x="9077" y="4355"/>
                  </a:lnTo>
                  <a:lnTo>
                    <a:pt x="9070" y="4356"/>
                  </a:lnTo>
                  <a:lnTo>
                    <a:pt x="8184" y="4356"/>
                  </a:lnTo>
                  <a:lnTo>
                    <a:pt x="7297" y="4356"/>
                  </a:lnTo>
                  <a:lnTo>
                    <a:pt x="7295" y="4356"/>
                  </a:lnTo>
                  <a:lnTo>
                    <a:pt x="6656" y="4356"/>
                  </a:lnTo>
                  <a:lnTo>
                    <a:pt x="6018" y="4356"/>
                  </a:lnTo>
                  <a:lnTo>
                    <a:pt x="6010" y="4355"/>
                  </a:lnTo>
                  <a:lnTo>
                    <a:pt x="6004" y="4350"/>
                  </a:lnTo>
                  <a:lnTo>
                    <a:pt x="5999" y="4343"/>
                  </a:lnTo>
                  <a:lnTo>
                    <a:pt x="5997" y="4336"/>
                  </a:lnTo>
                  <a:lnTo>
                    <a:pt x="5997" y="3664"/>
                  </a:lnTo>
                  <a:lnTo>
                    <a:pt x="5997" y="2993"/>
                  </a:lnTo>
                  <a:lnTo>
                    <a:pt x="5997" y="2322"/>
                  </a:lnTo>
                  <a:lnTo>
                    <a:pt x="5997" y="1652"/>
                  </a:lnTo>
                  <a:lnTo>
                    <a:pt x="5999" y="1644"/>
                  </a:lnTo>
                  <a:lnTo>
                    <a:pt x="6004" y="1638"/>
                  </a:lnTo>
                  <a:lnTo>
                    <a:pt x="6010" y="1633"/>
                  </a:lnTo>
                  <a:lnTo>
                    <a:pt x="6018" y="1631"/>
                  </a:lnTo>
                  <a:lnTo>
                    <a:pt x="6132" y="1631"/>
                  </a:lnTo>
                  <a:lnTo>
                    <a:pt x="6132" y="1469"/>
                  </a:lnTo>
                  <a:lnTo>
                    <a:pt x="6133" y="1461"/>
                  </a:lnTo>
                  <a:lnTo>
                    <a:pt x="6138" y="1455"/>
                  </a:lnTo>
                  <a:lnTo>
                    <a:pt x="6145" y="1451"/>
                  </a:lnTo>
                  <a:lnTo>
                    <a:pt x="6152" y="1448"/>
                  </a:lnTo>
                  <a:lnTo>
                    <a:pt x="6595" y="1448"/>
                  </a:lnTo>
                  <a:lnTo>
                    <a:pt x="6602" y="1451"/>
                  </a:lnTo>
                  <a:lnTo>
                    <a:pt x="6609" y="1455"/>
                  </a:lnTo>
                  <a:lnTo>
                    <a:pt x="6613" y="1461"/>
                  </a:lnTo>
                  <a:lnTo>
                    <a:pt x="6614" y="1469"/>
                  </a:lnTo>
                  <a:lnTo>
                    <a:pt x="6614" y="1631"/>
                  </a:lnTo>
                  <a:lnTo>
                    <a:pt x="6738" y="1631"/>
                  </a:lnTo>
                  <a:lnTo>
                    <a:pt x="6738" y="1501"/>
                  </a:lnTo>
                  <a:lnTo>
                    <a:pt x="6740" y="1493"/>
                  </a:lnTo>
                  <a:lnTo>
                    <a:pt x="6744" y="1487"/>
                  </a:lnTo>
                  <a:lnTo>
                    <a:pt x="6750" y="1483"/>
                  </a:lnTo>
                  <a:lnTo>
                    <a:pt x="6758" y="1480"/>
                  </a:lnTo>
                  <a:lnTo>
                    <a:pt x="6909" y="1480"/>
                  </a:lnTo>
                  <a:lnTo>
                    <a:pt x="6917" y="1483"/>
                  </a:lnTo>
                  <a:lnTo>
                    <a:pt x="6923" y="1487"/>
                  </a:lnTo>
                  <a:lnTo>
                    <a:pt x="6927" y="1493"/>
                  </a:lnTo>
                  <a:lnTo>
                    <a:pt x="6928" y="1501"/>
                  </a:lnTo>
                  <a:lnTo>
                    <a:pt x="6928" y="1631"/>
                  </a:lnTo>
                  <a:lnTo>
                    <a:pt x="7297" y="1631"/>
                  </a:lnTo>
                  <a:lnTo>
                    <a:pt x="7305" y="1633"/>
                  </a:lnTo>
                  <a:lnTo>
                    <a:pt x="7312" y="1638"/>
                  </a:lnTo>
                  <a:lnTo>
                    <a:pt x="7315" y="1644"/>
                  </a:lnTo>
                  <a:lnTo>
                    <a:pt x="7317" y="1652"/>
                  </a:lnTo>
                  <a:lnTo>
                    <a:pt x="7317" y="2258"/>
                  </a:lnTo>
                  <a:lnTo>
                    <a:pt x="7864" y="2258"/>
                  </a:lnTo>
                  <a:lnTo>
                    <a:pt x="8412" y="2258"/>
                  </a:lnTo>
                  <a:close/>
                  <a:moveTo>
                    <a:pt x="8657" y="2258"/>
                  </a:moveTo>
                  <a:lnTo>
                    <a:pt x="8657" y="2156"/>
                  </a:lnTo>
                  <a:lnTo>
                    <a:pt x="8452" y="2156"/>
                  </a:lnTo>
                  <a:lnTo>
                    <a:pt x="8452" y="2258"/>
                  </a:lnTo>
                  <a:lnTo>
                    <a:pt x="8482" y="2258"/>
                  </a:lnTo>
                  <a:lnTo>
                    <a:pt x="8491" y="2259"/>
                  </a:lnTo>
                  <a:lnTo>
                    <a:pt x="8496" y="2264"/>
                  </a:lnTo>
                  <a:lnTo>
                    <a:pt x="8500" y="2271"/>
                  </a:lnTo>
                  <a:lnTo>
                    <a:pt x="8502" y="2277"/>
                  </a:lnTo>
                  <a:lnTo>
                    <a:pt x="8500" y="2285"/>
                  </a:lnTo>
                  <a:lnTo>
                    <a:pt x="8496" y="2291"/>
                  </a:lnTo>
                  <a:lnTo>
                    <a:pt x="8491" y="2296"/>
                  </a:lnTo>
                  <a:lnTo>
                    <a:pt x="8482" y="2298"/>
                  </a:lnTo>
                  <a:lnTo>
                    <a:pt x="7899" y="2298"/>
                  </a:lnTo>
                  <a:lnTo>
                    <a:pt x="7315" y="2298"/>
                  </a:lnTo>
                  <a:lnTo>
                    <a:pt x="7315" y="2565"/>
                  </a:lnTo>
                  <a:lnTo>
                    <a:pt x="8177" y="2565"/>
                  </a:lnTo>
                  <a:lnTo>
                    <a:pt x="9039" y="2565"/>
                  </a:lnTo>
                  <a:lnTo>
                    <a:pt x="8843" y="2298"/>
                  </a:lnTo>
                  <a:lnTo>
                    <a:pt x="8637" y="2298"/>
                  </a:lnTo>
                  <a:lnTo>
                    <a:pt x="8630" y="2296"/>
                  </a:lnTo>
                  <a:lnTo>
                    <a:pt x="8623" y="2291"/>
                  </a:lnTo>
                  <a:lnTo>
                    <a:pt x="8619" y="2285"/>
                  </a:lnTo>
                  <a:lnTo>
                    <a:pt x="8618" y="2277"/>
                  </a:lnTo>
                  <a:lnTo>
                    <a:pt x="8619" y="2271"/>
                  </a:lnTo>
                  <a:lnTo>
                    <a:pt x="8623" y="2264"/>
                  </a:lnTo>
                  <a:lnTo>
                    <a:pt x="8630" y="2259"/>
                  </a:lnTo>
                  <a:lnTo>
                    <a:pt x="8637" y="2258"/>
                  </a:lnTo>
                  <a:lnTo>
                    <a:pt x="8657" y="2258"/>
                  </a:lnTo>
                  <a:close/>
                  <a:moveTo>
                    <a:pt x="9075" y="2604"/>
                  </a:moveTo>
                  <a:lnTo>
                    <a:pt x="8195" y="2604"/>
                  </a:lnTo>
                  <a:lnTo>
                    <a:pt x="7315" y="2604"/>
                  </a:lnTo>
                  <a:lnTo>
                    <a:pt x="7315" y="2753"/>
                  </a:lnTo>
                  <a:lnTo>
                    <a:pt x="8192" y="2753"/>
                  </a:lnTo>
                  <a:lnTo>
                    <a:pt x="9070" y="2753"/>
                  </a:lnTo>
                  <a:lnTo>
                    <a:pt x="9081" y="2753"/>
                  </a:lnTo>
                  <a:lnTo>
                    <a:pt x="9081" y="2604"/>
                  </a:lnTo>
                  <a:lnTo>
                    <a:pt x="9075" y="2604"/>
                  </a:lnTo>
                  <a:close/>
                  <a:moveTo>
                    <a:pt x="6236" y="1893"/>
                  </a:moveTo>
                  <a:lnTo>
                    <a:pt x="6369" y="1893"/>
                  </a:lnTo>
                  <a:lnTo>
                    <a:pt x="6378" y="1895"/>
                  </a:lnTo>
                  <a:lnTo>
                    <a:pt x="6384" y="1900"/>
                  </a:lnTo>
                  <a:lnTo>
                    <a:pt x="6387" y="1906"/>
                  </a:lnTo>
                  <a:lnTo>
                    <a:pt x="6388" y="1913"/>
                  </a:lnTo>
                  <a:lnTo>
                    <a:pt x="6387" y="1920"/>
                  </a:lnTo>
                  <a:lnTo>
                    <a:pt x="6384" y="1927"/>
                  </a:lnTo>
                  <a:lnTo>
                    <a:pt x="6378" y="1932"/>
                  </a:lnTo>
                  <a:lnTo>
                    <a:pt x="6369" y="1933"/>
                  </a:lnTo>
                  <a:lnTo>
                    <a:pt x="6236" y="1933"/>
                  </a:lnTo>
                  <a:lnTo>
                    <a:pt x="6227" y="1932"/>
                  </a:lnTo>
                  <a:lnTo>
                    <a:pt x="6220" y="1927"/>
                  </a:lnTo>
                  <a:lnTo>
                    <a:pt x="6216" y="1920"/>
                  </a:lnTo>
                  <a:lnTo>
                    <a:pt x="6215" y="1913"/>
                  </a:lnTo>
                  <a:lnTo>
                    <a:pt x="6216" y="1906"/>
                  </a:lnTo>
                  <a:lnTo>
                    <a:pt x="6220" y="1900"/>
                  </a:lnTo>
                  <a:lnTo>
                    <a:pt x="6227" y="1895"/>
                  </a:lnTo>
                  <a:lnTo>
                    <a:pt x="6236" y="1893"/>
                  </a:lnTo>
                  <a:close/>
                  <a:moveTo>
                    <a:pt x="6472" y="1893"/>
                  </a:moveTo>
                  <a:lnTo>
                    <a:pt x="6605" y="1893"/>
                  </a:lnTo>
                  <a:lnTo>
                    <a:pt x="6614" y="1895"/>
                  </a:lnTo>
                  <a:lnTo>
                    <a:pt x="6620" y="1900"/>
                  </a:lnTo>
                  <a:lnTo>
                    <a:pt x="6624" y="1906"/>
                  </a:lnTo>
                  <a:lnTo>
                    <a:pt x="6626" y="1913"/>
                  </a:lnTo>
                  <a:lnTo>
                    <a:pt x="6624" y="1920"/>
                  </a:lnTo>
                  <a:lnTo>
                    <a:pt x="6620" y="1927"/>
                  </a:lnTo>
                  <a:lnTo>
                    <a:pt x="6614" y="1932"/>
                  </a:lnTo>
                  <a:lnTo>
                    <a:pt x="6605" y="1933"/>
                  </a:lnTo>
                  <a:lnTo>
                    <a:pt x="6472" y="1933"/>
                  </a:lnTo>
                  <a:lnTo>
                    <a:pt x="6464" y="1932"/>
                  </a:lnTo>
                  <a:lnTo>
                    <a:pt x="6458" y="1927"/>
                  </a:lnTo>
                  <a:lnTo>
                    <a:pt x="6454" y="1920"/>
                  </a:lnTo>
                  <a:lnTo>
                    <a:pt x="6452" y="1913"/>
                  </a:lnTo>
                  <a:lnTo>
                    <a:pt x="6454" y="1906"/>
                  </a:lnTo>
                  <a:lnTo>
                    <a:pt x="6458" y="1900"/>
                  </a:lnTo>
                  <a:lnTo>
                    <a:pt x="6464" y="1895"/>
                  </a:lnTo>
                  <a:lnTo>
                    <a:pt x="6472" y="1893"/>
                  </a:lnTo>
                  <a:close/>
                  <a:moveTo>
                    <a:pt x="6709" y="1893"/>
                  </a:moveTo>
                  <a:lnTo>
                    <a:pt x="6842" y="1893"/>
                  </a:lnTo>
                  <a:lnTo>
                    <a:pt x="6851" y="1895"/>
                  </a:lnTo>
                  <a:lnTo>
                    <a:pt x="6858" y="1900"/>
                  </a:lnTo>
                  <a:lnTo>
                    <a:pt x="6861" y="1906"/>
                  </a:lnTo>
                  <a:lnTo>
                    <a:pt x="6863" y="1913"/>
                  </a:lnTo>
                  <a:lnTo>
                    <a:pt x="6861" y="1920"/>
                  </a:lnTo>
                  <a:lnTo>
                    <a:pt x="6858" y="1927"/>
                  </a:lnTo>
                  <a:lnTo>
                    <a:pt x="6851" y="1932"/>
                  </a:lnTo>
                  <a:lnTo>
                    <a:pt x="6842" y="1933"/>
                  </a:lnTo>
                  <a:lnTo>
                    <a:pt x="6709" y="1933"/>
                  </a:lnTo>
                  <a:lnTo>
                    <a:pt x="6700" y="1932"/>
                  </a:lnTo>
                  <a:lnTo>
                    <a:pt x="6693" y="1927"/>
                  </a:lnTo>
                  <a:lnTo>
                    <a:pt x="6690" y="1920"/>
                  </a:lnTo>
                  <a:lnTo>
                    <a:pt x="6688" y="1913"/>
                  </a:lnTo>
                  <a:lnTo>
                    <a:pt x="6690" y="1906"/>
                  </a:lnTo>
                  <a:lnTo>
                    <a:pt x="6693" y="1900"/>
                  </a:lnTo>
                  <a:lnTo>
                    <a:pt x="6700" y="1895"/>
                  </a:lnTo>
                  <a:lnTo>
                    <a:pt x="6709" y="1893"/>
                  </a:lnTo>
                  <a:close/>
                  <a:moveTo>
                    <a:pt x="6946" y="1893"/>
                  </a:moveTo>
                  <a:lnTo>
                    <a:pt x="7078" y="1893"/>
                  </a:lnTo>
                  <a:lnTo>
                    <a:pt x="7087" y="1895"/>
                  </a:lnTo>
                  <a:lnTo>
                    <a:pt x="7094" y="1900"/>
                  </a:lnTo>
                  <a:lnTo>
                    <a:pt x="7097" y="1906"/>
                  </a:lnTo>
                  <a:lnTo>
                    <a:pt x="7099" y="1913"/>
                  </a:lnTo>
                  <a:lnTo>
                    <a:pt x="7097" y="1920"/>
                  </a:lnTo>
                  <a:lnTo>
                    <a:pt x="7094" y="1927"/>
                  </a:lnTo>
                  <a:lnTo>
                    <a:pt x="7087" y="1932"/>
                  </a:lnTo>
                  <a:lnTo>
                    <a:pt x="7078" y="1933"/>
                  </a:lnTo>
                  <a:lnTo>
                    <a:pt x="6946" y="1933"/>
                  </a:lnTo>
                  <a:lnTo>
                    <a:pt x="6937" y="1932"/>
                  </a:lnTo>
                  <a:lnTo>
                    <a:pt x="6931" y="1927"/>
                  </a:lnTo>
                  <a:lnTo>
                    <a:pt x="6927" y="1920"/>
                  </a:lnTo>
                  <a:lnTo>
                    <a:pt x="6926" y="1913"/>
                  </a:lnTo>
                  <a:lnTo>
                    <a:pt x="6927" y="1906"/>
                  </a:lnTo>
                  <a:lnTo>
                    <a:pt x="6931" y="1900"/>
                  </a:lnTo>
                  <a:lnTo>
                    <a:pt x="6937" y="1895"/>
                  </a:lnTo>
                  <a:lnTo>
                    <a:pt x="6946" y="1893"/>
                  </a:lnTo>
                  <a:close/>
                  <a:moveTo>
                    <a:pt x="6236" y="2156"/>
                  </a:moveTo>
                  <a:lnTo>
                    <a:pt x="6369" y="2156"/>
                  </a:lnTo>
                  <a:lnTo>
                    <a:pt x="6378" y="2158"/>
                  </a:lnTo>
                  <a:lnTo>
                    <a:pt x="6384" y="2162"/>
                  </a:lnTo>
                  <a:lnTo>
                    <a:pt x="6387" y="2168"/>
                  </a:lnTo>
                  <a:lnTo>
                    <a:pt x="6388" y="2176"/>
                  </a:lnTo>
                  <a:lnTo>
                    <a:pt x="6387" y="2184"/>
                  </a:lnTo>
                  <a:lnTo>
                    <a:pt x="6384" y="2190"/>
                  </a:lnTo>
                  <a:lnTo>
                    <a:pt x="6378" y="2194"/>
                  </a:lnTo>
                  <a:lnTo>
                    <a:pt x="6369" y="2197"/>
                  </a:lnTo>
                  <a:lnTo>
                    <a:pt x="6236" y="2197"/>
                  </a:lnTo>
                  <a:lnTo>
                    <a:pt x="6227" y="2194"/>
                  </a:lnTo>
                  <a:lnTo>
                    <a:pt x="6220" y="2190"/>
                  </a:lnTo>
                  <a:lnTo>
                    <a:pt x="6216" y="2184"/>
                  </a:lnTo>
                  <a:lnTo>
                    <a:pt x="6215" y="2176"/>
                  </a:lnTo>
                  <a:lnTo>
                    <a:pt x="6216" y="2168"/>
                  </a:lnTo>
                  <a:lnTo>
                    <a:pt x="6220" y="2162"/>
                  </a:lnTo>
                  <a:lnTo>
                    <a:pt x="6227" y="2158"/>
                  </a:lnTo>
                  <a:lnTo>
                    <a:pt x="6236" y="2156"/>
                  </a:lnTo>
                  <a:close/>
                  <a:moveTo>
                    <a:pt x="6472" y="2156"/>
                  </a:moveTo>
                  <a:lnTo>
                    <a:pt x="6605" y="2156"/>
                  </a:lnTo>
                  <a:lnTo>
                    <a:pt x="6614" y="2158"/>
                  </a:lnTo>
                  <a:lnTo>
                    <a:pt x="6620" y="2162"/>
                  </a:lnTo>
                  <a:lnTo>
                    <a:pt x="6624" y="2168"/>
                  </a:lnTo>
                  <a:lnTo>
                    <a:pt x="6626" y="2176"/>
                  </a:lnTo>
                  <a:lnTo>
                    <a:pt x="6624" y="2184"/>
                  </a:lnTo>
                  <a:lnTo>
                    <a:pt x="6620" y="2190"/>
                  </a:lnTo>
                  <a:lnTo>
                    <a:pt x="6614" y="2194"/>
                  </a:lnTo>
                  <a:lnTo>
                    <a:pt x="6605" y="2197"/>
                  </a:lnTo>
                  <a:lnTo>
                    <a:pt x="6472" y="2197"/>
                  </a:lnTo>
                  <a:lnTo>
                    <a:pt x="6464" y="2194"/>
                  </a:lnTo>
                  <a:lnTo>
                    <a:pt x="6458" y="2190"/>
                  </a:lnTo>
                  <a:lnTo>
                    <a:pt x="6454" y="2184"/>
                  </a:lnTo>
                  <a:lnTo>
                    <a:pt x="6452" y="2176"/>
                  </a:lnTo>
                  <a:lnTo>
                    <a:pt x="6454" y="2168"/>
                  </a:lnTo>
                  <a:lnTo>
                    <a:pt x="6458" y="2162"/>
                  </a:lnTo>
                  <a:lnTo>
                    <a:pt x="6464" y="2158"/>
                  </a:lnTo>
                  <a:lnTo>
                    <a:pt x="6472" y="2156"/>
                  </a:lnTo>
                  <a:close/>
                  <a:moveTo>
                    <a:pt x="6709" y="2156"/>
                  </a:moveTo>
                  <a:lnTo>
                    <a:pt x="6842" y="2156"/>
                  </a:lnTo>
                  <a:lnTo>
                    <a:pt x="6851" y="2158"/>
                  </a:lnTo>
                  <a:lnTo>
                    <a:pt x="6858" y="2162"/>
                  </a:lnTo>
                  <a:lnTo>
                    <a:pt x="6861" y="2168"/>
                  </a:lnTo>
                  <a:lnTo>
                    <a:pt x="6863" y="2176"/>
                  </a:lnTo>
                  <a:lnTo>
                    <a:pt x="6861" y="2184"/>
                  </a:lnTo>
                  <a:lnTo>
                    <a:pt x="6858" y="2190"/>
                  </a:lnTo>
                  <a:lnTo>
                    <a:pt x="6851" y="2194"/>
                  </a:lnTo>
                  <a:lnTo>
                    <a:pt x="6842" y="2197"/>
                  </a:lnTo>
                  <a:lnTo>
                    <a:pt x="6709" y="2197"/>
                  </a:lnTo>
                  <a:lnTo>
                    <a:pt x="6700" y="2194"/>
                  </a:lnTo>
                  <a:lnTo>
                    <a:pt x="6693" y="2190"/>
                  </a:lnTo>
                  <a:lnTo>
                    <a:pt x="6690" y="2184"/>
                  </a:lnTo>
                  <a:lnTo>
                    <a:pt x="6688" y="2176"/>
                  </a:lnTo>
                  <a:lnTo>
                    <a:pt x="6690" y="2168"/>
                  </a:lnTo>
                  <a:lnTo>
                    <a:pt x="6693" y="2162"/>
                  </a:lnTo>
                  <a:lnTo>
                    <a:pt x="6700" y="2158"/>
                  </a:lnTo>
                  <a:lnTo>
                    <a:pt x="6709" y="2156"/>
                  </a:lnTo>
                  <a:close/>
                  <a:moveTo>
                    <a:pt x="6946" y="2156"/>
                  </a:moveTo>
                  <a:lnTo>
                    <a:pt x="7078" y="2156"/>
                  </a:lnTo>
                  <a:lnTo>
                    <a:pt x="7087" y="2158"/>
                  </a:lnTo>
                  <a:lnTo>
                    <a:pt x="7094" y="2162"/>
                  </a:lnTo>
                  <a:lnTo>
                    <a:pt x="7097" y="2168"/>
                  </a:lnTo>
                  <a:lnTo>
                    <a:pt x="7099" y="2176"/>
                  </a:lnTo>
                  <a:lnTo>
                    <a:pt x="7097" y="2184"/>
                  </a:lnTo>
                  <a:lnTo>
                    <a:pt x="7094" y="2190"/>
                  </a:lnTo>
                  <a:lnTo>
                    <a:pt x="7087" y="2194"/>
                  </a:lnTo>
                  <a:lnTo>
                    <a:pt x="7078" y="2197"/>
                  </a:lnTo>
                  <a:lnTo>
                    <a:pt x="6946" y="2197"/>
                  </a:lnTo>
                  <a:lnTo>
                    <a:pt x="6937" y="2194"/>
                  </a:lnTo>
                  <a:lnTo>
                    <a:pt x="6931" y="2190"/>
                  </a:lnTo>
                  <a:lnTo>
                    <a:pt x="6927" y="2184"/>
                  </a:lnTo>
                  <a:lnTo>
                    <a:pt x="6926" y="2176"/>
                  </a:lnTo>
                  <a:lnTo>
                    <a:pt x="6927" y="2168"/>
                  </a:lnTo>
                  <a:lnTo>
                    <a:pt x="6931" y="2162"/>
                  </a:lnTo>
                  <a:lnTo>
                    <a:pt x="6937" y="2158"/>
                  </a:lnTo>
                  <a:lnTo>
                    <a:pt x="6946" y="2156"/>
                  </a:lnTo>
                  <a:close/>
                  <a:moveTo>
                    <a:pt x="6236" y="2419"/>
                  </a:moveTo>
                  <a:lnTo>
                    <a:pt x="6369" y="2419"/>
                  </a:lnTo>
                  <a:lnTo>
                    <a:pt x="6378" y="2420"/>
                  </a:lnTo>
                  <a:lnTo>
                    <a:pt x="6384" y="2425"/>
                  </a:lnTo>
                  <a:lnTo>
                    <a:pt x="6387" y="2432"/>
                  </a:lnTo>
                  <a:lnTo>
                    <a:pt x="6388" y="2439"/>
                  </a:lnTo>
                  <a:lnTo>
                    <a:pt x="6387" y="2446"/>
                  </a:lnTo>
                  <a:lnTo>
                    <a:pt x="6384" y="2452"/>
                  </a:lnTo>
                  <a:lnTo>
                    <a:pt x="6378" y="2457"/>
                  </a:lnTo>
                  <a:lnTo>
                    <a:pt x="6369" y="2459"/>
                  </a:lnTo>
                  <a:lnTo>
                    <a:pt x="6236" y="2459"/>
                  </a:lnTo>
                  <a:lnTo>
                    <a:pt x="6227" y="2457"/>
                  </a:lnTo>
                  <a:lnTo>
                    <a:pt x="6220" y="2452"/>
                  </a:lnTo>
                  <a:lnTo>
                    <a:pt x="6216" y="2446"/>
                  </a:lnTo>
                  <a:lnTo>
                    <a:pt x="6215" y="2439"/>
                  </a:lnTo>
                  <a:lnTo>
                    <a:pt x="6216" y="2432"/>
                  </a:lnTo>
                  <a:lnTo>
                    <a:pt x="6220" y="2425"/>
                  </a:lnTo>
                  <a:lnTo>
                    <a:pt x="6227" y="2420"/>
                  </a:lnTo>
                  <a:lnTo>
                    <a:pt x="6236" y="2419"/>
                  </a:lnTo>
                  <a:close/>
                  <a:moveTo>
                    <a:pt x="6472" y="2419"/>
                  </a:moveTo>
                  <a:lnTo>
                    <a:pt x="6605" y="2419"/>
                  </a:lnTo>
                  <a:lnTo>
                    <a:pt x="6614" y="2420"/>
                  </a:lnTo>
                  <a:lnTo>
                    <a:pt x="6620" y="2425"/>
                  </a:lnTo>
                  <a:lnTo>
                    <a:pt x="6624" y="2432"/>
                  </a:lnTo>
                  <a:lnTo>
                    <a:pt x="6626" y="2439"/>
                  </a:lnTo>
                  <a:lnTo>
                    <a:pt x="6624" y="2446"/>
                  </a:lnTo>
                  <a:lnTo>
                    <a:pt x="6620" y="2452"/>
                  </a:lnTo>
                  <a:lnTo>
                    <a:pt x="6614" y="2457"/>
                  </a:lnTo>
                  <a:lnTo>
                    <a:pt x="6605" y="2459"/>
                  </a:lnTo>
                  <a:lnTo>
                    <a:pt x="6472" y="2459"/>
                  </a:lnTo>
                  <a:lnTo>
                    <a:pt x="6464" y="2457"/>
                  </a:lnTo>
                  <a:lnTo>
                    <a:pt x="6458" y="2452"/>
                  </a:lnTo>
                  <a:lnTo>
                    <a:pt x="6454" y="2446"/>
                  </a:lnTo>
                  <a:lnTo>
                    <a:pt x="6452" y="2439"/>
                  </a:lnTo>
                  <a:lnTo>
                    <a:pt x="6454" y="2432"/>
                  </a:lnTo>
                  <a:lnTo>
                    <a:pt x="6458" y="2425"/>
                  </a:lnTo>
                  <a:lnTo>
                    <a:pt x="6464" y="2420"/>
                  </a:lnTo>
                  <a:lnTo>
                    <a:pt x="6472" y="2419"/>
                  </a:lnTo>
                  <a:close/>
                  <a:moveTo>
                    <a:pt x="6709" y="2419"/>
                  </a:moveTo>
                  <a:lnTo>
                    <a:pt x="6842" y="2419"/>
                  </a:lnTo>
                  <a:lnTo>
                    <a:pt x="6851" y="2420"/>
                  </a:lnTo>
                  <a:lnTo>
                    <a:pt x="6858" y="2425"/>
                  </a:lnTo>
                  <a:lnTo>
                    <a:pt x="6861" y="2432"/>
                  </a:lnTo>
                  <a:lnTo>
                    <a:pt x="6863" y="2439"/>
                  </a:lnTo>
                  <a:lnTo>
                    <a:pt x="6861" y="2446"/>
                  </a:lnTo>
                  <a:lnTo>
                    <a:pt x="6858" y="2452"/>
                  </a:lnTo>
                  <a:lnTo>
                    <a:pt x="6851" y="2457"/>
                  </a:lnTo>
                  <a:lnTo>
                    <a:pt x="6842" y="2459"/>
                  </a:lnTo>
                  <a:lnTo>
                    <a:pt x="6709" y="2459"/>
                  </a:lnTo>
                  <a:lnTo>
                    <a:pt x="6700" y="2457"/>
                  </a:lnTo>
                  <a:lnTo>
                    <a:pt x="6693" y="2452"/>
                  </a:lnTo>
                  <a:lnTo>
                    <a:pt x="6690" y="2446"/>
                  </a:lnTo>
                  <a:lnTo>
                    <a:pt x="6688" y="2439"/>
                  </a:lnTo>
                  <a:lnTo>
                    <a:pt x="6690" y="2432"/>
                  </a:lnTo>
                  <a:lnTo>
                    <a:pt x="6693" y="2425"/>
                  </a:lnTo>
                  <a:lnTo>
                    <a:pt x="6700" y="2420"/>
                  </a:lnTo>
                  <a:lnTo>
                    <a:pt x="6709" y="2419"/>
                  </a:lnTo>
                  <a:close/>
                  <a:moveTo>
                    <a:pt x="6946" y="2419"/>
                  </a:moveTo>
                  <a:lnTo>
                    <a:pt x="7078" y="2419"/>
                  </a:lnTo>
                  <a:lnTo>
                    <a:pt x="7087" y="2420"/>
                  </a:lnTo>
                  <a:lnTo>
                    <a:pt x="7094" y="2425"/>
                  </a:lnTo>
                  <a:lnTo>
                    <a:pt x="7097" y="2432"/>
                  </a:lnTo>
                  <a:lnTo>
                    <a:pt x="7099" y="2439"/>
                  </a:lnTo>
                  <a:lnTo>
                    <a:pt x="7097" y="2446"/>
                  </a:lnTo>
                  <a:lnTo>
                    <a:pt x="7094" y="2452"/>
                  </a:lnTo>
                  <a:lnTo>
                    <a:pt x="7087" y="2457"/>
                  </a:lnTo>
                  <a:lnTo>
                    <a:pt x="7078" y="2459"/>
                  </a:lnTo>
                  <a:lnTo>
                    <a:pt x="6946" y="2459"/>
                  </a:lnTo>
                  <a:lnTo>
                    <a:pt x="6937" y="2457"/>
                  </a:lnTo>
                  <a:lnTo>
                    <a:pt x="6931" y="2452"/>
                  </a:lnTo>
                  <a:lnTo>
                    <a:pt x="6927" y="2446"/>
                  </a:lnTo>
                  <a:lnTo>
                    <a:pt x="6926" y="2439"/>
                  </a:lnTo>
                  <a:lnTo>
                    <a:pt x="6927" y="2432"/>
                  </a:lnTo>
                  <a:lnTo>
                    <a:pt x="6931" y="2425"/>
                  </a:lnTo>
                  <a:lnTo>
                    <a:pt x="6937" y="2420"/>
                  </a:lnTo>
                  <a:lnTo>
                    <a:pt x="6946" y="2419"/>
                  </a:lnTo>
                  <a:close/>
                  <a:moveTo>
                    <a:pt x="6236" y="2682"/>
                  </a:moveTo>
                  <a:lnTo>
                    <a:pt x="6369" y="2682"/>
                  </a:lnTo>
                  <a:lnTo>
                    <a:pt x="6378" y="2684"/>
                  </a:lnTo>
                  <a:lnTo>
                    <a:pt x="6384" y="2689"/>
                  </a:lnTo>
                  <a:lnTo>
                    <a:pt x="6387" y="2695"/>
                  </a:lnTo>
                  <a:lnTo>
                    <a:pt x="6388" y="2702"/>
                  </a:lnTo>
                  <a:lnTo>
                    <a:pt x="6387" y="2709"/>
                  </a:lnTo>
                  <a:lnTo>
                    <a:pt x="6384" y="2716"/>
                  </a:lnTo>
                  <a:lnTo>
                    <a:pt x="6378" y="2721"/>
                  </a:lnTo>
                  <a:lnTo>
                    <a:pt x="6369" y="2722"/>
                  </a:lnTo>
                  <a:lnTo>
                    <a:pt x="6236" y="2722"/>
                  </a:lnTo>
                  <a:lnTo>
                    <a:pt x="6227" y="2721"/>
                  </a:lnTo>
                  <a:lnTo>
                    <a:pt x="6220" y="2716"/>
                  </a:lnTo>
                  <a:lnTo>
                    <a:pt x="6216" y="2709"/>
                  </a:lnTo>
                  <a:lnTo>
                    <a:pt x="6215" y="2702"/>
                  </a:lnTo>
                  <a:lnTo>
                    <a:pt x="6216" y="2695"/>
                  </a:lnTo>
                  <a:lnTo>
                    <a:pt x="6220" y="2689"/>
                  </a:lnTo>
                  <a:lnTo>
                    <a:pt x="6227" y="2684"/>
                  </a:lnTo>
                  <a:lnTo>
                    <a:pt x="6236" y="2682"/>
                  </a:lnTo>
                  <a:close/>
                  <a:moveTo>
                    <a:pt x="6472" y="2682"/>
                  </a:moveTo>
                  <a:lnTo>
                    <a:pt x="6605" y="2682"/>
                  </a:lnTo>
                  <a:lnTo>
                    <a:pt x="6614" y="2684"/>
                  </a:lnTo>
                  <a:lnTo>
                    <a:pt x="6620" y="2689"/>
                  </a:lnTo>
                  <a:lnTo>
                    <a:pt x="6624" y="2695"/>
                  </a:lnTo>
                  <a:lnTo>
                    <a:pt x="6626" y="2702"/>
                  </a:lnTo>
                  <a:lnTo>
                    <a:pt x="6624" y="2709"/>
                  </a:lnTo>
                  <a:lnTo>
                    <a:pt x="6620" y="2716"/>
                  </a:lnTo>
                  <a:lnTo>
                    <a:pt x="6614" y="2721"/>
                  </a:lnTo>
                  <a:lnTo>
                    <a:pt x="6605" y="2722"/>
                  </a:lnTo>
                  <a:lnTo>
                    <a:pt x="6472" y="2722"/>
                  </a:lnTo>
                  <a:lnTo>
                    <a:pt x="6464" y="2721"/>
                  </a:lnTo>
                  <a:lnTo>
                    <a:pt x="6458" y="2716"/>
                  </a:lnTo>
                  <a:lnTo>
                    <a:pt x="6454" y="2709"/>
                  </a:lnTo>
                  <a:lnTo>
                    <a:pt x="6452" y="2702"/>
                  </a:lnTo>
                  <a:lnTo>
                    <a:pt x="6454" y="2695"/>
                  </a:lnTo>
                  <a:lnTo>
                    <a:pt x="6458" y="2689"/>
                  </a:lnTo>
                  <a:lnTo>
                    <a:pt x="6464" y="2684"/>
                  </a:lnTo>
                  <a:lnTo>
                    <a:pt x="6472" y="2682"/>
                  </a:lnTo>
                  <a:close/>
                  <a:moveTo>
                    <a:pt x="6709" y="2682"/>
                  </a:moveTo>
                  <a:lnTo>
                    <a:pt x="6842" y="2682"/>
                  </a:lnTo>
                  <a:lnTo>
                    <a:pt x="6851" y="2684"/>
                  </a:lnTo>
                  <a:lnTo>
                    <a:pt x="6858" y="2689"/>
                  </a:lnTo>
                  <a:lnTo>
                    <a:pt x="6861" y="2695"/>
                  </a:lnTo>
                  <a:lnTo>
                    <a:pt x="6863" y="2702"/>
                  </a:lnTo>
                  <a:lnTo>
                    <a:pt x="6861" y="2709"/>
                  </a:lnTo>
                  <a:lnTo>
                    <a:pt x="6858" y="2716"/>
                  </a:lnTo>
                  <a:lnTo>
                    <a:pt x="6851" y="2721"/>
                  </a:lnTo>
                  <a:lnTo>
                    <a:pt x="6842" y="2722"/>
                  </a:lnTo>
                  <a:lnTo>
                    <a:pt x="6709" y="2722"/>
                  </a:lnTo>
                  <a:lnTo>
                    <a:pt x="6700" y="2721"/>
                  </a:lnTo>
                  <a:lnTo>
                    <a:pt x="6693" y="2716"/>
                  </a:lnTo>
                  <a:lnTo>
                    <a:pt x="6690" y="2709"/>
                  </a:lnTo>
                  <a:lnTo>
                    <a:pt x="6688" y="2702"/>
                  </a:lnTo>
                  <a:lnTo>
                    <a:pt x="6690" y="2695"/>
                  </a:lnTo>
                  <a:lnTo>
                    <a:pt x="6693" y="2689"/>
                  </a:lnTo>
                  <a:lnTo>
                    <a:pt x="6700" y="2684"/>
                  </a:lnTo>
                  <a:lnTo>
                    <a:pt x="6709" y="2682"/>
                  </a:lnTo>
                  <a:close/>
                  <a:moveTo>
                    <a:pt x="6946" y="2682"/>
                  </a:moveTo>
                  <a:lnTo>
                    <a:pt x="7078" y="2682"/>
                  </a:lnTo>
                  <a:lnTo>
                    <a:pt x="7087" y="2684"/>
                  </a:lnTo>
                  <a:lnTo>
                    <a:pt x="7094" y="2689"/>
                  </a:lnTo>
                  <a:lnTo>
                    <a:pt x="7097" y="2695"/>
                  </a:lnTo>
                  <a:lnTo>
                    <a:pt x="7099" y="2702"/>
                  </a:lnTo>
                  <a:lnTo>
                    <a:pt x="7097" y="2709"/>
                  </a:lnTo>
                  <a:lnTo>
                    <a:pt x="7094" y="2716"/>
                  </a:lnTo>
                  <a:lnTo>
                    <a:pt x="7087" y="2721"/>
                  </a:lnTo>
                  <a:lnTo>
                    <a:pt x="7078" y="2722"/>
                  </a:lnTo>
                  <a:lnTo>
                    <a:pt x="6946" y="2722"/>
                  </a:lnTo>
                  <a:lnTo>
                    <a:pt x="6937" y="2721"/>
                  </a:lnTo>
                  <a:lnTo>
                    <a:pt x="6931" y="2716"/>
                  </a:lnTo>
                  <a:lnTo>
                    <a:pt x="6927" y="2709"/>
                  </a:lnTo>
                  <a:lnTo>
                    <a:pt x="6926" y="2702"/>
                  </a:lnTo>
                  <a:lnTo>
                    <a:pt x="6927" y="2695"/>
                  </a:lnTo>
                  <a:lnTo>
                    <a:pt x="6931" y="2689"/>
                  </a:lnTo>
                  <a:lnTo>
                    <a:pt x="6937" y="2684"/>
                  </a:lnTo>
                  <a:lnTo>
                    <a:pt x="6946" y="2682"/>
                  </a:lnTo>
                  <a:close/>
                  <a:moveTo>
                    <a:pt x="6236" y="2946"/>
                  </a:moveTo>
                  <a:lnTo>
                    <a:pt x="6369" y="2946"/>
                  </a:lnTo>
                  <a:lnTo>
                    <a:pt x="6378" y="2947"/>
                  </a:lnTo>
                  <a:lnTo>
                    <a:pt x="6384" y="2951"/>
                  </a:lnTo>
                  <a:lnTo>
                    <a:pt x="6387" y="2957"/>
                  </a:lnTo>
                  <a:lnTo>
                    <a:pt x="6388" y="2965"/>
                  </a:lnTo>
                  <a:lnTo>
                    <a:pt x="6387" y="2973"/>
                  </a:lnTo>
                  <a:lnTo>
                    <a:pt x="6384" y="2979"/>
                  </a:lnTo>
                  <a:lnTo>
                    <a:pt x="6378" y="2983"/>
                  </a:lnTo>
                  <a:lnTo>
                    <a:pt x="6369" y="2985"/>
                  </a:lnTo>
                  <a:lnTo>
                    <a:pt x="6236" y="2985"/>
                  </a:lnTo>
                  <a:lnTo>
                    <a:pt x="6227" y="2983"/>
                  </a:lnTo>
                  <a:lnTo>
                    <a:pt x="6220" y="2979"/>
                  </a:lnTo>
                  <a:lnTo>
                    <a:pt x="6216" y="2973"/>
                  </a:lnTo>
                  <a:lnTo>
                    <a:pt x="6215" y="2965"/>
                  </a:lnTo>
                  <a:lnTo>
                    <a:pt x="6216" y="2957"/>
                  </a:lnTo>
                  <a:lnTo>
                    <a:pt x="6220" y="2951"/>
                  </a:lnTo>
                  <a:lnTo>
                    <a:pt x="6227" y="2947"/>
                  </a:lnTo>
                  <a:lnTo>
                    <a:pt x="6236" y="2946"/>
                  </a:lnTo>
                  <a:close/>
                  <a:moveTo>
                    <a:pt x="6472" y="2946"/>
                  </a:moveTo>
                  <a:lnTo>
                    <a:pt x="6605" y="2946"/>
                  </a:lnTo>
                  <a:lnTo>
                    <a:pt x="6614" y="2947"/>
                  </a:lnTo>
                  <a:lnTo>
                    <a:pt x="6620" y="2951"/>
                  </a:lnTo>
                  <a:lnTo>
                    <a:pt x="6624" y="2957"/>
                  </a:lnTo>
                  <a:lnTo>
                    <a:pt x="6626" y="2965"/>
                  </a:lnTo>
                  <a:lnTo>
                    <a:pt x="6624" y="2973"/>
                  </a:lnTo>
                  <a:lnTo>
                    <a:pt x="6620" y="2979"/>
                  </a:lnTo>
                  <a:lnTo>
                    <a:pt x="6614" y="2983"/>
                  </a:lnTo>
                  <a:lnTo>
                    <a:pt x="6605" y="2985"/>
                  </a:lnTo>
                  <a:lnTo>
                    <a:pt x="6472" y="2985"/>
                  </a:lnTo>
                  <a:lnTo>
                    <a:pt x="6464" y="2983"/>
                  </a:lnTo>
                  <a:lnTo>
                    <a:pt x="6458" y="2979"/>
                  </a:lnTo>
                  <a:lnTo>
                    <a:pt x="6454" y="2973"/>
                  </a:lnTo>
                  <a:lnTo>
                    <a:pt x="6452" y="2965"/>
                  </a:lnTo>
                  <a:lnTo>
                    <a:pt x="6454" y="2957"/>
                  </a:lnTo>
                  <a:lnTo>
                    <a:pt x="6458" y="2951"/>
                  </a:lnTo>
                  <a:lnTo>
                    <a:pt x="6464" y="2947"/>
                  </a:lnTo>
                  <a:lnTo>
                    <a:pt x="6472" y="2946"/>
                  </a:lnTo>
                  <a:close/>
                  <a:moveTo>
                    <a:pt x="6709" y="2946"/>
                  </a:moveTo>
                  <a:lnTo>
                    <a:pt x="6842" y="2946"/>
                  </a:lnTo>
                  <a:lnTo>
                    <a:pt x="6851" y="2947"/>
                  </a:lnTo>
                  <a:lnTo>
                    <a:pt x="6858" y="2951"/>
                  </a:lnTo>
                  <a:lnTo>
                    <a:pt x="6861" y="2957"/>
                  </a:lnTo>
                  <a:lnTo>
                    <a:pt x="6863" y="2965"/>
                  </a:lnTo>
                  <a:lnTo>
                    <a:pt x="6861" y="2973"/>
                  </a:lnTo>
                  <a:lnTo>
                    <a:pt x="6858" y="2979"/>
                  </a:lnTo>
                  <a:lnTo>
                    <a:pt x="6851" y="2983"/>
                  </a:lnTo>
                  <a:lnTo>
                    <a:pt x="6842" y="2985"/>
                  </a:lnTo>
                  <a:lnTo>
                    <a:pt x="6709" y="2985"/>
                  </a:lnTo>
                  <a:lnTo>
                    <a:pt x="6700" y="2983"/>
                  </a:lnTo>
                  <a:lnTo>
                    <a:pt x="6693" y="2979"/>
                  </a:lnTo>
                  <a:lnTo>
                    <a:pt x="6690" y="2973"/>
                  </a:lnTo>
                  <a:lnTo>
                    <a:pt x="6688" y="2965"/>
                  </a:lnTo>
                  <a:lnTo>
                    <a:pt x="6690" y="2957"/>
                  </a:lnTo>
                  <a:lnTo>
                    <a:pt x="6693" y="2951"/>
                  </a:lnTo>
                  <a:lnTo>
                    <a:pt x="6700" y="2947"/>
                  </a:lnTo>
                  <a:lnTo>
                    <a:pt x="6709" y="2946"/>
                  </a:lnTo>
                  <a:close/>
                  <a:moveTo>
                    <a:pt x="6946" y="2946"/>
                  </a:moveTo>
                  <a:lnTo>
                    <a:pt x="7078" y="2946"/>
                  </a:lnTo>
                  <a:lnTo>
                    <a:pt x="7087" y="2947"/>
                  </a:lnTo>
                  <a:lnTo>
                    <a:pt x="7094" y="2951"/>
                  </a:lnTo>
                  <a:lnTo>
                    <a:pt x="7097" y="2957"/>
                  </a:lnTo>
                  <a:lnTo>
                    <a:pt x="7099" y="2965"/>
                  </a:lnTo>
                  <a:lnTo>
                    <a:pt x="7097" y="2973"/>
                  </a:lnTo>
                  <a:lnTo>
                    <a:pt x="7094" y="2979"/>
                  </a:lnTo>
                  <a:lnTo>
                    <a:pt x="7087" y="2983"/>
                  </a:lnTo>
                  <a:lnTo>
                    <a:pt x="7078" y="2985"/>
                  </a:lnTo>
                  <a:lnTo>
                    <a:pt x="6946" y="2985"/>
                  </a:lnTo>
                  <a:lnTo>
                    <a:pt x="6937" y="2983"/>
                  </a:lnTo>
                  <a:lnTo>
                    <a:pt x="6931" y="2979"/>
                  </a:lnTo>
                  <a:lnTo>
                    <a:pt x="6927" y="2973"/>
                  </a:lnTo>
                  <a:lnTo>
                    <a:pt x="6926" y="2965"/>
                  </a:lnTo>
                  <a:lnTo>
                    <a:pt x="6927" y="2957"/>
                  </a:lnTo>
                  <a:lnTo>
                    <a:pt x="6931" y="2951"/>
                  </a:lnTo>
                  <a:lnTo>
                    <a:pt x="6937" y="2947"/>
                  </a:lnTo>
                  <a:lnTo>
                    <a:pt x="6946" y="2946"/>
                  </a:lnTo>
                  <a:close/>
                  <a:moveTo>
                    <a:pt x="6236" y="3208"/>
                  </a:moveTo>
                  <a:lnTo>
                    <a:pt x="6369" y="3208"/>
                  </a:lnTo>
                  <a:lnTo>
                    <a:pt x="6378" y="3211"/>
                  </a:lnTo>
                  <a:lnTo>
                    <a:pt x="6384" y="3214"/>
                  </a:lnTo>
                  <a:lnTo>
                    <a:pt x="6387" y="3221"/>
                  </a:lnTo>
                  <a:lnTo>
                    <a:pt x="6388" y="3228"/>
                  </a:lnTo>
                  <a:lnTo>
                    <a:pt x="6387" y="3236"/>
                  </a:lnTo>
                  <a:lnTo>
                    <a:pt x="6384" y="3242"/>
                  </a:lnTo>
                  <a:lnTo>
                    <a:pt x="6378" y="3246"/>
                  </a:lnTo>
                  <a:lnTo>
                    <a:pt x="6369" y="3248"/>
                  </a:lnTo>
                  <a:lnTo>
                    <a:pt x="6236" y="3248"/>
                  </a:lnTo>
                  <a:lnTo>
                    <a:pt x="6227" y="3246"/>
                  </a:lnTo>
                  <a:lnTo>
                    <a:pt x="6220" y="3242"/>
                  </a:lnTo>
                  <a:lnTo>
                    <a:pt x="6216" y="3236"/>
                  </a:lnTo>
                  <a:lnTo>
                    <a:pt x="6215" y="3228"/>
                  </a:lnTo>
                  <a:lnTo>
                    <a:pt x="6216" y="3221"/>
                  </a:lnTo>
                  <a:lnTo>
                    <a:pt x="6220" y="3214"/>
                  </a:lnTo>
                  <a:lnTo>
                    <a:pt x="6227" y="3211"/>
                  </a:lnTo>
                  <a:lnTo>
                    <a:pt x="6236" y="3208"/>
                  </a:lnTo>
                  <a:close/>
                  <a:moveTo>
                    <a:pt x="6472" y="3208"/>
                  </a:moveTo>
                  <a:lnTo>
                    <a:pt x="6605" y="3208"/>
                  </a:lnTo>
                  <a:lnTo>
                    <a:pt x="6614" y="3211"/>
                  </a:lnTo>
                  <a:lnTo>
                    <a:pt x="6620" y="3214"/>
                  </a:lnTo>
                  <a:lnTo>
                    <a:pt x="6624" y="3221"/>
                  </a:lnTo>
                  <a:lnTo>
                    <a:pt x="6626" y="3228"/>
                  </a:lnTo>
                  <a:lnTo>
                    <a:pt x="6624" y="3236"/>
                  </a:lnTo>
                  <a:lnTo>
                    <a:pt x="6620" y="3242"/>
                  </a:lnTo>
                  <a:lnTo>
                    <a:pt x="6614" y="3246"/>
                  </a:lnTo>
                  <a:lnTo>
                    <a:pt x="6605" y="3248"/>
                  </a:lnTo>
                  <a:lnTo>
                    <a:pt x="6472" y="3248"/>
                  </a:lnTo>
                  <a:lnTo>
                    <a:pt x="6464" y="3246"/>
                  </a:lnTo>
                  <a:lnTo>
                    <a:pt x="6458" y="3242"/>
                  </a:lnTo>
                  <a:lnTo>
                    <a:pt x="6454" y="3236"/>
                  </a:lnTo>
                  <a:lnTo>
                    <a:pt x="6452" y="3228"/>
                  </a:lnTo>
                  <a:lnTo>
                    <a:pt x="6454" y="3221"/>
                  </a:lnTo>
                  <a:lnTo>
                    <a:pt x="6458" y="3214"/>
                  </a:lnTo>
                  <a:lnTo>
                    <a:pt x="6464" y="3211"/>
                  </a:lnTo>
                  <a:lnTo>
                    <a:pt x="6472" y="3208"/>
                  </a:lnTo>
                  <a:close/>
                  <a:moveTo>
                    <a:pt x="6709" y="3208"/>
                  </a:moveTo>
                  <a:lnTo>
                    <a:pt x="6842" y="3208"/>
                  </a:lnTo>
                  <a:lnTo>
                    <a:pt x="6851" y="3211"/>
                  </a:lnTo>
                  <a:lnTo>
                    <a:pt x="6858" y="3214"/>
                  </a:lnTo>
                  <a:lnTo>
                    <a:pt x="6861" y="3221"/>
                  </a:lnTo>
                  <a:lnTo>
                    <a:pt x="6863" y="3228"/>
                  </a:lnTo>
                  <a:lnTo>
                    <a:pt x="6861" y="3236"/>
                  </a:lnTo>
                  <a:lnTo>
                    <a:pt x="6858" y="3242"/>
                  </a:lnTo>
                  <a:lnTo>
                    <a:pt x="6851" y="3246"/>
                  </a:lnTo>
                  <a:lnTo>
                    <a:pt x="6842" y="3248"/>
                  </a:lnTo>
                  <a:lnTo>
                    <a:pt x="6709" y="3248"/>
                  </a:lnTo>
                  <a:lnTo>
                    <a:pt x="6700" y="3246"/>
                  </a:lnTo>
                  <a:lnTo>
                    <a:pt x="6693" y="3242"/>
                  </a:lnTo>
                  <a:lnTo>
                    <a:pt x="6690" y="3236"/>
                  </a:lnTo>
                  <a:lnTo>
                    <a:pt x="6688" y="3228"/>
                  </a:lnTo>
                  <a:lnTo>
                    <a:pt x="6690" y="3221"/>
                  </a:lnTo>
                  <a:lnTo>
                    <a:pt x="6693" y="3214"/>
                  </a:lnTo>
                  <a:lnTo>
                    <a:pt x="6700" y="3211"/>
                  </a:lnTo>
                  <a:lnTo>
                    <a:pt x="6709" y="3208"/>
                  </a:lnTo>
                  <a:close/>
                  <a:moveTo>
                    <a:pt x="6946" y="3208"/>
                  </a:moveTo>
                  <a:lnTo>
                    <a:pt x="7078" y="3208"/>
                  </a:lnTo>
                  <a:lnTo>
                    <a:pt x="7087" y="3211"/>
                  </a:lnTo>
                  <a:lnTo>
                    <a:pt x="7094" y="3214"/>
                  </a:lnTo>
                  <a:lnTo>
                    <a:pt x="7097" y="3221"/>
                  </a:lnTo>
                  <a:lnTo>
                    <a:pt x="7099" y="3228"/>
                  </a:lnTo>
                  <a:lnTo>
                    <a:pt x="7097" y="3236"/>
                  </a:lnTo>
                  <a:lnTo>
                    <a:pt x="7094" y="3242"/>
                  </a:lnTo>
                  <a:lnTo>
                    <a:pt x="7087" y="3246"/>
                  </a:lnTo>
                  <a:lnTo>
                    <a:pt x="7078" y="3248"/>
                  </a:lnTo>
                  <a:lnTo>
                    <a:pt x="6946" y="3248"/>
                  </a:lnTo>
                  <a:lnTo>
                    <a:pt x="6937" y="3246"/>
                  </a:lnTo>
                  <a:lnTo>
                    <a:pt x="6931" y="3242"/>
                  </a:lnTo>
                  <a:lnTo>
                    <a:pt x="6927" y="3236"/>
                  </a:lnTo>
                  <a:lnTo>
                    <a:pt x="6926" y="3228"/>
                  </a:lnTo>
                  <a:lnTo>
                    <a:pt x="6927" y="3221"/>
                  </a:lnTo>
                  <a:lnTo>
                    <a:pt x="6931" y="3214"/>
                  </a:lnTo>
                  <a:lnTo>
                    <a:pt x="6937" y="3211"/>
                  </a:lnTo>
                  <a:lnTo>
                    <a:pt x="6946" y="3208"/>
                  </a:lnTo>
                  <a:close/>
                  <a:moveTo>
                    <a:pt x="6236" y="3471"/>
                  </a:moveTo>
                  <a:lnTo>
                    <a:pt x="6369" y="3471"/>
                  </a:lnTo>
                  <a:lnTo>
                    <a:pt x="6378" y="3473"/>
                  </a:lnTo>
                  <a:lnTo>
                    <a:pt x="6384" y="3478"/>
                  </a:lnTo>
                  <a:lnTo>
                    <a:pt x="6387" y="3484"/>
                  </a:lnTo>
                  <a:lnTo>
                    <a:pt x="6388" y="3492"/>
                  </a:lnTo>
                  <a:lnTo>
                    <a:pt x="6387" y="3498"/>
                  </a:lnTo>
                  <a:lnTo>
                    <a:pt x="6384" y="3505"/>
                  </a:lnTo>
                  <a:lnTo>
                    <a:pt x="6378" y="3510"/>
                  </a:lnTo>
                  <a:lnTo>
                    <a:pt x="6369" y="3511"/>
                  </a:lnTo>
                  <a:lnTo>
                    <a:pt x="6236" y="3511"/>
                  </a:lnTo>
                  <a:lnTo>
                    <a:pt x="6227" y="3510"/>
                  </a:lnTo>
                  <a:lnTo>
                    <a:pt x="6220" y="3505"/>
                  </a:lnTo>
                  <a:lnTo>
                    <a:pt x="6216" y="3498"/>
                  </a:lnTo>
                  <a:lnTo>
                    <a:pt x="6215" y="3492"/>
                  </a:lnTo>
                  <a:lnTo>
                    <a:pt x="6216" y="3484"/>
                  </a:lnTo>
                  <a:lnTo>
                    <a:pt x="6220" y="3478"/>
                  </a:lnTo>
                  <a:lnTo>
                    <a:pt x="6227" y="3473"/>
                  </a:lnTo>
                  <a:lnTo>
                    <a:pt x="6236" y="3471"/>
                  </a:lnTo>
                  <a:close/>
                  <a:moveTo>
                    <a:pt x="6472" y="3471"/>
                  </a:moveTo>
                  <a:lnTo>
                    <a:pt x="6605" y="3471"/>
                  </a:lnTo>
                  <a:lnTo>
                    <a:pt x="6614" y="3473"/>
                  </a:lnTo>
                  <a:lnTo>
                    <a:pt x="6620" y="3478"/>
                  </a:lnTo>
                  <a:lnTo>
                    <a:pt x="6624" y="3484"/>
                  </a:lnTo>
                  <a:lnTo>
                    <a:pt x="6626" y="3492"/>
                  </a:lnTo>
                  <a:lnTo>
                    <a:pt x="6624" y="3498"/>
                  </a:lnTo>
                  <a:lnTo>
                    <a:pt x="6620" y="3505"/>
                  </a:lnTo>
                  <a:lnTo>
                    <a:pt x="6614" y="3510"/>
                  </a:lnTo>
                  <a:lnTo>
                    <a:pt x="6605" y="3511"/>
                  </a:lnTo>
                  <a:lnTo>
                    <a:pt x="6472" y="3511"/>
                  </a:lnTo>
                  <a:lnTo>
                    <a:pt x="6464" y="3510"/>
                  </a:lnTo>
                  <a:lnTo>
                    <a:pt x="6458" y="3505"/>
                  </a:lnTo>
                  <a:lnTo>
                    <a:pt x="6454" y="3498"/>
                  </a:lnTo>
                  <a:lnTo>
                    <a:pt x="6452" y="3492"/>
                  </a:lnTo>
                  <a:lnTo>
                    <a:pt x="6454" y="3484"/>
                  </a:lnTo>
                  <a:lnTo>
                    <a:pt x="6458" y="3478"/>
                  </a:lnTo>
                  <a:lnTo>
                    <a:pt x="6464" y="3473"/>
                  </a:lnTo>
                  <a:lnTo>
                    <a:pt x="6472" y="3471"/>
                  </a:lnTo>
                  <a:close/>
                  <a:moveTo>
                    <a:pt x="6709" y="3471"/>
                  </a:moveTo>
                  <a:lnTo>
                    <a:pt x="6842" y="3471"/>
                  </a:lnTo>
                  <a:lnTo>
                    <a:pt x="6851" y="3473"/>
                  </a:lnTo>
                  <a:lnTo>
                    <a:pt x="6858" y="3478"/>
                  </a:lnTo>
                  <a:lnTo>
                    <a:pt x="6861" y="3484"/>
                  </a:lnTo>
                  <a:lnTo>
                    <a:pt x="6863" y="3492"/>
                  </a:lnTo>
                  <a:lnTo>
                    <a:pt x="6861" y="3498"/>
                  </a:lnTo>
                  <a:lnTo>
                    <a:pt x="6858" y="3505"/>
                  </a:lnTo>
                  <a:lnTo>
                    <a:pt x="6851" y="3510"/>
                  </a:lnTo>
                  <a:lnTo>
                    <a:pt x="6842" y="3511"/>
                  </a:lnTo>
                  <a:lnTo>
                    <a:pt x="6709" y="3511"/>
                  </a:lnTo>
                  <a:lnTo>
                    <a:pt x="6700" y="3510"/>
                  </a:lnTo>
                  <a:lnTo>
                    <a:pt x="6693" y="3505"/>
                  </a:lnTo>
                  <a:lnTo>
                    <a:pt x="6690" y="3498"/>
                  </a:lnTo>
                  <a:lnTo>
                    <a:pt x="6688" y="3492"/>
                  </a:lnTo>
                  <a:lnTo>
                    <a:pt x="6690" y="3484"/>
                  </a:lnTo>
                  <a:lnTo>
                    <a:pt x="6693" y="3478"/>
                  </a:lnTo>
                  <a:lnTo>
                    <a:pt x="6700" y="3473"/>
                  </a:lnTo>
                  <a:lnTo>
                    <a:pt x="6709" y="3471"/>
                  </a:lnTo>
                  <a:close/>
                  <a:moveTo>
                    <a:pt x="6946" y="3471"/>
                  </a:moveTo>
                  <a:lnTo>
                    <a:pt x="7078" y="3471"/>
                  </a:lnTo>
                  <a:lnTo>
                    <a:pt x="7087" y="3473"/>
                  </a:lnTo>
                  <a:lnTo>
                    <a:pt x="7094" y="3478"/>
                  </a:lnTo>
                  <a:lnTo>
                    <a:pt x="7097" y="3484"/>
                  </a:lnTo>
                  <a:lnTo>
                    <a:pt x="7099" y="3492"/>
                  </a:lnTo>
                  <a:lnTo>
                    <a:pt x="7097" y="3498"/>
                  </a:lnTo>
                  <a:lnTo>
                    <a:pt x="7094" y="3505"/>
                  </a:lnTo>
                  <a:lnTo>
                    <a:pt x="7087" y="3510"/>
                  </a:lnTo>
                  <a:lnTo>
                    <a:pt x="7078" y="3511"/>
                  </a:lnTo>
                  <a:lnTo>
                    <a:pt x="6946" y="3511"/>
                  </a:lnTo>
                  <a:lnTo>
                    <a:pt x="6937" y="3510"/>
                  </a:lnTo>
                  <a:lnTo>
                    <a:pt x="6931" y="3505"/>
                  </a:lnTo>
                  <a:lnTo>
                    <a:pt x="6927" y="3498"/>
                  </a:lnTo>
                  <a:lnTo>
                    <a:pt x="6926" y="3492"/>
                  </a:lnTo>
                  <a:lnTo>
                    <a:pt x="6927" y="3484"/>
                  </a:lnTo>
                  <a:lnTo>
                    <a:pt x="6931" y="3478"/>
                  </a:lnTo>
                  <a:lnTo>
                    <a:pt x="6937" y="3473"/>
                  </a:lnTo>
                  <a:lnTo>
                    <a:pt x="6946" y="3471"/>
                  </a:lnTo>
                  <a:close/>
                  <a:moveTo>
                    <a:pt x="6236" y="3735"/>
                  </a:moveTo>
                  <a:lnTo>
                    <a:pt x="6369" y="3735"/>
                  </a:lnTo>
                  <a:lnTo>
                    <a:pt x="6378" y="3736"/>
                  </a:lnTo>
                  <a:lnTo>
                    <a:pt x="6384" y="3741"/>
                  </a:lnTo>
                  <a:lnTo>
                    <a:pt x="6387" y="3748"/>
                  </a:lnTo>
                  <a:lnTo>
                    <a:pt x="6388" y="3754"/>
                  </a:lnTo>
                  <a:lnTo>
                    <a:pt x="6387" y="3762"/>
                  </a:lnTo>
                  <a:lnTo>
                    <a:pt x="6384" y="3768"/>
                  </a:lnTo>
                  <a:lnTo>
                    <a:pt x="6378" y="3773"/>
                  </a:lnTo>
                  <a:lnTo>
                    <a:pt x="6369" y="3774"/>
                  </a:lnTo>
                  <a:lnTo>
                    <a:pt x="6236" y="3774"/>
                  </a:lnTo>
                  <a:lnTo>
                    <a:pt x="6227" y="3773"/>
                  </a:lnTo>
                  <a:lnTo>
                    <a:pt x="6220" y="3768"/>
                  </a:lnTo>
                  <a:lnTo>
                    <a:pt x="6216" y="3762"/>
                  </a:lnTo>
                  <a:lnTo>
                    <a:pt x="6215" y="3754"/>
                  </a:lnTo>
                  <a:lnTo>
                    <a:pt x="6216" y="3748"/>
                  </a:lnTo>
                  <a:lnTo>
                    <a:pt x="6220" y="3741"/>
                  </a:lnTo>
                  <a:lnTo>
                    <a:pt x="6227" y="3736"/>
                  </a:lnTo>
                  <a:lnTo>
                    <a:pt x="6236" y="3735"/>
                  </a:lnTo>
                  <a:close/>
                  <a:moveTo>
                    <a:pt x="6472" y="3735"/>
                  </a:moveTo>
                  <a:lnTo>
                    <a:pt x="6605" y="3735"/>
                  </a:lnTo>
                  <a:lnTo>
                    <a:pt x="6614" y="3736"/>
                  </a:lnTo>
                  <a:lnTo>
                    <a:pt x="6620" y="3741"/>
                  </a:lnTo>
                  <a:lnTo>
                    <a:pt x="6624" y="3748"/>
                  </a:lnTo>
                  <a:lnTo>
                    <a:pt x="6626" y="3754"/>
                  </a:lnTo>
                  <a:lnTo>
                    <a:pt x="6624" y="3762"/>
                  </a:lnTo>
                  <a:lnTo>
                    <a:pt x="6620" y="3768"/>
                  </a:lnTo>
                  <a:lnTo>
                    <a:pt x="6614" y="3773"/>
                  </a:lnTo>
                  <a:lnTo>
                    <a:pt x="6605" y="3774"/>
                  </a:lnTo>
                  <a:lnTo>
                    <a:pt x="6472" y="3774"/>
                  </a:lnTo>
                  <a:lnTo>
                    <a:pt x="6464" y="3773"/>
                  </a:lnTo>
                  <a:lnTo>
                    <a:pt x="6458" y="3768"/>
                  </a:lnTo>
                  <a:lnTo>
                    <a:pt x="6454" y="3762"/>
                  </a:lnTo>
                  <a:lnTo>
                    <a:pt x="6452" y="3754"/>
                  </a:lnTo>
                  <a:lnTo>
                    <a:pt x="6454" y="3748"/>
                  </a:lnTo>
                  <a:lnTo>
                    <a:pt x="6458" y="3741"/>
                  </a:lnTo>
                  <a:lnTo>
                    <a:pt x="6464" y="3736"/>
                  </a:lnTo>
                  <a:lnTo>
                    <a:pt x="6472" y="3735"/>
                  </a:lnTo>
                  <a:close/>
                  <a:moveTo>
                    <a:pt x="6709" y="3735"/>
                  </a:moveTo>
                  <a:lnTo>
                    <a:pt x="6842" y="3735"/>
                  </a:lnTo>
                  <a:lnTo>
                    <a:pt x="6851" y="3736"/>
                  </a:lnTo>
                  <a:lnTo>
                    <a:pt x="6858" y="3741"/>
                  </a:lnTo>
                  <a:lnTo>
                    <a:pt x="6861" y="3748"/>
                  </a:lnTo>
                  <a:lnTo>
                    <a:pt x="6863" y="3754"/>
                  </a:lnTo>
                  <a:lnTo>
                    <a:pt x="6861" y="3762"/>
                  </a:lnTo>
                  <a:lnTo>
                    <a:pt x="6858" y="3768"/>
                  </a:lnTo>
                  <a:lnTo>
                    <a:pt x="6851" y="3773"/>
                  </a:lnTo>
                  <a:lnTo>
                    <a:pt x="6842" y="3774"/>
                  </a:lnTo>
                  <a:lnTo>
                    <a:pt x="6709" y="3774"/>
                  </a:lnTo>
                  <a:lnTo>
                    <a:pt x="6700" y="3773"/>
                  </a:lnTo>
                  <a:lnTo>
                    <a:pt x="6693" y="3768"/>
                  </a:lnTo>
                  <a:lnTo>
                    <a:pt x="6690" y="3762"/>
                  </a:lnTo>
                  <a:lnTo>
                    <a:pt x="6688" y="3754"/>
                  </a:lnTo>
                  <a:lnTo>
                    <a:pt x="6690" y="3748"/>
                  </a:lnTo>
                  <a:lnTo>
                    <a:pt x="6693" y="3741"/>
                  </a:lnTo>
                  <a:lnTo>
                    <a:pt x="6700" y="3736"/>
                  </a:lnTo>
                  <a:lnTo>
                    <a:pt x="6709" y="3735"/>
                  </a:lnTo>
                  <a:close/>
                  <a:moveTo>
                    <a:pt x="6946" y="3735"/>
                  </a:moveTo>
                  <a:lnTo>
                    <a:pt x="7078" y="3735"/>
                  </a:lnTo>
                  <a:lnTo>
                    <a:pt x="7087" y="3736"/>
                  </a:lnTo>
                  <a:lnTo>
                    <a:pt x="7094" y="3741"/>
                  </a:lnTo>
                  <a:lnTo>
                    <a:pt x="7097" y="3748"/>
                  </a:lnTo>
                  <a:lnTo>
                    <a:pt x="7099" y="3754"/>
                  </a:lnTo>
                  <a:lnTo>
                    <a:pt x="7097" y="3762"/>
                  </a:lnTo>
                  <a:lnTo>
                    <a:pt x="7094" y="3768"/>
                  </a:lnTo>
                  <a:lnTo>
                    <a:pt x="7087" y="3773"/>
                  </a:lnTo>
                  <a:lnTo>
                    <a:pt x="7078" y="3774"/>
                  </a:lnTo>
                  <a:lnTo>
                    <a:pt x="6946" y="3774"/>
                  </a:lnTo>
                  <a:lnTo>
                    <a:pt x="6937" y="3773"/>
                  </a:lnTo>
                  <a:lnTo>
                    <a:pt x="6931" y="3768"/>
                  </a:lnTo>
                  <a:lnTo>
                    <a:pt x="6927" y="3762"/>
                  </a:lnTo>
                  <a:lnTo>
                    <a:pt x="6926" y="3754"/>
                  </a:lnTo>
                  <a:lnTo>
                    <a:pt x="6927" y="3748"/>
                  </a:lnTo>
                  <a:lnTo>
                    <a:pt x="6931" y="3741"/>
                  </a:lnTo>
                  <a:lnTo>
                    <a:pt x="6937" y="3736"/>
                  </a:lnTo>
                  <a:lnTo>
                    <a:pt x="6946" y="3735"/>
                  </a:lnTo>
                  <a:close/>
                  <a:moveTo>
                    <a:pt x="6236" y="3997"/>
                  </a:moveTo>
                  <a:lnTo>
                    <a:pt x="6369" y="3997"/>
                  </a:lnTo>
                  <a:lnTo>
                    <a:pt x="6378" y="3999"/>
                  </a:lnTo>
                  <a:lnTo>
                    <a:pt x="6384" y="4003"/>
                  </a:lnTo>
                  <a:lnTo>
                    <a:pt x="6387" y="4010"/>
                  </a:lnTo>
                  <a:lnTo>
                    <a:pt x="6388" y="4017"/>
                  </a:lnTo>
                  <a:lnTo>
                    <a:pt x="6387" y="4025"/>
                  </a:lnTo>
                  <a:lnTo>
                    <a:pt x="6384" y="4031"/>
                  </a:lnTo>
                  <a:lnTo>
                    <a:pt x="6378" y="4035"/>
                  </a:lnTo>
                  <a:lnTo>
                    <a:pt x="6369" y="4038"/>
                  </a:lnTo>
                  <a:lnTo>
                    <a:pt x="6236" y="4038"/>
                  </a:lnTo>
                  <a:lnTo>
                    <a:pt x="6227" y="4035"/>
                  </a:lnTo>
                  <a:lnTo>
                    <a:pt x="6220" y="4031"/>
                  </a:lnTo>
                  <a:lnTo>
                    <a:pt x="6216" y="4025"/>
                  </a:lnTo>
                  <a:lnTo>
                    <a:pt x="6215" y="4017"/>
                  </a:lnTo>
                  <a:lnTo>
                    <a:pt x="6216" y="4010"/>
                  </a:lnTo>
                  <a:lnTo>
                    <a:pt x="6220" y="4003"/>
                  </a:lnTo>
                  <a:lnTo>
                    <a:pt x="6227" y="3999"/>
                  </a:lnTo>
                  <a:lnTo>
                    <a:pt x="6236" y="3997"/>
                  </a:lnTo>
                  <a:close/>
                  <a:moveTo>
                    <a:pt x="6472" y="3997"/>
                  </a:moveTo>
                  <a:lnTo>
                    <a:pt x="6605" y="3997"/>
                  </a:lnTo>
                  <a:lnTo>
                    <a:pt x="6614" y="3999"/>
                  </a:lnTo>
                  <a:lnTo>
                    <a:pt x="6620" y="4003"/>
                  </a:lnTo>
                  <a:lnTo>
                    <a:pt x="6624" y="4010"/>
                  </a:lnTo>
                  <a:lnTo>
                    <a:pt x="6626" y="4017"/>
                  </a:lnTo>
                  <a:lnTo>
                    <a:pt x="6624" y="4025"/>
                  </a:lnTo>
                  <a:lnTo>
                    <a:pt x="6620" y="4031"/>
                  </a:lnTo>
                  <a:lnTo>
                    <a:pt x="6614" y="4035"/>
                  </a:lnTo>
                  <a:lnTo>
                    <a:pt x="6605" y="4038"/>
                  </a:lnTo>
                  <a:lnTo>
                    <a:pt x="6472" y="4038"/>
                  </a:lnTo>
                  <a:lnTo>
                    <a:pt x="6464" y="4035"/>
                  </a:lnTo>
                  <a:lnTo>
                    <a:pt x="6458" y="4031"/>
                  </a:lnTo>
                  <a:lnTo>
                    <a:pt x="6454" y="4025"/>
                  </a:lnTo>
                  <a:lnTo>
                    <a:pt x="6452" y="4017"/>
                  </a:lnTo>
                  <a:lnTo>
                    <a:pt x="6454" y="4010"/>
                  </a:lnTo>
                  <a:lnTo>
                    <a:pt x="6458" y="4003"/>
                  </a:lnTo>
                  <a:lnTo>
                    <a:pt x="6464" y="3999"/>
                  </a:lnTo>
                  <a:lnTo>
                    <a:pt x="6472" y="3997"/>
                  </a:lnTo>
                  <a:close/>
                  <a:moveTo>
                    <a:pt x="6709" y="3997"/>
                  </a:moveTo>
                  <a:lnTo>
                    <a:pt x="6842" y="3997"/>
                  </a:lnTo>
                  <a:lnTo>
                    <a:pt x="6851" y="3999"/>
                  </a:lnTo>
                  <a:lnTo>
                    <a:pt x="6858" y="4003"/>
                  </a:lnTo>
                  <a:lnTo>
                    <a:pt x="6861" y="4010"/>
                  </a:lnTo>
                  <a:lnTo>
                    <a:pt x="6863" y="4017"/>
                  </a:lnTo>
                  <a:lnTo>
                    <a:pt x="6861" y="4025"/>
                  </a:lnTo>
                  <a:lnTo>
                    <a:pt x="6858" y="4031"/>
                  </a:lnTo>
                  <a:lnTo>
                    <a:pt x="6851" y="4035"/>
                  </a:lnTo>
                  <a:lnTo>
                    <a:pt x="6842" y="4038"/>
                  </a:lnTo>
                  <a:lnTo>
                    <a:pt x="6709" y="4038"/>
                  </a:lnTo>
                  <a:lnTo>
                    <a:pt x="6700" y="4035"/>
                  </a:lnTo>
                  <a:lnTo>
                    <a:pt x="6693" y="4031"/>
                  </a:lnTo>
                  <a:lnTo>
                    <a:pt x="6690" y="4025"/>
                  </a:lnTo>
                  <a:lnTo>
                    <a:pt x="6688" y="4017"/>
                  </a:lnTo>
                  <a:lnTo>
                    <a:pt x="6690" y="4010"/>
                  </a:lnTo>
                  <a:lnTo>
                    <a:pt x="6693" y="4003"/>
                  </a:lnTo>
                  <a:lnTo>
                    <a:pt x="6700" y="3999"/>
                  </a:lnTo>
                  <a:lnTo>
                    <a:pt x="6709" y="3997"/>
                  </a:lnTo>
                  <a:close/>
                  <a:moveTo>
                    <a:pt x="6946" y="3997"/>
                  </a:moveTo>
                  <a:lnTo>
                    <a:pt x="7078" y="3997"/>
                  </a:lnTo>
                  <a:lnTo>
                    <a:pt x="7087" y="3999"/>
                  </a:lnTo>
                  <a:lnTo>
                    <a:pt x="7094" y="4003"/>
                  </a:lnTo>
                  <a:lnTo>
                    <a:pt x="7097" y="4010"/>
                  </a:lnTo>
                  <a:lnTo>
                    <a:pt x="7099" y="4017"/>
                  </a:lnTo>
                  <a:lnTo>
                    <a:pt x="7097" y="4025"/>
                  </a:lnTo>
                  <a:lnTo>
                    <a:pt x="7094" y="4031"/>
                  </a:lnTo>
                  <a:lnTo>
                    <a:pt x="7087" y="4035"/>
                  </a:lnTo>
                  <a:lnTo>
                    <a:pt x="7078" y="4038"/>
                  </a:lnTo>
                  <a:lnTo>
                    <a:pt x="6946" y="4038"/>
                  </a:lnTo>
                  <a:lnTo>
                    <a:pt x="6937" y="4035"/>
                  </a:lnTo>
                  <a:lnTo>
                    <a:pt x="6931" y="4031"/>
                  </a:lnTo>
                  <a:lnTo>
                    <a:pt x="6927" y="4025"/>
                  </a:lnTo>
                  <a:lnTo>
                    <a:pt x="6926" y="4017"/>
                  </a:lnTo>
                  <a:lnTo>
                    <a:pt x="6927" y="4010"/>
                  </a:lnTo>
                  <a:lnTo>
                    <a:pt x="6931" y="4003"/>
                  </a:lnTo>
                  <a:lnTo>
                    <a:pt x="6937" y="3999"/>
                  </a:lnTo>
                  <a:lnTo>
                    <a:pt x="6946" y="3997"/>
                  </a:lnTo>
                  <a:close/>
                  <a:moveTo>
                    <a:pt x="7545" y="2941"/>
                  </a:moveTo>
                  <a:lnTo>
                    <a:pt x="7545" y="3052"/>
                  </a:lnTo>
                  <a:lnTo>
                    <a:pt x="7542" y="3061"/>
                  </a:lnTo>
                  <a:lnTo>
                    <a:pt x="7539" y="3067"/>
                  </a:lnTo>
                  <a:lnTo>
                    <a:pt x="7532" y="3071"/>
                  </a:lnTo>
                  <a:lnTo>
                    <a:pt x="7524" y="3072"/>
                  </a:lnTo>
                  <a:lnTo>
                    <a:pt x="7517" y="3071"/>
                  </a:lnTo>
                  <a:lnTo>
                    <a:pt x="7510" y="3067"/>
                  </a:lnTo>
                  <a:lnTo>
                    <a:pt x="7506" y="3061"/>
                  </a:lnTo>
                  <a:lnTo>
                    <a:pt x="7505" y="3052"/>
                  </a:lnTo>
                  <a:lnTo>
                    <a:pt x="7505" y="2941"/>
                  </a:lnTo>
                  <a:lnTo>
                    <a:pt x="7506" y="2932"/>
                  </a:lnTo>
                  <a:lnTo>
                    <a:pt x="7510" y="2925"/>
                  </a:lnTo>
                  <a:lnTo>
                    <a:pt x="7517" y="2922"/>
                  </a:lnTo>
                  <a:lnTo>
                    <a:pt x="7524" y="2920"/>
                  </a:lnTo>
                  <a:lnTo>
                    <a:pt x="7532" y="2922"/>
                  </a:lnTo>
                  <a:lnTo>
                    <a:pt x="7539" y="2925"/>
                  </a:lnTo>
                  <a:lnTo>
                    <a:pt x="7542" y="2932"/>
                  </a:lnTo>
                  <a:lnTo>
                    <a:pt x="7545" y="2941"/>
                  </a:lnTo>
                  <a:close/>
                  <a:moveTo>
                    <a:pt x="7808" y="2941"/>
                  </a:moveTo>
                  <a:lnTo>
                    <a:pt x="7808" y="3052"/>
                  </a:lnTo>
                  <a:lnTo>
                    <a:pt x="7807" y="3061"/>
                  </a:lnTo>
                  <a:lnTo>
                    <a:pt x="7801" y="3067"/>
                  </a:lnTo>
                  <a:lnTo>
                    <a:pt x="7795" y="3071"/>
                  </a:lnTo>
                  <a:lnTo>
                    <a:pt x="7787" y="3072"/>
                  </a:lnTo>
                  <a:lnTo>
                    <a:pt x="7781" y="3071"/>
                  </a:lnTo>
                  <a:lnTo>
                    <a:pt x="7774" y="3067"/>
                  </a:lnTo>
                  <a:lnTo>
                    <a:pt x="7769" y="3061"/>
                  </a:lnTo>
                  <a:lnTo>
                    <a:pt x="7768" y="3052"/>
                  </a:lnTo>
                  <a:lnTo>
                    <a:pt x="7768" y="2941"/>
                  </a:lnTo>
                  <a:lnTo>
                    <a:pt x="7769" y="2932"/>
                  </a:lnTo>
                  <a:lnTo>
                    <a:pt x="7774" y="2925"/>
                  </a:lnTo>
                  <a:lnTo>
                    <a:pt x="7781" y="2922"/>
                  </a:lnTo>
                  <a:lnTo>
                    <a:pt x="7787" y="2920"/>
                  </a:lnTo>
                  <a:lnTo>
                    <a:pt x="7795" y="2922"/>
                  </a:lnTo>
                  <a:lnTo>
                    <a:pt x="7801" y="2925"/>
                  </a:lnTo>
                  <a:lnTo>
                    <a:pt x="7807" y="2932"/>
                  </a:lnTo>
                  <a:lnTo>
                    <a:pt x="7808" y="2941"/>
                  </a:lnTo>
                  <a:close/>
                  <a:moveTo>
                    <a:pt x="8071" y="2941"/>
                  </a:moveTo>
                  <a:lnTo>
                    <a:pt x="8071" y="3052"/>
                  </a:lnTo>
                  <a:lnTo>
                    <a:pt x="8069" y="3061"/>
                  </a:lnTo>
                  <a:lnTo>
                    <a:pt x="8064" y="3067"/>
                  </a:lnTo>
                  <a:lnTo>
                    <a:pt x="8058" y="3071"/>
                  </a:lnTo>
                  <a:lnTo>
                    <a:pt x="8051" y="3072"/>
                  </a:lnTo>
                  <a:lnTo>
                    <a:pt x="8044" y="3071"/>
                  </a:lnTo>
                  <a:lnTo>
                    <a:pt x="8037" y="3067"/>
                  </a:lnTo>
                  <a:lnTo>
                    <a:pt x="8032" y="3061"/>
                  </a:lnTo>
                  <a:lnTo>
                    <a:pt x="8031" y="3052"/>
                  </a:lnTo>
                  <a:lnTo>
                    <a:pt x="8031" y="2941"/>
                  </a:lnTo>
                  <a:lnTo>
                    <a:pt x="8032" y="2932"/>
                  </a:lnTo>
                  <a:lnTo>
                    <a:pt x="8037" y="2925"/>
                  </a:lnTo>
                  <a:lnTo>
                    <a:pt x="8044" y="2922"/>
                  </a:lnTo>
                  <a:lnTo>
                    <a:pt x="8051" y="2920"/>
                  </a:lnTo>
                  <a:lnTo>
                    <a:pt x="8058" y="2922"/>
                  </a:lnTo>
                  <a:lnTo>
                    <a:pt x="8064" y="2925"/>
                  </a:lnTo>
                  <a:lnTo>
                    <a:pt x="8069" y="2932"/>
                  </a:lnTo>
                  <a:lnTo>
                    <a:pt x="8071" y="2941"/>
                  </a:lnTo>
                  <a:close/>
                  <a:moveTo>
                    <a:pt x="8334" y="2941"/>
                  </a:moveTo>
                  <a:lnTo>
                    <a:pt x="8334" y="3052"/>
                  </a:lnTo>
                  <a:lnTo>
                    <a:pt x="8332" y="3061"/>
                  </a:lnTo>
                  <a:lnTo>
                    <a:pt x="8327" y="3067"/>
                  </a:lnTo>
                  <a:lnTo>
                    <a:pt x="8322" y="3071"/>
                  </a:lnTo>
                  <a:lnTo>
                    <a:pt x="8314" y="3072"/>
                  </a:lnTo>
                  <a:lnTo>
                    <a:pt x="8307" y="3071"/>
                  </a:lnTo>
                  <a:lnTo>
                    <a:pt x="8300" y="3067"/>
                  </a:lnTo>
                  <a:lnTo>
                    <a:pt x="8296" y="3061"/>
                  </a:lnTo>
                  <a:lnTo>
                    <a:pt x="8294" y="3052"/>
                  </a:lnTo>
                  <a:lnTo>
                    <a:pt x="8294" y="2941"/>
                  </a:lnTo>
                  <a:lnTo>
                    <a:pt x="8296" y="2932"/>
                  </a:lnTo>
                  <a:lnTo>
                    <a:pt x="8300" y="2925"/>
                  </a:lnTo>
                  <a:lnTo>
                    <a:pt x="8307" y="2922"/>
                  </a:lnTo>
                  <a:lnTo>
                    <a:pt x="8314" y="2920"/>
                  </a:lnTo>
                  <a:lnTo>
                    <a:pt x="8322" y="2922"/>
                  </a:lnTo>
                  <a:lnTo>
                    <a:pt x="8327" y="2925"/>
                  </a:lnTo>
                  <a:lnTo>
                    <a:pt x="8332" y="2932"/>
                  </a:lnTo>
                  <a:lnTo>
                    <a:pt x="8334" y="2941"/>
                  </a:lnTo>
                  <a:close/>
                  <a:moveTo>
                    <a:pt x="8598" y="2941"/>
                  </a:moveTo>
                  <a:lnTo>
                    <a:pt x="8598" y="3052"/>
                  </a:lnTo>
                  <a:lnTo>
                    <a:pt x="8595" y="3061"/>
                  </a:lnTo>
                  <a:lnTo>
                    <a:pt x="8591" y="3067"/>
                  </a:lnTo>
                  <a:lnTo>
                    <a:pt x="8585" y="3071"/>
                  </a:lnTo>
                  <a:lnTo>
                    <a:pt x="8577" y="3072"/>
                  </a:lnTo>
                  <a:lnTo>
                    <a:pt x="8569" y="3071"/>
                  </a:lnTo>
                  <a:lnTo>
                    <a:pt x="8563" y="3067"/>
                  </a:lnTo>
                  <a:lnTo>
                    <a:pt x="8559" y="3061"/>
                  </a:lnTo>
                  <a:lnTo>
                    <a:pt x="8557" y="3052"/>
                  </a:lnTo>
                  <a:lnTo>
                    <a:pt x="8557" y="2941"/>
                  </a:lnTo>
                  <a:lnTo>
                    <a:pt x="8559" y="2932"/>
                  </a:lnTo>
                  <a:lnTo>
                    <a:pt x="8563" y="2925"/>
                  </a:lnTo>
                  <a:lnTo>
                    <a:pt x="8569" y="2922"/>
                  </a:lnTo>
                  <a:lnTo>
                    <a:pt x="8577" y="2920"/>
                  </a:lnTo>
                  <a:lnTo>
                    <a:pt x="8585" y="2922"/>
                  </a:lnTo>
                  <a:lnTo>
                    <a:pt x="8591" y="2925"/>
                  </a:lnTo>
                  <a:lnTo>
                    <a:pt x="8595" y="2932"/>
                  </a:lnTo>
                  <a:lnTo>
                    <a:pt x="8598" y="2941"/>
                  </a:lnTo>
                  <a:close/>
                  <a:moveTo>
                    <a:pt x="8861" y="2941"/>
                  </a:moveTo>
                  <a:lnTo>
                    <a:pt x="8861" y="3052"/>
                  </a:lnTo>
                  <a:lnTo>
                    <a:pt x="8858" y="3061"/>
                  </a:lnTo>
                  <a:lnTo>
                    <a:pt x="8854" y="3067"/>
                  </a:lnTo>
                  <a:lnTo>
                    <a:pt x="8848" y="3071"/>
                  </a:lnTo>
                  <a:lnTo>
                    <a:pt x="8840" y="3072"/>
                  </a:lnTo>
                  <a:lnTo>
                    <a:pt x="8832" y="3071"/>
                  </a:lnTo>
                  <a:lnTo>
                    <a:pt x="8826" y="3067"/>
                  </a:lnTo>
                  <a:lnTo>
                    <a:pt x="8822" y="3061"/>
                  </a:lnTo>
                  <a:lnTo>
                    <a:pt x="8821" y="3052"/>
                  </a:lnTo>
                  <a:lnTo>
                    <a:pt x="8821" y="2941"/>
                  </a:lnTo>
                  <a:lnTo>
                    <a:pt x="8822" y="2932"/>
                  </a:lnTo>
                  <a:lnTo>
                    <a:pt x="8826" y="2925"/>
                  </a:lnTo>
                  <a:lnTo>
                    <a:pt x="8832" y="2922"/>
                  </a:lnTo>
                  <a:lnTo>
                    <a:pt x="8840" y="2920"/>
                  </a:lnTo>
                  <a:lnTo>
                    <a:pt x="8848" y="2922"/>
                  </a:lnTo>
                  <a:lnTo>
                    <a:pt x="8854" y="2925"/>
                  </a:lnTo>
                  <a:lnTo>
                    <a:pt x="8858" y="2932"/>
                  </a:lnTo>
                  <a:lnTo>
                    <a:pt x="8861" y="2941"/>
                  </a:lnTo>
                  <a:close/>
                  <a:moveTo>
                    <a:pt x="7545" y="3186"/>
                  </a:moveTo>
                  <a:lnTo>
                    <a:pt x="7545" y="3299"/>
                  </a:lnTo>
                  <a:lnTo>
                    <a:pt x="7542" y="3308"/>
                  </a:lnTo>
                  <a:lnTo>
                    <a:pt x="7539" y="3314"/>
                  </a:lnTo>
                  <a:lnTo>
                    <a:pt x="7532" y="3318"/>
                  </a:lnTo>
                  <a:lnTo>
                    <a:pt x="7524" y="3319"/>
                  </a:lnTo>
                  <a:lnTo>
                    <a:pt x="7517" y="3318"/>
                  </a:lnTo>
                  <a:lnTo>
                    <a:pt x="7510" y="3314"/>
                  </a:lnTo>
                  <a:lnTo>
                    <a:pt x="7506" y="3308"/>
                  </a:lnTo>
                  <a:lnTo>
                    <a:pt x="7505" y="3299"/>
                  </a:lnTo>
                  <a:lnTo>
                    <a:pt x="7505" y="3186"/>
                  </a:lnTo>
                  <a:lnTo>
                    <a:pt x="7506" y="3179"/>
                  </a:lnTo>
                  <a:lnTo>
                    <a:pt x="7510" y="3172"/>
                  </a:lnTo>
                  <a:lnTo>
                    <a:pt x="7517" y="3168"/>
                  </a:lnTo>
                  <a:lnTo>
                    <a:pt x="7524" y="3167"/>
                  </a:lnTo>
                  <a:lnTo>
                    <a:pt x="7532" y="3168"/>
                  </a:lnTo>
                  <a:lnTo>
                    <a:pt x="7539" y="3172"/>
                  </a:lnTo>
                  <a:lnTo>
                    <a:pt x="7542" y="3179"/>
                  </a:lnTo>
                  <a:lnTo>
                    <a:pt x="7545" y="3186"/>
                  </a:lnTo>
                  <a:close/>
                  <a:moveTo>
                    <a:pt x="7808" y="3186"/>
                  </a:moveTo>
                  <a:lnTo>
                    <a:pt x="7808" y="3299"/>
                  </a:lnTo>
                  <a:lnTo>
                    <a:pt x="7807" y="3308"/>
                  </a:lnTo>
                  <a:lnTo>
                    <a:pt x="7801" y="3314"/>
                  </a:lnTo>
                  <a:lnTo>
                    <a:pt x="7795" y="3318"/>
                  </a:lnTo>
                  <a:lnTo>
                    <a:pt x="7787" y="3319"/>
                  </a:lnTo>
                  <a:lnTo>
                    <a:pt x="7781" y="3318"/>
                  </a:lnTo>
                  <a:lnTo>
                    <a:pt x="7774" y="3314"/>
                  </a:lnTo>
                  <a:lnTo>
                    <a:pt x="7769" y="3308"/>
                  </a:lnTo>
                  <a:lnTo>
                    <a:pt x="7768" y="3299"/>
                  </a:lnTo>
                  <a:lnTo>
                    <a:pt x="7768" y="3186"/>
                  </a:lnTo>
                  <a:lnTo>
                    <a:pt x="7769" y="3179"/>
                  </a:lnTo>
                  <a:lnTo>
                    <a:pt x="7774" y="3172"/>
                  </a:lnTo>
                  <a:lnTo>
                    <a:pt x="7781" y="3168"/>
                  </a:lnTo>
                  <a:lnTo>
                    <a:pt x="7787" y="3167"/>
                  </a:lnTo>
                  <a:lnTo>
                    <a:pt x="7795" y="3168"/>
                  </a:lnTo>
                  <a:lnTo>
                    <a:pt x="7801" y="3172"/>
                  </a:lnTo>
                  <a:lnTo>
                    <a:pt x="7807" y="3179"/>
                  </a:lnTo>
                  <a:lnTo>
                    <a:pt x="7808" y="3186"/>
                  </a:lnTo>
                  <a:close/>
                  <a:moveTo>
                    <a:pt x="8071" y="3186"/>
                  </a:moveTo>
                  <a:lnTo>
                    <a:pt x="8071" y="3299"/>
                  </a:lnTo>
                  <a:lnTo>
                    <a:pt x="8069" y="3308"/>
                  </a:lnTo>
                  <a:lnTo>
                    <a:pt x="8064" y="3314"/>
                  </a:lnTo>
                  <a:lnTo>
                    <a:pt x="8058" y="3318"/>
                  </a:lnTo>
                  <a:lnTo>
                    <a:pt x="8051" y="3319"/>
                  </a:lnTo>
                  <a:lnTo>
                    <a:pt x="8044" y="3318"/>
                  </a:lnTo>
                  <a:lnTo>
                    <a:pt x="8037" y="3314"/>
                  </a:lnTo>
                  <a:lnTo>
                    <a:pt x="8032" y="3308"/>
                  </a:lnTo>
                  <a:lnTo>
                    <a:pt x="8031" y="3299"/>
                  </a:lnTo>
                  <a:lnTo>
                    <a:pt x="8031" y="3186"/>
                  </a:lnTo>
                  <a:lnTo>
                    <a:pt x="8032" y="3179"/>
                  </a:lnTo>
                  <a:lnTo>
                    <a:pt x="8037" y="3172"/>
                  </a:lnTo>
                  <a:lnTo>
                    <a:pt x="8044" y="3168"/>
                  </a:lnTo>
                  <a:lnTo>
                    <a:pt x="8051" y="3167"/>
                  </a:lnTo>
                  <a:lnTo>
                    <a:pt x="8058" y="3168"/>
                  </a:lnTo>
                  <a:lnTo>
                    <a:pt x="8064" y="3172"/>
                  </a:lnTo>
                  <a:lnTo>
                    <a:pt x="8069" y="3179"/>
                  </a:lnTo>
                  <a:lnTo>
                    <a:pt x="8071" y="3186"/>
                  </a:lnTo>
                  <a:close/>
                  <a:moveTo>
                    <a:pt x="8334" y="3186"/>
                  </a:moveTo>
                  <a:lnTo>
                    <a:pt x="8334" y="3299"/>
                  </a:lnTo>
                  <a:lnTo>
                    <a:pt x="8332" y="3308"/>
                  </a:lnTo>
                  <a:lnTo>
                    <a:pt x="8327" y="3314"/>
                  </a:lnTo>
                  <a:lnTo>
                    <a:pt x="8322" y="3318"/>
                  </a:lnTo>
                  <a:lnTo>
                    <a:pt x="8314" y="3319"/>
                  </a:lnTo>
                  <a:lnTo>
                    <a:pt x="8307" y="3318"/>
                  </a:lnTo>
                  <a:lnTo>
                    <a:pt x="8300" y="3314"/>
                  </a:lnTo>
                  <a:lnTo>
                    <a:pt x="8296" y="3308"/>
                  </a:lnTo>
                  <a:lnTo>
                    <a:pt x="8294" y="3299"/>
                  </a:lnTo>
                  <a:lnTo>
                    <a:pt x="8294" y="3186"/>
                  </a:lnTo>
                  <a:lnTo>
                    <a:pt x="8296" y="3179"/>
                  </a:lnTo>
                  <a:lnTo>
                    <a:pt x="8300" y="3172"/>
                  </a:lnTo>
                  <a:lnTo>
                    <a:pt x="8307" y="3168"/>
                  </a:lnTo>
                  <a:lnTo>
                    <a:pt x="8314" y="3167"/>
                  </a:lnTo>
                  <a:lnTo>
                    <a:pt x="8322" y="3168"/>
                  </a:lnTo>
                  <a:lnTo>
                    <a:pt x="8327" y="3172"/>
                  </a:lnTo>
                  <a:lnTo>
                    <a:pt x="8332" y="3179"/>
                  </a:lnTo>
                  <a:lnTo>
                    <a:pt x="8334" y="3186"/>
                  </a:lnTo>
                  <a:close/>
                  <a:moveTo>
                    <a:pt x="8598" y="3186"/>
                  </a:moveTo>
                  <a:lnTo>
                    <a:pt x="8598" y="3299"/>
                  </a:lnTo>
                  <a:lnTo>
                    <a:pt x="8595" y="3308"/>
                  </a:lnTo>
                  <a:lnTo>
                    <a:pt x="8591" y="3314"/>
                  </a:lnTo>
                  <a:lnTo>
                    <a:pt x="8585" y="3318"/>
                  </a:lnTo>
                  <a:lnTo>
                    <a:pt x="8577" y="3319"/>
                  </a:lnTo>
                  <a:lnTo>
                    <a:pt x="8569" y="3318"/>
                  </a:lnTo>
                  <a:lnTo>
                    <a:pt x="8563" y="3314"/>
                  </a:lnTo>
                  <a:lnTo>
                    <a:pt x="8559" y="3308"/>
                  </a:lnTo>
                  <a:lnTo>
                    <a:pt x="8557" y="3299"/>
                  </a:lnTo>
                  <a:lnTo>
                    <a:pt x="8557" y="3186"/>
                  </a:lnTo>
                  <a:lnTo>
                    <a:pt x="8559" y="3179"/>
                  </a:lnTo>
                  <a:lnTo>
                    <a:pt x="8563" y="3172"/>
                  </a:lnTo>
                  <a:lnTo>
                    <a:pt x="8569" y="3168"/>
                  </a:lnTo>
                  <a:lnTo>
                    <a:pt x="8577" y="3167"/>
                  </a:lnTo>
                  <a:lnTo>
                    <a:pt x="8585" y="3168"/>
                  </a:lnTo>
                  <a:lnTo>
                    <a:pt x="8591" y="3172"/>
                  </a:lnTo>
                  <a:lnTo>
                    <a:pt x="8595" y="3179"/>
                  </a:lnTo>
                  <a:lnTo>
                    <a:pt x="8598" y="3186"/>
                  </a:lnTo>
                  <a:close/>
                  <a:moveTo>
                    <a:pt x="8861" y="3186"/>
                  </a:moveTo>
                  <a:lnTo>
                    <a:pt x="8861" y="3299"/>
                  </a:lnTo>
                  <a:lnTo>
                    <a:pt x="8858" y="3308"/>
                  </a:lnTo>
                  <a:lnTo>
                    <a:pt x="8854" y="3314"/>
                  </a:lnTo>
                  <a:lnTo>
                    <a:pt x="8848" y="3318"/>
                  </a:lnTo>
                  <a:lnTo>
                    <a:pt x="8840" y="3319"/>
                  </a:lnTo>
                  <a:lnTo>
                    <a:pt x="8832" y="3318"/>
                  </a:lnTo>
                  <a:lnTo>
                    <a:pt x="8826" y="3314"/>
                  </a:lnTo>
                  <a:lnTo>
                    <a:pt x="8822" y="3308"/>
                  </a:lnTo>
                  <a:lnTo>
                    <a:pt x="8821" y="3299"/>
                  </a:lnTo>
                  <a:lnTo>
                    <a:pt x="8821" y="3186"/>
                  </a:lnTo>
                  <a:lnTo>
                    <a:pt x="8822" y="3179"/>
                  </a:lnTo>
                  <a:lnTo>
                    <a:pt x="8826" y="3172"/>
                  </a:lnTo>
                  <a:lnTo>
                    <a:pt x="8832" y="3168"/>
                  </a:lnTo>
                  <a:lnTo>
                    <a:pt x="8840" y="3167"/>
                  </a:lnTo>
                  <a:lnTo>
                    <a:pt x="8848" y="3168"/>
                  </a:lnTo>
                  <a:lnTo>
                    <a:pt x="8854" y="3172"/>
                  </a:lnTo>
                  <a:lnTo>
                    <a:pt x="8858" y="3179"/>
                  </a:lnTo>
                  <a:lnTo>
                    <a:pt x="8861" y="3186"/>
                  </a:lnTo>
                  <a:close/>
                  <a:moveTo>
                    <a:pt x="7545" y="3433"/>
                  </a:moveTo>
                  <a:lnTo>
                    <a:pt x="7545" y="3546"/>
                  </a:lnTo>
                  <a:lnTo>
                    <a:pt x="7542" y="3554"/>
                  </a:lnTo>
                  <a:lnTo>
                    <a:pt x="7539" y="3561"/>
                  </a:lnTo>
                  <a:lnTo>
                    <a:pt x="7532" y="3565"/>
                  </a:lnTo>
                  <a:lnTo>
                    <a:pt x="7524" y="3565"/>
                  </a:lnTo>
                  <a:lnTo>
                    <a:pt x="7517" y="3565"/>
                  </a:lnTo>
                  <a:lnTo>
                    <a:pt x="7510" y="3561"/>
                  </a:lnTo>
                  <a:lnTo>
                    <a:pt x="7506" y="3554"/>
                  </a:lnTo>
                  <a:lnTo>
                    <a:pt x="7505" y="3546"/>
                  </a:lnTo>
                  <a:lnTo>
                    <a:pt x="7505" y="3433"/>
                  </a:lnTo>
                  <a:lnTo>
                    <a:pt x="7506" y="3424"/>
                  </a:lnTo>
                  <a:lnTo>
                    <a:pt x="7510" y="3419"/>
                  </a:lnTo>
                  <a:lnTo>
                    <a:pt x="7517" y="3415"/>
                  </a:lnTo>
                  <a:lnTo>
                    <a:pt x="7524" y="3414"/>
                  </a:lnTo>
                  <a:lnTo>
                    <a:pt x="7532" y="3415"/>
                  </a:lnTo>
                  <a:lnTo>
                    <a:pt x="7539" y="3419"/>
                  </a:lnTo>
                  <a:lnTo>
                    <a:pt x="7542" y="3424"/>
                  </a:lnTo>
                  <a:lnTo>
                    <a:pt x="7545" y="3433"/>
                  </a:lnTo>
                  <a:close/>
                  <a:moveTo>
                    <a:pt x="7808" y="3433"/>
                  </a:moveTo>
                  <a:lnTo>
                    <a:pt x="7808" y="3546"/>
                  </a:lnTo>
                  <a:lnTo>
                    <a:pt x="7807" y="3554"/>
                  </a:lnTo>
                  <a:lnTo>
                    <a:pt x="7801" y="3561"/>
                  </a:lnTo>
                  <a:lnTo>
                    <a:pt x="7795" y="3565"/>
                  </a:lnTo>
                  <a:lnTo>
                    <a:pt x="7787" y="3565"/>
                  </a:lnTo>
                  <a:lnTo>
                    <a:pt x="7781" y="3565"/>
                  </a:lnTo>
                  <a:lnTo>
                    <a:pt x="7774" y="3561"/>
                  </a:lnTo>
                  <a:lnTo>
                    <a:pt x="7769" y="3554"/>
                  </a:lnTo>
                  <a:lnTo>
                    <a:pt x="7768" y="3546"/>
                  </a:lnTo>
                  <a:lnTo>
                    <a:pt x="7768" y="3433"/>
                  </a:lnTo>
                  <a:lnTo>
                    <a:pt x="7769" y="3424"/>
                  </a:lnTo>
                  <a:lnTo>
                    <a:pt x="7774" y="3419"/>
                  </a:lnTo>
                  <a:lnTo>
                    <a:pt x="7781" y="3415"/>
                  </a:lnTo>
                  <a:lnTo>
                    <a:pt x="7787" y="3414"/>
                  </a:lnTo>
                  <a:lnTo>
                    <a:pt x="7795" y="3415"/>
                  </a:lnTo>
                  <a:lnTo>
                    <a:pt x="7801" y="3419"/>
                  </a:lnTo>
                  <a:lnTo>
                    <a:pt x="7807" y="3424"/>
                  </a:lnTo>
                  <a:lnTo>
                    <a:pt x="7808" y="3433"/>
                  </a:lnTo>
                  <a:close/>
                  <a:moveTo>
                    <a:pt x="8071" y="3433"/>
                  </a:moveTo>
                  <a:lnTo>
                    <a:pt x="8071" y="3546"/>
                  </a:lnTo>
                  <a:lnTo>
                    <a:pt x="8069" y="3554"/>
                  </a:lnTo>
                  <a:lnTo>
                    <a:pt x="8064" y="3561"/>
                  </a:lnTo>
                  <a:lnTo>
                    <a:pt x="8058" y="3565"/>
                  </a:lnTo>
                  <a:lnTo>
                    <a:pt x="8051" y="3565"/>
                  </a:lnTo>
                  <a:lnTo>
                    <a:pt x="8044" y="3565"/>
                  </a:lnTo>
                  <a:lnTo>
                    <a:pt x="8037" y="3561"/>
                  </a:lnTo>
                  <a:lnTo>
                    <a:pt x="8032" y="3554"/>
                  </a:lnTo>
                  <a:lnTo>
                    <a:pt x="8031" y="3546"/>
                  </a:lnTo>
                  <a:lnTo>
                    <a:pt x="8031" y="3433"/>
                  </a:lnTo>
                  <a:lnTo>
                    <a:pt x="8032" y="3424"/>
                  </a:lnTo>
                  <a:lnTo>
                    <a:pt x="8037" y="3419"/>
                  </a:lnTo>
                  <a:lnTo>
                    <a:pt x="8044" y="3415"/>
                  </a:lnTo>
                  <a:lnTo>
                    <a:pt x="8051" y="3414"/>
                  </a:lnTo>
                  <a:lnTo>
                    <a:pt x="8058" y="3415"/>
                  </a:lnTo>
                  <a:lnTo>
                    <a:pt x="8064" y="3419"/>
                  </a:lnTo>
                  <a:lnTo>
                    <a:pt x="8069" y="3424"/>
                  </a:lnTo>
                  <a:lnTo>
                    <a:pt x="8071" y="3433"/>
                  </a:lnTo>
                  <a:close/>
                  <a:moveTo>
                    <a:pt x="8334" y="3433"/>
                  </a:moveTo>
                  <a:lnTo>
                    <a:pt x="8334" y="3546"/>
                  </a:lnTo>
                  <a:lnTo>
                    <a:pt x="8332" y="3554"/>
                  </a:lnTo>
                  <a:lnTo>
                    <a:pt x="8327" y="3561"/>
                  </a:lnTo>
                  <a:lnTo>
                    <a:pt x="8322" y="3565"/>
                  </a:lnTo>
                  <a:lnTo>
                    <a:pt x="8314" y="3565"/>
                  </a:lnTo>
                  <a:lnTo>
                    <a:pt x="8307" y="3565"/>
                  </a:lnTo>
                  <a:lnTo>
                    <a:pt x="8300" y="3561"/>
                  </a:lnTo>
                  <a:lnTo>
                    <a:pt x="8296" y="3554"/>
                  </a:lnTo>
                  <a:lnTo>
                    <a:pt x="8294" y="3546"/>
                  </a:lnTo>
                  <a:lnTo>
                    <a:pt x="8294" y="3433"/>
                  </a:lnTo>
                  <a:lnTo>
                    <a:pt x="8296" y="3424"/>
                  </a:lnTo>
                  <a:lnTo>
                    <a:pt x="8300" y="3419"/>
                  </a:lnTo>
                  <a:lnTo>
                    <a:pt x="8307" y="3415"/>
                  </a:lnTo>
                  <a:lnTo>
                    <a:pt x="8314" y="3414"/>
                  </a:lnTo>
                  <a:lnTo>
                    <a:pt x="8322" y="3415"/>
                  </a:lnTo>
                  <a:lnTo>
                    <a:pt x="8327" y="3419"/>
                  </a:lnTo>
                  <a:lnTo>
                    <a:pt x="8332" y="3424"/>
                  </a:lnTo>
                  <a:lnTo>
                    <a:pt x="8334" y="3433"/>
                  </a:lnTo>
                  <a:close/>
                  <a:moveTo>
                    <a:pt x="8598" y="3433"/>
                  </a:moveTo>
                  <a:lnTo>
                    <a:pt x="8598" y="3546"/>
                  </a:lnTo>
                  <a:lnTo>
                    <a:pt x="8595" y="3554"/>
                  </a:lnTo>
                  <a:lnTo>
                    <a:pt x="8591" y="3561"/>
                  </a:lnTo>
                  <a:lnTo>
                    <a:pt x="8585" y="3565"/>
                  </a:lnTo>
                  <a:lnTo>
                    <a:pt x="8577" y="3565"/>
                  </a:lnTo>
                  <a:lnTo>
                    <a:pt x="8569" y="3565"/>
                  </a:lnTo>
                  <a:lnTo>
                    <a:pt x="8563" y="3561"/>
                  </a:lnTo>
                  <a:lnTo>
                    <a:pt x="8559" y="3554"/>
                  </a:lnTo>
                  <a:lnTo>
                    <a:pt x="8557" y="3546"/>
                  </a:lnTo>
                  <a:lnTo>
                    <a:pt x="8557" y="3433"/>
                  </a:lnTo>
                  <a:lnTo>
                    <a:pt x="8559" y="3424"/>
                  </a:lnTo>
                  <a:lnTo>
                    <a:pt x="8563" y="3419"/>
                  </a:lnTo>
                  <a:lnTo>
                    <a:pt x="8569" y="3415"/>
                  </a:lnTo>
                  <a:lnTo>
                    <a:pt x="8577" y="3414"/>
                  </a:lnTo>
                  <a:lnTo>
                    <a:pt x="8585" y="3415"/>
                  </a:lnTo>
                  <a:lnTo>
                    <a:pt x="8591" y="3419"/>
                  </a:lnTo>
                  <a:lnTo>
                    <a:pt x="8595" y="3424"/>
                  </a:lnTo>
                  <a:lnTo>
                    <a:pt x="8598" y="3433"/>
                  </a:lnTo>
                  <a:close/>
                  <a:moveTo>
                    <a:pt x="8861" y="3433"/>
                  </a:moveTo>
                  <a:lnTo>
                    <a:pt x="8861" y="3546"/>
                  </a:lnTo>
                  <a:lnTo>
                    <a:pt x="8858" y="3554"/>
                  </a:lnTo>
                  <a:lnTo>
                    <a:pt x="8854" y="3561"/>
                  </a:lnTo>
                  <a:lnTo>
                    <a:pt x="8848" y="3565"/>
                  </a:lnTo>
                  <a:lnTo>
                    <a:pt x="8840" y="3565"/>
                  </a:lnTo>
                  <a:lnTo>
                    <a:pt x="8832" y="3565"/>
                  </a:lnTo>
                  <a:lnTo>
                    <a:pt x="8826" y="3561"/>
                  </a:lnTo>
                  <a:lnTo>
                    <a:pt x="8822" y="3554"/>
                  </a:lnTo>
                  <a:lnTo>
                    <a:pt x="8821" y="3546"/>
                  </a:lnTo>
                  <a:lnTo>
                    <a:pt x="8821" y="3433"/>
                  </a:lnTo>
                  <a:lnTo>
                    <a:pt x="8822" y="3424"/>
                  </a:lnTo>
                  <a:lnTo>
                    <a:pt x="8826" y="3419"/>
                  </a:lnTo>
                  <a:lnTo>
                    <a:pt x="8832" y="3415"/>
                  </a:lnTo>
                  <a:lnTo>
                    <a:pt x="8840" y="3414"/>
                  </a:lnTo>
                  <a:lnTo>
                    <a:pt x="8848" y="3415"/>
                  </a:lnTo>
                  <a:lnTo>
                    <a:pt x="8854" y="3419"/>
                  </a:lnTo>
                  <a:lnTo>
                    <a:pt x="8858" y="3424"/>
                  </a:lnTo>
                  <a:lnTo>
                    <a:pt x="8861" y="3433"/>
                  </a:lnTo>
                  <a:close/>
                  <a:moveTo>
                    <a:pt x="7545" y="3680"/>
                  </a:moveTo>
                  <a:lnTo>
                    <a:pt x="7545" y="3792"/>
                  </a:lnTo>
                  <a:lnTo>
                    <a:pt x="7542" y="3801"/>
                  </a:lnTo>
                  <a:lnTo>
                    <a:pt x="7539" y="3806"/>
                  </a:lnTo>
                  <a:lnTo>
                    <a:pt x="7532" y="3810"/>
                  </a:lnTo>
                  <a:lnTo>
                    <a:pt x="7524" y="3811"/>
                  </a:lnTo>
                  <a:lnTo>
                    <a:pt x="7517" y="3810"/>
                  </a:lnTo>
                  <a:lnTo>
                    <a:pt x="7510" y="3806"/>
                  </a:lnTo>
                  <a:lnTo>
                    <a:pt x="7506" y="3801"/>
                  </a:lnTo>
                  <a:lnTo>
                    <a:pt x="7505" y="3792"/>
                  </a:lnTo>
                  <a:lnTo>
                    <a:pt x="7505" y="3680"/>
                  </a:lnTo>
                  <a:lnTo>
                    <a:pt x="7506" y="3671"/>
                  </a:lnTo>
                  <a:lnTo>
                    <a:pt x="7510" y="3664"/>
                  </a:lnTo>
                  <a:lnTo>
                    <a:pt x="7517" y="3661"/>
                  </a:lnTo>
                  <a:lnTo>
                    <a:pt x="7524" y="3659"/>
                  </a:lnTo>
                  <a:lnTo>
                    <a:pt x="7532" y="3661"/>
                  </a:lnTo>
                  <a:lnTo>
                    <a:pt x="7539" y="3664"/>
                  </a:lnTo>
                  <a:lnTo>
                    <a:pt x="7542" y="3671"/>
                  </a:lnTo>
                  <a:lnTo>
                    <a:pt x="7545" y="3680"/>
                  </a:lnTo>
                  <a:close/>
                  <a:moveTo>
                    <a:pt x="7808" y="3680"/>
                  </a:moveTo>
                  <a:lnTo>
                    <a:pt x="7808" y="3792"/>
                  </a:lnTo>
                  <a:lnTo>
                    <a:pt x="7807" y="3801"/>
                  </a:lnTo>
                  <a:lnTo>
                    <a:pt x="7801" y="3806"/>
                  </a:lnTo>
                  <a:lnTo>
                    <a:pt x="7795" y="3810"/>
                  </a:lnTo>
                  <a:lnTo>
                    <a:pt x="7787" y="3811"/>
                  </a:lnTo>
                  <a:lnTo>
                    <a:pt x="7781" y="3810"/>
                  </a:lnTo>
                  <a:lnTo>
                    <a:pt x="7774" y="3806"/>
                  </a:lnTo>
                  <a:lnTo>
                    <a:pt x="7769" y="3801"/>
                  </a:lnTo>
                  <a:lnTo>
                    <a:pt x="7768" y="3792"/>
                  </a:lnTo>
                  <a:lnTo>
                    <a:pt x="7768" y="3680"/>
                  </a:lnTo>
                  <a:lnTo>
                    <a:pt x="7769" y="3671"/>
                  </a:lnTo>
                  <a:lnTo>
                    <a:pt x="7774" y="3664"/>
                  </a:lnTo>
                  <a:lnTo>
                    <a:pt x="7781" y="3661"/>
                  </a:lnTo>
                  <a:lnTo>
                    <a:pt x="7787" y="3659"/>
                  </a:lnTo>
                  <a:lnTo>
                    <a:pt x="7795" y="3661"/>
                  </a:lnTo>
                  <a:lnTo>
                    <a:pt x="7801" y="3664"/>
                  </a:lnTo>
                  <a:lnTo>
                    <a:pt x="7807" y="3671"/>
                  </a:lnTo>
                  <a:lnTo>
                    <a:pt x="7808" y="3680"/>
                  </a:lnTo>
                  <a:close/>
                  <a:moveTo>
                    <a:pt x="8071" y="3680"/>
                  </a:moveTo>
                  <a:lnTo>
                    <a:pt x="8071" y="3792"/>
                  </a:lnTo>
                  <a:lnTo>
                    <a:pt x="8069" y="3801"/>
                  </a:lnTo>
                  <a:lnTo>
                    <a:pt x="8064" y="3806"/>
                  </a:lnTo>
                  <a:lnTo>
                    <a:pt x="8058" y="3810"/>
                  </a:lnTo>
                  <a:lnTo>
                    <a:pt x="8051" y="3811"/>
                  </a:lnTo>
                  <a:lnTo>
                    <a:pt x="8044" y="3810"/>
                  </a:lnTo>
                  <a:lnTo>
                    <a:pt x="8037" y="3806"/>
                  </a:lnTo>
                  <a:lnTo>
                    <a:pt x="8032" y="3801"/>
                  </a:lnTo>
                  <a:lnTo>
                    <a:pt x="8031" y="3792"/>
                  </a:lnTo>
                  <a:lnTo>
                    <a:pt x="8031" y="3680"/>
                  </a:lnTo>
                  <a:lnTo>
                    <a:pt x="8032" y="3671"/>
                  </a:lnTo>
                  <a:lnTo>
                    <a:pt x="8037" y="3664"/>
                  </a:lnTo>
                  <a:lnTo>
                    <a:pt x="8044" y="3661"/>
                  </a:lnTo>
                  <a:lnTo>
                    <a:pt x="8051" y="3659"/>
                  </a:lnTo>
                  <a:lnTo>
                    <a:pt x="8058" y="3661"/>
                  </a:lnTo>
                  <a:lnTo>
                    <a:pt x="8064" y="3664"/>
                  </a:lnTo>
                  <a:lnTo>
                    <a:pt x="8069" y="3671"/>
                  </a:lnTo>
                  <a:lnTo>
                    <a:pt x="8071" y="3680"/>
                  </a:lnTo>
                  <a:close/>
                  <a:moveTo>
                    <a:pt x="8334" y="3680"/>
                  </a:moveTo>
                  <a:lnTo>
                    <a:pt x="8334" y="3792"/>
                  </a:lnTo>
                  <a:lnTo>
                    <a:pt x="8332" y="3801"/>
                  </a:lnTo>
                  <a:lnTo>
                    <a:pt x="8327" y="3806"/>
                  </a:lnTo>
                  <a:lnTo>
                    <a:pt x="8322" y="3810"/>
                  </a:lnTo>
                  <a:lnTo>
                    <a:pt x="8314" y="3811"/>
                  </a:lnTo>
                  <a:lnTo>
                    <a:pt x="8307" y="3810"/>
                  </a:lnTo>
                  <a:lnTo>
                    <a:pt x="8300" y="3806"/>
                  </a:lnTo>
                  <a:lnTo>
                    <a:pt x="8296" y="3801"/>
                  </a:lnTo>
                  <a:lnTo>
                    <a:pt x="8294" y="3792"/>
                  </a:lnTo>
                  <a:lnTo>
                    <a:pt x="8294" y="3680"/>
                  </a:lnTo>
                  <a:lnTo>
                    <a:pt x="8296" y="3671"/>
                  </a:lnTo>
                  <a:lnTo>
                    <a:pt x="8300" y="3664"/>
                  </a:lnTo>
                  <a:lnTo>
                    <a:pt x="8307" y="3661"/>
                  </a:lnTo>
                  <a:lnTo>
                    <a:pt x="8314" y="3659"/>
                  </a:lnTo>
                  <a:lnTo>
                    <a:pt x="8322" y="3661"/>
                  </a:lnTo>
                  <a:lnTo>
                    <a:pt x="8327" y="3664"/>
                  </a:lnTo>
                  <a:lnTo>
                    <a:pt x="8332" y="3671"/>
                  </a:lnTo>
                  <a:lnTo>
                    <a:pt x="8334" y="3680"/>
                  </a:lnTo>
                  <a:close/>
                  <a:moveTo>
                    <a:pt x="8598" y="3680"/>
                  </a:moveTo>
                  <a:lnTo>
                    <a:pt x="8598" y="3792"/>
                  </a:lnTo>
                  <a:lnTo>
                    <a:pt x="8595" y="3801"/>
                  </a:lnTo>
                  <a:lnTo>
                    <a:pt x="8591" y="3806"/>
                  </a:lnTo>
                  <a:lnTo>
                    <a:pt x="8585" y="3810"/>
                  </a:lnTo>
                  <a:lnTo>
                    <a:pt x="8577" y="3811"/>
                  </a:lnTo>
                  <a:lnTo>
                    <a:pt x="8569" y="3810"/>
                  </a:lnTo>
                  <a:lnTo>
                    <a:pt x="8563" y="3806"/>
                  </a:lnTo>
                  <a:lnTo>
                    <a:pt x="8559" y="3801"/>
                  </a:lnTo>
                  <a:lnTo>
                    <a:pt x="8557" y="3792"/>
                  </a:lnTo>
                  <a:lnTo>
                    <a:pt x="8557" y="3680"/>
                  </a:lnTo>
                  <a:lnTo>
                    <a:pt x="8559" y="3671"/>
                  </a:lnTo>
                  <a:lnTo>
                    <a:pt x="8563" y="3664"/>
                  </a:lnTo>
                  <a:lnTo>
                    <a:pt x="8569" y="3661"/>
                  </a:lnTo>
                  <a:lnTo>
                    <a:pt x="8577" y="3659"/>
                  </a:lnTo>
                  <a:lnTo>
                    <a:pt x="8585" y="3661"/>
                  </a:lnTo>
                  <a:lnTo>
                    <a:pt x="8591" y="3664"/>
                  </a:lnTo>
                  <a:lnTo>
                    <a:pt x="8595" y="3671"/>
                  </a:lnTo>
                  <a:lnTo>
                    <a:pt x="8598" y="3680"/>
                  </a:lnTo>
                  <a:close/>
                  <a:moveTo>
                    <a:pt x="8861" y="3680"/>
                  </a:moveTo>
                  <a:lnTo>
                    <a:pt x="8861" y="3792"/>
                  </a:lnTo>
                  <a:lnTo>
                    <a:pt x="8858" y="3801"/>
                  </a:lnTo>
                  <a:lnTo>
                    <a:pt x="8854" y="3806"/>
                  </a:lnTo>
                  <a:lnTo>
                    <a:pt x="8848" y="3810"/>
                  </a:lnTo>
                  <a:lnTo>
                    <a:pt x="8840" y="3811"/>
                  </a:lnTo>
                  <a:lnTo>
                    <a:pt x="8832" y="3810"/>
                  </a:lnTo>
                  <a:lnTo>
                    <a:pt x="8826" y="3806"/>
                  </a:lnTo>
                  <a:lnTo>
                    <a:pt x="8822" y="3801"/>
                  </a:lnTo>
                  <a:lnTo>
                    <a:pt x="8821" y="3792"/>
                  </a:lnTo>
                  <a:lnTo>
                    <a:pt x="8821" y="3680"/>
                  </a:lnTo>
                  <a:lnTo>
                    <a:pt x="8822" y="3671"/>
                  </a:lnTo>
                  <a:lnTo>
                    <a:pt x="8826" y="3664"/>
                  </a:lnTo>
                  <a:lnTo>
                    <a:pt x="8832" y="3661"/>
                  </a:lnTo>
                  <a:lnTo>
                    <a:pt x="8840" y="3659"/>
                  </a:lnTo>
                  <a:lnTo>
                    <a:pt x="8848" y="3661"/>
                  </a:lnTo>
                  <a:lnTo>
                    <a:pt x="8854" y="3664"/>
                  </a:lnTo>
                  <a:lnTo>
                    <a:pt x="8858" y="3671"/>
                  </a:lnTo>
                  <a:lnTo>
                    <a:pt x="8861" y="3680"/>
                  </a:lnTo>
                  <a:close/>
                  <a:moveTo>
                    <a:pt x="9081" y="2604"/>
                  </a:moveTo>
                  <a:lnTo>
                    <a:pt x="9075" y="2604"/>
                  </a:lnTo>
                  <a:lnTo>
                    <a:pt x="9081" y="2604"/>
                  </a:lnTo>
                  <a:close/>
                  <a:moveTo>
                    <a:pt x="5536" y="1840"/>
                  </a:moveTo>
                  <a:lnTo>
                    <a:pt x="5109" y="1840"/>
                  </a:lnTo>
                  <a:lnTo>
                    <a:pt x="5109" y="1950"/>
                  </a:lnTo>
                  <a:lnTo>
                    <a:pt x="5536" y="1950"/>
                  </a:lnTo>
                  <a:lnTo>
                    <a:pt x="5536" y="1840"/>
                  </a:lnTo>
                  <a:close/>
                  <a:moveTo>
                    <a:pt x="4446" y="3790"/>
                  </a:moveTo>
                  <a:lnTo>
                    <a:pt x="5309" y="3790"/>
                  </a:lnTo>
                  <a:lnTo>
                    <a:pt x="5318" y="3791"/>
                  </a:lnTo>
                  <a:lnTo>
                    <a:pt x="5324" y="3796"/>
                  </a:lnTo>
                  <a:lnTo>
                    <a:pt x="5328" y="3803"/>
                  </a:lnTo>
                  <a:lnTo>
                    <a:pt x="5329" y="3809"/>
                  </a:lnTo>
                  <a:lnTo>
                    <a:pt x="5328" y="3817"/>
                  </a:lnTo>
                  <a:lnTo>
                    <a:pt x="5324" y="3823"/>
                  </a:lnTo>
                  <a:lnTo>
                    <a:pt x="5318" y="3828"/>
                  </a:lnTo>
                  <a:lnTo>
                    <a:pt x="5309" y="3829"/>
                  </a:lnTo>
                  <a:lnTo>
                    <a:pt x="5215" y="3829"/>
                  </a:lnTo>
                  <a:lnTo>
                    <a:pt x="5215" y="4317"/>
                  </a:lnTo>
                  <a:lnTo>
                    <a:pt x="5754" y="4317"/>
                  </a:lnTo>
                  <a:lnTo>
                    <a:pt x="5754" y="3782"/>
                  </a:lnTo>
                  <a:lnTo>
                    <a:pt x="5754" y="3249"/>
                  </a:lnTo>
                  <a:lnTo>
                    <a:pt x="5754" y="2716"/>
                  </a:lnTo>
                  <a:lnTo>
                    <a:pt x="5754" y="2182"/>
                  </a:lnTo>
                  <a:lnTo>
                    <a:pt x="5195" y="2182"/>
                  </a:lnTo>
                  <a:lnTo>
                    <a:pt x="4637" y="2182"/>
                  </a:lnTo>
                  <a:lnTo>
                    <a:pt x="4629" y="2181"/>
                  </a:lnTo>
                  <a:lnTo>
                    <a:pt x="4623" y="2176"/>
                  </a:lnTo>
                  <a:lnTo>
                    <a:pt x="4619" y="2170"/>
                  </a:lnTo>
                  <a:lnTo>
                    <a:pt x="4617" y="2163"/>
                  </a:lnTo>
                  <a:lnTo>
                    <a:pt x="4619" y="2156"/>
                  </a:lnTo>
                  <a:lnTo>
                    <a:pt x="4623" y="2149"/>
                  </a:lnTo>
                  <a:lnTo>
                    <a:pt x="4629" y="2144"/>
                  </a:lnTo>
                  <a:lnTo>
                    <a:pt x="4637" y="2143"/>
                  </a:lnTo>
                  <a:lnTo>
                    <a:pt x="5615" y="2143"/>
                  </a:lnTo>
                  <a:lnTo>
                    <a:pt x="5615" y="1989"/>
                  </a:lnTo>
                  <a:lnTo>
                    <a:pt x="5555" y="1989"/>
                  </a:lnTo>
                  <a:lnTo>
                    <a:pt x="5089" y="1989"/>
                  </a:lnTo>
                  <a:lnTo>
                    <a:pt x="4119" y="1989"/>
                  </a:lnTo>
                  <a:lnTo>
                    <a:pt x="4119" y="2143"/>
                  </a:lnTo>
                  <a:lnTo>
                    <a:pt x="4373" y="2143"/>
                  </a:lnTo>
                  <a:lnTo>
                    <a:pt x="4382" y="2144"/>
                  </a:lnTo>
                  <a:lnTo>
                    <a:pt x="4387" y="2149"/>
                  </a:lnTo>
                  <a:lnTo>
                    <a:pt x="4391" y="2156"/>
                  </a:lnTo>
                  <a:lnTo>
                    <a:pt x="4392" y="2163"/>
                  </a:lnTo>
                  <a:lnTo>
                    <a:pt x="4391" y="2170"/>
                  </a:lnTo>
                  <a:lnTo>
                    <a:pt x="4387" y="2176"/>
                  </a:lnTo>
                  <a:lnTo>
                    <a:pt x="4382" y="2181"/>
                  </a:lnTo>
                  <a:lnTo>
                    <a:pt x="4373" y="2182"/>
                  </a:lnTo>
                  <a:lnTo>
                    <a:pt x="4001" y="2182"/>
                  </a:lnTo>
                  <a:lnTo>
                    <a:pt x="4001" y="3195"/>
                  </a:lnTo>
                  <a:lnTo>
                    <a:pt x="3999" y="3204"/>
                  </a:lnTo>
                  <a:lnTo>
                    <a:pt x="3994" y="3211"/>
                  </a:lnTo>
                  <a:lnTo>
                    <a:pt x="3988" y="3214"/>
                  </a:lnTo>
                  <a:lnTo>
                    <a:pt x="3980" y="3216"/>
                  </a:lnTo>
                  <a:lnTo>
                    <a:pt x="3974" y="3214"/>
                  </a:lnTo>
                  <a:lnTo>
                    <a:pt x="3967" y="3211"/>
                  </a:lnTo>
                  <a:lnTo>
                    <a:pt x="3962" y="3204"/>
                  </a:lnTo>
                  <a:lnTo>
                    <a:pt x="3961" y="3195"/>
                  </a:lnTo>
                  <a:lnTo>
                    <a:pt x="3961" y="2679"/>
                  </a:lnTo>
                  <a:lnTo>
                    <a:pt x="3961" y="2163"/>
                  </a:lnTo>
                  <a:lnTo>
                    <a:pt x="3962" y="2156"/>
                  </a:lnTo>
                  <a:lnTo>
                    <a:pt x="3966" y="2149"/>
                  </a:lnTo>
                  <a:lnTo>
                    <a:pt x="3973" y="2144"/>
                  </a:lnTo>
                  <a:lnTo>
                    <a:pt x="3980" y="2143"/>
                  </a:lnTo>
                  <a:lnTo>
                    <a:pt x="4079" y="2143"/>
                  </a:lnTo>
                  <a:lnTo>
                    <a:pt x="4079" y="1970"/>
                  </a:lnTo>
                  <a:lnTo>
                    <a:pt x="4080" y="1963"/>
                  </a:lnTo>
                  <a:lnTo>
                    <a:pt x="4085" y="1956"/>
                  </a:lnTo>
                  <a:lnTo>
                    <a:pt x="4092" y="1951"/>
                  </a:lnTo>
                  <a:lnTo>
                    <a:pt x="4099" y="1950"/>
                  </a:lnTo>
                  <a:lnTo>
                    <a:pt x="5069" y="1950"/>
                  </a:lnTo>
                  <a:lnTo>
                    <a:pt x="5069" y="1819"/>
                  </a:lnTo>
                  <a:lnTo>
                    <a:pt x="5070" y="1812"/>
                  </a:lnTo>
                  <a:lnTo>
                    <a:pt x="5075" y="1805"/>
                  </a:lnTo>
                  <a:lnTo>
                    <a:pt x="5082" y="1801"/>
                  </a:lnTo>
                  <a:lnTo>
                    <a:pt x="5089" y="1799"/>
                  </a:lnTo>
                  <a:lnTo>
                    <a:pt x="5555" y="1799"/>
                  </a:lnTo>
                  <a:lnTo>
                    <a:pt x="5563" y="1801"/>
                  </a:lnTo>
                  <a:lnTo>
                    <a:pt x="5569" y="1805"/>
                  </a:lnTo>
                  <a:lnTo>
                    <a:pt x="5573" y="1812"/>
                  </a:lnTo>
                  <a:lnTo>
                    <a:pt x="5575" y="1819"/>
                  </a:lnTo>
                  <a:lnTo>
                    <a:pt x="5575" y="1950"/>
                  </a:lnTo>
                  <a:lnTo>
                    <a:pt x="5636" y="1950"/>
                  </a:lnTo>
                  <a:lnTo>
                    <a:pt x="5643" y="1951"/>
                  </a:lnTo>
                  <a:lnTo>
                    <a:pt x="5650" y="1956"/>
                  </a:lnTo>
                  <a:lnTo>
                    <a:pt x="5654" y="1963"/>
                  </a:lnTo>
                  <a:lnTo>
                    <a:pt x="5656" y="1970"/>
                  </a:lnTo>
                  <a:lnTo>
                    <a:pt x="5656" y="2143"/>
                  </a:lnTo>
                  <a:lnTo>
                    <a:pt x="5773" y="2143"/>
                  </a:lnTo>
                  <a:lnTo>
                    <a:pt x="5781" y="2144"/>
                  </a:lnTo>
                  <a:lnTo>
                    <a:pt x="5787" y="2149"/>
                  </a:lnTo>
                  <a:lnTo>
                    <a:pt x="5792" y="2156"/>
                  </a:lnTo>
                  <a:lnTo>
                    <a:pt x="5793" y="2163"/>
                  </a:lnTo>
                  <a:lnTo>
                    <a:pt x="5793" y="2705"/>
                  </a:lnTo>
                  <a:lnTo>
                    <a:pt x="5793" y="3249"/>
                  </a:lnTo>
                  <a:lnTo>
                    <a:pt x="5793" y="3792"/>
                  </a:lnTo>
                  <a:lnTo>
                    <a:pt x="5793" y="4336"/>
                  </a:lnTo>
                  <a:lnTo>
                    <a:pt x="5792" y="4343"/>
                  </a:lnTo>
                  <a:lnTo>
                    <a:pt x="5787" y="4350"/>
                  </a:lnTo>
                  <a:lnTo>
                    <a:pt x="5781" y="4355"/>
                  </a:lnTo>
                  <a:lnTo>
                    <a:pt x="5773" y="4356"/>
                  </a:lnTo>
                  <a:lnTo>
                    <a:pt x="5195" y="4356"/>
                  </a:lnTo>
                  <a:lnTo>
                    <a:pt x="4560" y="4356"/>
                  </a:lnTo>
                  <a:lnTo>
                    <a:pt x="3980" y="4356"/>
                  </a:lnTo>
                  <a:lnTo>
                    <a:pt x="3973" y="4355"/>
                  </a:lnTo>
                  <a:lnTo>
                    <a:pt x="3966" y="4350"/>
                  </a:lnTo>
                  <a:lnTo>
                    <a:pt x="3962" y="4343"/>
                  </a:lnTo>
                  <a:lnTo>
                    <a:pt x="3961" y="4336"/>
                  </a:lnTo>
                  <a:lnTo>
                    <a:pt x="3961" y="4037"/>
                  </a:lnTo>
                  <a:lnTo>
                    <a:pt x="3962" y="4028"/>
                  </a:lnTo>
                  <a:lnTo>
                    <a:pt x="3967" y="4021"/>
                  </a:lnTo>
                  <a:lnTo>
                    <a:pt x="3974" y="4017"/>
                  </a:lnTo>
                  <a:lnTo>
                    <a:pt x="3980" y="4016"/>
                  </a:lnTo>
                  <a:lnTo>
                    <a:pt x="3988" y="4017"/>
                  </a:lnTo>
                  <a:lnTo>
                    <a:pt x="3994" y="4021"/>
                  </a:lnTo>
                  <a:lnTo>
                    <a:pt x="3999" y="4028"/>
                  </a:lnTo>
                  <a:lnTo>
                    <a:pt x="4001" y="4037"/>
                  </a:lnTo>
                  <a:lnTo>
                    <a:pt x="4001" y="4317"/>
                  </a:lnTo>
                  <a:lnTo>
                    <a:pt x="4539" y="4317"/>
                  </a:lnTo>
                  <a:lnTo>
                    <a:pt x="4539" y="3829"/>
                  </a:lnTo>
                  <a:lnTo>
                    <a:pt x="4446" y="3829"/>
                  </a:lnTo>
                  <a:lnTo>
                    <a:pt x="4437" y="3828"/>
                  </a:lnTo>
                  <a:lnTo>
                    <a:pt x="4430" y="3823"/>
                  </a:lnTo>
                  <a:lnTo>
                    <a:pt x="4426" y="3817"/>
                  </a:lnTo>
                  <a:lnTo>
                    <a:pt x="4425" y="3809"/>
                  </a:lnTo>
                  <a:lnTo>
                    <a:pt x="4426" y="3803"/>
                  </a:lnTo>
                  <a:lnTo>
                    <a:pt x="4430" y="3796"/>
                  </a:lnTo>
                  <a:lnTo>
                    <a:pt x="4437" y="3791"/>
                  </a:lnTo>
                  <a:lnTo>
                    <a:pt x="4446" y="3790"/>
                  </a:lnTo>
                  <a:close/>
                  <a:moveTo>
                    <a:pt x="4897" y="3950"/>
                  </a:moveTo>
                  <a:lnTo>
                    <a:pt x="4897" y="4317"/>
                  </a:lnTo>
                  <a:lnTo>
                    <a:pt x="5175" y="4317"/>
                  </a:lnTo>
                  <a:lnTo>
                    <a:pt x="5175" y="3829"/>
                  </a:lnTo>
                  <a:lnTo>
                    <a:pt x="4579" y="3829"/>
                  </a:lnTo>
                  <a:lnTo>
                    <a:pt x="4579" y="4317"/>
                  </a:lnTo>
                  <a:lnTo>
                    <a:pt x="4857" y="4317"/>
                  </a:lnTo>
                  <a:lnTo>
                    <a:pt x="4857" y="3950"/>
                  </a:lnTo>
                  <a:lnTo>
                    <a:pt x="4859" y="3941"/>
                  </a:lnTo>
                  <a:lnTo>
                    <a:pt x="4864" y="3934"/>
                  </a:lnTo>
                  <a:lnTo>
                    <a:pt x="4870" y="3930"/>
                  </a:lnTo>
                  <a:lnTo>
                    <a:pt x="4877" y="3929"/>
                  </a:lnTo>
                  <a:lnTo>
                    <a:pt x="4884" y="3930"/>
                  </a:lnTo>
                  <a:lnTo>
                    <a:pt x="4891" y="3934"/>
                  </a:lnTo>
                  <a:lnTo>
                    <a:pt x="4896" y="3941"/>
                  </a:lnTo>
                  <a:lnTo>
                    <a:pt x="4897" y="3950"/>
                  </a:lnTo>
                  <a:close/>
                  <a:moveTo>
                    <a:pt x="8349" y="481"/>
                  </a:moveTo>
                  <a:lnTo>
                    <a:pt x="8337" y="483"/>
                  </a:lnTo>
                  <a:lnTo>
                    <a:pt x="8328" y="482"/>
                  </a:lnTo>
                  <a:lnTo>
                    <a:pt x="8321" y="475"/>
                  </a:lnTo>
                  <a:lnTo>
                    <a:pt x="8318" y="464"/>
                  </a:lnTo>
                  <a:lnTo>
                    <a:pt x="8316" y="446"/>
                  </a:lnTo>
                  <a:lnTo>
                    <a:pt x="8312" y="428"/>
                  </a:lnTo>
                  <a:lnTo>
                    <a:pt x="8299" y="394"/>
                  </a:lnTo>
                  <a:lnTo>
                    <a:pt x="8280" y="364"/>
                  </a:lnTo>
                  <a:lnTo>
                    <a:pt x="8255" y="337"/>
                  </a:lnTo>
                  <a:lnTo>
                    <a:pt x="8226" y="316"/>
                  </a:lnTo>
                  <a:lnTo>
                    <a:pt x="8192" y="299"/>
                  </a:lnTo>
                  <a:lnTo>
                    <a:pt x="8175" y="293"/>
                  </a:lnTo>
                  <a:lnTo>
                    <a:pt x="8157" y="289"/>
                  </a:lnTo>
                  <a:lnTo>
                    <a:pt x="8137" y="286"/>
                  </a:lnTo>
                  <a:lnTo>
                    <a:pt x="8119" y="285"/>
                  </a:lnTo>
                  <a:lnTo>
                    <a:pt x="8080" y="289"/>
                  </a:lnTo>
                  <a:lnTo>
                    <a:pt x="8060" y="294"/>
                  </a:lnTo>
                  <a:lnTo>
                    <a:pt x="8042" y="300"/>
                  </a:lnTo>
                  <a:lnTo>
                    <a:pt x="8008" y="318"/>
                  </a:lnTo>
                  <a:lnTo>
                    <a:pt x="7978" y="341"/>
                  </a:lnTo>
                  <a:lnTo>
                    <a:pt x="7966" y="355"/>
                  </a:lnTo>
                  <a:lnTo>
                    <a:pt x="7954" y="369"/>
                  </a:lnTo>
                  <a:lnTo>
                    <a:pt x="7935" y="403"/>
                  </a:lnTo>
                  <a:lnTo>
                    <a:pt x="7928" y="420"/>
                  </a:lnTo>
                  <a:lnTo>
                    <a:pt x="7923" y="438"/>
                  </a:lnTo>
                  <a:lnTo>
                    <a:pt x="7919" y="477"/>
                  </a:lnTo>
                  <a:lnTo>
                    <a:pt x="7867" y="477"/>
                  </a:lnTo>
                  <a:lnTo>
                    <a:pt x="7836" y="474"/>
                  </a:lnTo>
                  <a:lnTo>
                    <a:pt x="7815" y="477"/>
                  </a:lnTo>
                  <a:lnTo>
                    <a:pt x="7798" y="482"/>
                  </a:lnTo>
                  <a:lnTo>
                    <a:pt x="7780" y="492"/>
                  </a:lnTo>
                  <a:lnTo>
                    <a:pt x="7765" y="504"/>
                  </a:lnTo>
                  <a:lnTo>
                    <a:pt x="7754" y="519"/>
                  </a:lnTo>
                  <a:lnTo>
                    <a:pt x="7745" y="537"/>
                  </a:lnTo>
                  <a:lnTo>
                    <a:pt x="7740" y="556"/>
                  </a:lnTo>
                  <a:lnTo>
                    <a:pt x="7737" y="576"/>
                  </a:lnTo>
                  <a:lnTo>
                    <a:pt x="7740" y="598"/>
                  </a:lnTo>
                  <a:lnTo>
                    <a:pt x="8505" y="599"/>
                  </a:lnTo>
                  <a:lnTo>
                    <a:pt x="8508" y="574"/>
                  </a:lnTo>
                  <a:lnTo>
                    <a:pt x="8505" y="552"/>
                  </a:lnTo>
                  <a:lnTo>
                    <a:pt x="8499" y="532"/>
                  </a:lnTo>
                  <a:lnTo>
                    <a:pt x="8490" y="514"/>
                  </a:lnTo>
                  <a:lnTo>
                    <a:pt x="8477" y="497"/>
                  </a:lnTo>
                  <a:lnTo>
                    <a:pt x="8460" y="484"/>
                  </a:lnTo>
                  <a:lnTo>
                    <a:pt x="8443" y="474"/>
                  </a:lnTo>
                  <a:lnTo>
                    <a:pt x="8423" y="468"/>
                  </a:lnTo>
                  <a:lnTo>
                    <a:pt x="8401" y="465"/>
                  </a:lnTo>
                  <a:lnTo>
                    <a:pt x="8373" y="469"/>
                  </a:lnTo>
                  <a:lnTo>
                    <a:pt x="8349" y="481"/>
                  </a:lnTo>
                  <a:close/>
                  <a:moveTo>
                    <a:pt x="7880" y="455"/>
                  </a:moveTo>
                  <a:lnTo>
                    <a:pt x="7883" y="433"/>
                  </a:lnTo>
                  <a:lnTo>
                    <a:pt x="7889" y="411"/>
                  </a:lnTo>
                  <a:lnTo>
                    <a:pt x="7896" y="391"/>
                  </a:lnTo>
                  <a:lnTo>
                    <a:pt x="7905" y="372"/>
                  </a:lnTo>
                  <a:lnTo>
                    <a:pt x="7917" y="354"/>
                  </a:lnTo>
                  <a:lnTo>
                    <a:pt x="7930" y="336"/>
                  </a:lnTo>
                  <a:lnTo>
                    <a:pt x="7944" y="321"/>
                  </a:lnTo>
                  <a:lnTo>
                    <a:pt x="7959" y="305"/>
                  </a:lnTo>
                  <a:lnTo>
                    <a:pt x="7994" y="280"/>
                  </a:lnTo>
                  <a:lnTo>
                    <a:pt x="8032" y="261"/>
                  </a:lnTo>
                  <a:lnTo>
                    <a:pt x="8075" y="249"/>
                  </a:lnTo>
                  <a:lnTo>
                    <a:pt x="8119" y="245"/>
                  </a:lnTo>
                  <a:lnTo>
                    <a:pt x="8160" y="249"/>
                  </a:lnTo>
                  <a:lnTo>
                    <a:pt x="8200" y="259"/>
                  </a:lnTo>
                  <a:lnTo>
                    <a:pt x="8237" y="276"/>
                  </a:lnTo>
                  <a:lnTo>
                    <a:pt x="8254" y="286"/>
                  </a:lnTo>
                  <a:lnTo>
                    <a:pt x="8271" y="299"/>
                  </a:lnTo>
                  <a:lnTo>
                    <a:pt x="8300" y="326"/>
                  </a:lnTo>
                  <a:lnTo>
                    <a:pt x="8325" y="358"/>
                  </a:lnTo>
                  <a:lnTo>
                    <a:pt x="8335" y="376"/>
                  </a:lnTo>
                  <a:lnTo>
                    <a:pt x="8343" y="395"/>
                  </a:lnTo>
                  <a:lnTo>
                    <a:pt x="8350" y="414"/>
                  </a:lnTo>
                  <a:lnTo>
                    <a:pt x="8354" y="433"/>
                  </a:lnTo>
                  <a:lnTo>
                    <a:pt x="8377" y="428"/>
                  </a:lnTo>
                  <a:lnTo>
                    <a:pt x="8401" y="426"/>
                  </a:lnTo>
                  <a:lnTo>
                    <a:pt x="8431" y="428"/>
                  </a:lnTo>
                  <a:lnTo>
                    <a:pt x="8459" y="437"/>
                  </a:lnTo>
                  <a:lnTo>
                    <a:pt x="8484" y="451"/>
                  </a:lnTo>
                  <a:lnTo>
                    <a:pt x="8505" y="470"/>
                  </a:lnTo>
                  <a:lnTo>
                    <a:pt x="8523" y="492"/>
                  </a:lnTo>
                  <a:lnTo>
                    <a:pt x="8531" y="505"/>
                  </a:lnTo>
                  <a:lnTo>
                    <a:pt x="8536" y="518"/>
                  </a:lnTo>
                  <a:lnTo>
                    <a:pt x="8545" y="544"/>
                  </a:lnTo>
                  <a:lnTo>
                    <a:pt x="8548" y="560"/>
                  </a:lnTo>
                  <a:lnTo>
                    <a:pt x="8548" y="574"/>
                  </a:lnTo>
                  <a:lnTo>
                    <a:pt x="8548" y="592"/>
                  </a:lnTo>
                  <a:lnTo>
                    <a:pt x="8544" y="613"/>
                  </a:lnTo>
                  <a:lnTo>
                    <a:pt x="8540" y="624"/>
                  </a:lnTo>
                  <a:lnTo>
                    <a:pt x="8535" y="631"/>
                  </a:lnTo>
                  <a:lnTo>
                    <a:pt x="8528" y="638"/>
                  </a:lnTo>
                  <a:lnTo>
                    <a:pt x="8521" y="640"/>
                  </a:lnTo>
                  <a:lnTo>
                    <a:pt x="7724" y="638"/>
                  </a:lnTo>
                  <a:lnTo>
                    <a:pt x="7717" y="637"/>
                  </a:lnTo>
                  <a:lnTo>
                    <a:pt x="7710" y="631"/>
                  </a:lnTo>
                  <a:lnTo>
                    <a:pt x="7705" y="622"/>
                  </a:lnTo>
                  <a:lnTo>
                    <a:pt x="7701" y="613"/>
                  </a:lnTo>
                  <a:lnTo>
                    <a:pt x="7699" y="593"/>
                  </a:lnTo>
                  <a:lnTo>
                    <a:pt x="7698" y="576"/>
                  </a:lnTo>
                  <a:lnTo>
                    <a:pt x="7700" y="548"/>
                  </a:lnTo>
                  <a:lnTo>
                    <a:pt x="7708" y="521"/>
                  </a:lnTo>
                  <a:lnTo>
                    <a:pt x="7721" y="497"/>
                  </a:lnTo>
                  <a:lnTo>
                    <a:pt x="7737" y="477"/>
                  </a:lnTo>
                  <a:lnTo>
                    <a:pt x="7757" y="459"/>
                  </a:lnTo>
                  <a:lnTo>
                    <a:pt x="7781" y="446"/>
                  </a:lnTo>
                  <a:lnTo>
                    <a:pt x="7807" y="437"/>
                  </a:lnTo>
                  <a:lnTo>
                    <a:pt x="7836" y="434"/>
                  </a:lnTo>
                  <a:lnTo>
                    <a:pt x="7851" y="436"/>
                  </a:lnTo>
                  <a:lnTo>
                    <a:pt x="7864" y="440"/>
                  </a:lnTo>
                  <a:lnTo>
                    <a:pt x="7874" y="445"/>
                  </a:lnTo>
                  <a:lnTo>
                    <a:pt x="7880" y="455"/>
                  </a:lnTo>
                  <a:close/>
                  <a:moveTo>
                    <a:pt x="4157" y="902"/>
                  </a:moveTo>
                  <a:lnTo>
                    <a:pt x="4683" y="902"/>
                  </a:lnTo>
                  <a:lnTo>
                    <a:pt x="5210" y="902"/>
                  </a:lnTo>
                  <a:lnTo>
                    <a:pt x="5210" y="892"/>
                  </a:lnTo>
                  <a:lnTo>
                    <a:pt x="5207" y="865"/>
                  </a:lnTo>
                  <a:lnTo>
                    <a:pt x="5203" y="854"/>
                  </a:lnTo>
                  <a:lnTo>
                    <a:pt x="5200" y="841"/>
                  </a:lnTo>
                  <a:lnTo>
                    <a:pt x="5187" y="819"/>
                  </a:lnTo>
                  <a:lnTo>
                    <a:pt x="5179" y="809"/>
                  </a:lnTo>
                  <a:lnTo>
                    <a:pt x="5171" y="799"/>
                  </a:lnTo>
                  <a:lnTo>
                    <a:pt x="5151" y="784"/>
                  </a:lnTo>
                  <a:lnTo>
                    <a:pt x="5141" y="777"/>
                  </a:lnTo>
                  <a:lnTo>
                    <a:pt x="5129" y="771"/>
                  </a:lnTo>
                  <a:lnTo>
                    <a:pt x="5103" y="763"/>
                  </a:lnTo>
                  <a:lnTo>
                    <a:pt x="5077" y="761"/>
                  </a:lnTo>
                  <a:lnTo>
                    <a:pt x="5052" y="763"/>
                  </a:lnTo>
                  <a:lnTo>
                    <a:pt x="5042" y="767"/>
                  </a:lnTo>
                  <a:lnTo>
                    <a:pt x="5030" y="771"/>
                  </a:lnTo>
                  <a:lnTo>
                    <a:pt x="4996" y="791"/>
                  </a:lnTo>
                  <a:lnTo>
                    <a:pt x="4982" y="799"/>
                  </a:lnTo>
                  <a:lnTo>
                    <a:pt x="4970" y="801"/>
                  </a:lnTo>
                  <a:lnTo>
                    <a:pt x="4961" y="799"/>
                  </a:lnTo>
                  <a:lnTo>
                    <a:pt x="4955" y="786"/>
                  </a:lnTo>
                  <a:lnTo>
                    <a:pt x="4944" y="758"/>
                  </a:lnTo>
                  <a:lnTo>
                    <a:pt x="4938" y="745"/>
                  </a:lnTo>
                  <a:lnTo>
                    <a:pt x="4929" y="732"/>
                  </a:lnTo>
                  <a:lnTo>
                    <a:pt x="4911" y="711"/>
                  </a:lnTo>
                  <a:lnTo>
                    <a:pt x="4900" y="700"/>
                  </a:lnTo>
                  <a:lnTo>
                    <a:pt x="4888" y="690"/>
                  </a:lnTo>
                  <a:lnTo>
                    <a:pt x="4864" y="675"/>
                  </a:lnTo>
                  <a:lnTo>
                    <a:pt x="4837" y="662"/>
                  </a:lnTo>
                  <a:lnTo>
                    <a:pt x="4821" y="658"/>
                  </a:lnTo>
                  <a:lnTo>
                    <a:pt x="4807" y="656"/>
                  </a:lnTo>
                  <a:lnTo>
                    <a:pt x="4775" y="653"/>
                  </a:lnTo>
                  <a:lnTo>
                    <a:pt x="4751" y="656"/>
                  </a:lnTo>
                  <a:lnTo>
                    <a:pt x="4725" y="661"/>
                  </a:lnTo>
                  <a:lnTo>
                    <a:pt x="4702" y="665"/>
                  </a:lnTo>
                  <a:lnTo>
                    <a:pt x="4694" y="663"/>
                  </a:lnTo>
                  <a:lnTo>
                    <a:pt x="4688" y="660"/>
                  </a:lnTo>
                  <a:lnTo>
                    <a:pt x="4671" y="643"/>
                  </a:lnTo>
                  <a:lnTo>
                    <a:pt x="4653" y="628"/>
                  </a:lnTo>
                  <a:lnTo>
                    <a:pt x="4634" y="615"/>
                  </a:lnTo>
                  <a:lnTo>
                    <a:pt x="4614" y="605"/>
                  </a:lnTo>
                  <a:lnTo>
                    <a:pt x="4592" y="596"/>
                  </a:lnTo>
                  <a:lnTo>
                    <a:pt x="4570" y="589"/>
                  </a:lnTo>
                  <a:lnTo>
                    <a:pt x="4546" y="585"/>
                  </a:lnTo>
                  <a:lnTo>
                    <a:pt x="4521" y="584"/>
                  </a:lnTo>
                  <a:lnTo>
                    <a:pt x="4480" y="587"/>
                  </a:lnTo>
                  <a:lnTo>
                    <a:pt x="4462" y="590"/>
                  </a:lnTo>
                  <a:lnTo>
                    <a:pt x="4446" y="594"/>
                  </a:lnTo>
                  <a:lnTo>
                    <a:pt x="4416" y="607"/>
                  </a:lnTo>
                  <a:lnTo>
                    <a:pt x="4393" y="622"/>
                  </a:lnTo>
                  <a:lnTo>
                    <a:pt x="4373" y="640"/>
                  </a:lnTo>
                  <a:lnTo>
                    <a:pt x="4356" y="661"/>
                  </a:lnTo>
                  <a:lnTo>
                    <a:pt x="4343" y="683"/>
                  </a:lnTo>
                  <a:lnTo>
                    <a:pt x="4333" y="704"/>
                  </a:lnTo>
                  <a:lnTo>
                    <a:pt x="4317" y="749"/>
                  </a:lnTo>
                  <a:lnTo>
                    <a:pt x="4306" y="786"/>
                  </a:lnTo>
                  <a:lnTo>
                    <a:pt x="4293" y="812"/>
                  </a:lnTo>
                  <a:lnTo>
                    <a:pt x="4287" y="818"/>
                  </a:lnTo>
                  <a:lnTo>
                    <a:pt x="4276" y="819"/>
                  </a:lnTo>
                  <a:lnTo>
                    <a:pt x="4261" y="818"/>
                  </a:lnTo>
                  <a:lnTo>
                    <a:pt x="4242" y="819"/>
                  </a:lnTo>
                  <a:lnTo>
                    <a:pt x="4224" y="824"/>
                  </a:lnTo>
                  <a:lnTo>
                    <a:pt x="4207" y="832"/>
                  </a:lnTo>
                  <a:lnTo>
                    <a:pt x="4193" y="842"/>
                  </a:lnTo>
                  <a:lnTo>
                    <a:pt x="4180" y="854"/>
                  </a:lnTo>
                  <a:lnTo>
                    <a:pt x="4170" y="868"/>
                  </a:lnTo>
                  <a:lnTo>
                    <a:pt x="4162" y="885"/>
                  </a:lnTo>
                  <a:lnTo>
                    <a:pt x="4157" y="902"/>
                  </a:lnTo>
                  <a:close/>
                  <a:moveTo>
                    <a:pt x="5248" y="923"/>
                  </a:moveTo>
                  <a:lnTo>
                    <a:pt x="5243" y="933"/>
                  </a:lnTo>
                  <a:lnTo>
                    <a:pt x="5238" y="938"/>
                  </a:lnTo>
                  <a:lnTo>
                    <a:pt x="5227" y="942"/>
                  </a:lnTo>
                  <a:lnTo>
                    <a:pt x="4680" y="942"/>
                  </a:lnTo>
                  <a:lnTo>
                    <a:pt x="4135" y="942"/>
                  </a:lnTo>
                  <a:lnTo>
                    <a:pt x="4129" y="940"/>
                  </a:lnTo>
                  <a:lnTo>
                    <a:pt x="4123" y="936"/>
                  </a:lnTo>
                  <a:lnTo>
                    <a:pt x="4117" y="928"/>
                  </a:lnTo>
                  <a:lnTo>
                    <a:pt x="4116" y="920"/>
                  </a:lnTo>
                  <a:lnTo>
                    <a:pt x="4119" y="891"/>
                  </a:lnTo>
                  <a:lnTo>
                    <a:pt x="4128" y="864"/>
                  </a:lnTo>
                  <a:lnTo>
                    <a:pt x="4140" y="840"/>
                  </a:lnTo>
                  <a:lnTo>
                    <a:pt x="4158" y="819"/>
                  </a:lnTo>
                  <a:lnTo>
                    <a:pt x="4180" y="801"/>
                  </a:lnTo>
                  <a:lnTo>
                    <a:pt x="4205" y="789"/>
                  </a:lnTo>
                  <a:lnTo>
                    <a:pt x="4232" y="781"/>
                  </a:lnTo>
                  <a:lnTo>
                    <a:pt x="4261" y="777"/>
                  </a:lnTo>
                  <a:lnTo>
                    <a:pt x="4265" y="753"/>
                  </a:lnTo>
                  <a:lnTo>
                    <a:pt x="4270" y="730"/>
                  </a:lnTo>
                  <a:lnTo>
                    <a:pt x="4279" y="707"/>
                  </a:lnTo>
                  <a:lnTo>
                    <a:pt x="4288" y="686"/>
                  </a:lnTo>
                  <a:lnTo>
                    <a:pt x="4301" y="666"/>
                  </a:lnTo>
                  <a:lnTo>
                    <a:pt x="4314" y="647"/>
                  </a:lnTo>
                  <a:lnTo>
                    <a:pt x="4329" y="629"/>
                  </a:lnTo>
                  <a:lnTo>
                    <a:pt x="4346" y="612"/>
                  </a:lnTo>
                  <a:lnTo>
                    <a:pt x="4364" y="597"/>
                  </a:lnTo>
                  <a:lnTo>
                    <a:pt x="4383" y="584"/>
                  </a:lnTo>
                  <a:lnTo>
                    <a:pt x="4425" y="562"/>
                  </a:lnTo>
                  <a:lnTo>
                    <a:pt x="4448" y="555"/>
                  </a:lnTo>
                  <a:lnTo>
                    <a:pt x="4471" y="550"/>
                  </a:lnTo>
                  <a:lnTo>
                    <a:pt x="4496" y="546"/>
                  </a:lnTo>
                  <a:lnTo>
                    <a:pt x="4521" y="544"/>
                  </a:lnTo>
                  <a:lnTo>
                    <a:pt x="4548" y="546"/>
                  </a:lnTo>
                  <a:lnTo>
                    <a:pt x="4575" y="550"/>
                  </a:lnTo>
                  <a:lnTo>
                    <a:pt x="4625" y="565"/>
                  </a:lnTo>
                  <a:lnTo>
                    <a:pt x="4648" y="576"/>
                  </a:lnTo>
                  <a:lnTo>
                    <a:pt x="4670" y="590"/>
                  </a:lnTo>
                  <a:lnTo>
                    <a:pt x="4689" y="606"/>
                  </a:lnTo>
                  <a:lnTo>
                    <a:pt x="4709" y="622"/>
                  </a:lnTo>
                  <a:lnTo>
                    <a:pt x="4741" y="615"/>
                  </a:lnTo>
                  <a:lnTo>
                    <a:pt x="4775" y="612"/>
                  </a:lnTo>
                  <a:lnTo>
                    <a:pt x="4810" y="615"/>
                  </a:lnTo>
                  <a:lnTo>
                    <a:pt x="4827" y="619"/>
                  </a:lnTo>
                  <a:lnTo>
                    <a:pt x="4842" y="622"/>
                  </a:lnTo>
                  <a:lnTo>
                    <a:pt x="4873" y="635"/>
                  </a:lnTo>
                  <a:lnTo>
                    <a:pt x="4901" y="651"/>
                  </a:lnTo>
                  <a:lnTo>
                    <a:pt x="4927" y="671"/>
                  </a:lnTo>
                  <a:lnTo>
                    <a:pt x="4950" y="694"/>
                  </a:lnTo>
                  <a:lnTo>
                    <a:pt x="4969" y="720"/>
                  </a:lnTo>
                  <a:lnTo>
                    <a:pt x="4984" y="749"/>
                  </a:lnTo>
                  <a:lnTo>
                    <a:pt x="5005" y="738"/>
                  </a:lnTo>
                  <a:lnTo>
                    <a:pt x="5028" y="729"/>
                  </a:lnTo>
                  <a:lnTo>
                    <a:pt x="5052" y="722"/>
                  </a:lnTo>
                  <a:lnTo>
                    <a:pt x="5077" y="721"/>
                  </a:lnTo>
                  <a:lnTo>
                    <a:pt x="5112" y="725"/>
                  </a:lnTo>
                  <a:lnTo>
                    <a:pt x="5128" y="729"/>
                  </a:lnTo>
                  <a:lnTo>
                    <a:pt x="5145" y="734"/>
                  </a:lnTo>
                  <a:lnTo>
                    <a:pt x="5174" y="750"/>
                  </a:lnTo>
                  <a:lnTo>
                    <a:pt x="5200" y="771"/>
                  </a:lnTo>
                  <a:lnTo>
                    <a:pt x="5210" y="784"/>
                  </a:lnTo>
                  <a:lnTo>
                    <a:pt x="5220" y="796"/>
                  </a:lnTo>
                  <a:lnTo>
                    <a:pt x="5229" y="810"/>
                  </a:lnTo>
                  <a:lnTo>
                    <a:pt x="5237" y="826"/>
                  </a:lnTo>
                  <a:lnTo>
                    <a:pt x="5247" y="858"/>
                  </a:lnTo>
                  <a:lnTo>
                    <a:pt x="5250" y="892"/>
                  </a:lnTo>
                  <a:lnTo>
                    <a:pt x="5250" y="908"/>
                  </a:lnTo>
                  <a:lnTo>
                    <a:pt x="5248" y="923"/>
                  </a:lnTo>
                  <a:close/>
                  <a:moveTo>
                    <a:pt x="4239" y="2494"/>
                  </a:moveTo>
                  <a:lnTo>
                    <a:pt x="4239" y="2607"/>
                  </a:lnTo>
                  <a:lnTo>
                    <a:pt x="4238" y="2616"/>
                  </a:lnTo>
                  <a:lnTo>
                    <a:pt x="4233" y="2622"/>
                  </a:lnTo>
                  <a:lnTo>
                    <a:pt x="4226" y="2626"/>
                  </a:lnTo>
                  <a:lnTo>
                    <a:pt x="4219" y="2627"/>
                  </a:lnTo>
                  <a:lnTo>
                    <a:pt x="4212" y="2626"/>
                  </a:lnTo>
                  <a:lnTo>
                    <a:pt x="4206" y="2622"/>
                  </a:lnTo>
                  <a:lnTo>
                    <a:pt x="4201" y="2616"/>
                  </a:lnTo>
                  <a:lnTo>
                    <a:pt x="4199" y="2607"/>
                  </a:lnTo>
                  <a:lnTo>
                    <a:pt x="4199" y="2494"/>
                  </a:lnTo>
                  <a:lnTo>
                    <a:pt x="4201" y="2487"/>
                  </a:lnTo>
                  <a:lnTo>
                    <a:pt x="4206" y="2480"/>
                  </a:lnTo>
                  <a:lnTo>
                    <a:pt x="4212" y="2477"/>
                  </a:lnTo>
                  <a:lnTo>
                    <a:pt x="4219" y="2475"/>
                  </a:lnTo>
                  <a:lnTo>
                    <a:pt x="4226" y="2477"/>
                  </a:lnTo>
                  <a:lnTo>
                    <a:pt x="4233" y="2480"/>
                  </a:lnTo>
                  <a:lnTo>
                    <a:pt x="4238" y="2487"/>
                  </a:lnTo>
                  <a:lnTo>
                    <a:pt x="4239" y="2494"/>
                  </a:lnTo>
                  <a:close/>
                  <a:moveTo>
                    <a:pt x="4502" y="2494"/>
                  </a:moveTo>
                  <a:lnTo>
                    <a:pt x="4502" y="2607"/>
                  </a:lnTo>
                  <a:lnTo>
                    <a:pt x="4501" y="2616"/>
                  </a:lnTo>
                  <a:lnTo>
                    <a:pt x="4496" y="2622"/>
                  </a:lnTo>
                  <a:lnTo>
                    <a:pt x="4489" y="2626"/>
                  </a:lnTo>
                  <a:lnTo>
                    <a:pt x="4483" y="2627"/>
                  </a:lnTo>
                  <a:lnTo>
                    <a:pt x="4475" y="2626"/>
                  </a:lnTo>
                  <a:lnTo>
                    <a:pt x="4469" y="2622"/>
                  </a:lnTo>
                  <a:lnTo>
                    <a:pt x="4464" y="2616"/>
                  </a:lnTo>
                  <a:lnTo>
                    <a:pt x="4462" y="2607"/>
                  </a:lnTo>
                  <a:lnTo>
                    <a:pt x="4462" y="2494"/>
                  </a:lnTo>
                  <a:lnTo>
                    <a:pt x="4464" y="2487"/>
                  </a:lnTo>
                  <a:lnTo>
                    <a:pt x="4469" y="2480"/>
                  </a:lnTo>
                  <a:lnTo>
                    <a:pt x="4475" y="2477"/>
                  </a:lnTo>
                  <a:lnTo>
                    <a:pt x="4483" y="2475"/>
                  </a:lnTo>
                  <a:lnTo>
                    <a:pt x="4489" y="2477"/>
                  </a:lnTo>
                  <a:lnTo>
                    <a:pt x="4496" y="2480"/>
                  </a:lnTo>
                  <a:lnTo>
                    <a:pt x="4501" y="2487"/>
                  </a:lnTo>
                  <a:lnTo>
                    <a:pt x="4502" y="2494"/>
                  </a:lnTo>
                  <a:close/>
                  <a:moveTo>
                    <a:pt x="4765" y="2494"/>
                  </a:moveTo>
                  <a:lnTo>
                    <a:pt x="4765" y="2607"/>
                  </a:lnTo>
                  <a:lnTo>
                    <a:pt x="4764" y="2616"/>
                  </a:lnTo>
                  <a:lnTo>
                    <a:pt x="4759" y="2622"/>
                  </a:lnTo>
                  <a:lnTo>
                    <a:pt x="4752" y="2626"/>
                  </a:lnTo>
                  <a:lnTo>
                    <a:pt x="4746" y="2627"/>
                  </a:lnTo>
                  <a:lnTo>
                    <a:pt x="4738" y="2626"/>
                  </a:lnTo>
                  <a:lnTo>
                    <a:pt x="4732" y="2622"/>
                  </a:lnTo>
                  <a:lnTo>
                    <a:pt x="4728" y="2616"/>
                  </a:lnTo>
                  <a:lnTo>
                    <a:pt x="4725" y="2607"/>
                  </a:lnTo>
                  <a:lnTo>
                    <a:pt x="4725" y="2494"/>
                  </a:lnTo>
                  <a:lnTo>
                    <a:pt x="4728" y="2487"/>
                  </a:lnTo>
                  <a:lnTo>
                    <a:pt x="4732" y="2480"/>
                  </a:lnTo>
                  <a:lnTo>
                    <a:pt x="4738" y="2477"/>
                  </a:lnTo>
                  <a:lnTo>
                    <a:pt x="4746" y="2475"/>
                  </a:lnTo>
                  <a:lnTo>
                    <a:pt x="4752" y="2477"/>
                  </a:lnTo>
                  <a:lnTo>
                    <a:pt x="4759" y="2480"/>
                  </a:lnTo>
                  <a:lnTo>
                    <a:pt x="4764" y="2487"/>
                  </a:lnTo>
                  <a:lnTo>
                    <a:pt x="4765" y="2494"/>
                  </a:lnTo>
                  <a:close/>
                  <a:moveTo>
                    <a:pt x="5029" y="2494"/>
                  </a:moveTo>
                  <a:lnTo>
                    <a:pt x="5029" y="2607"/>
                  </a:lnTo>
                  <a:lnTo>
                    <a:pt x="5027" y="2616"/>
                  </a:lnTo>
                  <a:lnTo>
                    <a:pt x="5023" y="2622"/>
                  </a:lnTo>
                  <a:lnTo>
                    <a:pt x="5016" y="2626"/>
                  </a:lnTo>
                  <a:lnTo>
                    <a:pt x="5009" y="2627"/>
                  </a:lnTo>
                  <a:lnTo>
                    <a:pt x="5001" y="2626"/>
                  </a:lnTo>
                  <a:lnTo>
                    <a:pt x="4994" y="2622"/>
                  </a:lnTo>
                  <a:lnTo>
                    <a:pt x="4991" y="2616"/>
                  </a:lnTo>
                  <a:lnTo>
                    <a:pt x="4988" y="2607"/>
                  </a:lnTo>
                  <a:lnTo>
                    <a:pt x="4988" y="2494"/>
                  </a:lnTo>
                  <a:lnTo>
                    <a:pt x="4991" y="2487"/>
                  </a:lnTo>
                  <a:lnTo>
                    <a:pt x="4994" y="2480"/>
                  </a:lnTo>
                  <a:lnTo>
                    <a:pt x="5001" y="2477"/>
                  </a:lnTo>
                  <a:lnTo>
                    <a:pt x="5009" y="2475"/>
                  </a:lnTo>
                  <a:lnTo>
                    <a:pt x="5016" y="2477"/>
                  </a:lnTo>
                  <a:lnTo>
                    <a:pt x="5023" y="2480"/>
                  </a:lnTo>
                  <a:lnTo>
                    <a:pt x="5027" y="2487"/>
                  </a:lnTo>
                  <a:lnTo>
                    <a:pt x="5029" y="2494"/>
                  </a:lnTo>
                  <a:close/>
                  <a:moveTo>
                    <a:pt x="5292" y="2494"/>
                  </a:moveTo>
                  <a:lnTo>
                    <a:pt x="5292" y="2607"/>
                  </a:lnTo>
                  <a:lnTo>
                    <a:pt x="5289" y="2616"/>
                  </a:lnTo>
                  <a:lnTo>
                    <a:pt x="5286" y="2622"/>
                  </a:lnTo>
                  <a:lnTo>
                    <a:pt x="5279" y="2626"/>
                  </a:lnTo>
                  <a:lnTo>
                    <a:pt x="5271" y="2627"/>
                  </a:lnTo>
                  <a:lnTo>
                    <a:pt x="5264" y="2626"/>
                  </a:lnTo>
                  <a:lnTo>
                    <a:pt x="5257" y="2622"/>
                  </a:lnTo>
                  <a:lnTo>
                    <a:pt x="5253" y="2616"/>
                  </a:lnTo>
                  <a:lnTo>
                    <a:pt x="5252" y="2607"/>
                  </a:lnTo>
                  <a:lnTo>
                    <a:pt x="5252" y="2494"/>
                  </a:lnTo>
                  <a:lnTo>
                    <a:pt x="5253" y="2487"/>
                  </a:lnTo>
                  <a:lnTo>
                    <a:pt x="5257" y="2480"/>
                  </a:lnTo>
                  <a:lnTo>
                    <a:pt x="5264" y="2477"/>
                  </a:lnTo>
                  <a:lnTo>
                    <a:pt x="5271" y="2475"/>
                  </a:lnTo>
                  <a:lnTo>
                    <a:pt x="5279" y="2477"/>
                  </a:lnTo>
                  <a:lnTo>
                    <a:pt x="5286" y="2480"/>
                  </a:lnTo>
                  <a:lnTo>
                    <a:pt x="5289" y="2487"/>
                  </a:lnTo>
                  <a:lnTo>
                    <a:pt x="5292" y="2494"/>
                  </a:lnTo>
                  <a:close/>
                  <a:moveTo>
                    <a:pt x="5555" y="2494"/>
                  </a:moveTo>
                  <a:lnTo>
                    <a:pt x="5555" y="2607"/>
                  </a:lnTo>
                  <a:lnTo>
                    <a:pt x="5554" y="2616"/>
                  </a:lnTo>
                  <a:lnTo>
                    <a:pt x="5548" y="2622"/>
                  </a:lnTo>
                  <a:lnTo>
                    <a:pt x="5542" y="2626"/>
                  </a:lnTo>
                  <a:lnTo>
                    <a:pt x="5534" y="2627"/>
                  </a:lnTo>
                  <a:lnTo>
                    <a:pt x="5528" y="2626"/>
                  </a:lnTo>
                  <a:lnTo>
                    <a:pt x="5521" y="2622"/>
                  </a:lnTo>
                  <a:lnTo>
                    <a:pt x="5516" y="2616"/>
                  </a:lnTo>
                  <a:lnTo>
                    <a:pt x="5515" y="2607"/>
                  </a:lnTo>
                  <a:lnTo>
                    <a:pt x="5515" y="2494"/>
                  </a:lnTo>
                  <a:lnTo>
                    <a:pt x="5516" y="2487"/>
                  </a:lnTo>
                  <a:lnTo>
                    <a:pt x="5521" y="2480"/>
                  </a:lnTo>
                  <a:lnTo>
                    <a:pt x="5528" y="2477"/>
                  </a:lnTo>
                  <a:lnTo>
                    <a:pt x="5534" y="2475"/>
                  </a:lnTo>
                  <a:lnTo>
                    <a:pt x="5542" y="2477"/>
                  </a:lnTo>
                  <a:lnTo>
                    <a:pt x="5548" y="2480"/>
                  </a:lnTo>
                  <a:lnTo>
                    <a:pt x="5554" y="2487"/>
                  </a:lnTo>
                  <a:lnTo>
                    <a:pt x="5555" y="2494"/>
                  </a:lnTo>
                  <a:close/>
                  <a:moveTo>
                    <a:pt x="4239" y="2741"/>
                  </a:moveTo>
                  <a:lnTo>
                    <a:pt x="4239" y="2854"/>
                  </a:lnTo>
                  <a:lnTo>
                    <a:pt x="4238" y="2863"/>
                  </a:lnTo>
                  <a:lnTo>
                    <a:pt x="4233" y="2869"/>
                  </a:lnTo>
                  <a:lnTo>
                    <a:pt x="4226" y="2873"/>
                  </a:lnTo>
                  <a:lnTo>
                    <a:pt x="4219" y="2874"/>
                  </a:lnTo>
                  <a:lnTo>
                    <a:pt x="4212" y="2873"/>
                  </a:lnTo>
                  <a:lnTo>
                    <a:pt x="4206" y="2869"/>
                  </a:lnTo>
                  <a:lnTo>
                    <a:pt x="4201" y="2863"/>
                  </a:lnTo>
                  <a:lnTo>
                    <a:pt x="4199" y="2854"/>
                  </a:lnTo>
                  <a:lnTo>
                    <a:pt x="4199" y="2741"/>
                  </a:lnTo>
                  <a:lnTo>
                    <a:pt x="4201" y="2732"/>
                  </a:lnTo>
                  <a:lnTo>
                    <a:pt x="4206" y="2727"/>
                  </a:lnTo>
                  <a:lnTo>
                    <a:pt x="4212" y="2723"/>
                  </a:lnTo>
                  <a:lnTo>
                    <a:pt x="4219" y="2722"/>
                  </a:lnTo>
                  <a:lnTo>
                    <a:pt x="4226" y="2723"/>
                  </a:lnTo>
                  <a:lnTo>
                    <a:pt x="4233" y="2727"/>
                  </a:lnTo>
                  <a:lnTo>
                    <a:pt x="4238" y="2732"/>
                  </a:lnTo>
                  <a:lnTo>
                    <a:pt x="4239" y="2741"/>
                  </a:lnTo>
                  <a:close/>
                  <a:moveTo>
                    <a:pt x="4502" y="2741"/>
                  </a:moveTo>
                  <a:lnTo>
                    <a:pt x="4502" y="2854"/>
                  </a:lnTo>
                  <a:lnTo>
                    <a:pt x="4501" y="2863"/>
                  </a:lnTo>
                  <a:lnTo>
                    <a:pt x="4496" y="2869"/>
                  </a:lnTo>
                  <a:lnTo>
                    <a:pt x="4489" y="2873"/>
                  </a:lnTo>
                  <a:lnTo>
                    <a:pt x="4483" y="2874"/>
                  </a:lnTo>
                  <a:lnTo>
                    <a:pt x="4475" y="2873"/>
                  </a:lnTo>
                  <a:lnTo>
                    <a:pt x="4469" y="2869"/>
                  </a:lnTo>
                  <a:lnTo>
                    <a:pt x="4464" y="2863"/>
                  </a:lnTo>
                  <a:lnTo>
                    <a:pt x="4462" y="2854"/>
                  </a:lnTo>
                  <a:lnTo>
                    <a:pt x="4462" y="2741"/>
                  </a:lnTo>
                  <a:lnTo>
                    <a:pt x="4464" y="2732"/>
                  </a:lnTo>
                  <a:lnTo>
                    <a:pt x="4469" y="2727"/>
                  </a:lnTo>
                  <a:lnTo>
                    <a:pt x="4475" y="2723"/>
                  </a:lnTo>
                  <a:lnTo>
                    <a:pt x="4483" y="2722"/>
                  </a:lnTo>
                  <a:lnTo>
                    <a:pt x="4489" y="2723"/>
                  </a:lnTo>
                  <a:lnTo>
                    <a:pt x="4496" y="2727"/>
                  </a:lnTo>
                  <a:lnTo>
                    <a:pt x="4501" y="2732"/>
                  </a:lnTo>
                  <a:lnTo>
                    <a:pt x="4502" y="2741"/>
                  </a:lnTo>
                  <a:close/>
                  <a:moveTo>
                    <a:pt x="4765" y="2741"/>
                  </a:moveTo>
                  <a:lnTo>
                    <a:pt x="4765" y="2854"/>
                  </a:lnTo>
                  <a:lnTo>
                    <a:pt x="4764" y="2863"/>
                  </a:lnTo>
                  <a:lnTo>
                    <a:pt x="4759" y="2869"/>
                  </a:lnTo>
                  <a:lnTo>
                    <a:pt x="4752" y="2873"/>
                  </a:lnTo>
                  <a:lnTo>
                    <a:pt x="4746" y="2874"/>
                  </a:lnTo>
                  <a:lnTo>
                    <a:pt x="4738" y="2873"/>
                  </a:lnTo>
                  <a:lnTo>
                    <a:pt x="4732" y="2869"/>
                  </a:lnTo>
                  <a:lnTo>
                    <a:pt x="4728" y="2863"/>
                  </a:lnTo>
                  <a:lnTo>
                    <a:pt x="4725" y="2854"/>
                  </a:lnTo>
                  <a:lnTo>
                    <a:pt x="4725" y="2741"/>
                  </a:lnTo>
                  <a:lnTo>
                    <a:pt x="4728" y="2732"/>
                  </a:lnTo>
                  <a:lnTo>
                    <a:pt x="4732" y="2727"/>
                  </a:lnTo>
                  <a:lnTo>
                    <a:pt x="4738" y="2723"/>
                  </a:lnTo>
                  <a:lnTo>
                    <a:pt x="4746" y="2722"/>
                  </a:lnTo>
                  <a:lnTo>
                    <a:pt x="4752" y="2723"/>
                  </a:lnTo>
                  <a:lnTo>
                    <a:pt x="4759" y="2727"/>
                  </a:lnTo>
                  <a:lnTo>
                    <a:pt x="4764" y="2732"/>
                  </a:lnTo>
                  <a:lnTo>
                    <a:pt x="4765" y="2741"/>
                  </a:lnTo>
                  <a:close/>
                  <a:moveTo>
                    <a:pt x="5029" y="2741"/>
                  </a:moveTo>
                  <a:lnTo>
                    <a:pt x="5029" y="2854"/>
                  </a:lnTo>
                  <a:lnTo>
                    <a:pt x="5027" y="2863"/>
                  </a:lnTo>
                  <a:lnTo>
                    <a:pt x="5023" y="2869"/>
                  </a:lnTo>
                  <a:lnTo>
                    <a:pt x="5016" y="2873"/>
                  </a:lnTo>
                  <a:lnTo>
                    <a:pt x="5009" y="2874"/>
                  </a:lnTo>
                  <a:lnTo>
                    <a:pt x="5001" y="2873"/>
                  </a:lnTo>
                  <a:lnTo>
                    <a:pt x="4994" y="2869"/>
                  </a:lnTo>
                  <a:lnTo>
                    <a:pt x="4991" y="2863"/>
                  </a:lnTo>
                  <a:lnTo>
                    <a:pt x="4988" y="2854"/>
                  </a:lnTo>
                  <a:lnTo>
                    <a:pt x="4988" y="2741"/>
                  </a:lnTo>
                  <a:lnTo>
                    <a:pt x="4991" y="2732"/>
                  </a:lnTo>
                  <a:lnTo>
                    <a:pt x="4994" y="2727"/>
                  </a:lnTo>
                  <a:lnTo>
                    <a:pt x="5001" y="2723"/>
                  </a:lnTo>
                  <a:lnTo>
                    <a:pt x="5009" y="2722"/>
                  </a:lnTo>
                  <a:lnTo>
                    <a:pt x="5016" y="2723"/>
                  </a:lnTo>
                  <a:lnTo>
                    <a:pt x="5023" y="2727"/>
                  </a:lnTo>
                  <a:lnTo>
                    <a:pt x="5027" y="2732"/>
                  </a:lnTo>
                  <a:lnTo>
                    <a:pt x="5029" y="2741"/>
                  </a:lnTo>
                  <a:close/>
                  <a:moveTo>
                    <a:pt x="5292" y="2741"/>
                  </a:moveTo>
                  <a:lnTo>
                    <a:pt x="5292" y="2854"/>
                  </a:lnTo>
                  <a:lnTo>
                    <a:pt x="5289" y="2863"/>
                  </a:lnTo>
                  <a:lnTo>
                    <a:pt x="5286" y="2869"/>
                  </a:lnTo>
                  <a:lnTo>
                    <a:pt x="5279" y="2873"/>
                  </a:lnTo>
                  <a:lnTo>
                    <a:pt x="5271" y="2874"/>
                  </a:lnTo>
                  <a:lnTo>
                    <a:pt x="5264" y="2873"/>
                  </a:lnTo>
                  <a:lnTo>
                    <a:pt x="5257" y="2869"/>
                  </a:lnTo>
                  <a:lnTo>
                    <a:pt x="5253" y="2863"/>
                  </a:lnTo>
                  <a:lnTo>
                    <a:pt x="5252" y="2854"/>
                  </a:lnTo>
                  <a:lnTo>
                    <a:pt x="5252" y="2741"/>
                  </a:lnTo>
                  <a:lnTo>
                    <a:pt x="5253" y="2732"/>
                  </a:lnTo>
                  <a:lnTo>
                    <a:pt x="5257" y="2727"/>
                  </a:lnTo>
                  <a:lnTo>
                    <a:pt x="5264" y="2723"/>
                  </a:lnTo>
                  <a:lnTo>
                    <a:pt x="5271" y="2722"/>
                  </a:lnTo>
                  <a:lnTo>
                    <a:pt x="5279" y="2723"/>
                  </a:lnTo>
                  <a:lnTo>
                    <a:pt x="5286" y="2727"/>
                  </a:lnTo>
                  <a:lnTo>
                    <a:pt x="5289" y="2732"/>
                  </a:lnTo>
                  <a:lnTo>
                    <a:pt x="5292" y="2741"/>
                  </a:lnTo>
                  <a:close/>
                  <a:moveTo>
                    <a:pt x="5555" y="2741"/>
                  </a:moveTo>
                  <a:lnTo>
                    <a:pt x="5555" y="2854"/>
                  </a:lnTo>
                  <a:lnTo>
                    <a:pt x="5554" y="2863"/>
                  </a:lnTo>
                  <a:lnTo>
                    <a:pt x="5548" y="2869"/>
                  </a:lnTo>
                  <a:lnTo>
                    <a:pt x="5542" y="2873"/>
                  </a:lnTo>
                  <a:lnTo>
                    <a:pt x="5534" y="2874"/>
                  </a:lnTo>
                  <a:lnTo>
                    <a:pt x="5528" y="2873"/>
                  </a:lnTo>
                  <a:lnTo>
                    <a:pt x="5521" y="2869"/>
                  </a:lnTo>
                  <a:lnTo>
                    <a:pt x="5516" y="2863"/>
                  </a:lnTo>
                  <a:lnTo>
                    <a:pt x="5515" y="2854"/>
                  </a:lnTo>
                  <a:lnTo>
                    <a:pt x="5515" y="2741"/>
                  </a:lnTo>
                  <a:lnTo>
                    <a:pt x="5516" y="2732"/>
                  </a:lnTo>
                  <a:lnTo>
                    <a:pt x="5521" y="2727"/>
                  </a:lnTo>
                  <a:lnTo>
                    <a:pt x="5528" y="2723"/>
                  </a:lnTo>
                  <a:lnTo>
                    <a:pt x="5534" y="2722"/>
                  </a:lnTo>
                  <a:lnTo>
                    <a:pt x="5542" y="2723"/>
                  </a:lnTo>
                  <a:lnTo>
                    <a:pt x="5548" y="2727"/>
                  </a:lnTo>
                  <a:lnTo>
                    <a:pt x="5554" y="2732"/>
                  </a:lnTo>
                  <a:lnTo>
                    <a:pt x="5555" y="2741"/>
                  </a:lnTo>
                  <a:close/>
                  <a:moveTo>
                    <a:pt x="4239" y="2988"/>
                  </a:moveTo>
                  <a:lnTo>
                    <a:pt x="4239" y="3101"/>
                  </a:lnTo>
                  <a:lnTo>
                    <a:pt x="4238" y="3109"/>
                  </a:lnTo>
                  <a:lnTo>
                    <a:pt x="4233" y="3115"/>
                  </a:lnTo>
                  <a:lnTo>
                    <a:pt x="4226" y="3118"/>
                  </a:lnTo>
                  <a:lnTo>
                    <a:pt x="4219" y="3120"/>
                  </a:lnTo>
                  <a:lnTo>
                    <a:pt x="4212" y="3118"/>
                  </a:lnTo>
                  <a:lnTo>
                    <a:pt x="4206" y="3115"/>
                  </a:lnTo>
                  <a:lnTo>
                    <a:pt x="4201" y="3109"/>
                  </a:lnTo>
                  <a:lnTo>
                    <a:pt x="4199" y="3101"/>
                  </a:lnTo>
                  <a:lnTo>
                    <a:pt x="4199" y="2988"/>
                  </a:lnTo>
                  <a:lnTo>
                    <a:pt x="4201" y="2979"/>
                  </a:lnTo>
                  <a:lnTo>
                    <a:pt x="4206" y="2973"/>
                  </a:lnTo>
                  <a:lnTo>
                    <a:pt x="4212" y="2970"/>
                  </a:lnTo>
                  <a:lnTo>
                    <a:pt x="4219" y="2969"/>
                  </a:lnTo>
                  <a:lnTo>
                    <a:pt x="4226" y="2970"/>
                  </a:lnTo>
                  <a:lnTo>
                    <a:pt x="4233" y="2973"/>
                  </a:lnTo>
                  <a:lnTo>
                    <a:pt x="4238" y="2979"/>
                  </a:lnTo>
                  <a:lnTo>
                    <a:pt x="4239" y="2988"/>
                  </a:lnTo>
                  <a:close/>
                  <a:moveTo>
                    <a:pt x="4502" y="2988"/>
                  </a:moveTo>
                  <a:lnTo>
                    <a:pt x="4502" y="3101"/>
                  </a:lnTo>
                  <a:lnTo>
                    <a:pt x="4501" y="3109"/>
                  </a:lnTo>
                  <a:lnTo>
                    <a:pt x="4496" y="3115"/>
                  </a:lnTo>
                  <a:lnTo>
                    <a:pt x="4489" y="3118"/>
                  </a:lnTo>
                  <a:lnTo>
                    <a:pt x="4483" y="3120"/>
                  </a:lnTo>
                  <a:lnTo>
                    <a:pt x="4475" y="3118"/>
                  </a:lnTo>
                  <a:lnTo>
                    <a:pt x="4469" y="3115"/>
                  </a:lnTo>
                  <a:lnTo>
                    <a:pt x="4464" y="3109"/>
                  </a:lnTo>
                  <a:lnTo>
                    <a:pt x="4462" y="3101"/>
                  </a:lnTo>
                  <a:lnTo>
                    <a:pt x="4462" y="2988"/>
                  </a:lnTo>
                  <a:lnTo>
                    <a:pt x="4464" y="2979"/>
                  </a:lnTo>
                  <a:lnTo>
                    <a:pt x="4469" y="2973"/>
                  </a:lnTo>
                  <a:lnTo>
                    <a:pt x="4475" y="2970"/>
                  </a:lnTo>
                  <a:lnTo>
                    <a:pt x="4483" y="2969"/>
                  </a:lnTo>
                  <a:lnTo>
                    <a:pt x="4489" y="2970"/>
                  </a:lnTo>
                  <a:lnTo>
                    <a:pt x="4496" y="2973"/>
                  </a:lnTo>
                  <a:lnTo>
                    <a:pt x="4501" y="2979"/>
                  </a:lnTo>
                  <a:lnTo>
                    <a:pt x="4502" y="2988"/>
                  </a:lnTo>
                  <a:close/>
                  <a:moveTo>
                    <a:pt x="4765" y="2988"/>
                  </a:moveTo>
                  <a:lnTo>
                    <a:pt x="4765" y="3101"/>
                  </a:lnTo>
                  <a:lnTo>
                    <a:pt x="4764" y="3109"/>
                  </a:lnTo>
                  <a:lnTo>
                    <a:pt x="4759" y="3115"/>
                  </a:lnTo>
                  <a:lnTo>
                    <a:pt x="4752" y="3118"/>
                  </a:lnTo>
                  <a:lnTo>
                    <a:pt x="4746" y="3120"/>
                  </a:lnTo>
                  <a:lnTo>
                    <a:pt x="4738" y="3118"/>
                  </a:lnTo>
                  <a:lnTo>
                    <a:pt x="4732" y="3115"/>
                  </a:lnTo>
                  <a:lnTo>
                    <a:pt x="4728" y="3109"/>
                  </a:lnTo>
                  <a:lnTo>
                    <a:pt x="4725" y="3101"/>
                  </a:lnTo>
                  <a:lnTo>
                    <a:pt x="4725" y="2988"/>
                  </a:lnTo>
                  <a:lnTo>
                    <a:pt x="4728" y="2979"/>
                  </a:lnTo>
                  <a:lnTo>
                    <a:pt x="4732" y="2973"/>
                  </a:lnTo>
                  <a:lnTo>
                    <a:pt x="4738" y="2970"/>
                  </a:lnTo>
                  <a:lnTo>
                    <a:pt x="4746" y="2969"/>
                  </a:lnTo>
                  <a:lnTo>
                    <a:pt x="4752" y="2970"/>
                  </a:lnTo>
                  <a:lnTo>
                    <a:pt x="4759" y="2973"/>
                  </a:lnTo>
                  <a:lnTo>
                    <a:pt x="4764" y="2979"/>
                  </a:lnTo>
                  <a:lnTo>
                    <a:pt x="4765" y="2988"/>
                  </a:lnTo>
                  <a:close/>
                  <a:moveTo>
                    <a:pt x="5029" y="2988"/>
                  </a:moveTo>
                  <a:lnTo>
                    <a:pt x="5029" y="3101"/>
                  </a:lnTo>
                  <a:lnTo>
                    <a:pt x="5027" y="3109"/>
                  </a:lnTo>
                  <a:lnTo>
                    <a:pt x="5023" y="3115"/>
                  </a:lnTo>
                  <a:lnTo>
                    <a:pt x="5016" y="3118"/>
                  </a:lnTo>
                  <a:lnTo>
                    <a:pt x="5009" y="3120"/>
                  </a:lnTo>
                  <a:lnTo>
                    <a:pt x="5001" y="3118"/>
                  </a:lnTo>
                  <a:lnTo>
                    <a:pt x="4994" y="3115"/>
                  </a:lnTo>
                  <a:lnTo>
                    <a:pt x="4991" y="3109"/>
                  </a:lnTo>
                  <a:lnTo>
                    <a:pt x="4988" y="3101"/>
                  </a:lnTo>
                  <a:lnTo>
                    <a:pt x="4988" y="2988"/>
                  </a:lnTo>
                  <a:lnTo>
                    <a:pt x="4991" y="2979"/>
                  </a:lnTo>
                  <a:lnTo>
                    <a:pt x="4994" y="2973"/>
                  </a:lnTo>
                  <a:lnTo>
                    <a:pt x="5001" y="2970"/>
                  </a:lnTo>
                  <a:lnTo>
                    <a:pt x="5009" y="2969"/>
                  </a:lnTo>
                  <a:lnTo>
                    <a:pt x="5016" y="2970"/>
                  </a:lnTo>
                  <a:lnTo>
                    <a:pt x="5023" y="2973"/>
                  </a:lnTo>
                  <a:lnTo>
                    <a:pt x="5027" y="2979"/>
                  </a:lnTo>
                  <a:lnTo>
                    <a:pt x="5029" y="2988"/>
                  </a:lnTo>
                  <a:close/>
                  <a:moveTo>
                    <a:pt x="5292" y="2988"/>
                  </a:moveTo>
                  <a:lnTo>
                    <a:pt x="5292" y="3101"/>
                  </a:lnTo>
                  <a:lnTo>
                    <a:pt x="5289" y="3109"/>
                  </a:lnTo>
                  <a:lnTo>
                    <a:pt x="5286" y="3115"/>
                  </a:lnTo>
                  <a:lnTo>
                    <a:pt x="5279" y="3118"/>
                  </a:lnTo>
                  <a:lnTo>
                    <a:pt x="5271" y="3120"/>
                  </a:lnTo>
                  <a:lnTo>
                    <a:pt x="5264" y="3118"/>
                  </a:lnTo>
                  <a:lnTo>
                    <a:pt x="5257" y="3115"/>
                  </a:lnTo>
                  <a:lnTo>
                    <a:pt x="5253" y="3109"/>
                  </a:lnTo>
                  <a:lnTo>
                    <a:pt x="5252" y="3101"/>
                  </a:lnTo>
                  <a:lnTo>
                    <a:pt x="5252" y="2988"/>
                  </a:lnTo>
                  <a:lnTo>
                    <a:pt x="5253" y="2979"/>
                  </a:lnTo>
                  <a:lnTo>
                    <a:pt x="5257" y="2973"/>
                  </a:lnTo>
                  <a:lnTo>
                    <a:pt x="5264" y="2970"/>
                  </a:lnTo>
                  <a:lnTo>
                    <a:pt x="5271" y="2969"/>
                  </a:lnTo>
                  <a:lnTo>
                    <a:pt x="5279" y="2970"/>
                  </a:lnTo>
                  <a:lnTo>
                    <a:pt x="5286" y="2973"/>
                  </a:lnTo>
                  <a:lnTo>
                    <a:pt x="5289" y="2979"/>
                  </a:lnTo>
                  <a:lnTo>
                    <a:pt x="5292" y="2988"/>
                  </a:lnTo>
                  <a:close/>
                  <a:moveTo>
                    <a:pt x="5555" y="2988"/>
                  </a:moveTo>
                  <a:lnTo>
                    <a:pt x="5555" y="3101"/>
                  </a:lnTo>
                  <a:lnTo>
                    <a:pt x="5554" y="3109"/>
                  </a:lnTo>
                  <a:lnTo>
                    <a:pt x="5548" y="3115"/>
                  </a:lnTo>
                  <a:lnTo>
                    <a:pt x="5542" y="3118"/>
                  </a:lnTo>
                  <a:lnTo>
                    <a:pt x="5534" y="3120"/>
                  </a:lnTo>
                  <a:lnTo>
                    <a:pt x="5528" y="3118"/>
                  </a:lnTo>
                  <a:lnTo>
                    <a:pt x="5521" y="3115"/>
                  </a:lnTo>
                  <a:lnTo>
                    <a:pt x="5516" y="3109"/>
                  </a:lnTo>
                  <a:lnTo>
                    <a:pt x="5515" y="3101"/>
                  </a:lnTo>
                  <a:lnTo>
                    <a:pt x="5515" y="2988"/>
                  </a:lnTo>
                  <a:lnTo>
                    <a:pt x="5516" y="2979"/>
                  </a:lnTo>
                  <a:lnTo>
                    <a:pt x="5521" y="2973"/>
                  </a:lnTo>
                  <a:lnTo>
                    <a:pt x="5528" y="2970"/>
                  </a:lnTo>
                  <a:lnTo>
                    <a:pt x="5534" y="2969"/>
                  </a:lnTo>
                  <a:lnTo>
                    <a:pt x="5542" y="2970"/>
                  </a:lnTo>
                  <a:lnTo>
                    <a:pt x="5548" y="2973"/>
                  </a:lnTo>
                  <a:lnTo>
                    <a:pt x="5554" y="2979"/>
                  </a:lnTo>
                  <a:lnTo>
                    <a:pt x="5555" y="2988"/>
                  </a:lnTo>
                  <a:close/>
                  <a:moveTo>
                    <a:pt x="4239" y="3235"/>
                  </a:moveTo>
                  <a:lnTo>
                    <a:pt x="4239" y="3347"/>
                  </a:lnTo>
                  <a:lnTo>
                    <a:pt x="4238" y="3355"/>
                  </a:lnTo>
                  <a:lnTo>
                    <a:pt x="4233" y="3361"/>
                  </a:lnTo>
                  <a:lnTo>
                    <a:pt x="4226" y="3365"/>
                  </a:lnTo>
                  <a:lnTo>
                    <a:pt x="4219" y="3367"/>
                  </a:lnTo>
                  <a:lnTo>
                    <a:pt x="4212" y="3365"/>
                  </a:lnTo>
                  <a:lnTo>
                    <a:pt x="4206" y="3361"/>
                  </a:lnTo>
                  <a:lnTo>
                    <a:pt x="4201" y="3355"/>
                  </a:lnTo>
                  <a:lnTo>
                    <a:pt x="4199" y="3347"/>
                  </a:lnTo>
                  <a:lnTo>
                    <a:pt x="4199" y="3235"/>
                  </a:lnTo>
                  <a:lnTo>
                    <a:pt x="4201" y="3226"/>
                  </a:lnTo>
                  <a:lnTo>
                    <a:pt x="4206" y="3219"/>
                  </a:lnTo>
                  <a:lnTo>
                    <a:pt x="4212" y="3216"/>
                  </a:lnTo>
                  <a:lnTo>
                    <a:pt x="4219" y="3214"/>
                  </a:lnTo>
                  <a:lnTo>
                    <a:pt x="4226" y="3216"/>
                  </a:lnTo>
                  <a:lnTo>
                    <a:pt x="4233" y="3219"/>
                  </a:lnTo>
                  <a:lnTo>
                    <a:pt x="4238" y="3226"/>
                  </a:lnTo>
                  <a:lnTo>
                    <a:pt x="4239" y="3235"/>
                  </a:lnTo>
                  <a:close/>
                  <a:moveTo>
                    <a:pt x="4502" y="3235"/>
                  </a:moveTo>
                  <a:lnTo>
                    <a:pt x="4502" y="3347"/>
                  </a:lnTo>
                  <a:lnTo>
                    <a:pt x="4501" y="3355"/>
                  </a:lnTo>
                  <a:lnTo>
                    <a:pt x="4496" y="3361"/>
                  </a:lnTo>
                  <a:lnTo>
                    <a:pt x="4489" y="3365"/>
                  </a:lnTo>
                  <a:lnTo>
                    <a:pt x="4483" y="3367"/>
                  </a:lnTo>
                  <a:lnTo>
                    <a:pt x="4475" y="3365"/>
                  </a:lnTo>
                  <a:lnTo>
                    <a:pt x="4469" y="3361"/>
                  </a:lnTo>
                  <a:lnTo>
                    <a:pt x="4464" y="3355"/>
                  </a:lnTo>
                  <a:lnTo>
                    <a:pt x="4462" y="3347"/>
                  </a:lnTo>
                  <a:lnTo>
                    <a:pt x="4462" y="3235"/>
                  </a:lnTo>
                  <a:lnTo>
                    <a:pt x="4464" y="3226"/>
                  </a:lnTo>
                  <a:lnTo>
                    <a:pt x="4469" y="3219"/>
                  </a:lnTo>
                  <a:lnTo>
                    <a:pt x="4475" y="3216"/>
                  </a:lnTo>
                  <a:lnTo>
                    <a:pt x="4483" y="3214"/>
                  </a:lnTo>
                  <a:lnTo>
                    <a:pt x="4489" y="3216"/>
                  </a:lnTo>
                  <a:lnTo>
                    <a:pt x="4496" y="3219"/>
                  </a:lnTo>
                  <a:lnTo>
                    <a:pt x="4501" y="3226"/>
                  </a:lnTo>
                  <a:lnTo>
                    <a:pt x="4502" y="3235"/>
                  </a:lnTo>
                  <a:close/>
                  <a:moveTo>
                    <a:pt x="4765" y="3235"/>
                  </a:moveTo>
                  <a:lnTo>
                    <a:pt x="4765" y="3347"/>
                  </a:lnTo>
                  <a:lnTo>
                    <a:pt x="4764" y="3355"/>
                  </a:lnTo>
                  <a:lnTo>
                    <a:pt x="4759" y="3361"/>
                  </a:lnTo>
                  <a:lnTo>
                    <a:pt x="4752" y="3365"/>
                  </a:lnTo>
                  <a:lnTo>
                    <a:pt x="4746" y="3367"/>
                  </a:lnTo>
                  <a:lnTo>
                    <a:pt x="4738" y="3365"/>
                  </a:lnTo>
                  <a:lnTo>
                    <a:pt x="4732" y="3361"/>
                  </a:lnTo>
                  <a:lnTo>
                    <a:pt x="4728" y="3355"/>
                  </a:lnTo>
                  <a:lnTo>
                    <a:pt x="4725" y="3347"/>
                  </a:lnTo>
                  <a:lnTo>
                    <a:pt x="4725" y="3235"/>
                  </a:lnTo>
                  <a:lnTo>
                    <a:pt x="4728" y="3226"/>
                  </a:lnTo>
                  <a:lnTo>
                    <a:pt x="4732" y="3219"/>
                  </a:lnTo>
                  <a:lnTo>
                    <a:pt x="4738" y="3216"/>
                  </a:lnTo>
                  <a:lnTo>
                    <a:pt x="4746" y="3214"/>
                  </a:lnTo>
                  <a:lnTo>
                    <a:pt x="4752" y="3216"/>
                  </a:lnTo>
                  <a:lnTo>
                    <a:pt x="4759" y="3219"/>
                  </a:lnTo>
                  <a:lnTo>
                    <a:pt x="4764" y="3226"/>
                  </a:lnTo>
                  <a:lnTo>
                    <a:pt x="4765" y="3235"/>
                  </a:lnTo>
                  <a:close/>
                  <a:moveTo>
                    <a:pt x="5029" y="3235"/>
                  </a:moveTo>
                  <a:lnTo>
                    <a:pt x="5029" y="3347"/>
                  </a:lnTo>
                  <a:lnTo>
                    <a:pt x="5027" y="3355"/>
                  </a:lnTo>
                  <a:lnTo>
                    <a:pt x="5023" y="3361"/>
                  </a:lnTo>
                  <a:lnTo>
                    <a:pt x="5016" y="3365"/>
                  </a:lnTo>
                  <a:lnTo>
                    <a:pt x="5009" y="3367"/>
                  </a:lnTo>
                  <a:lnTo>
                    <a:pt x="5001" y="3365"/>
                  </a:lnTo>
                  <a:lnTo>
                    <a:pt x="4994" y="3361"/>
                  </a:lnTo>
                  <a:lnTo>
                    <a:pt x="4991" y="3355"/>
                  </a:lnTo>
                  <a:lnTo>
                    <a:pt x="4988" y="3347"/>
                  </a:lnTo>
                  <a:lnTo>
                    <a:pt x="4988" y="3235"/>
                  </a:lnTo>
                  <a:lnTo>
                    <a:pt x="4991" y="3226"/>
                  </a:lnTo>
                  <a:lnTo>
                    <a:pt x="4994" y="3219"/>
                  </a:lnTo>
                  <a:lnTo>
                    <a:pt x="5001" y="3216"/>
                  </a:lnTo>
                  <a:lnTo>
                    <a:pt x="5009" y="3214"/>
                  </a:lnTo>
                  <a:lnTo>
                    <a:pt x="5016" y="3216"/>
                  </a:lnTo>
                  <a:lnTo>
                    <a:pt x="5023" y="3219"/>
                  </a:lnTo>
                  <a:lnTo>
                    <a:pt x="5027" y="3226"/>
                  </a:lnTo>
                  <a:lnTo>
                    <a:pt x="5029" y="3235"/>
                  </a:lnTo>
                  <a:close/>
                  <a:moveTo>
                    <a:pt x="5292" y="3235"/>
                  </a:moveTo>
                  <a:lnTo>
                    <a:pt x="5292" y="3347"/>
                  </a:lnTo>
                  <a:lnTo>
                    <a:pt x="5289" y="3355"/>
                  </a:lnTo>
                  <a:lnTo>
                    <a:pt x="5286" y="3361"/>
                  </a:lnTo>
                  <a:lnTo>
                    <a:pt x="5279" y="3365"/>
                  </a:lnTo>
                  <a:lnTo>
                    <a:pt x="5271" y="3367"/>
                  </a:lnTo>
                  <a:lnTo>
                    <a:pt x="5264" y="3365"/>
                  </a:lnTo>
                  <a:lnTo>
                    <a:pt x="5257" y="3361"/>
                  </a:lnTo>
                  <a:lnTo>
                    <a:pt x="5253" y="3355"/>
                  </a:lnTo>
                  <a:lnTo>
                    <a:pt x="5252" y="3347"/>
                  </a:lnTo>
                  <a:lnTo>
                    <a:pt x="5252" y="3235"/>
                  </a:lnTo>
                  <a:lnTo>
                    <a:pt x="5253" y="3226"/>
                  </a:lnTo>
                  <a:lnTo>
                    <a:pt x="5257" y="3219"/>
                  </a:lnTo>
                  <a:lnTo>
                    <a:pt x="5264" y="3216"/>
                  </a:lnTo>
                  <a:lnTo>
                    <a:pt x="5271" y="3214"/>
                  </a:lnTo>
                  <a:lnTo>
                    <a:pt x="5279" y="3216"/>
                  </a:lnTo>
                  <a:lnTo>
                    <a:pt x="5286" y="3219"/>
                  </a:lnTo>
                  <a:lnTo>
                    <a:pt x="5289" y="3226"/>
                  </a:lnTo>
                  <a:lnTo>
                    <a:pt x="5292" y="3235"/>
                  </a:lnTo>
                  <a:close/>
                  <a:moveTo>
                    <a:pt x="5555" y="3235"/>
                  </a:moveTo>
                  <a:lnTo>
                    <a:pt x="5555" y="3347"/>
                  </a:lnTo>
                  <a:lnTo>
                    <a:pt x="5554" y="3355"/>
                  </a:lnTo>
                  <a:lnTo>
                    <a:pt x="5548" y="3361"/>
                  </a:lnTo>
                  <a:lnTo>
                    <a:pt x="5542" y="3365"/>
                  </a:lnTo>
                  <a:lnTo>
                    <a:pt x="5534" y="3367"/>
                  </a:lnTo>
                  <a:lnTo>
                    <a:pt x="5528" y="3365"/>
                  </a:lnTo>
                  <a:lnTo>
                    <a:pt x="5521" y="3361"/>
                  </a:lnTo>
                  <a:lnTo>
                    <a:pt x="5516" y="3355"/>
                  </a:lnTo>
                  <a:lnTo>
                    <a:pt x="5515" y="3347"/>
                  </a:lnTo>
                  <a:lnTo>
                    <a:pt x="5515" y="3235"/>
                  </a:lnTo>
                  <a:lnTo>
                    <a:pt x="5516" y="3226"/>
                  </a:lnTo>
                  <a:lnTo>
                    <a:pt x="5521" y="3219"/>
                  </a:lnTo>
                  <a:lnTo>
                    <a:pt x="5528" y="3216"/>
                  </a:lnTo>
                  <a:lnTo>
                    <a:pt x="5534" y="3214"/>
                  </a:lnTo>
                  <a:lnTo>
                    <a:pt x="5542" y="3216"/>
                  </a:lnTo>
                  <a:lnTo>
                    <a:pt x="5548" y="3219"/>
                  </a:lnTo>
                  <a:lnTo>
                    <a:pt x="5554" y="3226"/>
                  </a:lnTo>
                  <a:lnTo>
                    <a:pt x="5555" y="3235"/>
                  </a:lnTo>
                  <a:close/>
                  <a:moveTo>
                    <a:pt x="3624" y="4034"/>
                  </a:moveTo>
                  <a:lnTo>
                    <a:pt x="3624" y="3864"/>
                  </a:lnTo>
                  <a:lnTo>
                    <a:pt x="3625" y="3856"/>
                  </a:lnTo>
                  <a:lnTo>
                    <a:pt x="3629" y="3851"/>
                  </a:lnTo>
                  <a:lnTo>
                    <a:pt x="3634" y="3847"/>
                  </a:lnTo>
                  <a:lnTo>
                    <a:pt x="3639" y="3845"/>
                  </a:lnTo>
                  <a:lnTo>
                    <a:pt x="3646" y="3845"/>
                  </a:lnTo>
                  <a:lnTo>
                    <a:pt x="3652" y="3846"/>
                  </a:lnTo>
                  <a:lnTo>
                    <a:pt x="3657" y="3849"/>
                  </a:lnTo>
                  <a:lnTo>
                    <a:pt x="3662" y="3854"/>
                  </a:lnTo>
                  <a:lnTo>
                    <a:pt x="3666" y="3860"/>
                  </a:lnTo>
                  <a:lnTo>
                    <a:pt x="3667" y="3869"/>
                  </a:lnTo>
                  <a:lnTo>
                    <a:pt x="3667" y="4034"/>
                  </a:lnTo>
                  <a:lnTo>
                    <a:pt x="3710" y="4029"/>
                  </a:lnTo>
                  <a:lnTo>
                    <a:pt x="3751" y="4021"/>
                  </a:lnTo>
                  <a:lnTo>
                    <a:pt x="3789" y="4010"/>
                  </a:lnTo>
                  <a:lnTo>
                    <a:pt x="3828" y="3994"/>
                  </a:lnTo>
                  <a:lnTo>
                    <a:pt x="3846" y="3985"/>
                  </a:lnTo>
                  <a:lnTo>
                    <a:pt x="3864" y="3975"/>
                  </a:lnTo>
                  <a:lnTo>
                    <a:pt x="3897" y="3953"/>
                  </a:lnTo>
                  <a:lnTo>
                    <a:pt x="3928" y="3928"/>
                  </a:lnTo>
                  <a:lnTo>
                    <a:pt x="3957" y="3901"/>
                  </a:lnTo>
                  <a:lnTo>
                    <a:pt x="3970" y="3886"/>
                  </a:lnTo>
                  <a:lnTo>
                    <a:pt x="3983" y="3870"/>
                  </a:lnTo>
                  <a:lnTo>
                    <a:pt x="4006" y="3838"/>
                  </a:lnTo>
                  <a:lnTo>
                    <a:pt x="4026" y="3804"/>
                  </a:lnTo>
                  <a:lnTo>
                    <a:pt x="4043" y="3767"/>
                  </a:lnTo>
                  <a:lnTo>
                    <a:pt x="4057" y="3728"/>
                  </a:lnTo>
                  <a:lnTo>
                    <a:pt x="4067" y="3689"/>
                  </a:lnTo>
                  <a:lnTo>
                    <a:pt x="4074" y="3648"/>
                  </a:lnTo>
                  <a:lnTo>
                    <a:pt x="4075" y="3604"/>
                  </a:lnTo>
                  <a:lnTo>
                    <a:pt x="4074" y="3569"/>
                  </a:lnTo>
                  <a:lnTo>
                    <a:pt x="4069" y="3533"/>
                  </a:lnTo>
                  <a:lnTo>
                    <a:pt x="4062" y="3498"/>
                  </a:lnTo>
                  <a:lnTo>
                    <a:pt x="4052" y="3464"/>
                  </a:lnTo>
                  <a:lnTo>
                    <a:pt x="4039" y="3432"/>
                  </a:lnTo>
                  <a:lnTo>
                    <a:pt x="4024" y="3401"/>
                  </a:lnTo>
                  <a:lnTo>
                    <a:pt x="4006" y="3372"/>
                  </a:lnTo>
                  <a:lnTo>
                    <a:pt x="3987" y="3343"/>
                  </a:lnTo>
                  <a:lnTo>
                    <a:pt x="3955" y="3308"/>
                  </a:lnTo>
                  <a:lnTo>
                    <a:pt x="3919" y="3276"/>
                  </a:lnTo>
                  <a:lnTo>
                    <a:pt x="3880" y="3248"/>
                  </a:lnTo>
                  <a:lnTo>
                    <a:pt x="3860" y="3236"/>
                  </a:lnTo>
                  <a:lnTo>
                    <a:pt x="3839" y="3225"/>
                  </a:lnTo>
                  <a:lnTo>
                    <a:pt x="3817" y="3214"/>
                  </a:lnTo>
                  <a:lnTo>
                    <a:pt x="3794" y="3205"/>
                  </a:lnTo>
                  <a:lnTo>
                    <a:pt x="3748" y="3191"/>
                  </a:lnTo>
                  <a:lnTo>
                    <a:pt x="3699" y="3184"/>
                  </a:lnTo>
                  <a:lnTo>
                    <a:pt x="3674" y="3181"/>
                  </a:lnTo>
                  <a:lnTo>
                    <a:pt x="3648" y="3180"/>
                  </a:lnTo>
                  <a:lnTo>
                    <a:pt x="3604" y="3182"/>
                  </a:lnTo>
                  <a:lnTo>
                    <a:pt x="3562" y="3189"/>
                  </a:lnTo>
                  <a:lnTo>
                    <a:pt x="3521" y="3200"/>
                  </a:lnTo>
                  <a:lnTo>
                    <a:pt x="3481" y="3214"/>
                  </a:lnTo>
                  <a:lnTo>
                    <a:pt x="3443" y="3232"/>
                  </a:lnTo>
                  <a:lnTo>
                    <a:pt x="3408" y="3254"/>
                  </a:lnTo>
                  <a:lnTo>
                    <a:pt x="3375" y="3278"/>
                  </a:lnTo>
                  <a:lnTo>
                    <a:pt x="3344" y="3306"/>
                  </a:lnTo>
                  <a:lnTo>
                    <a:pt x="3316" y="3337"/>
                  </a:lnTo>
                  <a:lnTo>
                    <a:pt x="3292" y="3369"/>
                  </a:lnTo>
                  <a:lnTo>
                    <a:pt x="3270" y="3405"/>
                  </a:lnTo>
                  <a:lnTo>
                    <a:pt x="3252" y="3443"/>
                  </a:lnTo>
                  <a:lnTo>
                    <a:pt x="3238" y="3482"/>
                  </a:lnTo>
                  <a:lnTo>
                    <a:pt x="3226" y="3524"/>
                  </a:lnTo>
                  <a:lnTo>
                    <a:pt x="3220" y="3566"/>
                  </a:lnTo>
                  <a:lnTo>
                    <a:pt x="3219" y="3609"/>
                  </a:lnTo>
                  <a:lnTo>
                    <a:pt x="3220" y="3647"/>
                  </a:lnTo>
                  <a:lnTo>
                    <a:pt x="3224" y="3682"/>
                  </a:lnTo>
                  <a:lnTo>
                    <a:pt x="3231" y="3717"/>
                  </a:lnTo>
                  <a:lnTo>
                    <a:pt x="3242" y="3750"/>
                  </a:lnTo>
                  <a:lnTo>
                    <a:pt x="3254" y="3783"/>
                  </a:lnTo>
                  <a:lnTo>
                    <a:pt x="3270" y="3814"/>
                  </a:lnTo>
                  <a:lnTo>
                    <a:pt x="3288" y="3843"/>
                  </a:lnTo>
                  <a:lnTo>
                    <a:pt x="3307" y="3872"/>
                  </a:lnTo>
                  <a:lnTo>
                    <a:pt x="3336" y="3905"/>
                  </a:lnTo>
                  <a:lnTo>
                    <a:pt x="3370" y="3936"/>
                  </a:lnTo>
                  <a:lnTo>
                    <a:pt x="3388" y="3950"/>
                  </a:lnTo>
                  <a:lnTo>
                    <a:pt x="3407" y="3962"/>
                  </a:lnTo>
                  <a:lnTo>
                    <a:pt x="3445" y="3985"/>
                  </a:lnTo>
                  <a:lnTo>
                    <a:pt x="3487" y="4005"/>
                  </a:lnTo>
                  <a:lnTo>
                    <a:pt x="3531" y="4019"/>
                  </a:lnTo>
                  <a:lnTo>
                    <a:pt x="3576" y="4029"/>
                  </a:lnTo>
                  <a:lnTo>
                    <a:pt x="3624" y="4034"/>
                  </a:lnTo>
                  <a:close/>
                  <a:moveTo>
                    <a:pt x="3628" y="4333"/>
                  </a:moveTo>
                  <a:lnTo>
                    <a:pt x="3625" y="4328"/>
                  </a:lnTo>
                  <a:lnTo>
                    <a:pt x="3624" y="4320"/>
                  </a:lnTo>
                  <a:lnTo>
                    <a:pt x="3624" y="4079"/>
                  </a:lnTo>
                  <a:lnTo>
                    <a:pt x="3571" y="4072"/>
                  </a:lnTo>
                  <a:lnTo>
                    <a:pt x="3521" y="4062"/>
                  </a:lnTo>
                  <a:lnTo>
                    <a:pt x="3472" y="4045"/>
                  </a:lnTo>
                  <a:lnTo>
                    <a:pt x="3449" y="4035"/>
                  </a:lnTo>
                  <a:lnTo>
                    <a:pt x="3428" y="4024"/>
                  </a:lnTo>
                  <a:lnTo>
                    <a:pt x="3384" y="3998"/>
                  </a:lnTo>
                  <a:lnTo>
                    <a:pt x="3363" y="3984"/>
                  </a:lnTo>
                  <a:lnTo>
                    <a:pt x="3344" y="3967"/>
                  </a:lnTo>
                  <a:lnTo>
                    <a:pt x="3326" y="3951"/>
                  </a:lnTo>
                  <a:lnTo>
                    <a:pt x="3308" y="3934"/>
                  </a:lnTo>
                  <a:lnTo>
                    <a:pt x="3292" y="3915"/>
                  </a:lnTo>
                  <a:lnTo>
                    <a:pt x="3276" y="3896"/>
                  </a:lnTo>
                  <a:lnTo>
                    <a:pt x="3253" y="3865"/>
                  </a:lnTo>
                  <a:lnTo>
                    <a:pt x="3233" y="3832"/>
                  </a:lnTo>
                  <a:lnTo>
                    <a:pt x="3216" y="3797"/>
                  </a:lnTo>
                  <a:lnTo>
                    <a:pt x="3201" y="3762"/>
                  </a:lnTo>
                  <a:lnTo>
                    <a:pt x="3189" y="3725"/>
                  </a:lnTo>
                  <a:lnTo>
                    <a:pt x="3181" y="3686"/>
                  </a:lnTo>
                  <a:lnTo>
                    <a:pt x="3176" y="3645"/>
                  </a:lnTo>
                  <a:lnTo>
                    <a:pt x="3174" y="3604"/>
                  </a:lnTo>
                  <a:lnTo>
                    <a:pt x="3176" y="3557"/>
                  </a:lnTo>
                  <a:lnTo>
                    <a:pt x="3184" y="3510"/>
                  </a:lnTo>
                  <a:lnTo>
                    <a:pt x="3189" y="3488"/>
                  </a:lnTo>
                  <a:lnTo>
                    <a:pt x="3195" y="3465"/>
                  </a:lnTo>
                  <a:lnTo>
                    <a:pt x="3211" y="3423"/>
                  </a:lnTo>
                  <a:lnTo>
                    <a:pt x="3231" y="3382"/>
                  </a:lnTo>
                  <a:lnTo>
                    <a:pt x="3254" y="3342"/>
                  </a:lnTo>
                  <a:lnTo>
                    <a:pt x="3281" y="3306"/>
                  </a:lnTo>
                  <a:lnTo>
                    <a:pt x="3297" y="3290"/>
                  </a:lnTo>
                  <a:lnTo>
                    <a:pt x="3312" y="3273"/>
                  </a:lnTo>
                  <a:lnTo>
                    <a:pt x="3345" y="3242"/>
                  </a:lnTo>
                  <a:lnTo>
                    <a:pt x="3363" y="3228"/>
                  </a:lnTo>
                  <a:lnTo>
                    <a:pt x="3381" y="3216"/>
                  </a:lnTo>
                  <a:lnTo>
                    <a:pt x="3420" y="3193"/>
                  </a:lnTo>
                  <a:lnTo>
                    <a:pt x="3440" y="3182"/>
                  </a:lnTo>
                  <a:lnTo>
                    <a:pt x="3462" y="3172"/>
                  </a:lnTo>
                  <a:lnTo>
                    <a:pt x="3483" y="3164"/>
                  </a:lnTo>
                  <a:lnTo>
                    <a:pt x="3504" y="3157"/>
                  </a:lnTo>
                  <a:lnTo>
                    <a:pt x="3528" y="3150"/>
                  </a:lnTo>
                  <a:lnTo>
                    <a:pt x="3549" y="3145"/>
                  </a:lnTo>
                  <a:lnTo>
                    <a:pt x="3597" y="3138"/>
                  </a:lnTo>
                  <a:lnTo>
                    <a:pt x="3644" y="3135"/>
                  </a:lnTo>
                  <a:lnTo>
                    <a:pt x="3701" y="3139"/>
                  </a:lnTo>
                  <a:lnTo>
                    <a:pt x="3728" y="3143"/>
                  </a:lnTo>
                  <a:lnTo>
                    <a:pt x="3755" y="3149"/>
                  </a:lnTo>
                  <a:lnTo>
                    <a:pt x="3781" y="3156"/>
                  </a:lnTo>
                  <a:lnTo>
                    <a:pt x="3807" y="3164"/>
                  </a:lnTo>
                  <a:lnTo>
                    <a:pt x="3831" y="3175"/>
                  </a:lnTo>
                  <a:lnTo>
                    <a:pt x="3856" y="3185"/>
                  </a:lnTo>
                  <a:lnTo>
                    <a:pt x="3902" y="3212"/>
                  </a:lnTo>
                  <a:lnTo>
                    <a:pt x="3944" y="3242"/>
                  </a:lnTo>
                  <a:lnTo>
                    <a:pt x="3965" y="3260"/>
                  </a:lnTo>
                  <a:lnTo>
                    <a:pt x="3983" y="3278"/>
                  </a:lnTo>
                  <a:lnTo>
                    <a:pt x="4001" y="3299"/>
                  </a:lnTo>
                  <a:lnTo>
                    <a:pt x="4017" y="3318"/>
                  </a:lnTo>
                  <a:lnTo>
                    <a:pt x="4040" y="3350"/>
                  </a:lnTo>
                  <a:lnTo>
                    <a:pt x="4060" y="3382"/>
                  </a:lnTo>
                  <a:lnTo>
                    <a:pt x="4078" y="3416"/>
                  </a:lnTo>
                  <a:lnTo>
                    <a:pt x="4092" y="3453"/>
                  </a:lnTo>
                  <a:lnTo>
                    <a:pt x="4103" y="3491"/>
                  </a:lnTo>
                  <a:lnTo>
                    <a:pt x="4112" y="3529"/>
                  </a:lnTo>
                  <a:lnTo>
                    <a:pt x="4117" y="3569"/>
                  </a:lnTo>
                  <a:lnTo>
                    <a:pt x="4119" y="3609"/>
                  </a:lnTo>
                  <a:lnTo>
                    <a:pt x="4117" y="3657"/>
                  </a:lnTo>
                  <a:lnTo>
                    <a:pt x="4110" y="3702"/>
                  </a:lnTo>
                  <a:lnTo>
                    <a:pt x="4105" y="3725"/>
                  </a:lnTo>
                  <a:lnTo>
                    <a:pt x="4099" y="3746"/>
                  </a:lnTo>
                  <a:lnTo>
                    <a:pt x="4084" y="3788"/>
                  </a:lnTo>
                  <a:lnTo>
                    <a:pt x="4075" y="3809"/>
                  </a:lnTo>
                  <a:lnTo>
                    <a:pt x="4065" y="3828"/>
                  </a:lnTo>
                  <a:lnTo>
                    <a:pt x="4043" y="3866"/>
                  </a:lnTo>
                  <a:lnTo>
                    <a:pt x="4016" y="3902"/>
                  </a:lnTo>
                  <a:lnTo>
                    <a:pt x="3988" y="3936"/>
                  </a:lnTo>
                  <a:lnTo>
                    <a:pt x="3956" y="3965"/>
                  </a:lnTo>
                  <a:lnTo>
                    <a:pt x="3921" y="3993"/>
                  </a:lnTo>
                  <a:lnTo>
                    <a:pt x="3884" y="4016"/>
                  </a:lnTo>
                  <a:lnTo>
                    <a:pt x="3844" y="4037"/>
                  </a:lnTo>
                  <a:lnTo>
                    <a:pt x="3802" y="4053"/>
                  </a:lnTo>
                  <a:lnTo>
                    <a:pt x="3760" y="4066"/>
                  </a:lnTo>
                  <a:lnTo>
                    <a:pt x="3715" y="4075"/>
                  </a:lnTo>
                  <a:lnTo>
                    <a:pt x="3667" y="4079"/>
                  </a:lnTo>
                  <a:lnTo>
                    <a:pt x="3667" y="4336"/>
                  </a:lnTo>
                  <a:lnTo>
                    <a:pt x="3666" y="4345"/>
                  </a:lnTo>
                  <a:lnTo>
                    <a:pt x="3661" y="4351"/>
                  </a:lnTo>
                  <a:lnTo>
                    <a:pt x="3654" y="4355"/>
                  </a:lnTo>
                  <a:lnTo>
                    <a:pt x="3648" y="4356"/>
                  </a:lnTo>
                  <a:lnTo>
                    <a:pt x="3640" y="4355"/>
                  </a:lnTo>
                  <a:lnTo>
                    <a:pt x="3634" y="4351"/>
                  </a:lnTo>
                  <a:lnTo>
                    <a:pt x="3629" y="4345"/>
                  </a:lnTo>
                  <a:lnTo>
                    <a:pt x="3628" y="4336"/>
                  </a:lnTo>
                  <a:lnTo>
                    <a:pt x="3628" y="4333"/>
                  </a:lnTo>
                  <a:close/>
                </a:path>
              </a:pathLst>
            </a:custGeom>
            <a:solidFill>
              <a:srgbClr val="FF6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12">
              <a:extLst>
                <a:ext uri="{FF2B5EF4-FFF2-40B4-BE49-F238E27FC236}">
                  <a16:creationId xmlns:a16="http://schemas.microsoft.com/office/drawing/2014/main" id="{14CC01FD-39A4-473B-ADB7-2676F9E144F7}"/>
                </a:ext>
              </a:extLst>
            </p:cNvPr>
            <p:cNvSpPr>
              <a:spLocks noChangeAspect="1" noEditPoints="1"/>
            </p:cNvSpPr>
            <p:nvPr userDrawn="1"/>
          </p:nvSpPr>
          <p:spPr bwMode="black">
            <a:xfrm>
              <a:off x="5610994" y="5177099"/>
              <a:ext cx="193514" cy="216000"/>
            </a:xfrm>
            <a:custGeom>
              <a:avLst/>
              <a:gdLst>
                <a:gd name="T0" fmla="*/ 2964 w 3578"/>
                <a:gd name="T1" fmla="*/ 3151 h 3996"/>
                <a:gd name="T2" fmla="*/ 2988 w 3578"/>
                <a:gd name="T3" fmla="*/ 3131 h 3996"/>
                <a:gd name="T4" fmla="*/ 3002 w 3578"/>
                <a:gd name="T5" fmla="*/ 3095 h 3996"/>
                <a:gd name="T6" fmla="*/ 2998 w 3578"/>
                <a:gd name="T7" fmla="*/ 3052 h 3996"/>
                <a:gd name="T8" fmla="*/ 2570 w 3578"/>
                <a:gd name="T9" fmla="*/ 2480 h 3996"/>
                <a:gd name="T10" fmla="*/ 2976 w 3578"/>
                <a:gd name="T11" fmla="*/ 956 h 3996"/>
                <a:gd name="T12" fmla="*/ 2988 w 3578"/>
                <a:gd name="T13" fmla="*/ 917 h 3996"/>
                <a:gd name="T14" fmla="*/ 2981 w 3578"/>
                <a:gd name="T15" fmla="*/ 878 h 3996"/>
                <a:gd name="T16" fmla="*/ 2961 w 3578"/>
                <a:gd name="T17" fmla="*/ 853 h 3996"/>
                <a:gd name="T18" fmla="*/ 2936 w 3578"/>
                <a:gd name="T19" fmla="*/ 840 h 3996"/>
                <a:gd name="T20" fmla="*/ 2275 w 3578"/>
                <a:gd name="T21" fmla="*/ 835 h 3996"/>
                <a:gd name="T22" fmla="*/ 2209 w 3578"/>
                <a:gd name="T23" fmla="*/ 845 h 3996"/>
                <a:gd name="T24" fmla="*/ 2160 w 3578"/>
                <a:gd name="T25" fmla="*/ 872 h 3996"/>
                <a:gd name="T26" fmla="*/ 2119 w 3578"/>
                <a:gd name="T27" fmla="*/ 915 h 3996"/>
                <a:gd name="T28" fmla="*/ 1365 w 3578"/>
                <a:gd name="T29" fmla="*/ 931 h 3996"/>
                <a:gd name="T30" fmla="*/ 1356 w 3578"/>
                <a:gd name="T31" fmla="*/ 884 h 3996"/>
                <a:gd name="T32" fmla="*/ 1325 w 3578"/>
                <a:gd name="T33" fmla="*/ 851 h 3996"/>
                <a:gd name="T34" fmla="*/ 1280 w 3578"/>
                <a:gd name="T35" fmla="*/ 835 h 3996"/>
                <a:gd name="T36" fmla="*/ 664 w 3578"/>
                <a:gd name="T37" fmla="*/ 840 h 3996"/>
                <a:gd name="T38" fmla="*/ 625 w 3578"/>
                <a:gd name="T39" fmla="*/ 862 h 3996"/>
                <a:gd name="T40" fmla="*/ 602 w 3578"/>
                <a:gd name="T41" fmla="*/ 902 h 3996"/>
                <a:gd name="T42" fmla="*/ 598 w 3578"/>
                <a:gd name="T43" fmla="*/ 1998 h 3996"/>
                <a:gd name="T44" fmla="*/ 602 w 3578"/>
                <a:gd name="T45" fmla="*/ 3094 h 3996"/>
                <a:gd name="T46" fmla="*/ 625 w 3578"/>
                <a:gd name="T47" fmla="*/ 3133 h 3996"/>
                <a:gd name="T48" fmla="*/ 664 w 3578"/>
                <a:gd name="T49" fmla="*/ 3156 h 3996"/>
                <a:gd name="T50" fmla="*/ 1280 w 3578"/>
                <a:gd name="T51" fmla="*/ 3160 h 3996"/>
                <a:gd name="T52" fmla="*/ 1325 w 3578"/>
                <a:gd name="T53" fmla="*/ 3144 h 3996"/>
                <a:gd name="T54" fmla="*/ 1356 w 3578"/>
                <a:gd name="T55" fmla="*/ 3111 h 3996"/>
                <a:gd name="T56" fmla="*/ 1365 w 3578"/>
                <a:gd name="T57" fmla="*/ 3064 h 3996"/>
                <a:gd name="T58" fmla="*/ 2119 w 3578"/>
                <a:gd name="T59" fmla="*/ 3080 h 3996"/>
                <a:gd name="T60" fmla="*/ 2160 w 3578"/>
                <a:gd name="T61" fmla="*/ 3123 h 3996"/>
                <a:gd name="T62" fmla="*/ 2209 w 3578"/>
                <a:gd name="T63" fmla="*/ 3151 h 3996"/>
                <a:gd name="T64" fmla="*/ 2275 w 3578"/>
                <a:gd name="T65" fmla="*/ 3160 h 3996"/>
                <a:gd name="T66" fmla="*/ 4 w 3578"/>
                <a:gd name="T67" fmla="*/ 3929 h 3996"/>
                <a:gd name="T68" fmla="*/ 27 w 3578"/>
                <a:gd name="T69" fmla="*/ 3968 h 3996"/>
                <a:gd name="T70" fmla="*/ 66 w 3578"/>
                <a:gd name="T71" fmla="*/ 3991 h 3996"/>
                <a:gd name="T72" fmla="*/ 1789 w 3578"/>
                <a:gd name="T73" fmla="*/ 3996 h 3996"/>
                <a:gd name="T74" fmla="*/ 3512 w 3578"/>
                <a:gd name="T75" fmla="*/ 3991 h 3996"/>
                <a:gd name="T76" fmla="*/ 3552 w 3578"/>
                <a:gd name="T77" fmla="*/ 3968 h 3996"/>
                <a:gd name="T78" fmla="*/ 3574 w 3578"/>
                <a:gd name="T79" fmla="*/ 3929 h 3996"/>
                <a:gd name="T80" fmla="*/ 3577 w 3578"/>
                <a:gd name="T81" fmla="*/ 3624 h 3996"/>
                <a:gd name="T82" fmla="*/ 3563 w 3578"/>
                <a:gd name="T83" fmla="*/ 3579 h 3996"/>
                <a:gd name="T84" fmla="*/ 3529 w 3578"/>
                <a:gd name="T85" fmla="*/ 3549 h 3996"/>
                <a:gd name="T86" fmla="*/ 3482 w 3578"/>
                <a:gd name="T87" fmla="*/ 3538 h 3996"/>
                <a:gd name="T88" fmla="*/ 85 w 3578"/>
                <a:gd name="T89" fmla="*/ 3538 h 3996"/>
                <a:gd name="T90" fmla="*/ 41 w 3578"/>
                <a:gd name="T91" fmla="*/ 3554 h 3996"/>
                <a:gd name="T92" fmla="*/ 11 w 3578"/>
                <a:gd name="T93" fmla="*/ 3587 h 3996"/>
                <a:gd name="T94" fmla="*/ 0 w 3578"/>
                <a:gd name="T95" fmla="*/ 3634 h 3996"/>
                <a:gd name="T96" fmla="*/ 4 w 3578"/>
                <a:gd name="T97" fmla="*/ 391 h 3996"/>
                <a:gd name="T98" fmla="*/ 27 w 3578"/>
                <a:gd name="T99" fmla="*/ 430 h 3996"/>
                <a:gd name="T100" fmla="*/ 66 w 3578"/>
                <a:gd name="T101" fmla="*/ 453 h 3996"/>
                <a:gd name="T102" fmla="*/ 1789 w 3578"/>
                <a:gd name="T103" fmla="*/ 456 h 3996"/>
                <a:gd name="T104" fmla="*/ 3512 w 3578"/>
                <a:gd name="T105" fmla="*/ 453 h 3996"/>
                <a:gd name="T106" fmla="*/ 3552 w 3578"/>
                <a:gd name="T107" fmla="*/ 430 h 3996"/>
                <a:gd name="T108" fmla="*/ 3574 w 3578"/>
                <a:gd name="T109" fmla="*/ 391 h 3996"/>
                <a:gd name="T110" fmla="*/ 3577 w 3578"/>
                <a:gd name="T111" fmla="*/ 85 h 3996"/>
                <a:gd name="T112" fmla="*/ 3563 w 3578"/>
                <a:gd name="T113" fmla="*/ 41 h 3996"/>
                <a:gd name="T114" fmla="*/ 3529 w 3578"/>
                <a:gd name="T115" fmla="*/ 11 h 3996"/>
                <a:gd name="T116" fmla="*/ 3482 w 3578"/>
                <a:gd name="T117" fmla="*/ 0 h 3996"/>
                <a:gd name="T118" fmla="*/ 85 w 3578"/>
                <a:gd name="T119" fmla="*/ 0 h 3996"/>
                <a:gd name="T120" fmla="*/ 41 w 3578"/>
                <a:gd name="T121" fmla="*/ 16 h 3996"/>
                <a:gd name="T122" fmla="*/ 11 w 3578"/>
                <a:gd name="T123" fmla="*/ 49 h 3996"/>
                <a:gd name="T124" fmla="*/ 0 w 3578"/>
                <a:gd name="T125" fmla="*/ 95 h 3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78" h="3996">
                  <a:moveTo>
                    <a:pt x="2924" y="3160"/>
                  </a:moveTo>
                  <a:lnTo>
                    <a:pt x="2936" y="3160"/>
                  </a:lnTo>
                  <a:lnTo>
                    <a:pt x="2947" y="3157"/>
                  </a:lnTo>
                  <a:lnTo>
                    <a:pt x="2958" y="3153"/>
                  </a:lnTo>
                  <a:lnTo>
                    <a:pt x="2964" y="3151"/>
                  </a:lnTo>
                  <a:lnTo>
                    <a:pt x="2968" y="3148"/>
                  </a:lnTo>
                  <a:lnTo>
                    <a:pt x="2977" y="3142"/>
                  </a:lnTo>
                  <a:lnTo>
                    <a:pt x="2981" y="3139"/>
                  </a:lnTo>
                  <a:lnTo>
                    <a:pt x="2985" y="3135"/>
                  </a:lnTo>
                  <a:lnTo>
                    <a:pt x="2988" y="3131"/>
                  </a:lnTo>
                  <a:lnTo>
                    <a:pt x="2991" y="3126"/>
                  </a:lnTo>
                  <a:lnTo>
                    <a:pt x="2996" y="3117"/>
                  </a:lnTo>
                  <a:lnTo>
                    <a:pt x="3000" y="3106"/>
                  </a:lnTo>
                  <a:lnTo>
                    <a:pt x="3001" y="3101"/>
                  </a:lnTo>
                  <a:lnTo>
                    <a:pt x="3002" y="3095"/>
                  </a:lnTo>
                  <a:lnTo>
                    <a:pt x="3003" y="3084"/>
                  </a:lnTo>
                  <a:lnTo>
                    <a:pt x="3002" y="3072"/>
                  </a:lnTo>
                  <a:lnTo>
                    <a:pt x="3001" y="3065"/>
                  </a:lnTo>
                  <a:lnTo>
                    <a:pt x="2999" y="3059"/>
                  </a:lnTo>
                  <a:lnTo>
                    <a:pt x="2998" y="3052"/>
                  </a:lnTo>
                  <a:lnTo>
                    <a:pt x="2995" y="3045"/>
                  </a:lnTo>
                  <a:lnTo>
                    <a:pt x="2988" y="3032"/>
                  </a:lnTo>
                  <a:lnTo>
                    <a:pt x="2985" y="3026"/>
                  </a:lnTo>
                  <a:lnTo>
                    <a:pt x="2980" y="3019"/>
                  </a:lnTo>
                  <a:lnTo>
                    <a:pt x="2570" y="2480"/>
                  </a:lnTo>
                  <a:lnTo>
                    <a:pt x="2162" y="1941"/>
                  </a:lnTo>
                  <a:lnTo>
                    <a:pt x="2562" y="1459"/>
                  </a:lnTo>
                  <a:lnTo>
                    <a:pt x="2962" y="976"/>
                  </a:lnTo>
                  <a:lnTo>
                    <a:pt x="2972" y="962"/>
                  </a:lnTo>
                  <a:lnTo>
                    <a:pt x="2976" y="956"/>
                  </a:lnTo>
                  <a:lnTo>
                    <a:pt x="2979" y="949"/>
                  </a:lnTo>
                  <a:lnTo>
                    <a:pt x="2985" y="936"/>
                  </a:lnTo>
                  <a:lnTo>
                    <a:pt x="2986" y="929"/>
                  </a:lnTo>
                  <a:lnTo>
                    <a:pt x="2988" y="923"/>
                  </a:lnTo>
                  <a:lnTo>
                    <a:pt x="2988" y="917"/>
                  </a:lnTo>
                  <a:lnTo>
                    <a:pt x="2989" y="910"/>
                  </a:lnTo>
                  <a:lnTo>
                    <a:pt x="2988" y="899"/>
                  </a:lnTo>
                  <a:lnTo>
                    <a:pt x="2987" y="894"/>
                  </a:lnTo>
                  <a:lnTo>
                    <a:pt x="2986" y="888"/>
                  </a:lnTo>
                  <a:lnTo>
                    <a:pt x="2981" y="878"/>
                  </a:lnTo>
                  <a:lnTo>
                    <a:pt x="2979" y="873"/>
                  </a:lnTo>
                  <a:lnTo>
                    <a:pt x="2976" y="868"/>
                  </a:lnTo>
                  <a:lnTo>
                    <a:pt x="2972" y="864"/>
                  </a:lnTo>
                  <a:lnTo>
                    <a:pt x="2969" y="861"/>
                  </a:lnTo>
                  <a:lnTo>
                    <a:pt x="2961" y="853"/>
                  </a:lnTo>
                  <a:lnTo>
                    <a:pt x="2957" y="849"/>
                  </a:lnTo>
                  <a:lnTo>
                    <a:pt x="2951" y="846"/>
                  </a:lnTo>
                  <a:lnTo>
                    <a:pt x="2947" y="844"/>
                  </a:lnTo>
                  <a:lnTo>
                    <a:pt x="2941" y="842"/>
                  </a:lnTo>
                  <a:lnTo>
                    <a:pt x="2936" y="840"/>
                  </a:lnTo>
                  <a:lnTo>
                    <a:pt x="2930" y="838"/>
                  </a:lnTo>
                  <a:lnTo>
                    <a:pt x="2925" y="836"/>
                  </a:lnTo>
                  <a:lnTo>
                    <a:pt x="2919" y="836"/>
                  </a:lnTo>
                  <a:lnTo>
                    <a:pt x="2907" y="835"/>
                  </a:lnTo>
                  <a:lnTo>
                    <a:pt x="2275" y="835"/>
                  </a:lnTo>
                  <a:lnTo>
                    <a:pt x="2260" y="835"/>
                  </a:lnTo>
                  <a:lnTo>
                    <a:pt x="2246" y="836"/>
                  </a:lnTo>
                  <a:lnTo>
                    <a:pt x="2234" y="838"/>
                  </a:lnTo>
                  <a:lnTo>
                    <a:pt x="2222" y="841"/>
                  </a:lnTo>
                  <a:lnTo>
                    <a:pt x="2209" y="845"/>
                  </a:lnTo>
                  <a:lnTo>
                    <a:pt x="2198" y="848"/>
                  </a:lnTo>
                  <a:lnTo>
                    <a:pt x="2188" y="854"/>
                  </a:lnTo>
                  <a:lnTo>
                    <a:pt x="2178" y="859"/>
                  </a:lnTo>
                  <a:lnTo>
                    <a:pt x="2168" y="865"/>
                  </a:lnTo>
                  <a:lnTo>
                    <a:pt x="2160" y="872"/>
                  </a:lnTo>
                  <a:lnTo>
                    <a:pt x="2151" y="879"/>
                  </a:lnTo>
                  <a:lnTo>
                    <a:pt x="2142" y="887"/>
                  </a:lnTo>
                  <a:lnTo>
                    <a:pt x="2134" y="896"/>
                  </a:lnTo>
                  <a:lnTo>
                    <a:pt x="2126" y="905"/>
                  </a:lnTo>
                  <a:lnTo>
                    <a:pt x="2119" y="915"/>
                  </a:lnTo>
                  <a:lnTo>
                    <a:pt x="2111" y="925"/>
                  </a:lnTo>
                  <a:lnTo>
                    <a:pt x="1738" y="1404"/>
                  </a:lnTo>
                  <a:lnTo>
                    <a:pt x="1365" y="1885"/>
                  </a:lnTo>
                  <a:lnTo>
                    <a:pt x="1365" y="1408"/>
                  </a:lnTo>
                  <a:lnTo>
                    <a:pt x="1365" y="931"/>
                  </a:lnTo>
                  <a:lnTo>
                    <a:pt x="1365" y="920"/>
                  </a:lnTo>
                  <a:lnTo>
                    <a:pt x="1364" y="910"/>
                  </a:lnTo>
                  <a:lnTo>
                    <a:pt x="1362" y="902"/>
                  </a:lnTo>
                  <a:lnTo>
                    <a:pt x="1359" y="892"/>
                  </a:lnTo>
                  <a:lnTo>
                    <a:pt x="1356" y="884"/>
                  </a:lnTo>
                  <a:lnTo>
                    <a:pt x="1350" y="876"/>
                  </a:lnTo>
                  <a:lnTo>
                    <a:pt x="1346" y="868"/>
                  </a:lnTo>
                  <a:lnTo>
                    <a:pt x="1339" y="862"/>
                  </a:lnTo>
                  <a:lnTo>
                    <a:pt x="1332" y="856"/>
                  </a:lnTo>
                  <a:lnTo>
                    <a:pt x="1325" y="851"/>
                  </a:lnTo>
                  <a:lnTo>
                    <a:pt x="1317" y="846"/>
                  </a:lnTo>
                  <a:lnTo>
                    <a:pt x="1309" y="842"/>
                  </a:lnTo>
                  <a:lnTo>
                    <a:pt x="1300" y="840"/>
                  </a:lnTo>
                  <a:lnTo>
                    <a:pt x="1290" y="837"/>
                  </a:lnTo>
                  <a:lnTo>
                    <a:pt x="1280" y="835"/>
                  </a:lnTo>
                  <a:lnTo>
                    <a:pt x="1270" y="835"/>
                  </a:lnTo>
                  <a:lnTo>
                    <a:pt x="694" y="835"/>
                  </a:lnTo>
                  <a:lnTo>
                    <a:pt x="684" y="835"/>
                  </a:lnTo>
                  <a:lnTo>
                    <a:pt x="674" y="837"/>
                  </a:lnTo>
                  <a:lnTo>
                    <a:pt x="664" y="840"/>
                  </a:lnTo>
                  <a:lnTo>
                    <a:pt x="656" y="842"/>
                  </a:lnTo>
                  <a:lnTo>
                    <a:pt x="647" y="846"/>
                  </a:lnTo>
                  <a:lnTo>
                    <a:pt x="639" y="851"/>
                  </a:lnTo>
                  <a:lnTo>
                    <a:pt x="632" y="856"/>
                  </a:lnTo>
                  <a:lnTo>
                    <a:pt x="625" y="862"/>
                  </a:lnTo>
                  <a:lnTo>
                    <a:pt x="619" y="868"/>
                  </a:lnTo>
                  <a:lnTo>
                    <a:pt x="614" y="876"/>
                  </a:lnTo>
                  <a:lnTo>
                    <a:pt x="609" y="884"/>
                  </a:lnTo>
                  <a:lnTo>
                    <a:pt x="606" y="892"/>
                  </a:lnTo>
                  <a:lnTo>
                    <a:pt x="602" y="902"/>
                  </a:lnTo>
                  <a:lnTo>
                    <a:pt x="600" y="910"/>
                  </a:lnTo>
                  <a:lnTo>
                    <a:pt x="599" y="920"/>
                  </a:lnTo>
                  <a:lnTo>
                    <a:pt x="598" y="931"/>
                  </a:lnTo>
                  <a:lnTo>
                    <a:pt x="598" y="1464"/>
                  </a:lnTo>
                  <a:lnTo>
                    <a:pt x="598" y="1998"/>
                  </a:lnTo>
                  <a:lnTo>
                    <a:pt x="598" y="2531"/>
                  </a:lnTo>
                  <a:lnTo>
                    <a:pt x="598" y="3064"/>
                  </a:lnTo>
                  <a:lnTo>
                    <a:pt x="599" y="3074"/>
                  </a:lnTo>
                  <a:lnTo>
                    <a:pt x="600" y="3084"/>
                  </a:lnTo>
                  <a:lnTo>
                    <a:pt x="602" y="3094"/>
                  </a:lnTo>
                  <a:lnTo>
                    <a:pt x="606" y="3103"/>
                  </a:lnTo>
                  <a:lnTo>
                    <a:pt x="609" y="3111"/>
                  </a:lnTo>
                  <a:lnTo>
                    <a:pt x="614" y="3120"/>
                  </a:lnTo>
                  <a:lnTo>
                    <a:pt x="619" y="3126"/>
                  </a:lnTo>
                  <a:lnTo>
                    <a:pt x="625" y="3133"/>
                  </a:lnTo>
                  <a:lnTo>
                    <a:pt x="632" y="3140"/>
                  </a:lnTo>
                  <a:lnTo>
                    <a:pt x="639" y="3144"/>
                  </a:lnTo>
                  <a:lnTo>
                    <a:pt x="647" y="3150"/>
                  </a:lnTo>
                  <a:lnTo>
                    <a:pt x="656" y="3153"/>
                  </a:lnTo>
                  <a:lnTo>
                    <a:pt x="664" y="3156"/>
                  </a:lnTo>
                  <a:lnTo>
                    <a:pt x="674" y="3158"/>
                  </a:lnTo>
                  <a:lnTo>
                    <a:pt x="684" y="3160"/>
                  </a:lnTo>
                  <a:lnTo>
                    <a:pt x="694" y="3160"/>
                  </a:lnTo>
                  <a:lnTo>
                    <a:pt x="1270" y="3160"/>
                  </a:lnTo>
                  <a:lnTo>
                    <a:pt x="1280" y="3160"/>
                  </a:lnTo>
                  <a:lnTo>
                    <a:pt x="1290" y="3158"/>
                  </a:lnTo>
                  <a:lnTo>
                    <a:pt x="1300" y="3156"/>
                  </a:lnTo>
                  <a:lnTo>
                    <a:pt x="1309" y="3153"/>
                  </a:lnTo>
                  <a:lnTo>
                    <a:pt x="1317" y="3150"/>
                  </a:lnTo>
                  <a:lnTo>
                    <a:pt x="1325" y="3144"/>
                  </a:lnTo>
                  <a:lnTo>
                    <a:pt x="1332" y="3140"/>
                  </a:lnTo>
                  <a:lnTo>
                    <a:pt x="1339" y="3133"/>
                  </a:lnTo>
                  <a:lnTo>
                    <a:pt x="1346" y="3126"/>
                  </a:lnTo>
                  <a:lnTo>
                    <a:pt x="1350" y="3120"/>
                  </a:lnTo>
                  <a:lnTo>
                    <a:pt x="1356" y="3111"/>
                  </a:lnTo>
                  <a:lnTo>
                    <a:pt x="1359" y="3103"/>
                  </a:lnTo>
                  <a:lnTo>
                    <a:pt x="1362" y="3094"/>
                  </a:lnTo>
                  <a:lnTo>
                    <a:pt x="1364" y="3084"/>
                  </a:lnTo>
                  <a:lnTo>
                    <a:pt x="1365" y="3074"/>
                  </a:lnTo>
                  <a:lnTo>
                    <a:pt x="1365" y="3064"/>
                  </a:lnTo>
                  <a:lnTo>
                    <a:pt x="1365" y="2539"/>
                  </a:lnTo>
                  <a:lnTo>
                    <a:pt x="1365" y="2014"/>
                  </a:lnTo>
                  <a:lnTo>
                    <a:pt x="1738" y="2542"/>
                  </a:lnTo>
                  <a:lnTo>
                    <a:pt x="2111" y="3070"/>
                  </a:lnTo>
                  <a:lnTo>
                    <a:pt x="2119" y="3080"/>
                  </a:lnTo>
                  <a:lnTo>
                    <a:pt x="2126" y="3090"/>
                  </a:lnTo>
                  <a:lnTo>
                    <a:pt x="2134" y="3099"/>
                  </a:lnTo>
                  <a:lnTo>
                    <a:pt x="2142" y="3108"/>
                  </a:lnTo>
                  <a:lnTo>
                    <a:pt x="2151" y="3115"/>
                  </a:lnTo>
                  <a:lnTo>
                    <a:pt x="2160" y="3123"/>
                  </a:lnTo>
                  <a:lnTo>
                    <a:pt x="2168" y="3130"/>
                  </a:lnTo>
                  <a:lnTo>
                    <a:pt x="2178" y="3136"/>
                  </a:lnTo>
                  <a:lnTo>
                    <a:pt x="2188" y="3142"/>
                  </a:lnTo>
                  <a:lnTo>
                    <a:pt x="2198" y="3146"/>
                  </a:lnTo>
                  <a:lnTo>
                    <a:pt x="2209" y="3151"/>
                  </a:lnTo>
                  <a:lnTo>
                    <a:pt x="2222" y="3154"/>
                  </a:lnTo>
                  <a:lnTo>
                    <a:pt x="2234" y="3156"/>
                  </a:lnTo>
                  <a:lnTo>
                    <a:pt x="2246" y="3158"/>
                  </a:lnTo>
                  <a:lnTo>
                    <a:pt x="2260" y="3160"/>
                  </a:lnTo>
                  <a:lnTo>
                    <a:pt x="2275" y="3160"/>
                  </a:lnTo>
                  <a:lnTo>
                    <a:pt x="2924" y="3160"/>
                  </a:lnTo>
                  <a:close/>
                  <a:moveTo>
                    <a:pt x="0" y="3899"/>
                  </a:moveTo>
                  <a:lnTo>
                    <a:pt x="1" y="3909"/>
                  </a:lnTo>
                  <a:lnTo>
                    <a:pt x="2" y="3919"/>
                  </a:lnTo>
                  <a:lnTo>
                    <a:pt x="4" y="3929"/>
                  </a:lnTo>
                  <a:lnTo>
                    <a:pt x="8" y="3938"/>
                  </a:lnTo>
                  <a:lnTo>
                    <a:pt x="11" y="3947"/>
                  </a:lnTo>
                  <a:lnTo>
                    <a:pt x="16" y="3955"/>
                  </a:lnTo>
                  <a:lnTo>
                    <a:pt x="21" y="3961"/>
                  </a:lnTo>
                  <a:lnTo>
                    <a:pt x="27" y="3968"/>
                  </a:lnTo>
                  <a:lnTo>
                    <a:pt x="33" y="3975"/>
                  </a:lnTo>
                  <a:lnTo>
                    <a:pt x="41" y="3980"/>
                  </a:lnTo>
                  <a:lnTo>
                    <a:pt x="49" y="3985"/>
                  </a:lnTo>
                  <a:lnTo>
                    <a:pt x="58" y="3988"/>
                  </a:lnTo>
                  <a:lnTo>
                    <a:pt x="66" y="3991"/>
                  </a:lnTo>
                  <a:lnTo>
                    <a:pt x="75" y="3993"/>
                  </a:lnTo>
                  <a:lnTo>
                    <a:pt x="85" y="3995"/>
                  </a:lnTo>
                  <a:lnTo>
                    <a:pt x="96" y="3996"/>
                  </a:lnTo>
                  <a:lnTo>
                    <a:pt x="942" y="3996"/>
                  </a:lnTo>
                  <a:lnTo>
                    <a:pt x="1789" y="3996"/>
                  </a:lnTo>
                  <a:lnTo>
                    <a:pt x="2635" y="3996"/>
                  </a:lnTo>
                  <a:lnTo>
                    <a:pt x="3482" y="3996"/>
                  </a:lnTo>
                  <a:lnTo>
                    <a:pt x="3493" y="3995"/>
                  </a:lnTo>
                  <a:lnTo>
                    <a:pt x="3503" y="3993"/>
                  </a:lnTo>
                  <a:lnTo>
                    <a:pt x="3512" y="3991"/>
                  </a:lnTo>
                  <a:lnTo>
                    <a:pt x="3521" y="3988"/>
                  </a:lnTo>
                  <a:lnTo>
                    <a:pt x="3529" y="3985"/>
                  </a:lnTo>
                  <a:lnTo>
                    <a:pt x="3537" y="3980"/>
                  </a:lnTo>
                  <a:lnTo>
                    <a:pt x="3545" y="3975"/>
                  </a:lnTo>
                  <a:lnTo>
                    <a:pt x="3552" y="3968"/>
                  </a:lnTo>
                  <a:lnTo>
                    <a:pt x="3557" y="3961"/>
                  </a:lnTo>
                  <a:lnTo>
                    <a:pt x="3563" y="3955"/>
                  </a:lnTo>
                  <a:lnTo>
                    <a:pt x="3567" y="3947"/>
                  </a:lnTo>
                  <a:lnTo>
                    <a:pt x="3572" y="3938"/>
                  </a:lnTo>
                  <a:lnTo>
                    <a:pt x="3574" y="3929"/>
                  </a:lnTo>
                  <a:lnTo>
                    <a:pt x="3576" y="3919"/>
                  </a:lnTo>
                  <a:lnTo>
                    <a:pt x="3577" y="3909"/>
                  </a:lnTo>
                  <a:lnTo>
                    <a:pt x="3578" y="3899"/>
                  </a:lnTo>
                  <a:lnTo>
                    <a:pt x="3578" y="3634"/>
                  </a:lnTo>
                  <a:lnTo>
                    <a:pt x="3577" y="3624"/>
                  </a:lnTo>
                  <a:lnTo>
                    <a:pt x="3576" y="3614"/>
                  </a:lnTo>
                  <a:lnTo>
                    <a:pt x="3574" y="3605"/>
                  </a:lnTo>
                  <a:lnTo>
                    <a:pt x="3572" y="3595"/>
                  </a:lnTo>
                  <a:lnTo>
                    <a:pt x="3567" y="3587"/>
                  </a:lnTo>
                  <a:lnTo>
                    <a:pt x="3563" y="3579"/>
                  </a:lnTo>
                  <a:lnTo>
                    <a:pt x="3557" y="3572"/>
                  </a:lnTo>
                  <a:lnTo>
                    <a:pt x="3552" y="3565"/>
                  </a:lnTo>
                  <a:lnTo>
                    <a:pt x="3545" y="3559"/>
                  </a:lnTo>
                  <a:lnTo>
                    <a:pt x="3537" y="3554"/>
                  </a:lnTo>
                  <a:lnTo>
                    <a:pt x="3529" y="3549"/>
                  </a:lnTo>
                  <a:lnTo>
                    <a:pt x="3521" y="3545"/>
                  </a:lnTo>
                  <a:lnTo>
                    <a:pt x="3512" y="3542"/>
                  </a:lnTo>
                  <a:lnTo>
                    <a:pt x="3503" y="3539"/>
                  </a:lnTo>
                  <a:lnTo>
                    <a:pt x="3493" y="3538"/>
                  </a:lnTo>
                  <a:lnTo>
                    <a:pt x="3482" y="3538"/>
                  </a:lnTo>
                  <a:lnTo>
                    <a:pt x="2635" y="3538"/>
                  </a:lnTo>
                  <a:lnTo>
                    <a:pt x="1789" y="3538"/>
                  </a:lnTo>
                  <a:lnTo>
                    <a:pt x="942" y="3538"/>
                  </a:lnTo>
                  <a:lnTo>
                    <a:pt x="96" y="3538"/>
                  </a:lnTo>
                  <a:lnTo>
                    <a:pt x="85" y="3538"/>
                  </a:lnTo>
                  <a:lnTo>
                    <a:pt x="75" y="3539"/>
                  </a:lnTo>
                  <a:lnTo>
                    <a:pt x="66" y="3542"/>
                  </a:lnTo>
                  <a:lnTo>
                    <a:pt x="58" y="3545"/>
                  </a:lnTo>
                  <a:lnTo>
                    <a:pt x="49" y="3549"/>
                  </a:lnTo>
                  <a:lnTo>
                    <a:pt x="41" y="3554"/>
                  </a:lnTo>
                  <a:lnTo>
                    <a:pt x="33" y="3559"/>
                  </a:lnTo>
                  <a:lnTo>
                    <a:pt x="27" y="3565"/>
                  </a:lnTo>
                  <a:lnTo>
                    <a:pt x="21" y="3572"/>
                  </a:lnTo>
                  <a:lnTo>
                    <a:pt x="16" y="3579"/>
                  </a:lnTo>
                  <a:lnTo>
                    <a:pt x="11" y="3587"/>
                  </a:lnTo>
                  <a:lnTo>
                    <a:pt x="8" y="3595"/>
                  </a:lnTo>
                  <a:lnTo>
                    <a:pt x="4" y="3605"/>
                  </a:lnTo>
                  <a:lnTo>
                    <a:pt x="2" y="3614"/>
                  </a:lnTo>
                  <a:lnTo>
                    <a:pt x="1" y="3624"/>
                  </a:lnTo>
                  <a:lnTo>
                    <a:pt x="0" y="3634"/>
                  </a:lnTo>
                  <a:lnTo>
                    <a:pt x="0" y="3899"/>
                  </a:lnTo>
                  <a:close/>
                  <a:moveTo>
                    <a:pt x="0" y="361"/>
                  </a:moveTo>
                  <a:lnTo>
                    <a:pt x="1" y="371"/>
                  </a:lnTo>
                  <a:lnTo>
                    <a:pt x="2" y="381"/>
                  </a:lnTo>
                  <a:lnTo>
                    <a:pt x="4" y="391"/>
                  </a:lnTo>
                  <a:lnTo>
                    <a:pt x="8" y="400"/>
                  </a:lnTo>
                  <a:lnTo>
                    <a:pt x="11" y="409"/>
                  </a:lnTo>
                  <a:lnTo>
                    <a:pt x="16" y="416"/>
                  </a:lnTo>
                  <a:lnTo>
                    <a:pt x="21" y="423"/>
                  </a:lnTo>
                  <a:lnTo>
                    <a:pt x="27" y="430"/>
                  </a:lnTo>
                  <a:lnTo>
                    <a:pt x="33" y="436"/>
                  </a:lnTo>
                  <a:lnTo>
                    <a:pt x="41" y="441"/>
                  </a:lnTo>
                  <a:lnTo>
                    <a:pt x="49" y="446"/>
                  </a:lnTo>
                  <a:lnTo>
                    <a:pt x="58" y="450"/>
                  </a:lnTo>
                  <a:lnTo>
                    <a:pt x="66" y="453"/>
                  </a:lnTo>
                  <a:lnTo>
                    <a:pt x="75" y="455"/>
                  </a:lnTo>
                  <a:lnTo>
                    <a:pt x="85" y="456"/>
                  </a:lnTo>
                  <a:lnTo>
                    <a:pt x="96" y="456"/>
                  </a:lnTo>
                  <a:lnTo>
                    <a:pt x="942" y="456"/>
                  </a:lnTo>
                  <a:lnTo>
                    <a:pt x="1789" y="456"/>
                  </a:lnTo>
                  <a:lnTo>
                    <a:pt x="2635" y="456"/>
                  </a:lnTo>
                  <a:lnTo>
                    <a:pt x="3482" y="456"/>
                  </a:lnTo>
                  <a:lnTo>
                    <a:pt x="3493" y="456"/>
                  </a:lnTo>
                  <a:lnTo>
                    <a:pt x="3503" y="455"/>
                  </a:lnTo>
                  <a:lnTo>
                    <a:pt x="3512" y="453"/>
                  </a:lnTo>
                  <a:lnTo>
                    <a:pt x="3521" y="450"/>
                  </a:lnTo>
                  <a:lnTo>
                    <a:pt x="3529" y="446"/>
                  </a:lnTo>
                  <a:lnTo>
                    <a:pt x="3537" y="441"/>
                  </a:lnTo>
                  <a:lnTo>
                    <a:pt x="3545" y="436"/>
                  </a:lnTo>
                  <a:lnTo>
                    <a:pt x="3552" y="430"/>
                  </a:lnTo>
                  <a:lnTo>
                    <a:pt x="3557" y="423"/>
                  </a:lnTo>
                  <a:lnTo>
                    <a:pt x="3563" y="416"/>
                  </a:lnTo>
                  <a:lnTo>
                    <a:pt x="3567" y="409"/>
                  </a:lnTo>
                  <a:lnTo>
                    <a:pt x="3572" y="400"/>
                  </a:lnTo>
                  <a:lnTo>
                    <a:pt x="3574" y="391"/>
                  </a:lnTo>
                  <a:lnTo>
                    <a:pt x="3576" y="381"/>
                  </a:lnTo>
                  <a:lnTo>
                    <a:pt x="3577" y="371"/>
                  </a:lnTo>
                  <a:lnTo>
                    <a:pt x="3578" y="361"/>
                  </a:lnTo>
                  <a:lnTo>
                    <a:pt x="3578" y="95"/>
                  </a:lnTo>
                  <a:lnTo>
                    <a:pt x="3577" y="85"/>
                  </a:lnTo>
                  <a:lnTo>
                    <a:pt x="3576" y="75"/>
                  </a:lnTo>
                  <a:lnTo>
                    <a:pt x="3574" y="65"/>
                  </a:lnTo>
                  <a:lnTo>
                    <a:pt x="3572" y="57"/>
                  </a:lnTo>
                  <a:lnTo>
                    <a:pt x="3567" y="49"/>
                  </a:lnTo>
                  <a:lnTo>
                    <a:pt x="3563" y="41"/>
                  </a:lnTo>
                  <a:lnTo>
                    <a:pt x="3557" y="33"/>
                  </a:lnTo>
                  <a:lnTo>
                    <a:pt x="3552" y="27"/>
                  </a:lnTo>
                  <a:lnTo>
                    <a:pt x="3545" y="20"/>
                  </a:lnTo>
                  <a:lnTo>
                    <a:pt x="3537" y="16"/>
                  </a:lnTo>
                  <a:lnTo>
                    <a:pt x="3529" y="11"/>
                  </a:lnTo>
                  <a:lnTo>
                    <a:pt x="3521" y="7"/>
                  </a:lnTo>
                  <a:lnTo>
                    <a:pt x="3512" y="3"/>
                  </a:lnTo>
                  <a:lnTo>
                    <a:pt x="3503" y="1"/>
                  </a:lnTo>
                  <a:lnTo>
                    <a:pt x="3493" y="0"/>
                  </a:lnTo>
                  <a:lnTo>
                    <a:pt x="3482" y="0"/>
                  </a:lnTo>
                  <a:lnTo>
                    <a:pt x="2635" y="0"/>
                  </a:lnTo>
                  <a:lnTo>
                    <a:pt x="1789" y="0"/>
                  </a:lnTo>
                  <a:lnTo>
                    <a:pt x="942" y="0"/>
                  </a:lnTo>
                  <a:lnTo>
                    <a:pt x="96" y="0"/>
                  </a:lnTo>
                  <a:lnTo>
                    <a:pt x="85" y="0"/>
                  </a:lnTo>
                  <a:lnTo>
                    <a:pt x="75" y="1"/>
                  </a:lnTo>
                  <a:lnTo>
                    <a:pt x="66" y="3"/>
                  </a:lnTo>
                  <a:lnTo>
                    <a:pt x="58" y="7"/>
                  </a:lnTo>
                  <a:lnTo>
                    <a:pt x="49" y="11"/>
                  </a:lnTo>
                  <a:lnTo>
                    <a:pt x="41" y="16"/>
                  </a:lnTo>
                  <a:lnTo>
                    <a:pt x="33" y="20"/>
                  </a:lnTo>
                  <a:lnTo>
                    <a:pt x="27" y="27"/>
                  </a:lnTo>
                  <a:lnTo>
                    <a:pt x="21" y="33"/>
                  </a:lnTo>
                  <a:lnTo>
                    <a:pt x="16" y="41"/>
                  </a:lnTo>
                  <a:lnTo>
                    <a:pt x="11" y="49"/>
                  </a:lnTo>
                  <a:lnTo>
                    <a:pt x="8" y="57"/>
                  </a:lnTo>
                  <a:lnTo>
                    <a:pt x="4" y="65"/>
                  </a:lnTo>
                  <a:lnTo>
                    <a:pt x="2" y="75"/>
                  </a:lnTo>
                  <a:lnTo>
                    <a:pt x="1" y="85"/>
                  </a:lnTo>
                  <a:lnTo>
                    <a:pt x="0" y="95"/>
                  </a:lnTo>
                  <a:lnTo>
                    <a:pt x="0" y="36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Skatta Sans Regular" pitchFamily="50" charset="0"/>
              </a:endParaRPr>
            </a:p>
          </p:txBody>
        </p:sp>
      </p:grpSp>
      <p:sp>
        <p:nvSpPr>
          <p:cNvPr id="9" name="Freeform 12">
            <a:extLst>
              <a:ext uri="{FF2B5EF4-FFF2-40B4-BE49-F238E27FC236}">
                <a16:creationId xmlns:a16="http://schemas.microsoft.com/office/drawing/2014/main" id="{93FF1D09-DF5B-4D45-A726-D54896DDF346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10488488" y="692696"/>
            <a:ext cx="1007493" cy="1124563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564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lhue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12FAB5D-22FF-4472-A67A-C81B933065A5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RIA - RKL yrittäjäpäivä 1.11.202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3957D1D-CDAB-407B-B091-22FA3FB0C42F}"/>
              </a:ext>
            </a:extLst>
          </p:cNvPr>
          <p:cNvGrpSpPr/>
          <p:nvPr userDrawn="1"/>
        </p:nvGrpSpPr>
        <p:grpSpPr>
          <a:xfrm>
            <a:off x="0" y="4077072"/>
            <a:ext cx="9874285" cy="1872000"/>
            <a:chOff x="0" y="4077072"/>
            <a:chExt cx="9874285" cy="1872000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0A998A7F-A659-430D-A591-F7C9634F9E5F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0" y="4077072"/>
              <a:ext cx="9874285" cy="1872000"/>
            </a:xfrm>
            <a:custGeom>
              <a:avLst/>
              <a:gdLst>
                <a:gd name="T0" fmla="*/ 10894 w 23040"/>
                <a:gd name="T1" fmla="*/ 3037 h 4369"/>
                <a:gd name="T2" fmla="*/ 10931 w 23040"/>
                <a:gd name="T3" fmla="*/ 2661 h 4369"/>
                <a:gd name="T4" fmla="*/ 13479 w 23040"/>
                <a:gd name="T5" fmla="*/ 2241 h 4369"/>
                <a:gd name="T6" fmla="*/ 12981 w 23040"/>
                <a:gd name="T7" fmla="*/ 1865 h 4369"/>
                <a:gd name="T8" fmla="*/ 13222 w 23040"/>
                <a:gd name="T9" fmla="*/ 1543 h 4369"/>
                <a:gd name="T10" fmla="*/ 13525 w 23040"/>
                <a:gd name="T11" fmla="*/ 3907 h 4369"/>
                <a:gd name="T12" fmla="*/ 12729 w 23040"/>
                <a:gd name="T13" fmla="*/ 3813 h 4369"/>
                <a:gd name="T14" fmla="*/ 10912 w 23040"/>
                <a:gd name="T15" fmla="*/ 2402 h 4369"/>
                <a:gd name="T16" fmla="*/ 16652 w 23040"/>
                <a:gd name="T17" fmla="*/ 970 h 4369"/>
                <a:gd name="T18" fmla="*/ 16232 w 23040"/>
                <a:gd name="T19" fmla="*/ 332 h 4369"/>
                <a:gd name="T20" fmla="*/ 15103 w 23040"/>
                <a:gd name="T21" fmla="*/ 2262 h 4369"/>
                <a:gd name="T22" fmla="*/ 12814 w 23040"/>
                <a:gd name="T23" fmla="*/ 2991 h 4369"/>
                <a:gd name="T24" fmla="*/ 11678 w 23040"/>
                <a:gd name="T25" fmla="*/ 3172 h 4369"/>
                <a:gd name="T26" fmla="*/ 12355 w 23040"/>
                <a:gd name="T27" fmla="*/ 2838 h 4369"/>
                <a:gd name="T28" fmla="*/ 12184 w 23040"/>
                <a:gd name="T29" fmla="*/ 4304 h 4369"/>
                <a:gd name="T30" fmla="*/ 11739 w 23040"/>
                <a:gd name="T31" fmla="*/ 2627 h 4369"/>
                <a:gd name="T32" fmla="*/ 11666 w 23040"/>
                <a:gd name="T33" fmla="*/ 2291 h 4369"/>
                <a:gd name="T34" fmla="*/ 11184 w 23040"/>
                <a:gd name="T35" fmla="*/ 3107 h 4369"/>
                <a:gd name="T36" fmla="*/ 11469 w 23040"/>
                <a:gd name="T37" fmla="*/ 1044 h 4369"/>
                <a:gd name="T38" fmla="*/ 13150 w 23040"/>
                <a:gd name="T39" fmla="*/ 754 h 4369"/>
                <a:gd name="T40" fmla="*/ 16863 w 23040"/>
                <a:gd name="T41" fmla="*/ 4331 h 4369"/>
                <a:gd name="T42" fmla="*/ 14362 w 23040"/>
                <a:gd name="T43" fmla="*/ 3771 h 4369"/>
                <a:gd name="T44" fmla="*/ 14362 w 23040"/>
                <a:gd name="T45" fmla="*/ 3373 h 4369"/>
                <a:gd name="T46" fmla="*/ 14105 w 23040"/>
                <a:gd name="T47" fmla="*/ 3277 h 4369"/>
                <a:gd name="T48" fmla="*/ 14091 w 23040"/>
                <a:gd name="T49" fmla="*/ 2881 h 4369"/>
                <a:gd name="T50" fmla="*/ 20731 w 23040"/>
                <a:gd name="T51" fmla="*/ 4008 h 4369"/>
                <a:gd name="T52" fmla="*/ 19002 w 23040"/>
                <a:gd name="T53" fmla="*/ 3795 h 4369"/>
                <a:gd name="T54" fmla="*/ 19052 w 23040"/>
                <a:gd name="T55" fmla="*/ 3549 h 4369"/>
                <a:gd name="T56" fmla="*/ 19727 w 23040"/>
                <a:gd name="T57" fmla="*/ 3547 h 4369"/>
                <a:gd name="T58" fmla="*/ 21772 w 23040"/>
                <a:gd name="T59" fmla="*/ 1759 h 4369"/>
                <a:gd name="T60" fmla="*/ 20169 w 23040"/>
                <a:gd name="T61" fmla="*/ 1874 h 4369"/>
                <a:gd name="T62" fmla="*/ 18388 w 23040"/>
                <a:gd name="T63" fmla="*/ 2546 h 4369"/>
                <a:gd name="T64" fmla="*/ 19509 w 23040"/>
                <a:gd name="T65" fmla="*/ 3625 h 4369"/>
                <a:gd name="T66" fmla="*/ 18969 w 23040"/>
                <a:gd name="T67" fmla="*/ 3381 h 4369"/>
                <a:gd name="T68" fmla="*/ 2798 w 23040"/>
                <a:gd name="T69" fmla="*/ 3193 h 4369"/>
                <a:gd name="T70" fmla="*/ 440 w 23040"/>
                <a:gd name="T71" fmla="*/ 2751 h 4369"/>
                <a:gd name="T72" fmla="*/ 2868 w 23040"/>
                <a:gd name="T73" fmla="*/ 4141 h 4369"/>
                <a:gd name="T74" fmla="*/ 837 w 23040"/>
                <a:gd name="T75" fmla="*/ 3250 h 4369"/>
                <a:gd name="T76" fmla="*/ 823 w 23040"/>
                <a:gd name="T77" fmla="*/ 3336 h 4369"/>
                <a:gd name="T78" fmla="*/ 1107 w 23040"/>
                <a:gd name="T79" fmla="*/ 3717 h 4369"/>
                <a:gd name="T80" fmla="*/ 1080 w 23040"/>
                <a:gd name="T81" fmla="*/ 3810 h 4369"/>
                <a:gd name="T82" fmla="*/ 188 w 23040"/>
                <a:gd name="T83" fmla="*/ 1799 h 4369"/>
                <a:gd name="T84" fmla="*/ 2556 w 23040"/>
                <a:gd name="T85" fmla="*/ 2016 h 4369"/>
                <a:gd name="T86" fmla="*/ 2583 w 23040"/>
                <a:gd name="T87" fmla="*/ 2578 h 4369"/>
                <a:gd name="T88" fmla="*/ 8182 w 23040"/>
                <a:gd name="T89" fmla="*/ 2792 h 4369"/>
                <a:gd name="T90" fmla="*/ 9070 w 23040"/>
                <a:gd name="T91" fmla="*/ 2753 h 4369"/>
                <a:gd name="T92" fmla="*/ 6863 w 23040"/>
                <a:gd name="T93" fmla="*/ 2176 h 4369"/>
                <a:gd name="T94" fmla="*/ 6215 w 23040"/>
                <a:gd name="T95" fmla="*/ 2702 h 4369"/>
                <a:gd name="T96" fmla="*/ 7097 w 23040"/>
                <a:gd name="T97" fmla="*/ 2957 h 4369"/>
                <a:gd name="T98" fmla="*/ 6454 w 23040"/>
                <a:gd name="T99" fmla="*/ 3498 h 4369"/>
                <a:gd name="T100" fmla="*/ 6384 w 23040"/>
                <a:gd name="T101" fmla="*/ 4003 h 4369"/>
                <a:gd name="T102" fmla="*/ 8037 w 23040"/>
                <a:gd name="T103" fmla="*/ 2925 h 4369"/>
                <a:gd name="T104" fmla="*/ 8332 w 23040"/>
                <a:gd name="T105" fmla="*/ 3308 h 4369"/>
                <a:gd name="T106" fmla="*/ 8296 w 23040"/>
                <a:gd name="T107" fmla="*/ 3424 h 4369"/>
                <a:gd name="T108" fmla="*/ 8598 w 23040"/>
                <a:gd name="T109" fmla="*/ 3792 h 4369"/>
                <a:gd name="T110" fmla="*/ 5650 w 23040"/>
                <a:gd name="T111" fmla="*/ 1956 h 4369"/>
                <a:gd name="T112" fmla="*/ 8119 w 23040"/>
                <a:gd name="T113" fmla="*/ 245 h 4369"/>
                <a:gd name="T114" fmla="*/ 4680 w 23040"/>
                <a:gd name="T115" fmla="*/ 942 h 4369"/>
                <a:gd name="T116" fmla="*/ 5027 w 23040"/>
                <a:gd name="T117" fmla="*/ 2616 h 4369"/>
                <a:gd name="T118" fmla="*/ 4991 w 23040"/>
                <a:gd name="T119" fmla="*/ 2732 h 4369"/>
                <a:gd name="T120" fmla="*/ 5292 w 23040"/>
                <a:gd name="T121" fmla="*/ 3101 h 4369"/>
                <a:gd name="T122" fmla="*/ 5252 w 23040"/>
                <a:gd name="T123" fmla="*/ 3235 h 4369"/>
                <a:gd name="T124" fmla="*/ 3326 w 23040"/>
                <a:gd name="T125" fmla="*/ 3951 h 4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040" h="4369">
                  <a:moveTo>
                    <a:pt x="10933" y="3163"/>
                  </a:moveTo>
                  <a:lnTo>
                    <a:pt x="10933" y="3274"/>
                  </a:lnTo>
                  <a:lnTo>
                    <a:pt x="10931" y="3283"/>
                  </a:lnTo>
                  <a:lnTo>
                    <a:pt x="10926" y="3290"/>
                  </a:lnTo>
                  <a:lnTo>
                    <a:pt x="10920" y="3294"/>
                  </a:lnTo>
                  <a:lnTo>
                    <a:pt x="10912" y="3295"/>
                  </a:lnTo>
                  <a:lnTo>
                    <a:pt x="10906" y="3294"/>
                  </a:lnTo>
                  <a:lnTo>
                    <a:pt x="10899" y="3290"/>
                  </a:lnTo>
                  <a:lnTo>
                    <a:pt x="10894" y="3283"/>
                  </a:lnTo>
                  <a:lnTo>
                    <a:pt x="10893" y="3274"/>
                  </a:lnTo>
                  <a:lnTo>
                    <a:pt x="10893" y="3163"/>
                  </a:lnTo>
                  <a:lnTo>
                    <a:pt x="10894" y="3154"/>
                  </a:lnTo>
                  <a:lnTo>
                    <a:pt x="10899" y="3148"/>
                  </a:lnTo>
                  <a:lnTo>
                    <a:pt x="10906" y="3144"/>
                  </a:lnTo>
                  <a:lnTo>
                    <a:pt x="10912" y="3143"/>
                  </a:lnTo>
                  <a:lnTo>
                    <a:pt x="10920" y="3144"/>
                  </a:lnTo>
                  <a:lnTo>
                    <a:pt x="10926" y="3148"/>
                  </a:lnTo>
                  <a:lnTo>
                    <a:pt x="10931" y="3154"/>
                  </a:lnTo>
                  <a:lnTo>
                    <a:pt x="10933" y="3163"/>
                  </a:lnTo>
                  <a:close/>
                  <a:moveTo>
                    <a:pt x="10670" y="3163"/>
                  </a:moveTo>
                  <a:lnTo>
                    <a:pt x="10670" y="3274"/>
                  </a:lnTo>
                  <a:lnTo>
                    <a:pt x="10669" y="3283"/>
                  </a:lnTo>
                  <a:lnTo>
                    <a:pt x="10663" y="3290"/>
                  </a:lnTo>
                  <a:lnTo>
                    <a:pt x="10657" y="3294"/>
                  </a:lnTo>
                  <a:lnTo>
                    <a:pt x="10649" y="3295"/>
                  </a:lnTo>
                  <a:lnTo>
                    <a:pt x="10643" y="3294"/>
                  </a:lnTo>
                  <a:lnTo>
                    <a:pt x="10637" y="3290"/>
                  </a:lnTo>
                  <a:lnTo>
                    <a:pt x="10631" y="3283"/>
                  </a:lnTo>
                  <a:lnTo>
                    <a:pt x="10630" y="3274"/>
                  </a:lnTo>
                  <a:lnTo>
                    <a:pt x="10630" y="3163"/>
                  </a:lnTo>
                  <a:lnTo>
                    <a:pt x="10631" y="3154"/>
                  </a:lnTo>
                  <a:lnTo>
                    <a:pt x="10637" y="3148"/>
                  </a:lnTo>
                  <a:lnTo>
                    <a:pt x="10643" y="3144"/>
                  </a:lnTo>
                  <a:lnTo>
                    <a:pt x="10649" y="3143"/>
                  </a:lnTo>
                  <a:lnTo>
                    <a:pt x="10657" y="3144"/>
                  </a:lnTo>
                  <a:lnTo>
                    <a:pt x="10663" y="3148"/>
                  </a:lnTo>
                  <a:lnTo>
                    <a:pt x="10669" y="3154"/>
                  </a:lnTo>
                  <a:lnTo>
                    <a:pt x="10670" y="3163"/>
                  </a:lnTo>
                  <a:close/>
                  <a:moveTo>
                    <a:pt x="10407" y="3163"/>
                  </a:moveTo>
                  <a:lnTo>
                    <a:pt x="10407" y="3274"/>
                  </a:lnTo>
                  <a:lnTo>
                    <a:pt x="10404" y="3283"/>
                  </a:lnTo>
                  <a:lnTo>
                    <a:pt x="10401" y="3290"/>
                  </a:lnTo>
                  <a:lnTo>
                    <a:pt x="10394" y="3294"/>
                  </a:lnTo>
                  <a:lnTo>
                    <a:pt x="10386" y="3295"/>
                  </a:lnTo>
                  <a:lnTo>
                    <a:pt x="10379" y="3294"/>
                  </a:lnTo>
                  <a:lnTo>
                    <a:pt x="10372" y="3290"/>
                  </a:lnTo>
                  <a:lnTo>
                    <a:pt x="10369" y="3283"/>
                  </a:lnTo>
                  <a:lnTo>
                    <a:pt x="10366" y="3274"/>
                  </a:lnTo>
                  <a:lnTo>
                    <a:pt x="10366" y="3163"/>
                  </a:lnTo>
                  <a:lnTo>
                    <a:pt x="10369" y="3154"/>
                  </a:lnTo>
                  <a:lnTo>
                    <a:pt x="10372" y="3148"/>
                  </a:lnTo>
                  <a:lnTo>
                    <a:pt x="10379" y="3144"/>
                  </a:lnTo>
                  <a:lnTo>
                    <a:pt x="10386" y="3143"/>
                  </a:lnTo>
                  <a:lnTo>
                    <a:pt x="10394" y="3144"/>
                  </a:lnTo>
                  <a:lnTo>
                    <a:pt x="10401" y="3148"/>
                  </a:lnTo>
                  <a:lnTo>
                    <a:pt x="10404" y="3154"/>
                  </a:lnTo>
                  <a:lnTo>
                    <a:pt x="10407" y="3163"/>
                  </a:lnTo>
                  <a:close/>
                  <a:moveTo>
                    <a:pt x="10143" y="3163"/>
                  </a:moveTo>
                  <a:lnTo>
                    <a:pt x="10143" y="3274"/>
                  </a:lnTo>
                  <a:lnTo>
                    <a:pt x="10142" y="3283"/>
                  </a:lnTo>
                  <a:lnTo>
                    <a:pt x="10138" y="3290"/>
                  </a:lnTo>
                  <a:lnTo>
                    <a:pt x="10131" y="3294"/>
                  </a:lnTo>
                  <a:lnTo>
                    <a:pt x="10124" y="3295"/>
                  </a:lnTo>
                  <a:lnTo>
                    <a:pt x="10116" y="3294"/>
                  </a:lnTo>
                  <a:lnTo>
                    <a:pt x="10109" y="3290"/>
                  </a:lnTo>
                  <a:lnTo>
                    <a:pt x="10106" y="3283"/>
                  </a:lnTo>
                  <a:lnTo>
                    <a:pt x="10103" y="3274"/>
                  </a:lnTo>
                  <a:lnTo>
                    <a:pt x="10103" y="3163"/>
                  </a:lnTo>
                  <a:lnTo>
                    <a:pt x="10106" y="3154"/>
                  </a:lnTo>
                  <a:lnTo>
                    <a:pt x="10109" y="3148"/>
                  </a:lnTo>
                  <a:lnTo>
                    <a:pt x="10116" y="3144"/>
                  </a:lnTo>
                  <a:lnTo>
                    <a:pt x="10124" y="3143"/>
                  </a:lnTo>
                  <a:lnTo>
                    <a:pt x="10131" y="3144"/>
                  </a:lnTo>
                  <a:lnTo>
                    <a:pt x="10138" y="3148"/>
                  </a:lnTo>
                  <a:lnTo>
                    <a:pt x="10142" y="3154"/>
                  </a:lnTo>
                  <a:lnTo>
                    <a:pt x="10143" y="3163"/>
                  </a:lnTo>
                  <a:close/>
                  <a:moveTo>
                    <a:pt x="9880" y="3163"/>
                  </a:moveTo>
                  <a:lnTo>
                    <a:pt x="9880" y="3274"/>
                  </a:lnTo>
                  <a:lnTo>
                    <a:pt x="9879" y="3283"/>
                  </a:lnTo>
                  <a:lnTo>
                    <a:pt x="9874" y="3290"/>
                  </a:lnTo>
                  <a:lnTo>
                    <a:pt x="9867" y="3294"/>
                  </a:lnTo>
                  <a:lnTo>
                    <a:pt x="9861" y="3295"/>
                  </a:lnTo>
                  <a:lnTo>
                    <a:pt x="9853" y="3294"/>
                  </a:lnTo>
                  <a:lnTo>
                    <a:pt x="9847" y="3290"/>
                  </a:lnTo>
                  <a:lnTo>
                    <a:pt x="9841" y="3283"/>
                  </a:lnTo>
                  <a:lnTo>
                    <a:pt x="9840" y="3274"/>
                  </a:lnTo>
                  <a:lnTo>
                    <a:pt x="9840" y="3163"/>
                  </a:lnTo>
                  <a:lnTo>
                    <a:pt x="9841" y="3154"/>
                  </a:lnTo>
                  <a:lnTo>
                    <a:pt x="9847" y="3148"/>
                  </a:lnTo>
                  <a:lnTo>
                    <a:pt x="9853" y="3144"/>
                  </a:lnTo>
                  <a:lnTo>
                    <a:pt x="9861" y="3143"/>
                  </a:lnTo>
                  <a:lnTo>
                    <a:pt x="9867" y="3144"/>
                  </a:lnTo>
                  <a:lnTo>
                    <a:pt x="9874" y="3148"/>
                  </a:lnTo>
                  <a:lnTo>
                    <a:pt x="9879" y="3154"/>
                  </a:lnTo>
                  <a:lnTo>
                    <a:pt x="9880" y="3163"/>
                  </a:lnTo>
                  <a:close/>
                  <a:moveTo>
                    <a:pt x="9617" y="3163"/>
                  </a:moveTo>
                  <a:lnTo>
                    <a:pt x="9617" y="3274"/>
                  </a:lnTo>
                  <a:lnTo>
                    <a:pt x="9616" y="3283"/>
                  </a:lnTo>
                  <a:lnTo>
                    <a:pt x="9611" y="3290"/>
                  </a:lnTo>
                  <a:lnTo>
                    <a:pt x="9604" y="3294"/>
                  </a:lnTo>
                  <a:lnTo>
                    <a:pt x="9598" y="3295"/>
                  </a:lnTo>
                  <a:lnTo>
                    <a:pt x="9590" y="3294"/>
                  </a:lnTo>
                  <a:lnTo>
                    <a:pt x="9584" y="3290"/>
                  </a:lnTo>
                  <a:lnTo>
                    <a:pt x="9579" y="3283"/>
                  </a:lnTo>
                  <a:lnTo>
                    <a:pt x="9577" y="3274"/>
                  </a:lnTo>
                  <a:lnTo>
                    <a:pt x="9577" y="3163"/>
                  </a:lnTo>
                  <a:lnTo>
                    <a:pt x="9579" y="3154"/>
                  </a:lnTo>
                  <a:lnTo>
                    <a:pt x="9584" y="3148"/>
                  </a:lnTo>
                  <a:lnTo>
                    <a:pt x="9590" y="3144"/>
                  </a:lnTo>
                  <a:lnTo>
                    <a:pt x="9598" y="3143"/>
                  </a:lnTo>
                  <a:lnTo>
                    <a:pt x="9604" y="3144"/>
                  </a:lnTo>
                  <a:lnTo>
                    <a:pt x="9611" y="3148"/>
                  </a:lnTo>
                  <a:lnTo>
                    <a:pt x="9616" y="3154"/>
                  </a:lnTo>
                  <a:lnTo>
                    <a:pt x="9617" y="3163"/>
                  </a:lnTo>
                  <a:close/>
                  <a:moveTo>
                    <a:pt x="10933" y="2916"/>
                  </a:moveTo>
                  <a:lnTo>
                    <a:pt x="10933" y="3028"/>
                  </a:lnTo>
                  <a:lnTo>
                    <a:pt x="10931" y="3037"/>
                  </a:lnTo>
                  <a:lnTo>
                    <a:pt x="10926" y="3043"/>
                  </a:lnTo>
                  <a:lnTo>
                    <a:pt x="10920" y="3047"/>
                  </a:lnTo>
                  <a:lnTo>
                    <a:pt x="10912" y="3048"/>
                  </a:lnTo>
                  <a:lnTo>
                    <a:pt x="10906" y="3047"/>
                  </a:lnTo>
                  <a:lnTo>
                    <a:pt x="10899" y="3043"/>
                  </a:lnTo>
                  <a:lnTo>
                    <a:pt x="10894" y="3037"/>
                  </a:lnTo>
                  <a:lnTo>
                    <a:pt x="10893" y="3028"/>
                  </a:lnTo>
                  <a:lnTo>
                    <a:pt x="10893" y="2916"/>
                  </a:lnTo>
                  <a:lnTo>
                    <a:pt x="10894" y="2907"/>
                  </a:lnTo>
                  <a:lnTo>
                    <a:pt x="10899" y="2901"/>
                  </a:lnTo>
                  <a:lnTo>
                    <a:pt x="10906" y="2897"/>
                  </a:lnTo>
                  <a:lnTo>
                    <a:pt x="10912" y="2896"/>
                  </a:lnTo>
                  <a:lnTo>
                    <a:pt x="10920" y="2897"/>
                  </a:lnTo>
                  <a:lnTo>
                    <a:pt x="10926" y="2901"/>
                  </a:lnTo>
                  <a:lnTo>
                    <a:pt x="10931" y="2907"/>
                  </a:lnTo>
                  <a:lnTo>
                    <a:pt x="10933" y="2916"/>
                  </a:lnTo>
                  <a:close/>
                  <a:moveTo>
                    <a:pt x="10670" y="2916"/>
                  </a:moveTo>
                  <a:lnTo>
                    <a:pt x="10670" y="3028"/>
                  </a:lnTo>
                  <a:lnTo>
                    <a:pt x="10669" y="3037"/>
                  </a:lnTo>
                  <a:lnTo>
                    <a:pt x="10663" y="3043"/>
                  </a:lnTo>
                  <a:lnTo>
                    <a:pt x="10657" y="3047"/>
                  </a:lnTo>
                  <a:lnTo>
                    <a:pt x="10649" y="3048"/>
                  </a:lnTo>
                  <a:lnTo>
                    <a:pt x="10643" y="3047"/>
                  </a:lnTo>
                  <a:lnTo>
                    <a:pt x="10637" y="3043"/>
                  </a:lnTo>
                  <a:lnTo>
                    <a:pt x="10631" y="3037"/>
                  </a:lnTo>
                  <a:lnTo>
                    <a:pt x="10630" y="3028"/>
                  </a:lnTo>
                  <a:lnTo>
                    <a:pt x="10630" y="2916"/>
                  </a:lnTo>
                  <a:lnTo>
                    <a:pt x="10631" y="2907"/>
                  </a:lnTo>
                  <a:lnTo>
                    <a:pt x="10637" y="2901"/>
                  </a:lnTo>
                  <a:lnTo>
                    <a:pt x="10643" y="2897"/>
                  </a:lnTo>
                  <a:lnTo>
                    <a:pt x="10649" y="2896"/>
                  </a:lnTo>
                  <a:lnTo>
                    <a:pt x="10657" y="2897"/>
                  </a:lnTo>
                  <a:lnTo>
                    <a:pt x="10663" y="2901"/>
                  </a:lnTo>
                  <a:lnTo>
                    <a:pt x="10669" y="2907"/>
                  </a:lnTo>
                  <a:lnTo>
                    <a:pt x="10670" y="2916"/>
                  </a:lnTo>
                  <a:close/>
                  <a:moveTo>
                    <a:pt x="10407" y="2916"/>
                  </a:moveTo>
                  <a:lnTo>
                    <a:pt x="10407" y="3028"/>
                  </a:lnTo>
                  <a:lnTo>
                    <a:pt x="10404" y="3037"/>
                  </a:lnTo>
                  <a:lnTo>
                    <a:pt x="10401" y="3043"/>
                  </a:lnTo>
                  <a:lnTo>
                    <a:pt x="10394" y="3047"/>
                  </a:lnTo>
                  <a:lnTo>
                    <a:pt x="10386" y="3048"/>
                  </a:lnTo>
                  <a:lnTo>
                    <a:pt x="10379" y="3047"/>
                  </a:lnTo>
                  <a:lnTo>
                    <a:pt x="10372" y="3043"/>
                  </a:lnTo>
                  <a:lnTo>
                    <a:pt x="10369" y="3037"/>
                  </a:lnTo>
                  <a:lnTo>
                    <a:pt x="10366" y="3028"/>
                  </a:lnTo>
                  <a:lnTo>
                    <a:pt x="10366" y="2916"/>
                  </a:lnTo>
                  <a:lnTo>
                    <a:pt x="10369" y="2907"/>
                  </a:lnTo>
                  <a:lnTo>
                    <a:pt x="10372" y="2901"/>
                  </a:lnTo>
                  <a:lnTo>
                    <a:pt x="10379" y="2897"/>
                  </a:lnTo>
                  <a:lnTo>
                    <a:pt x="10386" y="2896"/>
                  </a:lnTo>
                  <a:lnTo>
                    <a:pt x="10394" y="2897"/>
                  </a:lnTo>
                  <a:lnTo>
                    <a:pt x="10401" y="2901"/>
                  </a:lnTo>
                  <a:lnTo>
                    <a:pt x="10404" y="2907"/>
                  </a:lnTo>
                  <a:lnTo>
                    <a:pt x="10407" y="2916"/>
                  </a:lnTo>
                  <a:close/>
                  <a:moveTo>
                    <a:pt x="10143" y="2916"/>
                  </a:moveTo>
                  <a:lnTo>
                    <a:pt x="10143" y="3028"/>
                  </a:lnTo>
                  <a:lnTo>
                    <a:pt x="10142" y="3037"/>
                  </a:lnTo>
                  <a:lnTo>
                    <a:pt x="10138" y="3043"/>
                  </a:lnTo>
                  <a:lnTo>
                    <a:pt x="10131" y="3047"/>
                  </a:lnTo>
                  <a:lnTo>
                    <a:pt x="10124" y="3048"/>
                  </a:lnTo>
                  <a:lnTo>
                    <a:pt x="10116" y="3047"/>
                  </a:lnTo>
                  <a:lnTo>
                    <a:pt x="10109" y="3043"/>
                  </a:lnTo>
                  <a:lnTo>
                    <a:pt x="10106" y="3037"/>
                  </a:lnTo>
                  <a:lnTo>
                    <a:pt x="10103" y="3028"/>
                  </a:lnTo>
                  <a:lnTo>
                    <a:pt x="10103" y="2916"/>
                  </a:lnTo>
                  <a:lnTo>
                    <a:pt x="10106" y="2907"/>
                  </a:lnTo>
                  <a:lnTo>
                    <a:pt x="10109" y="2901"/>
                  </a:lnTo>
                  <a:lnTo>
                    <a:pt x="10116" y="2897"/>
                  </a:lnTo>
                  <a:lnTo>
                    <a:pt x="10124" y="2896"/>
                  </a:lnTo>
                  <a:lnTo>
                    <a:pt x="10131" y="2897"/>
                  </a:lnTo>
                  <a:lnTo>
                    <a:pt x="10138" y="2901"/>
                  </a:lnTo>
                  <a:lnTo>
                    <a:pt x="10142" y="2907"/>
                  </a:lnTo>
                  <a:lnTo>
                    <a:pt x="10143" y="2916"/>
                  </a:lnTo>
                  <a:close/>
                  <a:moveTo>
                    <a:pt x="9880" y="2916"/>
                  </a:moveTo>
                  <a:lnTo>
                    <a:pt x="9880" y="3028"/>
                  </a:lnTo>
                  <a:lnTo>
                    <a:pt x="9879" y="3037"/>
                  </a:lnTo>
                  <a:lnTo>
                    <a:pt x="9874" y="3043"/>
                  </a:lnTo>
                  <a:lnTo>
                    <a:pt x="9867" y="3047"/>
                  </a:lnTo>
                  <a:lnTo>
                    <a:pt x="9861" y="3048"/>
                  </a:lnTo>
                  <a:lnTo>
                    <a:pt x="9853" y="3047"/>
                  </a:lnTo>
                  <a:lnTo>
                    <a:pt x="9847" y="3043"/>
                  </a:lnTo>
                  <a:lnTo>
                    <a:pt x="9841" y="3037"/>
                  </a:lnTo>
                  <a:lnTo>
                    <a:pt x="9840" y="3028"/>
                  </a:lnTo>
                  <a:lnTo>
                    <a:pt x="9840" y="2916"/>
                  </a:lnTo>
                  <a:lnTo>
                    <a:pt x="9841" y="2907"/>
                  </a:lnTo>
                  <a:lnTo>
                    <a:pt x="9847" y="2901"/>
                  </a:lnTo>
                  <a:lnTo>
                    <a:pt x="9853" y="2897"/>
                  </a:lnTo>
                  <a:lnTo>
                    <a:pt x="9861" y="2896"/>
                  </a:lnTo>
                  <a:lnTo>
                    <a:pt x="9867" y="2897"/>
                  </a:lnTo>
                  <a:lnTo>
                    <a:pt x="9874" y="2901"/>
                  </a:lnTo>
                  <a:lnTo>
                    <a:pt x="9879" y="2907"/>
                  </a:lnTo>
                  <a:lnTo>
                    <a:pt x="9880" y="2916"/>
                  </a:lnTo>
                  <a:close/>
                  <a:moveTo>
                    <a:pt x="9617" y="2916"/>
                  </a:moveTo>
                  <a:lnTo>
                    <a:pt x="9617" y="3028"/>
                  </a:lnTo>
                  <a:lnTo>
                    <a:pt x="9616" y="3037"/>
                  </a:lnTo>
                  <a:lnTo>
                    <a:pt x="9611" y="3043"/>
                  </a:lnTo>
                  <a:lnTo>
                    <a:pt x="9604" y="3047"/>
                  </a:lnTo>
                  <a:lnTo>
                    <a:pt x="9598" y="3048"/>
                  </a:lnTo>
                  <a:lnTo>
                    <a:pt x="9590" y="3047"/>
                  </a:lnTo>
                  <a:lnTo>
                    <a:pt x="9584" y="3043"/>
                  </a:lnTo>
                  <a:lnTo>
                    <a:pt x="9579" y="3037"/>
                  </a:lnTo>
                  <a:lnTo>
                    <a:pt x="9577" y="3028"/>
                  </a:lnTo>
                  <a:lnTo>
                    <a:pt x="9577" y="2916"/>
                  </a:lnTo>
                  <a:lnTo>
                    <a:pt x="9579" y="2907"/>
                  </a:lnTo>
                  <a:lnTo>
                    <a:pt x="9584" y="2901"/>
                  </a:lnTo>
                  <a:lnTo>
                    <a:pt x="9590" y="2897"/>
                  </a:lnTo>
                  <a:lnTo>
                    <a:pt x="9598" y="2896"/>
                  </a:lnTo>
                  <a:lnTo>
                    <a:pt x="9604" y="2897"/>
                  </a:lnTo>
                  <a:lnTo>
                    <a:pt x="9611" y="2901"/>
                  </a:lnTo>
                  <a:lnTo>
                    <a:pt x="9616" y="2907"/>
                  </a:lnTo>
                  <a:lnTo>
                    <a:pt x="9617" y="2916"/>
                  </a:lnTo>
                  <a:close/>
                  <a:moveTo>
                    <a:pt x="10933" y="2670"/>
                  </a:moveTo>
                  <a:lnTo>
                    <a:pt x="10933" y="2782"/>
                  </a:lnTo>
                  <a:lnTo>
                    <a:pt x="10931" y="2790"/>
                  </a:lnTo>
                  <a:lnTo>
                    <a:pt x="10926" y="2796"/>
                  </a:lnTo>
                  <a:lnTo>
                    <a:pt x="10920" y="2800"/>
                  </a:lnTo>
                  <a:lnTo>
                    <a:pt x="10912" y="2801"/>
                  </a:lnTo>
                  <a:lnTo>
                    <a:pt x="10906" y="2800"/>
                  </a:lnTo>
                  <a:lnTo>
                    <a:pt x="10899" y="2796"/>
                  </a:lnTo>
                  <a:lnTo>
                    <a:pt x="10894" y="2790"/>
                  </a:lnTo>
                  <a:lnTo>
                    <a:pt x="10893" y="2782"/>
                  </a:lnTo>
                  <a:lnTo>
                    <a:pt x="10893" y="2670"/>
                  </a:lnTo>
                  <a:lnTo>
                    <a:pt x="10894" y="2661"/>
                  </a:lnTo>
                  <a:lnTo>
                    <a:pt x="10899" y="2654"/>
                  </a:lnTo>
                  <a:lnTo>
                    <a:pt x="10906" y="2650"/>
                  </a:lnTo>
                  <a:lnTo>
                    <a:pt x="10912" y="2649"/>
                  </a:lnTo>
                  <a:lnTo>
                    <a:pt x="10920" y="2650"/>
                  </a:lnTo>
                  <a:lnTo>
                    <a:pt x="10926" y="2654"/>
                  </a:lnTo>
                  <a:lnTo>
                    <a:pt x="10931" y="2661"/>
                  </a:lnTo>
                  <a:lnTo>
                    <a:pt x="10933" y="2670"/>
                  </a:lnTo>
                  <a:close/>
                  <a:moveTo>
                    <a:pt x="10670" y="2670"/>
                  </a:moveTo>
                  <a:lnTo>
                    <a:pt x="10670" y="2782"/>
                  </a:lnTo>
                  <a:lnTo>
                    <a:pt x="10669" y="2790"/>
                  </a:lnTo>
                  <a:lnTo>
                    <a:pt x="10663" y="2796"/>
                  </a:lnTo>
                  <a:lnTo>
                    <a:pt x="10657" y="2800"/>
                  </a:lnTo>
                  <a:lnTo>
                    <a:pt x="10649" y="2801"/>
                  </a:lnTo>
                  <a:lnTo>
                    <a:pt x="10643" y="2800"/>
                  </a:lnTo>
                  <a:lnTo>
                    <a:pt x="10637" y="2796"/>
                  </a:lnTo>
                  <a:lnTo>
                    <a:pt x="10631" y="2790"/>
                  </a:lnTo>
                  <a:lnTo>
                    <a:pt x="10630" y="2782"/>
                  </a:lnTo>
                  <a:lnTo>
                    <a:pt x="10630" y="2670"/>
                  </a:lnTo>
                  <a:lnTo>
                    <a:pt x="10631" y="2661"/>
                  </a:lnTo>
                  <a:lnTo>
                    <a:pt x="10637" y="2654"/>
                  </a:lnTo>
                  <a:lnTo>
                    <a:pt x="10643" y="2650"/>
                  </a:lnTo>
                  <a:lnTo>
                    <a:pt x="10649" y="2649"/>
                  </a:lnTo>
                  <a:lnTo>
                    <a:pt x="10657" y="2650"/>
                  </a:lnTo>
                  <a:lnTo>
                    <a:pt x="10663" y="2654"/>
                  </a:lnTo>
                  <a:lnTo>
                    <a:pt x="10669" y="2661"/>
                  </a:lnTo>
                  <a:lnTo>
                    <a:pt x="10670" y="2670"/>
                  </a:lnTo>
                  <a:close/>
                  <a:moveTo>
                    <a:pt x="10407" y="2670"/>
                  </a:moveTo>
                  <a:lnTo>
                    <a:pt x="10407" y="2782"/>
                  </a:lnTo>
                  <a:lnTo>
                    <a:pt x="10404" y="2790"/>
                  </a:lnTo>
                  <a:lnTo>
                    <a:pt x="10401" y="2796"/>
                  </a:lnTo>
                  <a:lnTo>
                    <a:pt x="10394" y="2800"/>
                  </a:lnTo>
                  <a:lnTo>
                    <a:pt x="10386" y="2801"/>
                  </a:lnTo>
                  <a:lnTo>
                    <a:pt x="10379" y="2800"/>
                  </a:lnTo>
                  <a:lnTo>
                    <a:pt x="10372" y="2796"/>
                  </a:lnTo>
                  <a:lnTo>
                    <a:pt x="10369" y="2790"/>
                  </a:lnTo>
                  <a:lnTo>
                    <a:pt x="10366" y="2782"/>
                  </a:lnTo>
                  <a:lnTo>
                    <a:pt x="10366" y="2670"/>
                  </a:lnTo>
                  <a:lnTo>
                    <a:pt x="10369" y="2661"/>
                  </a:lnTo>
                  <a:lnTo>
                    <a:pt x="10372" y="2654"/>
                  </a:lnTo>
                  <a:lnTo>
                    <a:pt x="10379" y="2650"/>
                  </a:lnTo>
                  <a:lnTo>
                    <a:pt x="10386" y="2649"/>
                  </a:lnTo>
                  <a:lnTo>
                    <a:pt x="10394" y="2650"/>
                  </a:lnTo>
                  <a:lnTo>
                    <a:pt x="10401" y="2654"/>
                  </a:lnTo>
                  <a:lnTo>
                    <a:pt x="10404" y="2661"/>
                  </a:lnTo>
                  <a:lnTo>
                    <a:pt x="10407" y="2670"/>
                  </a:lnTo>
                  <a:close/>
                  <a:moveTo>
                    <a:pt x="10143" y="2670"/>
                  </a:moveTo>
                  <a:lnTo>
                    <a:pt x="10143" y="2782"/>
                  </a:lnTo>
                  <a:lnTo>
                    <a:pt x="10142" y="2790"/>
                  </a:lnTo>
                  <a:lnTo>
                    <a:pt x="10138" y="2796"/>
                  </a:lnTo>
                  <a:lnTo>
                    <a:pt x="10131" y="2800"/>
                  </a:lnTo>
                  <a:lnTo>
                    <a:pt x="10124" y="2801"/>
                  </a:lnTo>
                  <a:lnTo>
                    <a:pt x="10116" y="2800"/>
                  </a:lnTo>
                  <a:lnTo>
                    <a:pt x="10109" y="2796"/>
                  </a:lnTo>
                  <a:lnTo>
                    <a:pt x="10106" y="2790"/>
                  </a:lnTo>
                  <a:lnTo>
                    <a:pt x="10103" y="2782"/>
                  </a:lnTo>
                  <a:lnTo>
                    <a:pt x="10103" y="2670"/>
                  </a:lnTo>
                  <a:lnTo>
                    <a:pt x="10106" y="2661"/>
                  </a:lnTo>
                  <a:lnTo>
                    <a:pt x="10109" y="2654"/>
                  </a:lnTo>
                  <a:lnTo>
                    <a:pt x="10116" y="2650"/>
                  </a:lnTo>
                  <a:lnTo>
                    <a:pt x="10124" y="2649"/>
                  </a:lnTo>
                  <a:lnTo>
                    <a:pt x="10131" y="2650"/>
                  </a:lnTo>
                  <a:lnTo>
                    <a:pt x="10138" y="2654"/>
                  </a:lnTo>
                  <a:lnTo>
                    <a:pt x="10142" y="2661"/>
                  </a:lnTo>
                  <a:lnTo>
                    <a:pt x="10143" y="2670"/>
                  </a:lnTo>
                  <a:close/>
                  <a:moveTo>
                    <a:pt x="9880" y="2670"/>
                  </a:moveTo>
                  <a:lnTo>
                    <a:pt x="9880" y="2782"/>
                  </a:lnTo>
                  <a:lnTo>
                    <a:pt x="9879" y="2790"/>
                  </a:lnTo>
                  <a:lnTo>
                    <a:pt x="9874" y="2796"/>
                  </a:lnTo>
                  <a:lnTo>
                    <a:pt x="9867" y="2800"/>
                  </a:lnTo>
                  <a:lnTo>
                    <a:pt x="9861" y="2801"/>
                  </a:lnTo>
                  <a:lnTo>
                    <a:pt x="9853" y="2800"/>
                  </a:lnTo>
                  <a:lnTo>
                    <a:pt x="9847" y="2796"/>
                  </a:lnTo>
                  <a:lnTo>
                    <a:pt x="9841" y="2790"/>
                  </a:lnTo>
                  <a:lnTo>
                    <a:pt x="9840" y="2782"/>
                  </a:lnTo>
                  <a:lnTo>
                    <a:pt x="9840" y="2670"/>
                  </a:lnTo>
                  <a:lnTo>
                    <a:pt x="9841" y="2661"/>
                  </a:lnTo>
                  <a:lnTo>
                    <a:pt x="9847" y="2654"/>
                  </a:lnTo>
                  <a:lnTo>
                    <a:pt x="9853" y="2650"/>
                  </a:lnTo>
                  <a:lnTo>
                    <a:pt x="9861" y="2649"/>
                  </a:lnTo>
                  <a:lnTo>
                    <a:pt x="9867" y="2650"/>
                  </a:lnTo>
                  <a:lnTo>
                    <a:pt x="9874" y="2654"/>
                  </a:lnTo>
                  <a:lnTo>
                    <a:pt x="9879" y="2661"/>
                  </a:lnTo>
                  <a:lnTo>
                    <a:pt x="9880" y="2670"/>
                  </a:lnTo>
                  <a:close/>
                  <a:moveTo>
                    <a:pt x="9617" y="2670"/>
                  </a:moveTo>
                  <a:lnTo>
                    <a:pt x="9617" y="2782"/>
                  </a:lnTo>
                  <a:lnTo>
                    <a:pt x="9616" y="2790"/>
                  </a:lnTo>
                  <a:lnTo>
                    <a:pt x="9611" y="2796"/>
                  </a:lnTo>
                  <a:lnTo>
                    <a:pt x="9604" y="2800"/>
                  </a:lnTo>
                  <a:lnTo>
                    <a:pt x="9598" y="2801"/>
                  </a:lnTo>
                  <a:lnTo>
                    <a:pt x="9590" y="2800"/>
                  </a:lnTo>
                  <a:lnTo>
                    <a:pt x="9584" y="2796"/>
                  </a:lnTo>
                  <a:lnTo>
                    <a:pt x="9579" y="2790"/>
                  </a:lnTo>
                  <a:lnTo>
                    <a:pt x="9577" y="2782"/>
                  </a:lnTo>
                  <a:lnTo>
                    <a:pt x="9577" y="2670"/>
                  </a:lnTo>
                  <a:lnTo>
                    <a:pt x="9579" y="2661"/>
                  </a:lnTo>
                  <a:lnTo>
                    <a:pt x="9584" y="2654"/>
                  </a:lnTo>
                  <a:lnTo>
                    <a:pt x="9590" y="2650"/>
                  </a:lnTo>
                  <a:lnTo>
                    <a:pt x="9598" y="2649"/>
                  </a:lnTo>
                  <a:lnTo>
                    <a:pt x="9604" y="2650"/>
                  </a:lnTo>
                  <a:lnTo>
                    <a:pt x="9611" y="2654"/>
                  </a:lnTo>
                  <a:lnTo>
                    <a:pt x="9616" y="2661"/>
                  </a:lnTo>
                  <a:lnTo>
                    <a:pt x="9617" y="2670"/>
                  </a:lnTo>
                  <a:close/>
                  <a:moveTo>
                    <a:pt x="13776" y="2113"/>
                  </a:moveTo>
                  <a:lnTo>
                    <a:pt x="13776" y="2226"/>
                  </a:lnTo>
                  <a:lnTo>
                    <a:pt x="13774" y="2235"/>
                  </a:lnTo>
                  <a:lnTo>
                    <a:pt x="13769" y="2241"/>
                  </a:lnTo>
                  <a:lnTo>
                    <a:pt x="13763" y="2245"/>
                  </a:lnTo>
                  <a:lnTo>
                    <a:pt x="13756" y="2246"/>
                  </a:lnTo>
                  <a:lnTo>
                    <a:pt x="13749" y="2245"/>
                  </a:lnTo>
                  <a:lnTo>
                    <a:pt x="13742" y="2241"/>
                  </a:lnTo>
                  <a:lnTo>
                    <a:pt x="13737" y="2235"/>
                  </a:lnTo>
                  <a:lnTo>
                    <a:pt x="13736" y="2226"/>
                  </a:lnTo>
                  <a:lnTo>
                    <a:pt x="13736" y="2113"/>
                  </a:lnTo>
                  <a:lnTo>
                    <a:pt x="13737" y="2106"/>
                  </a:lnTo>
                  <a:lnTo>
                    <a:pt x="13742" y="2099"/>
                  </a:lnTo>
                  <a:lnTo>
                    <a:pt x="13749" y="2095"/>
                  </a:lnTo>
                  <a:lnTo>
                    <a:pt x="13756" y="2094"/>
                  </a:lnTo>
                  <a:lnTo>
                    <a:pt x="13763" y="2095"/>
                  </a:lnTo>
                  <a:lnTo>
                    <a:pt x="13769" y="2099"/>
                  </a:lnTo>
                  <a:lnTo>
                    <a:pt x="13774" y="2106"/>
                  </a:lnTo>
                  <a:lnTo>
                    <a:pt x="13776" y="2113"/>
                  </a:lnTo>
                  <a:close/>
                  <a:moveTo>
                    <a:pt x="13513" y="2113"/>
                  </a:moveTo>
                  <a:lnTo>
                    <a:pt x="13513" y="2226"/>
                  </a:lnTo>
                  <a:lnTo>
                    <a:pt x="13511" y="2235"/>
                  </a:lnTo>
                  <a:lnTo>
                    <a:pt x="13506" y="2241"/>
                  </a:lnTo>
                  <a:lnTo>
                    <a:pt x="13500" y="2245"/>
                  </a:lnTo>
                  <a:lnTo>
                    <a:pt x="13492" y="2246"/>
                  </a:lnTo>
                  <a:lnTo>
                    <a:pt x="13486" y="2245"/>
                  </a:lnTo>
                  <a:lnTo>
                    <a:pt x="13479" y="2241"/>
                  </a:lnTo>
                  <a:lnTo>
                    <a:pt x="13474" y="2235"/>
                  </a:lnTo>
                  <a:lnTo>
                    <a:pt x="13473" y="2226"/>
                  </a:lnTo>
                  <a:lnTo>
                    <a:pt x="13473" y="2113"/>
                  </a:lnTo>
                  <a:lnTo>
                    <a:pt x="13474" y="2106"/>
                  </a:lnTo>
                  <a:lnTo>
                    <a:pt x="13479" y="2099"/>
                  </a:lnTo>
                  <a:lnTo>
                    <a:pt x="13486" y="2095"/>
                  </a:lnTo>
                  <a:lnTo>
                    <a:pt x="13492" y="2094"/>
                  </a:lnTo>
                  <a:lnTo>
                    <a:pt x="13500" y="2095"/>
                  </a:lnTo>
                  <a:lnTo>
                    <a:pt x="13506" y="2099"/>
                  </a:lnTo>
                  <a:lnTo>
                    <a:pt x="13511" y="2106"/>
                  </a:lnTo>
                  <a:lnTo>
                    <a:pt x="13513" y="2113"/>
                  </a:lnTo>
                  <a:close/>
                  <a:moveTo>
                    <a:pt x="13250" y="2113"/>
                  </a:moveTo>
                  <a:lnTo>
                    <a:pt x="13250" y="2226"/>
                  </a:lnTo>
                  <a:lnTo>
                    <a:pt x="13247" y="2235"/>
                  </a:lnTo>
                  <a:lnTo>
                    <a:pt x="13243" y="2241"/>
                  </a:lnTo>
                  <a:lnTo>
                    <a:pt x="13237" y="2245"/>
                  </a:lnTo>
                  <a:lnTo>
                    <a:pt x="13229" y="2246"/>
                  </a:lnTo>
                  <a:lnTo>
                    <a:pt x="13222" y="2245"/>
                  </a:lnTo>
                  <a:lnTo>
                    <a:pt x="13215" y="2241"/>
                  </a:lnTo>
                  <a:lnTo>
                    <a:pt x="13211" y="2235"/>
                  </a:lnTo>
                  <a:lnTo>
                    <a:pt x="13210" y="2226"/>
                  </a:lnTo>
                  <a:lnTo>
                    <a:pt x="13210" y="2113"/>
                  </a:lnTo>
                  <a:lnTo>
                    <a:pt x="13211" y="2106"/>
                  </a:lnTo>
                  <a:lnTo>
                    <a:pt x="13215" y="2099"/>
                  </a:lnTo>
                  <a:lnTo>
                    <a:pt x="13222" y="2095"/>
                  </a:lnTo>
                  <a:lnTo>
                    <a:pt x="13229" y="2094"/>
                  </a:lnTo>
                  <a:lnTo>
                    <a:pt x="13237" y="2095"/>
                  </a:lnTo>
                  <a:lnTo>
                    <a:pt x="13243" y="2099"/>
                  </a:lnTo>
                  <a:lnTo>
                    <a:pt x="13247" y="2106"/>
                  </a:lnTo>
                  <a:lnTo>
                    <a:pt x="13250" y="2113"/>
                  </a:lnTo>
                  <a:close/>
                  <a:moveTo>
                    <a:pt x="12987" y="2113"/>
                  </a:moveTo>
                  <a:lnTo>
                    <a:pt x="12987" y="2226"/>
                  </a:lnTo>
                  <a:lnTo>
                    <a:pt x="12984" y="2235"/>
                  </a:lnTo>
                  <a:lnTo>
                    <a:pt x="12981" y="2241"/>
                  </a:lnTo>
                  <a:lnTo>
                    <a:pt x="12974" y="2245"/>
                  </a:lnTo>
                  <a:lnTo>
                    <a:pt x="12966" y="2246"/>
                  </a:lnTo>
                  <a:lnTo>
                    <a:pt x="12959" y="2245"/>
                  </a:lnTo>
                  <a:lnTo>
                    <a:pt x="12952" y="2241"/>
                  </a:lnTo>
                  <a:lnTo>
                    <a:pt x="12948" y="2235"/>
                  </a:lnTo>
                  <a:lnTo>
                    <a:pt x="12946" y="2226"/>
                  </a:lnTo>
                  <a:lnTo>
                    <a:pt x="12946" y="2113"/>
                  </a:lnTo>
                  <a:lnTo>
                    <a:pt x="12948" y="2106"/>
                  </a:lnTo>
                  <a:lnTo>
                    <a:pt x="12952" y="2099"/>
                  </a:lnTo>
                  <a:lnTo>
                    <a:pt x="12959" y="2095"/>
                  </a:lnTo>
                  <a:lnTo>
                    <a:pt x="12966" y="2094"/>
                  </a:lnTo>
                  <a:lnTo>
                    <a:pt x="12974" y="2095"/>
                  </a:lnTo>
                  <a:lnTo>
                    <a:pt x="12981" y="2099"/>
                  </a:lnTo>
                  <a:lnTo>
                    <a:pt x="12984" y="2106"/>
                  </a:lnTo>
                  <a:lnTo>
                    <a:pt x="12987" y="2113"/>
                  </a:lnTo>
                  <a:close/>
                  <a:moveTo>
                    <a:pt x="13776" y="1879"/>
                  </a:moveTo>
                  <a:lnTo>
                    <a:pt x="13776" y="1992"/>
                  </a:lnTo>
                  <a:lnTo>
                    <a:pt x="13774" y="2001"/>
                  </a:lnTo>
                  <a:lnTo>
                    <a:pt x="13769" y="2007"/>
                  </a:lnTo>
                  <a:lnTo>
                    <a:pt x="13763" y="2011"/>
                  </a:lnTo>
                  <a:lnTo>
                    <a:pt x="13756" y="2012"/>
                  </a:lnTo>
                  <a:lnTo>
                    <a:pt x="13749" y="2011"/>
                  </a:lnTo>
                  <a:lnTo>
                    <a:pt x="13742" y="2007"/>
                  </a:lnTo>
                  <a:lnTo>
                    <a:pt x="13737" y="2001"/>
                  </a:lnTo>
                  <a:lnTo>
                    <a:pt x="13736" y="1992"/>
                  </a:lnTo>
                  <a:lnTo>
                    <a:pt x="13736" y="1879"/>
                  </a:lnTo>
                  <a:lnTo>
                    <a:pt x="13737" y="1872"/>
                  </a:lnTo>
                  <a:lnTo>
                    <a:pt x="13742" y="1865"/>
                  </a:lnTo>
                  <a:lnTo>
                    <a:pt x="13749" y="1861"/>
                  </a:lnTo>
                  <a:lnTo>
                    <a:pt x="13756" y="1860"/>
                  </a:lnTo>
                  <a:lnTo>
                    <a:pt x="13763" y="1861"/>
                  </a:lnTo>
                  <a:lnTo>
                    <a:pt x="13769" y="1865"/>
                  </a:lnTo>
                  <a:lnTo>
                    <a:pt x="13774" y="1872"/>
                  </a:lnTo>
                  <a:lnTo>
                    <a:pt x="13776" y="1879"/>
                  </a:lnTo>
                  <a:close/>
                  <a:moveTo>
                    <a:pt x="13513" y="1879"/>
                  </a:moveTo>
                  <a:lnTo>
                    <a:pt x="13513" y="1992"/>
                  </a:lnTo>
                  <a:lnTo>
                    <a:pt x="13511" y="2001"/>
                  </a:lnTo>
                  <a:lnTo>
                    <a:pt x="13506" y="2007"/>
                  </a:lnTo>
                  <a:lnTo>
                    <a:pt x="13500" y="2011"/>
                  </a:lnTo>
                  <a:lnTo>
                    <a:pt x="13492" y="2012"/>
                  </a:lnTo>
                  <a:lnTo>
                    <a:pt x="13486" y="2011"/>
                  </a:lnTo>
                  <a:lnTo>
                    <a:pt x="13479" y="2007"/>
                  </a:lnTo>
                  <a:lnTo>
                    <a:pt x="13474" y="2001"/>
                  </a:lnTo>
                  <a:lnTo>
                    <a:pt x="13473" y="1992"/>
                  </a:lnTo>
                  <a:lnTo>
                    <a:pt x="13473" y="1879"/>
                  </a:lnTo>
                  <a:lnTo>
                    <a:pt x="13474" y="1872"/>
                  </a:lnTo>
                  <a:lnTo>
                    <a:pt x="13479" y="1865"/>
                  </a:lnTo>
                  <a:lnTo>
                    <a:pt x="13486" y="1861"/>
                  </a:lnTo>
                  <a:lnTo>
                    <a:pt x="13492" y="1860"/>
                  </a:lnTo>
                  <a:lnTo>
                    <a:pt x="13500" y="1861"/>
                  </a:lnTo>
                  <a:lnTo>
                    <a:pt x="13506" y="1865"/>
                  </a:lnTo>
                  <a:lnTo>
                    <a:pt x="13511" y="1872"/>
                  </a:lnTo>
                  <a:lnTo>
                    <a:pt x="13513" y="1879"/>
                  </a:lnTo>
                  <a:close/>
                  <a:moveTo>
                    <a:pt x="13250" y="1879"/>
                  </a:moveTo>
                  <a:lnTo>
                    <a:pt x="13250" y="1992"/>
                  </a:lnTo>
                  <a:lnTo>
                    <a:pt x="13247" y="2001"/>
                  </a:lnTo>
                  <a:lnTo>
                    <a:pt x="13243" y="2007"/>
                  </a:lnTo>
                  <a:lnTo>
                    <a:pt x="13237" y="2011"/>
                  </a:lnTo>
                  <a:lnTo>
                    <a:pt x="13229" y="2012"/>
                  </a:lnTo>
                  <a:lnTo>
                    <a:pt x="13222" y="2011"/>
                  </a:lnTo>
                  <a:lnTo>
                    <a:pt x="13215" y="2007"/>
                  </a:lnTo>
                  <a:lnTo>
                    <a:pt x="13211" y="2001"/>
                  </a:lnTo>
                  <a:lnTo>
                    <a:pt x="13210" y="1992"/>
                  </a:lnTo>
                  <a:lnTo>
                    <a:pt x="13210" y="1879"/>
                  </a:lnTo>
                  <a:lnTo>
                    <a:pt x="13211" y="1872"/>
                  </a:lnTo>
                  <a:lnTo>
                    <a:pt x="13215" y="1865"/>
                  </a:lnTo>
                  <a:lnTo>
                    <a:pt x="13222" y="1861"/>
                  </a:lnTo>
                  <a:lnTo>
                    <a:pt x="13229" y="1860"/>
                  </a:lnTo>
                  <a:lnTo>
                    <a:pt x="13237" y="1861"/>
                  </a:lnTo>
                  <a:lnTo>
                    <a:pt x="13243" y="1865"/>
                  </a:lnTo>
                  <a:lnTo>
                    <a:pt x="13247" y="1872"/>
                  </a:lnTo>
                  <a:lnTo>
                    <a:pt x="13250" y="1879"/>
                  </a:lnTo>
                  <a:close/>
                  <a:moveTo>
                    <a:pt x="12987" y="1879"/>
                  </a:moveTo>
                  <a:lnTo>
                    <a:pt x="12987" y="1992"/>
                  </a:lnTo>
                  <a:lnTo>
                    <a:pt x="12984" y="2001"/>
                  </a:lnTo>
                  <a:lnTo>
                    <a:pt x="12981" y="2007"/>
                  </a:lnTo>
                  <a:lnTo>
                    <a:pt x="12974" y="2011"/>
                  </a:lnTo>
                  <a:lnTo>
                    <a:pt x="12966" y="2012"/>
                  </a:lnTo>
                  <a:lnTo>
                    <a:pt x="12959" y="2011"/>
                  </a:lnTo>
                  <a:lnTo>
                    <a:pt x="12952" y="2007"/>
                  </a:lnTo>
                  <a:lnTo>
                    <a:pt x="12948" y="2001"/>
                  </a:lnTo>
                  <a:lnTo>
                    <a:pt x="12946" y="1992"/>
                  </a:lnTo>
                  <a:lnTo>
                    <a:pt x="12946" y="1879"/>
                  </a:lnTo>
                  <a:lnTo>
                    <a:pt x="12948" y="1872"/>
                  </a:lnTo>
                  <a:lnTo>
                    <a:pt x="12952" y="1865"/>
                  </a:lnTo>
                  <a:lnTo>
                    <a:pt x="12959" y="1861"/>
                  </a:lnTo>
                  <a:lnTo>
                    <a:pt x="12966" y="1860"/>
                  </a:lnTo>
                  <a:lnTo>
                    <a:pt x="12974" y="1861"/>
                  </a:lnTo>
                  <a:lnTo>
                    <a:pt x="12981" y="1865"/>
                  </a:lnTo>
                  <a:lnTo>
                    <a:pt x="12984" y="1872"/>
                  </a:lnTo>
                  <a:lnTo>
                    <a:pt x="12987" y="1879"/>
                  </a:lnTo>
                  <a:close/>
                  <a:moveTo>
                    <a:pt x="13776" y="1645"/>
                  </a:moveTo>
                  <a:lnTo>
                    <a:pt x="13776" y="1758"/>
                  </a:lnTo>
                  <a:lnTo>
                    <a:pt x="13774" y="1767"/>
                  </a:lnTo>
                  <a:lnTo>
                    <a:pt x="13769" y="1773"/>
                  </a:lnTo>
                  <a:lnTo>
                    <a:pt x="13763" y="1777"/>
                  </a:lnTo>
                  <a:lnTo>
                    <a:pt x="13756" y="1778"/>
                  </a:lnTo>
                  <a:lnTo>
                    <a:pt x="13749" y="1777"/>
                  </a:lnTo>
                  <a:lnTo>
                    <a:pt x="13742" y="1773"/>
                  </a:lnTo>
                  <a:lnTo>
                    <a:pt x="13737" y="1767"/>
                  </a:lnTo>
                  <a:lnTo>
                    <a:pt x="13736" y="1758"/>
                  </a:lnTo>
                  <a:lnTo>
                    <a:pt x="13736" y="1645"/>
                  </a:lnTo>
                  <a:lnTo>
                    <a:pt x="13737" y="1636"/>
                  </a:lnTo>
                  <a:lnTo>
                    <a:pt x="13742" y="1631"/>
                  </a:lnTo>
                  <a:lnTo>
                    <a:pt x="13749" y="1627"/>
                  </a:lnTo>
                  <a:lnTo>
                    <a:pt x="13756" y="1626"/>
                  </a:lnTo>
                  <a:lnTo>
                    <a:pt x="13763" y="1627"/>
                  </a:lnTo>
                  <a:lnTo>
                    <a:pt x="13769" y="1631"/>
                  </a:lnTo>
                  <a:lnTo>
                    <a:pt x="13774" y="1636"/>
                  </a:lnTo>
                  <a:lnTo>
                    <a:pt x="13776" y="1645"/>
                  </a:lnTo>
                  <a:close/>
                  <a:moveTo>
                    <a:pt x="13513" y="1645"/>
                  </a:moveTo>
                  <a:lnTo>
                    <a:pt x="13513" y="1758"/>
                  </a:lnTo>
                  <a:lnTo>
                    <a:pt x="13511" y="1767"/>
                  </a:lnTo>
                  <a:lnTo>
                    <a:pt x="13506" y="1773"/>
                  </a:lnTo>
                  <a:lnTo>
                    <a:pt x="13500" y="1777"/>
                  </a:lnTo>
                  <a:lnTo>
                    <a:pt x="13492" y="1778"/>
                  </a:lnTo>
                  <a:lnTo>
                    <a:pt x="13486" y="1777"/>
                  </a:lnTo>
                  <a:lnTo>
                    <a:pt x="13479" y="1773"/>
                  </a:lnTo>
                  <a:lnTo>
                    <a:pt x="13474" y="1767"/>
                  </a:lnTo>
                  <a:lnTo>
                    <a:pt x="13473" y="1758"/>
                  </a:lnTo>
                  <a:lnTo>
                    <a:pt x="13473" y="1645"/>
                  </a:lnTo>
                  <a:lnTo>
                    <a:pt x="13474" y="1636"/>
                  </a:lnTo>
                  <a:lnTo>
                    <a:pt x="13479" y="1631"/>
                  </a:lnTo>
                  <a:lnTo>
                    <a:pt x="13486" y="1627"/>
                  </a:lnTo>
                  <a:lnTo>
                    <a:pt x="13492" y="1626"/>
                  </a:lnTo>
                  <a:lnTo>
                    <a:pt x="13500" y="1627"/>
                  </a:lnTo>
                  <a:lnTo>
                    <a:pt x="13506" y="1631"/>
                  </a:lnTo>
                  <a:lnTo>
                    <a:pt x="13511" y="1636"/>
                  </a:lnTo>
                  <a:lnTo>
                    <a:pt x="13513" y="1645"/>
                  </a:lnTo>
                  <a:close/>
                  <a:moveTo>
                    <a:pt x="13250" y="1645"/>
                  </a:moveTo>
                  <a:lnTo>
                    <a:pt x="13250" y="1758"/>
                  </a:lnTo>
                  <a:lnTo>
                    <a:pt x="13247" y="1767"/>
                  </a:lnTo>
                  <a:lnTo>
                    <a:pt x="13243" y="1773"/>
                  </a:lnTo>
                  <a:lnTo>
                    <a:pt x="13237" y="1777"/>
                  </a:lnTo>
                  <a:lnTo>
                    <a:pt x="13229" y="1778"/>
                  </a:lnTo>
                  <a:lnTo>
                    <a:pt x="13222" y="1777"/>
                  </a:lnTo>
                  <a:lnTo>
                    <a:pt x="13215" y="1773"/>
                  </a:lnTo>
                  <a:lnTo>
                    <a:pt x="13211" y="1767"/>
                  </a:lnTo>
                  <a:lnTo>
                    <a:pt x="13210" y="1758"/>
                  </a:lnTo>
                  <a:lnTo>
                    <a:pt x="13210" y="1645"/>
                  </a:lnTo>
                  <a:lnTo>
                    <a:pt x="13211" y="1636"/>
                  </a:lnTo>
                  <a:lnTo>
                    <a:pt x="13215" y="1631"/>
                  </a:lnTo>
                  <a:lnTo>
                    <a:pt x="13222" y="1627"/>
                  </a:lnTo>
                  <a:lnTo>
                    <a:pt x="13229" y="1626"/>
                  </a:lnTo>
                  <a:lnTo>
                    <a:pt x="13237" y="1627"/>
                  </a:lnTo>
                  <a:lnTo>
                    <a:pt x="13243" y="1631"/>
                  </a:lnTo>
                  <a:lnTo>
                    <a:pt x="13247" y="1636"/>
                  </a:lnTo>
                  <a:lnTo>
                    <a:pt x="13250" y="1645"/>
                  </a:lnTo>
                  <a:close/>
                  <a:moveTo>
                    <a:pt x="12987" y="1645"/>
                  </a:moveTo>
                  <a:lnTo>
                    <a:pt x="12987" y="1758"/>
                  </a:lnTo>
                  <a:lnTo>
                    <a:pt x="12984" y="1767"/>
                  </a:lnTo>
                  <a:lnTo>
                    <a:pt x="12981" y="1773"/>
                  </a:lnTo>
                  <a:lnTo>
                    <a:pt x="12974" y="1777"/>
                  </a:lnTo>
                  <a:lnTo>
                    <a:pt x="12966" y="1778"/>
                  </a:lnTo>
                  <a:lnTo>
                    <a:pt x="12959" y="1777"/>
                  </a:lnTo>
                  <a:lnTo>
                    <a:pt x="12952" y="1773"/>
                  </a:lnTo>
                  <a:lnTo>
                    <a:pt x="12948" y="1767"/>
                  </a:lnTo>
                  <a:lnTo>
                    <a:pt x="12946" y="1758"/>
                  </a:lnTo>
                  <a:lnTo>
                    <a:pt x="12946" y="1645"/>
                  </a:lnTo>
                  <a:lnTo>
                    <a:pt x="12948" y="1636"/>
                  </a:lnTo>
                  <a:lnTo>
                    <a:pt x="12952" y="1631"/>
                  </a:lnTo>
                  <a:lnTo>
                    <a:pt x="12959" y="1627"/>
                  </a:lnTo>
                  <a:lnTo>
                    <a:pt x="12966" y="1626"/>
                  </a:lnTo>
                  <a:lnTo>
                    <a:pt x="12974" y="1627"/>
                  </a:lnTo>
                  <a:lnTo>
                    <a:pt x="12981" y="1631"/>
                  </a:lnTo>
                  <a:lnTo>
                    <a:pt x="12984" y="1636"/>
                  </a:lnTo>
                  <a:lnTo>
                    <a:pt x="12987" y="1645"/>
                  </a:lnTo>
                  <a:close/>
                  <a:moveTo>
                    <a:pt x="13776" y="1411"/>
                  </a:moveTo>
                  <a:lnTo>
                    <a:pt x="13776" y="1524"/>
                  </a:lnTo>
                  <a:lnTo>
                    <a:pt x="13774" y="1533"/>
                  </a:lnTo>
                  <a:lnTo>
                    <a:pt x="13769" y="1539"/>
                  </a:lnTo>
                  <a:lnTo>
                    <a:pt x="13763" y="1543"/>
                  </a:lnTo>
                  <a:lnTo>
                    <a:pt x="13756" y="1544"/>
                  </a:lnTo>
                  <a:lnTo>
                    <a:pt x="13749" y="1543"/>
                  </a:lnTo>
                  <a:lnTo>
                    <a:pt x="13742" y="1539"/>
                  </a:lnTo>
                  <a:lnTo>
                    <a:pt x="13737" y="1533"/>
                  </a:lnTo>
                  <a:lnTo>
                    <a:pt x="13736" y="1524"/>
                  </a:lnTo>
                  <a:lnTo>
                    <a:pt x="13736" y="1411"/>
                  </a:lnTo>
                  <a:lnTo>
                    <a:pt x="13737" y="1402"/>
                  </a:lnTo>
                  <a:lnTo>
                    <a:pt x="13742" y="1397"/>
                  </a:lnTo>
                  <a:lnTo>
                    <a:pt x="13749" y="1393"/>
                  </a:lnTo>
                  <a:lnTo>
                    <a:pt x="13756" y="1392"/>
                  </a:lnTo>
                  <a:lnTo>
                    <a:pt x="13763" y="1393"/>
                  </a:lnTo>
                  <a:lnTo>
                    <a:pt x="13769" y="1397"/>
                  </a:lnTo>
                  <a:lnTo>
                    <a:pt x="13774" y="1402"/>
                  </a:lnTo>
                  <a:lnTo>
                    <a:pt x="13776" y="1411"/>
                  </a:lnTo>
                  <a:close/>
                  <a:moveTo>
                    <a:pt x="13513" y="1411"/>
                  </a:moveTo>
                  <a:lnTo>
                    <a:pt x="13513" y="1524"/>
                  </a:lnTo>
                  <a:lnTo>
                    <a:pt x="13511" y="1533"/>
                  </a:lnTo>
                  <a:lnTo>
                    <a:pt x="13506" y="1539"/>
                  </a:lnTo>
                  <a:lnTo>
                    <a:pt x="13500" y="1543"/>
                  </a:lnTo>
                  <a:lnTo>
                    <a:pt x="13492" y="1544"/>
                  </a:lnTo>
                  <a:lnTo>
                    <a:pt x="13486" y="1543"/>
                  </a:lnTo>
                  <a:lnTo>
                    <a:pt x="13479" y="1539"/>
                  </a:lnTo>
                  <a:lnTo>
                    <a:pt x="13474" y="1533"/>
                  </a:lnTo>
                  <a:lnTo>
                    <a:pt x="13473" y="1524"/>
                  </a:lnTo>
                  <a:lnTo>
                    <a:pt x="13473" y="1411"/>
                  </a:lnTo>
                  <a:lnTo>
                    <a:pt x="13474" y="1402"/>
                  </a:lnTo>
                  <a:lnTo>
                    <a:pt x="13479" y="1397"/>
                  </a:lnTo>
                  <a:lnTo>
                    <a:pt x="13486" y="1393"/>
                  </a:lnTo>
                  <a:lnTo>
                    <a:pt x="13492" y="1392"/>
                  </a:lnTo>
                  <a:lnTo>
                    <a:pt x="13500" y="1393"/>
                  </a:lnTo>
                  <a:lnTo>
                    <a:pt x="13506" y="1397"/>
                  </a:lnTo>
                  <a:lnTo>
                    <a:pt x="13511" y="1402"/>
                  </a:lnTo>
                  <a:lnTo>
                    <a:pt x="13513" y="1411"/>
                  </a:lnTo>
                  <a:close/>
                  <a:moveTo>
                    <a:pt x="13250" y="1411"/>
                  </a:moveTo>
                  <a:lnTo>
                    <a:pt x="13250" y="1524"/>
                  </a:lnTo>
                  <a:lnTo>
                    <a:pt x="13247" y="1533"/>
                  </a:lnTo>
                  <a:lnTo>
                    <a:pt x="13243" y="1539"/>
                  </a:lnTo>
                  <a:lnTo>
                    <a:pt x="13237" y="1543"/>
                  </a:lnTo>
                  <a:lnTo>
                    <a:pt x="13229" y="1544"/>
                  </a:lnTo>
                  <a:lnTo>
                    <a:pt x="13222" y="1543"/>
                  </a:lnTo>
                  <a:lnTo>
                    <a:pt x="13215" y="1539"/>
                  </a:lnTo>
                  <a:lnTo>
                    <a:pt x="13211" y="1533"/>
                  </a:lnTo>
                  <a:lnTo>
                    <a:pt x="13210" y="1524"/>
                  </a:lnTo>
                  <a:lnTo>
                    <a:pt x="13210" y="1411"/>
                  </a:lnTo>
                  <a:lnTo>
                    <a:pt x="13211" y="1402"/>
                  </a:lnTo>
                  <a:lnTo>
                    <a:pt x="13215" y="1397"/>
                  </a:lnTo>
                  <a:lnTo>
                    <a:pt x="13222" y="1393"/>
                  </a:lnTo>
                  <a:lnTo>
                    <a:pt x="13229" y="1392"/>
                  </a:lnTo>
                  <a:lnTo>
                    <a:pt x="13237" y="1393"/>
                  </a:lnTo>
                  <a:lnTo>
                    <a:pt x="13243" y="1397"/>
                  </a:lnTo>
                  <a:lnTo>
                    <a:pt x="13247" y="1402"/>
                  </a:lnTo>
                  <a:lnTo>
                    <a:pt x="13250" y="1411"/>
                  </a:lnTo>
                  <a:close/>
                  <a:moveTo>
                    <a:pt x="12987" y="1411"/>
                  </a:moveTo>
                  <a:lnTo>
                    <a:pt x="12987" y="1524"/>
                  </a:lnTo>
                  <a:lnTo>
                    <a:pt x="12984" y="1533"/>
                  </a:lnTo>
                  <a:lnTo>
                    <a:pt x="12981" y="1539"/>
                  </a:lnTo>
                  <a:lnTo>
                    <a:pt x="12974" y="1543"/>
                  </a:lnTo>
                  <a:lnTo>
                    <a:pt x="12966" y="1544"/>
                  </a:lnTo>
                  <a:lnTo>
                    <a:pt x="12959" y="1543"/>
                  </a:lnTo>
                  <a:lnTo>
                    <a:pt x="12952" y="1539"/>
                  </a:lnTo>
                  <a:lnTo>
                    <a:pt x="12948" y="1533"/>
                  </a:lnTo>
                  <a:lnTo>
                    <a:pt x="12946" y="1524"/>
                  </a:lnTo>
                  <a:lnTo>
                    <a:pt x="12946" y="1411"/>
                  </a:lnTo>
                  <a:lnTo>
                    <a:pt x="12948" y="1402"/>
                  </a:lnTo>
                  <a:lnTo>
                    <a:pt x="12952" y="1397"/>
                  </a:lnTo>
                  <a:lnTo>
                    <a:pt x="12959" y="1393"/>
                  </a:lnTo>
                  <a:lnTo>
                    <a:pt x="12966" y="1392"/>
                  </a:lnTo>
                  <a:lnTo>
                    <a:pt x="12974" y="1393"/>
                  </a:lnTo>
                  <a:lnTo>
                    <a:pt x="12981" y="1397"/>
                  </a:lnTo>
                  <a:lnTo>
                    <a:pt x="12984" y="1402"/>
                  </a:lnTo>
                  <a:lnTo>
                    <a:pt x="12987" y="1411"/>
                  </a:lnTo>
                  <a:close/>
                  <a:moveTo>
                    <a:pt x="13776" y="1177"/>
                  </a:moveTo>
                  <a:lnTo>
                    <a:pt x="13776" y="1290"/>
                  </a:lnTo>
                  <a:lnTo>
                    <a:pt x="13774" y="1299"/>
                  </a:lnTo>
                  <a:lnTo>
                    <a:pt x="13769" y="1305"/>
                  </a:lnTo>
                  <a:lnTo>
                    <a:pt x="13763" y="1309"/>
                  </a:lnTo>
                  <a:lnTo>
                    <a:pt x="13756" y="1309"/>
                  </a:lnTo>
                  <a:lnTo>
                    <a:pt x="13749" y="1309"/>
                  </a:lnTo>
                  <a:lnTo>
                    <a:pt x="13742" y="1305"/>
                  </a:lnTo>
                  <a:lnTo>
                    <a:pt x="13737" y="1299"/>
                  </a:lnTo>
                  <a:lnTo>
                    <a:pt x="13736" y="1290"/>
                  </a:lnTo>
                  <a:lnTo>
                    <a:pt x="13736" y="1177"/>
                  </a:lnTo>
                  <a:lnTo>
                    <a:pt x="13737" y="1168"/>
                  </a:lnTo>
                  <a:lnTo>
                    <a:pt x="13742" y="1163"/>
                  </a:lnTo>
                  <a:lnTo>
                    <a:pt x="13749" y="1159"/>
                  </a:lnTo>
                  <a:lnTo>
                    <a:pt x="13756" y="1158"/>
                  </a:lnTo>
                  <a:lnTo>
                    <a:pt x="13763" y="1159"/>
                  </a:lnTo>
                  <a:lnTo>
                    <a:pt x="13769" y="1163"/>
                  </a:lnTo>
                  <a:lnTo>
                    <a:pt x="13774" y="1168"/>
                  </a:lnTo>
                  <a:lnTo>
                    <a:pt x="13776" y="1177"/>
                  </a:lnTo>
                  <a:close/>
                  <a:moveTo>
                    <a:pt x="13513" y="1177"/>
                  </a:moveTo>
                  <a:lnTo>
                    <a:pt x="13513" y="1290"/>
                  </a:lnTo>
                  <a:lnTo>
                    <a:pt x="13511" y="1299"/>
                  </a:lnTo>
                  <a:lnTo>
                    <a:pt x="13506" y="1305"/>
                  </a:lnTo>
                  <a:lnTo>
                    <a:pt x="13500" y="1309"/>
                  </a:lnTo>
                  <a:lnTo>
                    <a:pt x="13492" y="1309"/>
                  </a:lnTo>
                  <a:lnTo>
                    <a:pt x="13486" y="1309"/>
                  </a:lnTo>
                  <a:lnTo>
                    <a:pt x="13479" y="1305"/>
                  </a:lnTo>
                  <a:lnTo>
                    <a:pt x="13474" y="1299"/>
                  </a:lnTo>
                  <a:lnTo>
                    <a:pt x="13473" y="1290"/>
                  </a:lnTo>
                  <a:lnTo>
                    <a:pt x="13473" y="1177"/>
                  </a:lnTo>
                  <a:lnTo>
                    <a:pt x="13474" y="1168"/>
                  </a:lnTo>
                  <a:lnTo>
                    <a:pt x="13479" y="1163"/>
                  </a:lnTo>
                  <a:lnTo>
                    <a:pt x="13486" y="1159"/>
                  </a:lnTo>
                  <a:lnTo>
                    <a:pt x="13492" y="1158"/>
                  </a:lnTo>
                  <a:lnTo>
                    <a:pt x="13500" y="1159"/>
                  </a:lnTo>
                  <a:lnTo>
                    <a:pt x="13506" y="1163"/>
                  </a:lnTo>
                  <a:lnTo>
                    <a:pt x="13511" y="1168"/>
                  </a:lnTo>
                  <a:lnTo>
                    <a:pt x="13513" y="1177"/>
                  </a:lnTo>
                  <a:close/>
                  <a:moveTo>
                    <a:pt x="13250" y="1177"/>
                  </a:moveTo>
                  <a:lnTo>
                    <a:pt x="13250" y="1290"/>
                  </a:lnTo>
                  <a:lnTo>
                    <a:pt x="13247" y="1299"/>
                  </a:lnTo>
                  <a:lnTo>
                    <a:pt x="13243" y="1305"/>
                  </a:lnTo>
                  <a:lnTo>
                    <a:pt x="13237" y="1309"/>
                  </a:lnTo>
                  <a:lnTo>
                    <a:pt x="13229" y="1309"/>
                  </a:lnTo>
                  <a:lnTo>
                    <a:pt x="13222" y="1309"/>
                  </a:lnTo>
                  <a:lnTo>
                    <a:pt x="13215" y="1305"/>
                  </a:lnTo>
                  <a:lnTo>
                    <a:pt x="13211" y="1299"/>
                  </a:lnTo>
                  <a:lnTo>
                    <a:pt x="13210" y="1290"/>
                  </a:lnTo>
                  <a:lnTo>
                    <a:pt x="13210" y="1177"/>
                  </a:lnTo>
                  <a:lnTo>
                    <a:pt x="13211" y="1168"/>
                  </a:lnTo>
                  <a:lnTo>
                    <a:pt x="13215" y="1163"/>
                  </a:lnTo>
                  <a:lnTo>
                    <a:pt x="13222" y="1159"/>
                  </a:lnTo>
                  <a:lnTo>
                    <a:pt x="13229" y="1158"/>
                  </a:lnTo>
                  <a:lnTo>
                    <a:pt x="13237" y="1159"/>
                  </a:lnTo>
                  <a:lnTo>
                    <a:pt x="13243" y="1163"/>
                  </a:lnTo>
                  <a:lnTo>
                    <a:pt x="13247" y="1168"/>
                  </a:lnTo>
                  <a:lnTo>
                    <a:pt x="13250" y="1177"/>
                  </a:lnTo>
                  <a:close/>
                  <a:moveTo>
                    <a:pt x="12987" y="1177"/>
                  </a:moveTo>
                  <a:lnTo>
                    <a:pt x="12987" y="1290"/>
                  </a:lnTo>
                  <a:lnTo>
                    <a:pt x="12984" y="1299"/>
                  </a:lnTo>
                  <a:lnTo>
                    <a:pt x="12981" y="1305"/>
                  </a:lnTo>
                  <a:lnTo>
                    <a:pt x="12974" y="1309"/>
                  </a:lnTo>
                  <a:lnTo>
                    <a:pt x="12966" y="1309"/>
                  </a:lnTo>
                  <a:lnTo>
                    <a:pt x="12959" y="1309"/>
                  </a:lnTo>
                  <a:lnTo>
                    <a:pt x="12952" y="1305"/>
                  </a:lnTo>
                  <a:lnTo>
                    <a:pt x="12948" y="1299"/>
                  </a:lnTo>
                  <a:lnTo>
                    <a:pt x="12946" y="1290"/>
                  </a:lnTo>
                  <a:lnTo>
                    <a:pt x="12946" y="1177"/>
                  </a:lnTo>
                  <a:lnTo>
                    <a:pt x="12948" y="1168"/>
                  </a:lnTo>
                  <a:lnTo>
                    <a:pt x="12952" y="1163"/>
                  </a:lnTo>
                  <a:lnTo>
                    <a:pt x="12959" y="1159"/>
                  </a:lnTo>
                  <a:lnTo>
                    <a:pt x="12966" y="1158"/>
                  </a:lnTo>
                  <a:lnTo>
                    <a:pt x="12974" y="1159"/>
                  </a:lnTo>
                  <a:lnTo>
                    <a:pt x="12981" y="1163"/>
                  </a:lnTo>
                  <a:lnTo>
                    <a:pt x="12984" y="1168"/>
                  </a:lnTo>
                  <a:lnTo>
                    <a:pt x="12987" y="1177"/>
                  </a:lnTo>
                  <a:close/>
                  <a:moveTo>
                    <a:pt x="13538" y="3927"/>
                  </a:moveTo>
                  <a:lnTo>
                    <a:pt x="13538" y="4038"/>
                  </a:lnTo>
                  <a:lnTo>
                    <a:pt x="13536" y="4047"/>
                  </a:lnTo>
                  <a:lnTo>
                    <a:pt x="13532" y="4053"/>
                  </a:lnTo>
                  <a:lnTo>
                    <a:pt x="13525" y="4057"/>
                  </a:lnTo>
                  <a:lnTo>
                    <a:pt x="13518" y="4058"/>
                  </a:lnTo>
                  <a:lnTo>
                    <a:pt x="13510" y="4057"/>
                  </a:lnTo>
                  <a:lnTo>
                    <a:pt x="13504" y="4053"/>
                  </a:lnTo>
                  <a:lnTo>
                    <a:pt x="13500" y="4047"/>
                  </a:lnTo>
                  <a:lnTo>
                    <a:pt x="13497" y="4038"/>
                  </a:lnTo>
                  <a:lnTo>
                    <a:pt x="13497" y="3927"/>
                  </a:lnTo>
                  <a:lnTo>
                    <a:pt x="13500" y="3918"/>
                  </a:lnTo>
                  <a:lnTo>
                    <a:pt x="13504" y="3911"/>
                  </a:lnTo>
                  <a:lnTo>
                    <a:pt x="13510" y="3907"/>
                  </a:lnTo>
                  <a:lnTo>
                    <a:pt x="13518" y="3906"/>
                  </a:lnTo>
                  <a:lnTo>
                    <a:pt x="13525" y="3907"/>
                  </a:lnTo>
                  <a:lnTo>
                    <a:pt x="13532" y="3911"/>
                  </a:lnTo>
                  <a:lnTo>
                    <a:pt x="13536" y="3918"/>
                  </a:lnTo>
                  <a:lnTo>
                    <a:pt x="13538" y="3927"/>
                  </a:lnTo>
                  <a:close/>
                  <a:moveTo>
                    <a:pt x="13274" y="3927"/>
                  </a:moveTo>
                  <a:lnTo>
                    <a:pt x="13274" y="4038"/>
                  </a:lnTo>
                  <a:lnTo>
                    <a:pt x="13273" y="4047"/>
                  </a:lnTo>
                  <a:lnTo>
                    <a:pt x="13269" y="4053"/>
                  </a:lnTo>
                  <a:lnTo>
                    <a:pt x="13263" y="4057"/>
                  </a:lnTo>
                  <a:lnTo>
                    <a:pt x="13255" y="4058"/>
                  </a:lnTo>
                  <a:lnTo>
                    <a:pt x="13247" y="4057"/>
                  </a:lnTo>
                  <a:lnTo>
                    <a:pt x="13241" y="4053"/>
                  </a:lnTo>
                  <a:lnTo>
                    <a:pt x="13237" y="4047"/>
                  </a:lnTo>
                  <a:lnTo>
                    <a:pt x="13234" y="4038"/>
                  </a:lnTo>
                  <a:lnTo>
                    <a:pt x="13234" y="3927"/>
                  </a:lnTo>
                  <a:lnTo>
                    <a:pt x="13237" y="3918"/>
                  </a:lnTo>
                  <a:lnTo>
                    <a:pt x="13241" y="3911"/>
                  </a:lnTo>
                  <a:lnTo>
                    <a:pt x="13247" y="3907"/>
                  </a:lnTo>
                  <a:lnTo>
                    <a:pt x="13255" y="3906"/>
                  </a:lnTo>
                  <a:lnTo>
                    <a:pt x="13263" y="3907"/>
                  </a:lnTo>
                  <a:lnTo>
                    <a:pt x="13269" y="3911"/>
                  </a:lnTo>
                  <a:lnTo>
                    <a:pt x="13273" y="3918"/>
                  </a:lnTo>
                  <a:lnTo>
                    <a:pt x="13274" y="3927"/>
                  </a:lnTo>
                  <a:close/>
                  <a:moveTo>
                    <a:pt x="13011" y="3927"/>
                  </a:moveTo>
                  <a:lnTo>
                    <a:pt x="13011" y="4038"/>
                  </a:lnTo>
                  <a:lnTo>
                    <a:pt x="13010" y="4047"/>
                  </a:lnTo>
                  <a:lnTo>
                    <a:pt x="13005" y="4053"/>
                  </a:lnTo>
                  <a:lnTo>
                    <a:pt x="12998" y="4057"/>
                  </a:lnTo>
                  <a:lnTo>
                    <a:pt x="12992" y="4058"/>
                  </a:lnTo>
                  <a:lnTo>
                    <a:pt x="12984" y="4057"/>
                  </a:lnTo>
                  <a:lnTo>
                    <a:pt x="12978" y="4053"/>
                  </a:lnTo>
                  <a:lnTo>
                    <a:pt x="12973" y="4047"/>
                  </a:lnTo>
                  <a:lnTo>
                    <a:pt x="12972" y="4038"/>
                  </a:lnTo>
                  <a:lnTo>
                    <a:pt x="12972" y="3927"/>
                  </a:lnTo>
                  <a:lnTo>
                    <a:pt x="12973" y="3918"/>
                  </a:lnTo>
                  <a:lnTo>
                    <a:pt x="12978" y="3911"/>
                  </a:lnTo>
                  <a:lnTo>
                    <a:pt x="12984" y="3907"/>
                  </a:lnTo>
                  <a:lnTo>
                    <a:pt x="12992" y="3906"/>
                  </a:lnTo>
                  <a:lnTo>
                    <a:pt x="12998" y="3907"/>
                  </a:lnTo>
                  <a:lnTo>
                    <a:pt x="13005" y="3911"/>
                  </a:lnTo>
                  <a:lnTo>
                    <a:pt x="13010" y="3918"/>
                  </a:lnTo>
                  <a:lnTo>
                    <a:pt x="13011" y="3927"/>
                  </a:lnTo>
                  <a:close/>
                  <a:moveTo>
                    <a:pt x="12748" y="3927"/>
                  </a:moveTo>
                  <a:lnTo>
                    <a:pt x="12748" y="4038"/>
                  </a:lnTo>
                  <a:lnTo>
                    <a:pt x="12747" y="4047"/>
                  </a:lnTo>
                  <a:lnTo>
                    <a:pt x="12742" y="4053"/>
                  </a:lnTo>
                  <a:lnTo>
                    <a:pt x="12736" y="4057"/>
                  </a:lnTo>
                  <a:lnTo>
                    <a:pt x="12729" y="4058"/>
                  </a:lnTo>
                  <a:lnTo>
                    <a:pt x="12721" y="4057"/>
                  </a:lnTo>
                  <a:lnTo>
                    <a:pt x="12715" y="4053"/>
                  </a:lnTo>
                  <a:lnTo>
                    <a:pt x="12710" y="4047"/>
                  </a:lnTo>
                  <a:lnTo>
                    <a:pt x="12709" y="4038"/>
                  </a:lnTo>
                  <a:lnTo>
                    <a:pt x="12709" y="3927"/>
                  </a:lnTo>
                  <a:lnTo>
                    <a:pt x="12710" y="3918"/>
                  </a:lnTo>
                  <a:lnTo>
                    <a:pt x="12715" y="3911"/>
                  </a:lnTo>
                  <a:lnTo>
                    <a:pt x="12721" y="3907"/>
                  </a:lnTo>
                  <a:lnTo>
                    <a:pt x="12729" y="3906"/>
                  </a:lnTo>
                  <a:lnTo>
                    <a:pt x="12736" y="3907"/>
                  </a:lnTo>
                  <a:lnTo>
                    <a:pt x="12742" y="3911"/>
                  </a:lnTo>
                  <a:lnTo>
                    <a:pt x="12747" y="3918"/>
                  </a:lnTo>
                  <a:lnTo>
                    <a:pt x="12748" y="3927"/>
                  </a:lnTo>
                  <a:close/>
                  <a:moveTo>
                    <a:pt x="13538" y="3681"/>
                  </a:moveTo>
                  <a:lnTo>
                    <a:pt x="13538" y="3792"/>
                  </a:lnTo>
                  <a:lnTo>
                    <a:pt x="13536" y="3801"/>
                  </a:lnTo>
                  <a:lnTo>
                    <a:pt x="13532" y="3808"/>
                  </a:lnTo>
                  <a:lnTo>
                    <a:pt x="13525" y="3811"/>
                  </a:lnTo>
                  <a:lnTo>
                    <a:pt x="13518" y="3813"/>
                  </a:lnTo>
                  <a:lnTo>
                    <a:pt x="13510" y="3811"/>
                  </a:lnTo>
                  <a:lnTo>
                    <a:pt x="13504" y="3808"/>
                  </a:lnTo>
                  <a:lnTo>
                    <a:pt x="13500" y="3801"/>
                  </a:lnTo>
                  <a:lnTo>
                    <a:pt x="13497" y="3792"/>
                  </a:lnTo>
                  <a:lnTo>
                    <a:pt x="13497" y="3681"/>
                  </a:lnTo>
                  <a:lnTo>
                    <a:pt x="13500" y="3672"/>
                  </a:lnTo>
                  <a:lnTo>
                    <a:pt x="13504" y="3666"/>
                  </a:lnTo>
                  <a:lnTo>
                    <a:pt x="13510" y="3662"/>
                  </a:lnTo>
                  <a:lnTo>
                    <a:pt x="13518" y="3661"/>
                  </a:lnTo>
                  <a:lnTo>
                    <a:pt x="13525" y="3662"/>
                  </a:lnTo>
                  <a:lnTo>
                    <a:pt x="13532" y="3666"/>
                  </a:lnTo>
                  <a:lnTo>
                    <a:pt x="13536" y="3672"/>
                  </a:lnTo>
                  <a:lnTo>
                    <a:pt x="13538" y="3681"/>
                  </a:lnTo>
                  <a:close/>
                  <a:moveTo>
                    <a:pt x="13274" y="3681"/>
                  </a:moveTo>
                  <a:lnTo>
                    <a:pt x="13274" y="3792"/>
                  </a:lnTo>
                  <a:lnTo>
                    <a:pt x="13273" y="3801"/>
                  </a:lnTo>
                  <a:lnTo>
                    <a:pt x="13269" y="3808"/>
                  </a:lnTo>
                  <a:lnTo>
                    <a:pt x="13263" y="3811"/>
                  </a:lnTo>
                  <a:lnTo>
                    <a:pt x="13255" y="3813"/>
                  </a:lnTo>
                  <a:lnTo>
                    <a:pt x="13247" y="3811"/>
                  </a:lnTo>
                  <a:lnTo>
                    <a:pt x="13241" y="3808"/>
                  </a:lnTo>
                  <a:lnTo>
                    <a:pt x="13237" y="3801"/>
                  </a:lnTo>
                  <a:lnTo>
                    <a:pt x="13234" y="3792"/>
                  </a:lnTo>
                  <a:lnTo>
                    <a:pt x="13234" y="3681"/>
                  </a:lnTo>
                  <a:lnTo>
                    <a:pt x="13237" y="3672"/>
                  </a:lnTo>
                  <a:lnTo>
                    <a:pt x="13241" y="3666"/>
                  </a:lnTo>
                  <a:lnTo>
                    <a:pt x="13247" y="3662"/>
                  </a:lnTo>
                  <a:lnTo>
                    <a:pt x="13255" y="3661"/>
                  </a:lnTo>
                  <a:lnTo>
                    <a:pt x="13263" y="3662"/>
                  </a:lnTo>
                  <a:lnTo>
                    <a:pt x="13269" y="3666"/>
                  </a:lnTo>
                  <a:lnTo>
                    <a:pt x="13273" y="3672"/>
                  </a:lnTo>
                  <a:lnTo>
                    <a:pt x="13274" y="3681"/>
                  </a:lnTo>
                  <a:close/>
                  <a:moveTo>
                    <a:pt x="13011" y="3681"/>
                  </a:moveTo>
                  <a:lnTo>
                    <a:pt x="13011" y="3792"/>
                  </a:lnTo>
                  <a:lnTo>
                    <a:pt x="13010" y="3801"/>
                  </a:lnTo>
                  <a:lnTo>
                    <a:pt x="13005" y="3808"/>
                  </a:lnTo>
                  <a:lnTo>
                    <a:pt x="12998" y="3811"/>
                  </a:lnTo>
                  <a:lnTo>
                    <a:pt x="12992" y="3813"/>
                  </a:lnTo>
                  <a:lnTo>
                    <a:pt x="12984" y="3811"/>
                  </a:lnTo>
                  <a:lnTo>
                    <a:pt x="12978" y="3808"/>
                  </a:lnTo>
                  <a:lnTo>
                    <a:pt x="12973" y="3801"/>
                  </a:lnTo>
                  <a:lnTo>
                    <a:pt x="12972" y="3792"/>
                  </a:lnTo>
                  <a:lnTo>
                    <a:pt x="12972" y="3681"/>
                  </a:lnTo>
                  <a:lnTo>
                    <a:pt x="12973" y="3672"/>
                  </a:lnTo>
                  <a:lnTo>
                    <a:pt x="12978" y="3666"/>
                  </a:lnTo>
                  <a:lnTo>
                    <a:pt x="12984" y="3662"/>
                  </a:lnTo>
                  <a:lnTo>
                    <a:pt x="12992" y="3661"/>
                  </a:lnTo>
                  <a:lnTo>
                    <a:pt x="12998" y="3662"/>
                  </a:lnTo>
                  <a:lnTo>
                    <a:pt x="13005" y="3666"/>
                  </a:lnTo>
                  <a:lnTo>
                    <a:pt x="13010" y="3672"/>
                  </a:lnTo>
                  <a:lnTo>
                    <a:pt x="13011" y="3681"/>
                  </a:lnTo>
                  <a:close/>
                  <a:moveTo>
                    <a:pt x="12748" y="3681"/>
                  </a:moveTo>
                  <a:lnTo>
                    <a:pt x="12748" y="3792"/>
                  </a:lnTo>
                  <a:lnTo>
                    <a:pt x="12747" y="3801"/>
                  </a:lnTo>
                  <a:lnTo>
                    <a:pt x="12742" y="3808"/>
                  </a:lnTo>
                  <a:lnTo>
                    <a:pt x="12736" y="3811"/>
                  </a:lnTo>
                  <a:lnTo>
                    <a:pt x="12729" y="3813"/>
                  </a:lnTo>
                  <a:lnTo>
                    <a:pt x="12721" y="3811"/>
                  </a:lnTo>
                  <a:lnTo>
                    <a:pt x="12715" y="3808"/>
                  </a:lnTo>
                  <a:lnTo>
                    <a:pt x="12710" y="3801"/>
                  </a:lnTo>
                  <a:lnTo>
                    <a:pt x="12709" y="3792"/>
                  </a:lnTo>
                  <a:lnTo>
                    <a:pt x="12709" y="3681"/>
                  </a:lnTo>
                  <a:lnTo>
                    <a:pt x="12710" y="3672"/>
                  </a:lnTo>
                  <a:lnTo>
                    <a:pt x="12715" y="3666"/>
                  </a:lnTo>
                  <a:lnTo>
                    <a:pt x="12721" y="3662"/>
                  </a:lnTo>
                  <a:lnTo>
                    <a:pt x="12729" y="3661"/>
                  </a:lnTo>
                  <a:lnTo>
                    <a:pt x="12736" y="3662"/>
                  </a:lnTo>
                  <a:lnTo>
                    <a:pt x="12742" y="3666"/>
                  </a:lnTo>
                  <a:lnTo>
                    <a:pt x="12747" y="3672"/>
                  </a:lnTo>
                  <a:lnTo>
                    <a:pt x="12748" y="3681"/>
                  </a:lnTo>
                  <a:close/>
                  <a:moveTo>
                    <a:pt x="13538" y="3436"/>
                  </a:moveTo>
                  <a:lnTo>
                    <a:pt x="13538" y="3547"/>
                  </a:lnTo>
                  <a:lnTo>
                    <a:pt x="13536" y="3556"/>
                  </a:lnTo>
                  <a:lnTo>
                    <a:pt x="13532" y="3562"/>
                  </a:lnTo>
                  <a:lnTo>
                    <a:pt x="13525" y="3566"/>
                  </a:lnTo>
                  <a:lnTo>
                    <a:pt x="13518" y="3567"/>
                  </a:lnTo>
                  <a:lnTo>
                    <a:pt x="13510" y="3566"/>
                  </a:lnTo>
                  <a:lnTo>
                    <a:pt x="13504" y="3562"/>
                  </a:lnTo>
                  <a:lnTo>
                    <a:pt x="13500" y="3556"/>
                  </a:lnTo>
                  <a:lnTo>
                    <a:pt x="13497" y="3547"/>
                  </a:lnTo>
                  <a:lnTo>
                    <a:pt x="13497" y="3436"/>
                  </a:lnTo>
                  <a:lnTo>
                    <a:pt x="13500" y="3427"/>
                  </a:lnTo>
                  <a:lnTo>
                    <a:pt x="13504" y="3420"/>
                  </a:lnTo>
                  <a:lnTo>
                    <a:pt x="13510" y="3416"/>
                  </a:lnTo>
                  <a:lnTo>
                    <a:pt x="13518" y="3415"/>
                  </a:lnTo>
                  <a:lnTo>
                    <a:pt x="13525" y="3416"/>
                  </a:lnTo>
                  <a:lnTo>
                    <a:pt x="13532" y="3420"/>
                  </a:lnTo>
                  <a:lnTo>
                    <a:pt x="13536" y="3427"/>
                  </a:lnTo>
                  <a:lnTo>
                    <a:pt x="13538" y="3436"/>
                  </a:lnTo>
                  <a:close/>
                  <a:moveTo>
                    <a:pt x="13274" y="3436"/>
                  </a:moveTo>
                  <a:lnTo>
                    <a:pt x="13274" y="3547"/>
                  </a:lnTo>
                  <a:lnTo>
                    <a:pt x="13273" y="3556"/>
                  </a:lnTo>
                  <a:lnTo>
                    <a:pt x="13269" y="3562"/>
                  </a:lnTo>
                  <a:lnTo>
                    <a:pt x="13263" y="3566"/>
                  </a:lnTo>
                  <a:lnTo>
                    <a:pt x="13255" y="3567"/>
                  </a:lnTo>
                  <a:lnTo>
                    <a:pt x="13247" y="3566"/>
                  </a:lnTo>
                  <a:lnTo>
                    <a:pt x="13241" y="3562"/>
                  </a:lnTo>
                  <a:lnTo>
                    <a:pt x="13237" y="3556"/>
                  </a:lnTo>
                  <a:lnTo>
                    <a:pt x="13234" y="3547"/>
                  </a:lnTo>
                  <a:lnTo>
                    <a:pt x="13234" y="3436"/>
                  </a:lnTo>
                  <a:lnTo>
                    <a:pt x="13237" y="3427"/>
                  </a:lnTo>
                  <a:lnTo>
                    <a:pt x="13241" y="3420"/>
                  </a:lnTo>
                  <a:lnTo>
                    <a:pt x="13247" y="3416"/>
                  </a:lnTo>
                  <a:lnTo>
                    <a:pt x="13255" y="3415"/>
                  </a:lnTo>
                  <a:lnTo>
                    <a:pt x="13263" y="3416"/>
                  </a:lnTo>
                  <a:lnTo>
                    <a:pt x="13269" y="3420"/>
                  </a:lnTo>
                  <a:lnTo>
                    <a:pt x="13273" y="3427"/>
                  </a:lnTo>
                  <a:lnTo>
                    <a:pt x="13274" y="3436"/>
                  </a:lnTo>
                  <a:close/>
                  <a:moveTo>
                    <a:pt x="13011" y="3436"/>
                  </a:moveTo>
                  <a:lnTo>
                    <a:pt x="13011" y="3547"/>
                  </a:lnTo>
                  <a:lnTo>
                    <a:pt x="13010" y="3556"/>
                  </a:lnTo>
                  <a:lnTo>
                    <a:pt x="13005" y="3562"/>
                  </a:lnTo>
                  <a:lnTo>
                    <a:pt x="12998" y="3566"/>
                  </a:lnTo>
                  <a:lnTo>
                    <a:pt x="12992" y="3567"/>
                  </a:lnTo>
                  <a:lnTo>
                    <a:pt x="12984" y="3566"/>
                  </a:lnTo>
                  <a:lnTo>
                    <a:pt x="12978" y="3562"/>
                  </a:lnTo>
                  <a:lnTo>
                    <a:pt x="12973" y="3556"/>
                  </a:lnTo>
                  <a:lnTo>
                    <a:pt x="12972" y="3547"/>
                  </a:lnTo>
                  <a:lnTo>
                    <a:pt x="12972" y="3436"/>
                  </a:lnTo>
                  <a:lnTo>
                    <a:pt x="12973" y="3427"/>
                  </a:lnTo>
                  <a:lnTo>
                    <a:pt x="12978" y="3420"/>
                  </a:lnTo>
                  <a:lnTo>
                    <a:pt x="12984" y="3416"/>
                  </a:lnTo>
                  <a:lnTo>
                    <a:pt x="12992" y="3415"/>
                  </a:lnTo>
                  <a:lnTo>
                    <a:pt x="12998" y="3416"/>
                  </a:lnTo>
                  <a:lnTo>
                    <a:pt x="13005" y="3420"/>
                  </a:lnTo>
                  <a:lnTo>
                    <a:pt x="13010" y="3427"/>
                  </a:lnTo>
                  <a:lnTo>
                    <a:pt x="13011" y="3436"/>
                  </a:lnTo>
                  <a:close/>
                  <a:moveTo>
                    <a:pt x="12748" y="3436"/>
                  </a:moveTo>
                  <a:lnTo>
                    <a:pt x="12748" y="3547"/>
                  </a:lnTo>
                  <a:lnTo>
                    <a:pt x="12747" y="3556"/>
                  </a:lnTo>
                  <a:lnTo>
                    <a:pt x="12742" y="3562"/>
                  </a:lnTo>
                  <a:lnTo>
                    <a:pt x="12736" y="3566"/>
                  </a:lnTo>
                  <a:lnTo>
                    <a:pt x="12729" y="3567"/>
                  </a:lnTo>
                  <a:lnTo>
                    <a:pt x="12721" y="3566"/>
                  </a:lnTo>
                  <a:lnTo>
                    <a:pt x="12715" y="3562"/>
                  </a:lnTo>
                  <a:lnTo>
                    <a:pt x="12710" y="3556"/>
                  </a:lnTo>
                  <a:lnTo>
                    <a:pt x="12709" y="3547"/>
                  </a:lnTo>
                  <a:lnTo>
                    <a:pt x="12709" y="3436"/>
                  </a:lnTo>
                  <a:lnTo>
                    <a:pt x="12710" y="3427"/>
                  </a:lnTo>
                  <a:lnTo>
                    <a:pt x="12715" y="3420"/>
                  </a:lnTo>
                  <a:lnTo>
                    <a:pt x="12721" y="3416"/>
                  </a:lnTo>
                  <a:lnTo>
                    <a:pt x="12729" y="3415"/>
                  </a:lnTo>
                  <a:lnTo>
                    <a:pt x="12736" y="3416"/>
                  </a:lnTo>
                  <a:lnTo>
                    <a:pt x="12742" y="3420"/>
                  </a:lnTo>
                  <a:lnTo>
                    <a:pt x="12747" y="3427"/>
                  </a:lnTo>
                  <a:lnTo>
                    <a:pt x="12748" y="3436"/>
                  </a:lnTo>
                  <a:close/>
                  <a:moveTo>
                    <a:pt x="12486" y="3436"/>
                  </a:moveTo>
                  <a:lnTo>
                    <a:pt x="12486" y="3547"/>
                  </a:lnTo>
                  <a:lnTo>
                    <a:pt x="12484" y="3556"/>
                  </a:lnTo>
                  <a:lnTo>
                    <a:pt x="12479" y="3562"/>
                  </a:lnTo>
                  <a:lnTo>
                    <a:pt x="12473" y="3566"/>
                  </a:lnTo>
                  <a:lnTo>
                    <a:pt x="12465" y="3567"/>
                  </a:lnTo>
                  <a:lnTo>
                    <a:pt x="12459" y="3566"/>
                  </a:lnTo>
                  <a:lnTo>
                    <a:pt x="12452" y="3562"/>
                  </a:lnTo>
                  <a:lnTo>
                    <a:pt x="12447" y="3556"/>
                  </a:lnTo>
                  <a:lnTo>
                    <a:pt x="12446" y="3547"/>
                  </a:lnTo>
                  <a:lnTo>
                    <a:pt x="12446" y="3436"/>
                  </a:lnTo>
                  <a:lnTo>
                    <a:pt x="12447" y="3427"/>
                  </a:lnTo>
                  <a:lnTo>
                    <a:pt x="12452" y="3420"/>
                  </a:lnTo>
                  <a:lnTo>
                    <a:pt x="12459" y="3416"/>
                  </a:lnTo>
                  <a:lnTo>
                    <a:pt x="12465" y="3415"/>
                  </a:lnTo>
                  <a:lnTo>
                    <a:pt x="12473" y="3416"/>
                  </a:lnTo>
                  <a:lnTo>
                    <a:pt x="12479" y="3420"/>
                  </a:lnTo>
                  <a:lnTo>
                    <a:pt x="12484" y="3427"/>
                  </a:lnTo>
                  <a:lnTo>
                    <a:pt x="12486" y="3436"/>
                  </a:lnTo>
                  <a:close/>
                  <a:moveTo>
                    <a:pt x="10933" y="2423"/>
                  </a:moveTo>
                  <a:lnTo>
                    <a:pt x="10933" y="2535"/>
                  </a:lnTo>
                  <a:lnTo>
                    <a:pt x="10931" y="2543"/>
                  </a:lnTo>
                  <a:lnTo>
                    <a:pt x="10926" y="2549"/>
                  </a:lnTo>
                  <a:lnTo>
                    <a:pt x="10920" y="2553"/>
                  </a:lnTo>
                  <a:lnTo>
                    <a:pt x="10912" y="2555"/>
                  </a:lnTo>
                  <a:lnTo>
                    <a:pt x="10906" y="2553"/>
                  </a:lnTo>
                  <a:lnTo>
                    <a:pt x="10899" y="2549"/>
                  </a:lnTo>
                  <a:lnTo>
                    <a:pt x="10894" y="2543"/>
                  </a:lnTo>
                  <a:lnTo>
                    <a:pt x="10893" y="2535"/>
                  </a:lnTo>
                  <a:lnTo>
                    <a:pt x="10893" y="2423"/>
                  </a:lnTo>
                  <a:lnTo>
                    <a:pt x="10894" y="2414"/>
                  </a:lnTo>
                  <a:lnTo>
                    <a:pt x="10899" y="2407"/>
                  </a:lnTo>
                  <a:lnTo>
                    <a:pt x="10906" y="2404"/>
                  </a:lnTo>
                  <a:lnTo>
                    <a:pt x="10912" y="2402"/>
                  </a:lnTo>
                  <a:lnTo>
                    <a:pt x="10920" y="2404"/>
                  </a:lnTo>
                  <a:lnTo>
                    <a:pt x="10926" y="2407"/>
                  </a:lnTo>
                  <a:lnTo>
                    <a:pt x="10931" y="2414"/>
                  </a:lnTo>
                  <a:lnTo>
                    <a:pt x="10933" y="2423"/>
                  </a:lnTo>
                  <a:close/>
                  <a:moveTo>
                    <a:pt x="10670" y="2423"/>
                  </a:moveTo>
                  <a:lnTo>
                    <a:pt x="10670" y="2535"/>
                  </a:lnTo>
                  <a:lnTo>
                    <a:pt x="10669" y="2543"/>
                  </a:lnTo>
                  <a:lnTo>
                    <a:pt x="10663" y="2549"/>
                  </a:lnTo>
                  <a:lnTo>
                    <a:pt x="10657" y="2553"/>
                  </a:lnTo>
                  <a:lnTo>
                    <a:pt x="10649" y="2555"/>
                  </a:lnTo>
                  <a:lnTo>
                    <a:pt x="10643" y="2553"/>
                  </a:lnTo>
                  <a:lnTo>
                    <a:pt x="10637" y="2549"/>
                  </a:lnTo>
                  <a:lnTo>
                    <a:pt x="10631" y="2543"/>
                  </a:lnTo>
                  <a:lnTo>
                    <a:pt x="10630" y="2535"/>
                  </a:lnTo>
                  <a:lnTo>
                    <a:pt x="10630" y="2423"/>
                  </a:lnTo>
                  <a:lnTo>
                    <a:pt x="10631" y="2414"/>
                  </a:lnTo>
                  <a:lnTo>
                    <a:pt x="10637" y="2407"/>
                  </a:lnTo>
                  <a:lnTo>
                    <a:pt x="10643" y="2404"/>
                  </a:lnTo>
                  <a:lnTo>
                    <a:pt x="10649" y="2402"/>
                  </a:lnTo>
                  <a:lnTo>
                    <a:pt x="10657" y="2404"/>
                  </a:lnTo>
                  <a:lnTo>
                    <a:pt x="10663" y="2407"/>
                  </a:lnTo>
                  <a:lnTo>
                    <a:pt x="10669" y="2414"/>
                  </a:lnTo>
                  <a:lnTo>
                    <a:pt x="10670" y="2423"/>
                  </a:lnTo>
                  <a:close/>
                  <a:moveTo>
                    <a:pt x="10407" y="2423"/>
                  </a:moveTo>
                  <a:lnTo>
                    <a:pt x="10407" y="2535"/>
                  </a:lnTo>
                  <a:lnTo>
                    <a:pt x="10404" y="2543"/>
                  </a:lnTo>
                  <a:lnTo>
                    <a:pt x="10401" y="2549"/>
                  </a:lnTo>
                  <a:lnTo>
                    <a:pt x="10394" y="2553"/>
                  </a:lnTo>
                  <a:lnTo>
                    <a:pt x="10386" y="2555"/>
                  </a:lnTo>
                  <a:lnTo>
                    <a:pt x="10379" y="2553"/>
                  </a:lnTo>
                  <a:lnTo>
                    <a:pt x="10372" y="2549"/>
                  </a:lnTo>
                  <a:lnTo>
                    <a:pt x="10369" y="2543"/>
                  </a:lnTo>
                  <a:lnTo>
                    <a:pt x="10366" y="2535"/>
                  </a:lnTo>
                  <a:lnTo>
                    <a:pt x="10366" y="2423"/>
                  </a:lnTo>
                  <a:lnTo>
                    <a:pt x="10369" y="2414"/>
                  </a:lnTo>
                  <a:lnTo>
                    <a:pt x="10372" y="2407"/>
                  </a:lnTo>
                  <a:lnTo>
                    <a:pt x="10379" y="2404"/>
                  </a:lnTo>
                  <a:lnTo>
                    <a:pt x="10386" y="2402"/>
                  </a:lnTo>
                  <a:lnTo>
                    <a:pt x="10394" y="2404"/>
                  </a:lnTo>
                  <a:lnTo>
                    <a:pt x="10401" y="2407"/>
                  </a:lnTo>
                  <a:lnTo>
                    <a:pt x="10404" y="2414"/>
                  </a:lnTo>
                  <a:lnTo>
                    <a:pt x="10407" y="2423"/>
                  </a:lnTo>
                  <a:close/>
                  <a:moveTo>
                    <a:pt x="10143" y="2423"/>
                  </a:moveTo>
                  <a:lnTo>
                    <a:pt x="10143" y="2535"/>
                  </a:lnTo>
                  <a:lnTo>
                    <a:pt x="10142" y="2543"/>
                  </a:lnTo>
                  <a:lnTo>
                    <a:pt x="10138" y="2549"/>
                  </a:lnTo>
                  <a:lnTo>
                    <a:pt x="10131" y="2553"/>
                  </a:lnTo>
                  <a:lnTo>
                    <a:pt x="10124" y="2555"/>
                  </a:lnTo>
                  <a:lnTo>
                    <a:pt x="10116" y="2553"/>
                  </a:lnTo>
                  <a:lnTo>
                    <a:pt x="10109" y="2549"/>
                  </a:lnTo>
                  <a:lnTo>
                    <a:pt x="10106" y="2543"/>
                  </a:lnTo>
                  <a:lnTo>
                    <a:pt x="10103" y="2535"/>
                  </a:lnTo>
                  <a:lnTo>
                    <a:pt x="10103" y="2423"/>
                  </a:lnTo>
                  <a:lnTo>
                    <a:pt x="10106" y="2414"/>
                  </a:lnTo>
                  <a:lnTo>
                    <a:pt x="10109" y="2407"/>
                  </a:lnTo>
                  <a:lnTo>
                    <a:pt x="10116" y="2404"/>
                  </a:lnTo>
                  <a:lnTo>
                    <a:pt x="10124" y="2402"/>
                  </a:lnTo>
                  <a:lnTo>
                    <a:pt x="10131" y="2404"/>
                  </a:lnTo>
                  <a:lnTo>
                    <a:pt x="10138" y="2407"/>
                  </a:lnTo>
                  <a:lnTo>
                    <a:pt x="10142" y="2414"/>
                  </a:lnTo>
                  <a:lnTo>
                    <a:pt x="10143" y="2423"/>
                  </a:lnTo>
                  <a:close/>
                  <a:moveTo>
                    <a:pt x="9880" y="2423"/>
                  </a:moveTo>
                  <a:lnTo>
                    <a:pt x="9880" y="2535"/>
                  </a:lnTo>
                  <a:lnTo>
                    <a:pt x="9879" y="2543"/>
                  </a:lnTo>
                  <a:lnTo>
                    <a:pt x="9874" y="2549"/>
                  </a:lnTo>
                  <a:lnTo>
                    <a:pt x="9867" y="2553"/>
                  </a:lnTo>
                  <a:lnTo>
                    <a:pt x="9861" y="2555"/>
                  </a:lnTo>
                  <a:lnTo>
                    <a:pt x="9853" y="2553"/>
                  </a:lnTo>
                  <a:lnTo>
                    <a:pt x="9847" y="2549"/>
                  </a:lnTo>
                  <a:lnTo>
                    <a:pt x="9841" y="2543"/>
                  </a:lnTo>
                  <a:lnTo>
                    <a:pt x="9840" y="2535"/>
                  </a:lnTo>
                  <a:lnTo>
                    <a:pt x="9840" y="2423"/>
                  </a:lnTo>
                  <a:lnTo>
                    <a:pt x="9841" y="2414"/>
                  </a:lnTo>
                  <a:lnTo>
                    <a:pt x="9847" y="2407"/>
                  </a:lnTo>
                  <a:lnTo>
                    <a:pt x="9853" y="2404"/>
                  </a:lnTo>
                  <a:lnTo>
                    <a:pt x="9861" y="2402"/>
                  </a:lnTo>
                  <a:lnTo>
                    <a:pt x="9867" y="2404"/>
                  </a:lnTo>
                  <a:lnTo>
                    <a:pt x="9874" y="2407"/>
                  </a:lnTo>
                  <a:lnTo>
                    <a:pt x="9879" y="2414"/>
                  </a:lnTo>
                  <a:lnTo>
                    <a:pt x="9880" y="2423"/>
                  </a:lnTo>
                  <a:close/>
                  <a:moveTo>
                    <a:pt x="9617" y="2423"/>
                  </a:moveTo>
                  <a:lnTo>
                    <a:pt x="9617" y="2535"/>
                  </a:lnTo>
                  <a:lnTo>
                    <a:pt x="9616" y="2543"/>
                  </a:lnTo>
                  <a:lnTo>
                    <a:pt x="9611" y="2549"/>
                  </a:lnTo>
                  <a:lnTo>
                    <a:pt x="9604" y="2553"/>
                  </a:lnTo>
                  <a:lnTo>
                    <a:pt x="9598" y="2555"/>
                  </a:lnTo>
                  <a:lnTo>
                    <a:pt x="9590" y="2553"/>
                  </a:lnTo>
                  <a:lnTo>
                    <a:pt x="9584" y="2549"/>
                  </a:lnTo>
                  <a:lnTo>
                    <a:pt x="9579" y="2543"/>
                  </a:lnTo>
                  <a:lnTo>
                    <a:pt x="9577" y="2535"/>
                  </a:lnTo>
                  <a:lnTo>
                    <a:pt x="9577" y="2423"/>
                  </a:lnTo>
                  <a:lnTo>
                    <a:pt x="9579" y="2414"/>
                  </a:lnTo>
                  <a:lnTo>
                    <a:pt x="9584" y="2407"/>
                  </a:lnTo>
                  <a:lnTo>
                    <a:pt x="9590" y="2404"/>
                  </a:lnTo>
                  <a:lnTo>
                    <a:pt x="9598" y="2402"/>
                  </a:lnTo>
                  <a:lnTo>
                    <a:pt x="9604" y="2404"/>
                  </a:lnTo>
                  <a:lnTo>
                    <a:pt x="9611" y="2407"/>
                  </a:lnTo>
                  <a:lnTo>
                    <a:pt x="9616" y="2414"/>
                  </a:lnTo>
                  <a:lnTo>
                    <a:pt x="9617" y="2423"/>
                  </a:lnTo>
                  <a:close/>
                  <a:moveTo>
                    <a:pt x="16589" y="796"/>
                  </a:moveTo>
                  <a:lnTo>
                    <a:pt x="16589" y="847"/>
                  </a:lnTo>
                  <a:lnTo>
                    <a:pt x="16588" y="859"/>
                  </a:lnTo>
                  <a:lnTo>
                    <a:pt x="16584" y="869"/>
                  </a:lnTo>
                  <a:lnTo>
                    <a:pt x="16576" y="878"/>
                  </a:lnTo>
                  <a:lnTo>
                    <a:pt x="16566" y="883"/>
                  </a:lnTo>
                  <a:lnTo>
                    <a:pt x="16556" y="890"/>
                  </a:lnTo>
                  <a:lnTo>
                    <a:pt x="16547" y="896"/>
                  </a:lnTo>
                  <a:lnTo>
                    <a:pt x="16534" y="913"/>
                  </a:lnTo>
                  <a:lnTo>
                    <a:pt x="16529" y="923"/>
                  </a:lnTo>
                  <a:lnTo>
                    <a:pt x="16526" y="934"/>
                  </a:lnTo>
                  <a:lnTo>
                    <a:pt x="16526" y="956"/>
                  </a:lnTo>
                  <a:lnTo>
                    <a:pt x="16530" y="968"/>
                  </a:lnTo>
                  <a:lnTo>
                    <a:pt x="16535" y="978"/>
                  </a:lnTo>
                  <a:lnTo>
                    <a:pt x="16541" y="987"/>
                  </a:lnTo>
                  <a:lnTo>
                    <a:pt x="16549" y="996"/>
                  </a:lnTo>
                  <a:lnTo>
                    <a:pt x="16568" y="1006"/>
                  </a:lnTo>
                  <a:lnTo>
                    <a:pt x="16591" y="1011"/>
                  </a:lnTo>
                  <a:lnTo>
                    <a:pt x="16604" y="1009"/>
                  </a:lnTo>
                  <a:lnTo>
                    <a:pt x="16617" y="1005"/>
                  </a:lnTo>
                  <a:lnTo>
                    <a:pt x="16629" y="1000"/>
                  </a:lnTo>
                  <a:lnTo>
                    <a:pt x="16638" y="991"/>
                  </a:lnTo>
                  <a:lnTo>
                    <a:pt x="16647" y="982"/>
                  </a:lnTo>
                  <a:lnTo>
                    <a:pt x="16652" y="970"/>
                  </a:lnTo>
                  <a:lnTo>
                    <a:pt x="16656" y="957"/>
                  </a:lnTo>
                  <a:lnTo>
                    <a:pt x="16657" y="945"/>
                  </a:lnTo>
                  <a:lnTo>
                    <a:pt x="16659" y="936"/>
                  </a:lnTo>
                  <a:lnTo>
                    <a:pt x="16663" y="929"/>
                  </a:lnTo>
                  <a:lnTo>
                    <a:pt x="16670" y="925"/>
                  </a:lnTo>
                  <a:lnTo>
                    <a:pt x="16677" y="924"/>
                  </a:lnTo>
                  <a:lnTo>
                    <a:pt x="16685" y="925"/>
                  </a:lnTo>
                  <a:lnTo>
                    <a:pt x="16691" y="929"/>
                  </a:lnTo>
                  <a:lnTo>
                    <a:pt x="16695" y="936"/>
                  </a:lnTo>
                  <a:lnTo>
                    <a:pt x="16698" y="945"/>
                  </a:lnTo>
                  <a:lnTo>
                    <a:pt x="16695" y="966"/>
                  </a:lnTo>
                  <a:lnTo>
                    <a:pt x="16689" y="986"/>
                  </a:lnTo>
                  <a:lnTo>
                    <a:pt x="16679" y="1003"/>
                  </a:lnTo>
                  <a:lnTo>
                    <a:pt x="16666" y="1020"/>
                  </a:lnTo>
                  <a:lnTo>
                    <a:pt x="16650" y="1033"/>
                  </a:lnTo>
                  <a:lnTo>
                    <a:pt x="16632" y="1042"/>
                  </a:lnTo>
                  <a:lnTo>
                    <a:pt x="16612" y="1048"/>
                  </a:lnTo>
                  <a:lnTo>
                    <a:pt x="16591" y="1051"/>
                  </a:lnTo>
                  <a:lnTo>
                    <a:pt x="16572" y="1048"/>
                  </a:lnTo>
                  <a:lnTo>
                    <a:pt x="16556" y="1044"/>
                  </a:lnTo>
                  <a:lnTo>
                    <a:pt x="16539" y="1037"/>
                  </a:lnTo>
                  <a:lnTo>
                    <a:pt x="16523" y="1025"/>
                  </a:lnTo>
                  <a:lnTo>
                    <a:pt x="16511" y="1014"/>
                  </a:lnTo>
                  <a:lnTo>
                    <a:pt x="16500" y="998"/>
                  </a:lnTo>
                  <a:lnTo>
                    <a:pt x="16495" y="991"/>
                  </a:lnTo>
                  <a:lnTo>
                    <a:pt x="16491" y="982"/>
                  </a:lnTo>
                  <a:lnTo>
                    <a:pt x="16488" y="964"/>
                  </a:lnTo>
                  <a:lnTo>
                    <a:pt x="16485" y="945"/>
                  </a:lnTo>
                  <a:lnTo>
                    <a:pt x="16486" y="928"/>
                  </a:lnTo>
                  <a:lnTo>
                    <a:pt x="16490" y="910"/>
                  </a:lnTo>
                  <a:lnTo>
                    <a:pt x="16498" y="895"/>
                  </a:lnTo>
                  <a:lnTo>
                    <a:pt x="16507" y="879"/>
                  </a:lnTo>
                  <a:lnTo>
                    <a:pt x="16518" y="867"/>
                  </a:lnTo>
                  <a:lnTo>
                    <a:pt x="16532" y="856"/>
                  </a:lnTo>
                  <a:lnTo>
                    <a:pt x="16549" y="847"/>
                  </a:lnTo>
                  <a:lnTo>
                    <a:pt x="16549" y="796"/>
                  </a:lnTo>
                  <a:lnTo>
                    <a:pt x="16550" y="787"/>
                  </a:lnTo>
                  <a:lnTo>
                    <a:pt x="16556" y="782"/>
                  </a:lnTo>
                  <a:lnTo>
                    <a:pt x="16562" y="778"/>
                  </a:lnTo>
                  <a:lnTo>
                    <a:pt x="16568" y="777"/>
                  </a:lnTo>
                  <a:lnTo>
                    <a:pt x="16576" y="778"/>
                  </a:lnTo>
                  <a:lnTo>
                    <a:pt x="16582" y="782"/>
                  </a:lnTo>
                  <a:lnTo>
                    <a:pt x="16588" y="787"/>
                  </a:lnTo>
                  <a:lnTo>
                    <a:pt x="16589" y="796"/>
                  </a:lnTo>
                  <a:close/>
                  <a:moveTo>
                    <a:pt x="17183" y="112"/>
                  </a:moveTo>
                  <a:lnTo>
                    <a:pt x="17100" y="225"/>
                  </a:lnTo>
                  <a:lnTo>
                    <a:pt x="17100" y="309"/>
                  </a:lnTo>
                  <a:lnTo>
                    <a:pt x="17183" y="309"/>
                  </a:lnTo>
                  <a:lnTo>
                    <a:pt x="17183" y="112"/>
                  </a:lnTo>
                  <a:close/>
                  <a:moveTo>
                    <a:pt x="17059" y="309"/>
                  </a:moveTo>
                  <a:lnTo>
                    <a:pt x="17059" y="218"/>
                  </a:lnTo>
                  <a:lnTo>
                    <a:pt x="17063" y="207"/>
                  </a:lnTo>
                  <a:lnTo>
                    <a:pt x="17175" y="55"/>
                  </a:lnTo>
                  <a:lnTo>
                    <a:pt x="16382" y="309"/>
                  </a:lnTo>
                  <a:lnTo>
                    <a:pt x="16906" y="309"/>
                  </a:lnTo>
                  <a:lnTo>
                    <a:pt x="17015" y="309"/>
                  </a:lnTo>
                  <a:lnTo>
                    <a:pt x="17059" y="309"/>
                  </a:lnTo>
                  <a:close/>
                  <a:moveTo>
                    <a:pt x="17222" y="309"/>
                  </a:moveTo>
                  <a:lnTo>
                    <a:pt x="17388" y="309"/>
                  </a:lnTo>
                  <a:lnTo>
                    <a:pt x="17222" y="80"/>
                  </a:lnTo>
                  <a:lnTo>
                    <a:pt x="17222" y="309"/>
                  </a:lnTo>
                  <a:close/>
                  <a:moveTo>
                    <a:pt x="17183" y="481"/>
                  </a:moveTo>
                  <a:lnTo>
                    <a:pt x="17015" y="481"/>
                  </a:lnTo>
                  <a:lnTo>
                    <a:pt x="17007" y="478"/>
                  </a:lnTo>
                  <a:lnTo>
                    <a:pt x="17000" y="474"/>
                  </a:lnTo>
                  <a:lnTo>
                    <a:pt x="16995" y="468"/>
                  </a:lnTo>
                  <a:lnTo>
                    <a:pt x="16994" y="460"/>
                  </a:lnTo>
                  <a:lnTo>
                    <a:pt x="16994" y="349"/>
                  </a:lnTo>
                  <a:lnTo>
                    <a:pt x="16926" y="349"/>
                  </a:lnTo>
                  <a:lnTo>
                    <a:pt x="16926" y="552"/>
                  </a:lnTo>
                  <a:lnTo>
                    <a:pt x="17067" y="552"/>
                  </a:lnTo>
                  <a:lnTo>
                    <a:pt x="17183" y="552"/>
                  </a:lnTo>
                  <a:lnTo>
                    <a:pt x="17183" y="481"/>
                  </a:lnTo>
                  <a:close/>
                  <a:moveTo>
                    <a:pt x="17222" y="349"/>
                  </a:moveTo>
                  <a:lnTo>
                    <a:pt x="17222" y="460"/>
                  </a:lnTo>
                  <a:lnTo>
                    <a:pt x="17222" y="573"/>
                  </a:lnTo>
                  <a:lnTo>
                    <a:pt x="17222" y="1413"/>
                  </a:lnTo>
                  <a:lnTo>
                    <a:pt x="17222" y="2253"/>
                  </a:lnTo>
                  <a:lnTo>
                    <a:pt x="17220" y="2262"/>
                  </a:lnTo>
                  <a:lnTo>
                    <a:pt x="17216" y="2268"/>
                  </a:lnTo>
                  <a:lnTo>
                    <a:pt x="17209" y="2272"/>
                  </a:lnTo>
                  <a:lnTo>
                    <a:pt x="17202" y="2273"/>
                  </a:lnTo>
                  <a:lnTo>
                    <a:pt x="17194" y="2272"/>
                  </a:lnTo>
                  <a:lnTo>
                    <a:pt x="17188" y="2268"/>
                  </a:lnTo>
                  <a:lnTo>
                    <a:pt x="17184" y="2262"/>
                  </a:lnTo>
                  <a:lnTo>
                    <a:pt x="17183" y="2253"/>
                  </a:lnTo>
                  <a:lnTo>
                    <a:pt x="17183" y="1422"/>
                  </a:lnTo>
                  <a:lnTo>
                    <a:pt x="17183" y="592"/>
                  </a:lnTo>
                  <a:lnTo>
                    <a:pt x="17088" y="592"/>
                  </a:lnTo>
                  <a:lnTo>
                    <a:pt x="17088" y="1422"/>
                  </a:lnTo>
                  <a:lnTo>
                    <a:pt x="17088" y="2253"/>
                  </a:lnTo>
                  <a:lnTo>
                    <a:pt x="17085" y="2262"/>
                  </a:lnTo>
                  <a:lnTo>
                    <a:pt x="17081" y="2268"/>
                  </a:lnTo>
                  <a:lnTo>
                    <a:pt x="17075" y="2272"/>
                  </a:lnTo>
                  <a:lnTo>
                    <a:pt x="17067" y="2273"/>
                  </a:lnTo>
                  <a:lnTo>
                    <a:pt x="17059" y="2272"/>
                  </a:lnTo>
                  <a:lnTo>
                    <a:pt x="17053" y="2268"/>
                  </a:lnTo>
                  <a:lnTo>
                    <a:pt x="17049" y="2262"/>
                  </a:lnTo>
                  <a:lnTo>
                    <a:pt x="17047" y="2253"/>
                  </a:lnTo>
                  <a:lnTo>
                    <a:pt x="17047" y="1422"/>
                  </a:lnTo>
                  <a:lnTo>
                    <a:pt x="17047" y="592"/>
                  </a:lnTo>
                  <a:lnTo>
                    <a:pt x="16906" y="592"/>
                  </a:lnTo>
                  <a:lnTo>
                    <a:pt x="16898" y="590"/>
                  </a:lnTo>
                  <a:lnTo>
                    <a:pt x="16891" y="587"/>
                  </a:lnTo>
                  <a:lnTo>
                    <a:pt x="16888" y="580"/>
                  </a:lnTo>
                  <a:lnTo>
                    <a:pt x="16886" y="573"/>
                  </a:lnTo>
                  <a:lnTo>
                    <a:pt x="16886" y="349"/>
                  </a:lnTo>
                  <a:lnTo>
                    <a:pt x="16584" y="349"/>
                  </a:lnTo>
                  <a:lnTo>
                    <a:pt x="16584" y="740"/>
                  </a:lnTo>
                  <a:lnTo>
                    <a:pt x="16581" y="749"/>
                  </a:lnTo>
                  <a:lnTo>
                    <a:pt x="16577" y="755"/>
                  </a:lnTo>
                  <a:lnTo>
                    <a:pt x="16571" y="759"/>
                  </a:lnTo>
                  <a:lnTo>
                    <a:pt x="16563" y="761"/>
                  </a:lnTo>
                  <a:lnTo>
                    <a:pt x="16556" y="759"/>
                  </a:lnTo>
                  <a:lnTo>
                    <a:pt x="16549" y="755"/>
                  </a:lnTo>
                  <a:lnTo>
                    <a:pt x="16545" y="749"/>
                  </a:lnTo>
                  <a:lnTo>
                    <a:pt x="16544" y="740"/>
                  </a:lnTo>
                  <a:lnTo>
                    <a:pt x="16544" y="349"/>
                  </a:lnTo>
                  <a:lnTo>
                    <a:pt x="16255" y="349"/>
                  </a:lnTo>
                  <a:lnTo>
                    <a:pt x="16246" y="348"/>
                  </a:lnTo>
                  <a:lnTo>
                    <a:pt x="16239" y="344"/>
                  </a:lnTo>
                  <a:lnTo>
                    <a:pt x="16235" y="339"/>
                  </a:lnTo>
                  <a:lnTo>
                    <a:pt x="16232" y="332"/>
                  </a:lnTo>
                  <a:lnTo>
                    <a:pt x="16232" y="326"/>
                  </a:lnTo>
                  <a:lnTo>
                    <a:pt x="16235" y="319"/>
                  </a:lnTo>
                  <a:lnTo>
                    <a:pt x="16241" y="314"/>
                  </a:lnTo>
                  <a:lnTo>
                    <a:pt x="16249" y="310"/>
                  </a:lnTo>
                  <a:lnTo>
                    <a:pt x="17184" y="9"/>
                  </a:lnTo>
                  <a:lnTo>
                    <a:pt x="17188" y="5"/>
                  </a:lnTo>
                  <a:lnTo>
                    <a:pt x="17192" y="2"/>
                  </a:lnTo>
                  <a:lnTo>
                    <a:pt x="17203" y="0"/>
                  </a:lnTo>
                  <a:lnTo>
                    <a:pt x="17213" y="2"/>
                  </a:lnTo>
                  <a:lnTo>
                    <a:pt x="17220" y="10"/>
                  </a:lnTo>
                  <a:lnTo>
                    <a:pt x="17443" y="317"/>
                  </a:lnTo>
                  <a:lnTo>
                    <a:pt x="17447" y="323"/>
                  </a:lnTo>
                  <a:lnTo>
                    <a:pt x="17449" y="328"/>
                  </a:lnTo>
                  <a:lnTo>
                    <a:pt x="17447" y="339"/>
                  </a:lnTo>
                  <a:lnTo>
                    <a:pt x="17440" y="346"/>
                  </a:lnTo>
                  <a:lnTo>
                    <a:pt x="17427" y="349"/>
                  </a:lnTo>
                  <a:lnTo>
                    <a:pt x="17222" y="349"/>
                  </a:lnTo>
                  <a:close/>
                  <a:moveTo>
                    <a:pt x="17183" y="349"/>
                  </a:moveTo>
                  <a:lnTo>
                    <a:pt x="17034" y="349"/>
                  </a:lnTo>
                  <a:lnTo>
                    <a:pt x="17034" y="440"/>
                  </a:lnTo>
                  <a:lnTo>
                    <a:pt x="17183" y="440"/>
                  </a:lnTo>
                  <a:lnTo>
                    <a:pt x="17183" y="349"/>
                  </a:lnTo>
                  <a:close/>
                  <a:moveTo>
                    <a:pt x="15662" y="1363"/>
                  </a:moveTo>
                  <a:lnTo>
                    <a:pt x="15676" y="1370"/>
                  </a:lnTo>
                  <a:lnTo>
                    <a:pt x="15687" y="1379"/>
                  </a:lnTo>
                  <a:lnTo>
                    <a:pt x="15696" y="1391"/>
                  </a:lnTo>
                  <a:lnTo>
                    <a:pt x="15704" y="1404"/>
                  </a:lnTo>
                  <a:lnTo>
                    <a:pt x="15709" y="1417"/>
                  </a:lnTo>
                  <a:lnTo>
                    <a:pt x="15713" y="1431"/>
                  </a:lnTo>
                  <a:lnTo>
                    <a:pt x="15713" y="1461"/>
                  </a:lnTo>
                  <a:lnTo>
                    <a:pt x="15709" y="1477"/>
                  </a:lnTo>
                  <a:lnTo>
                    <a:pt x="15702" y="1491"/>
                  </a:lnTo>
                  <a:lnTo>
                    <a:pt x="15693" y="1503"/>
                  </a:lnTo>
                  <a:lnTo>
                    <a:pt x="15681" y="1515"/>
                  </a:lnTo>
                  <a:lnTo>
                    <a:pt x="15668" y="1524"/>
                  </a:lnTo>
                  <a:lnTo>
                    <a:pt x="15654" y="1530"/>
                  </a:lnTo>
                  <a:lnTo>
                    <a:pt x="15640" y="1534"/>
                  </a:lnTo>
                  <a:lnTo>
                    <a:pt x="15623" y="1535"/>
                  </a:lnTo>
                  <a:lnTo>
                    <a:pt x="15605" y="1534"/>
                  </a:lnTo>
                  <a:lnTo>
                    <a:pt x="15589" y="1529"/>
                  </a:lnTo>
                  <a:lnTo>
                    <a:pt x="15573" y="1520"/>
                  </a:lnTo>
                  <a:lnTo>
                    <a:pt x="15559" y="1509"/>
                  </a:lnTo>
                  <a:lnTo>
                    <a:pt x="15549" y="1496"/>
                  </a:lnTo>
                  <a:lnTo>
                    <a:pt x="15540" y="1480"/>
                  </a:lnTo>
                  <a:lnTo>
                    <a:pt x="15535" y="1464"/>
                  </a:lnTo>
                  <a:lnTo>
                    <a:pt x="15532" y="1445"/>
                  </a:lnTo>
                  <a:lnTo>
                    <a:pt x="15535" y="1437"/>
                  </a:lnTo>
                  <a:lnTo>
                    <a:pt x="15539" y="1431"/>
                  </a:lnTo>
                  <a:lnTo>
                    <a:pt x="15545" y="1427"/>
                  </a:lnTo>
                  <a:lnTo>
                    <a:pt x="15553" y="1425"/>
                  </a:lnTo>
                  <a:lnTo>
                    <a:pt x="15560" y="1427"/>
                  </a:lnTo>
                  <a:lnTo>
                    <a:pt x="15567" y="1431"/>
                  </a:lnTo>
                  <a:lnTo>
                    <a:pt x="15571" y="1437"/>
                  </a:lnTo>
                  <a:lnTo>
                    <a:pt x="15573" y="1445"/>
                  </a:lnTo>
                  <a:lnTo>
                    <a:pt x="15573" y="1455"/>
                  </a:lnTo>
                  <a:lnTo>
                    <a:pt x="15577" y="1465"/>
                  </a:lnTo>
                  <a:lnTo>
                    <a:pt x="15581" y="1474"/>
                  </a:lnTo>
                  <a:lnTo>
                    <a:pt x="15587" y="1480"/>
                  </a:lnTo>
                  <a:lnTo>
                    <a:pt x="15595" y="1487"/>
                  </a:lnTo>
                  <a:lnTo>
                    <a:pt x="15604" y="1492"/>
                  </a:lnTo>
                  <a:lnTo>
                    <a:pt x="15623" y="1496"/>
                  </a:lnTo>
                  <a:lnTo>
                    <a:pt x="15641" y="1492"/>
                  </a:lnTo>
                  <a:lnTo>
                    <a:pt x="15655" y="1484"/>
                  </a:lnTo>
                  <a:lnTo>
                    <a:pt x="15662" y="1478"/>
                  </a:lnTo>
                  <a:lnTo>
                    <a:pt x="15667" y="1470"/>
                  </a:lnTo>
                  <a:lnTo>
                    <a:pt x="15673" y="1455"/>
                  </a:lnTo>
                  <a:lnTo>
                    <a:pt x="15675" y="1436"/>
                  </a:lnTo>
                  <a:lnTo>
                    <a:pt x="15669" y="1423"/>
                  </a:lnTo>
                  <a:lnTo>
                    <a:pt x="15662" y="1413"/>
                  </a:lnTo>
                  <a:lnTo>
                    <a:pt x="15652" y="1405"/>
                  </a:lnTo>
                  <a:lnTo>
                    <a:pt x="15631" y="1390"/>
                  </a:lnTo>
                  <a:lnTo>
                    <a:pt x="15625" y="1379"/>
                  </a:lnTo>
                  <a:lnTo>
                    <a:pt x="15622" y="1365"/>
                  </a:lnTo>
                  <a:lnTo>
                    <a:pt x="15622" y="1323"/>
                  </a:lnTo>
                  <a:lnTo>
                    <a:pt x="15623" y="1314"/>
                  </a:lnTo>
                  <a:lnTo>
                    <a:pt x="15628" y="1308"/>
                  </a:lnTo>
                  <a:lnTo>
                    <a:pt x="15635" y="1305"/>
                  </a:lnTo>
                  <a:lnTo>
                    <a:pt x="15643" y="1304"/>
                  </a:lnTo>
                  <a:lnTo>
                    <a:pt x="15649" y="1305"/>
                  </a:lnTo>
                  <a:lnTo>
                    <a:pt x="15655" y="1308"/>
                  </a:lnTo>
                  <a:lnTo>
                    <a:pt x="15660" y="1314"/>
                  </a:lnTo>
                  <a:lnTo>
                    <a:pt x="15662" y="1323"/>
                  </a:lnTo>
                  <a:lnTo>
                    <a:pt x="15662" y="1363"/>
                  </a:lnTo>
                  <a:close/>
                  <a:moveTo>
                    <a:pt x="15667" y="963"/>
                  </a:moveTo>
                  <a:lnTo>
                    <a:pt x="15667" y="1277"/>
                  </a:lnTo>
                  <a:lnTo>
                    <a:pt x="15664" y="1286"/>
                  </a:lnTo>
                  <a:lnTo>
                    <a:pt x="15660" y="1292"/>
                  </a:lnTo>
                  <a:lnTo>
                    <a:pt x="15654" y="1296"/>
                  </a:lnTo>
                  <a:lnTo>
                    <a:pt x="15646" y="1298"/>
                  </a:lnTo>
                  <a:lnTo>
                    <a:pt x="15639" y="1296"/>
                  </a:lnTo>
                  <a:lnTo>
                    <a:pt x="15632" y="1292"/>
                  </a:lnTo>
                  <a:lnTo>
                    <a:pt x="15628" y="1286"/>
                  </a:lnTo>
                  <a:lnTo>
                    <a:pt x="15627" y="1277"/>
                  </a:lnTo>
                  <a:lnTo>
                    <a:pt x="15627" y="963"/>
                  </a:lnTo>
                  <a:lnTo>
                    <a:pt x="15385" y="963"/>
                  </a:lnTo>
                  <a:lnTo>
                    <a:pt x="15385" y="1139"/>
                  </a:lnTo>
                  <a:lnTo>
                    <a:pt x="15384" y="1147"/>
                  </a:lnTo>
                  <a:lnTo>
                    <a:pt x="15378" y="1153"/>
                  </a:lnTo>
                  <a:lnTo>
                    <a:pt x="15372" y="1157"/>
                  </a:lnTo>
                  <a:lnTo>
                    <a:pt x="15366" y="1158"/>
                  </a:lnTo>
                  <a:lnTo>
                    <a:pt x="15253" y="1158"/>
                  </a:lnTo>
                  <a:lnTo>
                    <a:pt x="15253" y="1705"/>
                  </a:lnTo>
                  <a:lnTo>
                    <a:pt x="15253" y="2253"/>
                  </a:lnTo>
                  <a:lnTo>
                    <a:pt x="15250" y="2262"/>
                  </a:lnTo>
                  <a:lnTo>
                    <a:pt x="15246" y="2268"/>
                  </a:lnTo>
                  <a:lnTo>
                    <a:pt x="15240" y="2272"/>
                  </a:lnTo>
                  <a:lnTo>
                    <a:pt x="15232" y="2273"/>
                  </a:lnTo>
                  <a:lnTo>
                    <a:pt x="15225" y="2272"/>
                  </a:lnTo>
                  <a:lnTo>
                    <a:pt x="15218" y="2268"/>
                  </a:lnTo>
                  <a:lnTo>
                    <a:pt x="15214" y="2262"/>
                  </a:lnTo>
                  <a:lnTo>
                    <a:pt x="15213" y="2253"/>
                  </a:lnTo>
                  <a:lnTo>
                    <a:pt x="15213" y="1705"/>
                  </a:lnTo>
                  <a:lnTo>
                    <a:pt x="15213" y="1158"/>
                  </a:lnTo>
                  <a:lnTo>
                    <a:pt x="15141" y="1158"/>
                  </a:lnTo>
                  <a:lnTo>
                    <a:pt x="15141" y="1705"/>
                  </a:lnTo>
                  <a:lnTo>
                    <a:pt x="15141" y="2253"/>
                  </a:lnTo>
                  <a:lnTo>
                    <a:pt x="15140" y="2262"/>
                  </a:lnTo>
                  <a:lnTo>
                    <a:pt x="15135" y="2268"/>
                  </a:lnTo>
                  <a:lnTo>
                    <a:pt x="15128" y="2272"/>
                  </a:lnTo>
                  <a:lnTo>
                    <a:pt x="15122" y="2273"/>
                  </a:lnTo>
                  <a:lnTo>
                    <a:pt x="15114" y="2272"/>
                  </a:lnTo>
                  <a:lnTo>
                    <a:pt x="15108" y="2268"/>
                  </a:lnTo>
                  <a:lnTo>
                    <a:pt x="15103" y="2262"/>
                  </a:lnTo>
                  <a:lnTo>
                    <a:pt x="15101" y="2253"/>
                  </a:lnTo>
                  <a:lnTo>
                    <a:pt x="15101" y="1695"/>
                  </a:lnTo>
                  <a:lnTo>
                    <a:pt x="15101" y="1139"/>
                  </a:lnTo>
                  <a:lnTo>
                    <a:pt x="15101" y="1047"/>
                  </a:lnTo>
                  <a:lnTo>
                    <a:pt x="15101" y="963"/>
                  </a:lnTo>
                  <a:lnTo>
                    <a:pt x="14931" y="963"/>
                  </a:lnTo>
                  <a:lnTo>
                    <a:pt x="14918" y="960"/>
                  </a:lnTo>
                  <a:lnTo>
                    <a:pt x="14913" y="956"/>
                  </a:lnTo>
                  <a:lnTo>
                    <a:pt x="14910" y="952"/>
                  </a:lnTo>
                  <a:lnTo>
                    <a:pt x="14909" y="947"/>
                  </a:lnTo>
                  <a:lnTo>
                    <a:pt x="14909" y="942"/>
                  </a:lnTo>
                  <a:lnTo>
                    <a:pt x="14914" y="931"/>
                  </a:lnTo>
                  <a:lnTo>
                    <a:pt x="15105" y="680"/>
                  </a:lnTo>
                  <a:lnTo>
                    <a:pt x="15116" y="675"/>
                  </a:lnTo>
                  <a:lnTo>
                    <a:pt x="15127" y="674"/>
                  </a:lnTo>
                  <a:lnTo>
                    <a:pt x="15907" y="924"/>
                  </a:lnTo>
                  <a:lnTo>
                    <a:pt x="15920" y="933"/>
                  </a:lnTo>
                  <a:lnTo>
                    <a:pt x="15922" y="940"/>
                  </a:lnTo>
                  <a:lnTo>
                    <a:pt x="15923" y="946"/>
                  </a:lnTo>
                  <a:lnTo>
                    <a:pt x="15921" y="952"/>
                  </a:lnTo>
                  <a:lnTo>
                    <a:pt x="15916" y="957"/>
                  </a:lnTo>
                  <a:lnTo>
                    <a:pt x="15909" y="961"/>
                  </a:lnTo>
                  <a:lnTo>
                    <a:pt x="15900" y="963"/>
                  </a:lnTo>
                  <a:lnTo>
                    <a:pt x="15667" y="963"/>
                  </a:lnTo>
                  <a:close/>
                  <a:moveTo>
                    <a:pt x="15167" y="727"/>
                  </a:moveTo>
                  <a:lnTo>
                    <a:pt x="15240" y="828"/>
                  </a:lnTo>
                  <a:lnTo>
                    <a:pt x="15244" y="840"/>
                  </a:lnTo>
                  <a:lnTo>
                    <a:pt x="15244" y="923"/>
                  </a:lnTo>
                  <a:lnTo>
                    <a:pt x="15276" y="923"/>
                  </a:lnTo>
                  <a:lnTo>
                    <a:pt x="15366" y="923"/>
                  </a:lnTo>
                  <a:lnTo>
                    <a:pt x="15773" y="923"/>
                  </a:lnTo>
                  <a:lnTo>
                    <a:pt x="15167" y="727"/>
                  </a:lnTo>
                  <a:close/>
                  <a:moveTo>
                    <a:pt x="15203" y="923"/>
                  </a:moveTo>
                  <a:lnTo>
                    <a:pt x="15203" y="846"/>
                  </a:lnTo>
                  <a:lnTo>
                    <a:pt x="15141" y="762"/>
                  </a:lnTo>
                  <a:lnTo>
                    <a:pt x="15141" y="923"/>
                  </a:lnTo>
                  <a:lnTo>
                    <a:pt x="15203" y="923"/>
                  </a:lnTo>
                  <a:close/>
                  <a:moveTo>
                    <a:pt x="15101" y="752"/>
                  </a:moveTo>
                  <a:lnTo>
                    <a:pt x="14971" y="923"/>
                  </a:lnTo>
                  <a:lnTo>
                    <a:pt x="15101" y="923"/>
                  </a:lnTo>
                  <a:lnTo>
                    <a:pt x="15101" y="752"/>
                  </a:lnTo>
                  <a:close/>
                  <a:moveTo>
                    <a:pt x="15296" y="963"/>
                  </a:moveTo>
                  <a:lnTo>
                    <a:pt x="15296" y="1047"/>
                  </a:lnTo>
                  <a:lnTo>
                    <a:pt x="15295" y="1055"/>
                  </a:lnTo>
                  <a:lnTo>
                    <a:pt x="15290" y="1061"/>
                  </a:lnTo>
                  <a:lnTo>
                    <a:pt x="15283" y="1065"/>
                  </a:lnTo>
                  <a:lnTo>
                    <a:pt x="15276" y="1066"/>
                  </a:lnTo>
                  <a:lnTo>
                    <a:pt x="15141" y="1066"/>
                  </a:lnTo>
                  <a:lnTo>
                    <a:pt x="15141" y="1119"/>
                  </a:lnTo>
                  <a:lnTo>
                    <a:pt x="15232" y="1119"/>
                  </a:lnTo>
                  <a:lnTo>
                    <a:pt x="15345" y="1119"/>
                  </a:lnTo>
                  <a:lnTo>
                    <a:pt x="15345" y="963"/>
                  </a:lnTo>
                  <a:lnTo>
                    <a:pt x="15296" y="963"/>
                  </a:lnTo>
                  <a:close/>
                  <a:moveTo>
                    <a:pt x="15257" y="963"/>
                  </a:moveTo>
                  <a:lnTo>
                    <a:pt x="15141" y="963"/>
                  </a:lnTo>
                  <a:lnTo>
                    <a:pt x="15141" y="1027"/>
                  </a:lnTo>
                  <a:lnTo>
                    <a:pt x="15257" y="1027"/>
                  </a:lnTo>
                  <a:lnTo>
                    <a:pt x="15257" y="963"/>
                  </a:lnTo>
                  <a:close/>
                  <a:moveTo>
                    <a:pt x="12486" y="3681"/>
                  </a:moveTo>
                  <a:lnTo>
                    <a:pt x="12486" y="3792"/>
                  </a:lnTo>
                  <a:lnTo>
                    <a:pt x="12484" y="3800"/>
                  </a:lnTo>
                  <a:lnTo>
                    <a:pt x="12482" y="3805"/>
                  </a:lnTo>
                  <a:lnTo>
                    <a:pt x="12523" y="3838"/>
                  </a:lnTo>
                  <a:lnTo>
                    <a:pt x="12559" y="3875"/>
                  </a:lnTo>
                  <a:lnTo>
                    <a:pt x="12592" y="3918"/>
                  </a:lnTo>
                  <a:lnTo>
                    <a:pt x="12606" y="3939"/>
                  </a:lnTo>
                  <a:lnTo>
                    <a:pt x="12619" y="3962"/>
                  </a:lnTo>
                  <a:lnTo>
                    <a:pt x="12641" y="4011"/>
                  </a:lnTo>
                  <a:lnTo>
                    <a:pt x="12657" y="4062"/>
                  </a:lnTo>
                  <a:lnTo>
                    <a:pt x="12666" y="4116"/>
                  </a:lnTo>
                  <a:lnTo>
                    <a:pt x="12670" y="4171"/>
                  </a:lnTo>
                  <a:lnTo>
                    <a:pt x="12666" y="4226"/>
                  </a:lnTo>
                  <a:lnTo>
                    <a:pt x="12661" y="4265"/>
                  </a:lnTo>
                  <a:lnTo>
                    <a:pt x="12654" y="4304"/>
                  </a:lnTo>
                  <a:lnTo>
                    <a:pt x="13197" y="4304"/>
                  </a:lnTo>
                  <a:lnTo>
                    <a:pt x="13741" y="4304"/>
                  </a:lnTo>
                  <a:lnTo>
                    <a:pt x="13741" y="3764"/>
                  </a:lnTo>
                  <a:lnTo>
                    <a:pt x="13741" y="3225"/>
                  </a:lnTo>
                  <a:lnTo>
                    <a:pt x="13183" y="3225"/>
                  </a:lnTo>
                  <a:lnTo>
                    <a:pt x="12625" y="3225"/>
                  </a:lnTo>
                  <a:lnTo>
                    <a:pt x="12616" y="3222"/>
                  </a:lnTo>
                  <a:lnTo>
                    <a:pt x="12610" y="3218"/>
                  </a:lnTo>
                  <a:lnTo>
                    <a:pt x="12606" y="3212"/>
                  </a:lnTo>
                  <a:lnTo>
                    <a:pt x="12606" y="3204"/>
                  </a:lnTo>
                  <a:lnTo>
                    <a:pt x="12606" y="3196"/>
                  </a:lnTo>
                  <a:lnTo>
                    <a:pt x="12610" y="3190"/>
                  </a:lnTo>
                  <a:lnTo>
                    <a:pt x="12616" y="3186"/>
                  </a:lnTo>
                  <a:lnTo>
                    <a:pt x="12625" y="3184"/>
                  </a:lnTo>
                  <a:lnTo>
                    <a:pt x="12793" y="3184"/>
                  </a:lnTo>
                  <a:lnTo>
                    <a:pt x="12793" y="3031"/>
                  </a:lnTo>
                  <a:lnTo>
                    <a:pt x="12353" y="3031"/>
                  </a:lnTo>
                  <a:lnTo>
                    <a:pt x="12353" y="3184"/>
                  </a:lnTo>
                  <a:lnTo>
                    <a:pt x="12493" y="3184"/>
                  </a:lnTo>
                  <a:lnTo>
                    <a:pt x="12502" y="3186"/>
                  </a:lnTo>
                  <a:lnTo>
                    <a:pt x="12509" y="3190"/>
                  </a:lnTo>
                  <a:lnTo>
                    <a:pt x="12512" y="3196"/>
                  </a:lnTo>
                  <a:lnTo>
                    <a:pt x="12514" y="3204"/>
                  </a:lnTo>
                  <a:lnTo>
                    <a:pt x="12512" y="3212"/>
                  </a:lnTo>
                  <a:lnTo>
                    <a:pt x="12509" y="3218"/>
                  </a:lnTo>
                  <a:lnTo>
                    <a:pt x="12502" y="3222"/>
                  </a:lnTo>
                  <a:lnTo>
                    <a:pt x="12493" y="3225"/>
                  </a:lnTo>
                  <a:lnTo>
                    <a:pt x="12236" y="3225"/>
                  </a:lnTo>
                  <a:lnTo>
                    <a:pt x="12236" y="3670"/>
                  </a:lnTo>
                  <a:lnTo>
                    <a:pt x="12233" y="3679"/>
                  </a:lnTo>
                  <a:lnTo>
                    <a:pt x="12229" y="3685"/>
                  </a:lnTo>
                  <a:lnTo>
                    <a:pt x="12223" y="3689"/>
                  </a:lnTo>
                  <a:lnTo>
                    <a:pt x="12215" y="3690"/>
                  </a:lnTo>
                  <a:lnTo>
                    <a:pt x="12207" y="3689"/>
                  </a:lnTo>
                  <a:lnTo>
                    <a:pt x="12201" y="3685"/>
                  </a:lnTo>
                  <a:lnTo>
                    <a:pt x="12197" y="3679"/>
                  </a:lnTo>
                  <a:lnTo>
                    <a:pt x="12194" y="3670"/>
                  </a:lnTo>
                  <a:lnTo>
                    <a:pt x="12194" y="3204"/>
                  </a:lnTo>
                  <a:lnTo>
                    <a:pt x="12197" y="3196"/>
                  </a:lnTo>
                  <a:lnTo>
                    <a:pt x="12201" y="3190"/>
                  </a:lnTo>
                  <a:lnTo>
                    <a:pt x="12207" y="3186"/>
                  </a:lnTo>
                  <a:lnTo>
                    <a:pt x="12215" y="3184"/>
                  </a:lnTo>
                  <a:lnTo>
                    <a:pt x="12314" y="3184"/>
                  </a:lnTo>
                  <a:lnTo>
                    <a:pt x="12314" y="3011"/>
                  </a:lnTo>
                  <a:lnTo>
                    <a:pt x="12315" y="3003"/>
                  </a:lnTo>
                  <a:lnTo>
                    <a:pt x="12319" y="2997"/>
                  </a:lnTo>
                  <a:lnTo>
                    <a:pt x="12325" y="2993"/>
                  </a:lnTo>
                  <a:lnTo>
                    <a:pt x="12333" y="2991"/>
                  </a:lnTo>
                  <a:lnTo>
                    <a:pt x="12814" y="2991"/>
                  </a:lnTo>
                  <a:lnTo>
                    <a:pt x="12822" y="2993"/>
                  </a:lnTo>
                  <a:lnTo>
                    <a:pt x="12828" y="2997"/>
                  </a:lnTo>
                  <a:lnTo>
                    <a:pt x="12832" y="3003"/>
                  </a:lnTo>
                  <a:lnTo>
                    <a:pt x="12833" y="3011"/>
                  </a:lnTo>
                  <a:lnTo>
                    <a:pt x="12833" y="3184"/>
                  </a:lnTo>
                  <a:lnTo>
                    <a:pt x="13761" y="3184"/>
                  </a:lnTo>
                  <a:lnTo>
                    <a:pt x="13769" y="3186"/>
                  </a:lnTo>
                  <a:lnTo>
                    <a:pt x="13776" y="3190"/>
                  </a:lnTo>
                  <a:lnTo>
                    <a:pt x="13779" y="3196"/>
                  </a:lnTo>
                  <a:lnTo>
                    <a:pt x="13782" y="3204"/>
                  </a:lnTo>
                  <a:lnTo>
                    <a:pt x="13782" y="3764"/>
                  </a:lnTo>
                  <a:lnTo>
                    <a:pt x="13782" y="4324"/>
                  </a:lnTo>
                  <a:lnTo>
                    <a:pt x="13779" y="4332"/>
                  </a:lnTo>
                  <a:lnTo>
                    <a:pt x="13776" y="4338"/>
                  </a:lnTo>
                  <a:lnTo>
                    <a:pt x="13769" y="4342"/>
                  </a:lnTo>
                  <a:lnTo>
                    <a:pt x="13761" y="4343"/>
                  </a:lnTo>
                  <a:lnTo>
                    <a:pt x="13197" y="4343"/>
                  </a:lnTo>
                  <a:lnTo>
                    <a:pt x="12633" y="4343"/>
                  </a:lnTo>
                  <a:lnTo>
                    <a:pt x="12628" y="4347"/>
                  </a:lnTo>
                  <a:lnTo>
                    <a:pt x="12621" y="4349"/>
                  </a:lnTo>
                  <a:lnTo>
                    <a:pt x="12016" y="4349"/>
                  </a:lnTo>
                  <a:lnTo>
                    <a:pt x="11412" y="4349"/>
                  </a:lnTo>
                  <a:lnTo>
                    <a:pt x="11403" y="4346"/>
                  </a:lnTo>
                  <a:lnTo>
                    <a:pt x="11397" y="4341"/>
                  </a:lnTo>
                  <a:lnTo>
                    <a:pt x="11388" y="4334"/>
                  </a:lnTo>
                  <a:lnTo>
                    <a:pt x="11385" y="4329"/>
                  </a:lnTo>
                  <a:lnTo>
                    <a:pt x="11385" y="4323"/>
                  </a:lnTo>
                  <a:lnTo>
                    <a:pt x="11385" y="3936"/>
                  </a:lnTo>
                  <a:lnTo>
                    <a:pt x="11346" y="3930"/>
                  </a:lnTo>
                  <a:lnTo>
                    <a:pt x="11307" y="3924"/>
                  </a:lnTo>
                  <a:lnTo>
                    <a:pt x="11271" y="3913"/>
                  </a:lnTo>
                  <a:lnTo>
                    <a:pt x="11235" y="3898"/>
                  </a:lnTo>
                  <a:lnTo>
                    <a:pt x="11202" y="3881"/>
                  </a:lnTo>
                  <a:lnTo>
                    <a:pt x="11171" y="3860"/>
                  </a:lnTo>
                  <a:lnTo>
                    <a:pt x="11142" y="3837"/>
                  </a:lnTo>
                  <a:lnTo>
                    <a:pt x="11115" y="3811"/>
                  </a:lnTo>
                  <a:lnTo>
                    <a:pt x="11090" y="3783"/>
                  </a:lnTo>
                  <a:lnTo>
                    <a:pt x="11069" y="3753"/>
                  </a:lnTo>
                  <a:lnTo>
                    <a:pt x="11049" y="3721"/>
                  </a:lnTo>
                  <a:lnTo>
                    <a:pt x="11034" y="3686"/>
                  </a:lnTo>
                  <a:lnTo>
                    <a:pt x="11021" y="3650"/>
                  </a:lnTo>
                  <a:lnTo>
                    <a:pt x="11011" y="3613"/>
                  </a:lnTo>
                  <a:lnTo>
                    <a:pt x="11006" y="3575"/>
                  </a:lnTo>
                  <a:lnTo>
                    <a:pt x="11005" y="3535"/>
                  </a:lnTo>
                  <a:lnTo>
                    <a:pt x="11006" y="3494"/>
                  </a:lnTo>
                  <a:lnTo>
                    <a:pt x="11012" y="3453"/>
                  </a:lnTo>
                  <a:lnTo>
                    <a:pt x="11022" y="3415"/>
                  </a:lnTo>
                  <a:lnTo>
                    <a:pt x="11035" y="3379"/>
                  </a:lnTo>
                  <a:lnTo>
                    <a:pt x="11052" y="3343"/>
                  </a:lnTo>
                  <a:lnTo>
                    <a:pt x="11072" y="3310"/>
                  </a:lnTo>
                  <a:lnTo>
                    <a:pt x="11096" y="3280"/>
                  </a:lnTo>
                  <a:lnTo>
                    <a:pt x="11121" y="3251"/>
                  </a:lnTo>
                  <a:lnTo>
                    <a:pt x="11151" y="3226"/>
                  </a:lnTo>
                  <a:lnTo>
                    <a:pt x="11181" y="3203"/>
                  </a:lnTo>
                  <a:lnTo>
                    <a:pt x="11214" y="3182"/>
                  </a:lnTo>
                  <a:lnTo>
                    <a:pt x="11249" y="3166"/>
                  </a:lnTo>
                  <a:lnTo>
                    <a:pt x="11287" y="3152"/>
                  </a:lnTo>
                  <a:lnTo>
                    <a:pt x="11325" y="3143"/>
                  </a:lnTo>
                  <a:lnTo>
                    <a:pt x="11365" y="3136"/>
                  </a:lnTo>
                  <a:lnTo>
                    <a:pt x="11406" y="3134"/>
                  </a:lnTo>
                  <a:lnTo>
                    <a:pt x="11447" y="3136"/>
                  </a:lnTo>
                  <a:lnTo>
                    <a:pt x="11487" y="3143"/>
                  </a:lnTo>
                  <a:lnTo>
                    <a:pt x="11525" y="3152"/>
                  </a:lnTo>
                  <a:lnTo>
                    <a:pt x="11562" y="3166"/>
                  </a:lnTo>
                  <a:lnTo>
                    <a:pt x="11597" y="3182"/>
                  </a:lnTo>
                  <a:lnTo>
                    <a:pt x="11630" y="3203"/>
                  </a:lnTo>
                  <a:lnTo>
                    <a:pt x="11661" y="3226"/>
                  </a:lnTo>
                  <a:lnTo>
                    <a:pt x="11689" y="3251"/>
                  </a:lnTo>
                  <a:lnTo>
                    <a:pt x="11716" y="3280"/>
                  </a:lnTo>
                  <a:lnTo>
                    <a:pt x="11739" y="3310"/>
                  </a:lnTo>
                  <a:lnTo>
                    <a:pt x="11759" y="3343"/>
                  </a:lnTo>
                  <a:lnTo>
                    <a:pt x="11775" y="3379"/>
                  </a:lnTo>
                  <a:lnTo>
                    <a:pt x="11789" y="3415"/>
                  </a:lnTo>
                  <a:lnTo>
                    <a:pt x="11800" y="3453"/>
                  </a:lnTo>
                  <a:lnTo>
                    <a:pt x="11805" y="3494"/>
                  </a:lnTo>
                  <a:lnTo>
                    <a:pt x="11807" y="3535"/>
                  </a:lnTo>
                  <a:lnTo>
                    <a:pt x="11806" y="3575"/>
                  </a:lnTo>
                  <a:lnTo>
                    <a:pt x="11800" y="3613"/>
                  </a:lnTo>
                  <a:lnTo>
                    <a:pt x="11791" y="3650"/>
                  </a:lnTo>
                  <a:lnTo>
                    <a:pt x="11778" y="3686"/>
                  </a:lnTo>
                  <a:lnTo>
                    <a:pt x="11761" y="3721"/>
                  </a:lnTo>
                  <a:lnTo>
                    <a:pt x="11743" y="3753"/>
                  </a:lnTo>
                  <a:lnTo>
                    <a:pt x="11720" y="3783"/>
                  </a:lnTo>
                  <a:lnTo>
                    <a:pt x="11696" y="3811"/>
                  </a:lnTo>
                  <a:lnTo>
                    <a:pt x="11669" y="3837"/>
                  </a:lnTo>
                  <a:lnTo>
                    <a:pt x="11639" y="3860"/>
                  </a:lnTo>
                  <a:lnTo>
                    <a:pt x="11608" y="3881"/>
                  </a:lnTo>
                  <a:lnTo>
                    <a:pt x="11575" y="3898"/>
                  </a:lnTo>
                  <a:lnTo>
                    <a:pt x="11539" y="3913"/>
                  </a:lnTo>
                  <a:lnTo>
                    <a:pt x="11502" y="3924"/>
                  </a:lnTo>
                  <a:lnTo>
                    <a:pt x="11465" y="3932"/>
                  </a:lnTo>
                  <a:lnTo>
                    <a:pt x="11425" y="3936"/>
                  </a:lnTo>
                  <a:lnTo>
                    <a:pt x="11425" y="4205"/>
                  </a:lnTo>
                  <a:lnTo>
                    <a:pt x="11443" y="4178"/>
                  </a:lnTo>
                  <a:lnTo>
                    <a:pt x="11464" y="4153"/>
                  </a:lnTo>
                  <a:lnTo>
                    <a:pt x="11488" y="4130"/>
                  </a:lnTo>
                  <a:lnTo>
                    <a:pt x="11516" y="4108"/>
                  </a:lnTo>
                  <a:lnTo>
                    <a:pt x="11549" y="4090"/>
                  </a:lnTo>
                  <a:lnTo>
                    <a:pt x="11585" y="4076"/>
                  </a:lnTo>
                  <a:lnTo>
                    <a:pt x="11625" y="4067"/>
                  </a:lnTo>
                  <a:lnTo>
                    <a:pt x="11646" y="4065"/>
                  </a:lnTo>
                  <a:lnTo>
                    <a:pt x="11669" y="4065"/>
                  </a:lnTo>
                  <a:lnTo>
                    <a:pt x="11685" y="4066"/>
                  </a:lnTo>
                  <a:lnTo>
                    <a:pt x="11702" y="4069"/>
                  </a:lnTo>
                  <a:lnTo>
                    <a:pt x="11719" y="4074"/>
                  </a:lnTo>
                  <a:lnTo>
                    <a:pt x="11734" y="4080"/>
                  </a:lnTo>
                  <a:lnTo>
                    <a:pt x="11766" y="4092"/>
                  </a:lnTo>
                  <a:lnTo>
                    <a:pt x="11783" y="4095"/>
                  </a:lnTo>
                  <a:lnTo>
                    <a:pt x="11800" y="4097"/>
                  </a:lnTo>
                  <a:lnTo>
                    <a:pt x="11814" y="4095"/>
                  </a:lnTo>
                  <a:lnTo>
                    <a:pt x="11825" y="4090"/>
                  </a:lnTo>
                  <a:lnTo>
                    <a:pt x="11837" y="4084"/>
                  </a:lnTo>
                  <a:lnTo>
                    <a:pt x="11847" y="4076"/>
                  </a:lnTo>
                  <a:lnTo>
                    <a:pt x="11847" y="3213"/>
                  </a:lnTo>
                  <a:lnTo>
                    <a:pt x="11833" y="3208"/>
                  </a:lnTo>
                  <a:lnTo>
                    <a:pt x="11820" y="3199"/>
                  </a:lnTo>
                  <a:lnTo>
                    <a:pt x="11796" y="3182"/>
                  </a:lnTo>
                  <a:lnTo>
                    <a:pt x="11784" y="3173"/>
                  </a:lnTo>
                  <a:lnTo>
                    <a:pt x="11771" y="3167"/>
                  </a:lnTo>
                  <a:lnTo>
                    <a:pt x="11757" y="3163"/>
                  </a:lnTo>
                  <a:lnTo>
                    <a:pt x="11742" y="3163"/>
                  </a:lnTo>
                  <a:lnTo>
                    <a:pt x="11696" y="3170"/>
                  </a:lnTo>
                  <a:lnTo>
                    <a:pt x="11678" y="3172"/>
                  </a:lnTo>
                  <a:lnTo>
                    <a:pt x="11661" y="3171"/>
                  </a:lnTo>
                  <a:lnTo>
                    <a:pt x="11646" y="3166"/>
                  </a:lnTo>
                  <a:lnTo>
                    <a:pt x="11632" y="3156"/>
                  </a:lnTo>
                  <a:lnTo>
                    <a:pt x="11624" y="3148"/>
                  </a:lnTo>
                  <a:lnTo>
                    <a:pt x="11617" y="3139"/>
                  </a:lnTo>
                  <a:lnTo>
                    <a:pt x="11602" y="3115"/>
                  </a:lnTo>
                  <a:lnTo>
                    <a:pt x="11591" y="3093"/>
                  </a:lnTo>
                  <a:lnTo>
                    <a:pt x="11580" y="3079"/>
                  </a:lnTo>
                  <a:lnTo>
                    <a:pt x="11570" y="3070"/>
                  </a:lnTo>
                  <a:lnTo>
                    <a:pt x="11561" y="3065"/>
                  </a:lnTo>
                  <a:lnTo>
                    <a:pt x="11537" y="3060"/>
                  </a:lnTo>
                  <a:lnTo>
                    <a:pt x="11520" y="3055"/>
                  </a:lnTo>
                  <a:lnTo>
                    <a:pt x="11498" y="3047"/>
                  </a:lnTo>
                  <a:lnTo>
                    <a:pt x="11475" y="3033"/>
                  </a:lnTo>
                  <a:lnTo>
                    <a:pt x="11467" y="3024"/>
                  </a:lnTo>
                  <a:lnTo>
                    <a:pt x="11462" y="3015"/>
                  </a:lnTo>
                  <a:lnTo>
                    <a:pt x="11456" y="2996"/>
                  </a:lnTo>
                  <a:lnTo>
                    <a:pt x="11453" y="2974"/>
                  </a:lnTo>
                  <a:lnTo>
                    <a:pt x="11453" y="2953"/>
                  </a:lnTo>
                  <a:lnTo>
                    <a:pt x="11451" y="2933"/>
                  </a:lnTo>
                  <a:lnTo>
                    <a:pt x="11446" y="2913"/>
                  </a:lnTo>
                  <a:lnTo>
                    <a:pt x="11440" y="2904"/>
                  </a:lnTo>
                  <a:lnTo>
                    <a:pt x="11434" y="2896"/>
                  </a:lnTo>
                  <a:lnTo>
                    <a:pt x="11399" y="2864"/>
                  </a:lnTo>
                  <a:lnTo>
                    <a:pt x="11387" y="2851"/>
                  </a:lnTo>
                  <a:lnTo>
                    <a:pt x="11376" y="2837"/>
                  </a:lnTo>
                  <a:lnTo>
                    <a:pt x="11371" y="2823"/>
                  </a:lnTo>
                  <a:lnTo>
                    <a:pt x="11370" y="2805"/>
                  </a:lnTo>
                  <a:lnTo>
                    <a:pt x="11375" y="2783"/>
                  </a:lnTo>
                  <a:lnTo>
                    <a:pt x="11384" y="2757"/>
                  </a:lnTo>
                  <a:lnTo>
                    <a:pt x="11394" y="2734"/>
                  </a:lnTo>
                  <a:lnTo>
                    <a:pt x="11398" y="2722"/>
                  </a:lnTo>
                  <a:lnTo>
                    <a:pt x="11401" y="2711"/>
                  </a:lnTo>
                  <a:lnTo>
                    <a:pt x="11397" y="2689"/>
                  </a:lnTo>
                  <a:lnTo>
                    <a:pt x="11389" y="2670"/>
                  </a:lnTo>
                  <a:lnTo>
                    <a:pt x="11380" y="2650"/>
                  </a:lnTo>
                  <a:lnTo>
                    <a:pt x="11373" y="2633"/>
                  </a:lnTo>
                  <a:lnTo>
                    <a:pt x="11369" y="2613"/>
                  </a:lnTo>
                  <a:lnTo>
                    <a:pt x="11373" y="2593"/>
                  </a:lnTo>
                  <a:lnTo>
                    <a:pt x="11378" y="2581"/>
                  </a:lnTo>
                  <a:lnTo>
                    <a:pt x="11387" y="2570"/>
                  </a:lnTo>
                  <a:lnTo>
                    <a:pt x="11412" y="2543"/>
                  </a:lnTo>
                  <a:lnTo>
                    <a:pt x="11430" y="2526"/>
                  </a:lnTo>
                  <a:lnTo>
                    <a:pt x="11442" y="2512"/>
                  </a:lnTo>
                  <a:lnTo>
                    <a:pt x="11448" y="2502"/>
                  </a:lnTo>
                  <a:lnTo>
                    <a:pt x="11451" y="2492"/>
                  </a:lnTo>
                  <a:lnTo>
                    <a:pt x="11452" y="2466"/>
                  </a:lnTo>
                  <a:lnTo>
                    <a:pt x="11456" y="2427"/>
                  </a:lnTo>
                  <a:lnTo>
                    <a:pt x="11460" y="2413"/>
                  </a:lnTo>
                  <a:lnTo>
                    <a:pt x="11465" y="2401"/>
                  </a:lnTo>
                  <a:lnTo>
                    <a:pt x="11471" y="2392"/>
                  </a:lnTo>
                  <a:lnTo>
                    <a:pt x="11479" y="2384"/>
                  </a:lnTo>
                  <a:lnTo>
                    <a:pt x="11497" y="2374"/>
                  </a:lnTo>
                  <a:lnTo>
                    <a:pt x="11516" y="2368"/>
                  </a:lnTo>
                  <a:lnTo>
                    <a:pt x="11537" y="2363"/>
                  </a:lnTo>
                  <a:lnTo>
                    <a:pt x="11557" y="2356"/>
                  </a:lnTo>
                  <a:lnTo>
                    <a:pt x="11566" y="2351"/>
                  </a:lnTo>
                  <a:lnTo>
                    <a:pt x="11575" y="2346"/>
                  </a:lnTo>
                  <a:lnTo>
                    <a:pt x="11582" y="2340"/>
                  </a:lnTo>
                  <a:lnTo>
                    <a:pt x="11589" y="2331"/>
                  </a:lnTo>
                  <a:lnTo>
                    <a:pt x="11612" y="2291"/>
                  </a:lnTo>
                  <a:lnTo>
                    <a:pt x="11623" y="2275"/>
                  </a:lnTo>
                  <a:lnTo>
                    <a:pt x="11633" y="2263"/>
                  </a:lnTo>
                  <a:lnTo>
                    <a:pt x="11647" y="2254"/>
                  </a:lnTo>
                  <a:lnTo>
                    <a:pt x="11664" y="2249"/>
                  </a:lnTo>
                  <a:lnTo>
                    <a:pt x="11685" y="2248"/>
                  </a:lnTo>
                  <a:lnTo>
                    <a:pt x="11714" y="2251"/>
                  </a:lnTo>
                  <a:lnTo>
                    <a:pt x="11743" y="2257"/>
                  </a:lnTo>
                  <a:lnTo>
                    <a:pt x="11762" y="2257"/>
                  </a:lnTo>
                  <a:lnTo>
                    <a:pt x="11780" y="2249"/>
                  </a:lnTo>
                  <a:lnTo>
                    <a:pt x="11805" y="2231"/>
                  </a:lnTo>
                  <a:lnTo>
                    <a:pt x="11832" y="2213"/>
                  </a:lnTo>
                  <a:lnTo>
                    <a:pt x="11848" y="2207"/>
                  </a:lnTo>
                  <a:lnTo>
                    <a:pt x="11866" y="2204"/>
                  </a:lnTo>
                  <a:lnTo>
                    <a:pt x="11885" y="2207"/>
                  </a:lnTo>
                  <a:lnTo>
                    <a:pt x="11901" y="2213"/>
                  </a:lnTo>
                  <a:lnTo>
                    <a:pt x="11916" y="2222"/>
                  </a:lnTo>
                  <a:lnTo>
                    <a:pt x="11930" y="2232"/>
                  </a:lnTo>
                  <a:lnTo>
                    <a:pt x="11943" y="2243"/>
                  </a:lnTo>
                  <a:lnTo>
                    <a:pt x="11959" y="2251"/>
                  </a:lnTo>
                  <a:lnTo>
                    <a:pt x="11974" y="2257"/>
                  </a:lnTo>
                  <a:lnTo>
                    <a:pt x="11992" y="2257"/>
                  </a:lnTo>
                  <a:lnTo>
                    <a:pt x="12037" y="2250"/>
                  </a:lnTo>
                  <a:lnTo>
                    <a:pt x="12056" y="2248"/>
                  </a:lnTo>
                  <a:lnTo>
                    <a:pt x="12073" y="2249"/>
                  </a:lnTo>
                  <a:lnTo>
                    <a:pt x="12088" y="2254"/>
                  </a:lnTo>
                  <a:lnTo>
                    <a:pt x="12102" y="2264"/>
                  </a:lnTo>
                  <a:lnTo>
                    <a:pt x="12109" y="2272"/>
                  </a:lnTo>
                  <a:lnTo>
                    <a:pt x="12116" y="2281"/>
                  </a:lnTo>
                  <a:lnTo>
                    <a:pt x="12130" y="2305"/>
                  </a:lnTo>
                  <a:lnTo>
                    <a:pt x="12143" y="2327"/>
                  </a:lnTo>
                  <a:lnTo>
                    <a:pt x="12153" y="2341"/>
                  </a:lnTo>
                  <a:lnTo>
                    <a:pt x="12162" y="2350"/>
                  </a:lnTo>
                  <a:lnTo>
                    <a:pt x="12173" y="2355"/>
                  </a:lnTo>
                  <a:lnTo>
                    <a:pt x="12197" y="2360"/>
                  </a:lnTo>
                  <a:lnTo>
                    <a:pt x="12214" y="2365"/>
                  </a:lnTo>
                  <a:lnTo>
                    <a:pt x="12234" y="2373"/>
                  </a:lnTo>
                  <a:lnTo>
                    <a:pt x="12257" y="2388"/>
                  </a:lnTo>
                  <a:lnTo>
                    <a:pt x="12265" y="2396"/>
                  </a:lnTo>
                  <a:lnTo>
                    <a:pt x="12271" y="2405"/>
                  </a:lnTo>
                  <a:lnTo>
                    <a:pt x="12278" y="2425"/>
                  </a:lnTo>
                  <a:lnTo>
                    <a:pt x="12279" y="2446"/>
                  </a:lnTo>
                  <a:lnTo>
                    <a:pt x="12280" y="2466"/>
                  </a:lnTo>
                  <a:lnTo>
                    <a:pt x="12282" y="2488"/>
                  </a:lnTo>
                  <a:lnTo>
                    <a:pt x="12287" y="2507"/>
                  </a:lnTo>
                  <a:lnTo>
                    <a:pt x="12292" y="2516"/>
                  </a:lnTo>
                  <a:lnTo>
                    <a:pt x="12300" y="2524"/>
                  </a:lnTo>
                  <a:lnTo>
                    <a:pt x="12333" y="2556"/>
                  </a:lnTo>
                  <a:lnTo>
                    <a:pt x="12347" y="2569"/>
                  </a:lnTo>
                  <a:lnTo>
                    <a:pt x="12356" y="2583"/>
                  </a:lnTo>
                  <a:lnTo>
                    <a:pt x="12361" y="2598"/>
                  </a:lnTo>
                  <a:lnTo>
                    <a:pt x="12362" y="2615"/>
                  </a:lnTo>
                  <a:lnTo>
                    <a:pt x="12359" y="2636"/>
                  </a:lnTo>
                  <a:lnTo>
                    <a:pt x="12348" y="2663"/>
                  </a:lnTo>
                  <a:lnTo>
                    <a:pt x="12337" y="2690"/>
                  </a:lnTo>
                  <a:lnTo>
                    <a:pt x="12333" y="2711"/>
                  </a:lnTo>
                  <a:lnTo>
                    <a:pt x="12336" y="2731"/>
                  </a:lnTo>
                  <a:lnTo>
                    <a:pt x="12343" y="2750"/>
                  </a:lnTo>
                  <a:lnTo>
                    <a:pt x="12352" y="2769"/>
                  </a:lnTo>
                  <a:lnTo>
                    <a:pt x="12360" y="2787"/>
                  </a:lnTo>
                  <a:lnTo>
                    <a:pt x="12364" y="2806"/>
                  </a:lnTo>
                  <a:lnTo>
                    <a:pt x="12360" y="2828"/>
                  </a:lnTo>
                  <a:lnTo>
                    <a:pt x="12355" y="2838"/>
                  </a:lnTo>
                  <a:lnTo>
                    <a:pt x="12347" y="2851"/>
                  </a:lnTo>
                  <a:lnTo>
                    <a:pt x="12321" y="2877"/>
                  </a:lnTo>
                  <a:lnTo>
                    <a:pt x="12302" y="2893"/>
                  </a:lnTo>
                  <a:lnTo>
                    <a:pt x="12291" y="2907"/>
                  </a:lnTo>
                  <a:lnTo>
                    <a:pt x="12284" y="2918"/>
                  </a:lnTo>
                  <a:lnTo>
                    <a:pt x="12282" y="2929"/>
                  </a:lnTo>
                  <a:lnTo>
                    <a:pt x="12282" y="2953"/>
                  </a:lnTo>
                  <a:lnTo>
                    <a:pt x="12278" y="2993"/>
                  </a:lnTo>
                  <a:lnTo>
                    <a:pt x="12274" y="3007"/>
                  </a:lnTo>
                  <a:lnTo>
                    <a:pt x="12269" y="3019"/>
                  </a:lnTo>
                  <a:lnTo>
                    <a:pt x="12262" y="3028"/>
                  </a:lnTo>
                  <a:lnTo>
                    <a:pt x="12255" y="3035"/>
                  </a:lnTo>
                  <a:lnTo>
                    <a:pt x="12237" y="3046"/>
                  </a:lnTo>
                  <a:lnTo>
                    <a:pt x="12216" y="3053"/>
                  </a:lnTo>
                  <a:lnTo>
                    <a:pt x="12196" y="3058"/>
                  </a:lnTo>
                  <a:lnTo>
                    <a:pt x="12177" y="3065"/>
                  </a:lnTo>
                  <a:lnTo>
                    <a:pt x="12168" y="3069"/>
                  </a:lnTo>
                  <a:lnTo>
                    <a:pt x="12159" y="3074"/>
                  </a:lnTo>
                  <a:lnTo>
                    <a:pt x="12151" y="3081"/>
                  </a:lnTo>
                  <a:lnTo>
                    <a:pt x="12144" y="3089"/>
                  </a:lnTo>
                  <a:lnTo>
                    <a:pt x="12121" y="3130"/>
                  </a:lnTo>
                  <a:lnTo>
                    <a:pt x="12111" y="3145"/>
                  </a:lnTo>
                  <a:lnTo>
                    <a:pt x="12100" y="3158"/>
                  </a:lnTo>
                  <a:lnTo>
                    <a:pt x="12087" y="3167"/>
                  </a:lnTo>
                  <a:lnTo>
                    <a:pt x="12070" y="3171"/>
                  </a:lnTo>
                  <a:lnTo>
                    <a:pt x="12048" y="3172"/>
                  </a:lnTo>
                  <a:lnTo>
                    <a:pt x="12020" y="3168"/>
                  </a:lnTo>
                  <a:lnTo>
                    <a:pt x="11989" y="3163"/>
                  </a:lnTo>
                  <a:lnTo>
                    <a:pt x="11971" y="3163"/>
                  </a:lnTo>
                  <a:lnTo>
                    <a:pt x="11953" y="3172"/>
                  </a:lnTo>
                  <a:lnTo>
                    <a:pt x="11929" y="3189"/>
                  </a:lnTo>
                  <a:lnTo>
                    <a:pt x="11910" y="3202"/>
                  </a:lnTo>
                  <a:lnTo>
                    <a:pt x="11887" y="3213"/>
                  </a:lnTo>
                  <a:lnTo>
                    <a:pt x="11887" y="4017"/>
                  </a:lnTo>
                  <a:lnTo>
                    <a:pt x="11933" y="3925"/>
                  </a:lnTo>
                  <a:lnTo>
                    <a:pt x="11961" y="3877"/>
                  </a:lnTo>
                  <a:lnTo>
                    <a:pt x="11994" y="3829"/>
                  </a:lnTo>
                  <a:lnTo>
                    <a:pt x="12014" y="3808"/>
                  </a:lnTo>
                  <a:lnTo>
                    <a:pt x="12035" y="3787"/>
                  </a:lnTo>
                  <a:lnTo>
                    <a:pt x="12060" y="3769"/>
                  </a:lnTo>
                  <a:lnTo>
                    <a:pt x="12073" y="3762"/>
                  </a:lnTo>
                  <a:lnTo>
                    <a:pt x="12085" y="3754"/>
                  </a:lnTo>
                  <a:lnTo>
                    <a:pt x="12115" y="3741"/>
                  </a:lnTo>
                  <a:lnTo>
                    <a:pt x="12148" y="3731"/>
                  </a:lnTo>
                  <a:lnTo>
                    <a:pt x="12184" y="3725"/>
                  </a:lnTo>
                  <a:lnTo>
                    <a:pt x="12224" y="3723"/>
                  </a:lnTo>
                  <a:lnTo>
                    <a:pt x="12283" y="3727"/>
                  </a:lnTo>
                  <a:lnTo>
                    <a:pt x="12341" y="3739"/>
                  </a:lnTo>
                  <a:lnTo>
                    <a:pt x="12368" y="3748"/>
                  </a:lnTo>
                  <a:lnTo>
                    <a:pt x="12395" y="3758"/>
                  </a:lnTo>
                  <a:lnTo>
                    <a:pt x="12420" y="3769"/>
                  </a:lnTo>
                  <a:lnTo>
                    <a:pt x="12446" y="3782"/>
                  </a:lnTo>
                  <a:lnTo>
                    <a:pt x="12446" y="3681"/>
                  </a:lnTo>
                  <a:lnTo>
                    <a:pt x="12447" y="3672"/>
                  </a:lnTo>
                  <a:lnTo>
                    <a:pt x="12452" y="3666"/>
                  </a:lnTo>
                  <a:lnTo>
                    <a:pt x="12459" y="3662"/>
                  </a:lnTo>
                  <a:lnTo>
                    <a:pt x="12465" y="3661"/>
                  </a:lnTo>
                  <a:lnTo>
                    <a:pt x="12473" y="3662"/>
                  </a:lnTo>
                  <a:lnTo>
                    <a:pt x="12479" y="3666"/>
                  </a:lnTo>
                  <a:lnTo>
                    <a:pt x="12484" y="3672"/>
                  </a:lnTo>
                  <a:lnTo>
                    <a:pt x="12486" y="3681"/>
                  </a:lnTo>
                  <a:close/>
                  <a:moveTo>
                    <a:pt x="12630" y="4171"/>
                  </a:moveTo>
                  <a:lnTo>
                    <a:pt x="12628" y="4130"/>
                  </a:lnTo>
                  <a:lnTo>
                    <a:pt x="12621" y="4089"/>
                  </a:lnTo>
                  <a:lnTo>
                    <a:pt x="12613" y="4051"/>
                  </a:lnTo>
                  <a:lnTo>
                    <a:pt x="12598" y="4012"/>
                  </a:lnTo>
                  <a:lnTo>
                    <a:pt x="12582" y="3976"/>
                  </a:lnTo>
                  <a:lnTo>
                    <a:pt x="12561" y="3943"/>
                  </a:lnTo>
                  <a:lnTo>
                    <a:pt x="12537" y="3911"/>
                  </a:lnTo>
                  <a:lnTo>
                    <a:pt x="12511" y="3883"/>
                  </a:lnTo>
                  <a:lnTo>
                    <a:pt x="12482" y="3856"/>
                  </a:lnTo>
                  <a:lnTo>
                    <a:pt x="12451" y="3833"/>
                  </a:lnTo>
                  <a:lnTo>
                    <a:pt x="12418" y="3813"/>
                  </a:lnTo>
                  <a:lnTo>
                    <a:pt x="12382" y="3795"/>
                  </a:lnTo>
                  <a:lnTo>
                    <a:pt x="12345" y="3781"/>
                  </a:lnTo>
                  <a:lnTo>
                    <a:pt x="12306" y="3772"/>
                  </a:lnTo>
                  <a:lnTo>
                    <a:pt x="12265" y="3765"/>
                  </a:lnTo>
                  <a:lnTo>
                    <a:pt x="12224" y="3763"/>
                  </a:lnTo>
                  <a:lnTo>
                    <a:pt x="12197" y="3764"/>
                  </a:lnTo>
                  <a:lnTo>
                    <a:pt x="12173" y="3767"/>
                  </a:lnTo>
                  <a:lnTo>
                    <a:pt x="12150" y="3772"/>
                  </a:lnTo>
                  <a:lnTo>
                    <a:pt x="12128" y="3780"/>
                  </a:lnTo>
                  <a:lnTo>
                    <a:pt x="12089" y="3797"/>
                  </a:lnTo>
                  <a:lnTo>
                    <a:pt x="12073" y="3809"/>
                  </a:lnTo>
                  <a:lnTo>
                    <a:pt x="12057" y="3822"/>
                  </a:lnTo>
                  <a:lnTo>
                    <a:pt x="12029" y="3850"/>
                  </a:lnTo>
                  <a:lnTo>
                    <a:pt x="12005" y="3881"/>
                  </a:lnTo>
                  <a:lnTo>
                    <a:pt x="11984" y="3915"/>
                  </a:lnTo>
                  <a:lnTo>
                    <a:pt x="11965" y="3950"/>
                  </a:lnTo>
                  <a:lnTo>
                    <a:pt x="11932" y="4017"/>
                  </a:lnTo>
                  <a:lnTo>
                    <a:pt x="11915" y="4049"/>
                  </a:lnTo>
                  <a:lnTo>
                    <a:pt x="11897" y="4077"/>
                  </a:lnTo>
                  <a:lnTo>
                    <a:pt x="11878" y="4102"/>
                  </a:lnTo>
                  <a:lnTo>
                    <a:pt x="11866" y="4112"/>
                  </a:lnTo>
                  <a:lnTo>
                    <a:pt x="11855" y="4120"/>
                  </a:lnTo>
                  <a:lnTo>
                    <a:pt x="11843" y="4127"/>
                  </a:lnTo>
                  <a:lnTo>
                    <a:pt x="11830" y="4132"/>
                  </a:lnTo>
                  <a:lnTo>
                    <a:pt x="11800" y="4136"/>
                  </a:lnTo>
                  <a:lnTo>
                    <a:pt x="11783" y="4135"/>
                  </a:lnTo>
                  <a:lnTo>
                    <a:pt x="11766" y="4131"/>
                  </a:lnTo>
                  <a:lnTo>
                    <a:pt x="11750" y="4126"/>
                  </a:lnTo>
                  <a:lnTo>
                    <a:pt x="11734" y="4120"/>
                  </a:lnTo>
                  <a:lnTo>
                    <a:pt x="11702" y="4109"/>
                  </a:lnTo>
                  <a:lnTo>
                    <a:pt x="11685" y="4106"/>
                  </a:lnTo>
                  <a:lnTo>
                    <a:pt x="11669" y="4104"/>
                  </a:lnTo>
                  <a:lnTo>
                    <a:pt x="11625" y="4108"/>
                  </a:lnTo>
                  <a:lnTo>
                    <a:pt x="11603" y="4112"/>
                  </a:lnTo>
                  <a:lnTo>
                    <a:pt x="11584" y="4118"/>
                  </a:lnTo>
                  <a:lnTo>
                    <a:pt x="11565" y="4127"/>
                  </a:lnTo>
                  <a:lnTo>
                    <a:pt x="11546" y="4136"/>
                  </a:lnTo>
                  <a:lnTo>
                    <a:pt x="11529" y="4148"/>
                  </a:lnTo>
                  <a:lnTo>
                    <a:pt x="11512" y="4161"/>
                  </a:lnTo>
                  <a:lnTo>
                    <a:pt x="11498" y="4175"/>
                  </a:lnTo>
                  <a:lnTo>
                    <a:pt x="11484" y="4190"/>
                  </a:lnTo>
                  <a:lnTo>
                    <a:pt x="11471" y="4208"/>
                  </a:lnTo>
                  <a:lnTo>
                    <a:pt x="11461" y="4226"/>
                  </a:lnTo>
                  <a:lnTo>
                    <a:pt x="11452" y="4245"/>
                  </a:lnTo>
                  <a:lnTo>
                    <a:pt x="11444" y="4265"/>
                  </a:lnTo>
                  <a:lnTo>
                    <a:pt x="11438" y="4286"/>
                  </a:lnTo>
                  <a:lnTo>
                    <a:pt x="11434" y="4309"/>
                  </a:lnTo>
                  <a:lnTo>
                    <a:pt x="12171" y="4309"/>
                  </a:lnTo>
                  <a:lnTo>
                    <a:pt x="12177" y="4305"/>
                  </a:lnTo>
                  <a:lnTo>
                    <a:pt x="12184" y="4304"/>
                  </a:lnTo>
                  <a:lnTo>
                    <a:pt x="12609" y="4304"/>
                  </a:lnTo>
                  <a:lnTo>
                    <a:pt x="12618" y="4271"/>
                  </a:lnTo>
                  <a:lnTo>
                    <a:pt x="12625" y="4239"/>
                  </a:lnTo>
                  <a:lnTo>
                    <a:pt x="12629" y="4204"/>
                  </a:lnTo>
                  <a:lnTo>
                    <a:pt x="12630" y="4171"/>
                  </a:lnTo>
                  <a:close/>
                  <a:moveTo>
                    <a:pt x="11425" y="3810"/>
                  </a:moveTo>
                  <a:lnTo>
                    <a:pt x="11524" y="3712"/>
                  </a:lnTo>
                  <a:lnTo>
                    <a:pt x="11532" y="3707"/>
                  </a:lnTo>
                  <a:lnTo>
                    <a:pt x="11539" y="3705"/>
                  </a:lnTo>
                  <a:lnTo>
                    <a:pt x="11547" y="3707"/>
                  </a:lnTo>
                  <a:lnTo>
                    <a:pt x="11553" y="3712"/>
                  </a:lnTo>
                  <a:lnTo>
                    <a:pt x="11557" y="3717"/>
                  </a:lnTo>
                  <a:lnTo>
                    <a:pt x="11558" y="3725"/>
                  </a:lnTo>
                  <a:lnTo>
                    <a:pt x="11557" y="3732"/>
                  </a:lnTo>
                  <a:lnTo>
                    <a:pt x="11553" y="3740"/>
                  </a:lnTo>
                  <a:lnTo>
                    <a:pt x="11426" y="3866"/>
                  </a:lnTo>
                  <a:lnTo>
                    <a:pt x="11425" y="3895"/>
                  </a:lnTo>
                  <a:lnTo>
                    <a:pt x="11460" y="3892"/>
                  </a:lnTo>
                  <a:lnTo>
                    <a:pt x="11494" y="3884"/>
                  </a:lnTo>
                  <a:lnTo>
                    <a:pt x="11528" y="3874"/>
                  </a:lnTo>
                  <a:lnTo>
                    <a:pt x="11558" y="3861"/>
                  </a:lnTo>
                  <a:lnTo>
                    <a:pt x="11589" y="3846"/>
                  </a:lnTo>
                  <a:lnTo>
                    <a:pt x="11617" y="3828"/>
                  </a:lnTo>
                  <a:lnTo>
                    <a:pt x="11643" y="3806"/>
                  </a:lnTo>
                  <a:lnTo>
                    <a:pt x="11667" y="3783"/>
                  </a:lnTo>
                  <a:lnTo>
                    <a:pt x="11689" y="3758"/>
                  </a:lnTo>
                  <a:lnTo>
                    <a:pt x="11710" y="3731"/>
                  </a:lnTo>
                  <a:lnTo>
                    <a:pt x="11726" y="3702"/>
                  </a:lnTo>
                  <a:lnTo>
                    <a:pt x="11741" y="3671"/>
                  </a:lnTo>
                  <a:lnTo>
                    <a:pt x="11752" y="3639"/>
                  </a:lnTo>
                  <a:lnTo>
                    <a:pt x="11761" y="3606"/>
                  </a:lnTo>
                  <a:lnTo>
                    <a:pt x="11766" y="3571"/>
                  </a:lnTo>
                  <a:lnTo>
                    <a:pt x="11767" y="3535"/>
                  </a:lnTo>
                  <a:lnTo>
                    <a:pt x="11765" y="3498"/>
                  </a:lnTo>
                  <a:lnTo>
                    <a:pt x="11760" y="3462"/>
                  </a:lnTo>
                  <a:lnTo>
                    <a:pt x="11751" y="3428"/>
                  </a:lnTo>
                  <a:lnTo>
                    <a:pt x="11739" y="3395"/>
                  </a:lnTo>
                  <a:lnTo>
                    <a:pt x="11724" y="3363"/>
                  </a:lnTo>
                  <a:lnTo>
                    <a:pt x="11706" y="3333"/>
                  </a:lnTo>
                  <a:lnTo>
                    <a:pt x="11684" y="3305"/>
                  </a:lnTo>
                  <a:lnTo>
                    <a:pt x="11661" y="3280"/>
                  </a:lnTo>
                  <a:lnTo>
                    <a:pt x="11635" y="3257"/>
                  </a:lnTo>
                  <a:lnTo>
                    <a:pt x="11608" y="3236"/>
                  </a:lnTo>
                  <a:lnTo>
                    <a:pt x="11578" y="3218"/>
                  </a:lnTo>
                  <a:lnTo>
                    <a:pt x="11547" y="3203"/>
                  </a:lnTo>
                  <a:lnTo>
                    <a:pt x="11530" y="3196"/>
                  </a:lnTo>
                  <a:lnTo>
                    <a:pt x="11514" y="3190"/>
                  </a:lnTo>
                  <a:lnTo>
                    <a:pt x="11479" y="3181"/>
                  </a:lnTo>
                  <a:lnTo>
                    <a:pt x="11443" y="3176"/>
                  </a:lnTo>
                  <a:lnTo>
                    <a:pt x="11406" y="3175"/>
                  </a:lnTo>
                  <a:lnTo>
                    <a:pt x="11369" y="3176"/>
                  </a:lnTo>
                  <a:lnTo>
                    <a:pt x="11333" y="3181"/>
                  </a:lnTo>
                  <a:lnTo>
                    <a:pt x="11298" y="3190"/>
                  </a:lnTo>
                  <a:lnTo>
                    <a:pt x="11265" y="3203"/>
                  </a:lnTo>
                  <a:lnTo>
                    <a:pt x="11233" y="3218"/>
                  </a:lnTo>
                  <a:lnTo>
                    <a:pt x="11203" y="3236"/>
                  </a:lnTo>
                  <a:lnTo>
                    <a:pt x="11175" y="3257"/>
                  </a:lnTo>
                  <a:lnTo>
                    <a:pt x="11149" y="3280"/>
                  </a:lnTo>
                  <a:lnTo>
                    <a:pt x="11126" y="3305"/>
                  </a:lnTo>
                  <a:lnTo>
                    <a:pt x="11106" y="3333"/>
                  </a:lnTo>
                  <a:lnTo>
                    <a:pt x="11088" y="3363"/>
                  </a:lnTo>
                  <a:lnTo>
                    <a:pt x="11072" y="3395"/>
                  </a:lnTo>
                  <a:lnTo>
                    <a:pt x="11066" y="3411"/>
                  </a:lnTo>
                  <a:lnTo>
                    <a:pt x="11060" y="3428"/>
                  </a:lnTo>
                  <a:lnTo>
                    <a:pt x="11051" y="3462"/>
                  </a:lnTo>
                  <a:lnTo>
                    <a:pt x="11046" y="3498"/>
                  </a:lnTo>
                  <a:lnTo>
                    <a:pt x="11044" y="3535"/>
                  </a:lnTo>
                  <a:lnTo>
                    <a:pt x="11046" y="3570"/>
                  </a:lnTo>
                  <a:lnTo>
                    <a:pt x="11051" y="3606"/>
                  </a:lnTo>
                  <a:lnTo>
                    <a:pt x="11060" y="3639"/>
                  </a:lnTo>
                  <a:lnTo>
                    <a:pt x="11070" y="3671"/>
                  </a:lnTo>
                  <a:lnTo>
                    <a:pt x="11085" y="3702"/>
                  </a:lnTo>
                  <a:lnTo>
                    <a:pt x="11102" y="3731"/>
                  </a:lnTo>
                  <a:lnTo>
                    <a:pt x="11121" y="3758"/>
                  </a:lnTo>
                  <a:lnTo>
                    <a:pt x="11143" y="3783"/>
                  </a:lnTo>
                  <a:lnTo>
                    <a:pt x="11167" y="3806"/>
                  </a:lnTo>
                  <a:lnTo>
                    <a:pt x="11193" y="3827"/>
                  </a:lnTo>
                  <a:lnTo>
                    <a:pt x="11221" y="3846"/>
                  </a:lnTo>
                  <a:lnTo>
                    <a:pt x="11252" y="3861"/>
                  </a:lnTo>
                  <a:lnTo>
                    <a:pt x="11283" y="3874"/>
                  </a:lnTo>
                  <a:lnTo>
                    <a:pt x="11316" y="3884"/>
                  </a:lnTo>
                  <a:lnTo>
                    <a:pt x="11349" y="3891"/>
                  </a:lnTo>
                  <a:lnTo>
                    <a:pt x="11385" y="3895"/>
                  </a:lnTo>
                  <a:lnTo>
                    <a:pt x="11385" y="3757"/>
                  </a:lnTo>
                  <a:lnTo>
                    <a:pt x="11258" y="3631"/>
                  </a:lnTo>
                  <a:lnTo>
                    <a:pt x="11253" y="3624"/>
                  </a:lnTo>
                  <a:lnTo>
                    <a:pt x="11252" y="3616"/>
                  </a:lnTo>
                  <a:lnTo>
                    <a:pt x="11255" y="3608"/>
                  </a:lnTo>
                  <a:lnTo>
                    <a:pt x="11258" y="3602"/>
                  </a:lnTo>
                  <a:lnTo>
                    <a:pt x="11265" y="3598"/>
                  </a:lnTo>
                  <a:lnTo>
                    <a:pt x="11271" y="3597"/>
                  </a:lnTo>
                  <a:lnTo>
                    <a:pt x="11279" y="3598"/>
                  </a:lnTo>
                  <a:lnTo>
                    <a:pt x="11287" y="3602"/>
                  </a:lnTo>
                  <a:lnTo>
                    <a:pt x="11385" y="3700"/>
                  </a:lnTo>
                  <a:lnTo>
                    <a:pt x="11385" y="3589"/>
                  </a:lnTo>
                  <a:lnTo>
                    <a:pt x="11385" y="3581"/>
                  </a:lnTo>
                  <a:lnTo>
                    <a:pt x="11385" y="3447"/>
                  </a:lnTo>
                  <a:lnTo>
                    <a:pt x="11387" y="3439"/>
                  </a:lnTo>
                  <a:lnTo>
                    <a:pt x="11392" y="3433"/>
                  </a:lnTo>
                  <a:lnTo>
                    <a:pt x="11398" y="3429"/>
                  </a:lnTo>
                  <a:lnTo>
                    <a:pt x="11405" y="3428"/>
                  </a:lnTo>
                  <a:lnTo>
                    <a:pt x="11412" y="3429"/>
                  </a:lnTo>
                  <a:lnTo>
                    <a:pt x="11419" y="3433"/>
                  </a:lnTo>
                  <a:lnTo>
                    <a:pt x="11424" y="3439"/>
                  </a:lnTo>
                  <a:lnTo>
                    <a:pt x="11425" y="3447"/>
                  </a:lnTo>
                  <a:lnTo>
                    <a:pt x="11425" y="3537"/>
                  </a:lnTo>
                  <a:lnTo>
                    <a:pt x="11517" y="3445"/>
                  </a:lnTo>
                  <a:lnTo>
                    <a:pt x="11525" y="3439"/>
                  </a:lnTo>
                  <a:lnTo>
                    <a:pt x="11533" y="3438"/>
                  </a:lnTo>
                  <a:lnTo>
                    <a:pt x="11541" y="3441"/>
                  </a:lnTo>
                  <a:lnTo>
                    <a:pt x="11546" y="3445"/>
                  </a:lnTo>
                  <a:lnTo>
                    <a:pt x="11551" y="3451"/>
                  </a:lnTo>
                  <a:lnTo>
                    <a:pt x="11552" y="3457"/>
                  </a:lnTo>
                  <a:lnTo>
                    <a:pt x="11551" y="3465"/>
                  </a:lnTo>
                  <a:lnTo>
                    <a:pt x="11546" y="3473"/>
                  </a:lnTo>
                  <a:lnTo>
                    <a:pt x="11425" y="3593"/>
                  </a:lnTo>
                  <a:lnTo>
                    <a:pt x="11425" y="3810"/>
                  </a:lnTo>
                  <a:close/>
                  <a:moveTo>
                    <a:pt x="11847" y="2875"/>
                  </a:moveTo>
                  <a:lnTo>
                    <a:pt x="11847" y="2753"/>
                  </a:lnTo>
                  <a:lnTo>
                    <a:pt x="11743" y="2650"/>
                  </a:lnTo>
                  <a:lnTo>
                    <a:pt x="11738" y="2643"/>
                  </a:lnTo>
                  <a:lnTo>
                    <a:pt x="11737" y="2635"/>
                  </a:lnTo>
                  <a:lnTo>
                    <a:pt x="11739" y="2627"/>
                  </a:lnTo>
                  <a:lnTo>
                    <a:pt x="11743" y="2622"/>
                  </a:lnTo>
                  <a:lnTo>
                    <a:pt x="11750" y="2617"/>
                  </a:lnTo>
                  <a:lnTo>
                    <a:pt x="11757" y="2616"/>
                  </a:lnTo>
                  <a:lnTo>
                    <a:pt x="11764" y="2617"/>
                  </a:lnTo>
                  <a:lnTo>
                    <a:pt x="11771" y="2622"/>
                  </a:lnTo>
                  <a:lnTo>
                    <a:pt x="11847" y="2696"/>
                  </a:lnTo>
                  <a:lnTo>
                    <a:pt x="11847" y="2643"/>
                  </a:lnTo>
                  <a:lnTo>
                    <a:pt x="11848" y="2634"/>
                  </a:lnTo>
                  <a:lnTo>
                    <a:pt x="11853" y="2627"/>
                  </a:lnTo>
                  <a:lnTo>
                    <a:pt x="11860" y="2624"/>
                  </a:lnTo>
                  <a:lnTo>
                    <a:pt x="11866" y="2622"/>
                  </a:lnTo>
                  <a:lnTo>
                    <a:pt x="11874" y="2624"/>
                  </a:lnTo>
                  <a:lnTo>
                    <a:pt x="11880" y="2627"/>
                  </a:lnTo>
                  <a:lnTo>
                    <a:pt x="11885" y="2634"/>
                  </a:lnTo>
                  <a:lnTo>
                    <a:pt x="11887" y="2643"/>
                  </a:lnTo>
                  <a:lnTo>
                    <a:pt x="11887" y="2741"/>
                  </a:lnTo>
                  <a:lnTo>
                    <a:pt x="11887" y="2748"/>
                  </a:lnTo>
                  <a:lnTo>
                    <a:pt x="11887" y="2831"/>
                  </a:lnTo>
                  <a:lnTo>
                    <a:pt x="12024" y="2693"/>
                  </a:lnTo>
                  <a:lnTo>
                    <a:pt x="12032" y="2688"/>
                  </a:lnTo>
                  <a:lnTo>
                    <a:pt x="12039" y="2686"/>
                  </a:lnTo>
                  <a:lnTo>
                    <a:pt x="12047" y="2689"/>
                  </a:lnTo>
                  <a:lnTo>
                    <a:pt x="12052" y="2693"/>
                  </a:lnTo>
                  <a:lnTo>
                    <a:pt x="12057" y="2699"/>
                  </a:lnTo>
                  <a:lnTo>
                    <a:pt x="12059" y="2707"/>
                  </a:lnTo>
                  <a:lnTo>
                    <a:pt x="12057" y="2714"/>
                  </a:lnTo>
                  <a:lnTo>
                    <a:pt x="12052" y="2721"/>
                  </a:lnTo>
                  <a:lnTo>
                    <a:pt x="11887" y="2887"/>
                  </a:lnTo>
                  <a:lnTo>
                    <a:pt x="11887" y="2960"/>
                  </a:lnTo>
                  <a:lnTo>
                    <a:pt x="11887" y="2968"/>
                  </a:lnTo>
                  <a:lnTo>
                    <a:pt x="11887" y="3172"/>
                  </a:lnTo>
                  <a:lnTo>
                    <a:pt x="11897" y="3164"/>
                  </a:lnTo>
                  <a:lnTo>
                    <a:pt x="11907" y="3156"/>
                  </a:lnTo>
                  <a:lnTo>
                    <a:pt x="11919" y="3147"/>
                  </a:lnTo>
                  <a:lnTo>
                    <a:pt x="11932" y="3138"/>
                  </a:lnTo>
                  <a:lnTo>
                    <a:pt x="11947" y="3130"/>
                  </a:lnTo>
                  <a:lnTo>
                    <a:pt x="11968" y="3126"/>
                  </a:lnTo>
                  <a:lnTo>
                    <a:pt x="11993" y="3125"/>
                  </a:lnTo>
                  <a:lnTo>
                    <a:pt x="12027" y="3129"/>
                  </a:lnTo>
                  <a:lnTo>
                    <a:pt x="12043" y="3131"/>
                  </a:lnTo>
                  <a:lnTo>
                    <a:pt x="12056" y="3131"/>
                  </a:lnTo>
                  <a:lnTo>
                    <a:pt x="12066" y="3129"/>
                  </a:lnTo>
                  <a:lnTo>
                    <a:pt x="12075" y="3125"/>
                  </a:lnTo>
                  <a:lnTo>
                    <a:pt x="12088" y="3112"/>
                  </a:lnTo>
                  <a:lnTo>
                    <a:pt x="12097" y="3097"/>
                  </a:lnTo>
                  <a:lnTo>
                    <a:pt x="12106" y="3078"/>
                  </a:lnTo>
                  <a:lnTo>
                    <a:pt x="12118" y="3058"/>
                  </a:lnTo>
                  <a:lnTo>
                    <a:pt x="12135" y="3040"/>
                  </a:lnTo>
                  <a:lnTo>
                    <a:pt x="12148" y="3033"/>
                  </a:lnTo>
                  <a:lnTo>
                    <a:pt x="12162" y="3026"/>
                  </a:lnTo>
                  <a:lnTo>
                    <a:pt x="12211" y="3012"/>
                  </a:lnTo>
                  <a:lnTo>
                    <a:pt x="12224" y="3007"/>
                  </a:lnTo>
                  <a:lnTo>
                    <a:pt x="12232" y="3001"/>
                  </a:lnTo>
                  <a:lnTo>
                    <a:pt x="12237" y="2992"/>
                  </a:lnTo>
                  <a:lnTo>
                    <a:pt x="12238" y="2978"/>
                  </a:lnTo>
                  <a:lnTo>
                    <a:pt x="12242" y="2928"/>
                  </a:lnTo>
                  <a:lnTo>
                    <a:pt x="12244" y="2911"/>
                  </a:lnTo>
                  <a:lnTo>
                    <a:pt x="12250" y="2897"/>
                  </a:lnTo>
                  <a:lnTo>
                    <a:pt x="12262" y="2875"/>
                  </a:lnTo>
                  <a:lnTo>
                    <a:pt x="12270" y="2868"/>
                  </a:lnTo>
                  <a:lnTo>
                    <a:pt x="12279" y="2860"/>
                  </a:lnTo>
                  <a:lnTo>
                    <a:pt x="12296" y="2847"/>
                  </a:lnTo>
                  <a:lnTo>
                    <a:pt x="12310" y="2836"/>
                  </a:lnTo>
                  <a:lnTo>
                    <a:pt x="12315" y="2828"/>
                  </a:lnTo>
                  <a:lnTo>
                    <a:pt x="12319" y="2821"/>
                  </a:lnTo>
                  <a:lnTo>
                    <a:pt x="12320" y="2812"/>
                  </a:lnTo>
                  <a:lnTo>
                    <a:pt x="12320" y="2801"/>
                  </a:lnTo>
                  <a:lnTo>
                    <a:pt x="12312" y="2773"/>
                  </a:lnTo>
                  <a:lnTo>
                    <a:pt x="12300" y="2743"/>
                  </a:lnTo>
                  <a:lnTo>
                    <a:pt x="12294" y="2727"/>
                  </a:lnTo>
                  <a:lnTo>
                    <a:pt x="12293" y="2711"/>
                  </a:lnTo>
                  <a:lnTo>
                    <a:pt x="12294" y="2693"/>
                  </a:lnTo>
                  <a:lnTo>
                    <a:pt x="12300" y="2676"/>
                  </a:lnTo>
                  <a:lnTo>
                    <a:pt x="12318" y="2629"/>
                  </a:lnTo>
                  <a:lnTo>
                    <a:pt x="12323" y="2616"/>
                  </a:lnTo>
                  <a:lnTo>
                    <a:pt x="12323" y="2606"/>
                  </a:lnTo>
                  <a:lnTo>
                    <a:pt x="12319" y="2598"/>
                  </a:lnTo>
                  <a:lnTo>
                    <a:pt x="12309" y="2588"/>
                  </a:lnTo>
                  <a:lnTo>
                    <a:pt x="12271" y="2553"/>
                  </a:lnTo>
                  <a:lnTo>
                    <a:pt x="12261" y="2540"/>
                  </a:lnTo>
                  <a:lnTo>
                    <a:pt x="12252" y="2529"/>
                  </a:lnTo>
                  <a:lnTo>
                    <a:pt x="12247" y="2516"/>
                  </a:lnTo>
                  <a:lnTo>
                    <a:pt x="12243" y="2505"/>
                  </a:lnTo>
                  <a:lnTo>
                    <a:pt x="12242" y="2483"/>
                  </a:lnTo>
                  <a:lnTo>
                    <a:pt x="12242" y="2461"/>
                  </a:lnTo>
                  <a:lnTo>
                    <a:pt x="12241" y="2443"/>
                  </a:lnTo>
                  <a:lnTo>
                    <a:pt x="12238" y="2434"/>
                  </a:lnTo>
                  <a:lnTo>
                    <a:pt x="12236" y="2427"/>
                  </a:lnTo>
                  <a:lnTo>
                    <a:pt x="12229" y="2419"/>
                  </a:lnTo>
                  <a:lnTo>
                    <a:pt x="12220" y="2413"/>
                  </a:lnTo>
                  <a:lnTo>
                    <a:pt x="12209" y="2406"/>
                  </a:lnTo>
                  <a:lnTo>
                    <a:pt x="12193" y="2401"/>
                  </a:lnTo>
                  <a:lnTo>
                    <a:pt x="12164" y="2393"/>
                  </a:lnTo>
                  <a:lnTo>
                    <a:pt x="12143" y="2384"/>
                  </a:lnTo>
                  <a:lnTo>
                    <a:pt x="12129" y="2376"/>
                  </a:lnTo>
                  <a:lnTo>
                    <a:pt x="12120" y="2365"/>
                  </a:lnTo>
                  <a:lnTo>
                    <a:pt x="12106" y="2340"/>
                  </a:lnTo>
                  <a:lnTo>
                    <a:pt x="12096" y="2322"/>
                  </a:lnTo>
                  <a:lnTo>
                    <a:pt x="12082" y="2301"/>
                  </a:lnTo>
                  <a:lnTo>
                    <a:pt x="12077" y="2295"/>
                  </a:lnTo>
                  <a:lnTo>
                    <a:pt x="12070" y="2291"/>
                  </a:lnTo>
                  <a:lnTo>
                    <a:pt x="12055" y="2287"/>
                  </a:lnTo>
                  <a:lnTo>
                    <a:pt x="12038" y="2289"/>
                  </a:lnTo>
                  <a:lnTo>
                    <a:pt x="12020" y="2292"/>
                  </a:lnTo>
                  <a:lnTo>
                    <a:pt x="12000" y="2296"/>
                  </a:lnTo>
                  <a:lnTo>
                    <a:pt x="11978" y="2296"/>
                  </a:lnTo>
                  <a:lnTo>
                    <a:pt x="11955" y="2292"/>
                  </a:lnTo>
                  <a:lnTo>
                    <a:pt x="11930" y="2281"/>
                  </a:lnTo>
                  <a:lnTo>
                    <a:pt x="11900" y="2259"/>
                  </a:lnTo>
                  <a:lnTo>
                    <a:pt x="11882" y="2248"/>
                  </a:lnTo>
                  <a:lnTo>
                    <a:pt x="11866" y="2244"/>
                  </a:lnTo>
                  <a:lnTo>
                    <a:pt x="11851" y="2246"/>
                  </a:lnTo>
                  <a:lnTo>
                    <a:pt x="11843" y="2250"/>
                  </a:lnTo>
                  <a:lnTo>
                    <a:pt x="11837" y="2254"/>
                  </a:lnTo>
                  <a:lnTo>
                    <a:pt x="11812" y="2276"/>
                  </a:lnTo>
                  <a:lnTo>
                    <a:pt x="11796" y="2286"/>
                  </a:lnTo>
                  <a:lnTo>
                    <a:pt x="11774" y="2294"/>
                  </a:lnTo>
                  <a:lnTo>
                    <a:pt x="11744" y="2295"/>
                  </a:lnTo>
                  <a:lnTo>
                    <a:pt x="11726" y="2294"/>
                  </a:lnTo>
                  <a:lnTo>
                    <a:pt x="11706" y="2291"/>
                  </a:lnTo>
                  <a:lnTo>
                    <a:pt x="11691" y="2289"/>
                  </a:lnTo>
                  <a:lnTo>
                    <a:pt x="11676" y="2289"/>
                  </a:lnTo>
                  <a:lnTo>
                    <a:pt x="11666" y="2291"/>
                  </a:lnTo>
                  <a:lnTo>
                    <a:pt x="11658" y="2295"/>
                  </a:lnTo>
                  <a:lnTo>
                    <a:pt x="11646" y="2308"/>
                  </a:lnTo>
                  <a:lnTo>
                    <a:pt x="11637" y="2324"/>
                  </a:lnTo>
                  <a:lnTo>
                    <a:pt x="11628" y="2342"/>
                  </a:lnTo>
                  <a:lnTo>
                    <a:pt x="11616" y="2361"/>
                  </a:lnTo>
                  <a:lnTo>
                    <a:pt x="11598" y="2379"/>
                  </a:lnTo>
                  <a:lnTo>
                    <a:pt x="11585" y="2387"/>
                  </a:lnTo>
                  <a:lnTo>
                    <a:pt x="11570" y="2393"/>
                  </a:lnTo>
                  <a:lnTo>
                    <a:pt x="11521" y="2409"/>
                  </a:lnTo>
                  <a:lnTo>
                    <a:pt x="11508" y="2414"/>
                  </a:lnTo>
                  <a:lnTo>
                    <a:pt x="11501" y="2419"/>
                  </a:lnTo>
                  <a:lnTo>
                    <a:pt x="11497" y="2428"/>
                  </a:lnTo>
                  <a:lnTo>
                    <a:pt x="11494" y="2442"/>
                  </a:lnTo>
                  <a:lnTo>
                    <a:pt x="11491" y="2492"/>
                  </a:lnTo>
                  <a:lnTo>
                    <a:pt x="11488" y="2509"/>
                  </a:lnTo>
                  <a:lnTo>
                    <a:pt x="11484" y="2523"/>
                  </a:lnTo>
                  <a:lnTo>
                    <a:pt x="11470" y="2544"/>
                  </a:lnTo>
                  <a:lnTo>
                    <a:pt x="11462" y="2552"/>
                  </a:lnTo>
                  <a:lnTo>
                    <a:pt x="11455" y="2560"/>
                  </a:lnTo>
                  <a:lnTo>
                    <a:pt x="11438" y="2572"/>
                  </a:lnTo>
                  <a:lnTo>
                    <a:pt x="11424" y="2585"/>
                  </a:lnTo>
                  <a:lnTo>
                    <a:pt x="11419" y="2592"/>
                  </a:lnTo>
                  <a:lnTo>
                    <a:pt x="11415" y="2599"/>
                  </a:lnTo>
                  <a:lnTo>
                    <a:pt x="11412" y="2608"/>
                  </a:lnTo>
                  <a:lnTo>
                    <a:pt x="11412" y="2620"/>
                  </a:lnTo>
                  <a:lnTo>
                    <a:pt x="11421" y="2647"/>
                  </a:lnTo>
                  <a:lnTo>
                    <a:pt x="11434" y="2677"/>
                  </a:lnTo>
                  <a:lnTo>
                    <a:pt x="11438" y="2694"/>
                  </a:lnTo>
                  <a:lnTo>
                    <a:pt x="11440" y="2711"/>
                  </a:lnTo>
                  <a:lnTo>
                    <a:pt x="11438" y="2732"/>
                  </a:lnTo>
                  <a:lnTo>
                    <a:pt x="11432" y="2751"/>
                  </a:lnTo>
                  <a:lnTo>
                    <a:pt x="11416" y="2782"/>
                  </a:lnTo>
                  <a:lnTo>
                    <a:pt x="11411" y="2797"/>
                  </a:lnTo>
                  <a:lnTo>
                    <a:pt x="11411" y="2805"/>
                  </a:lnTo>
                  <a:lnTo>
                    <a:pt x="11412" y="2812"/>
                  </a:lnTo>
                  <a:lnTo>
                    <a:pt x="11420" y="2828"/>
                  </a:lnTo>
                  <a:lnTo>
                    <a:pt x="11438" y="2847"/>
                  </a:lnTo>
                  <a:lnTo>
                    <a:pt x="11461" y="2868"/>
                  </a:lnTo>
                  <a:lnTo>
                    <a:pt x="11476" y="2884"/>
                  </a:lnTo>
                  <a:lnTo>
                    <a:pt x="11484" y="2899"/>
                  </a:lnTo>
                  <a:lnTo>
                    <a:pt x="11488" y="2911"/>
                  </a:lnTo>
                  <a:lnTo>
                    <a:pt x="11491" y="2941"/>
                  </a:lnTo>
                  <a:lnTo>
                    <a:pt x="11491" y="2960"/>
                  </a:lnTo>
                  <a:lnTo>
                    <a:pt x="11494" y="2985"/>
                  </a:lnTo>
                  <a:lnTo>
                    <a:pt x="11502" y="3000"/>
                  </a:lnTo>
                  <a:lnTo>
                    <a:pt x="11514" y="3010"/>
                  </a:lnTo>
                  <a:lnTo>
                    <a:pt x="11529" y="3015"/>
                  </a:lnTo>
                  <a:lnTo>
                    <a:pt x="11547" y="3020"/>
                  </a:lnTo>
                  <a:lnTo>
                    <a:pt x="11567" y="3026"/>
                  </a:lnTo>
                  <a:lnTo>
                    <a:pt x="11587" y="3034"/>
                  </a:lnTo>
                  <a:lnTo>
                    <a:pt x="11606" y="3048"/>
                  </a:lnTo>
                  <a:lnTo>
                    <a:pt x="11615" y="3057"/>
                  </a:lnTo>
                  <a:lnTo>
                    <a:pt x="11623" y="3069"/>
                  </a:lnTo>
                  <a:lnTo>
                    <a:pt x="11648" y="3112"/>
                  </a:lnTo>
                  <a:lnTo>
                    <a:pt x="11656" y="3124"/>
                  </a:lnTo>
                  <a:lnTo>
                    <a:pt x="11664" y="3130"/>
                  </a:lnTo>
                  <a:lnTo>
                    <a:pt x="11673" y="3133"/>
                  </a:lnTo>
                  <a:lnTo>
                    <a:pt x="11687" y="3131"/>
                  </a:lnTo>
                  <a:lnTo>
                    <a:pt x="11737" y="3124"/>
                  </a:lnTo>
                  <a:lnTo>
                    <a:pt x="11757" y="3124"/>
                  </a:lnTo>
                  <a:lnTo>
                    <a:pt x="11774" y="3126"/>
                  </a:lnTo>
                  <a:lnTo>
                    <a:pt x="11789" y="3131"/>
                  </a:lnTo>
                  <a:lnTo>
                    <a:pt x="11803" y="3139"/>
                  </a:lnTo>
                  <a:lnTo>
                    <a:pt x="11826" y="3156"/>
                  </a:lnTo>
                  <a:lnTo>
                    <a:pt x="11847" y="3171"/>
                  </a:lnTo>
                  <a:lnTo>
                    <a:pt x="11847" y="2973"/>
                  </a:lnTo>
                  <a:lnTo>
                    <a:pt x="11769" y="2895"/>
                  </a:lnTo>
                  <a:lnTo>
                    <a:pt x="11764" y="2887"/>
                  </a:lnTo>
                  <a:lnTo>
                    <a:pt x="11762" y="2879"/>
                  </a:lnTo>
                  <a:lnTo>
                    <a:pt x="11765" y="2873"/>
                  </a:lnTo>
                  <a:lnTo>
                    <a:pt x="11769" y="2867"/>
                  </a:lnTo>
                  <a:lnTo>
                    <a:pt x="11775" y="2863"/>
                  </a:lnTo>
                  <a:lnTo>
                    <a:pt x="11782" y="2860"/>
                  </a:lnTo>
                  <a:lnTo>
                    <a:pt x="11789" y="2861"/>
                  </a:lnTo>
                  <a:lnTo>
                    <a:pt x="11797" y="2867"/>
                  </a:lnTo>
                  <a:lnTo>
                    <a:pt x="11847" y="2916"/>
                  </a:lnTo>
                  <a:lnTo>
                    <a:pt x="11847" y="2882"/>
                  </a:lnTo>
                  <a:lnTo>
                    <a:pt x="11847" y="2875"/>
                  </a:lnTo>
                  <a:close/>
                  <a:moveTo>
                    <a:pt x="11887" y="2960"/>
                  </a:moveTo>
                  <a:lnTo>
                    <a:pt x="11887" y="2968"/>
                  </a:lnTo>
                  <a:lnTo>
                    <a:pt x="11887" y="2960"/>
                  </a:lnTo>
                  <a:close/>
                  <a:moveTo>
                    <a:pt x="11887" y="2741"/>
                  </a:moveTo>
                  <a:lnTo>
                    <a:pt x="11887" y="2748"/>
                  </a:lnTo>
                  <a:lnTo>
                    <a:pt x="11887" y="2741"/>
                  </a:lnTo>
                  <a:close/>
                  <a:moveTo>
                    <a:pt x="11847" y="2882"/>
                  </a:moveTo>
                  <a:lnTo>
                    <a:pt x="11847" y="2875"/>
                  </a:lnTo>
                  <a:lnTo>
                    <a:pt x="11847" y="2882"/>
                  </a:lnTo>
                  <a:close/>
                  <a:moveTo>
                    <a:pt x="9740" y="1741"/>
                  </a:moveTo>
                  <a:lnTo>
                    <a:pt x="9740" y="1619"/>
                  </a:lnTo>
                  <a:lnTo>
                    <a:pt x="9741" y="1611"/>
                  </a:lnTo>
                  <a:lnTo>
                    <a:pt x="9747" y="1604"/>
                  </a:lnTo>
                  <a:lnTo>
                    <a:pt x="9753" y="1601"/>
                  </a:lnTo>
                  <a:lnTo>
                    <a:pt x="9761" y="1599"/>
                  </a:lnTo>
                  <a:lnTo>
                    <a:pt x="10006" y="1599"/>
                  </a:lnTo>
                  <a:lnTo>
                    <a:pt x="10013" y="1601"/>
                  </a:lnTo>
                  <a:lnTo>
                    <a:pt x="10020" y="1604"/>
                  </a:lnTo>
                  <a:lnTo>
                    <a:pt x="10024" y="1611"/>
                  </a:lnTo>
                  <a:lnTo>
                    <a:pt x="10026" y="1619"/>
                  </a:lnTo>
                  <a:lnTo>
                    <a:pt x="10026" y="1741"/>
                  </a:lnTo>
                  <a:lnTo>
                    <a:pt x="10978" y="1741"/>
                  </a:lnTo>
                  <a:lnTo>
                    <a:pt x="10987" y="1744"/>
                  </a:lnTo>
                  <a:lnTo>
                    <a:pt x="10994" y="1749"/>
                  </a:lnTo>
                  <a:lnTo>
                    <a:pt x="11211" y="2048"/>
                  </a:lnTo>
                  <a:lnTo>
                    <a:pt x="11235" y="2048"/>
                  </a:lnTo>
                  <a:lnTo>
                    <a:pt x="11242" y="2051"/>
                  </a:lnTo>
                  <a:lnTo>
                    <a:pt x="11248" y="2055"/>
                  </a:lnTo>
                  <a:lnTo>
                    <a:pt x="11253" y="2061"/>
                  </a:lnTo>
                  <a:lnTo>
                    <a:pt x="11255" y="2069"/>
                  </a:lnTo>
                  <a:lnTo>
                    <a:pt x="11255" y="2241"/>
                  </a:lnTo>
                  <a:lnTo>
                    <a:pt x="11253" y="2249"/>
                  </a:lnTo>
                  <a:lnTo>
                    <a:pt x="11248" y="2255"/>
                  </a:lnTo>
                  <a:lnTo>
                    <a:pt x="11242" y="2260"/>
                  </a:lnTo>
                  <a:lnTo>
                    <a:pt x="11235" y="2262"/>
                  </a:lnTo>
                  <a:lnTo>
                    <a:pt x="11224" y="2262"/>
                  </a:lnTo>
                  <a:lnTo>
                    <a:pt x="11224" y="3107"/>
                  </a:lnTo>
                  <a:lnTo>
                    <a:pt x="11223" y="3116"/>
                  </a:lnTo>
                  <a:lnTo>
                    <a:pt x="11217" y="3122"/>
                  </a:lnTo>
                  <a:lnTo>
                    <a:pt x="11211" y="3126"/>
                  </a:lnTo>
                  <a:lnTo>
                    <a:pt x="11205" y="3127"/>
                  </a:lnTo>
                  <a:lnTo>
                    <a:pt x="11197" y="3126"/>
                  </a:lnTo>
                  <a:lnTo>
                    <a:pt x="11190" y="3122"/>
                  </a:lnTo>
                  <a:lnTo>
                    <a:pt x="11185" y="3116"/>
                  </a:lnTo>
                  <a:lnTo>
                    <a:pt x="11184" y="3107"/>
                  </a:lnTo>
                  <a:lnTo>
                    <a:pt x="11184" y="2262"/>
                  </a:lnTo>
                  <a:lnTo>
                    <a:pt x="10285" y="2262"/>
                  </a:lnTo>
                  <a:lnTo>
                    <a:pt x="9388" y="2262"/>
                  </a:lnTo>
                  <a:lnTo>
                    <a:pt x="9388" y="3282"/>
                  </a:lnTo>
                  <a:lnTo>
                    <a:pt x="9388" y="4304"/>
                  </a:lnTo>
                  <a:lnTo>
                    <a:pt x="10285" y="4304"/>
                  </a:lnTo>
                  <a:lnTo>
                    <a:pt x="11184" y="4304"/>
                  </a:lnTo>
                  <a:lnTo>
                    <a:pt x="11184" y="3976"/>
                  </a:lnTo>
                  <a:lnTo>
                    <a:pt x="11185" y="3969"/>
                  </a:lnTo>
                  <a:lnTo>
                    <a:pt x="11190" y="3962"/>
                  </a:lnTo>
                  <a:lnTo>
                    <a:pt x="11197" y="3959"/>
                  </a:lnTo>
                  <a:lnTo>
                    <a:pt x="11205" y="3957"/>
                  </a:lnTo>
                  <a:lnTo>
                    <a:pt x="11211" y="3959"/>
                  </a:lnTo>
                  <a:lnTo>
                    <a:pt x="11217" y="3962"/>
                  </a:lnTo>
                  <a:lnTo>
                    <a:pt x="11223" y="3969"/>
                  </a:lnTo>
                  <a:lnTo>
                    <a:pt x="11224" y="3976"/>
                  </a:lnTo>
                  <a:lnTo>
                    <a:pt x="11224" y="4324"/>
                  </a:lnTo>
                  <a:lnTo>
                    <a:pt x="11223" y="4332"/>
                  </a:lnTo>
                  <a:lnTo>
                    <a:pt x="11217" y="4338"/>
                  </a:lnTo>
                  <a:lnTo>
                    <a:pt x="11211" y="4342"/>
                  </a:lnTo>
                  <a:lnTo>
                    <a:pt x="11205" y="4343"/>
                  </a:lnTo>
                  <a:lnTo>
                    <a:pt x="10285" y="4343"/>
                  </a:lnTo>
                  <a:lnTo>
                    <a:pt x="9367" y="4343"/>
                  </a:lnTo>
                  <a:lnTo>
                    <a:pt x="9361" y="4342"/>
                  </a:lnTo>
                  <a:lnTo>
                    <a:pt x="9354" y="4338"/>
                  </a:lnTo>
                  <a:lnTo>
                    <a:pt x="9349" y="4332"/>
                  </a:lnTo>
                  <a:lnTo>
                    <a:pt x="9348" y="4324"/>
                  </a:lnTo>
                  <a:lnTo>
                    <a:pt x="9348" y="3808"/>
                  </a:lnTo>
                  <a:lnTo>
                    <a:pt x="9348" y="3292"/>
                  </a:lnTo>
                  <a:lnTo>
                    <a:pt x="9348" y="2777"/>
                  </a:lnTo>
                  <a:lnTo>
                    <a:pt x="9348" y="2262"/>
                  </a:lnTo>
                  <a:lnTo>
                    <a:pt x="9336" y="2262"/>
                  </a:lnTo>
                  <a:lnTo>
                    <a:pt x="9329" y="2260"/>
                  </a:lnTo>
                  <a:lnTo>
                    <a:pt x="9322" y="2255"/>
                  </a:lnTo>
                  <a:lnTo>
                    <a:pt x="9318" y="2249"/>
                  </a:lnTo>
                  <a:lnTo>
                    <a:pt x="9317" y="2241"/>
                  </a:lnTo>
                  <a:lnTo>
                    <a:pt x="9317" y="2069"/>
                  </a:lnTo>
                  <a:lnTo>
                    <a:pt x="9318" y="2061"/>
                  </a:lnTo>
                  <a:lnTo>
                    <a:pt x="9322" y="2055"/>
                  </a:lnTo>
                  <a:lnTo>
                    <a:pt x="9329" y="2051"/>
                  </a:lnTo>
                  <a:lnTo>
                    <a:pt x="9336" y="2048"/>
                  </a:lnTo>
                  <a:lnTo>
                    <a:pt x="9364" y="2048"/>
                  </a:lnTo>
                  <a:lnTo>
                    <a:pt x="9581" y="1749"/>
                  </a:lnTo>
                  <a:lnTo>
                    <a:pt x="9589" y="1744"/>
                  </a:lnTo>
                  <a:lnTo>
                    <a:pt x="9598" y="1741"/>
                  </a:lnTo>
                  <a:lnTo>
                    <a:pt x="9740" y="1741"/>
                  </a:lnTo>
                  <a:close/>
                  <a:moveTo>
                    <a:pt x="9985" y="1741"/>
                  </a:moveTo>
                  <a:lnTo>
                    <a:pt x="9985" y="1639"/>
                  </a:lnTo>
                  <a:lnTo>
                    <a:pt x="9780" y="1639"/>
                  </a:lnTo>
                  <a:lnTo>
                    <a:pt x="9780" y="1741"/>
                  </a:lnTo>
                  <a:lnTo>
                    <a:pt x="9799" y="1741"/>
                  </a:lnTo>
                  <a:lnTo>
                    <a:pt x="9808" y="1743"/>
                  </a:lnTo>
                  <a:lnTo>
                    <a:pt x="9815" y="1748"/>
                  </a:lnTo>
                  <a:lnTo>
                    <a:pt x="9818" y="1754"/>
                  </a:lnTo>
                  <a:lnTo>
                    <a:pt x="9820" y="1762"/>
                  </a:lnTo>
                  <a:lnTo>
                    <a:pt x="9818" y="1768"/>
                  </a:lnTo>
                  <a:lnTo>
                    <a:pt x="9815" y="1775"/>
                  </a:lnTo>
                  <a:lnTo>
                    <a:pt x="9808" y="1780"/>
                  </a:lnTo>
                  <a:lnTo>
                    <a:pt x="9799" y="1781"/>
                  </a:lnTo>
                  <a:lnTo>
                    <a:pt x="9607" y="1781"/>
                  </a:lnTo>
                  <a:lnTo>
                    <a:pt x="9413" y="2048"/>
                  </a:lnTo>
                  <a:lnTo>
                    <a:pt x="10288" y="2048"/>
                  </a:lnTo>
                  <a:lnTo>
                    <a:pt x="11162" y="2048"/>
                  </a:lnTo>
                  <a:lnTo>
                    <a:pt x="10967" y="1781"/>
                  </a:lnTo>
                  <a:lnTo>
                    <a:pt x="9953" y="1781"/>
                  </a:lnTo>
                  <a:lnTo>
                    <a:pt x="9944" y="1780"/>
                  </a:lnTo>
                  <a:lnTo>
                    <a:pt x="9938" y="1775"/>
                  </a:lnTo>
                  <a:lnTo>
                    <a:pt x="9934" y="1768"/>
                  </a:lnTo>
                  <a:lnTo>
                    <a:pt x="9933" y="1762"/>
                  </a:lnTo>
                  <a:lnTo>
                    <a:pt x="9934" y="1754"/>
                  </a:lnTo>
                  <a:lnTo>
                    <a:pt x="9938" y="1748"/>
                  </a:lnTo>
                  <a:lnTo>
                    <a:pt x="9944" y="1743"/>
                  </a:lnTo>
                  <a:lnTo>
                    <a:pt x="9953" y="1741"/>
                  </a:lnTo>
                  <a:lnTo>
                    <a:pt x="9985" y="1741"/>
                  </a:lnTo>
                  <a:close/>
                  <a:moveTo>
                    <a:pt x="9372" y="2089"/>
                  </a:moveTo>
                  <a:lnTo>
                    <a:pt x="9357" y="2089"/>
                  </a:lnTo>
                  <a:lnTo>
                    <a:pt x="9357" y="2222"/>
                  </a:lnTo>
                  <a:lnTo>
                    <a:pt x="10285" y="2222"/>
                  </a:lnTo>
                  <a:lnTo>
                    <a:pt x="11215" y="2222"/>
                  </a:lnTo>
                  <a:lnTo>
                    <a:pt x="11215" y="2089"/>
                  </a:lnTo>
                  <a:lnTo>
                    <a:pt x="11205" y="2089"/>
                  </a:lnTo>
                  <a:lnTo>
                    <a:pt x="11198" y="2089"/>
                  </a:lnTo>
                  <a:lnTo>
                    <a:pt x="10288" y="2089"/>
                  </a:lnTo>
                  <a:lnTo>
                    <a:pt x="9379" y="2089"/>
                  </a:lnTo>
                  <a:lnTo>
                    <a:pt x="9372" y="2089"/>
                  </a:lnTo>
                  <a:close/>
                  <a:moveTo>
                    <a:pt x="11205" y="2089"/>
                  </a:moveTo>
                  <a:lnTo>
                    <a:pt x="11198" y="2089"/>
                  </a:lnTo>
                  <a:lnTo>
                    <a:pt x="11205" y="2089"/>
                  </a:lnTo>
                  <a:close/>
                  <a:moveTo>
                    <a:pt x="9379" y="2089"/>
                  </a:moveTo>
                  <a:lnTo>
                    <a:pt x="9372" y="2089"/>
                  </a:lnTo>
                  <a:lnTo>
                    <a:pt x="9379" y="2089"/>
                  </a:lnTo>
                  <a:close/>
                  <a:moveTo>
                    <a:pt x="11106" y="1136"/>
                  </a:moveTo>
                  <a:lnTo>
                    <a:pt x="11083" y="1126"/>
                  </a:lnTo>
                  <a:lnTo>
                    <a:pt x="11056" y="1122"/>
                  </a:lnTo>
                  <a:lnTo>
                    <a:pt x="11035" y="1125"/>
                  </a:lnTo>
                  <a:lnTo>
                    <a:pt x="11017" y="1130"/>
                  </a:lnTo>
                  <a:lnTo>
                    <a:pt x="10999" y="1140"/>
                  </a:lnTo>
                  <a:lnTo>
                    <a:pt x="10985" y="1152"/>
                  </a:lnTo>
                  <a:lnTo>
                    <a:pt x="10972" y="1167"/>
                  </a:lnTo>
                  <a:lnTo>
                    <a:pt x="10963" y="1185"/>
                  </a:lnTo>
                  <a:lnTo>
                    <a:pt x="10957" y="1204"/>
                  </a:lnTo>
                  <a:lnTo>
                    <a:pt x="10956" y="1225"/>
                  </a:lnTo>
                  <a:lnTo>
                    <a:pt x="10958" y="1246"/>
                  </a:lnTo>
                  <a:lnTo>
                    <a:pt x="11683" y="1245"/>
                  </a:lnTo>
                  <a:lnTo>
                    <a:pt x="11683" y="1227"/>
                  </a:lnTo>
                  <a:lnTo>
                    <a:pt x="11682" y="1208"/>
                  </a:lnTo>
                  <a:lnTo>
                    <a:pt x="11675" y="1190"/>
                  </a:lnTo>
                  <a:lnTo>
                    <a:pt x="11666" y="1174"/>
                  </a:lnTo>
                  <a:lnTo>
                    <a:pt x="11653" y="1159"/>
                  </a:lnTo>
                  <a:lnTo>
                    <a:pt x="11647" y="1153"/>
                  </a:lnTo>
                  <a:lnTo>
                    <a:pt x="11639" y="1148"/>
                  </a:lnTo>
                  <a:lnTo>
                    <a:pt x="11621" y="1139"/>
                  </a:lnTo>
                  <a:lnTo>
                    <a:pt x="11603" y="1133"/>
                  </a:lnTo>
                  <a:lnTo>
                    <a:pt x="11583" y="1131"/>
                  </a:lnTo>
                  <a:lnTo>
                    <a:pt x="11558" y="1134"/>
                  </a:lnTo>
                  <a:lnTo>
                    <a:pt x="11542" y="1138"/>
                  </a:lnTo>
                  <a:lnTo>
                    <a:pt x="11523" y="1139"/>
                  </a:lnTo>
                  <a:lnTo>
                    <a:pt x="11489" y="1133"/>
                  </a:lnTo>
                  <a:lnTo>
                    <a:pt x="11489" y="1113"/>
                  </a:lnTo>
                  <a:lnTo>
                    <a:pt x="11487" y="1096"/>
                  </a:lnTo>
                  <a:lnTo>
                    <a:pt x="11482" y="1078"/>
                  </a:lnTo>
                  <a:lnTo>
                    <a:pt x="11476" y="1061"/>
                  </a:lnTo>
                  <a:lnTo>
                    <a:pt x="11469" y="1044"/>
                  </a:lnTo>
                  <a:lnTo>
                    <a:pt x="11460" y="1030"/>
                  </a:lnTo>
                  <a:lnTo>
                    <a:pt x="11451" y="1016"/>
                  </a:lnTo>
                  <a:lnTo>
                    <a:pt x="11439" y="1002"/>
                  </a:lnTo>
                  <a:lnTo>
                    <a:pt x="11412" y="980"/>
                  </a:lnTo>
                  <a:lnTo>
                    <a:pt x="11383" y="964"/>
                  </a:lnTo>
                  <a:lnTo>
                    <a:pt x="11366" y="957"/>
                  </a:lnTo>
                  <a:lnTo>
                    <a:pt x="11349" y="954"/>
                  </a:lnTo>
                  <a:lnTo>
                    <a:pt x="11312" y="950"/>
                  </a:lnTo>
                  <a:lnTo>
                    <a:pt x="11278" y="954"/>
                  </a:lnTo>
                  <a:lnTo>
                    <a:pt x="11261" y="957"/>
                  </a:lnTo>
                  <a:lnTo>
                    <a:pt x="11246" y="963"/>
                  </a:lnTo>
                  <a:lnTo>
                    <a:pt x="11230" y="970"/>
                  </a:lnTo>
                  <a:lnTo>
                    <a:pt x="11216" y="978"/>
                  </a:lnTo>
                  <a:lnTo>
                    <a:pt x="11190" y="998"/>
                  </a:lnTo>
                  <a:lnTo>
                    <a:pt x="11170" y="1024"/>
                  </a:lnTo>
                  <a:lnTo>
                    <a:pt x="11153" y="1053"/>
                  </a:lnTo>
                  <a:lnTo>
                    <a:pt x="11147" y="1069"/>
                  </a:lnTo>
                  <a:lnTo>
                    <a:pt x="11142" y="1085"/>
                  </a:lnTo>
                  <a:lnTo>
                    <a:pt x="11138" y="1102"/>
                  </a:lnTo>
                  <a:lnTo>
                    <a:pt x="11137" y="1120"/>
                  </a:lnTo>
                  <a:lnTo>
                    <a:pt x="11134" y="1131"/>
                  </a:lnTo>
                  <a:lnTo>
                    <a:pt x="11126" y="1138"/>
                  </a:lnTo>
                  <a:lnTo>
                    <a:pt x="11122" y="1139"/>
                  </a:lnTo>
                  <a:lnTo>
                    <a:pt x="11117" y="1140"/>
                  </a:lnTo>
                  <a:lnTo>
                    <a:pt x="11106" y="1136"/>
                  </a:lnTo>
                  <a:close/>
                  <a:moveTo>
                    <a:pt x="11528" y="1106"/>
                  </a:moveTo>
                  <a:lnTo>
                    <a:pt x="11539" y="1098"/>
                  </a:lnTo>
                  <a:lnTo>
                    <a:pt x="11555" y="1094"/>
                  </a:lnTo>
                  <a:lnTo>
                    <a:pt x="11583" y="1090"/>
                  </a:lnTo>
                  <a:lnTo>
                    <a:pt x="11611" y="1094"/>
                  </a:lnTo>
                  <a:lnTo>
                    <a:pt x="11624" y="1097"/>
                  </a:lnTo>
                  <a:lnTo>
                    <a:pt x="11637" y="1102"/>
                  </a:lnTo>
                  <a:lnTo>
                    <a:pt x="11660" y="1115"/>
                  </a:lnTo>
                  <a:lnTo>
                    <a:pt x="11682" y="1131"/>
                  </a:lnTo>
                  <a:lnTo>
                    <a:pt x="11698" y="1151"/>
                  </a:lnTo>
                  <a:lnTo>
                    <a:pt x="11712" y="1174"/>
                  </a:lnTo>
                  <a:lnTo>
                    <a:pt x="11720" y="1199"/>
                  </a:lnTo>
                  <a:lnTo>
                    <a:pt x="11723" y="1213"/>
                  </a:lnTo>
                  <a:lnTo>
                    <a:pt x="11723" y="1227"/>
                  </a:lnTo>
                  <a:lnTo>
                    <a:pt x="11723" y="1243"/>
                  </a:lnTo>
                  <a:lnTo>
                    <a:pt x="11721" y="1262"/>
                  </a:lnTo>
                  <a:lnTo>
                    <a:pt x="11714" y="1278"/>
                  </a:lnTo>
                  <a:lnTo>
                    <a:pt x="11707" y="1284"/>
                  </a:lnTo>
                  <a:lnTo>
                    <a:pt x="11700" y="1285"/>
                  </a:lnTo>
                  <a:lnTo>
                    <a:pt x="10943" y="1286"/>
                  </a:lnTo>
                  <a:lnTo>
                    <a:pt x="10934" y="1285"/>
                  </a:lnTo>
                  <a:lnTo>
                    <a:pt x="10928" y="1280"/>
                  </a:lnTo>
                  <a:lnTo>
                    <a:pt x="10924" y="1271"/>
                  </a:lnTo>
                  <a:lnTo>
                    <a:pt x="10920" y="1262"/>
                  </a:lnTo>
                  <a:lnTo>
                    <a:pt x="10916" y="1240"/>
                  </a:lnTo>
                  <a:lnTo>
                    <a:pt x="10915" y="1225"/>
                  </a:lnTo>
                  <a:lnTo>
                    <a:pt x="10919" y="1197"/>
                  </a:lnTo>
                  <a:lnTo>
                    <a:pt x="10926" y="1170"/>
                  </a:lnTo>
                  <a:lnTo>
                    <a:pt x="10939" y="1145"/>
                  </a:lnTo>
                  <a:lnTo>
                    <a:pt x="10956" y="1125"/>
                  </a:lnTo>
                  <a:lnTo>
                    <a:pt x="10978" y="1107"/>
                  </a:lnTo>
                  <a:lnTo>
                    <a:pt x="10989" y="1099"/>
                  </a:lnTo>
                  <a:lnTo>
                    <a:pt x="11001" y="1094"/>
                  </a:lnTo>
                  <a:lnTo>
                    <a:pt x="11028" y="1085"/>
                  </a:lnTo>
                  <a:lnTo>
                    <a:pt x="11042" y="1083"/>
                  </a:lnTo>
                  <a:lnTo>
                    <a:pt x="11056" y="1083"/>
                  </a:lnTo>
                  <a:lnTo>
                    <a:pt x="11079" y="1084"/>
                  </a:lnTo>
                  <a:lnTo>
                    <a:pt x="11101" y="1089"/>
                  </a:lnTo>
                  <a:lnTo>
                    <a:pt x="11110" y="1052"/>
                  </a:lnTo>
                  <a:lnTo>
                    <a:pt x="11126" y="1019"/>
                  </a:lnTo>
                  <a:lnTo>
                    <a:pt x="11147" y="988"/>
                  </a:lnTo>
                  <a:lnTo>
                    <a:pt x="11173" y="961"/>
                  </a:lnTo>
                  <a:lnTo>
                    <a:pt x="11202" y="940"/>
                  </a:lnTo>
                  <a:lnTo>
                    <a:pt x="11237" y="923"/>
                  </a:lnTo>
                  <a:lnTo>
                    <a:pt x="11274" y="913"/>
                  </a:lnTo>
                  <a:lnTo>
                    <a:pt x="11312" y="910"/>
                  </a:lnTo>
                  <a:lnTo>
                    <a:pt x="11355" y="914"/>
                  </a:lnTo>
                  <a:lnTo>
                    <a:pt x="11374" y="918"/>
                  </a:lnTo>
                  <a:lnTo>
                    <a:pt x="11393" y="925"/>
                  </a:lnTo>
                  <a:lnTo>
                    <a:pt x="11428" y="942"/>
                  </a:lnTo>
                  <a:lnTo>
                    <a:pt x="11444" y="954"/>
                  </a:lnTo>
                  <a:lnTo>
                    <a:pt x="11458" y="966"/>
                  </a:lnTo>
                  <a:lnTo>
                    <a:pt x="11473" y="980"/>
                  </a:lnTo>
                  <a:lnTo>
                    <a:pt x="11485" y="996"/>
                  </a:lnTo>
                  <a:lnTo>
                    <a:pt x="11506" y="1029"/>
                  </a:lnTo>
                  <a:lnTo>
                    <a:pt x="11514" y="1047"/>
                  </a:lnTo>
                  <a:lnTo>
                    <a:pt x="11520" y="1066"/>
                  </a:lnTo>
                  <a:lnTo>
                    <a:pt x="11525" y="1085"/>
                  </a:lnTo>
                  <a:lnTo>
                    <a:pt x="11528" y="1106"/>
                  </a:lnTo>
                  <a:close/>
                  <a:moveTo>
                    <a:pt x="13515" y="644"/>
                  </a:moveTo>
                  <a:lnTo>
                    <a:pt x="13404" y="644"/>
                  </a:lnTo>
                  <a:lnTo>
                    <a:pt x="13404" y="754"/>
                  </a:lnTo>
                  <a:lnTo>
                    <a:pt x="13515" y="754"/>
                  </a:lnTo>
                  <a:lnTo>
                    <a:pt x="13515" y="644"/>
                  </a:lnTo>
                  <a:close/>
                  <a:moveTo>
                    <a:pt x="13534" y="605"/>
                  </a:moveTo>
                  <a:lnTo>
                    <a:pt x="13542" y="606"/>
                  </a:lnTo>
                  <a:lnTo>
                    <a:pt x="13549" y="611"/>
                  </a:lnTo>
                  <a:lnTo>
                    <a:pt x="13552" y="617"/>
                  </a:lnTo>
                  <a:lnTo>
                    <a:pt x="13555" y="624"/>
                  </a:lnTo>
                  <a:lnTo>
                    <a:pt x="13555" y="754"/>
                  </a:lnTo>
                  <a:lnTo>
                    <a:pt x="14078" y="754"/>
                  </a:lnTo>
                  <a:lnTo>
                    <a:pt x="14086" y="757"/>
                  </a:lnTo>
                  <a:lnTo>
                    <a:pt x="14092" y="761"/>
                  </a:lnTo>
                  <a:lnTo>
                    <a:pt x="14097" y="767"/>
                  </a:lnTo>
                  <a:lnTo>
                    <a:pt x="14099" y="775"/>
                  </a:lnTo>
                  <a:lnTo>
                    <a:pt x="14099" y="1471"/>
                  </a:lnTo>
                  <a:lnTo>
                    <a:pt x="14099" y="2170"/>
                  </a:lnTo>
                  <a:lnTo>
                    <a:pt x="14097" y="2177"/>
                  </a:lnTo>
                  <a:lnTo>
                    <a:pt x="14092" y="2184"/>
                  </a:lnTo>
                  <a:lnTo>
                    <a:pt x="14086" y="2188"/>
                  </a:lnTo>
                  <a:lnTo>
                    <a:pt x="14078" y="2189"/>
                  </a:lnTo>
                  <a:lnTo>
                    <a:pt x="14072" y="2188"/>
                  </a:lnTo>
                  <a:lnTo>
                    <a:pt x="14065" y="2184"/>
                  </a:lnTo>
                  <a:lnTo>
                    <a:pt x="14060" y="2177"/>
                  </a:lnTo>
                  <a:lnTo>
                    <a:pt x="14059" y="2170"/>
                  </a:lnTo>
                  <a:lnTo>
                    <a:pt x="14059" y="1482"/>
                  </a:lnTo>
                  <a:lnTo>
                    <a:pt x="14059" y="795"/>
                  </a:lnTo>
                  <a:lnTo>
                    <a:pt x="13534" y="795"/>
                  </a:lnTo>
                  <a:lnTo>
                    <a:pt x="13384" y="795"/>
                  </a:lnTo>
                  <a:lnTo>
                    <a:pt x="13150" y="795"/>
                  </a:lnTo>
                  <a:lnTo>
                    <a:pt x="13141" y="793"/>
                  </a:lnTo>
                  <a:lnTo>
                    <a:pt x="13134" y="789"/>
                  </a:lnTo>
                  <a:lnTo>
                    <a:pt x="13131" y="782"/>
                  </a:lnTo>
                  <a:lnTo>
                    <a:pt x="13129" y="775"/>
                  </a:lnTo>
                  <a:lnTo>
                    <a:pt x="13131" y="767"/>
                  </a:lnTo>
                  <a:lnTo>
                    <a:pt x="13134" y="761"/>
                  </a:lnTo>
                  <a:lnTo>
                    <a:pt x="13141" y="757"/>
                  </a:lnTo>
                  <a:lnTo>
                    <a:pt x="13150" y="754"/>
                  </a:lnTo>
                  <a:lnTo>
                    <a:pt x="13201" y="754"/>
                  </a:lnTo>
                  <a:lnTo>
                    <a:pt x="13201" y="612"/>
                  </a:lnTo>
                  <a:lnTo>
                    <a:pt x="12798" y="612"/>
                  </a:lnTo>
                  <a:lnTo>
                    <a:pt x="12798" y="754"/>
                  </a:lnTo>
                  <a:lnTo>
                    <a:pt x="12852" y="754"/>
                  </a:lnTo>
                  <a:lnTo>
                    <a:pt x="12861" y="757"/>
                  </a:lnTo>
                  <a:lnTo>
                    <a:pt x="12868" y="761"/>
                  </a:lnTo>
                  <a:lnTo>
                    <a:pt x="12872" y="767"/>
                  </a:lnTo>
                  <a:lnTo>
                    <a:pt x="12873" y="775"/>
                  </a:lnTo>
                  <a:lnTo>
                    <a:pt x="12872" y="782"/>
                  </a:lnTo>
                  <a:lnTo>
                    <a:pt x="12868" y="789"/>
                  </a:lnTo>
                  <a:lnTo>
                    <a:pt x="12861" y="793"/>
                  </a:lnTo>
                  <a:lnTo>
                    <a:pt x="12852" y="795"/>
                  </a:lnTo>
                  <a:lnTo>
                    <a:pt x="12664" y="795"/>
                  </a:lnTo>
                  <a:lnTo>
                    <a:pt x="12664" y="1810"/>
                  </a:lnTo>
                  <a:lnTo>
                    <a:pt x="12664" y="2826"/>
                  </a:lnTo>
                  <a:lnTo>
                    <a:pt x="12661" y="2835"/>
                  </a:lnTo>
                  <a:lnTo>
                    <a:pt x="12657" y="2840"/>
                  </a:lnTo>
                  <a:lnTo>
                    <a:pt x="12651" y="2844"/>
                  </a:lnTo>
                  <a:lnTo>
                    <a:pt x="12643" y="2845"/>
                  </a:lnTo>
                  <a:lnTo>
                    <a:pt x="12636" y="2844"/>
                  </a:lnTo>
                  <a:lnTo>
                    <a:pt x="12629" y="2840"/>
                  </a:lnTo>
                  <a:lnTo>
                    <a:pt x="12625" y="2835"/>
                  </a:lnTo>
                  <a:lnTo>
                    <a:pt x="12624" y="2826"/>
                  </a:lnTo>
                  <a:lnTo>
                    <a:pt x="12624" y="2313"/>
                  </a:lnTo>
                  <a:lnTo>
                    <a:pt x="12624" y="1800"/>
                  </a:lnTo>
                  <a:lnTo>
                    <a:pt x="12624" y="1287"/>
                  </a:lnTo>
                  <a:lnTo>
                    <a:pt x="12624" y="775"/>
                  </a:lnTo>
                  <a:lnTo>
                    <a:pt x="12625" y="767"/>
                  </a:lnTo>
                  <a:lnTo>
                    <a:pt x="12629" y="761"/>
                  </a:lnTo>
                  <a:lnTo>
                    <a:pt x="12636" y="757"/>
                  </a:lnTo>
                  <a:lnTo>
                    <a:pt x="12643" y="754"/>
                  </a:lnTo>
                  <a:lnTo>
                    <a:pt x="12759" y="754"/>
                  </a:lnTo>
                  <a:lnTo>
                    <a:pt x="12759" y="592"/>
                  </a:lnTo>
                  <a:lnTo>
                    <a:pt x="12760" y="584"/>
                  </a:lnTo>
                  <a:lnTo>
                    <a:pt x="12764" y="578"/>
                  </a:lnTo>
                  <a:lnTo>
                    <a:pt x="12770" y="574"/>
                  </a:lnTo>
                  <a:lnTo>
                    <a:pt x="12778" y="573"/>
                  </a:lnTo>
                  <a:lnTo>
                    <a:pt x="13220" y="573"/>
                  </a:lnTo>
                  <a:lnTo>
                    <a:pt x="13228" y="574"/>
                  </a:lnTo>
                  <a:lnTo>
                    <a:pt x="13234" y="578"/>
                  </a:lnTo>
                  <a:lnTo>
                    <a:pt x="13240" y="584"/>
                  </a:lnTo>
                  <a:lnTo>
                    <a:pt x="13241" y="592"/>
                  </a:lnTo>
                  <a:lnTo>
                    <a:pt x="13241" y="754"/>
                  </a:lnTo>
                  <a:lnTo>
                    <a:pt x="13364" y="754"/>
                  </a:lnTo>
                  <a:lnTo>
                    <a:pt x="13364" y="624"/>
                  </a:lnTo>
                  <a:lnTo>
                    <a:pt x="13365" y="617"/>
                  </a:lnTo>
                  <a:lnTo>
                    <a:pt x="13370" y="611"/>
                  </a:lnTo>
                  <a:lnTo>
                    <a:pt x="13377" y="606"/>
                  </a:lnTo>
                  <a:lnTo>
                    <a:pt x="13384" y="605"/>
                  </a:lnTo>
                  <a:lnTo>
                    <a:pt x="13534" y="605"/>
                  </a:lnTo>
                  <a:close/>
                  <a:moveTo>
                    <a:pt x="15835" y="2587"/>
                  </a:moveTo>
                  <a:lnTo>
                    <a:pt x="15677" y="2587"/>
                  </a:lnTo>
                  <a:lnTo>
                    <a:pt x="15677" y="3445"/>
                  </a:lnTo>
                  <a:lnTo>
                    <a:pt x="15677" y="4304"/>
                  </a:lnTo>
                  <a:lnTo>
                    <a:pt x="16008" y="4304"/>
                  </a:lnTo>
                  <a:lnTo>
                    <a:pt x="16008" y="3419"/>
                  </a:lnTo>
                  <a:lnTo>
                    <a:pt x="16008" y="2534"/>
                  </a:lnTo>
                  <a:lnTo>
                    <a:pt x="16009" y="2525"/>
                  </a:lnTo>
                  <a:lnTo>
                    <a:pt x="16012" y="2519"/>
                  </a:lnTo>
                  <a:lnTo>
                    <a:pt x="16016" y="2515"/>
                  </a:lnTo>
                  <a:lnTo>
                    <a:pt x="16021" y="2511"/>
                  </a:lnTo>
                  <a:lnTo>
                    <a:pt x="16027" y="2511"/>
                  </a:lnTo>
                  <a:lnTo>
                    <a:pt x="16032" y="2512"/>
                  </a:lnTo>
                  <a:lnTo>
                    <a:pt x="16039" y="2516"/>
                  </a:lnTo>
                  <a:lnTo>
                    <a:pt x="16045" y="2523"/>
                  </a:lnTo>
                  <a:lnTo>
                    <a:pt x="16536" y="3199"/>
                  </a:lnTo>
                  <a:lnTo>
                    <a:pt x="16536" y="2534"/>
                  </a:lnTo>
                  <a:lnTo>
                    <a:pt x="16538" y="2525"/>
                  </a:lnTo>
                  <a:lnTo>
                    <a:pt x="16540" y="2519"/>
                  </a:lnTo>
                  <a:lnTo>
                    <a:pt x="16544" y="2515"/>
                  </a:lnTo>
                  <a:lnTo>
                    <a:pt x="16549" y="2511"/>
                  </a:lnTo>
                  <a:lnTo>
                    <a:pt x="16556" y="2511"/>
                  </a:lnTo>
                  <a:lnTo>
                    <a:pt x="16562" y="2512"/>
                  </a:lnTo>
                  <a:lnTo>
                    <a:pt x="16567" y="2516"/>
                  </a:lnTo>
                  <a:lnTo>
                    <a:pt x="16573" y="2523"/>
                  </a:lnTo>
                  <a:lnTo>
                    <a:pt x="17076" y="3214"/>
                  </a:lnTo>
                  <a:lnTo>
                    <a:pt x="17076" y="2534"/>
                  </a:lnTo>
                  <a:lnTo>
                    <a:pt x="17077" y="2525"/>
                  </a:lnTo>
                  <a:lnTo>
                    <a:pt x="17080" y="2519"/>
                  </a:lnTo>
                  <a:lnTo>
                    <a:pt x="17084" y="2515"/>
                  </a:lnTo>
                  <a:lnTo>
                    <a:pt x="17089" y="2511"/>
                  </a:lnTo>
                  <a:lnTo>
                    <a:pt x="17094" y="2511"/>
                  </a:lnTo>
                  <a:lnTo>
                    <a:pt x="17100" y="2512"/>
                  </a:lnTo>
                  <a:lnTo>
                    <a:pt x="17107" y="2516"/>
                  </a:lnTo>
                  <a:lnTo>
                    <a:pt x="17112" y="2523"/>
                  </a:lnTo>
                  <a:lnTo>
                    <a:pt x="17640" y="3249"/>
                  </a:lnTo>
                  <a:lnTo>
                    <a:pt x="17644" y="3258"/>
                  </a:lnTo>
                  <a:lnTo>
                    <a:pt x="17644" y="3265"/>
                  </a:lnTo>
                  <a:lnTo>
                    <a:pt x="17642" y="3272"/>
                  </a:lnTo>
                  <a:lnTo>
                    <a:pt x="17636" y="3277"/>
                  </a:lnTo>
                  <a:lnTo>
                    <a:pt x="17630" y="3281"/>
                  </a:lnTo>
                  <a:lnTo>
                    <a:pt x="17622" y="3281"/>
                  </a:lnTo>
                  <a:lnTo>
                    <a:pt x="17615" y="3280"/>
                  </a:lnTo>
                  <a:lnTo>
                    <a:pt x="17608" y="3273"/>
                  </a:lnTo>
                  <a:lnTo>
                    <a:pt x="17116" y="2595"/>
                  </a:lnTo>
                  <a:lnTo>
                    <a:pt x="17116" y="3262"/>
                  </a:lnTo>
                  <a:lnTo>
                    <a:pt x="17113" y="3271"/>
                  </a:lnTo>
                  <a:lnTo>
                    <a:pt x="17108" y="3278"/>
                  </a:lnTo>
                  <a:lnTo>
                    <a:pt x="17099" y="3281"/>
                  </a:lnTo>
                  <a:lnTo>
                    <a:pt x="17090" y="3281"/>
                  </a:lnTo>
                  <a:lnTo>
                    <a:pt x="17080" y="3281"/>
                  </a:lnTo>
                  <a:lnTo>
                    <a:pt x="17074" y="3278"/>
                  </a:lnTo>
                  <a:lnTo>
                    <a:pt x="17070" y="3273"/>
                  </a:lnTo>
                  <a:lnTo>
                    <a:pt x="16577" y="2595"/>
                  </a:lnTo>
                  <a:lnTo>
                    <a:pt x="16577" y="3258"/>
                  </a:lnTo>
                  <a:lnTo>
                    <a:pt x="16577" y="3264"/>
                  </a:lnTo>
                  <a:lnTo>
                    <a:pt x="16575" y="3269"/>
                  </a:lnTo>
                  <a:lnTo>
                    <a:pt x="16571" y="3276"/>
                  </a:lnTo>
                  <a:lnTo>
                    <a:pt x="16563" y="3281"/>
                  </a:lnTo>
                  <a:lnTo>
                    <a:pt x="16554" y="3281"/>
                  </a:lnTo>
                  <a:lnTo>
                    <a:pt x="16547" y="3278"/>
                  </a:lnTo>
                  <a:lnTo>
                    <a:pt x="16541" y="3276"/>
                  </a:lnTo>
                  <a:lnTo>
                    <a:pt x="16539" y="3271"/>
                  </a:lnTo>
                  <a:lnTo>
                    <a:pt x="16049" y="2595"/>
                  </a:lnTo>
                  <a:lnTo>
                    <a:pt x="16049" y="3450"/>
                  </a:lnTo>
                  <a:lnTo>
                    <a:pt x="16049" y="4304"/>
                  </a:lnTo>
                  <a:lnTo>
                    <a:pt x="16844" y="4304"/>
                  </a:lnTo>
                  <a:lnTo>
                    <a:pt x="16853" y="4305"/>
                  </a:lnTo>
                  <a:lnTo>
                    <a:pt x="16859" y="4310"/>
                  </a:lnTo>
                  <a:lnTo>
                    <a:pt x="16863" y="4317"/>
                  </a:lnTo>
                  <a:lnTo>
                    <a:pt x="16865" y="4324"/>
                  </a:lnTo>
                  <a:lnTo>
                    <a:pt x="16863" y="4331"/>
                  </a:lnTo>
                  <a:lnTo>
                    <a:pt x="16859" y="4337"/>
                  </a:lnTo>
                  <a:lnTo>
                    <a:pt x="16853" y="4342"/>
                  </a:lnTo>
                  <a:lnTo>
                    <a:pt x="16844" y="4343"/>
                  </a:lnTo>
                  <a:lnTo>
                    <a:pt x="16250" y="4343"/>
                  </a:lnTo>
                  <a:lnTo>
                    <a:pt x="15657" y="4343"/>
                  </a:lnTo>
                  <a:lnTo>
                    <a:pt x="14760" y="4343"/>
                  </a:lnTo>
                  <a:lnTo>
                    <a:pt x="13864" y="4343"/>
                  </a:lnTo>
                  <a:lnTo>
                    <a:pt x="13856" y="4342"/>
                  </a:lnTo>
                  <a:lnTo>
                    <a:pt x="13850" y="4338"/>
                  </a:lnTo>
                  <a:lnTo>
                    <a:pt x="13846" y="4332"/>
                  </a:lnTo>
                  <a:lnTo>
                    <a:pt x="13843" y="4324"/>
                  </a:lnTo>
                  <a:lnTo>
                    <a:pt x="13843" y="3455"/>
                  </a:lnTo>
                  <a:lnTo>
                    <a:pt x="13843" y="2587"/>
                  </a:lnTo>
                  <a:lnTo>
                    <a:pt x="13686" y="2587"/>
                  </a:lnTo>
                  <a:lnTo>
                    <a:pt x="13677" y="2585"/>
                  </a:lnTo>
                  <a:lnTo>
                    <a:pt x="13670" y="2581"/>
                  </a:lnTo>
                  <a:lnTo>
                    <a:pt x="13667" y="2575"/>
                  </a:lnTo>
                  <a:lnTo>
                    <a:pt x="13665" y="2567"/>
                  </a:lnTo>
                  <a:lnTo>
                    <a:pt x="13667" y="2560"/>
                  </a:lnTo>
                  <a:lnTo>
                    <a:pt x="13670" y="2553"/>
                  </a:lnTo>
                  <a:lnTo>
                    <a:pt x="13677" y="2549"/>
                  </a:lnTo>
                  <a:lnTo>
                    <a:pt x="13686" y="2547"/>
                  </a:lnTo>
                  <a:lnTo>
                    <a:pt x="13963" y="2547"/>
                  </a:lnTo>
                  <a:lnTo>
                    <a:pt x="13963" y="2374"/>
                  </a:lnTo>
                  <a:lnTo>
                    <a:pt x="13964" y="2367"/>
                  </a:lnTo>
                  <a:lnTo>
                    <a:pt x="13968" y="2360"/>
                  </a:lnTo>
                  <a:lnTo>
                    <a:pt x="13974" y="2355"/>
                  </a:lnTo>
                  <a:lnTo>
                    <a:pt x="13982" y="2354"/>
                  </a:lnTo>
                  <a:lnTo>
                    <a:pt x="14750" y="2354"/>
                  </a:lnTo>
                  <a:lnTo>
                    <a:pt x="15519" y="2354"/>
                  </a:lnTo>
                  <a:lnTo>
                    <a:pt x="15527" y="2355"/>
                  </a:lnTo>
                  <a:lnTo>
                    <a:pt x="15534" y="2360"/>
                  </a:lnTo>
                  <a:lnTo>
                    <a:pt x="15537" y="2367"/>
                  </a:lnTo>
                  <a:lnTo>
                    <a:pt x="15539" y="2374"/>
                  </a:lnTo>
                  <a:lnTo>
                    <a:pt x="15539" y="2547"/>
                  </a:lnTo>
                  <a:lnTo>
                    <a:pt x="15835" y="2547"/>
                  </a:lnTo>
                  <a:lnTo>
                    <a:pt x="15844" y="2549"/>
                  </a:lnTo>
                  <a:lnTo>
                    <a:pt x="15850" y="2553"/>
                  </a:lnTo>
                  <a:lnTo>
                    <a:pt x="15854" y="2560"/>
                  </a:lnTo>
                  <a:lnTo>
                    <a:pt x="15855" y="2567"/>
                  </a:lnTo>
                  <a:lnTo>
                    <a:pt x="15854" y="2575"/>
                  </a:lnTo>
                  <a:lnTo>
                    <a:pt x="15850" y="2581"/>
                  </a:lnTo>
                  <a:lnTo>
                    <a:pt x="15844" y="2585"/>
                  </a:lnTo>
                  <a:lnTo>
                    <a:pt x="15835" y="2587"/>
                  </a:lnTo>
                  <a:close/>
                  <a:moveTo>
                    <a:pt x="15636" y="2587"/>
                  </a:moveTo>
                  <a:lnTo>
                    <a:pt x="14760" y="2587"/>
                  </a:lnTo>
                  <a:lnTo>
                    <a:pt x="13885" y="2587"/>
                  </a:lnTo>
                  <a:lnTo>
                    <a:pt x="13885" y="3445"/>
                  </a:lnTo>
                  <a:lnTo>
                    <a:pt x="13885" y="4304"/>
                  </a:lnTo>
                  <a:lnTo>
                    <a:pt x="14760" y="4304"/>
                  </a:lnTo>
                  <a:lnTo>
                    <a:pt x="15636" y="4304"/>
                  </a:lnTo>
                  <a:lnTo>
                    <a:pt x="15636" y="3445"/>
                  </a:lnTo>
                  <a:lnTo>
                    <a:pt x="15636" y="2587"/>
                  </a:lnTo>
                  <a:close/>
                  <a:moveTo>
                    <a:pt x="14002" y="2547"/>
                  </a:moveTo>
                  <a:lnTo>
                    <a:pt x="14750" y="2547"/>
                  </a:lnTo>
                  <a:lnTo>
                    <a:pt x="15499" y="2547"/>
                  </a:lnTo>
                  <a:lnTo>
                    <a:pt x="15499" y="2393"/>
                  </a:lnTo>
                  <a:lnTo>
                    <a:pt x="14750" y="2393"/>
                  </a:lnTo>
                  <a:lnTo>
                    <a:pt x="14002" y="2393"/>
                  </a:lnTo>
                  <a:lnTo>
                    <a:pt x="14002" y="2547"/>
                  </a:lnTo>
                  <a:close/>
                  <a:moveTo>
                    <a:pt x="15171" y="3639"/>
                  </a:moveTo>
                  <a:lnTo>
                    <a:pt x="15171" y="3751"/>
                  </a:lnTo>
                  <a:lnTo>
                    <a:pt x="15168" y="3760"/>
                  </a:lnTo>
                  <a:lnTo>
                    <a:pt x="15164" y="3765"/>
                  </a:lnTo>
                  <a:lnTo>
                    <a:pt x="15158" y="3769"/>
                  </a:lnTo>
                  <a:lnTo>
                    <a:pt x="15150" y="3771"/>
                  </a:lnTo>
                  <a:lnTo>
                    <a:pt x="15142" y="3769"/>
                  </a:lnTo>
                  <a:lnTo>
                    <a:pt x="15136" y="3765"/>
                  </a:lnTo>
                  <a:lnTo>
                    <a:pt x="15132" y="3760"/>
                  </a:lnTo>
                  <a:lnTo>
                    <a:pt x="15131" y="3751"/>
                  </a:lnTo>
                  <a:lnTo>
                    <a:pt x="15131" y="3639"/>
                  </a:lnTo>
                  <a:lnTo>
                    <a:pt x="15132" y="3630"/>
                  </a:lnTo>
                  <a:lnTo>
                    <a:pt x="15136" y="3624"/>
                  </a:lnTo>
                  <a:lnTo>
                    <a:pt x="15142" y="3620"/>
                  </a:lnTo>
                  <a:lnTo>
                    <a:pt x="15150" y="3618"/>
                  </a:lnTo>
                  <a:lnTo>
                    <a:pt x="15158" y="3620"/>
                  </a:lnTo>
                  <a:lnTo>
                    <a:pt x="15164" y="3624"/>
                  </a:lnTo>
                  <a:lnTo>
                    <a:pt x="15168" y="3630"/>
                  </a:lnTo>
                  <a:lnTo>
                    <a:pt x="15171" y="3639"/>
                  </a:lnTo>
                  <a:close/>
                  <a:moveTo>
                    <a:pt x="14908" y="3639"/>
                  </a:moveTo>
                  <a:lnTo>
                    <a:pt x="14908" y="3751"/>
                  </a:lnTo>
                  <a:lnTo>
                    <a:pt x="14905" y="3760"/>
                  </a:lnTo>
                  <a:lnTo>
                    <a:pt x="14901" y="3765"/>
                  </a:lnTo>
                  <a:lnTo>
                    <a:pt x="14895" y="3769"/>
                  </a:lnTo>
                  <a:lnTo>
                    <a:pt x="14887" y="3771"/>
                  </a:lnTo>
                  <a:lnTo>
                    <a:pt x="14880" y="3769"/>
                  </a:lnTo>
                  <a:lnTo>
                    <a:pt x="14873" y="3765"/>
                  </a:lnTo>
                  <a:lnTo>
                    <a:pt x="14869" y="3760"/>
                  </a:lnTo>
                  <a:lnTo>
                    <a:pt x="14867" y="3751"/>
                  </a:lnTo>
                  <a:lnTo>
                    <a:pt x="14867" y="3639"/>
                  </a:lnTo>
                  <a:lnTo>
                    <a:pt x="14869" y="3630"/>
                  </a:lnTo>
                  <a:lnTo>
                    <a:pt x="14873" y="3624"/>
                  </a:lnTo>
                  <a:lnTo>
                    <a:pt x="14880" y="3620"/>
                  </a:lnTo>
                  <a:lnTo>
                    <a:pt x="14887" y="3618"/>
                  </a:lnTo>
                  <a:lnTo>
                    <a:pt x="14895" y="3620"/>
                  </a:lnTo>
                  <a:lnTo>
                    <a:pt x="14901" y="3624"/>
                  </a:lnTo>
                  <a:lnTo>
                    <a:pt x="14905" y="3630"/>
                  </a:lnTo>
                  <a:lnTo>
                    <a:pt x="14908" y="3639"/>
                  </a:lnTo>
                  <a:close/>
                  <a:moveTo>
                    <a:pt x="14644" y="3639"/>
                  </a:moveTo>
                  <a:lnTo>
                    <a:pt x="14644" y="3751"/>
                  </a:lnTo>
                  <a:lnTo>
                    <a:pt x="14642" y="3760"/>
                  </a:lnTo>
                  <a:lnTo>
                    <a:pt x="14637" y="3765"/>
                  </a:lnTo>
                  <a:lnTo>
                    <a:pt x="14631" y="3769"/>
                  </a:lnTo>
                  <a:lnTo>
                    <a:pt x="14624" y="3771"/>
                  </a:lnTo>
                  <a:lnTo>
                    <a:pt x="14617" y="3769"/>
                  </a:lnTo>
                  <a:lnTo>
                    <a:pt x="14610" y="3765"/>
                  </a:lnTo>
                  <a:lnTo>
                    <a:pt x="14606" y="3760"/>
                  </a:lnTo>
                  <a:lnTo>
                    <a:pt x="14604" y="3751"/>
                  </a:lnTo>
                  <a:lnTo>
                    <a:pt x="14604" y="3639"/>
                  </a:lnTo>
                  <a:lnTo>
                    <a:pt x="14606" y="3630"/>
                  </a:lnTo>
                  <a:lnTo>
                    <a:pt x="14610" y="3624"/>
                  </a:lnTo>
                  <a:lnTo>
                    <a:pt x="14617" y="3620"/>
                  </a:lnTo>
                  <a:lnTo>
                    <a:pt x="14624" y="3618"/>
                  </a:lnTo>
                  <a:lnTo>
                    <a:pt x="14631" y="3620"/>
                  </a:lnTo>
                  <a:lnTo>
                    <a:pt x="14637" y="3624"/>
                  </a:lnTo>
                  <a:lnTo>
                    <a:pt x="14642" y="3630"/>
                  </a:lnTo>
                  <a:lnTo>
                    <a:pt x="14644" y="3639"/>
                  </a:lnTo>
                  <a:close/>
                  <a:moveTo>
                    <a:pt x="14381" y="3639"/>
                  </a:moveTo>
                  <a:lnTo>
                    <a:pt x="14381" y="3751"/>
                  </a:lnTo>
                  <a:lnTo>
                    <a:pt x="14379" y="3760"/>
                  </a:lnTo>
                  <a:lnTo>
                    <a:pt x="14374" y="3765"/>
                  </a:lnTo>
                  <a:lnTo>
                    <a:pt x="14368" y="3769"/>
                  </a:lnTo>
                  <a:lnTo>
                    <a:pt x="14362" y="3771"/>
                  </a:lnTo>
                  <a:lnTo>
                    <a:pt x="14354" y="3769"/>
                  </a:lnTo>
                  <a:lnTo>
                    <a:pt x="14347" y="3765"/>
                  </a:lnTo>
                  <a:lnTo>
                    <a:pt x="14342" y="3760"/>
                  </a:lnTo>
                  <a:lnTo>
                    <a:pt x="14341" y="3751"/>
                  </a:lnTo>
                  <a:lnTo>
                    <a:pt x="14341" y="3639"/>
                  </a:lnTo>
                  <a:lnTo>
                    <a:pt x="14342" y="3630"/>
                  </a:lnTo>
                  <a:lnTo>
                    <a:pt x="14347" y="3624"/>
                  </a:lnTo>
                  <a:lnTo>
                    <a:pt x="14354" y="3620"/>
                  </a:lnTo>
                  <a:lnTo>
                    <a:pt x="14362" y="3618"/>
                  </a:lnTo>
                  <a:lnTo>
                    <a:pt x="14368" y="3620"/>
                  </a:lnTo>
                  <a:lnTo>
                    <a:pt x="14374" y="3624"/>
                  </a:lnTo>
                  <a:lnTo>
                    <a:pt x="14379" y="3630"/>
                  </a:lnTo>
                  <a:lnTo>
                    <a:pt x="14381" y="3639"/>
                  </a:lnTo>
                  <a:close/>
                  <a:moveTo>
                    <a:pt x="14118" y="3639"/>
                  </a:moveTo>
                  <a:lnTo>
                    <a:pt x="14118" y="3751"/>
                  </a:lnTo>
                  <a:lnTo>
                    <a:pt x="14117" y="3760"/>
                  </a:lnTo>
                  <a:lnTo>
                    <a:pt x="14111" y="3765"/>
                  </a:lnTo>
                  <a:lnTo>
                    <a:pt x="14105" y="3769"/>
                  </a:lnTo>
                  <a:lnTo>
                    <a:pt x="14097" y="3771"/>
                  </a:lnTo>
                  <a:lnTo>
                    <a:pt x="14091" y="3769"/>
                  </a:lnTo>
                  <a:lnTo>
                    <a:pt x="14085" y="3765"/>
                  </a:lnTo>
                  <a:lnTo>
                    <a:pt x="14079" y="3760"/>
                  </a:lnTo>
                  <a:lnTo>
                    <a:pt x="14078" y="3751"/>
                  </a:lnTo>
                  <a:lnTo>
                    <a:pt x="14078" y="3639"/>
                  </a:lnTo>
                  <a:lnTo>
                    <a:pt x="14079" y="3630"/>
                  </a:lnTo>
                  <a:lnTo>
                    <a:pt x="14085" y="3624"/>
                  </a:lnTo>
                  <a:lnTo>
                    <a:pt x="14091" y="3620"/>
                  </a:lnTo>
                  <a:lnTo>
                    <a:pt x="14097" y="3618"/>
                  </a:lnTo>
                  <a:lnTo>
                    <a:pt x="14105" y="3620"/>
                  </a:lnTo>
                  <a:lnTo>
                    <a:pt x="14111" y="3624"/>
                  </a:lnTo>
                  <a:lnTo>
                    <a:pt x="14117" y="3630"/>
                  </a:lnTo>
                  <a:lnTo>
                    <a:pt x="14118" y="3639"/>
                  </a:lnTo>
                  <a:close/>
                  <a:moveTo>
                    <a:pt x="15434" y="3392"/>
                  </a:moveTo>
                  <a:lnTo>
                    <a:pt x="15434" y="3505"/>
                  </a:lnTo>
                  <a:lnTo>
                    <a:pt x="15432" y="3514"/>
                  </a:lnTo>
                  <a:lnTo>
                    <a:pt x="15427" y="3520"/>
                  </a:lnTo>
                  <a:lnTo>
                    <a:pt x="15421" y="3524"/>
                  </a:lnTo>
                  <a:lnTo>
                    <a:pt x="15413" y="3524"/>
                  </a:lnTo>
                  <a:lnTo>
                    <a:pt x="15407" y="3524"/>
                  </a:lnTo>
                  <a:lnTo>
                    <a:pt x="15400" y="3520"/>
                  </a:lnTo>
                  <a:lnTo>
                    <a:pt x="15395" y="3514"/>
                  </a:lnTo>
                  <a:lnTo>
                    <a:pt x="15394" y="3505"/>
                  </a:lnTo>
                  <a:lnTo>
                    <a:pt x="15394" y="3392"/>
                  </a:lnTo>
                  <a:lnTo>
                    <a:pt x="15395" y="3383"/>
                  </a:lnTo>
                  <a:lnTo>
                    <a:pt x="15400" y="3378"/>
                  </a:lnTo>
                  <a:lnTo>
                    <a:pt x="15407" y="3374"/>
                  </a:lnTo>
                  <a:lnTo>
                    <a:pt x="15413" y="3373"/>
                  </a:lnTo>
                  <a:lnTo>
                    <a:pt x="15421" y="3374"/>
                  </a:lnTo>
                  <a:lnTo>
                    <a:pt x="15427" y="3378"/>
                  </a:lnTo>
                  <a:lnTo>
                    <a:pt x="15432" y="3383"/>
                  </a:lnTo>
                  <a:lnTo>
                    <a:pt x="15434" y="3392"/>
                  </a:lnTo>
                  <a:close/>
                  <a:moveTo>
                    <a:pt x="15171" y="3392"/>
                  </a:moveTo>
                  <a:lnTo>
                    <a:pt x="15171" y="3505"/>
                  </a:lnTo>
                  <a:lnTo>
                    <a:pt x="15168" y="3514"/>
                  </a:lnTo>
                  <a:lnTo>
                    <a:pt x="15164" y="3520"/>
                  </a:lnTo>
                  <a:lnTo>
                    <a:pt x="15158" y="3524"/>
                  </a:lnTo>
                  <a:lnTo>
                    <a:pt x="15150" y="3524"/>
                  </a:lnTo>
                  <a:lnTo>
                    <a:pt x="15142" y="3524"/>
                  </a:lnTo>
                  <a:lnTo>
                    <a:pt x="15136" y="3520"/>
                  </a:lnTo>
                  <a:lnTo>
                    <a:pt x="15132" y="3514"/>
                  </a:lnTo>
                  <a:lnTo>
                    <a:pt x="15131" y="3505"/>
                  </a:lnTo>
                  <a:lnTo>
                    <a:pt x="15131" y="3392"/>
                  </a:lnTo>
                  <a:lnTo>
                    <a:pt x="15132" y="3383"/>
                  </a:lnTo>
                  <a:lnTo>
                    <a:pt x="15136" y="3378"/>
                  </a:lnTo>
                  <a:lnTo>
                    <a:pt x="15142" y="3374"/>
                  </a:lnTo>
                  <a:lnTo>
                    <a:pt x="15150" y="3373"/>
                  </a:lnTo>
                  <a:lnTo>
                    <a:pt x="15158" y="3374"/>
                  </a:lnTo>
                  <a:lnTo>
                    <a:pt x="15164" y="3378"/>
                  </a:lnTo>
                  <a:lnTo>
                    <a:pt x="15168" y="3383"/>
                  </a:lnTo>
                  <a:lnTo>
                    <a:pt x="15171" y="3392"/>
                  </a:lnTo>
                  <a:close/>
                  <a:moveTo>
                    <a:pt x="14908" y="3392"/>
                  </a:moveTo>
                  <a:lnTo>
                    <a:pt x="14908" y="3505"/>
                  </a:lnTo>
                  <a:lnTo>
                    <a:pt x="14905" y="3514"/>
                  </a:lnTo>
                  <a:lnTo>
                    <a:pt x="14901" y="3520"/>
                  </a:lnTo>
                  <a:lnTo>
                    <a:pt x="14895" y="3524"/>
                  </a:lnTo>
                  <a:lnTo>
                    <a:pt x="14887" y="3524"/>
                  </a:lnTo>
                  <a:lnTo>
                    <a:pt x="14880" y="3524"/>
                  </a:lnTo>
                  <a:lnTo>
                    <a:pt x="14873" y="3520"/>
                  </a:lnTo>
                  <a:lnTo>
                    <a:pt x="14869" y="3514"/>
                  </a:lnTo>
                  <a:lnTo>
                    <a:pt x="14867" y="3505"/>
                  </a:lnTo>
                  <a:lnTo>
                    <a:pt x="14867" y="3392"/>
                  </a:lnTo>
                  <a:lnTo>
                    <a:pt x="14869" y="3383"/>
                  </a:lnTo>
                  <a:lnTo>
                    <a:pt x="14873" y="3378"/>
                  </a:lnTo>
                  <a:lnTo>
                    <a:pt x="14880" y="3374"/>
                  </a:lnTo>
                  <a:lnTo>
                    <a:pt x="14887" y="3373"/>
                  </a:lnTo>
                  <a:lnTo>
                    <a:pt x="14895" y="3374"/>
                  </a:lnTo>
                  <a:lnTo>
                    <a:pt x="14901" y="3378"/>
                  </a:lnTo>
                  <a:lnTo>
                    <a:pt x="14905" y="3383"/>
                  </a:lnTo>
                  <a:lnTo>
                    <a:pt x="14908" y="3392"/>
                  </a:lnTo>
                  <a:close/>
                  <a:moveTo>
                    <a:pt x="14644" y="3392"/>
                  </a:moveTo>
                  <a:lnTo>
                    <a:pt x="14644" y="3505"/>
                  </a:lnTo>
                  <a:lnTo>
                    <a:pt x="14642" y="3514"/>
                  </a:lnTo>
                  <a:lnTo>
                    <a:pt x="14637" y="3520"/>
                  </a:lnTo>
                  <a:lnTo>
                    <a:pt x="14631" y="3524"/>
                  </a:lnTo>
                  <a:lnTo>
                    <a:pt x="14624" y="3524"/>
                  </a:lnTo>
                  <a:lnTo>
                    <a:pt x="14617" y="3524"/>
                  </a:lnTo>
                  <a:lnTo>
                    <a:pt x="14610" y="3520"/>
                  </a:lnTo>
                  <a:lnTo>
                    <a:pt x="14606" y="3514"/>
                  </a:lnTo>
                  <a:lnTo>
                    <a:pt x="14604" y="3505"/>
                  </a:lnTo>
                  <a:lnTo>
                    <a:pt x="14604" y="3392"/>
                  </a:lnTo>
                  <a:lnTo>
                    <a:pt x="14606" y="3383"/>
                  </a:lnTo>
                  <a:lnTo>
                    <a:pt x="14610" y="3378"/>
                  </a:lnTo>
                  <a:lnTo>
                    <a:pt x="14617" y="3374"/>
                  </a:lnTo>
                  <a:lnTo>
                    <a:pt x="14624" y="3373"/>
                  </a:lnTo>
                  <a:lnTo>
                    <a:pt x="14631" y="3374"/>
                  </a:lnTo>
                  <a:lnTo>
                    <a:pt x="14637" y="3378"/>
                  </a:lnTo>
                  <a:lnTo>
                    <a:pt x="14642" y="3383"/>
                  </a:lnTo>
                  <a:lnTo>
                    <a:pt x="14644" y="3392"/>
                  </a:lnTo>
                  <a:close/>
                  <a:moveTo>
                    <a:pt x="14381" y="3392"/>
                  </a:moveTo>
                  <a:lnTo>
                    <a:pt x="14381" y="3505"/>
                  </a:lnTo>
                  <a:lnTo>
                    <a:pt x="14379" y="3514"/>
                  </a:lnTo>
                  <a:lnTo>
                    <a:pt x="14374" y="3520"/>
                  </a:lnTo>
                  <a:lnTo>
                    <a:pt x="14368" y="3524"/>
                  </a:lnTo>
                  <a:lnTo>
                    <a:pt x="14362" y="3524"/>
                  </a:lnTo>
                  <a:lnTo>
                    <a:pt x="14354" y="3524"/>
                  </a:lnTo>
                  <a:lnTo>
                    <a:pt x="14347" y="3520"/>
                  </a:lnTo>
                  <a:lnTo>
                    <a:pt x="14342" y="3514"/>
                  </a:lnTo>
                  <a:lnTo>
                    <a:pt x="14341" y="3505"/>
                  </a:lnTo>
                  <a:lnTo>
                    <a:pt x="14341" y="3392"/>
                  </a:lnTo>
                  <a:lnTo>
                    <a:pt x="14342" y="3383"/>
                  </a:lnTo>
                  <a:lnTo>
                    <a:pt x="14347" y="3378"/>
                  </a:lnTo>
                  <a:lnTo>
                    <a:pt x="14354" y="3374"/>
                  </a:lnTo>
                  <a:lnTo>
                    <a:pt x="14362" y="3373"/>
                  </a:lnTo>
                  <a:lnTo>
                    <a:pt x="14368" y="3374"/>
                  </a:lnTo>
                  <a:lnTo>
                    <a:pt x="14374" y="3378"/>
                  </a:lnTo>
                  <a:lnTo>
                    <a:pt x="14379" y="3383"/>
                  </a:lnTo>
                  <a:lnTo>
                    <a:pt x="14381" y="3392"/>
                  </a:lnTo>
                  <a:close/>
                  <a:moveTo>
                    <a:pt x="14118" y="3392"/>
                  </a:moveTo>
                  <a:lnTo>
                    <a:pt x="14118" y="3505"/>
                  </a:lnTo>
                  <a:lnTo>
                    <a:pt x="14117" y="3514"/>
                  </a:lnTo>
                  <a:lnTo>
                    <a:pt x="14111" y="3520"/>
                  </a:lnTo>
                  <a:lnTo>
                    <a:pt x="14105" y="3524"/>
                  </a:lnTo>
                  <a:lnTo>
                    <a:pt x="14097" y="3524"/>
                  </a:lnTo>
                  <a:lnTo>
                    <a:pt x="14091" y="3524"/>
                  </a:lnTo>
                  <a:lnTo>
                    <a:pt x="14085" y="3520"/>
                  </a:lnTo>
                  <a:lnTo>
                    <a:pt x="14079" y="3514"/>
                  </a:lnTo>
                  <a:lnTo>
                    <a:pt x="14078" y="3505"/>
                  </a:lnTo>
                  <a:lnTo>
                    <a:pt x="14078" y="3392"/>
                  </a:lnTo>
                  <a:lnTo>
                    <a:pt x="14079" y="3383"/>
                  </a:lnTo>
                  <a:lnTo>
                    <a:pt x="14085" y="3378"/>
                  </a:lnTo>
                  <a:lnTo>
                    <a:pt x="14091" y="3374"/>
                  </a:lnTo>
                  <a:lnTo>
                    <a:pt x="14097" y="3373"/>
                  </a:lnTo>
                  <a:lnTo>
                    <a:pt x="14105" y="3374"/>
                  </a:lnTo>
                  <a:lnTo>
                    <a:pt x="14111" y="3378"/>
                  </a:lnTo>
                  <a:lnTo>
                    <a:pt x="14117" y="3383"/>
                  </a:lnTo>
                  <a:lnTo>
                    <a:pt x="14118" y="3392"/>
                  </a:lnTo>
                  <a:close/>
                  <a:moveTo>
                    <a:pt x="15434" y="3145"/>
                  </a:moveTo>
                  <a:lnTo>
                    <a:pt x="15434" y="3258"/>
                  </a:lnTo>
                  <a:lnTo>
                    <a:pt x="15432" y="3267"/>
                  </a:lnTo>
                  <a:lnTo>
                    <a:pt x="15427" y="3273"/>
                  </a:lnTo>
                  <a:lnTo>
                    <a:pt x="15421" y="3277"/>
                  </a:lnTo>
                  <a:lnTo>
                    <a:pt x="15413" y="3278"/>
                  </a:lnTo>
                  <a:lnTo>
                    <a:pt x="15407" y="3277"/>
                  </a:lnTo>
                  <a:lnTo>
                    <a:pt x="15400" y="3273"/>
                  </a:lnTo>
                  <a:lnTo>
                    <a:pt x="15395" y="3267"/>
                  </a:lnTo>
                  <a:lnTo>
                    <a:pt x="15394" y="3258"/>
                  </a:lnTo>
                  <a:lnTo>
                    <a:pt x="15394" y="3145"/>
                  </a:lnTo>
                  <a:lnTo>
                    <a:pt x="15395" y="3138"/>
                  </a:lnTo>
                  <a:lnTo>
                    <a:pt x="15400" y="3131"/>
                  </a:lnTo>
                  <a:lnTo>
                    <a:pt x="15407" y="3127"/>
                  </a:lnTo>
                  <a:lnTo>
                    <a:pt x="15413" y="3126"/>
                  </a:lnTo>
                  <a:lnTo>
                    <a:pt x="15421" y="3127"/>
                  </a:lnTo>
                  <a:lnTo>
                    <a:pt x="15427" y="3131"/>
                  </a:lnTo>
                  <a:lnTo>
                    <a:pt x="15432" y="3138"/>
                  </a:lnTo>
                  <a:lnTo>
                    <a:pt x="15434" y="3145"/>
                  </a:lnTo>
                  <a:close/>
                  <a:moveTo>
                    <a:pt x="15171" y="3145"/>
                  </a:moveTo>
                  <a:lnTo>
                    <a:pt x="15171" y="3258"/>
                  </a:lnTo>
                  <a:lnTo>
                    <a:pt x="15168" y="3267"/>
                  </a:lnTo>
                  <a:lnTo>
                    <a:pt x="15164" y="3273"/>
                  </a:lnTo>
                  <a:lnTo>
                    <a:pt x="15158" y="3277"/>
                  </a:lnTo>
                  <a:lnTo>
                    <a:pt x="15150" y="3278"/>
                  </a:lnTo>
                  <a:lnTo>
                    <a:pt x="15142" y="3277"/>
                  </a:lnTo>
                  <a:lnTo>
                    <a:pt x="15136" y="3273"/>
                  </a:lnTo>
                  <a:lnTo>
                    <a:pt x="15132" y="3267"/>
                  </a:lnTo>
                  <a:lnTo>
                    <a:pt x="15131" y="3258"/>
                  </a:lnTo>
                  <a:lnTo>
                    <a:pt x="15131" y="3145"/>
                  </a:lnTo>
                  <a:lnTo>
                    <a:pt x="15132" y="3138"/>
                  </a:lnTo>
                  <a:lnTo>
                    <a:pt x="15136" y="3131"/>
                  </a:lnTo>
                  <a:lnTo>
                    <a:pt x="15142" y="3127"/>
                  </a:lnTo>
                  <a:lnTo>
                    <a:pt x="15150" y="3126"/>
                  </a:lnTo>
                  <a:lnTo>
                    <a:pt x="15158" y="3127"/>
                  </a:lnTo>
                  <a:lnTo>
                    <a:pt x="15164" y="3131"/>
                  </a:lnTo>
                  <a:lnTo>
                    <a:pt x="15168" y="3138"/>
                  </a:lnTo>
                  <a:lnTo>
                    <a:pt x="15171" y="3145"/>
                  </a:lnTo>
                  <a:close/>
                  <a:moveTo>
                    <a:pt x="14908" y="3145"/>
                  </a:moveTo>
                  <a:lnTo>
                    <a:pt x="14908" y="3258"/>
                  </a:lnTo>
                  <a:lnTo>
                    <a:pt x="14905" y="3267"/>
                  </a:lnTo>
                  <a:lnTo>
                    <a:pt x="14901" y="3273"/>
                  </a:lnTo>
                  <a:lnTo>
                    <a:pt x="14895" y="3277"/>
                  </a:lnTo>
                  <a:lnTo>
                    <a:pt x="14887" y="3278"/>
                  </a:lnTo>
                  <a:lnTo>
                    <a:pt x="14880" y="3277"/>
                  </a:lnTo>
                  <a:lnTo>
                    <a:pt x="14873" y="3273"/>
                  </a:lnTo>
                  <a:lnTo>
                    <a:pt x="14869" y="3267"/>
                  </a:lnTo>
                  <a:lnTo>
                    <a:pt x="14867" y="3258"/>
                  </a:lnTo>
                  <a:lnTo>
                    <a:pt x="14867" y="3145"/>
                  </a:lnTo>
                  <a:lnTo>
                    <a:pt x="14869" y="3138"/>
                  </a:lnTo>
                  <a:lnTo>
                    <a:pt x="14873" y="3131"/>
                  </a:lnTo>
                  <a:lnTo>
                    <a:pt x="14880" y="3127"/>
                  </a:lnTo>
                  <a:lnTo>
                    <a:pt x="14887" y="3126"/>
                  </a:lnTo>
                  <a:lnTo>
                    <a:pt x="14895" y="3127"/>
                  </a:lnTo>
                  <a:lnTo>
                    <a:pt x="14901" y="3131"/>
                  </a:lnTo>
                  <a:lnTo>
                    <a:pt x="14905" y="3138"/>
                  </a:lnTo>
                  <a:lnTo>
                    <a:pt x="14908" y="3145"/>
                  </a:lnTo>
                  <a:close/>
                  <a:moveTo>
                    <a:pt x="14644" y="3145"/>
                  </a:moveTo>
                  <a:lnTo>
                    <a:pt x="14644" y="3258"/>
                  </a:lnTo>
                  <a:lnTo>
                    <a:pt x="14642" y="3267"/>
                  </a:lnTo>
                  <a:lnTo>
                    <a:pt x="14637" y="3273"/>
                  </a:lnTo>
                  <a:lnTo>
                    <a:pt x="14631" y="3277"/>
                  </a:lnTo>
                  <a:lnTo>
                    <a:pt x="14624" y="3278"/>
                  </a:lnTo>
                  <a:lnTo>
                    <a:pt x="14617" y="3277"/>
                  </a:lnTo>
                  <a:lnTo>
                    <a:pt x="14610" y="3273"/>
                  </a:lnTo>
                  <a:lnTo>
                    <a:pt x="14606" y="3267"/>
                  </a:lnTo>
                  <a:lnTo>
                    <a:pt x="14604" y="3258"/>
                  </a:lnTo>
                  <a:lnTo>
                    <a:pt x="14604" y="3145"/>
                  </a:lnTo>
                  <a:lnTo>
                    <a:pt x="14606" y="3138"/>
                  </a:lnTo>
                  <a:lnTo>
                    <a:pt x="14610" y="3131"/>
                  </a:lnTo>
                  <a:lnTo>
                    <a:pt x="14617" y="3127"/>
                  </a:lnTo>
                  <a:lnTo>
                    <a:pt x="14624" y="3126"/>
                  </a:lnTo>
                  <a:lnTo>
                    <a:pt x="14631" y="3127"/>
                  </a:lnTo>
                  <a:lnTo>
                    <a:pt x="14637" y="3131"/>
                  </a:lnTo>
                  <a:lnTo>
                    <a:pt x="14642" y="3138"/>
                  </a:lnTo>
                  <a:lnTo>
                    <a:pt x="14644" y="3145"/>
                  </a:lnTo>
                  <a:close/>
                  <a:moveTo>
                    <a:pt x="14381" y="3145"/>
                  </a:moveTo>
                  <a:lnTo>
                    <a:pt x="14381" y="3258"/>
                  </a:lnTo>
                  <a:lnTo>
                    <a:pt x="14379" y="3267"/>
                  </a:lnTo>
                  <a:lnTo>
                    <a:pt x="14374" y="3273"/>
                  </a:lnTo>
                  <a:lnTo>
                    <a:pt x="14368" y="3277"/>
                  </a:lnTo>
                  <a:lnTo>
                    <a:pt x="14362" y="3278"/>
                  </a:lnTo>
                  <a:lnTo>
                    <a:pt x="14354" y="3277"/>
                  </a:lnTo>
                  <a:lnTo>
                    <a:pt x="14347" y="3273"/>
                  </a:lnTo>
                  <a:lnTo>
                    <a:pt x="14342" y="3267"/>
                  </a:lnTo>
                  <a:lnTo>
                    <a:pt x="14341" y="3258"/>
                  </a:lnTo>
                  <a:lnTo>
                    <a:pt x="14341" y="3145"/>
                  </a:lnTo>
                  <a:lnTo>
                    <a:pt x="14342" y="3138"/>
                  </a:lnTo>
                  <a:lnTo>
                    <a:pt x="14347" y="3131"/>
                  </a:lnTo>
                  <a:lnTo>
                    <a:pt x="14354" y="3127"/>
                  </a:lnTo>
                  <a:lnTo>
                    <a:pt x="14362" y="3126"/>
                  </a:lnTo>
                  <a:lnTo>
                    <a:pt x="14368" y="3127"/>
                  </a:lnTo>
                  <a:lnTo>
                    <a:pt x="14374" y="3131"/>
                  </a:lnTo>
                  <a:lnTo>
                    <a:pt x="14379" y="3138"/>
                  </a:lnTo>
                  <a:lnTo>
                    <a:pt x="14381" y="3145"/>
                  </a:lnTo>
                  <a:close/>
                  <a:moveTo>
                    <a:pt x="14118" y="3145"/>
                  </a:moveTo>
                  <a:lnTo>
                    <a:pt x="14118" y="3258"/>
                  </a:lnTo>
                  <a:lnTo>
                    <a:pt x="14117" y="3267"/>
                  </a:lnTo>
                  <a:lnTo>
                    <a:pt x="14111" y="3273"/>
                  </a:lnTo>
                  <a:lnTo>
                    <a:pt x="14105" y="3277"/>
                  </a:lnTo>
                  <a:lnTo>
                    <a:pt x="14097" y="3278"/>
                  </a:lnTo>
                  <a:lnTo>
                    <a:pt x="14091" y="3277"/>
                  </a:lnTo>
                  <a:lnTo>
                    <a:pt x="14085" y="3273"/>
                  </a:lnTo>
                  <a:lnTo>
                    <a:pt x="14079" y="3267"/>
                  </a:lnTo>
                  <a:lnTo>
                    <a:pt x="14078" y="3258"/>
                  </a:lnTo>
                  <a:lnTo>
                    <a:pt x="14078" y="3145"/>
                  </a:lnTo>
                  <a:lnTo>
                    <a:pt x="14079" y="3138"/>
                  </a:lnTo>
                  <a:lnTo>
                    <a:pt x="14085" y="3131"/>
                  </a:lnTo>
                  <a:lnTo>
                    <a:pt x="14091" y="3127"/>
                  </a:lnTo>
                  <a:lnTo>
                    <a:pt x="14097" y="3126"/>
                  </a:lnTo>
                  <a:lnTo>
                    <a:pt x="14105" y="3127"/>
                  </a:lnTo>
                  <a:lnTo>
                    <a:pt x="14111" y="3131"/>
                  </a:lnTo>
                  <a:lnTo>
                    <a:pt x="14117" y="3138"/>
                  </a:lnTo>
                  <a:lnTo>
                    <a:pt x="14118" y="3145"/>
                  </a:lnTo>
                  <a:close/>
                  <a:moveTo>
                    <a:pt x="15434" y="2900"/>
                  </a:moveTo>
                  <a:lnTo>
                    <a:pt x="15434" y="3011"/>
                  </a:lnTo>
                  <a:lnTo>
                    <a:pt x="15432" y="3020"/>
                  </a:lnTo>
                  <a:lnTo>
                    <a:pt x="15427" y="3026"/>
                  </a:lnTo>
                  <a:lnTo>
                    <a:pt x="15421" y="3030"/>
                  </a:lnTo>
                  <a:lnTo>
                    <a:pt x="15413" y="3031"/>
                  </a:lnTo>
                  <a:lnTo>
                    <a:pt x="15407" y="3030"/>
                  </a:lnTo>
                  <a:lnTo>
                    <a:pt x="15400" y="3026"/>
                  </a:lnTo>
                  <a:lnTo>
                    <a:pt x="15395" y="3020"/>
                  </a:lnTo>
                  <a:lnTo>
                    <a:pt x="15394" y="3011"/>
                  </a:lnTo>
                  <a:lnTo>
                    <a:pt x="15394" y="2900"/>
                  </a:lnTo>
                  <a:lnTo>
                    <a:pt x="15395" y="2891"/>
                  </a:lnTo>
                  <a:lnTo>
                    <a:pt x="15400" y="2884"/>
                  </a:lnTo>
                  <a:lnTo>
                    <a:pt x="15407" y="2881"/>
                  </a:lnTo>
                  <a:lnTo>
                    <a:pt x="15413" y="2879"/>
                  </a:lnTo>
                  <a:lnTo>
                    <a:pt x="15421" y="2881"/>
                  </a:lnTo>
                  <a:lnTo>
                    <a:pt x="15427" y="2884"/>
                  </a:lnTo>
                  <a:lnTo>
                    <a:pt x="15432" y="2891"/>
                  </a:lnTo>
                  <a:lnTo>
                    <a:pt x="15434" y="2900"/>
                  </a:lnTo>
                  <a:close/>
                  <a:moveTo>
                    <a:pt x="15171" y="2900"/>
                  </a:moveTo>
                  <a:lnTo>
                    <a:pt x="15171" y="3011"/>
                  </a:lnTo>
                  <a:lnTo>
                    <a:pt x="15168" y="3020"/>
                  </a:lnTo>
                  <a:lnTo>
                    <a:pt x="15164" y="3026"/>
                  </a:lnTo>
                  <a:lnTo>
                    <a:pt x="15158" y="3030"/>
                  </a:lnTo>
                  <a:lnTo>
                    <a:pt x="15150" y="3031"/>
                  </a:lnTo>
                  <a:lnTo>
                    <a:pt x="15142" y="3030"/>
                  </a:lnTo>
                  <a:lnTo>
                    <a:pt x="15136" y="3026"/>
                  </a:lnTo>
                  <a:lnTo>
                    <a:pt x="15132" y="3020"/>
                  </a:lnTo>
                  <a:lnTo>
                    <a:pt x="15131" y="3011"/>
                  </a:lnTo>
                  <a:lnTo>
                    <a:pt x="15131" y="2900"/>
                  </a:lnTo>
                  <a:lnTo>
                    <a:pt x="15132" y="2891"/>
                  </a:lnTo>
                  <a:lnTo>
                    <a:pt x="15136" y="2884"/>
                  </a:lnTo>
                  <a:lnTo>
                    <a:pt x="15142" y="2881"/>
                  </a:lnTo>
                  <a:lnTo>
                    <a:pt x="15150" y="2879"/>
                  </a:lnTo>
                  <a:lnTo>
                    <a:pt x="15158" y="2881"/>
                  </a:lnTo>
                  <a:lnTo>
                    <a:pt x="15164" y="2884"/>
                  </a:lnTo>
                  <a:lnTo>
                    <a:pt x="15168" y="2891"/>
                  </a:lnTo>
                  <a:lnTo>
                    <a:pt x="15171" y="2900"/>
                  </a:lnTo>
                  <a:close/>
                  <a:moveTo>
                    <a:pt x="14908" y="2900"/>
                  </a:moveTo>
                  <a:lnTo>
                    <a:pt x="14908" y="3011"/>
                  </a:lnTo>
                  <a:lnTo>
                    <a:pt x="14905" y="3020"/>
                  </a:lnTo>
                  <a:lnTo>
                    <a:pt x="14901" y="3026"/>
                  </a:lnTo>
                  <a:lnTo>
                    <a:pt x="14895" y="3030"/>
                  </a:lnTo>
                  <a:lnTo>
                    <a:pt x="14887" y="3031"/>
                  </a:lnTo>
                  <a:lnTo>
                    <a:pt x="14880" y="3030"/>
                  </a:lnTo>
                  <a:lnTo>
                    <a:pt x="14873" y="3026"/>
                  </a:lnTo>
                  <a:lnTo>
                    <a:pt x="14869" y="3020"/>
                  </a:lnTo>
                  <a:lnTo>
                    <a:pt x="14867" y="3011"/>
                  </a:lnTo>
                  <a:lnTo>
                    <a:pt x="14867" y="2900"/>
                  </a:lnTo>
                  <a:lnTo>
                    <a:pt x="14869" y="2891"/>
                  </a:lnTo>
                  <a:lnTo>
                    <a:pt x="14873" y="2884"/>
                  </a:lnTo>
                  <a:lnTo>
                    <a:pt x="14880" y="2881"/>
                  </a:lnTo>
                  <a:lnTo>
                    <a:pt x="14887" y="2879"/>
                  </a:lnTo>
                  <a:lnTo>
                    <a:pt x="14895" y="2881"/>
                  </a:lnTo>
                  <a:lnTo>
                    <a:pt x="14901" y="2884"/>
                  </a:lnTo>
                  <a:lnTo>
                    <a:pt x="14905" y="2891"/>
                  </a:lnTo>
                  <a:lnTo>
                    <a:pt x="14908" y="2900"/>
                  </a:lnTo>
                  <a:close/>
                  <a:moveTo>
                    <a:pt x="14644" y="2900"/>
                  </a:moveTo>
                  <a:lnTo>
                    <a:pt x="14644" y="3011"/>
                  </a:lnTo>
                  <a:lnTo>
                    <a:pt x="14642" y="3020"/>
                  </a:lnTo>
                  <a:lnTo>
                    <a:pt x="14637" y="3026"/>
                  </a:lnTo>
                  <a:lnTo>
                    <a:pt x="14631" y="3030"/>
                  </a:lnTo>
                  <a:lnTo>
                    <a:pt x="14624" y="3031"/>
                  </a:lnTo>
                  <a:lnTo>
                    <a:pt x="14617" y="3030"/>
                  </a:lnTo>
                  <a:lnTo>
                    <a:pt x="14610" y="3026"/>
                  </a:lnTo>
                  <a:lnTo>
                    <a:pt x="14606" y="3020"/>
                  </a:lnTo>
                  <a:lnTo>
                    <a:pt x="14604" y="3011"/>
                  </a:lnTo>
                  <a:lnTo>
                    <a:pt x="14604" y="2900"/>
                  </a:lnTo>
                  <a:lnTo>
                    <a:pt x="14606" y="2891"/>
                  </a:lnTo>
                  <a:lnTo>
                    <a:pt x="14610" y="2884"/>
                  </a:lnTo>
                  <a:lnTo>
                    <a:pt x="14617" y="2881"/>
                  </a:lnTo>
                  <a:lnTo>
                    <a:pt x="14624" y="2879"/>
                  </a:lnTo>
                  <a:lnTo>
                    <a:pt x="14631" y="2881"/>
                  </a:lnTo>
                  <a:lnTo>
                    <a:pt x="14637" y="2884"/>
                  </a:lnTo>
                  <a:lnTo>
                    <a:pt x="14642" y="2891"/>
                  </a:lnTo>
                  <a:lnTo>
                    <a:pt x="14644" y="2900"/>
                  </a:lnTo>
                  <a:close/>
                  <a:moveTo>
                    <a:pt x="14381" y="2900"/>
                  </a:moveTo>
                  <a:lnTo>
                    <a:pt x="14381" y="3011"/>
                  </a:lnTo>
                  <a:lnTo>
                    <a:pt x="14379" y="3020"/>
                  </a:lnTo>
                  <a:lnTo>
                    <a:pt x="14374" y="3026"/>
                  </a:lnTo>
                  <a:lnTo>
                    <a:pt x="14368" y="3030"/>
                  </a:lnTo>
                  <a:lnTo>
                    <a:pt x="14362" y="3031"/>
                  </a:lnTo>
                  <a:lnTo>
                    <a:pt x="14354" y="3030"/>
                  </a:lnTo>
                  <a:lnTo>
                    <a:pt x="14347" y="3026"/>
                  </a:lnTo>
                  <a:lnTo>
                    <a:pt x="14342" y="3020"/>
                  </a:lnTo>
                  <a:lnTo>
                    <a:pt x="14341" y="3011"/>
                  </a:lnTo>
                  <a:lnTo>
                    <a:pt x="14341" y="2900"/>
                  </a:lnTo>
                  <a:lnTo>
                    <a:pt x="14342" y="2891"/>
                  </a:lnTo>
                  <a:lnTo>
                    <a:pt x="14347" y="2884"/>
                  </a:lnTo>
                  <a:lnTo>
                    <a:pt x="14354" y="2881"/>
                  </a:lnTo>
                  <a:lnTo>
                    <a:pt x="14362" y="2879"/>
                  </a:lnTo>
                  <a:lnTo>
                    <a:pt x="14368" y="2881"/>
                  </a:lnTo>
                  <a:lnTo>
                    <a:pt x="14374" y="2884"/>
                  </a:lnTo>
                  <a:lnTo>
                    <a:pt x="14379" y="2891"/>
                  </a:lnTo>
                  <a:lnTo>
                    <a:pt x="14381" y="2900"/>
                  </a:lnTo>
                  <a:close/>
                  <a:moveTo>
                    <a:pt x="14118" y="2900"/>
                  </a:moveTo>
                  <a:lnTo>
                    <a:pt x="14118" y="3011"/>
                  </a:lnTo>
                  <a:lnTo>
                    <a:pt x="14117" y="3020"/>
                  </a:lnTo>
                  <a:lnTo>
                    <a:pt x="14111" y="3026"/>
                  </a:lnTo>
                  <a:lnTo>
                    <a:pt x="14105" y="3030"/>
                  </a:lnTo>
                  <a:lnTo>
                    <a:pt x="14097" y="3031"/>
                  </a:lnTo>
                  <a:lnTo>
                    <a:pt x="14091" y="3030"/>
                  </a:lnTo>
                  <a:lnTo>
                    <a:pt x="14085" y="3026"/>
                  </a:lnTo>
                  <a:lnTo>
                    <a:pt x="14079" y="3020"/>
                  </a:lnTo>
                  <a:lnTo>
                    <a:pt x="14078" y="3011"/>
                  </a:lnTo>
                  <a:lnTo>
                    <a:pt x="14078" y="2900"/>
                  </a:lnTo>
                  <a:lnTo>
                    <a:pt x="14079" y="2891"/>
                  </a:lnTo>
                  <a:lnTo>
                    <a:pt x="14085" y="2884"/>
                  </a:lnTo>
                  <a:lnTo>
                    <a:pt x="14091" y="2881"/>
                  </a:lnTo>
                  <a:lnTo>
                    <a:pt x="14097" y="2879"/>
                  </a:lnTo>
                  <a:lnTo>
                    <a:pt x="14105" y="2881"/>
                  </a:lnTo>
                  <a:lnTo>
                    <a:pt x="14111" y="2884"/>
                  </a:lnTo>
                  <a:lnTo>
                    <a:pt x="14117" y="2891"/>
                  </a:lnTo>
                  <a:lnTo>
                    <a:pt x="14118" y="2900"/>
                  </a:lnTo>
                  <a:close/>
                  <a:moveTo>
                    <a:pt x="15434" y="3639"/>
                  </a:moveTo>
                  <a:lnTo>
                    <a:pt x="15434" y="3751"/>
                  </a:lnTo>
                  <a:lnTo>
                    <a:pt x="15432" y="3760"/>
                  </a:lnTo>
                  <a:lnTo>
                    <a:pt x="15427" y="3765"/>
                  </a:lnTo>
                  <a:lnTo>
                    <a:pt x="15421" y="3769"/>
                  </a:lnTo>
                  <a:lnTo>
                    <a:pt x="15413" y="3771"/>
                  </a:lnTo>
                  <a:lnTo>
                    <a:pt x="15407" y="3769"/>
                  </a:lnTo>
                  <a:lnTo>
                    <a:pt x="15400" y="3765"/>
                  </a:lnTo>
                  <a:lnTo>
                    <a:pt x="15395" y="3760"/>
                  </a:lnTo>
                  <a:lnTo>
                    <a:pt x="15394" y="3751"/>
                  </a:lnTo>
                  <a:lnTo>
                    <a:pt x="15394" y="3639"/>
                  </a:lnTo>
                  <a:lnTo>
                    <a:pt x="15395" y="3630"/>
                  </a:lnTo>
                  <a:lnTo>
                    <a:pt x="15400" y="3624"/>
                  </a:lnTo>
                  <a:lnTo>
                    <a:pt x="15407" y="3620"/>
                  </a:lnTo>
                  <a:lnTo>
                    <a:pt x="15413" y="3618"/>
                  </a:lnTo>
                  <a:lnTo>
                    <a:pt x="15421" y="3620"/>
                  </a:lnTo>
                  <a:lnTo>
                    <a:pt x="15427" y="3624"/>
                  </a:lnTo>
                  <a:lnTo>
                    <a:pt x="15432" y="3630"/>
                  </a:lnTo>
                  <a:lnTo>
                    <a:pt x="15434" y="3639"/>
                  </a:lnTo>
                  <a:close/>
                  <a:moveTo>
                    <a:pt x="18172" y="964"/>
                  </a:moveTo>
                  <a:lnTo>
                    <a:pt x="17643" y="964"/>
                  </a:lnTo>
                  <a:lnTo>
                    <a:pt x="17643" y="1019"/>
                  </a:lnTo>
                  <a:lnTo>
                    <a:pt x="18172" y="1019"/>
                  </a:lnTo>
                  <a:lnTo>
                    <a:pt x="18172" y="964"/>
                  </a:lnTo>
                  <a:close/>
                  <a:moveTo>
                    <a:pt x="17665" y="1323"/>
                  </a:moveTo>
                  <a:lnTo>
                    <a:pt x="18163" y="2010"/>
                  </a:lnTo>
                  <a:lnTo>
                    <a:pt x="18134" y="1058"/>
                  </a:lnTo>
                  <a:lnTo>
                    <a:pt x="17680" y="1058"/>
                  </a:lnTo>
                  <a:lnTo>
                    <a:pt x="17665" y="1322"/>
                  </a:lnTo>
                  <a:lnTo>
                    <a:pt x="17665" y="1323"/>
                  </a:lnTo>
                  <a:close/>
                  <a:moveTo>
                    <a:pt x="17638" y="1754"/>
                  </a:moveTo>
                  <a:lnTo>
                    <a:pt x="18179" y="2500"/>
                  </a:lnTo>
                  <a:lnTo>
                    <a:pt x="18166" y="2079"/>
                  </a:lnTo>
                  <a:lnTo>
                    <a:pt x="18161" y="2074"/>
                  </a:lnTo>
                  <a:lnTo>
                    <a:pt x="17661" y="1385"/>
                  </a:lnTo>
                  <a:lnTo>
                    <a:pt x="17638" y="1754"/>
                  </a:lnTo>
                  <a:close/>
                  <a:moveTo>
                    <a:pt x="17611" y="2186"/>
                  </a:moveTo>
                  <a:lnTo>
                    <a:pt x="18194" y="2989"/>
                  </a:lnTo>
                  <a:lnTo>
                    <a:pt x="18181" y="2571"/>
                  </a:lnTo>
                  <a:lnTo>
                    <a:pt x="17634" y="1817"/>
                  </a:lnTo>
                  <a:lnTo>
                    <a:pt x="17611" y="2186"/>
                  </a:lnTo>
                  <a:close/>
                  <a:moveTo>
                    <a:pt x="22919" y="2556"/>
                  </a:moveTo>
                  <a:lnTo>
                    <a:pt x="22895" y="2525"/>
                  </a:lnTo>
                  <a:lnTo>
                    <a:pt x="22869" y="2494"/>
                  </a:lnTo>
                  <a:lnTo>
                    <a:pt x="22841" y="2464"/>
                  </a:lnTo>
                  <a:lnTo>
                    <a:pt x="22812" y="2434"/>
                  </a:lnTo>
                  <a:lnTo>
                    <a:pt x="22748" y="2377"/>
                  </a:lnTo>
                  <a:lnTo>
                    <a:pt x="22714" y="2350"/>
                  </a:lnTo>
                  <a:lnTo>
                    <a:pt x="22678" y="2323"/>
                  </a:lnTo>
                  <a:lnTo>
                    <a:pt x="22603" y="2272"/>
                  </a:lnTo>
                  <a:lnTo>
                    <a:pt x="22522" y="2225"/>
                  </a:lnTo>
                  <a:lnTo>
                    <a:pt x="22436" y="2181"/>
                  </a:lnTo>
                  <a:lnTo>
                    <a:pt x="22346" y="2142"/>
                  </a:lnTo>
                  <a:lnTo>
                    <a:pt x="22250" y="2104"/>
                  </a:lnTo>
                  <a:lnTo>
                    <a:pt x="22151" y="2072"/>
                  </a:lnTo>
                  <a:lnTo>
                    <a:pt x="22048" y="2046"/>
                  </a:lnTo>
                  <a:lnTo>
                    <a:pt x="21995" y="2033"/>
                  </a:lnTo>
                  <a:lnTo>
                    <a:pt x="21941" y="2023"/>
                  </a:lnTo>
                  <a:lnTo>
                    <a:pt x="21831" y="2003"/>
                  </a:lnTo>
                  <a:lnTo>
                    <a:pt x="21774" y="1997"/>
                  </a:lnTo>
                  <a:lnTo>
                    <a:pt x="21718" y="1991"/>
                  </a:lnTo>
                  <a:lnTo>
                    <a:pt x="21601" y="1983"/>
                  </a:lnTo>
                  <a:lnTo>
                    <a:pt x="21483" y="1980"/>
                  </a:lnTo>
                  <a:lnTo>
                    <a:pt x="21365" y="1983"/>
                  </a:lnTo>
                  <a:lnTo>
                    <a:pt x="21249" y="1991"/>
                  </a:lnTo>
                  <a:lnTo>
                    <a:pt x="21136" y="2003"/>
                  </a:lnTo>
                  <a:lnTo>
                    <a:pt x="21026" y="2023"/>
                  </a:lnTo>
                  <a:lnTo>
                    <a:pt x="20972" y="2033"/>
                  </a:lnTo>
                  <a:lnTo>
                    <a:pt x="20919" y="2046"/>
                  </a:lnTo>
                  <a:lnTo>
                    <a:pt x="20815" y="2072"/>
                  </a:lnTo>
                  <a:lnTo>
                    <a:pt x="20717" y="2104"/>
                  </a:lnTo>
                  <a:lnTo>
                    <a:pt x="20622" y="2142"/>
                  </a:lnTo>
                  <a:lnTo>
                    <a:pt x="20531" y="2181"/>
                  </a:lnTo>
                  <a:lnTo>
                    <a:pt x="20445" y="2225"/>
                  </a:lnTo>
                  <a:lnTo>
                    <a:pt x="20364" y="2272"/>
                  </a:lnTo>
                  <a:lnTo>
                    <a:pt x="20288" y="2323"/>
                  </a:lnTo>
                  <a:lnTo>
                    <a:pt x="20219" y="2377"/>
                  </a:lnTo>
                  <a:lnTo>
                    <a:pt x="20187" y="2405"/>
                  </a:lnTo>
                  <a:lnTo>
                    <a:pt x="20155" y="2434"/>
                  </a:lnTo>
                  <a:lnTo>
                    <a:pt x="20125" y="2464"/>
                  </a:lnTo>
                  <a:lnTo>
                    <a:pt x="20098" y="2494"/>
                  </a:lnTo>
                  <a:lnTo>
                    <a:pt x="20047" y="2556"/>
                  </a:lnTo>
                  <a:lnTo>
                    <a:pt x="20765" y="2556"/>
                  </a:lnTo>
                  <a:lnTo>
                    <a:pt x="21483" y="2556"/>
                  </a:lnTo>
                  <a:lnTo>
                    <a:pt x="22201" y="2556"/>
                  </a:lnTo>
                  <a:lnTo>
                    <a:pt x="22919" y="2556"/>
                  </a:lnTo>
                  <a:close/>
                  <a:moveTo>
                    <a:pt x="21733" y="1952"/>
                  </a:moveTo>
                  <a:lnTo>
                    <a:pt x="21733" y="1794"/>
                  </a:lnTo>
                  <a:lnTo>
                    <a:pt x="21235" y="1794"/>
                  </a:lnTo>
                  <a:lnTo>
                    <a:pt x="21235" y="1952"/>
                  </a:lnTo>
                  <a:lnTo>
                    <a:pt x="21295" y="1947"/>
                  </a:lnTo>
                  <a:lnTo>
                    <a:pt x="21358" y="1943"/>
                  </a:lnTo>
                  <a:lnTo>
                    <a:pt x="21420" y="1941"/>
                  </a:lnTo>
                  <a:lnTo>
                    <a:pt x="21483" y="1939"/>
                  </a:lnTo>
                  <a:lnTo>
                    <a:pt x="21609" y="1943"/>
                  </a:lnTo>
                  <a:lnTo>
                    <a:pt x="21733" y="1952"/>
                  </a:lnTo>
                  <a:close/>
                  <a:moveTo>
                    <a:pt x="20024" y="2977"/>
                  </a:moveTo>
                  <a:lnTo>
                    <a:pt x="20754" y="2977"/>
                  </a:lnTo>
                  <a:lnTo>
                    <a:pt x="21483" y="2977"/>
                  </a:lnTo>
                  <a:lnTo>
                    <a:pt x="22213" y="2977"/>
                  </a:lnTo>
                  <a:lnTo>
                    <a:pt x="22943" y="2977"/>
                  </a:lnTo>
                  <a:lnTo>
                    <a:pt x="22943" y="2750"/>
                  </a:lnTo>
                  <a:lnTo>
                    <a:pt x="22213" y="2750"/>
                  </a:lnTo>
                  <a:lnTo>
                    <a:pt x="21483" y="2750"/>
                  </a:lnTo>
                  <a:lnTo>
                    <a:pt x="20754" y="2750"/>
                  </a:lnTo>
                  <a:lnTo>
                    <a:pt x="20024" y="2750"/>
                  </a:lnTo>
                  <a:lnTo>
                    <a:pt x="20024" y="2977"/>
                  </a:lnTo>
                  <a:close/>
                  <a:moveTo>
                    <a:pt x="20768" y="4017"/>
                  </a:moveTo>
                  <a:lnTo>
                    <a:pt x="20768" y="4324"/>
                  </a:lnTo>
                  <a:lnTo>
                    <a:pt x="20974" y="4324"/>
                  </a:lnTo>
                  <a:lnTo>
                    <a:pt x="20974" y="3670"/>
                  </a:lnTo>
                  <a:lnTo>
                    <a:pt x="20974" y="3016"/>
                  </a:lnTo>
                  <a:lnTo>
                    <a:pt x="20523" y="3016"/>
                  </a:lnTo>
                  <a:lnTo>
                    <a:pt x="20523" y="3670"/>
                  </a:lnTo>
                  <a:lnTo>
                    <a:pt x="20523" y="4324"/>
                  </a:lnTo>
                  <a:lnTo>
                    <a:pt x="20728" y="4324"/>
                  </a:lnTo>
                  <a:lnTo>
                    <a:pt x="20728" y="4017"/>
                  </a:lnTo>
                  <a:lnTo>
                    <a:pt x="20731" y="4008"/>
                  </a:lnTo>
                  <a:lnTo>
                    <a:pt x="20734" y="4002"/>
                  </a:lnTo>
                  <a:lnTo>
                    <a:pt x="20741" y="3998"/>
                  </a:lnTo>
                  <a:lnTo>
                    <a:pt x="20749" y="3997"/>
                  </a:lnTo>
                  <a:lnTo>
                    <a:pt x="20756" y="3998"/>
                  </a:lnTo>
                  <a:lnTo>
                    <a:pt x="20763" y="4002"/>
                  </a:lnTo>
                  <a:lnTo>
                    <a:pt x="20767" y="4008"/>
                  </a:lnTo>
                  <a:lnTo>
                    <a:pt x="20768" y="4017"/>
                  </a:lnTo>
                  <a:close/>
                  <a:moveTo>
                    <a:pt x="21260" y="4017"/>
                  </a:moveTo>
                  <a:lnTo>
                    <a:pt x="21260" y="4324"/>
                  </a:lnTo>
                  <a:lnTo>
                    <a:pt x="21467" y="4324"/>
                  </a:lnTo>
                  <a:lnTo>
                    <a:pt x="21467" y="3670"/>
                  </a:lnTo>
                  <a:lnTo>
                    <a:pt x="21467" y="3016"/>
                  </a:lnTo>
                  <a:lnTo>
                    <a:pt x="21014" y="3016"/>
                  </a:lnTo>
                  <a:lnTo>
                    <a:pt x="21014" y="3670"/>
                  </a:lnTo>
                  <a:lnTo>
                    <a:pt x="21014" y="4324"/>
                  </a:lnTo>
                  <a:lnTo>
                    <a:pt x="21220" y="4324"/>
                  </a:lnTo>
                  <a:lnTo>
                    <a:pt x="21220" y="4017"/>
                  </a:lnTo>
                  <a:lnTo>
                    <a:pt x="21222" y="4008"/>
                  </a:lnTo>
                  <a:lnTo>
                    <a:pt x="21227" y="4002"/>
                  </a:lnTo>
                  <a:lnTo>
                    <a:pt x="21233" y="3998"/>
                  </a:lnTo>
                  <a:lnTo>
                    <a:pt x="21241" y="3997"/>
                  </a:lnTo>
                  <a:lnTo>
                    <a:pt x="21247" y="3998"/>
                  </a:lnTo>
                  <a:lnTo>
                    <a:pt x="21254" y="4002"/>
                  </a:lnTo>
                  <a:lnTo>
                    <a:pt x="21259" y="4008"/>
                  </a:lnTo>
                  <a:lnTo>
                    <a:pt x="21260" y="4017"/>
                  </a:lnTo>
                  <a:close/>
                  <a:moveTo>
                    <a:pt x="21753" y="4017"/>
                  </a:moveTo>
                  <a:lnTo>
                    <a:pt x="21753" y="4324"/>
                  </a:lnTo>
                  <a:lnTo>
                    <a:pt x="21959" y="4324"/>
                  </a:lnTo>
                  <a:lnTo>
                    <a:pt x="21959" y="3670"/>
                  </a:lnTo>
                  <a:lnTo>
                    <a:pt x="21959" y="3016"/>
                  </a:lnTo>
                  <a:lnTo>
                    <a:pt x="21506" y="3016"/>
                  </a:lnTo>
                  <a:lnTo>
                    <a:pt x="21506" y="3670"/>
                  </a:lnTo>
                  <a:lnTo>
                    <a:pt x="21506" y="4324"/>
                  </a:lnTo>
                  <a:lnTo>
                    <a:pt x="21713" y="4324"/>
                  </a:lnTo>
                  <a:lnTo>
                    <a:pt x="21713" y="4017"/>
                  </a:lnTo>
                  <a:lnTo>
                    <a:pt x="21714" y="4008"/>
                  </a:lnTo>
                  <a:lnTo>
                    <a:pt x="21719" y="4002"/>
                  </a:lnTo>
                  <a:lnTo>
                    <a:pt x="21726" y="3998"/>
                  </a:lnTo>
                  <a:lnTo>
                    <a:pt x="21732" y="3997"/>
                  </a:lnTo>
                  <a:lnTo>
                    <a:pt x="21740" y="3998"/>
                  </a:lnTo>
                  <a:lnTo>
                    <a:pt x="21746" y="4002"/>
                  </a:lnTo>
                  <a:lnTo>
                    <a:pt x="21751" y="4008"/>
                  </a:lnTo>
                  <a:lnTo>
                    <a:pt x="21753" y="4017"/>
                  </a:lnTo>
                  <a:close/>
                  <a:moveTo>
                    <a:pt x="22245" y="4017"/>
                  </a:moveTo>
                  <a:lnTo>
                    <a:pt x="22245" y="4324"/>
                  </a:lnTo>
                  <a:lnTo>
                    <a:pt x="22450" y="4324"/>
                  </a:lnTo>
                  <a:lnTo>
                    <a:pt x="22450" y="3670"/>
                  </a:lnTo>
                  <a:lnTo>
                    <a:pt x="22450" y="3016"/>
                  </a:lnTo>
                  <a:lnTo>
                    <a:pt x="21999" y="3016"/>
                  </a:lnTo>
                  <a:lnTo>
                    <a:pt x="21999" y="3670"/>
                  </a:lnTo>
                  <a:lnTo>
                    <a:pt x="21999" y="4324"/>
                  </a:lnTo>
                  <a:lnTo>
                    <a:pt x="22205" y="4324"/>
                  </a:lnTo>
                  <a:lnTo>
                    <a:pt x="22205" y="4017"/>
                  </a:lnTo>
                  <a:lnTo>
                    <a:pt x="22207" y="4008"/>
                  </a:lnTo>
                  <a:lnTo>
                    <a:pt x="22210" y="4002"/>
                  </a:lnTo>
                  <a:lnTo>
                    <a:pt x="22217" y="3998"/>
                  </a:lnTo>
                  <a:lnTo>
                    <a:pt x="22224" y="3997"/>
                  </a:lnTo>
                  <a:lnTo>
                    <a:pt x="22232" y="3998"/>
                  </a:lnTo>
                  <a:lnTo>
                    <a:pt x="22239" y="4002"/>
                  </a:lnTo>
                  <a:lnTo>
                    <a:pt x="22242" y="4008"/>
                  </a:lnTo>
                  <a:lnTo>
                    <a:pt x="22245" y="4017"/>
                  </a:lnTo>
                  <a:close/>
                  <a:moveTo>
                    <a:pt x="22737" y="4017"/>
                  </a:moveTo>
                  <a:lnTo>
                    <a:pt x="22737" y="4324"/>
                  </a:lnTo>
                  <a:lnTo>
                    <a:pt x="22943" y="4324"/>
                  </a:lnTo>
                  <a:lnTo>
                    <a:pt x="22943" y="3670"/>
                  </a:lnTo>
                  <a:lnTo>
                    <a:pt x="22943" y="3016"/>
                  </a:lnTo>
                  <a:lnTo>
                    <a:pt x="22491" y="3016"/>
                  </a:lnTo>
                  <a:lnTo>
                    <a:pt x="22491" y="3670"/>
                  </a:lnTo>
                  <a:lnTo>
                    <a:pt x="22491" y="4324"/>
                  </a:lnTo>
                  <a:lnTo>
                    <a:pt x="22696" y="4324"/>
                  </a:lnTo>
                  <a:lnTo>
                    <a:pt x="22696" y="4017"/>
                  </a:lnTo>
                  <a:lnTo>
                    <a:pt x="22699" y="4008"/>
                  </a:lnTo>
                  <a:lnTo>
                    <a:pt x="22703" y="4002"/>
                  </a:lnTo>
                  <a:lnTo>
                    <a:pt x="22709" y="3998"/>
                  </a:lnTo>
                  <a:lnTo>
                    <a:pt x="22717" y="3997"/>
                  </a:lnTo>
                  <a:lnTo>
                    <a:pt x="22725" y="3998"/>
                  </a:lnTo>
                  <a:lnTo>
                    <a:pt x="22731" y="4002"/>
                  </a:lnTo>
                  <a:lnTo>
                    <a:pt x="22735" y="4008"/>
                  </a:lnTo>
                  <a:lnTo>
                    <a:pt x="22737" y="4017"/>
                  </a:lnTo>
                  <a:close/>
                  <a:moveTo>
                    <a:pt x="21727" y="1754"/>
                  </a:moveTo>
                  <a:lnTo>
                    <a:pt x="21714" y="1740"/>
                  </a:lnTo>
                  <a:lnTo>
                    <a:pt x="21696" y="1727"/>
                  </a:lnTo>
                  <a:lnTo>
                    <a:pt x="21673" y="1714"/>
                  </a:lnTo>
                  <a:lnTo>
                    <a:pt x="21645" y="1703"/>
                  </a:lnTo>
                  <a:lnTo>
                    <a:pt x="21612" y="1693"/>
                  </a:lnTo>
                  <a:lnTo>
                    <a:pt x="21573" y="1686"/>
                  </a:lnTo>
                  <a:lnTo>
                    <a:pt x="21531" y="1681"/>
                  </a:lnTo>
                  <a:lnTo>
                    <a:pt x="21483" y="1679"/>
                  </a:lnTo>
                  <a:lnTo>
                    <a:pt x="21437" y="1681"/>
                  </a:lnTo>
                  <a:lnTo>
                    <a:pt x="21394" y="1686"/>
                  </a:lnTo>
                  <a:lnTo>
                    <a:pt x="21356" y="1693"/>
                  </a:lnTo>
                  <a:lnTo>
                    <a:pt x="21322" y="1703"/>
                  </a:lnTo>
                  <a:lnTo>
                    <a:pt x="21294" y="1714"/>
                  </a:lnTo>
                  <a:lnTo>
                    <a:pt x="21270" y="1727"/>
                  </a:lnTo>
                  <a:lnTo>
                    <a:pt x="21253" y="1740"/>
                  </a:lnTo>
                  <a:lnTo>
                    <a:pt x="21241" y="1754"/>
                  </a:lnTo>
                  <a:lnTo>
                    <a:pt x="21727" y="1754"/>
                  </a:lnTo>
                  <a:close/>
                  <a:moveTo>
                    <a:pt x="19597" y="4131"/>
                  </a:moveTo>
                  <a:lnTo>
                    <a:pt x="19564" y="4135"/>
                  </a:lnTo>
                  <a:lnTo>
                    <a:pt x="19532" y="4145"/>
                  </a:lnTo>
                  <a:lnTo>
                    <a:pt x="19500" y="4154"/>
                  </a:lnTo>
                  <a:lnTo>
                    <a:pt x="19465" y="4159"/>
                  </a:lnTo>
                  <a:lnTo>
                    <a:pt x="19436" y="4154"/>
                  </a:lnTo>
                  <a:lnTo>
                    <a:pt x="19423" y="4149"/>
                  </a:lnTo>
                  <a:lnTo>
                    <a:pt x="19410" y="4143"/>
                  </a:lnTo>
                  <a:lnTo>
                    <a:pt x="19388" y="4125"/>
                  </a:lnTo>
                  <a:lnTo>
                    <a:pt x="19369" y="4100"/>
                  </a:lnTo>
                  <a:lnTo>
                    <a:pt x="19351" y="4072"/>
                  </a:lnTo>
                  <a:lnTo>
                    <a:pt x="19334" y="4040"/>
                  </a:lnTo>
                  <a:lnTo>
                    <a:pt x="19300" y="3973"/>
                  </a:lnTo>
                  <a:lnTo>
                    <a:pt x="19282" y="3937"/>
                  </a:lnTo>
                  <a:lnTo>
                    <a:pt x="19260" y="3904"/>
                  </a:lnTo>
                  <a:lnTo>
                    <a:pt x="19235" y="3872"/>
                  </a:lnTo>
                  <a:lnTo>
                    <a:pt x="19209" y="3843"/>
                  </a:lnTo>
                  <a:lnTo>
                    <a:pt x="19175" y="3820"/>
                  </a:lnTo>
                  <a:lnTo>
                    <a:pt x="19157" y="3810"/>
                  </a:lnTo>
                  <a:lnTo>
                    <a:pt x="19138" y="3801"/>
                  </a:lnTo>
                  <a:lnTo>
                    <a:pt x="19116" y="3795"/>
                  </a:lnTo>
                  <a:lnTo>
                    <a:pt x="19093" y="3790"/>
                  </a:lnTo>
                  <a:lnTo>
                    <a:pt x="19069" y="3787"/>
                  </a:lnTo>
                  <a:lnTo>
                    <a:pt x="19042" y="3786"/>
                  </a:lnTo>
                  <a:lnTo>
                    <a:pt x="19014" y="3790"/>
                  </a:lnTo>
                  <a:lnTo>
                    <a:pt x="19002" y="3795"/>
                  </a:lnTo>
                  <a:lnTo>
                    <a:pt x="18993" y="3801"/>
                  </a:lnTo>
                  <a:lnTo>
                    <a:pt x="18974" y="3817"/>
                  </a:lnTo>
                  <a:lnTo>
                    <a:pt x="18952" y="3836"/>
                  </a:lnTo>
                  <a:lnTo>
                    <a:pt x="18925" y="3854"/>
                  </a:lnTo>
                  <a:lnTo>
                    <a:pt x="18908" y="3863"/>
                  </a:lnTo>
                  <a:lnTo>
                    <a:pt x="18889" y="3869"/>
                  </a:lnTo>
                  <a:lnTo>
                    <a:pt x="18865" y="3875"/>
                  </a:lnTo>
                  <a:lnTo>
                    <a:pt x="18838" y="3881"/>
                  </a:lnTo>
                  <a:lnTo>
                    <a:pt x="18806" y="3884"/>
                  </a:lnTo>
                  <a:lnTo>
                    <a:pt x="18769" y="3886"/>
                  </a:lnTo>
                  <a:lnTo>
                    <a:pt x="18742" y="3883"/>
                  </a:lnTo>
                  <a:lnTo>
                    <a:pt x="18720" y="3879"/>
                  </a:lnTo>
                  <a:lnTo>
                    <a:pt x="18688" y="3868"/>
                  </a:lnTo>
                  <a:lnTo>
                    <a:pt x="18662" y="3855"/>
                  </a:lnTo>
                  <a:lnTo>
                    <a:pt x="18649" y="3851"/>
                  </a:lnTo>
                  <a:lnTo>
                    <a:pt x="18637" y="3850"/>
                  </a:lnTo>
                  <a:lnTo>
                    <a:pt x="18615" y="3851"/>
                  </a:lnTo>
                  <a:lnTo>
                    <a:pt x="18594" y="3856"/>
                  </a:lnTo>
                  <a:lnTo>
                    <a:pt x="18575" y="3864"/>
                  </a:lnTo>
                  <a:lnTo>
                    <a:pt x="18557" y="3875"/>
                  </a:lnTo>
                  <a:lnTo>
                    <a:pt x="18540" y="3888"/>
                  </a:lnTo>
                  <a:lnTo>
                    <a:pt x="18524" y="3902"/>
                  </a:lnTo>
                  <a:lnTo>
                    <a:pt x="18494" y="3936"/>
                  </a:lnTo>
                  <a:lnTo>
                    <a:pt x="18467" y="3973"/>
                  </a:lnTo>
                  <a:lnTo>
                    <a:pt x="18442" y="4011"/>
                  </a:lnTo>
                  <a:lnTo>
                    <a:pt x="18416" y="4047"/>
                  </a:lnTo>
                  <a:lnTo>
                    <a:pt x="18389" y="4077"/>
                  </a:lnTo>
                  <a:lnTo>
                    <a:pt x="18366" y="4097"/>
                  </a:lnTo>
                  <a:lnTo>
                    <a:pt x="18337" y="4116"/>
                  </a:lnTo>
                  <a:lnTo>
                    <a:pt x="18266" y="4155"/>
                  </a:lnTo>
                  <a:lnTo>
                    <a:pt x="18261" y="4161"/>
                  </a:lnTo>
                  <a:lnTo>
                    <a:pt x="18253" y="4163"/>
                  </a:lnTo>
                  <a:lnTo>
                    <a:pt x="18207" y="4191"/>
                  </a:lnTo>
                  <a:lnTo>
                    <a:pt x="18169" y="4221"/>
                  </a:lnTo>
                  <a:lnTo>
                    <a:pt x="18153" y="4236"/>
                  </a:lnTo>
                  <a:lnTo>
                    <a:pt x="18147" y="4245"/>
                  </a:lnTo>
                  <a:lnTo>
                    <a:pt x="18142" y="4253"/>
                  </a:lnTo>
                  <a:lnTo>
                    <a:pt x="18134" y="4269"/>
                  </a:lnTo>
                  <a:lnTo>
                    <a:pt x="18131" y="4287"/>
                  </a:lnTo>
                  <a:lnTo>
                    <a:pt x="18133" y="4308"/>
                  </a:lnTo>
                  <a:lnTo>
                    <a:pt x="18137" y="4329"/>
                  </a:lnTo>
                  <a:lnTo>
                    <a:pt x="18256" y="4329"/>
                  </a:lnTo>
                  <a:lnTo>
                    <a:pt x="18261" y="4329"/>
                  </a:lnTo>
                  <a:lnTo>
                    <a:pt x="19046" y="4329"/>
                  </a:lnTo>
                  <a:lnTo>
                    <a:pt x="19830" y="4329"/>
                  </a:lnTo>
                  <a:lnTo>
                    <a:pt x="19825" y="4308"/>
                  </a:lnTo>
                  <a:lnTo>
                    <a:pt x="19819" y="4286"/>
                  </a:lnTo>
                  <a:lnTo>
                    <a:pt x="19810" y="4265"/>
                  </a:lnTo>
                  <a:lnTo>
                    <a:pt x="19801" y="4248"/>
                  </a:lnTo>
                  <a:lnTo>
                    <a:pt x="19778" y="4213"/>
                  </a:lnTo>
                  <a:lnTo>
                    <a:pt x="19764" y="4198"/>
                  </a:lnTo>
                  <a:lnTo>
                    <a:pt x="19748" y="4185"/>
                  </a:lnTo>
                  <a:lnTo>
                    <a:pt x="19733" y="4172"/>
                  </a:lnTo>
                  <a:lnTo>
                    <a:pt x="19716" y="4162"/>
                  </a:lnTo>
                  <a:lnTo>
                    <a:pt x="19698" y="4153"/>
                  </a:lnTo>
                  <a:lnTo>
                    <a:pt x="19679" y="4145"/>
                  </a:lnTo>
                  <a:lnTo>
                    <a:pt x="19660" y="4139"/>
                  </a:lnTo>
                  <a:lnTo>
                    <a:pt x="19639" y="4134"/>
                  </a:lnTo>
                  <a:lnTo>
                    <a:pt x="19597" y="4131"/>
                  </a:lnTo>
                  <a:close/>
                  <a:moveTo>
                    <a:pt x="18860" y="2743"/>
                  </a:moveTo>
                  <a:lnTo>
                    <a:pt x="18742" y="2904"/>
                  </a:lnTo>
                  <a:lnTo>
                    <a:pt x="18742" y="3047"/>
                  </a:lnTo>
                  <a:lnTo>
                    <a:pt x="18794" y="3040"/>
                  </a:lnTo>
                  <a:lnTo>
                    <a:pt x="18803" y="3039"/>
                  </a:lnTo>
                  <a:lnTo>
                    <a:pt x="18811" y="3043"/>
                  </a:lnTo>
                  <a:lnTo>
                    <a:pt x="18815" y="3048"/>
                  </a:lnTo>
                  <a:lnTo>
                    <a:pt x="18819" y="3056"/>
                  </a:lnTo>
                  <a:lnTo>
                    <a:pt x="18819" y="3062"/>
                  </a:lnTo>
                  <a:lnTo>
                    <a:pt x="18816" y="3070"/>
                  </a:lnTo>
                  <a:lnTo>
                    <a:pt x="18811" y="3075"/>
                  </a:lnTo>
                  <a:lnTo>
                    <a:pt x="18802" y="3079"/>
                  </a:lnTo>
                  <a:lnTo>
                    <a:pt x="18773" y="3084"/>
                  </a:lnTo>
                  <a:lnTo>
                    <a:pt x="18742" y="3086"/>
                  </a:lnTo>
                  <a:lnTo>
                    <a:pt x="18742" y="3827"/>
                  </a:lnTo>
                  <a:lnTo>
                    <a:pt x="18741" y="3836"/>
                  </a:lnTo>
                  <a:lnTo>
                    <a:pt x="18735" y="3842"/>
                  </a:lnTo>
                  <a:lnTo>
                    <a:pt x="18751" y="3845"/>
                  </a:lnTo>
                  <a:lnTo>
                    <a:pt x="18769" y="3845"/>
                  </a:lnTo>
                  <a:lnTo>
                    <a:pt x="18798" y="3845"/>
                  </a:lnTo>
                  <a:lnTo>
                    <a:pt x="18825" y="3843"/>
                  </a:lnTo>
                  <a:lnTo>
                    <a:pt x="18850" y="3840"/>
                  </a:lnTo>
                  <a:lnTo>
                    <a:pt x="18871" y="3835"/>
                  </a:lnTo>
                  <a:lnTo>
                    <a:pt x="18892" y="3826"/>
                  </a:lnTo>
                  <a:lnTo>
                    <a:pt x="18911" y="3815"/>
                  </a:lnTo>
                  <a:lnTo>
                    <a:pt x="18952" y="3782"/>
                  </a:lnTo>
                  <a:lnTo>
                    <a:pt x="18973" y="3767"/>
                  </a:lnTo>
                  <a:lnTo>
                    <a:pt x="18982" y="3760"/>
                  </a:lnTo>
                  <a:lnTo>
                    <a:pt x="18992" y="3755"/>
                  </a:lnTo>
                  <a:lnTo>
                    <a:pt x="19015" y="3748"/>
                  </a:lnTo>
                  <a:lnTo>
                    <a:pt x="19042" y="3745"/>
                  </a:lnTo>
                  <a:lnTo>
                    <a:pt x="19075" y="3748"/>
                  </a:lnTo>
                  <a:lnTo>
                    <a:pt x="19107" y="3751"/>
                  </a:lnTo>
                  <a:lnTo>
                    <a:pt x="19135" y="3758"/>
                  </a:lnTo>
                  <a:lnTo>
                    <a:pt x="19162" y="3768"/>
                  </a:lnTo>
                  <a:lnTo>
                    <a:pt x="19187" y="3780"/>
                  </a:lnTo>
                  <a:lnTo>
                    <a:pt x="19209" y="3794"/>
                  </a:lnTo>
                  <a:lnTo>
                    <a:pt x="19229" y="3809"/>
                  </a:lnTo>
                  <a:lnTo>
                    <a:pt x="19248" y="3827"/>
                  </a:lnTo>
                  <a:lnTo>
                    <a:pt x="19282" y="3866"/>
                  </a:lnTo>
                  <a:lnTo>
                    <a:pt x="19311" y="3911"/>
                  </a:lnTo>
                  <a:lnTo>
                    <a:pt x="19338" y="3960"/>
                  </a:lnTo>
                  <a:lnTo>
                    <a:pt x="19364" y="4012"/>
                  </a:lnTo>
                  <a:lnTo>
                    <a:pt x="19369" y="4021"/>
                  </a:lnTo>
                  <a:lnTo>
                    <a:pt x="19369" y="3649"/>
                  </a:lnTo>
                  <a:lnTo>
                    <a:pt x="19334" y="3663"/>
                  </a:lnTo>
                  <a:lnTo>
                    <a:pt x="19319" y="3670"/>
                  </a:lnTo>
                  <a:lnTo>
                    <a:pt x="19302" y="3676"/>
                  </a:lnTo>
                  <a:lnTo>
                    <a:pt x="19284" y="3676"/>
                  </a:lnTo>
                  <a:lnTo>
                    <a:pt x="19275" y="3675"/>
                  </a:lnTo>
                  <a:lnTo>
                    <a:pt x="19265" y="3671"/>
                  </a:lnTo>
                  <a:lnTo>
                    <a:pt x="19255" y="3666"/>
                  </a:lnTo>
                  <a:lnTo>
                    <a:pt x="19244" y="3658"/>
                  </a:lnTo>
                  <a:lnTo>
                    <a:pt x="19221" y="3634"/>
                  </a:lnTo>
                  <a:lnTo>
                    <a:pt x="19205" y="3616"/>
                  </a:lnTo>
                  <a:lnTo>
                    <a:pt x="19191" y="3604"/>
                  </a:lnTo>
                  <a:lnTo>
                    <a:pt x="19180" y="3598"/>
                  </a:lnTo>
                  <a:lnTo>
                    <a:pt x="19169" y="3595"/>
                  </a:lnTo>
                  <a:lnTo>
                    <a:pt x="19144" y="3594"/>
                  </a:lnTo>
                  <a:lnTo>
                    <a:pt x="19105" y="3590"/>
                  </a:lnTo>
                  <a:lnTo>
                    <a:pt x="19091" y="3586"/>
                  </a:lnTo>
                  <a:lnTo>
                    <a:pt x="19079" y="3581"/>
                  </a:lnTo>
                  <a:lnTo>
                    <a:pt x="19062" y="3567"/>
                  </a:lnTo>
                  <a:lnTo>
                    <a:pt x="19052" y="3549"/>
                  </a:lnTo>
                  <a:lnTo>
                    <a:pt x="19044" y="3530"/>
                  </a:lnTo>
                  <a:lnTo>
                    <a:pt x="19039" y="3510"/>
                  </a:lnTo>
                  <a:lnTo>
                    <a:pt x="19033" y="3489"/>
                  </a:lnTo>
                  <a:lnTo>
                    <a:pt x="19029" y="3480"/>
                  </a:lnTo>
                  <a:lnTo>
                    <a:pt x="19024" y="3471"/>
                  </a:lnTo>
                  <a:lnTo>
                    <a:pt x="19016" y="3464"/>
                  </a:lnTo>
                  <a:lnTo>
                    <a:pt x="19009" y="3457"/>
                  </a:lnTo>
                  <a:lnTo>
                    <a:pt x="18967" y="3434"/>
                  </a:lnTo>
                  <a:lnTo>
                    <a:pt x="18952" y="3424"/>
                  </a:lnTo>
                  <a:lnTo>
                    <a:pt x="18939" y="3414"/>
                  </a:lnTo>
                  <a:lnTo>
                    <a:pt x="18930" y="3400"/>
                  </a:lnTo>
                  <a:lnTo>
                    <a:pt x="18926" y="3383"/>
                  </a:lnTo>
                  <a:lnTo>
                    <a:pt x="18925" y="3361"/>
                  </a:lnTo>
                  <a:lnTo>
                    <a:pt x="18929" y="3333"/>
                  </a:lnTo>
                  <a:lnTo>
                    <a:pt x="18934" y="3304"/>
                  </a:lnTo>
                  <a:lnTo>
                    <a:pt x="18934" y="3285"/>
                  </a:lnTo>
                  <a:lnTo>
                    <a:pt x="18925" y="3267"/>
                  </a:lnTo>
                  <a:lnTo>
                    <a:pt x="18908" y="3242"/>
                  </a:lnTo>
                  <a:lnTo>
                    <a:pt x="18891" y="3216"/>
                  </a:lnTo>
                  <a:lnTo>
                    <a:pt x="18884" y="3199"/>
                  </a:lnTo>
                  <a:lnTo>
                    <a:pt x="18882" y="3181"/>
                  </a:lnTo>
                  <a:lnTo>
                    <a:pt x="18884" y="3162"/>
                  </a:lnTo>
                  <a:lnTo>
                    <a:pt x="18891" y="3145"/>
                  </a:lnTo>
                  <a:lnTo>
                    <a:pt x="18908" y="3118"/>
                  </a:lnTo>
                  <a:lnTo>
                    <a:pt x="18923" y="3098"/>
                  </a:lnTo>
                  <a:lnTo>
                    <a:pt x="18930" y="3083"/>
                  </a:lnTo>
                  <a:lnTo>
                    <a:pt x="18934" y="3070"/>
                  </a:lnTo>
                  <a:lnTo>
                    <a:pt x="18935" y="3060"/>
                  </a:lnTo>
                  <a:lnTo>
                    <a:pt x="18929" y="3035"/>
                  </a:lnTo>
                  <a:lnTo>
                    <a:pt x="18925" y="2996"/>
                  </a:lnTo>
                  <a:lnTo>
                    <a:pt x="18928" y="2969"/>
                  </a:lnTo>
                  <a:lnTo>
                    <a:pt x="18932" y="2959"/>
                  </a:lnTo>
                  <a:lnTo>
                    <a:pt x="18938" y="2950"/>
                  </a:lnTo>
                  <a:lnTo>
                    <a:pt x="18944" y="2942"/>
                  </a:lnTo>
                  <a:lnTo>
                    <a:pt x="18952" y="2936"/>
                  </a:lnTo>
                  <a:lnTo>
                    <a:pt x="18970" y="2924"/>
                  </a:lnTo>
                  <a:lnTo>
                    <a:pt x="19007" y="2904"/>
                  </a:lnTo>
                  <a:lnTo>
                    <a:pt x="19023" y="2891"/>
                  </a:lnTo>
                  <a:lnTo>
                    <a:pt x="19033" y="2872"/>
                  </a:lnTo>
                  <a:lnTo>
                    <a:pt x="19047" y="2828"/>
                  </a:lnTo>
                  <a:lnTo>
                    <a:pt x="19053" y="2810"/>
                  </a:lnTo>
                  <a:lnTo>
                    <a:pt x="19061" y="2796"/>
                  </a:lnTo>
                  <a:lnTo>
                    <a:pt x="19073" y="2785"/>
                  </a:lnTo>
                  <a:lnTo>
                    <a:pt x="19088" y="2776"/>
                  </a:lnTo>
                  <a:lnTo>
                    <a:pt x="19109" y="2771"/>
                  </a:lnTo>
                  <a:lnTo>
                    <a:pt x="19138" y="2768"/>
                  </a:lnTo>
                  <a:lnTo>
                    <a:pt x="19162" y="2766"/>
                  </a:lnTo>
                  <a:lnTo>
                    <a:pt x="19180" y="2763"/>
                  </a:lnTo>
                  <a:lnTo>
                    <a:pt x="19192" y="2758"/>
                  </a:lnTo>
                  <a:lnTo>
                    <a:pt x="19201" y="2751"/>
                  </a:lnTo>
                  <a:lnTo>
                    <a:pt x="19216" y="2732"/>
                  </a:lnTo>
                  <a:lnTo>
                    <a:pt x="19228" y="2719"/>
                  </a:lnTo>
                  <a:lnTo>
                    <a:pt x="19243" y="2704"/>
                  </a:lnTo>
                  <a:lnTo>
                    <a:pt x="19265" y="2690"/>
                  </a:lnTo>
                  <a:lnTo>
                    <a:pt x="19274" y="2686"/>
                  </a:lnTo>
                  <a:lnTo>
                    <a:pt x="19284" y="2685"/>
                  </a:lnTo>
                  <a:lnTo>
                    <a:pt x="19302" y="2686"/>
                  </a:lnTo>
                  <a:lnTo>
                    <a:pt x="19319" y="2691"/>
                  </a:lnTo>
                  <a:lnTo>
                    <a:pt x="19352" y="2707"/>
                  </a:lnTo>
                  <a:lnTo>
                    <a:pt x="19370" y="2713"/>
                  </a:lnTo>
                  <a:lnTo>
                    <a:pt x="19388" y="2716"/>
                  </a:lnTo>
                  <a:lnTo>
                    <a:pt x="19410" y="2712"/>
                  </a:lnTo>
                  <a:lnTo>
                    <a:pt x="19429" y="2705"/>
                  </a:lnTo>
                  <a:lnTo>
                    <a:pt x="19448" y="2696"/>
                  </a:lnTo>
                  <a:lnTo>
                    <a:pt x="19466" y="2689"/>
                  </a:lnTo>
                  <a:lnTo>
                    <a:pt x="19486" y="2685"/>
                  </a:lnTo>
                  <a:lnTo>
                    <a:pt x="19506" y="2688"/>
                  </a:lnTo>
                  <a:lnTo>
                    <a:pt x="19518" y="2694"/>
                  </a:lnTo>
                  <a:lnTo>
                    <a:pt x="19529" y="2702"/>
                  </a:lnTo>
                  <a:lnTo>
                    <a:pt x="19556" y="2727"/>
                  </a:lnTo>
                  <a:lnTo>
                    <a:pt x="19573" y="2746"/>
                  </a:lnTo>
                  <a:lnTo>
                    <a:pt x="19586" y="2758"/>
                  </a:lnTo>
                  <a:lnTo>
                    <a:pt x="19597" y="2764"/>
                  </a:lnTo>
                  <a:lnTo>
                    <a:pt x="19607" y="2767"/>
                  </a:lnTo>
                  <a:lnTo>
                    <a:pt x="19633" y="2767"/>
                  </a:lnTo>
                  <a:lnTo>
                    <a:pt x="19673" y="2771"/>
                  </a:lnTo>
                  <a:lnTo>
                    <a:pt x="19687" y="2774"/>
                  </a:lnTo>
                  <a:lnTo>
                    <a:pt x="19698" y="2780"/>
                  </a:lnTo>
                  <a:lnTo>
                    <a:pt x="19715" y="2794"/>
                  </a:lnTo>
                  <a:lnTo>
                    <a:pt x="19725" y="2812"/>
                  </a:lnTo>
                  <a:lnTo>
                    <a:pt x="19732" y="2832"/>
                  </a:lnTo>
                  <a:lnTo>
                    <a:pt x="19737" y="2852"/>
                  </a:lnTo>
                  <a:lnTo>
                    <a:pt x="19743" y="2872"/>
                  </a:lnTo>
                  <a:lnTo>
                    <a:pt x="19748" y="2881"/>
                  </a:lnTo>
                  <a:lnTo>
                    <a:pt x="19754" y="2890"/>
                  </a:lnTo>
                  <a:lnTo>
                    <a:pt x="19760" y="2897"/>
                  </a:lnTo>
                  <a:lnTo>
                    <a:pt x="19769" y="2904"/>
                  </a:lnTo>
                  <a:lnTo>
                    <a:pt x="19809" y="2927"/>
                  </a:lnTo>
                  <a:lnTo>
                    <a:pt x="19825" y="2937"/>
                  </a:lnTo>
                  <a:lnTo>
                    <a:pt x="19837" y="2948"/>
                  </a:lnTo>
                  <a:lnTo>
                    <a:pt x="19846" y="2961"/>
                  </a:lnTo>
                  <a:lnTo>
                    <a:pt x="19851" y="2978"/>
                  </a:lnTo>
                  <a:lnTo>
                    <a:pt x="19852" y="3000"/>
                  </a:lnTo>
                  <a:lnTo>
                    <a:pt x="19848" y="3028"/>
                  </a:lnTo>
                  <a:lnTo>
                    <a:pt x="19843" y="3057"/>
                  </a:lnTo>
                  <a:lnTo>
                    <a:pt x="19843" y="3076"/>
                  </a:lnTo>
                  <a:lnTo>
                    <a:pt x="19851" y="3094"/>
                  </a:lnTo>
                  <a:lnTo>
                    <a:pt x="19869" y="3118"/>
                  </a:lnTo>
                  <a:lnTo>
                    <a:pt x="19887" y="3145"/>
                  </a:lnTo>
                  <a:lnTo>
                    <a:pt x="19893" y="3162"/>
                  </a:lnTo>
                  <a:lnTo>
                    <a:pt x="19896" y="3181"/>
                  </a:lnTo>
                  <a:lnTo>
                    <a:pt x="19893" y="3199"/>
                  </a:lnTo>
                  <a:lnTo>
                    <a:pt x="19887" y="3216"/>
                  </a:lnTo>
                  <a:lnTo>
                    <a:pt x="19878" y="3230"/>
                  </a:lnTo>
                  <a:lnTo>
                    <a:pt x="19868" y="3244"/>
                  </a:lnTo>
                  <a:lnTo>
                    <a:pt x="19857" y="3258"/>
                  </a:lnTo>
                  <a:lnTo>
                    <a:pt x="19848" y="3272"/>
                  </a:lnTo>
                  <a:lnTo>
                    <a:pt x="19843" y="3287"/>
                  </a:lnTo>
                  <a:lnTo>
                    <a:pt x="19843" y="3305"/>
                  </a:lnTo>
                  <a:lnTo>
                    <a:pt x="19850" y="3351"/>
                  </a:lnTo>
                  <a:lnTo>
                    <a:pt x="19852" y="3369"/>
                  </a:lnTo>
                  <a:lnTo>
                    <a:pt x="19851" y="3386"/>
                  </a:lnTo>
                  <a:lnTo>
                    <a:pt x="19846" y="3401"/>
                  </a:lnTo>
                  <a:lnTo>
                    <a:pt x="19836" y="3415"/>
                  </a:lnTo>
                  <a:lnTo>
                    <a:pt x="19819" y="3429"/>
                  </a:lnTo>
                  <a:lnTo>
                    <a:pt x="19795" y="3445"/>
                  </a:lnTo>
                  <a:lnTo>
                    <a:pt x="19773" y="3456"/>
                  </a:lnTo>
                  <a:lnTo>
                    <a:pt x="19759" y="3466"/>
                  </a:lnTo>
                  <a:lnTo>
                    <a:pt x="19750" y="3476"/>
                  </a:lnTo>
                  <a:lnTo>
                    <a:pt x="19745" y="3485"/>
                  </a:lnTo>
                  <a:lnTo>
                    <a:pt x="19739" y="3510"/>
                  </a:lnTo>
                  <a:lnTo>
                    <a:pt x="19734" y="3526"/>
                  </a:lnTo>
                  <a:lnTo>
                    <a:pt x="19727" y="3547"/>
                  </a:lnTo>
                  <a:lnTo>
                    <a:pt x="19711" y="3570"/>
                  </a:lnTo>
                  <a:lnTo>
                    <a:pt x="19704" y="3579"/>
                  </a:lnTo>
                  <a:lnTo>
                    <a:pt x="19695" y="3584"/>
                  </a:lnTo>
                  <a:lnTo>
                    <a:pt x="19674" y="3590"/>
                  </a:lnTo>
                  <a:lnTo>
                    <a:pt x="19653" y="3593"/>
                  </a:lnTo>
                  <a:lnTo>
                    <a:pt x="19632" y="3593"/>
                  </a:lnTo>
                  <a:lnTo>
                    <a:pt x="19611" y="3594"/>
                  </a:lnTo>
                  <a:lnTo>
                    <a:pt x="19592" y="3601"/>
                  </a:lnTo>
                  <a:lnTo>
                    <a:pt x="19583" y="3606"/>
                  </a:lnTo>
                  <a:lnTo>
                    <a:pt x="19575" y="3612"/>
                  </a:lnTo>
                  <a:lnTo>
                    <a:pt x="19543" y="3647"/>
                  </a:lnTo>
                  <a:lnTo>
                    <a:pt x="19530" y="3659"/>
                  </a:lnTo>
                  <a:lnTo>
                    <a:pt x="19516" y="3668"/>
                  </a:lnTo>
                  <a:lnTo>
                    <a:pt x="19501" y="3675"/>
                  </a:lnTo>
                  <a:lnTo>
                    <a:pt x="19484" y="3676"/>
                  </a:lnTo>
                  <a:lnTo>
                    <a:pt x="19462" y="3671"/>
                  </a:lnTo>
                  <a:lnTo>
                    <a:pt x="19436" y="3661"/>
                  </a:lnTo>
                  <a:lnTo>
                    <a:pt x="19409" y="3649"/>
                  </a:lnTo>
                  <a:lnTo>
                    <a:pt x="19409" y="4083"/>
                  </a:lnTo>
                  <a:lnTo>
                    <a:pt x="19409" y="4086"/>
                  </a:lnTo>
                  <a:lnTo>
                    <a:pt x="19420" y="4099"/>
                  </a:lnTo>
                  <a:lnTo>
                    <a:pt x="19434" y="4109"/>
                  </a:lnTo>
                  <a:lnTo>
                    <a:pt x="19448" y="4117"/>
                  </a:lnTo>
                  <a:lnTo>
                    <a:pt x="19465" y="4118"/>
                  </a:lnTo>
                  <a:lnTo>
                    <a:pt x="19498" y="4115"/>
                  </a:lnTo>
                  <a:lnTo>
                    <a:pt x="19530" y="4104"/>
                  </a:lnTo>
                  <a:lnTo>
                    <a:pt x="19564" y="4095"/>
                  </a:lnTo>
                  <a:lnTo>
                    <a:pt x="19597" y="4090"/>
                  </a:lnTo>
                  <a:lnTo>
                    <a:pt x="19629" y="4093"/>
                  </a:lnTo>
                  <a:lnTo>
                    <a:pt x="19660" y="4098"/>
                  </a:lnTo>
                  <a:lnTo>
                    <a:pt x="19688" y="4106"/>
                  </a:lnTo>
                  <a:lnTo>
                    <a:pt x="19715" y="4116"/>
                  </a:lnTo>
                  <a:lnTo>
                    <a:pt x="19739" y="4130"/>
                  </a:lnTo>
                  <a:lnTo>
                    <a:pt x="19761" y="4144"/>
                  </a:lnTo>
                  <a:lnTo>
                    <a:pt x="19782" y="4161"/>
                  </a:lnTo>
                  <a:lnTo>
                    <a:pt x="19800" y="4178"/>
                  </a:lnTo>
                  <a:lnTo>
                    <a:pt x="19830" y="4217"/>
                  </a:lnTo>
                  <a:lnTo>
                    <a:pt x="19842" y="4236"/>
                  </a:lnTo>
                  <a:lnTo>
                    <a:pt x="19852" y="4255"/>
                  </a:lnTo>
                  <a:lnTo>
                    <a:pt x="19861" y="4274"/>
                  </a:lnTo>
                  <a:lnTo>
                    <a:pt x="19866" y="4292"/>
                  </a:lnTo>
                  <a:lnTo>
                    <a:pt x="19871" y="4309"/>
                  </a:lnTo>
                  <a:lnTo>
                    <a:pt x="19874" y="4324"/>
                  </a:lnTo>
                  <a:lnTo>
                    <a:pt x="20236" y="4324"/>
                  </a:lnTo>
                  <a:lnTo>
                    <a:pt x="20236" y="4017"/>
                  </a:lnTo>
                  <a:lnTo>
                    <a:pt x="20238" y="4008"/>
                  </a:lnTo>
                  <a:lnTo>
                    <a:pt x="20242" y="4002"/>
                  </a:lnTo>
                  <a:lnTo>
                    <a:pt x="20248" y="3998"/>
                  </a:lnTo>
                  <a:lnTo>
                    <a:pt x="20256" y="3997"/>
                  </a:lnTo>
                  <a:lnTo>
                    <a:pt x="20264" y="3998"/>
                  </a:lnTo>
                  <a:lnTo>
                    <a:pt x="20270" y="4002"/>
                  </a:lnTo>
                  <a:lnTo>
                    <a:pt x="20274" y="4008"/>
                  </a:lnTo>
                  <a:lnTo>
                    <a:pt x="20277" y="4017"/>
                  </a:lnTo>
                  <a:lnTo>
                    <a:pt x="20277" y="4324"/>
                  </a:lnTo>
                  <a:lnTo>
                    <a:pt x="20482" y="4324"/>
                  </a:lnTo>
                  <a:lnTo>
                    <a:pt x="20482" y="3670"/>
                  </a:lnTo>
                  <a:lnTo>
                    <a:pt x="20482" y="3016"/>
                  </a:lnTo>
                  <a:lnTo>
                    <a:pt x="20024" y="3016"/>
                  </a:lnTo>
                  <a:lnTo>
                    <a:pt x="20024" y="3584"/>
                  </a:lnTo>
                  <a:lnTo>
                    <a:pt x="20024" y="4152"/>
                  </a:lnTo>
                  <a:lnTo>
                    <a:pt x="20023" y="4161"/>
                  </a:lnTo>
                  <a:lnTo>
                    <a:pt x="20018" y="4167"/>
                  </a:lnTo>
                  <a:lnTo>
                    <a:pt x="20011" y="4171"/>
                  </a:lnTo>
                  <a:lnTo>
                    <a:pt x="20005" y="4172"/>
                  </a:lnTo>
                  <a:lnTo>
                    <a:pt x="19997" y="4171"/>
                  </a:lnTo>
                  <a:lnTo>
                    <a:pt x="19991" y="4167"/>
                  </a:lnTo>
                  <a:lnTo>
                    <a:pt x="19986" y="4161"/>
                  </a:lnTo>
                  <a:lnTo>
                    <a:pt x="19984" y="4152"/>
                  </a:lnTo>
                  <a:lnTo>
                    <a:pt x="19984" y="3451"/>
                  </a:lnTo>
                  <a:lnTo>
                    <a:pt x="19984" y="2750"/>
                  </a:lnTo>
                  <a:lnTo>
                    <a:pt x="19946" y="2750"/>
                  </a:lnTo>
                  <a:lnTo>
                    <a:pt x="19939" y="2748"/>
                  </a:lnTo>
                  <a:lnTo>
                    <a:pt x="19933" y="2744"/>
                  </a:lnTo>
                  <a:lnTo>
                    <a:pt x="19928" y="2737"/>
                  </a:lnTo>
                  <a:lnTo>
                    <a:pt x="19927" y="2730"/>
                  </a:lnTo>
                  <a:lnTo>
                    <a:pt x="19927" y="2576"/>
                  </a:lnTo>
                  <a:lnTo>
                    <a:pt x="19928" y="2569"/>
                  </a:lnTo>
                  <a:lnTo>
                    <a:pt x="19933" y="2562"/>
                  </a:lnTo>
                  <a:lnTo>
                    <a:pt x="19939" y="2558"/>
                  </a:lnTo>
                  <a:lnTo>
                    <a:pt x="19946" y="2556"/>
                  </a:lnTo>
                  <a:lnTo>
                    <a:pt x="19998" y="2556"/>
                  </a:lnTo>
                  <a:lnTo>
                    <a:pt x="20041" y="2500"/>
                  </a:lnTo>
                  <a:lnTo>
                    <a:pt x="20089" y="2443"/>
                  </a:lnTo>
                  <a:lnTo>
                    <a:pt x="20116" y="2418"/>
                  </a:lnTo>
                  <a:lnTo>
                    <a:pt x="20143" y="2391"/>
                  </a:lnTo>
                  <a:lnTo>
                    <a:pt x="20201" y="2340"/>
                  </a:lnTo>
                  <a:lnTo>
                    <a:pt x="20264" y="2292"/>
                  </a:lnTo>
                  <a:lnTo>
                    <a:pt x="20331" y="2246"/>
                  </a:lnTo>
                  <a:lnTo>
                    <a:pt x="20402" y="2203"/>
                  </a:lnTo>
                  <a:lnTo>
                    <a:pt x="20477" y="2163"/>
                  </a:lnTo>
                  <a:lnTo>
                    <a:pt x="20556" y="2126"/>
                  </a:lnTo>
                  <a:lnTo>
                    <a:pt x="20638" y="2092"/>
                  </a:lnTo>
                  <a:lnTo>
                    <a:pt x="20681" y="2075"/>
                  </a:lnTo>
                  <a:lnTo>
                    <a:pt x="20724" y="2060"/>
                  </a:lnTo>
                  <a:lnTo>
                    <a:pt x="20813" y="2033"/>
                  </a:lnTo>
                  <a:lnTo>
                    <a:pt x="20904" y="2009"/>
                  </a:lnTo>
                  <a:lnTo>
                    <a:pt x="20999" y="1987"/>
                  </a:lnTo>
                  <a:lnTo>
                    <a:pt x="21095" y="1970"/>
                  </a:lnTo>
                  <a:lnTo>
                    <a:pt x="21194" y="1956"/>
                  </a:lnTo>
                  <a:lnTo>
                    <a:pt x="21194" y="1775"/>
                  </a:lnTo>
                  <a:lnTo>
                    <a:pt x="21196" y="1759"/>
                  </a:lnTo>
                  <a:lnTo>
                    <a:pt x="21200" y="1744"/>
                  </a:lnTo>
                  <a:lnTo>
                    <a:pt x="21209" y="1730"/>
                  </a:lnTo>
                  <a:lnTo>
                    <a:pt x="21219" y="1717"/>
                  </a:lnTo>
                  <a:lnTo>
                    <a:pt x="21232" y="1705"/>
                  </a:lnTo>
                  <a:lnTo>
                    <a:pt x="21247" y="1694"/>
                  </a:lnTo>
                  <a:lnTo>
                    <a:pt x="21265" y="1684"/>
                  </a:lnTo>
                  <a:lnTo>
                    <a:pt x="21285" y="1675"/>
                  </a:lnTo>
                  <a:lnTo>
                    <a:pt x="21329" y="1659"/>
                  </a:lnTo>
                  <a:lnTo>
                    <a:pt x="21378" y="1648"/>
                  </a:lnTo>
                  <a:lnTo>
                    <a:pt x="21429" y="1642"/>
                  </a:lnTo>
                  <a:lnTo>
                    <a:pt x="21483" y="1639"/>
                  </a:lnTo>
                  <a:lnTo>
                    <a:pt x="21537" y="1642"/>
                  </a:lnTo>
                  <a:lnTo>
                    <a:pt x="21590" y="1648"/>
                  </a:lnTo>
                  <a:lnTo>
                    <a:pt x="21614" y="1653"/>
                  </a:lnTo>
                  <a:lnTo>
                    <a:pt x="21638" y="1659"/>
                  </a:lnTo>
                  <a:lnTo>
                    <a:pt x="21660" y="1666"/>
                  </a:lnTo>
                  <a:lnTo>
                    <a:pt x="21682" y="1675"/>
                  </a:lnTo>
                  <a:lnTo>
                    <a:pt x="21719" y="1694"/>
                  </a:lnTo>
                  <a:lnTo>
                    <a:pt x="21747" y="1717"/>
                  </a:lnTo>
                  <a:lnTo>
                    <a:pt x="21759" y="1730"/>
                  </a:lnTo>
                  <a:lnTo>
                    <a:pt x="21767" y="1744"/>
                  </a:lnTo>
                  <a:lnTo>
                    <a:pt x="21772" y="1759"/>
                  </a:lnTo>
                  <a:lnTo>
                    <a:pt x="21773" y="1775"/>
                  </a:lnTo>
                  <a:lnTo>
                    <a:pt x="21773" y="1956"/>
                  </a:lnTo>
                  <a:lnTo>
                    <a:pt x="21872" y="1970"/>
                  </a:lnTo>
                  <a:lnTo>
                    <a:pt x="21969" y="1987"/>
                  </a:lnTo>
                  <a:lnTo>
                    <a:pt x="22063" y="2009"/>
                  </a:lnTo>
                  <a:lnTo>
                    <a:pt x="22155" y="2033"/>
                  </a:lnTo>
                  <a:lnTo>
                    <a:pt x="22244" y="2060"/>
                  </a:lnTo>
                  <a:lnTo>
                    <a:pt x="22328" y="2092"/>
                  </a:lnTo>
                  <a:lnTo>
                    <a:pt x="22412" y="2126"/>
                  </a:lnTo>
                  <a:lnTo>
                    <a:pt x="22490" y="2163"/>
                  </a:lnTo>
                  <a:lnTo>
                    <a:pt x="22566" y="2203"/>
                  </a:lnTo>
                  <a:lnTo>
                    <a:pt x="22601" y="2225"/>
                  </a:lnTo>
                  <a:lnTo>
                    <a:pt x="22636" y="2246"/>
                  </a:lnTo>
                  <a:lnTo>
                    <a:pt x="22703" y="2292"/>
                  </a:lnTo>
                  <a:lnTo>
                    <a:pt x="22766" y="2340"/>
                  </a:lnTo>
                  <a:lnTo>
                    <a:pt x="22795" y="2365"/>
                  </a:lnTo>
                  <a:lnTo>
                    <a:pt x="22825" y="2391"/>
                  </a:lnTo>
                  <a:lnTo>
                    <a:pt x="22877" y="2445"/>
                  </a:lnTo>
                  <a:lnTo>
                    <a:pt x="22926" y="2500"/>
                  </a:lnTo>
                  <a:lnTo>
                    <a:pt x="22969" y="2556"/>
                  </a:lnTo>
                  <a:lnTo>
                    <a:pt x="23021" y="2556"/>
                  </a:lnTo>
                  <a:lnTo>
                    <a:pt x="23028" y="2558"/>
                  </a:lnTo>
                  <a:lnTo>
                    <a:pt x="23035" y="2562"/>
                  </a:lnTo>
                  <a:lnTo>
                    <a:pt x="23039" y="2569"/>
                  </a:lnTo>
                  <a:lnTo>
                    <a:pt x="23040" y="2576"/>
                  </a:lnTo>
                  <a:lnTo>
                    <a:pt x="23040" y="2730"/>
                  </a:lnTo>
                  <a:lnTo>
                    <a:pt x="23039" y="2737"/>
                  </a:lnTo>
                  <a:lnTo>
                    <a:pt x="23035" y="2744"/>
                  </a:lnTo>
                  <a:lnTo>
                    <a:pt x="23028" y="2748"/>
                  </a:lnTo>
                  <a:lnTo>
                    <a:pt x="23021" y="2750"/>
                  </a:lnTo>
                  <a:lnTo>
                    <a:pt x="22982" y="2750"/>
                  </a:lnTo>
                  <a:lnTo>
                    <a:pt x="22982" y="3547"/>
                  </a:lnTo>
                  <a:lnTo>
                    <a:pt x="22982" y="4345"/>
                  </a:lnTo>
                  <a:lnTo>
                    <a:pt x="22981" y="4352"/>
                  </a:lnTo>
                  <a:lnTo>
                    <a:pt x="22977" y="4359"/>
                  </a:lnTo>
                  <a:lnTo>
                    <a:pt x="22971" y="4363"/>
                  </a:lnTo>
                  <a:lnTo>
                    <a:pt x="22963" y="4365"/>
                  </a:lnTo>
                  <a:lnTo>
                    <a:pt x="22717" y="4365"/>
                  </a:lnTo>
                  <a:lnTo>
                    <a:pt x="21733" y="4365"/>
                  </a:lnTo>
                  <a:lnTo>
                    <a:pt x="21241" y="4365"/>
                  </a:lnTo>
                  <a:lnTo>
                    <a:pt x="20749" y="4365"/>
                  </a:lnTo>
                  <a:lnTo>
                    <a:pt x="20257" y="4365"/>
                  </a:lnTo>
                  <a:lnTo>
                    <a:pt x="19865" y="4365"/>
                  </a:lnTo>
                  <a:lnTo>
                    <a:pt x="19859" y="4368"/>
                  </a:lnTo>
                  <a:lnTo>
                    <a:pt x="19852" y="4369"/>
                  </a:lnTo>
                  <a:lnTo>
                    <a:pt x="18987" y="4369"/>
                  </a:lnTo>
                  <a:lnTo>
                    <a:pt x="18122" y="4369"/>
                  </a:lnTo>
                  <a:lnTo>
                    <a:pt x="18119" y="4369"/>
                  </a:lnTo>
                  <a:lnTo>
                    <a:pt x="17558" y="4369"/>
                  </a:lnTo>
                  <a:lnTo>
                    <a:pt x="17549" y="4366"/>
                  </a:lnTo>
                  <a:lnTo>
                    <a:pt x="17543" y="4363"/>
                  </a:lnTo>
                  <a:lnTo>
                    <a:pt x="17540" y="4356"/>
                  </a:lnTo>
                  <a:lnTo>
                    <a:pt x="17539" y="4349"/>
                  </a:lnTo>
                  <a:lnTo>
                    <a:pt x="17540" y="4341"/>
                  </a:lnTo>
                  <a:lnTo>
                    <a:pt x="17543" y="4334"/>
                  </a:lnTo>
                  <a:lnTo>
                    <a:pt x="17549" y="4331"/>
                  </a:lnTo>
                  <a:lnTo>
                    <a:pt x="17558" y="4329"/>
                  </a:lnTo>
                  <a:lnTo>
                    <a:pt x="18096" y="4329"/>
                  </a:lnTo>
                  <a:lnTo>
                    <a:pt x="18092" y="4305"/>
                  </a:lnTo>
                  <a:lnTo>
                    <a:pt x="18090" y="4287"/>
                  </a:lnTo>
                  <a:lnTo>
                    <a:pt x="18094" y="4262"/>
                  </a:lnTo>
                  <a:lnTo>
                    <a:pt x="18103" y="4237"/>
                  </a:lnTo>
                  <a:lnTo>
                    <a:pt x="18116" y="4216"/>
                  </a:lnTo>
                  <a:lnTo>
                    <a:pt x="18134" y="4196"/>
                  </a:lnTo>
                  <a:lnTo>
                    <a:pt x="18155" y="4178"/>
                  </a:lnTo>
                  <a:lnTo>
                    <a:pt x="18178" y="4162"/>
                  </a:lnTo>
                  <a:lnTo>
                    <a:pt x="18230" y="4131"/>
                  </a:lnTo>
                  <a:lnTo>
                    <a:pt x="18213" y="3595"/>
                  </a:lnTo>
                  <a:lnTo>
                    <a:pt x="18197" y="3061"/>
                  </a:lnTo>
                  <a:lnTo>
                    <a:pt x="17607" y="2249"/>
                  </a:lnTo>
                  <a:lnTo>
                    <a:pt x="17579" y="2705"/>
                  </a:lnTo>
                  <a:lnTo>
                    <a:pt x="17576" y="2714"/>
                  </a:lnTo>
                  <a:lnTo>
                    <a:pt x="17571" y="2719"/>
                  </a:lnTo>
                  <a:lnTo>
                    <a:pt x="17557" y="2725"/>
                  </a:lnTo>
                  <a:lnTo>
                    <a:pt x="17551" y="2722"/>
                  </a:lnTo>
                  <a:lnTo>
                    <a:pt x="17544" y="2718"/>
                  </a:lnTo>
                  <a:lnTo>
                    <a:pt x="17540" y="2712"/>
                  </a:lnTo>
                  <a:lnTo>
                    <a:pt x="17539" y="2703"/>
                  </a:lnTo>
                  <a:lnTo>
                    <a:pt x="17570" y="2195"/>
                  </a:lnTo>
                  <a:lnTo>
                    <a:pt x="17571" y="2188"/>
                  </a:lnTo>
                  <a:lnTo>
                    <a:pt x="17597" y="1763"/>
                  </a:lnTo>
                  <a:lnTo>
                    <a:pt x="17597" y="1755"/>
                  </a:lnTo>
                  <a:lnTo>
                    <a:pt x="17640" y="1058"/>
                  </a:lnTo>
                  <a:lnTo>
                    <a:pt x="17622" y="1058"/>
                  </a:lnTo>
                  <a:lnTo>
                    <a:pt x="17615" y="1057"/>
                  </a:lnTo>
                  <a:lnTo>
                    <a:pt x="17608" y="1053"/>
                  </a:lnTo>
                  <a:lnTo>
                    <a:pt x="17604" y="1047"/>
                  </a:lnTo>
                  <a:lnTo>
                    <a:pt x="17603" y="1039"/>
                  </a:lnTo>
                  <a:lnTo>
                    <a:pt x="17603" y="943"/>
                  </a:lnTo>
                  <a:lnTo>
                    <a:pt x="17604" y="936"/>
                  </a:lnTo>
                  <a:lnTo>
                    <a:pt x="17608" y="929"/>
                  </a:lnTo>
                  <a:lnTo>
                    <a:pt x="17615" y="925"/>
                  </a:lnTo>
                  <a:lnTo>
                    <a:pt x="17622" y="924"/>
                  </a:lnTo>
                  <a:lnTo>
                    <a:pt x="18192" y="924"/>
                  </a:lnTo>
                  <a:lnTo>
                    <a:pt x="18199" y="925"/>
                  </a:lnTo>
                  <a:lnTo>
                    <a:pt x="18206" y="929"/>
                  </a:lnTo>
                  <a:lnTo>
                    <a:pt x="18211" y="936"/>
                  </a:lnTo>
                  <a:lnTo>
                    <a:pt x="18212" y="943"/>
                  </a:lnTo>
                  <a:lnTo>
                    <a:pt x="18212" y="1039"/>
                  </a:lnTo>
                  <a:lnTo>
                    <a:pt x="18211" y="1047"/>
                  </a:lnTo>
                  <a:lnTo>
                    <a:pt x="18206" y="1053"/>
                  </a:lnTo>
                  <a:lnTo>
                    <a:pt x="18199" y="1057"/>
                  </a:lnTo>
                  <a:lnTo>
                    <a:pt x="18192" y="1058"/>
                  </a:lnTo>
                  <a:lnTo>
                    <a:pt x="18174" y="1058"/>
                  </a:lnTo>
                  <a:lnTo>
                    <a:pt x="18201" y="1919"/>
                  </a:lnTo>
                  <a:lnTo>
                    <a:pt x="18930" y="1919"/>
                  </a:lnTo>
                  <a:lnTo>
                    <a:pt x="19661" y="1919"/>
                  </a:lnTo>
                  <a:lnTo>
                    <a:pt x="19698" y="1158"/>
                  </a:lnTo>
                  <a:lnTo>
                    <a:pt x="19736" y="399"/>
                  </a:lnTo>
                  <a:lnTo>
                    <a:pt x="19738" y="392"/>
                  </a:lnTo>
                  <a:lnTo>
                    <a:pt x="19742" y="386"/>
                  </a:lnTo>
                  <a:lnTo>
                    <a:pt x="19748" y="382"/>
                  </a:lnTo>
                  <a:lnTo>
                    <a:pt x="19756" y="381"/>
                  </a:lnTo>
                  <a:lnTo>
                    <a:pt x="20084" y="381"/>
                  </a:lnTo>
                  <a:lnTo>
                    <a:pt x="20092" y="382"/>
                  </a:lnTo>
                  <a:lnTo>
                    <a:pt x="20098" y="386"/>
                  </a:lnTo>
                  <a:lnTo>
                    <a:pt x="20102" y="392"/>
                  </a:lnTo>
                  <a:lnTo>
                    <a:pt x="20105" y="399"/>
                  </a:lnTo>
                  <a:lnTo>
                    <a:pt x="20142" y="1126"/>
                  </a:lnTo>
                  <a:lnTo>
                    <a:pt x="20181" y="1855"/>
                  </a:lnTo>
                  <a:lnTo>
                    <a:pt x="20179" y="1864"/>
                  </a:lnTo>
                  <a:lnTo>
                    <a:pt x="20175" y="1870"/>
                  </a:lnTo>
                  <a:lnTo>
                    <a:pt x="20169" y="1874"/>
                  </a:lnTo>
                  <a:lnTo>
                    <a:pt x="20161" y="1877"/>
                  </a:lnTo>
                  <a:lnTo>
                    <a:pt x="20147" y="1872"/>
                  </a:lnTo>
                  <a:lnTo>
                    <a:pt x="20143" y="1867"/>
                  </a:lnTo>
                  <a:lnTo>
                    <a:pt x="20141" y="1858"/>
                  </a:lnTo>
                  <a:lnTo>
                    <a:pt x="20102" y="1139"/>
                  </a:lnTo>
                  <a:lnTo>
                    <a:pt x="20065" y="420"/>
                  </a:lnTo>
                  <a:lnTo>
                    <a:pt x="19775" y="420"/>
                  </a:lnTo>
                  <a:lnTo>
                    <a:pt x="19737" y="1180"/>
                  </a:lnTo>
                  <a:lnTo>
                    <a:pt x="19700" y="1939"/>
                  </a:lnTo>
                  <a:lnTo>
                    <a:pt x="19700" y="1942"/>
                  </a:lnTo>
                  <a:lnTo>
                    <a:pt x="19698" y="1947"/>
                  </a:lnTo>
                  <a:lnTo>
                    <a:pt x="19695" y="1952"/>
                  </a:lnTo>
                  <a:lnTo>
                    <a:pt x="19688" y="1956"/>
                  </a:lnTo>
                  <a:lnTo>
                    <a:pt x="19682" y="1959"/>
                  </a:lnTo>
                  <a:lnTo>
                    <a:pt x="18942" y="1959"/>
                  </a:lnTo>
                  <a:lnTo>
                    <a:pt x="18202" y="1959"/>
                  </a:lnTo>
                  <a:lnTo>
                    <a:pt x="18221" y="2560"/>
                  </a:lnTo>
                  <a:lnTo>
                    <a:pt x="18221" y="2567"/>
                  </a:lnTo>
                  <a:lnTo>
                    <a:pt x="18244" y="3338"/>
                  </a:lnTo>
                  <a:lnTo>
                    <a:pt x="18269" y="4111"/>
                  </a:lnTo>
                  <a:lnTo>
                    <a:pt x="18320" y="4081"/>
                  </a:lnTo>
                  <a:lnTo>
                    <a:pt x="18342" y="4066"/>
                  </a:lnTo>
                  <a:lnTo>
                    <a:pt x="18361" y="4049"/>
                  </a:lnTo>
                  <a:lnTo>
                    <a:pt x="18392" y="4015"/>
                  </a:lnTo>
                  <a:lnTo>
                    <a:pt x="18419" y="3976"/>
                  </a:lnTo>
                  <a:lnTo>
                    <a:pt x="18447" y="3936"/>
                  </a:lnTo>
                  <a:lnTo>
                    <a:pt x="18475" y="3897"/>
                  </a:lnTo>
                  <a:lnTo>
                    <a:pt x="18506" y="3863"/>
                  </a:lnTo>
                  <a:lnTo>
                    <a:pt x="18524" y="3849"/>
                  </a:lnTo>
                  <a:lnTo>
                    <a:pt x="18542" y="3835"/>
                  </a:lnTo>
                  <a:lnTo>
                    <a:pt x="18562" y="3824"/>
                  </a:lnTo>
                  <a:lnTo>
                    <a:pt x="18585" y="3817"/>
                  </a:lnTo>
                  <a:lnTo>
                    <a:pt x="18610" y="3811"/>
                  </a:lnTo>
                  <a:lnTo>
                    <a:pt x="18637" y="3810"/>
                  </a:lnTo>
                  <a:lnTo>
                    <a:pt x="18656" y="3811"/>
                  </a:lnTo>
                  <a:lnTo>
                    <a:pt x="18673" y="3817"/>
                  </a:lnTo>
                  <a:lnTo>
                    <a:pt x="18702" y="3831"/>
                  </a:lnTo>
                  <a:lnTo>
                    <a:pt x="18702" y="3827"/>
                  </a:lnTo>
                  <a:lnTo>
                    <a:pt x="18702" y="3086"/>
                  </a:lnTo>
                  <a:lnTo>
                    <a:pt x="18664" y="3083"/>
                  </a:lnTo>
                  <a:lnTo>
                    <a:pt x="18625" y="3075"/>
                  </a:lnTo>
                  <a:lnTo>
                    <a:pt x="18588" y="3065"/>
                  </a:lnTo>
                  <a:lnTo>
                    <a:pt x="18553" y="3051"/>
                  </a:lnTo>
                  <a:lnTo>
                    <a:pt x="18519" y="3033"/>
                  </a:lnTo>
                  <a:lnTo>
                    <a:pt x="18488" y="3012"/>
                  </a:lnTo>
                  <a:lnTo>
                    <a:pt x="18458" y="2989"/>
                  </a:lnTo>
                  <a:lnTo>
                    <a:pt x="18431" y="2964"/>
                  </a:lnTo>
                  <a:lnTo>
                    <a:pt x="18407" y="2936"/>
                  </a:lnTo>
                  <a:lnTo>
                    <a:pt x="18385" y="2905"/>
                  </a:lnTo>
                  <a:lnTo>
                    <a:pt x="18366" y="2873"/>
                  </a:lnTo>
                  <a:lnTo>
                    <a:pt x="18349" y="2838"/>
                  </a:lnTo>
                  <a:lnTo>
                    <a:pt x="18337" y="2803"/>
                  </a:lnTo>
                  <a:lnTo>
                    <a:pt x="18328" y="2766"/>
                  </a:lnTo>
                  <a:lnTo>
                    <a:pt x="18322" y="2726"/>
                  </a:lnTo>
                  <a:lnTo>
                    <a:pt x="18320" y="2686"/>
                  </a:lnTo>
                  <a:lnTo>
                    <a:pt x="18322" y="2645"/>
                  </a:lnTo>
                  <a:lnTo>
                    <a:pt x="18328" y="2606"/>
                  </a:lnTo>
                  <a:lnTo>
                    <a:pt x="18338" y="2567"/>
                  </a:lnTo>
                  <a:lnTo>
                    <a:pt x="18352" y="2530"/>
                  </a:lnTo>
                  <a:lnTo>
                    <a:pt x="18369" y="2496"/>
                  </a:lnTo>
                  <a:lnTo>
                    <a:pt x="18388" y="2462"/>
                  </a:lnTo>
                  <a:lnTo>
                    <a:pt x="18412" y="2432"/>
                  </a:lnTo>
                  <a:lnTo>
                    <a:pt x="18438" y="2404"/>
                  </a:lnTo>
                  <a:lnTo>
                    <a:pt x="18466" y="2377"/>
                  </a:lnTo>
                  <a:lnTo>
                    <a:pt x="18497" y="2354"/>
                  </a:lnTo>
                  <a:lnTo>
                    <a:pt x="18530" y="2335"/>
                  </a:lnTo>
                  <a:lnTo>
                    <a:pt x="18565" y="2317"/>
                  </a:lnTo>
                  <a:lnTo>
                    <a:pt x="18602" y="2304"/>
                  </a:lnTo>
                  <a:lnTo>
                    <a:pt x="18640" y="2294"/>
                  </a:lnTo>
                  <a:lnTo>
                    <a:pt x="18680" y="2287"/>
                  </a:lnTo>
                  <a:lnTo>
                    <a:pt x="18721" y="2286"/>
                  </a:lnTo>
                  <a:lnTo>
                    <a:pt x="18764" y="2287"/>
                  </a:lnTo>
                  <a:lnTo>
                    <a:pt x="18803" y="2294"/>
                  </a:lnTo>
                  <a:lnTo>
                    <a:pt x="18842" y="2304"/>
                  </a:lnTo>
                  <a:lnTo>
                    <a:pt x="18879" y="2318"/>
                  </a:lnTo>
                  <a:lnTo>
                    <a:pt x="18914" y="2335"/>
                  </a:lnTo>
                  <a:lnTo>
                    <a:pt x="18947" y="2355"/>
                  </a:lnTo>
                  <a:lnTo>
                    <a:pt x="18978" y="2378"/>
                  </a:lnTo>
                  <a:lnTo>
                    <a:pt x="19007" y="2404"/>
                  </a:lnTo>
                  <a:lnTo>
                    <a:pt x="19033" y="2433"/>
                  </a:lnTo>
                  <a:lnTo>
                    <a:pt x="19056" y="2464"/>
                  </a:lnTo>
                  <a:lnTo>
                    <a:pt x="19075" y="2497"/>
                  </a:lnTo>
                  <a:lnTo>
                    <a:pt x="19092" y="2532"/>
                  </a:lnTo>
                  <a:lnTo>
                    <a:pt x="19106" y="2569"/>
                  </a:lnTo>
                  <a:lnTo>
                    <a:pt x="19115" y="2607"/>
                  </a:lnTo>
                  <a:lnTo>
                    <a:pt x="19121" y="2645"/>
                  </a:lnTo>
                  <a:lnTo>
                    <a:pt x="19124" y="2686"/>
                  </a:lnTo>
                  <a:lnTo>
                    <a:pt x="19121" y="2695"/>
                  </a:lnTo>
                  <a:lnTo>
                    <a:pt x="19118" y="2702"/>
                  </a:lnTo>
                  <a:lnTo>
                    <a:pt x="19111" y="2705"/>
                  </a:lnTo>
                  <a:lnTo>
                    <a:pt x="19103" y="2707"/>
                  </a:lnTo>
                  <a:lnTo>
                    <a:pt x="19096" y="2705"/>
                  </a:lnTo>
                  <a:lnTo>
                    <a:pt x="19089" y="2702"/>
                  </a:lnTo>
                  <a:lnTo>
                    <a:pt x="19085" y="2695"/>
                  </a:lnTo>
                  <a:lnTo>
                    <a:pt x="19083" y="2686"/>
                  </a:lnTo>
                  <a:lnTo>
                    <a:pt x="19082" y="2650"/>
                  </a:lnTo>
                  <a:lnTo>
                    <a:pt x="19076" y="2615"/>
                  </a:lnTo>
                  <a:lnTo>
                    <a:pt x="19067" y="2580"/>
                  </a:lnTo>
                  <a:lnTo>
                    <a:pt x="19055" y="2547"/>
                  </a:lnTo>
                  <a:lnTo>
                    <a:pt x="19041" y="2515"/>
                  </a:lnTo>
                  <a:lnTo>
                    <a:pt x="19023" y="2485"/>
                  </a:lnTo>
                  <a:lnTo>
                    <a:pt x="19002" y="2457"/>
                  </a:lnTo>
                  <a:lnTo>
                    <a:pt x="18978" y="2432"/>
                  </a:lnTo>
                  <a:lnTo>
                    <a:pt x="18952" y="2409"/>
                  </a:lnTo>
                  <a:lnTo>
                    <a:pt x="18925" y="2388"/>
                  </a:lnTo>
                  <a:lnTo>
                    <a:pt x="18894" y="2369"/>
                  </a:lnTo>
                  <a:lnTo>
                    <a:pt x="18864" y="2354"/>
                  </a:lnTo>
                  <a:lnTo>
                    <a:pt x="18830" y="2342"/>
                  </a:lnTo>
                  <a:lnTo>
                    <a:pt x="18796" y="2333"/>
                  </a:lnTo>
                  <a:lnTo>
                    <a:pt x="18758" y="2328"/>
                  </a:lnTo>
                  <a:lnTo>
                    <a:pt x="18721" y="2326"/>
                  </a:lnTo>
                  <a:lnTo>
                    <a:pt x="18684" y="2328"/>
                  </a:lnTo>
                  <a:lnTo>
                    <a:pt x="18648" y="2333"/>
                  </a:lnTo>
                  <a:lnTo>
                    <a:pt x="18614" y="2342"/>
                  </a:lnTo>
                  <a:lnTo>
                    <a:pt x="18580" y="2354"/>
                  </a:lnTo>
                  <a:lnTo>
                    <a:pt x="18549" y="2369"/>
                  </a:lnTo>
                  <a:lnTo>
                    <a:pt x="18520" y="2387"/>
                  </a:lnTo>
                  <a:lnTo>
                    <a:pt x="18492" y="2407"/>
                  </a:lnTo>
                  <a:lnTo>
                    <a:pt x="18466" y="2432"/>
                  </a:lnTo>
                  <a:lnTo>
                    <a:pt x="18443" y="2457"/>
                  </a:lnTo>
                  <a:lnTo>
                    <a:pt x="18421" y="2484"/>
                  </a:lnTo>
                  <a:lnTo>
                    <a:pt x="18403" y="2515"/>
                  </a:lnTo>
                  <a:lnTo>
                    <a:pt x="18388" y="2546"/>
                  </a:lnTo>
                  <a:lnTo>
                    <a:pt x="18381" y="2562"/>
                  </a:lnTo>
                  <a:lnTo>
                    <a:pt x="18376" y="2579"/>
                  </a:lnTo>
                  <a:lnTo>
                    <a:pt x="18367" y="2613"/>
                  </a:lnTo>
                  <a:lnTo>
                    <a:pt x="18362" y="2649"/>
                  </a:lnTo>
                  <a:lnTo>
                    <a:pt x="18360" y="2686"/>
                  </a:lnTo>
                  <a:lnTo>
                    <a:pt x="18362" y="2722"/>
                  </a:lnTo>
                  <a:lnTo>
                    <a:pt x="18367" y="2757"/>
                  </a:lnTo>
                  <a:lnTo>
                    <a:pt x="18375" y="2790"/>
                  </a:lnTo>
                  <a:lnTo>
                    <a:pt x="18387" y="2823"/>
                  </a:lnTo>
                  <a:lnTo>
                    <a:pt x="18401" y="2854"/>
                  </a:lnTo>
                  <a:lnTo>
                    <a:pt x="18417" y="2882"/>
                  </a:lnTo>
                  <a:lnTo>
                    <a:pt x="18438" y="2910"/>
                  </a:lnTo>
                  <a:lnTo>
                    <a:pt x="18460" y="2936"/>
                  </a:lnTo>
                  <a:lnTo>
                    <a:pt x="18484" y="2959"/>
                  </a:lnTo>
                  <a:lnTo>
                    <a:pt x="18510" y="2979"/>
                  </a:lnTo>
                  <a:lnTo>
                    <a:pt x="18538" y="2997"/>
                  </a:lnTo>
                  <a:lnTo>
                    <a:pt x="18569" y="3014"/>
                  </a:lnTo>
                  <a:lnTo>
                    <a:pt x="18599" y="3026"/>
                  </a:lnTo>
                  <a:lnTo>
                    <a:pt x="18633" y="3037"/>
                  </a:lnTo>
                  <a:lnTo>
                    <a:pt x="18667" y="3043"/>
                  </a:lnTo>
                  <a:lnTo>
                    <a:pt x="18702" y="3047"/>
                  </a:lnTo>
                  <a:lnTo>
                    <a:pt x="18702" y="3011"/>
                  </a:lnTo>
                  <a:lnTo>
                    <a:pt x="18701" y="3008"/>
                  </a:lnTo>
                  <a:lnTo>
                    <a:pt x="18597" y="2865"/>
                  </a:lnTo>
                  <a:lnTo>
                    <a:pt x="18593" y="2858"/>
                  </a:lnTo>
                  <a:lnTo>
                    <a:pt x="18593" y="2850"/>
                  </a:lnTo>
                  <a:lnTo>
                    <a:pt x="18596" y="2842"/>
                  </a:lnTo>
                  <a:lnTo>
                    <a:pt x="18601" y="2837"/>
                  </a:lnTo>
                  <a:lnTo>
                    <a:pt x="18607" y="2835"/>
                  </a:lnTo>
                  <a:lnTo>
                    <a:pt x="18615" y="2833"/>
                  </a:lnTo>
                  <a:lnTo>
                    <a:pt x="18623" y="2836"/>
                  </a:lnTo>
                  <a:lnTo>
                    <a:pt x="18629" y="2842"/>
                  </a:lnTo>
                  <a:lnTo>
                    <a:pt x="18702" y="2943"/>
                  </a:lnTo>
                  <a:lnTo>
                    <a:pt x="18702" y="2901"/>
                  </a:lnTo>
                  <a:lnTo>
                    <a:pt x="18702" y="2895"/>
                  </a:lnTo>
                  <a:lnTo>
                    <a:pt x="18702" y="2744"/>
                  </a:lnTo>
                  <a:lnTo>
                    <a:pt x="18606" y="2611"/>
                  </a:lnTo>
                  <a:lnTo>
                    <a:pt x="18602" y="2603"/>
                  </a:lnTo>
                  <a:lnTo>
                    <a:pt x="18602" y="2595"/>
                  </a:lnTo>
                  <a:lnTo>
                    <a:pt x="18606" y="2588"/>
                  </a:lnTo>
                  <a:lnTo>
                    <a:pt x="18611" y="2583"/>
                  </a:lnTo>
                  <a:lnTo>
                    <a:pt x="18617" y="2580"/>
                  </a:lnTo>
                  <a:lnTo>
                    <a:pt x="18625" y="2579"/>
                  </a:lnTo>
                  <a:lnTo>
                    <a:pt x="18633" y="2581"/>
                  </a:lnTo>
                  <a:lnTo>
                    <a:pt x="18639" y="2588"/>
                  </a:lnTo>
                  <a:lnTo>
                    <a:pt x="18702" y="2675"/>
                  </a:lnTo>
                  <a:lnTo>
                    <a:pt x="18702" y="2599"/>
                  </a:lnTo>
                  <a:lnTo>
                    <a:pt x="18705" y="2590"/>
                  </a:lnTo>
                  <a:lnTo>
                    <a:pt x="18708" y="2584"/>
                  </a:lnTo>
                  <a:lnTo>
                    <a:pt x="18715" y="2580"/>
                  </a:lnTo>
                  <a:lnTo>
                    <a:pt x="18723" y="2579"/>
                  </a:lnTo>
                  <a:lnTo>
                    <a:pt x="18730" y="2580"/>
                  </a:lnTo>
                  <a:lnTo>
                    <a:pt x="18737" y="2584"/>
                  </a:lnTo>
                  <a:lnTo>
                    <a:pt x="18741" y="2590"/>
                  </a:lnTo>
                  <a:lnTo>
                    <a:pt x="18742" y="2599"/>
                  </a:lnTo>
                  <a:lnTo>
                    <a:pt x="18742" y="2734"/>
                  </a:lnTo>
                  <a:lnTo>
                    <a:pt x="18742" y="2740"/>
                  </a:lnTo>
                  <a:lnTo>
                    <a:pt x="18742" y="2836"/>
                  </a:lnTo>
                  <a:lnTo>
                    <a:pt x="18828" y="2718"/>
                  </a:lnTo>
                  <a:lnTo>
                    <a:pt x="18834" y="2712"/>
                  </a:lnTo>
                  <a:lnTo>
                    <a:pt x="18842" y="2711"/>
                  </a:lnTo>
                  <a:lnTo>
                    <a:pt x="18856" y="2714"/>
                  </a:lnTo>
                  <a:lnTo>
                    <a:pt x="18861" y="2719"/>
                  </a:lnTo>
                  <a:lnTo>
                    <a:pt x="18864" y="2726"/>
                  </a:lnTo>
                  <a:lnTo>
                    <a:pt x="18864" y="2734"/>
                  </a:lnTo>
                  <a:lnTo>
                    <a:pt x="18860" y="2743"/>
                  </a:lnTo>
                  <a:close/>
                  <a:moveTo>
                    <a:pt x="20006" y="2597"/>
                  </a:moveTo>
                  <a:lnTo>
                    <a:pt x="19966" y="2597"/>
                  </a:lnTo>
                  <a:lnTo>
                    <a:pt x="19966" y="2709"/>
                  </a:lnTo>
                  <a:lnTo>
                    <a:pt x="20724" y="2709"/>
                  </a:lnTo>
                  <a:lnTo>
                    <a:pt x="21483" y="2709"/>
                  </a:lnTo>
                  <a:lnTo>
                    <a:pt x="22241" y="2709"/>
                  </a:lnTo>
                  <a:lnTo>
                    <a:pt x="23000" y="2709"/>
                  </a:lnTo>
                  <a:lnTo>
                    <a:pt x="23000" y="2597"/>
                  </a:lnTo>
                  <a:lnTo>
                    <a:pt x="22962" y="2597"/>
                  </a:lnTo>
                  <a:lnTo>
                    <a:pt x="22954" y="2597"/>
                  </a:lnTo>
                  <a:lnTo>
                    <a:pt x="22218" y="2597"/>
                  </a:lnTo>
                  <a:lnTo>
                    <a:pt x="21483" y="2597"/>
                  </a:lnTo>
                  <a:lnTo>
                    <a:pt x="20747" y="2597"/>
                  </a:lnTo>
                  <a:lnTo>
                    <a:pt x="20013" y="2597"/>
                  </a:lnTo>
                  <a:lnTo>
                    <a:pt x="20006" y="2597"/>
                  </a:lnTo>
                  <a:close/>
                  <a:moveTo>
                    <a:pt x="19369" y="3221"/>
                  </a:moveTo>
                  <a:lnTo>
                    <a:pt x="19369" y="3011"/>
                  </a:lnTo>
                  <a:lnTo>
                    <a:pt x="19370" y="3002"/>
                  </a:lnTo>
                  <a:lnTo>
                    <a:pt x="19375" y="2996"/>
                  </a:lnTo>
                  <a:lnTo>
                    <a:pt x="19382" y="2992"/>
                  </a:lnTo>
                  <a:lnTo>
                    <a:pt x="19388" y="2991"/>
                  </a:lnTo>
                  <a:lnTo>
                    <a:pt x="19396" y="2992"/>
                  </a:lnTo>
                  <a:lnTo>
                    <a:pt x="19402" y="2996"/>
                  </a:lnTo>
                  <a:lnTo>
                    <a:pt x="19407" y="3002"/>
                  </a:lnTo>
                  <a:lnTo>
                    <a:pt x="19409" y="3011"/>
                  </a:lnTo>
                  <a:lnTo>
                    <a:pt x="19409" y="3162"/>
                  </a:lnTo>
                  <a:lnTo>
                    <a:pt x="19442" y="3116"/>
                  </a:lnTo>
                  <a:lnTo>
                    <a:pt x="19448" y="3111"/>
                  </a:lnTo>
                  <a:lnTo>
                    <a:pt x="19456" y="3108"/>
                  </a:lnTo>
                  <a:lnTo>
                    <a:pt x="19470" y="3112"/>
                  </a:lnTo>
                  <a:lnTo>
                    <a:pt x="19475" y="3117"/>
                  </a:lnTo>
                  <a:lnTo>
                    <a:pt x="19478" y="3124"/>
                  </a:lnTo>
                  <a:lnTo>
                    <a:pt x="19478" y="3131"/>
                  </a:lnTo>
                  <a:lnTo>
                    <a:pt x="19474" y="3140"/>
                  </a:lnTo>
                  <a:lnTo>
                    <a:pt x="19409" y="3231"/>
                  </a:lnTo>
                  <a:lnTo>
                    <a:pt x="19409" y="3413"/>
                  </a:lnTo>
                  <a:lnTo>
                    <a:pt x="19432" y="3381"/>
                  </a:lnTo>
                  <a:lnTo>
                    <a:pt x="19438" y="3374"/>
                  </a:lnTo>
                  <a:lnTo>
                    <a:pt x="19446" y="3372"/>
                  </a:lnTo>
                  <a:lnTo>
                    <a:pt x="19460" y="3375"/>
                  </a:lnTo>
                  <a:lnTo>
                    <a:pt x="19465" y="3382"/>
                  </a:lnTo>
                  <a:lnTo>
                    <a:pt x="19468" y="3388"/>
                  </a:lnTo>
                  <a:lnTo>
                    <a:pt x="19468" y="3396"/>
                  </a:lnTo>
                  <a:lnTo>
                    <a:pt x="19464" y="3404"/>
                  </a:lnTo>
                  <a:lnTo>
                    <a:pt x="19409" y="3480"/>
                  </a:lnTo>
                  <a:lnTo>
                    <a:pt x="19409" y="3491"/>
                  </a:lnTo>
                  <a:lnTo>
                    <a:pt x="19409" y="3498"/>
                  </a:lnTo>
                  <a:lnTo>
                    <a:pt x="19409" y="3608"/>
                  </a:lnTo>
                  <a:lnTo>
                    <a:pt x="19425" y="3613"/>
                  </a:lnTo>
                  <a:lnTo>
                    <a:pt x="19441" y="3620"/>
                  </a:lnTo>
                  <a:lnTo>
                    <a:pt x="19455" y="3627"/>
                  </a:lnTo>
                  <a:lnTo>
                    <a:pt x="19468" y="3632"/>
                  </a:lnTo>
                  <a:lnTo>
                    <a:pt x="19480" y="3635"/>
                  </a:lnTo>
                  <a:lnTo>
                    <a:pt x="19488" y="3635"/>
                  </a:lnTo>
                  <a:lnTo>
                    <a:pt x="19494" y="3632"/>
                  </a:lnTo>
                  <a:lnTo>
                    <a:pt x="19501" y="3630"/>
                  </a:lnTo>
                  <a:lnTo>
                    <a:pt x="19509" y="3625"/>
                  </a:lnTo>
                  <a:lnTo>
                    <a:pt x="19525" y="3608"/>
                  </a:lnTo>
                  <a:lnTo>
                    <a:pt x="19547" y="3585"/>
                  </a:lnTo>
                  <a:lnTo>
                    <a:pt x="19562" y="3570"/>
                  </a:lnTo>
                  <a:lnTo>
                    <a:pt x="19577" y="3562"/>
                  </a:lnTo>
                  <a:lnTo>
                    <a:pt x="19591" y="3558"/>
                  </a:lnTo>
                  <a:lnTo>
                    <a:pt x="19620" y="3556"/>
                  </a:lnTo>
                  <a:lnTo>
                    <a:pt x="19639" y="3554"/>
                  </a:lnTo>
                  <a:lnTo>
                    <a:pt x="19664" y="3552"/>
                  </a:lnTo>
                  <a:lnTo>
                    <a:pt x="19679" y="3544"/>
                  </a:lnTo>
                  <a:lnTo>
                    <a:pt x="19684" y="3539"/>
                  </a:lnTo>
                  <a:lnTo>
                    <a:pt x="19688" y="3533"/>
                  </a:lnTo>
                  <a:lnTo>
                    <a:pt x="19695" y="3517"/>
                  </a:lnTo>
                  <a:lnTo>
                    <a:pt x="19700" y="3499"/>
                  </a:lnTo>
                  <a:lnTo>
                    <a:pt x="19705" y="3479"/>
                  </a:lnTo>
                  <a:lnTo>
                    <a:pt x="19714" y="3460"/>
                  </a:lnTo>
                  <a:lnTo>
                    <a:pt x="19728" y="3441"/>
                  </a:lnTo>
                  <a:lnTo>
                    <a:pt x="19737" y="3432"/>
                  </a:lnTo>
                  <a:lnTo>
                    <a:pt x="19748" y="3424"/>
                  </a:lnTo>
                  <a:lnTo>
                    <a:pt x="19792" y="3398"/>
                  </a:lnTo>
                  <a:lnTo>
                    <a:pt x="19804" y="3391"/>
                  </a:lnTo>
                  <a:lnTo>
                    <a:pt x="19810" y="3383"/>
                  </a:lnTo>
                  <a:lnTo>
                    <a:pt x="19813" y="3373"/>
                  </a:lnTo>
                  <a:lnTo>
                    <a:pt x="19811" y="3360"/>
                  </a:lnTo>
                  <a:lnTo>
                    <a:pt x="19804" y="3310"/>
                  </a:lnTo>
                  <a:lnTo>
                    <a:pt x="19804" y="3286"/>
                  </a:lnTo>
                  <a:lnTo>
                    <a:pt x="19807" y="3265"/>
                  </a:lnTo>
                  <a:lnTo>
                    <a:pt x="19816" y="3248"/>
                  </a:lnTo>
                  <a:lnTo>
                    <a:pt x="19827" y="3232"/>
                  </a:lnTo>
                  <a:lnTo>
                    <a:pt x="19847" y="3207"/>
                  </a:lnTo>
                  <a:lnTo>
                    <a:pt x="19854" y="3194"/>
                  </a:lnTo>
                  <a:lnTo>
                    <a:pt x="19856" y="3181"/>
                  </a:lnTo>
                  <a:lnTo>
                    <a:pt x="19854" y="3164"/>
                  </a:lnTo>
                  <a:lnTo>
                    <a:pt x="19850" y="3158"/>
                  </a:lnTo>
                  <a:lnTo>
                    <a:pt x="19846" y="3152"/>
                  </a:lnTo>
                  <a:lnTo>
                    <a:pt x="19824" y="3126"/>
                  </a:lnTo>
                  <a:lnTo>
                    <a:pt x="19814" y="3109"/>
                  </a:lnTo>
                  <a:lnTo>
                    <a:pt x="19806" y="3088"/>
                  </a:lnTo>
                  <a:lnTo>
                    <a:pt x="19805" y="3060"/>
                  </a:lnTo>
                  <a:lnTo>
                    <a:pt x="19806" y="3042"/>
                  </a:lnTo>
                  <a:lnTo>
                    <a:pt x="19809" y="3020"/>
                  </a:lnTo>
                  <a:lnTo>
                    <a:pt x="19811" y="3005"/>
                  </a:lnTo>
                  <a:lnTo>
                    <a:pt x="19811" y="2992"/>
                  </a:lnTo>
                  <a:lnTo>
                    <a:pt x="19809" y="2982"/>
                  </a:lnTo>
                  <a:lnTo>
                    <a:pt x="19805" y="2973"/>
                  </a:lnTo>
                  <a:lnTo>
                    <a:pt x="19792" y="2960"/>
                  </a:lnTo>
                  <a:lnTo>
                    <a:pt x="19775" y="2951"/>
                  </a:lnTo>
                  <a:lnTo>
                    <a:pt x="19757" y="2942"/>
                  </a:lnTo>
                  <a:lnTo>
                    <a:pt x="19738" y="2930"/>
                  </a:lnTo>
                  <a:lnTo>
                    <a:pt x="19720" y="2913"/>
                  </a:lnTo>
                  <a:lnTo>
                    <a:pt x="19712" y="2900"/>
                  </a:lnTo>
                  <a:lnTo>
                    <a:pt x="19706" y="2884"/>
                  </a:lnTo>
                  <a:lnTo>
                    <a:pt x="19691" y="2837"/>
                  </a:lnTo>
                  <a:lnTo>
                    <a:pt x="19686" y="2824"/>
                  </a:lnTo>
                  <a:lnTo>
                    <a:pt x="19683" y="2819"/>
                  </a:lnTo>
                  <a:lnTo>
                    <a:pt x="19680" y="2815"/>
                  </a:lnTo>
                  <a:lnTo>
                    <a:pt x="19671" y="2812"/>
                  </a:lnTo>
                  <a:lnTo>
                    <a:pt x="19657" y="2810"/>
                  </a:lnTo>
                  <a:lnTo>
                    <a:pt x="19607" y="2806"/>
                  </a:lnTo>
                  <a:lnTo>
                    <a:pt x="19591" y="2803"/>
                  </a:lnTo>
                  <a:lnTo>
                    <a:pt x="19577" y="2799"/>
                  </a:lnTo>
                  <a:lnTo>
                    <a:pt x="19555" y="2786"/>
                  </a:lnTo>
                  <a:lnTo>
                    <a:pt x="19547" y="2778"/>
                  </a:lnTo>
                  <a:lnTo>
                    <a:pt x="19539" y="2769"/>
                  </a:lnTo>
                  <a:lnTo>
                    <a:pt x="19527" y="2753"/>
                  </a:lnTo>
                  <a:lnTo>
                    <a:pt x="19514" y="2739"/>
                  </a:lnTo>
                  <a:lnTo>
                    <a:pt x="19507" y="2734"/>
                  </a:lnTo>
                  <a:lnTo>
                    <a:pt x="19500" y="2730"/>
                  </a:lnTo>
                  <a:lnTo>
                    <a:pt x="19491" y="2727"/>
                  </a:lnTo>
                  <a:lnTo>
                    <a:pt x="19479" y="2728"/>
                  </a:lnTo>
                  <a:lnTo>
                    <a:pt x="19452" y="2736"/>
                  </a:lnTo>
                  <a:lnTo>
                    <a:pt x="19421" y="2749"/>
                  </a:lnTo>
                  <a:lnTo>
                    <a:pt x="19405" y="2754"/>
                  </a:lnTo>
                  <a:lnTo>
                    <a:pt x="19388" y="2755"/>
                  </a:lnTo>
                  <a:lnTo>
                    <a:pt x="19366" y="2753"/>
                  </a:lnTo>
                  <a:lnTo>
                    <a:pt x="19347" y="2746"/>
                  </a:lnTo>
                  <a:lnTo>
                    <a:pt x="19316" y="2731"/>
                  </a:lnTo>
                  <a:lnTo>
                    <a:pt x="19301" y="2727"/>
                  </a:lnTo>
                  <a:lnTo>
                    <a:pt x="19293" y="2726"/>
                  </a:lnTo>
                  <a:lnTo>
                    <a:pt x="19287" y="2727"/>
                  </a:lnTo>
                  <a:lnTo>
                    <a:pt x="19270" y="2736"/>
                  </a:lnTo>
                  <a:lnTo>
                    <a:pt x="19251" y="2753"/>
                  </a:lnTo>
                  <a:lnTo>
                    <a:pt x="19230" y="2776"/>
                  </a:lnTo>
                  <a:lnTo>
                    <a:pt x="19214" y="2791"/>
                  </a:lnTo>
                  <a:lnTo>
                    <a:pt x="19200" y="2799"/>
                  </a:lnTo>
                  <a:lnTo>
                    <a:pt x="19187" y="2804"/>
                  </a:lnTo>
                  <a:lnTo>
                    <a:pt x="19157" y="2805"/>
                  </a:lnTo>
                  <a:lnTo>
                    <a:pt x="19138" y="2806"/>
                  </a:lnTo>
                  <a:lnTo>
                    <a:pt x="19112" y="2810"/>
                  </a:lnTo>
                  <a:lnTo>
                    <a:pt x="19098" y="2817"/>
                  </a:lnTo>
                  <a:lnTo>
                    <a:pt x="19093" y="2822"/>
                  </a:lnTo>
                  <a:lnTo>
                    <a:pt x="19088" y="2828"/>
                  </a:lnTo>
                  <a:lnTo>
                    <a:pt x="19082" y="2844"/>
                  </a:lnTo>
                  <a:lnTo>
                    <a:pt x="19078" y="2863"/>
                  </a:lnTo>
                  <a:lnTo>
                    <a:pt x="19071" y="2882"/>
                  </a:lnTo>
                  <a:lnTo>
                    <a:pt x="19064" y="2902"/>
                  </a:lnTo>
                  <a:lnTo>
                    <a:pt x="19050" y="2920"/>
                  </a:lnTo>
                  <a:lnTo>
                    <a:pt x="19041" y="2929"/>
                  </a:lnTo>
                  <a:lnTo>
                    <a:pt x="19029" y="2937"/>
                  </a:lnTo>
                  <a:lnTo>
                    <a:pt x="18985" y="2962"/>
                  </a:lnTo>
                  <a:lnTo>
                    <a:pt x="18974" y="2970"/>
                  </a:lnTo>
                  <a:lnTo>
                    <a:pt x="18967" y="2978"/>
                  </a:lnTo>
                  <a:lnTo>
                    <a:pt x="18965" y="2988"/>
                  </a:lnTo>
                  <a:lnTo>
                    <a:pt x="18966" y="3002"/>
                  </a:lnTo>
                  <a:lnTo>
                    <a:pt x="18974" y="3052"/>
                  </a:lnTo>
                  <a:lnTo>
                    <a:pt x="18974" y="3079"/>
                  </a:lnTo>
                  <a:lnTo>
                    <a:pt x="18967" y="3101"/>
                  </a:lnTo>
                  <a:lnTo>
                    <a:pt x="18956" y="3121"/>
                  </a:lnTo>
                  <a:lnTo>
                    <a:pt x="18941" y="3143"/>
                  </a:lnTo>
                  <a:lnTo>
                    <a:pt x="18926" y="3164"/>
                  </a:lnTo>
                  <a:lnTo>
                    <a:pt x="18923" y="3172"/>
                  </a:lnTo>
                  <a:lnTo>
                    <a:pt x="18921" y="3181"/>
                  </a:lnTo>
                  <a:lnTo>
                    <a:pt x="18924" y="3196"/>
                  </a:lnTo>
                  <a:lnTo>
                    <a:pt x="18928" y="3204"/>
                  </a:lnTo>
                  <a:lnTo>
                    <a:pt x="18932" y="3211"/>
                  </a:lnTo>
                  <a:lnTo>
                    <a:pt x="18953" y="3235"/>
                  </a:lnTo>
                  <a:lnTo>
                    <a:pt x="18964" y="3251"/>
                  </a:lnTo>
                  <a:lnTo>
                    <a:pt x="18970" y="3273"/>
                  </a:lnTo>
                  <a:lnTo>
                    <a:pt x="18973" y="3303"/>
                  </a:lnTo>
                  <a:lnTo>
                    <a:pt x="18971" y="3320"/>
                  </a:lnTo>
                  <a:lnTo>
                    <a:pt x="18969" y="3341"/>
                  </a:lnTo>
                  <a:lnTo>
                    <a:pt x="18966" y="3356"/>
                  </a:lnTo>
                  <a:lnTo>
                    <a:pt x="18966" y="3369"/>
                  </a:lnTo>
                  <a:lnTo>
                    <a:pt x="18969" y="3381"/>
                  </a:lnTo>
                  <a:lnTo>
                    <a:pt x="18973" y="3388"/>
                  </a:lnTo>
                  <a:lnTo>
                    <a:pt x="18984" y="3401"/>
                  </a:lnTo>
                  <a:lnTo>
                    <a:pt x="19001" y="3410"/>
                  </a:lnTo>
                  <a:lnTo>
                    <a:pt x="19020" y="3419"/>
                  </a:lnTo>
                  <a:lnTo>
                    <a:pt x="19039" y="3430"/>
                  </a:lnTo>
                  <a:lnTo>
                    <a:pt x="19057" y="3448"/>
                  </a:lnTo>
                  <a:lnTo>
                    <a:pt x="19065" y="3461"/>
                  </a:lnTo>
                  <a:lnTo>
                    <a:pt x="19071" y="3476"/>
                  </a:lnTo>
                  <a:lnTo>
                    <a:pt x="19085" y="3524"/>
                  </a:lnTo>
                  <a:lnTo>
                    <a:pt x="19091" y="3538"/>
                  </a:lnTo>
                  <a:lnTo>
                    <a:pt x="19093" y="3542"/>
                  </a:lnTo>
                  <a:lnTo>
                    <a:pt x="19097" y="3546"/>
                  </a:lnTo>
                  <a:lnTo>
                    <a:pt x="19106" y="3549"/>
                  </a:lnTo>
                  <a:lnTo>
                    <a:pt x="19120" y="3551"/>
                  </a:lnTo>
                  <a:lnTo>
                    <a:pt x="19170" y="3556"/>
                  </a:lnTo>
                  <a:lnTo>
                    <a:pt x="19187" y="3558"/>
                  </a:lnTo>
                  <a:lnTo>
                    <a:pt x="19201" y="3562"/>
                  </a:lnTo>
                  <a:lnTo>
                    <a:pt x="19221" y="3576"/>
                  </a:lnTo>
                  <a:lnTo>
                    <a:pt x="19230" y="3584"/>
                  </a:lnTo>
                  <a:lnTo>
                    <a:pt x="19238" y="3592"/>
                  </a:lnTo>
                  <a:lnTo>
                    <a:pt x="19251" y="3608"/>
                  </a:lnTo>
                  <a:lnTo>
                    <a:pt x="19262" y="3622"/>
                  </a:lnTo>
                  <a:lnTo>
                    <a:pt x="19270" y="3627"/>
                  </a:lnTo>
                  <a:lnTo>
                    <a:pt x="19278" y="3631"/>
                  </a:lnTo>
                  <a:lnTo>
                    <a:pt x="19287" y="3634"/>
                  </a:lnTo>
                  <a:lnTo>
                    <a:pt x="19297" y="3634"/>
                  </a:lnTo>
                  <a:lnTo>
                    <a:pt x="19325" y="3625"/>
                  </a:lnTo>
                  <a:lnTo>
                    <a:pt x="19347" y="3616"/>
                  </a:lnTo>
                  <a:lnTo>
                    <a:pt x="19369" y="3608"/>
                  </a:lnTo>
                  <a:lnTo>
                    <a:pt x="19369" y="3506"/>
                  </a:lnTo>
                  <a:lnTo>
                    <a:pt x="19364" y="3502"/>
                  </a:lnTo>
                  <a:lnTo>
                    <a:pt x="19360" y="3498"/>
                  </a:lnTo>
                  <a:lnTo>
                    <a:pt x="19359" y="3487"/>
                  </a:lnTo>
                  <a:lnTo>
                    <a:pt x="19264" y="3358"/>
                  </a:lnTo>
                  <a:lnTo>
                    <a:pt x="19260" y="3349"/>
                  </a:lnTo>
                  <a:lnTo>
                    <a:pt x="19260" y="3341"/>
                  </a:lnTo>
                  <a:lnTo>
                    <a:pt x="19264" y="3335"/>
                  </a:lnTo>
                  <a:lnTo>
                    <a:pt x="19269" y="3329"/>
                  </a:lnTo>
                  <a:lnTo>
                    <a:pt x="19275" y="3326"/>
                  </a:lnTo>
                  <a:lnTo>
                    <a:pt x="19283" y="3326"/>
                  </a:lnTo>
                  <a:lnTo>
                    <a:pt x="19289" y="3328"/>
                  </a:lnTo>
                  <a:lnTo>
                    <a:pt x="19297" y="3333"/>
                  </a:lnTo>
                  <a:lnTo>
                    <a:pt x="19369" y="3433"/>
                  </a:lnTo>
                  <a:lnTo>
                    <a:pt x="19369" y="3320"/>
                  </a:lnTo>
                  <a:lnTo>
                    <a:pt x="19262" y="3176"/>
                  </a:lnTo>
                  <a:lnTo>
                    <a:pt x="19259" y="3167"/>
                  </a:lnTo>
                  <a:lnTo>
                    <a:pt x="19259" y="3159"/>
                  </a:lnTo>
                  <a:lnTo>
                    <a:pt x="19262" y="3153"/>
                  </a:lnTo>
                  <a:lnTo>
                    <a:pt x="19268" y="3148"/>
                  </a:lnTo>
                  <a:lnTo>
                    <a:pt x="19274" y="3144"/>
                  </a:lnTo>
                  <a:lnTo>
                    <a:pt x="19282" y="3144"/>
                  </a:lnTo>
                  <a:lnTo>
                    <a:pt x="19289" y="3147"/>
                  </a:lnTo>
                  <a:lnTo>
                    <a:pt x="19296" y="3152"/>
                  </a:lnTo>
                  <a:lnTo>
                    <a:pt x="19369" y="3253"/>
                  </a:lnTo>
                  <a:lnTo>
                    <a:pt x="19369" y="3227"/>
                  </a:lnTo>
                  <a:lnTo>
                    <a:pt x="19369" y="3221"/>
                  </a:lnTo>
                  <a:close/>
                  <a:moveTo>
                    <a:pt x="22962" y="2597"/>
                  </a:moveTo>
                  <a:lnTo>
                    <a:pt x="22954" y="2597"/>
                  </a:lnTo>
                  <a:lnTo>
                    <a:pt x="22962" y="2597"/>
                  </a:lnTo>
                  <a:close/>
                  <a:moveTo>
                    <a:pt x="20013" y="2597"/>
                  </a:moveTo>
                  <a:lnTo>
                    <a:pt x="20006" y="2597"/>
                  </a:lnTo>
                  <a:lnTo>
                    <a:pt x="20013" y="2597"/>
                  </a:lnTo>
                  <a:close/>
                  <a:moveTo>
                    <a:pt x="19409" y="3491"/>
                  </a:moveTo>
                  <a:lnTo>
                    <a:pt x="19409" y="3498"/>
                  </a:lnTo>
                  <a:lnTo>
                    <a:pt x="19409" y="3491"/>
                  </a:lnTo>
                  <a:close/>
                  <a:moveTo>
                    <a:pt x="19369" y="3227"/>
                  </a:moveTo>
                  <a:lnTo>
                    <a:pt x="19369" y="3221"/>
                  </a:lnTo>
                  <a:lnTo>
                    <a:pt x="19369" y="3227"/>
                  </a:lnTo>
                  <a:close/>
                  <a:moveTo>
                    <a:pt x="20708" y="1885"/>
                  </a:moveTo>
                  <a:lnTo>
                    <a:pt x="20672" y="1152"/>
                  </a:lnTo>
                  <a:lnTo>
                    <a:pt x="20636" y="420"/>
                  </a:lnTo>
                  <a:lnTo>
                    <a:pt x="20345" y="420"/>
                  </a:lnTo>
                  <a:lnTo>
                    <a:pt x="20306" y="1139"/>
                  </a:lnTo>
                  <a:lnTo>
                    <a:pt x="20269" y="1858"/>
                  </a:lnTo>
                  <a:lnTo>
                    <a:pt x="20268" y="1867"/>
                  </a:lnTo>
                  <a:lnTo>
                    <a:pt x="20263" y="1872"/>
                  </a:lnTo>
                  <a:lnTo>
                    <a:pt x="20256" y="1876"/>
                  </a:lnTo>
                  <a:lnTo>
                    <a:pt x="20248" y="1877"/>
                  </a:lnTo>
                  <a:lnTo>
                    <a:pt x="20241" y="1874"/>
                  </a:lnTo>
                  <a:lnTo>
                    <a:pt x="20234" y="1870"/>
                  </a:lnTo>
                  <a:lnTo>
                    <a:pt x="20231" y="1864"/>
                  </a:lnTo>
                  <a:lnTo>
                    <a:pt x="20229" y="1855"/>
                  </a:lnTo>
                  <a:lnTo>
                    <a:pt x="20268" y="1126"/>
                  </a:lnTo>
                  <a:lnTo>
                    <a:pt x="20306" y="399"/>
                  </a:lnTo>
                  <a:lnTo>
                    <a:pt x="20307" y="392"/>
                  </a:lnTo>
                  <a:lnTo>
                    <a:pt x="20313" y="386"/>
                  </a:lnTo>
                  <a:lnTo>
                    <a:pt x="20318" y="382"/>
                  </a:lnTo>
                  <a:lnTo>
                    <a:pt x="20325" y="381"/>
                  </a:lnTo>
                  <a:lnTo>
                    <a:pt x="20655" y="381"/>
                  </a:lnTo>
                  <a:lnTo>
                    <a:pt x="20661" y="382"/>
                  </a:lnTo>
                  <a:lnTo>
                    <a:pt x="20668" y="386"/>
                  </a:lnTo>
                  <a:lnTo>
                    <a:pt x="20673" y="392"/>
                  </a:lnTo>
                  <a:lnTo>
                    <a:pt x="20674" y="399"/>
                  </a:lnTo>
                  <a:lnTo>
                    <a:pt x="20710" y="1140"/>
                  </a:lnTo>
                  <a:lnTo>
                    <a:pt x="20747" y="1882"/>
                  </a:lnTo>
                  <a:lnTo>
                    <a:pt x="20746" y="1891"/>
                  </a:lnTo>
                  <a:lnTo>
                    <a:pt x="20742" y="1897"/>
                  </a:lnTo>
                  <a:lnTo>
                    <a:pt x="20736" y="1901"/>
                  </a:lnTo>
                  <a:lnTo>
                    <a:pt x="20728" y="1902"/>
                  </a:lnTo>
                  <a:lnTo>
                    <a:pt x="20715" y="1899"/>
                  </a:lnTo>
                  <a:lnTo>
                    <a:pt x="20710" y="1892"/>
                  </a:lnTo>
                  <a:lnTo>
                    <a:pt x="20708" y="1885"/>
                  </a:lnTo>
                  <a:close/>
                  <a:moveTo>
                    <a:pt x="2868" y="3476"/>
                  </a:moveTo>
                  <a:lnTo>
                    <a:pt x="2980" y="3323"/>
                  </a:lnTo>
                  <a:lnTo>
                    <a:pt x="2953" y="3268"/>
                  </a:lnTo>
                  <a:lnTo>
                    <a:pt x="2939" y="3245"/>
                  </a:lnTo>
                  <a:lnTo>
                    <a:pt x="2925" y="3225"/>
                  </a:lnTo>
                  <a:lnTo>
                    <a:pt x="2911" y="3207"/>
                  </a:lnTo>
                  <a:lnTo>
                    <a:pt x="2897" y="3193"/>
                  </a:lnTo>
                  <a:lnTo>
                    <a:pt x="2883" y="3181"/>
                  </a:lnTo>
                  <a:lnTo>
                    <a:pt x="2868" y="3175"/>
                  </a:lnTo>
                  <a:lnTo>
                    <a:pt x="2868" y="3476"/>
                  </a:lnTo>
                  <a:close/>
                  <a:moveTo>
                    <a:pt x="2998" y="3365"/>
                  </a:moveTo>
                  <a:lnTo>
                    <a:pt x="2868" y="3544"/>
                  </a:lnTo>
                  <a:lnTo>
                    <a:pt x="2868" y="3753"/>
                  </a:lnTo>
                  <a:lnTo>
                    <a:pt x="3045" y="3507"/>
                  </a:lnTo>
                  <a:lnTo>
                    <a:pt x="3027" y="3445"/>
                  </a:lnTo>
                  <a:lnTo>
                    <a:pt x="2998" y="3365"/>
                  </a:lnTo>
                  <a:close/>
                  <a:moveTo>
                    <a:pt x="2716" y="3324"/>
                  </a:moveTo>
                  <a:lnTo>
                    <a:pt x="2829" y="3479"/>
                  </a:lnTo>
                  <a:lnTo>
                    <a:pt x="2829" y="3173"/>
                  </a:lnTo>
                  <a:lnTo>
                    <a:pt x="2813" y="3181"/>
                  </a:lnTo>
                  <a:lnTo>
                    <a:pt x="2798" y="3193"/>
                  </a:lnTo>
                  <a:lnTo>
                    <a:pt x="2790" y="3199"/>
                  </a:lnTo>
                  <a:lnTo>
                    <a:pt x="2783" y="3207"/>
                  </a:lnTo>
                  <a:lnTo>
                    <a:pt x="2768" y="3225"/>
                  </a:lnTo>
                  <a:lnTo>
                    <a:pt x="2742" y="3269"/>
                  </a:lnTo>
                  <a:lnTo>
                    <a:pt x="2715" y="3323"/>
                  </a:lnTo>
                  <a:lnTo>
                    <a:pt x="2716" y="3324"/>
                  </a:lnTo>
                  <a:close/>
                  <a:moveTo>
                    <a:pt x="3060" y="3557"/>
                  </a:moveTo>
                  <a:lnTo>
                    <a:pt x="2868" y="3820"/>
                  </a:lnTo>
                  <a:lnTo>
                    <a:pt x="2868" y="4028"/>
                  </a:lnTo>
                  <a:lnTo>
                    <a:pt x="3089" y="3725"/>
                  </a:lnTo>
                  <a:lnTo>
                    <a:pt x="3094" y="3718"/>
                  </a:lnTo>
                  <a:lnTo>
                    <a:pt x="3080" y="3640"/>
                  </a:lnTo>
                  <a:lnTo>
                    <a:pt x="3060" y="3557"/>
                  </a:lnTo>
                  <a:close/>
                  <a:moveTo>
                    <a:pt x="2654" y="3515"/>
                  </a:moveTo>
                  <a:lnTo>
                    <a:pt x="2829" y="3754"/>
                  </a:lnTo>
                  <a:lnTo>
                    <a:pt x="2829" y="3547"/>
                  </a:lnTo>
                  <a:lnTo>
                    <a:pt x="2698" y="3367"/>
                  </a:lnTo>
                  <a:lnTo>
                    <a:pt x="2672" y="3437"/>
                  </a:lnTo>
                  <a:lnTo>
                    <a:pt x="2650" y="3511"/>
                  </a:lnTo>
                  <a:lnTo>
                    <a:pt x="2654" y="3515"/>
                  </a:lnTo>
                  <a:close/>
                  <a:moveTo>
                    <a:pt x="3103" y="3773"/>
                  </a:moveTo>
                  <a:lnTo>
                    <a:pt x="2868" y="4095"/>
                  </a:lnTo>
                  <a:lnTo>
                    <a:pt x="2868" y="4102"/>
                  </a:lnTo>
                  <a:lnTo>
                    <a:pt x="2893" y="4098"/>
                  </a:lnTo>
                  <a:lnTo>
                    <a:pt x="2917" y="4093"/>
                  </a:lnTo>
                  <a:lnTo>
                    <a:pt x="2940" y="4085"/>
                  </a:lnTo>
                  <a:lnTo>
                    <a:pt x="2962" y="4076"/>
                  </a:lnTo>
                  <a:lnTo>
                    <a:pt x="2983" y="4065"/>
                  </a:lnTo>
                  <a:lnTo>
                    <a:pt x="3003" y="4051"/>
                  </a:lnTo>
                  <a:lnTo>
                    <a:pt x="3021" y="4037"/>
                  </a:lnTo>
                  <a:lnTo>
                    <a:pt x="3038" y="4020"/>
                  </a:lnTo>
                  <a:lnTo>
                    <a:pt x="3067" y="3982"/>
                  </a:lnTo>
                  <a:lnTo>
                    <a:pt x="3079" y="3961"/>
                  </a:lnTo>
                  <a:lnTo>
                    <a:pt x="3089" y="3939"/>
                  </a:lnTo>
                  <a:lnTo>
                    <a:pt x="3097" y="3916"/>
                  </a:lnTo>
                  <a:lnTo>
                    <a:pt x="3103" y="3893"/>
                  </a:lnTo>
                  <a:lnTo>
                    <a:pt x="3107" y="3868"/>
                  </a:lnTo>
                  <a:lnTo>
                    <a:pt x="3108" y="3843"/>
                  </a:lnTo>
                  <a:lnTo>
                    <a:pt x="3107" y="3811"/>
                  </a:lnTo>
                  <a:lnTo>
                    <a:pt x="3103" y="3773"/>
                  </a:lnTo>
                  <a:close/>
                  <a:moveTo>
                    <a:pt x="2603" y="3719"/>
                  </a:moveTo>
                  <a:lnTo>
                    <a:pt x="2829" y="4012"/>
                  </a:lnTo>
                  <a:lnTo>
                    <a:pt x="2829" y="3822"/>
                  </a:lnTo>
                  <a:lnTo>
                    <a:pt x="2638" y="3560"/>
                  </a:lnTo>
                  <a:lnTo>
                    <a:pt x="2618" y="3644"/>
                  </a:lnTo>
                  <a:lnTo>
                    <a:pt x="2603" y="3719"/>
                  </a:lnTo>
                  <a:close/>
                  <a:moveTo>
                    <a:pt x="2784" y="1296"/>
                  </a:moveTo>
                  <a:lnTo>
                    <a:pt x="2784" y="1465"/>
                  </a:lnTo>
                  <a:lnTo>
                    <a:pt x="2781" y="1474"/>
                  </a:lnTo>
                  <a:lnTo>
                    <a:pt x="2777" y="1480"/>
                  </a:lnTo>
                  <a:lnTo>
                    <a:pt x="2771" y="1484"/>
                  </a:lnTo>
                  <a:lnTo>
                    <a:pt x="2763" y="1486"/>
                  </a:lnTo>
                  <a:lnTo>
                    <a:pt x="2756" y="1484"/>
                  </a:lnTo>
                  <a:lnTo>
                    <a:pt x="2749" y="1480"/>
                  </a:lnTo>
                  <a:lnTo>
                    <a:pt x="2745" y="1474"/>
                  </a:lnTo>
                  <a:lnTo>
                    <a:pt x="2743" y="1465"/>
                  </a:lnTo>
                  <a:lnTo>
                    <a:pt x="2743" y="1296"/>
                  </a:lnTo>
                  <a:lnTo>
                    <a:pt x="2650" y="1296"/>
                  </a:lnTo>
                  <a:lnTo>
                    <a:pt x="2650" y="1465"/>
                  </a:lnTo>
                  <a:lnTo>
                    <a:pt x="2649" y="1474"/>
                  </a:lnTo>
                  <a:lnTo>
                    <a:pt x="2644" y="1480"/>
                  </a:lnTo>
                  <a:lnTo>
                    <a:pt x="2638" y="1484"/>
                  </a:lnTo>
                  <a:lnTo>
                    <a:pt x="2631" y="1486"/>
                  </a:lnTo>
                  <a:lnTo>
                    <a:pt x="2624" y="1484"/>
                  </a:lnTo>
                  <a:lnTo>
                    <a:pt x="2617" y="1480"/>
                  </a:lnTo>
                  <a:lnTo>
                    <a:pt x="2612" y="1474"/>
                  </a:lnTo>
                  <a:lnTo>
                    <a:pt x="2611" y="1465"/>
                  </a:lnTo>
                  <a:lnTo>
                    <a:pt x="2611" y="1296"/>
                  </a:lnTo>
                  <a:lnTo>
                    <a:pt x="2518" y="1296"/>
                  </a:lnTo>
                  <a:lnTo>
                    <a:pt x="2518" y="1465"/>
                  </a:lnTo>
                  <a:lnTo>
                    <a:pt x="2516" y="1474"/>
                  </a:lnTo>
                  <a:lnTo>
                    <a:pt x="2512" y="1480"/>
                  </a:lnTo>
                  <a:lnTo>
                    <a:pt x="2506" y="1484"/>
                  </a:lnTo>
                  <a:lnTo>
                    <a:pt x="2498" y="1486"/>
                  </a:lnTo>
                  <a:lnTo>
                    <a:pt x="2490" y="1484"/>
                  </a:lnTo>
                  <a:lnTo>
                    <a:pt x="2484" y="1480"/>
                  </a:lnTo>
                  <a:lnTo>
                    <a:pt x="2480" y="1474"/>
                  </a:lnTo>
                  <a:lnTo>
                    <a:pt x="2477" y="1465"/>
                  </a:lnTo>
                  <a:lnTo>
                    <a:pt x="2477" y="1296"/>
                  </a:lnTo>
                  <a:lnTo>
                    <a:pt x="2385" y="1296"/>
                  </a:lnTo>
                  <a:lnTo>
                    <a:pt x="2385" y="1465"/>
                  </a:lnTo>
                  <a:lnTo>
                    <a:pt x="2384" y="1474"/>
                  </a:lnTo>
                  <a:lnTo>
                    <a:pt x="2379" y="1480"/>
                  </a:lnTo>
                  <a:lnTo>
                    <a:pt x="2372" y="1484"/>
                  </a:lnTo>
                  <a:lnTo>
                    <a:pt x="2366" y="1486"/>
                  </a:lnTo>
                  <a:lnTo>
                    <a:pt x="2358" y="1484"/>
                  </a:lnTo>
                  <a:lnTo>
                    <a:pt x="2352" y="1480"/>
                  </a:lnTo>
                  <a:lnTo>
                    <a:pt x="2347" y="1474"/>
                  </a:lnTo>
                  <a:lnTo>
                    <a:pt x="2345" y="1465"/>
                  </a:lnTo>
                  <a:lnTo>
                    <a:pt x="2345" y="1296"/>
                  </a:lnTo>
                  <a:lnTo>
                    <a:pt x="2282" y="1296"/>
                  </a:lnTo>
                  <a:lnTo>
                    <a:pt x="2282" y="1634"/>
                  </a:lnTo>
                  <a:lnTo>
                    <a:pt x="2852" y="1634"/>
                  </a:lnTo>
                  <a:lnTo>
                    <a:pt x="2852" y="1296"/>
                  </a:lnTo>
                  <a:lnTo>
                    <a:pt x="2784" y="1296"/>
                  </a:lnTo>
                  <a:close/>
                  <a:moveTo>
                    <a:pt x="332" y="4356"/>
                  </a:moveTo>
                  <a:lnTo>
                    <a:pt x="322" y="4359"/>
                  </a:lnTo>
                  <a:lnTo>
                    <a:pt x="313" y="4356"/>
                  </a:lnTo>
                  <a:lnTo>
                    <a:pt x="0" y="4356"/>
                  </a:lnTo>
                  <a:lnTo>
                    <a:pt x="0" y="4317"/>
                  </a:lnTo>
                  <a:lnTo>
                    <a:pt x="64" y="4317"/>
                  </a:lnTo>
                  <a:lnTo>
                    <a:pt x="64" y="3833"/>
                  </a:lnTo>
                  <a:lnTo>
                    <a:pt x="0" y="3833"/>
                  </a:lnTo>
                  <a:lnTo>
                    <a:pt x="0" y="3792"/>
                  </a:lnTo>
                  <a:lnTo>
                    <a:pt x="197" y="3792"/>
                  </a:lnTo>
                  <a:lnTo>
                    <a:pt x="206" y="3795"/>
                  </a:lnTo>
                  <a:lnTo>
                    <a:pt x="213" y="3799"/>
                  </a:lnTo>
                  <a:lnTo>
                    <a:pt x="217" y="3805"/>
                  </a:lnTo>
                  <a:lnTo>
                    <a:pt x="218" y="3813"/>
                  </a:lnTo>
                  <a:lnTo>
                    <a:pt x="217" y="3820"/>
                  </a:lnTo>
                  <a:lnTo>
                    <a:pt x="213" y="3827"/>
                  </a:lnTo>
                  <a:lnTo>
                    <a:pt x="206" y="3831"/>
                  </a:lnTo>
                  <a:lnTo>
                    <a:pt x="197" y="3833"/>
                  </a:lnTo>
                  <a:lnTo>
                    <a:pt x="104" y="3833"/>
                  </a:lnTo>
                  <a:lnTo>
                    <a:pt x="104" y="4317"/>
                  </a:lnTo>
                  <a:lnTo>
                    <a:pt x="303" y="4317"/>
                  </a:lnTo>
                  <a:lnTo>
                    <a:pt x="303" y="3544"/>
                  </a:lnTo>
                  <a:lnTo>
                    <a:pt x="303" y="2772"/>
                  </a:lnTo>
                  <a:lnTo>
                    <a:pt x="304" y="2764"/>
                  </a:lnTo>
                  <a:lnTo>
                    <a:pt x="308" y="2758"/>
                  </a:lnTo>
                  <a:lnTo>
                    <a:pt x="314" y="2753"/>
                  </a:lnTo>
                  <a:lnTo>
                    <a:pt x="322" y="2751"/>
                  </a:lnTo>
                  <a:lnTo>
                    <a:pt x="440" y="2751"/>
                  </a:lnTo>
                  <a:lnTo>
                    <a:pt x="440" y="2579"/>
                  </a:lnTo>
                  <a:lnTo>
                    <a:pt x="441" y="2571"/>
                  </a:lnTo>
                  <a:lnTo>
                    <a:pt x="446" y="2565"/>
                  </a:lnTo>
                  <a:lnTo>
                    <a:pt x="453" y="2560"/>
                  </a:lnTo>
                  <a:lnTo>
                    <a:pt x="460" y="2558"/>
                  </a:lnTo>
                  <a:lnTo>
                    <a:pt x="541" y="2558"/>
                  </a:lnTo>
                  <a:lnTo>
                    <a:pt x="1007" y="2558"/>
                  </a:lnTo>
                  <a:lnTo>
                    <a:pt x="1997" y="2558"/>
                  </a:lnTo>
                  <a:lnTo>
                    <a:pt x="2004" y="2560"/>
                  </a:lnTo>
                  <a:lnTo>
                    <a:pt x="2011" y="2565"/>
                  </a:lnTo>
                  <a:lnTo>
                    <a:pt x="2014" y="2571"/>
                  </a:lnTo>
                  <a:lnTo>
                    <a:pt x="2017" y="2579"/>
                  </a:lnTo>
                  <a:lnTo>
                    <a:pt x="2017" y="2751"/>
                  </a:lnTo>
                  <a:lnTo>
                    <a:pt x="2098" y="2751"/>
                  </a:lnTo>
                  <a:lnTo>
                    <a:pt x="2098" y="2203"/>
                  </a:lnTo>
                  <a:lnTo>
                    <a:pt x="2098" y="1654"/>
                  </a:lnTo>
                  <a:lnTo>
                    <a:pt x="2099" y="1647"/>
                  </a:lnTo>
                  <a:lnTo>
                    <a:pt x="2103" y="1640"/>
                  </a:lnTo>
                  <a:lnTo>
                    <a:pt x="2109" y="1635"/>
                  </a:lnTo>
                  <a:lnTo>
                    <a:pt x="2117" y="1634"/>
                  </a:lnTo>
                  <a:lnTo>
                    <a:pt x="2243" y="1634"/>
                  </a:lnTo>
                  <a:lnTo>
                    <a:pt x="2243" y="1276"/>
                  </a:lnTo>
                  <a:lnTo>
                    <a:pt x="2244" y="1268"/>
                  </a:lnTo>
                  <a:lnTo>
                    <a:pt x="2249" y="1262"/>
                  </a:lnTo>
                  <a:lnTo>
                    <a:pt x="2254" y="1258"/>
                  </a:lnTo>
                  <a:lnTo>
                    <a:pt x="2262" y="1257"/>
                  </a:lnTo>
                  <a:lnTo>
                    <a:pt x="2872" y="1257"/>
                  </a:lnTo>
                  <a:lnTo>
                    <a:pt x="2880" y="1258"/>
                  </a:lnTo>
                  <a:lnTo>
                    <a:pt x="2886" y="1262"/>
                  </a:lnTo>
                  <a:lnTo>
                    <a:pt x="2890" y="1268"/>
                  </a:lnTo>
                  <a:lnTo>
                    <a:pt x="2893" y="1276"/>
                  </a:lnTo>
                  <a:lnTo>
                    <a:pt x="2893" y="1634"/>
                  </a:lnTo>
                  <a:lnTo>
                    <a:pt x="3017" y="1634"/>
                  </a:lnTo>
                  <a:lnTo>
                    <a:pt x="3025" y="1635"/>
                  </a:lnTo>
                  <a:lnTo>
                    <a:pt x="3031" y="1640"/>
                  </a:lnTo>
                  <a:lnTo>
                    <a:pt x="3035" y="1647"/>
                  </a:lnTo>
                  <a:lnTo>
                    <a:pt x="3038" y="1654"/>
                  </a:lnTo>
                  <a:lnTo>
                    <a:pt x="3038" y="2434"/>
                  </a:lnTo>
                  <a:lnTo>
                    <a:pt x="3038" y="3214"/>
                  </a:lnTo>
                  <a:lnTo>
                    <a:pt x="3035" y="3223"/>
                  </a:lnTo>
                  <a:lnTo>
                    <a:pt x="3031" y="3230"/>
                  </a:lnTo>
                  <a:lnTo>
                    <a:pt x="3025" y="3234"/>
                  </a:lnTo>
                  <a:lnTo>
                    <a:pt x="3017" y="3235"/>
                  </a:lnTo>
                  <a:lnTo>
                    <a:pt x="3010" y="3234"/>
                  </a:lnTo>
                  <a:lnTo>
                    <a:pt x="3003" y="3230"/>
                  </a:lnTo>
                  <a:lnTo>
                    <a:pt x="2999" y="3223"/>
                  </a:lnTo>
                  <a:lnTo>
                    <a:pt x="2998" y="3214"/>
                  </a:lnTo>
                  <a:lnTo>
                    <a:pt x="2998" y="2443"/>
                  </a:lnTo>
                  <a:lnTo>
                    <a:pt x="2998" y="1674"/>
                  </a:lnTo>
                  <a:lnTo>
                    <a:pt x="2138" y="1674"/>
                  </a:lnTo>
                  <a:lnTo>
                    <a:pt x="2138" y="2333"/>
                  </a:lnTo>
                  <a:lnTo>
                    <a:pt x="2138" y="2994"/>
                  </a:lnTo>
                  <a:lnTo>
                    <a:pt x="2138" y="3655"/>
                  </a:lnTo>
                  <a:lnTo>
                    <a:pt x="2138" y="4317"/>
                  </a:lnTo>
                  <a:lnTo>
                    <a:pt x="2829" y="4317"/>
                  </a:lnTo>
                  <a:lnTo>
                    <a:pt x="2829" y="4141"/>
                  </a:lnTo>
                  <a:lnTo>
                    <a:pt x="2799" y="4138"/>
                  </a:lnTo>
                  <a:lnTo>
                    <a:pt x="2771" y="4132"/>
                  </a:lnTo>
                  <a:lnTo>
                    <a:pt x="2744" y="4123"/>
                  </a:lnTo>
                  <a:lnTo>
                    <a:pt x="2731" y="4118"/>
                  </a:lnTo>
                  <a:lnTo>
                    <a:pt x="2718" y="4113"/>
                  </a:lnTo>
                  <a:lnTo>
                    <a:pt x="2694" y="4099"/>
                  </a:lnTo>
                  <a:lnTo>
                    <a:pt x="2671" y="4084"/>
                  </a:lnTo>
                  <a:lnTo>
                    <a:pt x="2649" y="4067"/>
                  </a:lnTo>
                  <a:lnTo>
                    <a:pt x="2630" y="4048"/>
                  </a:lnTo>
                  <a:lnTo>
                    <a:pt x="2612" y="4026"/>
                  </a:lnTo>
                  <a:lnTo>
                    <a:pt x="2595" y="4005"/>
                  </a:lnTo>
                  <a:lnTo>
                    <a:pt x="2581" y="3980"/>
                  </a:lnTo>
                  <a:lnTo>
                    <a:pt x="2570" y="3955"/>
                  </a:lnTo>
                  <a:lnTo>
                    <a:pt x="2561" y="3929"/>
                  </a:lnTo>
                  <a:lnTo>
                    <a:pt x="2554" y="3901"/>
                  </a:lnTo>
                  <a:lnTo>
                    <a:pt x="2549" y="3873"/>
                  </a:lnTo>
                  <a:lnTo>
                    <a:pt x="2548" y="3843"/>
                  </a:lnTo>
                  <a:lnTo>
                    <a:pt x="2549" y="3813"/>
                  </a:lnTo>
                  <a:lnTo>
                    <a:pt x="2554" y="3773"/>
                  </a:lnTo>
                  <a:lnTo>
                    <a:pt x="2570" y="3675"/>
                  </a:lnTo>
                  <a:lnTo>
                    <a:pt x="2581" y="3617"/>
                  </a:lnTo>
                  <a:lnTo>
                    <a:pt x="2595" y="3558"/>
                  </a:lnTo>
                  <a:lnTo>
                    <a:pt x="2630" y="3436"/>
                  </a:lnTo>
                  <a:lnTo>
                    <a:pt x="2650" y="3377"/>
                  </a:lnTo>
                  <a:lnTo>
                    <a:pt x="2674" y="3320"/>
                  </a:lnTo>
                  <a:lnTo>
                    <a:pt x="2698" y="3268"/>
                  </a:lnTo>
                  <a:lnTo>
                    <a:pt x="2725" y="3222"/>
                  </a:lnTo>
                  <a:lnTo>
                    <a:pt x="2753" y="3185"/>
                  </a:lnTo>
                  <a:lnTo>
                    <a:pt x="2783" y="3156"/>
                  </a:lnTo>
                  <a:lnTo>
                    <a:pt x="2799" y="3144"/>
                  </a:lnTo>
                  <a:lnTo>
                    <a:pt x="2815" y="3136"/>
                  </a:lnTo>
                  <a:lnTo>
                    <a:pt x="2831" y="3133"/>
                  </a:lnTo>
                  <a:lnTo>
                    <a:pt x="2848" y="3130"/>
                  </a:lnTo>
                  <a:lnTo>
                    <a:pt x="2866" y="3133"/>
                  </a:lnTo>
                  <a:lnTo>
                    <a:pt x="2883" y="3138"/>
                  </a:lnTo>
                  <a:lnTo>
                    <a:pt x="2899" y="3145"/>
                  </a:lnTo>
                  <a:lnTo>
                    <a:pt x="2915" y="3157"/>
                  </a:lnTo>
                  <a:lnTo>
                    <a:pt x="2945" y="3187"/>
                  </a:lnTo>
                  <a:lnTo>
                    <a:pt x="2953" y="3196"/>
                  </a:lnTo>
                  <a:lnTo>
                    <a:pt x="2960" y="3205"/>
                  </a:lnTo>
                  <a:lnTo>
                    <a:pt x="2974" y="3226"/>
                  </a:lnTo>
                  <a:lnTo>
                    <a:pt x="3001" y="3272"/>
                  </a:lnTo>
                  <a:lnTo>
                    <a:pt x="3024" y="3323"/>
                  </a:lnTo>
                  <a:lnTo>
                    <a:pt x="3045" y="3377"/>
                  </a:lnTo>
                  <a:lnTo>
                    <a:pt x="3065" y="3433"/>
                  </a:lnTo>
                  <a:lnTo>
                    <a:pt x="3083" y="3492"/>
                  </a:lnTo>
                  <a:lnTo>
                    <a:pt x="3099" y="3551"/>
                  </a:lnTo>
                  <a:lnTo>
                    <a:pt x="3113" y="3609"/>
                  </a:lnTo>
                  <a:lnTo>
                    <a:pt x="3125" y="3666"/>
                  </a:lnTo>
                  <a:lnTo>
                    <a:pt x="3135" y="3719"/>
                  </a:lnTo>
                  <a:lnTo>
                    <a:pt x="3142" y="3767"/>
                  </a:lnTo>
                  <a:lnTo>
                    <a:pt x="3147" y="3809"/>
                  </a:lnTo>
                  <a:lnTo>
                    <a:pt x="3148" y="3843"/>
                  </a:lnTo>
                  <a:lnTo>
                    <a:pt x="3147" y="3873"/>
                  </a:lnTo>
                  <a:lnTo>
                    <a:pt x="3143" y="3901"/>
                  </a:lnTo>
                  <a:lnTo>
                    <a:pt x="3135" y="3929"/>
                  </a:lnTo>
                  <a:lnTo>
                    <a:pt x="3126" y="3955"/>
                  </a:lnTo>
                  <a:lnTo>
                    <a:pt x="3115" y="3980"/>
                  </a:lnTo>
                  <a:lnTo>
                    <a:pt x="3101" y="4005"/>
                  </a:lnTo>
                  <a:lnTo>
                    <a:pt x="3067" y="4048"/>
                  </a:lnTo>
                  <a:lnTo>
                    <a:pt x="3025" y="4084"/>
                  </a:lnTo>
                  <a:lnTo>
                    <a:pt x="3002" y="4099"/>
                  </a:lnTo>
                  <a:lnTo>
                    <a:pt x="2977" y="4113"/>
                  </a:lnTo>
                  <a:lnTo>
                    <a:pt x="2952" y="4123"/>
                  </a:lnTo>
                  <a:lnTo>
                    <a:pt x="2925" y="4132"/>
                  </a:lnTo>
                  <a:lnTo>
                    <a:pt x="2897" y="4138"/>
                  </a:lnTo>
                  <a:lnTo>
                    <a:pt x="2868" y="4141"/>
                  </a:lnTo>
                  <a:lnTo>
                    <a:pt x="2868" y="4317"/>
                  </a:lnTo>
                  <a:lnTo>
                    <a:pt x="2998" y="4317"/>
                  </a:lnTo>
                  <a:lnTo>
                    <a:pt x="2998" y="4193"/>
                  </a:lnTo>
                  <a:lnTo>
                    <a:pt x="2999" y="4184"/>
                  </a:lnTo>
                  <a:lnTo>
                    <a:pt x="3003" y="4177"/>
                  </a:lnTo>
                  <a:lnTo>
                    <a:pt x="3010" y="4173"/>
                  </a:lnTo>
                  <a:lnTo>
                    <a:pt x="3017" y="4172"/>
                  </a:lnTo>
                  <a:lnTo>
                    <a:pt x="3025" y="4173"/>
                  </a:lnTo>
                  <a:lnTo>
                    <a:pt x="3031" y="4177"/>
                  </a:lnTo>
                  <a:lnTo>
                    <a:pt x="3035" y="4184"/>
                  </a:lnTo>
                  <a:lnTo>
                    <a:pt x="3038" y="4193"/>
                  </a:lnTo>
                  <a:lnTo>
                    <a:pt x="3038" y="4332"/>
                  </a:lnTo>
                  <a:lnTo>
                    <a:pt x="3036" y="4340"/>
                  </a:lnTo>
                  <a:lnTo>
                    <a:pt x="3031" y="4346"/>
                  </a:lnTo>
                  <a:lnTo>
                    <a:pt x="3025" y="4354"/>
                  </a:lnTo>
                  <a:lnTo>
                    <a:pt x="3013" y="4356"/>
                  </a:lnTo>
                  <a:lnTo>
                    <a:pt x="2343" y="4356"/>
                  </a:lnTo>
                  <a:lnTo>
                    <a:pt x="1672" y="4356"/>
                  </a:lnTo>
                  <a:lnTo>
                    <a:pt x="1001" y="4356"/>
                  </a:lnTo>
                  <a:lnTo>
                    <a:pt x="332" y="4356"/>
                  </a:lnTo>
                  <a:close/>
                  <a:moveTo>
                    <a:pt x="1458" y="2791"/>
                  </a:moveTo>
                  <a:lnTo>
                    <a:pt x="900" y="2791"/>
                  </a:lnTo>
                  <a:lnTo>
                    <a:pt x="342" y="2791"/>
                  </a:lnTo>
                  <a:lnTo>
                    <a:pt x="342" y="3553"/>
                  </a:lnTo>
                  <a:lnTo>
                    <a:pt x="342" y="4317"/>
                  </a:lnTo>
                  <a:lnTo>
                    <a:pt x="1218" y="4317"/>
                  </a:lnTo>
                  <a:lnTo>
                    <a:pt x="2095" y="4317"/>
                  </a:lnTo>
                  <a:lnTo>
                    <a:pt x="2095" y="3553"/>
                  </a:lnTo>
                  <a:lnTo>
                    <a:pt x="2095" y="2791"/>
                  </a:lnTo>
                  <a:lnTo>
                    <a:pt x="1723" y="2791"/>
                  </a:lnTo>
                  <a:lnTo>
                    <a:pt x="1714" y="2790"/>
                  </a:lnTo>
                  <a:lnTo>
                    <a:pt x="1708" y="2786"/>
                  </a:lnTo>
                  <a:lnTo>
                    <a:pt x="1704" y="2780"/>
                  </a:lnTo>
                  <a:lnTo>
                    <a:pt x="1703" y="2772"/>
                  </a:lnTo>
                  <a:lnTo>
                    <a:pt x="1704" y="2764"/>
                  </a:lnTo>
                  <a:lnTo>
                    <a:pt x="1708" y="2758"/>
                  </a:lnTo>
                  <a:lnTo>
                    <a:pt x="1714" y="2754"/>
                  </a:lnTo>
                  <a:lnTo>
                    <a:pt x="1723" y="2751"/>
                  </a:lnTo>
                  <a:lnTo>
                    <a:pt x="1976" y="2751"/>
                  </a:lnTo>
                  <a:lnTo>
                    <a:pt x="1976" y="2598"/>
                  </a:lnTo>
                  <a:lnTo>
                    <a:pt x="1025" y="2598"/>
                  </a:lnTo>
                  <a:lnTo>
                    <a:pt x="1018" y="2602"/>
                  </a:lnTo>
                  <a:lnTo>
                    <a:pt x="1010" y="2603"/>
                  </a:lnTo>
                  <a:lnTo>
                    <a:pt x="544" y="2603"/>
                  </a:lnTo>
                  <a:lnTo>
                    <a:pt x="536" y="2602"/>
                  </a:lnTo>
                  <a:lnTo>
                    <a:pt x="531" y="2598"/>
                  </a:lnTo>
                  <a:lnTo>
                    <a:pt x="480" y="2598"/>
                  </a:lnTo>
                  <a:lnTo>
                    <a:pt x="480" y="2751"/>
                  </a:lnTo>
                  <a:lnTo>
                    <a:pt x="1458" y="2751"/>
                  </a:lnTo>
                  <a:lnTo>
                    <a:pt x="1467" y="2754"/>
                  </a:lnTo>
                  <a:lnTo>
                    <a:pt x="1473" y="2758"/>
                  </a:lnTo>
                  <a:lnTo>
                    <a:pt x="1477" y="2764"/>
                  </a:lnTo>
                  <a:lnTo>
                    <a:pt x="1478" y="2772"/>
                  </a:lnTo>
                  <a:lnTo>
                    <a:pt x="1477" y="2780"/>
                  </a:lnTo>
                  <a:lnTo>
                    <a:pt x="1473" y="2786"/>
                  </a:lnTo>
                  <a:lnTo>
                    <a:pt x="1467" y="2790"/>
                  </a:lnTo>
                  <a:lnTo>
                    <a:pt x="1458" y="2791"/>
                  </a:lnTo>
                  <a:close/>
                  <a:moveTo>
                    <a:pt x="2829" y="4085"/>
                  </a:moveTo>
                  <a:lnTo>
                    <a:pt x="2829" y="4077"/>
                  </a:lnTo>
                  <a:lnTo>
                    <a:pt x="2594" y="3774"/>
                  </a:lnTo>
                  <a:lnTo>
                    <a:pt x="2590" y="3814"/>
                  </a:lnTo>
                  <a:lnTo>
                    <a:pt x="2588" y="3843"/>
                  </a:lnTo>
                  <a:lnTo>
                    <a:pt x="2589" y="3868"/>
                  </a:lnTo>
                  <a:lnTo>
                    <a:pt x="2593" y="3893"/>
                  </a:lnTo>
                  <a:lnTo>
                    <a:pt x="2599" y="3916"/>
                  </a:lnTo>
                  <a:lnTo>
                    <a:pt x="2607" y="3939"/>
                  </a:lnTo>
                  <a:lnTo>
                    <a:pt x="2617" y="3961"/>
                  </a:lnTo>
                  <a:lnTo>
                    <a:pt x="2629" y="3982"/>
                  </a:lnTo>
                  <a:lnTo>
                    <a:pt x="2643" y="4002"/>
                  </a:lnTo>
                  <a:lnTo>
                    <a:pt x="2658" y="4020"/>
                  </a:lnTo>
                  <a:lnTo>
                    <a:pt x="2675" y="4037"/>
                  </a:lnTo>
                  <a:lnTo>
                    <a:pt x="2693" y="4051"/>
                  </a:lnTo>
                  <a:lnTo>
                    <a:pt x="2713" y="4065"/>
                  </a:lnTo>
                  <a:lnTo>
                    <a:pt x="2734" y="4076"/>
                  </a:lnTo>
                  <a:lnTo>
                    <a:pt x="2756" y="4085"/>
                  </a:lnTo>
                  <a:lnTo>
                    <a:pt x="2779" y="4093"/>
                  </a:lnTo>
                  <a:lnTo>
                    <a:pt x="2803" y="4098"/>
                  </a:lnTo>
                  <a:lnTo>
                    <a:pt x="2829" y="4102"/>
                  </a:lnTo>
                  <a:lnTo>
                    <a:pt x="2829" y="4093"/>
                  </a:lnTo>
                  <a:lnTo>
                    <a:pt x="2829" y="4085"/>
                  </a:lnTo>
                  <a:close/>
                  <a:moveTo>
                    <a:pt x="1903" y="3824"/>
                  </a:moveTo>
                  <a:lnTo>
                    <a:pt x="1903" y="3937"/>
                  </a:lnTo>
                  <a:lnTo>
                    <a:pt x="1902" y="3946"/>
                  </a:lnTo>
                  <a:lnTo>
                    <a:pt x="1896" y="3952"/>
                  </a:lnTo>
                  <a:lnTo>
                    <a:pt x="1890" y="3956"/>
                  </a:lnTo>
                  <a:lnTo>
                    <a:pt x="1882" y="3957"/>
                  </a:lnTo>
                  <a:lnTo>
                    <a:pt x="1876" y="3956"/>
                  </a:lnTo>
                  <a:lnTo>
                    <a:pt x="1870" y="3952"/>
                  </a:lnTo>
                  <a:lnTo>
                    <a:pt x="1864" y="3946"/>
                  </a:lnTo>
                  <a:lnTo>
                    <a:pt x="1863" y="3937"/>
                  </a:lnTo>
                  <a:lnTo>
                    <a:pt x="1863" y="3824"/>
                  </a:lnTo>
                  <a:lnTo>
                    <a:pt x="1864" y="3817"/>
                  </a:lnTo>
                  <a:lnTo>
                    <a:pt x="1870" y="3810"/>
                  </a:lnTo>
                  <a:lnTo>
                    <a:pt x="1876" y="3806"/>
                  </a:lnTo>
                  <a:lnTo>
                    <a:pt x="1882" y="3805"/>
                  </a:lnTo>
                  <a:lnTo>
                    <a:pt x="1890" y="3806"/>
                  </a:lnTo>
                  <a:lnTo>
                    <a:pt x="1896" y="3810"/>
                  </a:lnTo>
                  <a:lnTo>
                    <a:pt x="1902" y="3817"/>
                  </a:lnTo>
                  <a:lnTo>
                    <a:pt x="1903" y="3824"/>
                  </a:lnTo>
                  <a:close/>
                  <a:moveTo>
                    <a:pt x="587" y="3118"/>
                  </a:moveTo>
                  <a:lnTo>
                    <a:pt x="587" y="3231"/>
                  </a:lnTo>
                  <a:lnTo>
                    <a:pt x="586" y="3240"/>
                  </a:lnTo>
                  <a:lnTo>
                    <a:pt x="581" y="3246"/>
                  </a:lnTo>
                  <a:lnTo>
                    <a:pt x="574" y="3250"/>
                  </a:lnTo>
                  <a:lnTo>
                    <a:pt x="567" y="3251"/>
                  </a:lnTo>
                  <a:lnTo>
                    <a:pt x="560" y="3250"/>
                  </a:lnTo>
                  <a:lnTo>
                    <a:pt x="554" y="3246"/>
                  </a:lnTo>
                  <a:lnTo>
                    <a:pt x="549" y="3240"/>
                  </a:lnTo>
                  <a:lnTo>
                    <a:pt x="548" y="3231"/>
                  </a:lnTo>
                  <a:lnTo>
                    <a:pt x="548" y="3118"/>
                  </a:lnTo>
                  <a:lnTo>
                    <a:pt x="549" y="3111"/>
                  </a:lnTo>
                  <a:lnTo>
                    <a:pt x="554" y="3104"/>
                  </a:lnTo>
                  <a:lnTo>
                    <a:pt x="560" y="3101"/>
                  </a:lnTo>
                  <a:lnTo>
                    <a:pt x="567" y="3099"/>
                  </a:lnTo>
                  <a:lnTo>
                    <a:pt x="574" y="3101"/>
                  </a:lnTo>
                  <a:lnTo>
                    <a:pt x="581" y="3104"/>
                  </a:lnTo>
                  <a:lnTo>
                    <a:pt x="586" y="3111"/>
                  </a:lnTo>
                  <a:lnTo>
                    <a:pt x="587" y="3118"/>
                  </a:lnTo>
                  <a:close/>
                  <a:moveTo>
                    <a:pt x="850" y="3118"/>
                  </a:moveTo>
                  <a:lnTo>
                    <a:pt x="850" y="3231"/>
                  </a:lnTo>
                  <a:lnTo>
                    <a:pt x="849" y="3240"/>
                  </a:lnTo>
                  <a:lnTo>
                    <a:pt x="844" y="3246"/>
                  </a:lnTo>
                  <a:lnTo>
                    <a:pt x="837" y="3250"/>
                  </a:lnTo>
                  <a:lnTo>
                    <a:pt x="831" y="3251"/>
                  </a:lnTo>
                  <a:lnTo>
                    <a:pt x="823" y="3250"/>
                  </a:lnTo>
                  <a:lnTo>
                    <a:pt x="817" y="3246"/>
                  </a:lnTo>
                  <a:lnTo>
                    <a:pt x="812" y="3240"/>
                  </a:lnTo>
                  <a:lnTo>
                    <a:pt x="810" y="3231"/>
                  </a:lnTo>
                  <a:lnTo>
                    <a:pt x="810" y="3118"/>
                  </a:lnTo>
                  <a:lnTo>
                    <a:pt x="812" y="3111"/>
                  </a:lnTo>
                  <a:lnTo>
                    <a:pt x="817" y="3104"/>
                  </a:lnTo>
                  <a:lnTo>
                    <a:pt x="823" y="3101"/>
                  </a:lnTo>
                  <a:lnTo>
                    <a:pt x="831" y="3099"/>
                  </a:lnTo>
                  <a:lnTo>
                    <a:pt x="837" y="3101"/>
                  </a:lnTo>
                  <a:lnTo>
                    <a:pt x="844" y="3104"/>
                  </a:lnTo>
                  <a:lnTo>
                    <a:pt x="849" y="3111"/>
                  </a:lnTo>
                  <a:lnTo>
                    <a:pt x="850" y="3118"/>
                  </a:lnTo>
                  <a:close/>
                  <a:moveTo>
                    <a:pt x="1113" y="3118"/>
                  </a:moveTo>
                  <a:lnTo>
                    <a:pt x="1113" y="3231"/>
                  </a:lnTo>
                  <a:lnTo>
                    <a:pt x="1112" y="3240"/>
                  </a:lnTo>
                  <a:lnTo>
                    <a:pt x="1107" y="3246"/>
                  </a:lnTo>
                  <a:lnTo>
                    <a:pt x="1100" y="3250"/>
                  </a:lnTo>
                  <a:lnTo>
                    <a:pt x="1094" y="3251"/>
                  </a:lnTo>
                  <a:lnTo>
                    <a:pt x="1086" y="3250"/>
                  </a:lnTo>
                  <a:lnTo>
                    <a:pt x="1080" y="3246"/>
                  </a:lnTo>
                  <a:lnTo>
                    <a:pt x="1076" y="3240"/>
                  </a:lnTo>
                  <a:lnTo>
                    <a:pt x="1073" y="3231"/>
                  </a:lnTo>
                  <a:lnTo>
                    <a:pt x="1073" y="3118"/>
                  </a:lnTo>
                  <a:lnTo>
                    <a:pt x="1076" y="3111"/>
                  </a:lnTo>
                  <a:lnTo>
                    <a:pt x="1080" y="3104"/>
                  </a:lnTo>
                  <a:lnTo>
                    <a:pt x="1086" y="3101"/>
                  </a:lnTo>
                  <a:lnTo>
                    <a:pt x="1094" y="3099"/>
                  </a:lnTo>
                  <a:lnTo>
                    <a:pt x="1100" y="3101"/>
                  </a:lnTo>
                  <a:lnTo>
                    <a:pt x="1107" y="3104"/>
                  </a:lnTo>
                  <a:lnTo>
                    <a:pt x="1112" y="3111"/>
                  </a:lnTo>
                  <a:lnTo>
                    <a:pt x="1113" y="3118"/>
                  </a:lnTo>
                  <a:close/>
                  <a:moveTo>
                    <a:pt x="1377" y="3118"/>
                  </a:moveTo>
                  <a:lnTo>
                    <a:pt x="1377" y="3231"/>
                  </a:lnTo>
                  <a:lnTo>
                    <a:pt x="1375" y="3240"/>
                  </a:lnTo>
                  <a:lnTo>
                    <a:pt x="1371" y="3246"/>
                  </a:lnTo>
                  <a:lnTo>
                    <a:pt x="1364" y="3250"/>
                  </a:lnTo>
                  <a:lnTo>
                    <a:pt x="1357" y="3251"/>
                  </a:lnTo>
                  <a:lnTo>
                    <a:pt x="1349" y="3250"/>
                  </a:lnTo>
                  <a:lnTo>
                    <a:pt x="1343" y="3246"/>
                  </a:lnTo>
                  <a:lnTo>
                    <a:pt x="1339" y="3240"/>
                  </a:lnTo>
                  <a:lnTo>
                    <a:pt x="1336" y="3231"/>
                  </a:lnTo>
                  <a:lnTo>
                    <a:pt x="1336" y="3118"/>
                  </a:lnTo>
                  <a:lnTo>
                    <a:pt x="1339" y="3111"/>
                  </a:lnTo>
                  <a:lnTo>
                    <a:pt x="1343" y="3104"/>
                  </a:lnTo>
                  <a:lnTo>
                    <a:pt x="1349" y="3101"/>
                  </a:lnTo>
                  <a:lnTo>
                    <a:pt x="1357" y="3099"/>
                  </a:lnTo>
                  <a:lnTo>
                    <a:pt x="1364" y="3101"/>
                  </a:lnTo>
                  <a:lnTo>
                    <a:pt x="1371" y="3104"/>
                  </a:lnTo>
                  <a:lnTo>
                    <a:pt x="1375" y="3111"/>
                  </a:lnTo>
                  <a:lnTo>
                    <a:pt x="1377" y="3118"/>
                  </a:lnTo>
                  <a:close/>
                  <a:moveTo>
                    <a:pt x="1640" y="3118"/>
                  </a:moveTo>
                  <a:lnTo>
                    <a:pt x="1640" y="3231"/>
                  </a:lnTo>
                  <a:lnTo>
                    <a:pt x="1637" y="3240"/>
                  </a:lnTo>
                  <a:lnTo>
                    <a:pt x="1634" y="3246"/>
                  </a:lnTo>
                  <a:lnTo>
                    <a:pt x="1627" y="3250"/>
                  </a:lnTo>
                  <a:lnTo>
                    <a:pt x="1620" y="3251"/>
                  </a:lnTo>
                  <a:lnTo>
                    <a:pt x="1612" y="3250"/>
                  </a:lnTo>
                  <a:lnTo>
                    <a:pt x="1605" y="3246"/>
                  </a:lnTo>
                  <a:lnTo>
                    <a:pt x="1602" y="3240"/>
                  </a:lnTo>
                  <a:lnTo>
                    <a:pt x="1600" y="3231"/>
                  </a:lnTo>
                  <a:lnTo>
                    <a:pt x="1600" y="3118"/>
                  </a:lnTo>
                  <a:lnTo>
                    <a:pt x="1602" y="3111"/>
                  </a:lnTo>
                  <a:lnTo>
                    <a:pt x="1605" y="3104"/>
                  </a:lnTo>
                  <a:lnTo>
                    <a:pt x="1612" y="3101"/>
                  </a:lnTo>
                  <a:lnTo>
                    <a:pt x="1620" y="3099"/>
                  </a:lnTo>
                  <a:lnTo>
                    <a:pt x="1627" y="3101"/>
                  </a:lnTo>
                  <a:lnTo>
                    <a:pt x="1634" y="3104"/>
                  </a:lnTo>
                  <a:lnTo>
                    <a:pt x="1637" y="3111"/>
                  </a:lnTo>
                  <a:lnTo>
                    <a:pt x="1640" y="3118"/>
                  </a:lnTo>
                  <a:close/>
                  <a:moveTo>
                    <a:pt x="1903" y="3118"/>
                  </a:moveTo>
                  <a:lnTo>
                    <a:pt x="1903" y="3231"/>
                  </a:lnTo>
                  <a:lnTo>
                    <a:pt x="1902" y="3240"/>
                  </a:lnTo>
                  <a:lnTo>
                    <a:pt x="1896" y="3246"/>
                  </a:lnTo>
                  <a:lnTo>
                    <a:pt x="1890" y="3250"/>
                  </a:lnTo>
                  <a:lnTo>
                    <a:pt x="1882" y="3251"/>
                  </a:lnTo>
                  <a:lnTo>
                    <a:pt x="1876" y="3250"/>
                  </a:lnTo>
                  <a:lnTo>
                    <a:pt x="1870" y="3246"/>
                  </a:lnTo>
                  <a:lnTo>
                    <a:pt x="1864" y="3240"/>
                  </a:lnTo>
                  <a:lnTo>
                    <a:pt x="1863" y="3231"/>
                  </a:lnTo>
                  <a:lnTo>
                    <a:pt x="1863" y="3118"/>
                  </a:lnTo>
                  <a:lnTo>
                    <a:pt x="1864" y="3111"/>
                  </a:lnTo>
                  <a:lnTo>
                    <a:pt x="1870" y="3104"/>
                  </a:lnTo>
                  <a:lnTo>
                    <a:pt x="1876" y="3101"/>
                  </a:lnTo>
                  <a:lnTo>
                    <a:pt x="1882" y="3099"/>
                  </a:lnTo>
                  <a:lnTo>
                    <a:pt x="1890" y="3101"/>
                  </a:lnTo>
                  <a:lnTo>
                    <a:pt x="1896" y="3104"/>
                  </a:lnTo>
                  <a:lnTo>
                    <a:pt x="1902" y="3111"/>
                  </a:lnTo>
                  <a:lnTo>
                    <a:pt x="1903" y="3118"/>
                  </a:lnTo>
                  <a:close/>
                  <a:moveTo>
                    <a:pt x="587" y="3354"/>
                  </a:moveTo>
                  <a:lnTo>
                    <a:pt x="587" y="3466"/>
                  </a:lnTo>
                  <a:lnTo>
                    <a:pt x="586" y="3475"/>
                  </a:lnTo>
                  <a:lnTo>
                    <a:pt x="581" y="3482"/>
                  </a:lnTo>
                  <a:lnTo>
                    <a:pt x="574" y="3485"/>
                  </a:lnTo>
                  <a:lnTo>
                    <a:pt x="567" y="3487"/>
                  </a:lnTo>
                  <a:lnTo>
                    <a:pt x="560" y="3485"/>
                  </a:lnTo>
                  <a:lnTo>
                    <a:pt x="554" y="3482"/>
                  </a:lnTo>
                  <a:lnTo>
                    <a:pt x="549" y="3475"/>
                  </a:lnTo>
                  <a:lnTo>
                    <a:pt x="548" y="3466"/>
                  </a:lnTo>
                  <a:lnTo>
                    <a:pt x="548" y="3354"/>
                  </a:lnTo>
                  <a:lnTo>
                    <a:pt x="549" y="3346"/>
                  </a:lnTo>
                  <a:lnTo>
                    <a:pt x="554" y="3340"/>
                  </a:lnTo>
                  <a:lnTo>
                    <a:pt x="560" y="3336"/>
                  </a:lnTo>
                  <a:lnTo>
                    <a:pt x="567" y="3335"/>
                  </a:lnTo>
                  <a:lnTo>
                    <a:pt x="574" y="3336"/>
                  </a:lnTo>
                  <a:lnTo>
                    <a:pt x="581" y="3340"/>
                  </a:lnTo>
                  <a:lnTo>
                    <a:pt x="586" y="3346"/>
                  </a:lnTo>
                  <a:lnTo>
                    <a:pt x="587" y="3354"/>
                  </a:lnTo>
                  <a:close/>
                  <a:moveTo>
                    <a:pt x="850" y="3354"/>
                  </a:moveTo>
                  <a:lnTo>
                    <a:pt x="850" y="3466"/>
                  </a:lnTo>
                  <a:lnTo>
                    <a:pt x="849" y="3475"/>
                  </a:lnTo>
                  <a:lnTo>
                    <a:pt x="844" y="3482"/>
                  </a:lnTo>
                  <a:lnTo>
                    <a:pt x="837" y="3485"/>
                  </a:lnTo>
                  <a:lnTo>
                    <a:pt x="831" y="3487"/>
                  </a:lnTo>
                  <a:lnTo>
                    <a:pt x="823" y="3485"/>
                  </a:lnTo>
                  <a:lnTo>
                    <a:pt x="817" y="3482"/>
                  </a:lnTo>
                  <a:lnTo>
                    <a:pt x="812" y="3475"/>
                  </a:lnTo>
                  <a:lnTo>
                    <a:pt x="810" y="3466"/>
                  </a:lnTo>
                  <a:lnTo>
                    <a:pt x="810" y="3354"/>
                  </a:lnTo>
                  <a:lnTo>
                    <a:pt x="812" y="3346"/>
                  </a:lnTo>
                  <a:lnTo>
                    <a:pt x="817" y="3340"/>
                  </a:lnTo>
                  <a:lnTo>
                    <a:pt x="823" y="3336"/>
                  </a:lnTo>
                  <a:lnTo>
                    <a:pt x="831" y="3335"/>
                  </a:lnTo>
                  <a:lnTo>
                    <a:pt x="837" y="3336"/>
                  </a:lnTo>
                  <a:lnTo>
                    <a:pt x="844" y="3340"/>
                  </a:lnTo>
                  <a:lnTo>
                    <a:pt x="849" y="3346"/>
                  </a:lnTo>
                  <a:lnTo>
                    <a:pt x="850" y="3354"/>
                  </a:lnTo>
                  <a:close/>
                  <a:moveTo>
                    <a:pt x="1113" y="3354"/>
                  </a:moveTo>
                  <a:lnTo>
                    <a:pt x="1113" y="3466"/>
                  </a:lnTo>
                  <a:lnTo>
                    <a:pt x="1112" y="3475"/>
                  </a:lnTo>
                  <a:lnTo>
                    <a:pt x="1107" y="3482"/>
                  </a:lnTo>
                  <a:lnTo>
                    <a:pt x="1100" y="3485"/>
                  </a:lnTo>
                  <a:lnTo>
                    <a:pt x="1094" y="3487"/>
                  </a:lnTo>
                  <a:lnTo>
                    <a:pt x="1086" y="3485"/>
                  </a:lnTo>
                  <a:lnTo>
                    <a:pt x="1080" y="3482"/>
                  </a:lnTo>
                  <a:lnTo>
                    <a:pt x="1076" y="3475"/>
                  </a:lnTo>
                  <a:lnTo>
                    <a:pt x="1073" y="3466"/>
                  </a:lnTo>
                  <a:lnTo>
                    <a:pt x="1073" y="3354"/>
                  </a:lnTo>
                  <a:lnTo>
                    <a:pt x="1076" y="3346"/>
                  </a:lnTo>
                  <a:lnTo>
                    <a:pt x="1080" y="3340"/>
                  </a:lnTo>
                  <a:lnTo>
                    <a:pt x="1086" y="3336"/>
                  </a:lnTo>
                  <a:lnTo>
                    <a:pt x="1094" y="3335"/>
                  </a:lnTo>
                  <a:lnTo>
                    <a:pt x="1100" y="3336"/>
                  </a:lnTo>
                  <a:lnTo>
                    <a:pt x="1107" y="3340"/>
                  </a:lnTo>
                  <a:lnTo>
                    <a:pt x="1112" y="3346"/>
                  </a:lnTo>
                  <a:lnTo>
                    <a:pt x="1113" y="3354"/>
                  </a:lnTo>
                  <a:close/>
                  <a:moveTo>
                    <a:pt x="1377" y="3354"/>
                  </a:moveTo>
                  <a:lnTo>
                    <a:pt x="1377" y="3466"/>
                  </a:lnTo>
                  <a:lnTo>
                    <a:pt x="1375" y="3475"/>
                  </a:lnTo>
                  <a:lnTo>
                    <a:pt x="1371" y="3482"/>
                  </a:lnTo>
                  <a:lnTo>
                    <a:pt x="1364" y="3485"/>
                  </a:lnTo>
                  <a:lnTo>
                    <a:pt x="1357" y="3487"/>
                  </a:lnTo>
                  <a:lnTo>
                    <a:pt x="1349" y="3485"/>
                  </a:lnTo>
                  <a:lnTo>
                    <a:pt x="1343" y="3482"/>
                  </a:lnTo>
                  <a:lnTo>
                    <a:pt x="1339" y="3475"/>
                  </a:lnTo>
                  <a:lnTo>
                    <a:pt x="1336" y="3466"/>
                  </a:lnTo>
                  <a:lnTo>
                    <a:pt x="1336" y="3354"/>
                  </a:lnTo>
                  <a:lnTo>
                    <a:pt x="1339" y="3346"/>
                  </a:lnTo>
                  <a:lnTo>
                    <a:pt x="1343" y="3340"/>
                  </a:lnTo>
                  <a:lnTo>
                    <a:pt x="1349" y="3336"/>
                  </a:lnTo>
                  <a:lnTo>
                    <a:pt x="1357" y="3335"/>
                  </a:lnTo>
                  <a:lnTo>
                    <a:pt x="1364" y="3336"/>
                  </a:lnTo>
                  <a:lnTo>
                    <a:pt x="1371" y="3340"/>
                  </a:lnTo>
                  <a:lnTo>
                    <a:pt x="1375" y="3346"/>
                  </a:lnTo>
                  <a:lnTo>
                    <a:pt x="1377" y="3354"/>
                  </a:lnTo>
                  <a:close/>
                  <a:moveTo>
                    <a:pt x="1640" y="3354"/>
                  </a:moveTo>
                  <a:lnTo>
                    <a:pt x="1640" y="3466"/>
                  </a:lnTo>
                  <a:lnTo>
                    <a:pt x="1637" y="3475"/>
                  </a:lnTo>
                  <a:lnTo>
                    <a:pt x="1634" y="3482"/>
                  </a:lnTo>
                  <a:lnTo>
                    <a:pt x="1627" y="3485"/>
                  </a:lnTo>
                  <a:lnTo>
                    <a:pt x="1620" y="3487"/>
                  </a:lnTo>
                  <a:lnTo>
                    <a:pt x="1612" y="3485"/>
                  </a:lnTo>
                  <a:lnTo>
                    <a:pt x="1605" y="3482"/>
                  </a:lnTo>
                  <a:lnTo>
                    <a:pt x="1602" y="3475"/>
                  </a:lnTo>
                  <a:lnTo>
                    <a:pt x="1600" y="3466"/>
                  </a:lnTo>
                  <a:lnTo>
                    <a:pt x="1600" y="3354"/>
                  </a:lnTo>
                  <a:lnTo>
                    <a:pt x="1602" y="3346"/>
                  </a:lnTo>
                  <a:lnTo>
                    <a:pt x="1605" y="3340"/>
                  </a:lnTo>
                  <a:lnTo>
                    <a:pt x="1612" y="3336"/>
                  </a:lnTo>
                  <a:lnTo>
                    <a:pt x="1620" y="3335"/>
                  </a:lnTo>
                  <a:lnTo>
                    <a:pt x="1627" y="3336"/>
                  </a:lnTo>
                  <a:lnTo>
                    <a:pt x="1634" y="3340"/>
                  </a:lnTo>
                  <a:lnTo>
                    <a:pt x="1637" y="3346"/>
                  </a:lnTo>
                  <a:lnTo>
                    <a:pt x="1640" y="3354"/>
                  </a:lnTo>
                  <a:close/>
                  <a:moveTo>
                    <a:pt x="1903" y="3354"/>
                  </a:moveTo>
                  <a:lnTo>
                    <a:pt x="1903" y="3466"/>
                  </a:lnTo>
                  <a:lnTo>
                    <a:pt x="1902" y="3475"/>
                  </a:lnTo>
                  <a:lnTo>
                    <a:pt x="1896" y="3482"/>
                  </a:lnTo>
                  <a:lnTo>
                    <a:pt x="1890" y="3485"/>
                  </a:lnTo>
                  <a:lnTo>
                    <a:pt x="1882" y="3487"/>
                  </a:lnTo>
                  <a:lnTo>
                    <a:pt x="1876" y="3485"/>
                  </a:lnTo>
                  <a:lnTo>
                    <a:pt x="1870" y="3482"/>
                  </a:lnTo>
                  <a:lnTo>
                    <a:pt x="1864" y="3475"/>
                  </a:lnTo>
                  <a:lnTo>
                    <a:pt x="1863" y="3466"/>
                  </a:lnTo>
                  <a:lnTo>
                    <a:pt x="1863" y="3354"/>
                  </a:lnTo>
                  <a:lnTo>
                    <a:pt x="1864" y="3346"/>
                  </a:lnTo>
                  <a:lnTo>
                    <a:pt x="1870" y="3340"/>
                  </a:lnTo>
                  <a:lnTo>
                    <a:pt x="1876" y="3336"/>
                  </a:lnTo>
                  <a:lnTo>
                    <a:pt x="1882" y="3335"/>
                  </a:lnTo>
                  <a:lnTo>
                    <a:pt x="1890" y="3336"/>
                  </a:lnTo>
                  <a:lnTo>
                    <a:pt x="1896" y="3340"/>
                  </a:lnTo>
                  <a:lnTo>
                    <a:pt x="1902" y="3346"/>
                  </a:lnTo>
                  <a:lnTo>
                    <a:pt x="1903" y="3354"/>
                  </a:lnTo>
                  <a:close/>
                  <a:moveTo>
                    <a:pt x="587" y="3589"/>
                  </a:moveTo>
                  <a:lnTo>
                    <a:pt x="587" y="3702"/>
                  </a:lnTo>
                  <a:lnTo>
                    <a:pt x="586" y="3710"/>
                  </a:lnTo>
                  <a:lnTo>
                    <a:pt x="581" y="3717"/>
                  </a:lnTo>
                  <a:lnTo>
                    <a:pt x="574" y="3721"/>
                  </a:lnTo>
                  <a:lnTo>
                    <a:pt x="567" y="3722"/>
                  </a:lnTo>
                  <a:lnTo>
                    <a:pt x="560" y="3721"/>
                  </a:lnTo>
                  <a:lnTo>
                    <a:pt x="554" y="3717"/>
                  </a:lnTo>
                  <a:lnTo>
                    <a:pt x="549" y="3710"/>
                  </a:lnTo>
                  <a:lnTo>
                    <a:pt x="548" y="3702"/>
                  </a:lnTo>
                  <a:lnTo>
                    <a:pt x="548" y="3589"/>
                  </a:lnTo>
                  <a:lnTo>
                    <a:pt x="549" y="3581"/>
                  </a:lnTo>
                  <a:lnTo>
                    <a:pt x="554" y="3575"/>
                  </a:lnTo>
                  <a:lnTo>
                    <a:pt x="560" y="3571"/>
                  </a:lnTo>
                  <a:lnTo>
                    <a:pt x="567" y="3570"/>
                  </a:lnTo>
                  <a:lnTo>
                    <a:pt x="574" y="3571"/>
                  </a:lnTo>
                  <a:lnTo>
                    <a:pt x="581" y="3575"/>
                  </a:lnTo>
                  <a:lnTo>
                    <a:pt x="586" y="3581"/>
                  </a:lnTo>
                  <a:lnTo>
                    <a:pt x="587" y="3589"/>
                  </a:lnTo>
                  <a:close/>
                  <a:moveTo>
                    <a:pt x="850" y="3589"/>
                  </a:moveTo>
                  <a:lnTo>
                    <a:pt x="850" y="3702"/>
                  </a:lnTo>
                  <a:lnTo>
                    <a:pt x="849" y="3710"/>
                  </a:lnTo>
                  <a:lnTo>
                    <a:pt x="844" y="3717"/>
                  </a:lnTo>
                  <a:lnTo>
                    <a:pt x="837" y="3721"/>
                  </a:lnTo>
                  <a:lnTo>
                    <a:pt x="831" y="3722"/>
                  </a:lnTo>
                  <a:lnTo>
                    <a:pt x="823" y="3721"/>
                  </a:lnTo>
                  <a:lnTo>
                    <a:pt x="817" y="3717"/>
                  </a:lnTo>
                  <a:lnTo>
                    <a:pt x="812" y="3710"/>
                  </a:lnTo>
                  <a:lnTo>
                    <a:pt x="810" y="3702"/>
                  </a:lnTo>
                  <a:lnTo>
                    <a:pt x="810" y="3589"/>
                  </a:lnTo>
                  <a:lnTo>
                    <a:pt x="812" y="3581"/>
                  </a:lnTo>
                  <a:lnTo>
                    <a:pt x="817" y="3575"/>
                  </a:lnTo>
                  <a:lnTo>
                    <a:pt x="823" y="3571"/>
                  </a:lnTo>
                  <a:lnTo>
                    <a:pt x="831" y="3570"/>
                  </a:lnTo>
                  <a:lnTo>
                    <a:pt x="837" y="3571"/>
                  </a:lnTo>
                  <a:lnTo>
                    <a:pt x="844" y="3575"/>
                  </a:lnTo>
                  <a:lnTo>
                    <a:pt x="849" y="3581"/>
                  </a:lnTo>
                  <a:lnTo>
                    <a:pt x="850" y="3589"/>
                  </a:lnTo>
                  <a:close/>
                  <a:moveTo>
                    <a:pt x="1113" y="3589"/>
                  </a:moveTo>
                  <a:lnTo>
                    <a:pt x="1113" y="3702"/>
                  </a:lnTo>
                  <a:lnTo>
                    <a:pt x="1112" y="3710"/>
                  </a:lnTo>
                  <a:lnTo>
                    <a:pt x="1107" y="3717"/>
                  </a:lnTo>
                  <a:lnTo>
                    <a:pt x="1100" y="3721"/>
                  </a:lnTo>
                  <a:lnTo>
                    <a:pt x="1094" y="3722"/>
                  </a:lnTo>
                  <a:lnTo>
                    <a:pt x="1086" y="3721"/>
                  </a:lnTo>
                  <a:lnTo>
                    <a:pt x="1080" y="3717"/>
                  </a:lnTo>
                  <a:lnTo>
                    <a:pt x="1076" y="3710"/>
                  </a:lnTo>
                  <a:lnTo>
                    <a:pt x="1073" y="3702"/>
                  </a:lnTo>
                  <a:lnTo>
                    <a:pt x="1073" y="3589"/>
                  </a:lnTo>
                  <a:lnTo>
                    <a:pt x="1076" y="3581"/>
                  </a:lnTo>
                  <a:lnTo>
                    <a:pt x="1080" y="3575"/>
                  </a:lnTo>
                  <a:lnTo>
                    <a:pt x="1086" y="3571"/>
                  </a:lnTo>
                  <a:lnTo>
                    <a:pt x="1094" y="3570"/>
                  </a:lnTo>
                  <a:lnTo>
                    <a:pt x="1100" y="3571"/>
                  </a:lnTo>
                  <a:lnTo>
                    <a:pt x="1107" y="3575"/>
                  </a:lnTo>
                  <a:lnTo>
                    <a:pt x="1112" y="3581"/>
                  </a:lnTo>
                  <a:lnTo>
                    <a:pt x="1113" y="3589"/>
                  </a:lnTo>
                  <a:close/>
                  <a:moveTo>
                    <a:pt x="1377" y="3589"/>
                  </a:moveTo>
                  <a:lnTo>
                    <a:pt x="1377" y="3702"/>
                  </a:lnTo>
                  <a:lnTo>
                    <a:pt x="1375" y="3710"/>
                  </a:lnTo>
                  <a:lnTo>
                    <a:pt x="1371" y="3717"/>
                  </a:lnTo>
                  <a:lnTo>
                    <a:pt x="1364" y="3721"/>
                  </a:lnTo>
                  <a:lnTo>
                    <a:pt x="1357" y="3722"/>
                  </a:lnTo>
                  <a:lnTo>
                    <a:pt x="1349" y="3721"/>
                  </a:lnTo>
                  <a:lnTo>
                    <a:pt x="1343" y="3717"/>
                  </a:lnTo>
                  <a:lnTo>
                    <a:pt x="1339" y="3710"/>
                  </a:lnTo>
                  <a:lnTo>
                    <a:pt x="1336" y="3702"/>
                  </a:lnTo>
                  <a:lnTo>
                    <a:pt x="1336" y="3589"/>
                  </a:lnTo>
                  <a:lnTo>
                    <a:pt x="1339" y="3581"/>
                  </a:lnTo>
                  <a:lnTo>
                    <a:pt x="1343" y="3575"/>
                  </a:lnTo>
                  <a:lnTo>
                    <a:pt x="1349" y="3571"/>
                  </a:lnTo>
                  <a:lnTo>
                    <a:pt x="1357" y="3570"/>
                  </a:lnTo>
                  <a:lnTo>
                    <a:pt x="1364" y="3571"/>
                  </a:lnTo>
                  <a:lnTo>
                    <a:pt x="1371" y="3575"/>
                  </a:lnTo>
                  <a:lnTo>
                    <a:pt x="1375" y="3581"/>
                  </a:lnTo>
                  <a:lnTo>
                    <a:pt x="1377" y="3589"/>
                  </a:lnTo>
                  <a:close/>
                  <a:moveTo>
                    <a:pt x="1640" y="3589"/>
                  </a:moveTo>
                  <a:lnTo>
                    <a:pt x="1640" y="3702"/>
                  </a:lnTo>
                  <a:lnTo>
                    <a:pt x="1637" y="3710"/>
                  </a:lnTo>
                  <a:lnTo>
                    <a:pt x="1634" y="3717"/>
                  </a:lnTo>
                  <a:lnTo>
                    <a:pt x="1627" y="3721"/>
                  </a:lnTo>
                  <a:lnTo>
                    <a:pt x="1620" y="3722"/>
                  </a:lnTo>
                  <a:lnTo>
                    <a:pt x="1612" y="3721"/>
                  </a:lnTo>
                  <a:lnTo>
                    <a:pt x="1605" y="3717"/>
                  </a:lnTo>
                  <a:lnTo>
                    <a:pt x="1602" y="3710"/>
                  </a:lnTo>
                  <a:lnTo>
                    <a:pt x="1600" y="3702"/>
                  </a:lnTo>
                  <a:lnTo>
                    <a:pt x="1600" y="3589"/>
                  </a:lnTo>
                  <a:lnTo>
                    <a:pt x="1602" y="3581"/>
                  </a:lnTo>
                  <a:lnTo>
                    <a:pt x="1605" y="3575"/>
                  </a:lnTo>
                  <a:lnTo>
                    <a:pt x="1612" y="3571"/>
                  </a:lnTo>
                  <a:lnTo>
                    <a:pt x="1620" y="3570"/>
                  </a:lnTo>
                  <a:lnTo>
                    <a:pt x="1627" y="3571"/>
                  </a:lnTo>
                  <a:lnTo>
                    <a:pt x="1634" y="3575"/>
                  </a:lnTo>
                  <a:lnTo>
                    <a:pt x="1637" y="3581"/>
                  </a:lnTo>
                  <a:lnTo>
                    <a:pt x="1640" y="3589"/>
                  </a:lnTo>
                  <a:close/>
                  <a:moveTo>
                    <a:pt x="1903" y="3589"/>
                  </a:moveTo>
                  <a:lnTo>
                    <a:pt x="1903" y="3702"/>
                  </a:lnTo>
                  <a:lnTo>
                    <a:pt x="1902" y="3710"/>
                  </a:lnTo>
                  <a:lnTo>
                    <a:pt x="1896" y="3717"/>
                  </a:lnTo>
                  <a:lnTo>
                    <a:pt x="1890" y="3721"/>
                  </a:lnTo>
                  <a:lnTo>
                    <a:pt x="1882" y="3722"/>
                  </a:lnTo>
                  <a:lnTo>
                    <a:pt x="1876" y="3721"/>
                  </a:lnTo>
                  <a:lnTo>
                    <a:pt x="1870" y="3717"/>
                  </a:lnTo>
                  <a:lnTo>
                    <a:pt x="1864" y="3710"/>
                  </a:lnTo>
                  <a:lnTo>
                    <a:pt x="1863" y="3702"/>
                  </a:lnTo>
                  <a:lnTo>
                    <a:pt x="1863" y="3589"/>
                  </a:lnTo>
                  <a:lnTo>
                    <a:pt x="1864" y="3581"/>
                  </a:lnTo>
                  <a:lnTo>
                    <a:pt x="1870" y="3575"/>
                  </a:lnTo>
                  <a:lnTo>
                    <a:pt x="1876" y="3571"/>
                  </a:lnTo>
                  <a:lnTo>
                    <a:pt x="1882" y="3570"/>
                  </a:lnTo>
                  <a:lnTo>
                    <a:pt x="1890" y="3571"/>
                  </a:lnTo>
                  <a:lnTo>
                    <a:pt x="1896" y="3575"/>
                  </a:lnTo>
                  <a:lnTo>
                    <a:pt x="1902" y="3581"/>
                  </a:lnTo>
                  <a:lnTo>
                    <a:pt x="1903" y="3589"/>
                  </a:lnTo>
                  <a:close/>
                  <a:moveTo>
                    <a:pt x="587" y="3824"/>
                  </a:moveTo>
                  <a:lnTo>
                    <a:pt x="587" y="3937"/>
                  </a:lnTo>
                  <a:lnTo>
                    <a:pt x="586" y="3946"/>
                  </a:lnTo>
                  <a:lnTo>
                    <a:pt x="581" y="3952"/>
                  </a:lnTo>
                  <a:lnTo>
                    <a:pt x="574" y="3956"/>
                  </a:lnTo>
                  <a:lnTo>
                    <a:pt x="567" y="3957"/>
                  </a:lnTo>
                  <a:lnTo>
                    <a:pt x="560" y="3956"/>
                  </a:lnTo>
                  <a:lnTo>
                    <a:pt x="554" y="3952"/>
                  </a:lnTo>
                  <a:lnTo>
                    <a:pt x="549" y="3946"/>
                  </a:lnTo>
                  <a:lnTo>
                    <a:pt x="548" y="3937"/>
                  </a:lnTo>
                  <a:lnTo>
                    <a:pt x="548" y="3824"/>
                  </a:lnTo>
                  <a:lnTo>
                    <a:pt x="549" y="3817"/>
                  </a:lnTo>
                  <a:lnTo>
                    <a:pt x="554" y="3810"/>
                  </a:lnTo>
                  <a:lnTo>
                    <a:pt x="560" y="3806"/>
                  </a:lnTo>
                  <a:lnTo>
                    <a:pt x="567" y="3805"/>
                  </a:lnTo>
                  <a:lnTo>
                    <a:pt x="574" y="3806"/>
                  </a:lnTo>
                  <a:lnTo>
                    <a:pt x="581" y="3810"/>
                  </a:lnTo>
                  <a:lnTo>
                    <a:pt x="586" y="3817"/>
                  </a:lnTo>
                  <a:lnTo>
                    <a:pt x="587" y="3824"/>
                  </a:lnTo>
                  <a:close/>
                  <a:moveTo>
                    <a:pt x="850" y="3824"/>
                  </a:moveTo>
                  <a:lnTo>
                    <a:pt x="850" y="3937"/>
                  </a:lnTo>
                  <a:lnTo>
                    <a:pt x="849" y="3946"/>
                  </a:lnTo>
                  <a:lnTo>
                    <a:pt x="844" y="3952"/>
                  </a:lnTo>
                  <a:lnTo>
                    <a:pt x="837" y="3956"/>
                  </a:lnTo>
                  <a:lnTo>
                    <a:pt x="831" y="3957"/>
                  </a:lnTo>
                  <a:lnTo>
                    <a:pt x="823" y="3956"/>
                  </a:lnTo>
                  <a:lnTo>
                    <a:pt x="817" y="3952"/>
                  </a:lnTo>
                  <a:lnTo>
                    <a:pt x="812" y="3946"/>
                  </a:lnTo>
                  <a:lnTo>
                    <a:pt x="810" y="3937"/>
                  </a:lnTo>
                  <a:lnTo>
                    <a:pt x="810" y="3824"/>
                  </a:lnTo>
                  <a:lnTo>
                    <a:pt x="812" y="3817"/>
                  </a:lnTo>
                  <a:lnTo>
                    <a:pt x="817" y="3810"/>
                  </a:lnTo>
                  <a:lnTo>
                    <a:pt x="823" y="3806"/>
                  </a:lnTo>
                  <a:lnTo>
                    <a:pt x="831" y="3805"/>
                  </a:lnTo>
                  <a:lnTo>
                    <a:pt x="837" y="3806"/>
                  </a:lnTo>
                  <a:lnTo>
                    <a:pt x="844" y="3810"/>
                  </a:lnTo>
                  <a:lnTo>
                    <a:pt x="849" y="3817"/>
                  </a:lnTo>
                  <a:lnTo>
                    <a:pt x="850" y="3824"/>
                  </a:lnTo>
                  <a:close/>
                  <a:moveTo>
                    <a:pt x="1113" y="3824"/>
                  </a:moveTo>
                  <a:lnTo>
                    <a:pt x="1113" y="3937"/>
                  </a:lnTo>
                  <a:lnTo>
                    <a:pt x="1112" y="3946"/>
                  </a:lnTo>
                  <a:lnTo>
                    <a:pt x="1107" y="3952"/>
                  </a:lnTo>
                  <a:lnTo>
                    <a:pt x="1100" y="3956"/>
                  </a:lnTo>
                  <a:lnTo>
                    <a:pt x="1094" y="3957"/>
                  </a:lnTo>
                  <a:lnTo>
                    <a:pt x="1086" y="3956"/>
                  </a:lnTo>
                  <a:lnTo>
                    <a:pt x="1080" y="3952"/>
                  </a:lnTo>
                  <a:lnTo>
                    <a:pt x="1076" y="3946"/>
                  </a:lnTo>
                  <a:lnTo>
                    <a:pt x="1073" y="3937"/>
                  </a:lnTo>
                  <a:lnTo>
                    <a:pt x="1073" y="3824"/>
                  </a:lnTo>
                  <a:lnTo>
                    <a:pt x="1076" y="3817"/>
                  </a:lnTo>
                  <a:lnTo>
                    <a:pt x="1080" y="3810"/>
                  </a:lnTo>
                  <a:lnTo>
                    <a:pt x="1086" y="3806"/>
                  </a:lnTo>
                  <a:lnTo>
                    <a:pt x="1094" y="3805"/>
                  </a:lnTo>
                  <a:lnTo>
                    <a:pt x="1100" y="3806"/>
                  </a:lnTo>
                  <a:lnTo>
                    <a:pt x="1107" y="3810"/>
                  </a:lnTo>
                  <a:lnTo>
                    <a:pt x="1112" y="3817"/>
                  </a:lnTo>
                  <a:lnTo>
                    <a:pt x="1113" y="3824"/>
                  </a:lnTo>
                  <a:close/>
                  <a:moveTo>
                    <a:pt x="1377" y="3824"/>
                  </a:moveTo>
                  <a:lnTo>
                    <a:pt x="1377" y="3937"/>
                  </a:lnTo>
                  <a:lnTo>
                    <a:pt x="1375" y="3946"/>
                  </a:lnTo>
                  <a:lnTo>
                    <a:pt x="1371" y="3952"/>
                  </a:lnTo>
                  <a:lnTo>
                    <a:pt x="1364" y="3956"/>
                  </a:lnTo>
                  <a:lnTo>
                    <a:pt x="1357" y="3957"/>
                  </a:lnTo>
                  <a:lnTo>
                    <a:pt x="1349" y="3956"/>
                  </a:lnTo>
                  <a:lnTo>
                    <a:pt x="1343" y="3952"/>
                  </a:lnTo>
                  <a:lnTo>
                    <a:pt x="1339" y="3946"/>
                  </a:lnTo>
                  <a:lnTo>
                    <a:pt x="1336" y="3937"/>
                  </a:lnTo>
                  <a:lnTo>
                    <a:pt x="1336" y="3824"/>
                  </a:lnTo>
                  <a:lnTo>
                    <a:pt x="1339" y="3817"/>
                  </a:lnTo>
                  <a:lnTo>
                    <a:pt x="1343" y="3810"/>
                  </a:lnTo>
                  <a:lnTo>
                    <a:pt x="1349" y="3806"/>
                  </a:lnTo>
                  <a:lnTo>
                    <a:pt x="1357" y="3805"/>
                  </a:lnTo>
                  <a:lnTo>
                    <a:pt x="1364" y="3806"/>
                  </a:lnTo>
                  <a:lnTo>
                    <a:pt x="1371" y="3810"/>
                  </a:lnTo>
                  <a:lnTo>
                    <a:pt x="1375" y="3817"/>
                  </a:lnTo>
                  <a:lnTo>
                    <a:pt x="1377" y="3824"/>
                  </a:lnTo>
                  <a:close/>
                  <a:moveTo>
                    <a:pt x="1640" y="3824"/>
                  </a:moveTo>
                  <a:lnTo>
                    <a:pt x="1640" y="3937"/>
                  </a:lnTo>
                  <a:lnTo>
                    <a:pt x="1637" y="3946"/>
                  </a:lnTo>
                  <a:lnTo>
                    <a:pt x="1634" y="3952"/>
                  </a:lnTo>
                  <a:lnTo>
                    <a:pt x="1627" y="3956"/>
                  </a:lnTo>
                  <a:lnTo>
                    <a:pt x="1620" y="3957"/>
                  </a:lnTo>
                  <a:lnTo>
                    <a:pt x="1612" y="3956"/>
                  </a:lnTo>
                  <a:lnTo>
                    <a:pt x="1605" y="3952"/>
                  </a:lnTo>
                  <a:lnTo>
                    <a:pt x="1602" y="3946"/>
                  </a:lnTo>
                  <a:lnTo>
                    <a:pt x="1600" y="3937"/>
                  </a:lnTo>
                  <a:lnTo>
                    <a:pt x="1600" y="3824"/>
                  </a:lnTo>
                  <a:lnTo>
                    <a:pt x="1602" y="3817"/>
                  </a:lnTo>
                  <a:lnTo>
                    <a:pt x="1605" y="3810"/>
                  </a:lnTo>
                  <a:lnTo>
                    <a:pt x="1612" y="3806"/>
                  </a:lnTo>
                  <a:lnTo>
                    <a:pt x="1620" y="3805"/>
                  </a:lnTo>
                  <a:lnTo>
                    <a:pt x="1627" y="3806"/>
                  </a:lnTo>
                  <a:lnTo>
                    <a:pt x="1634" y="3810"/>
                  </a:lnTo>
                  <a:lnTo>
                    <a:pt x="1637" y="3817"/>
                  </a:lnTo>
                  <a:lnTo>
                    <a:pt x="1640" y="3824"/>
                  </a:lnTo>
                  <a:close/>
                  <a:moveTo>
                    <a:pt x="2829" y="4093"/>
                  </a:moveTo>
                  <a:lnTo>
                    <a:pt x="2829" y="4085"/>
                  </a:lnTo>
                  <a:lnTo>
                    <a:pt x="2829" y="4093"/>
                  </a:lnTo>
                  <a:close/>
                  <a:moveTo>
                    <a:pt x="0" y="915"/>
                  </a:moveTo>
                  <a:lnTo>
                    <a:pt x="492" y="915"/>
                  </a:lnTo>
                  <a:lnTo>
                    <a:pt x="500" y="917"/>
                  </a:lnTo>
                  <a:lnTo>
                    <a:pt x="507" y="922"/>
                  </a:lnTo>
                  <a:lnTo>
                    <a:pt x="512" y="928"/>
                  </a:lnTo>
                  <a:lnTo>
                    <a:pt x="513" y="936"/>
                  </a:lnTo>
                  <a:lnTo>
                    <a:pt x="513" y="1633"/>
                  </a:lnTo>
                  <a:lnTo>
                    <a:pt x="513" y="2329"/>
                  </a:lnTo>
                  <a:lnTo>
                    <a:pt x="512" y="2338"/>
                  </a:lnTo>
                  <a:lnTo>
                    <a:pt x="507" y="2345"/>
                  </a:lnTo>
                  <a:lnTo>
                    <a:pt x="500" y="2349"/>
                  </a:lnTo>
                  <a:lnTo>
                    <a:pt x="492" y="2350"/>
                  </a:lnTo>
                  <a:lnTo>
                    <a:pt x="486" y="2349"/>
                  </a:lnTo>
                  <a:lnTo>
                    <a:pt x="480" y="2345"/>
                  </a:lnTo>
                  <a:lnTo>
                    <a:pt x="474" y="2338"/>
                  </a:lnTo>
                  <a:lnTo>
                    <a:pt x="473" y="2329"/>
                  </a:lnTo>
                  <a:lnTo>
                    <a:pt x="473" y="1642"/>
                  </a:lnTo>
                  <a:lnTo>
                    <a:pt x="473" y="955"/>
                  </a:lnTo>
                  <a:lnTo>
                    <a:pt x="0" y="955"/>
                  </a:lnTo>
                  <a:lnTo>
                    <a:pt x="0" y="915"/>
                  </a:lnTo>
                  <a:close/>
                  <a:moveTo>
                    <a:pt x="190" y="1345"/>
                  </a:moveTo>
                  <a:lnTo>
                    <a:pt x="190" y="1450"/>
                  </a:lnTo>
                  <a:lnTo>
                    <a:pt x="188" y="1457"/>
                  </a:lnTo>
                  <a:lnTo>
                    <a:pt x="183" y="1464"/>
                  </a:lnTo>
                  <a:lnTo>
                    <a:pt x="177" y="1468"/>
                  </a:lnTo>
                  <a:lnTo>
                    <a:pt x="171" y="1469"/>
                  </a:lnTo>
                  <a:lnTo>
                    <a:pt x="163" y="1468"/>
                  </a:lnTo>
                  <a:lnTo>
                    <a:pt x="156" y="1464"/>
                  </a:lnTo>
                  <a:lnTo>
                    <a:pt x="151" y="1457"/>
                  </a:lnTo>
                  <a:lnTo>
                    <a:pt x="150" y="1450"/>
                  </a:lnTo>
                  <a:lnTo>
                    <a:pt x="150" y="1345"/>
                  </a:lnTo>
                  <a:lnTo>
                    <a:pt x="151" y="1337"/>
                  </a:lnTo>
                  <a:lnTo>
                    <a:pt x="156" y="1331"/>
                  </a:lnTo>
                  <a:lnTo>
                    <a:pt x="163" y="1327"/>
                  </a:lnTo>
                  <a:lnTo>
                    <a:pt x="171" y="1326"/>
                  </a:lnTo>
                  <a:lnTo>
                    <a:pt x="177" y="1327"/>
                  </a:lnTo>
                  <a:lnTo>
                    <a:pt x="183" y="1331"/>
                  </a:lnTo>
                  <a:lnTo>
                    <a:pt x="188" y="1337"/>
                  </a:lnTo>
                  <a:lnTo>
                    <a:pt x="190" y="1345"/>
                  </a:lnTo>
                  <a:close/>
                  <a:moveTo>
                    <a:pt x="190" y="1576"/>
                  </a:moveTo>
                  <a:lnTo>
                    <a:pt x="190" y="1680"/>
                  </a:lnTo>
                  <a:lnTo>
                    <a:pt x="188" y="1689"/>
                  </a:lnTo>
                  <a:lnTo>
                    <a:pt x="183" y="1695"/>
                  </a:lnTo>
                  <a:lnTo>
                    <a:pt x="177" y="1699"/>
                  </a:lnTo>
                  <a:lnTo>
                    <a:pt x="171" y="1700"/>
                  </a:lnTo>
                  <a:lnTo>
                    <a:pt x="163" y="1699"/>
                  </a:lnTo>
                  <a:lnTo>
                    <a:pt x="156" y="1695"/>
                  </a:lnTo>
                  <a:lnTo>
                    <a:pt x="151" y="1689"/>
                  </a:lnTo>
                  <a:lnTo>
                    <a:pt x="150" y="1680"/>
                  </a:lnTo>
                  <a:lnTo>
                    <a:pt x="150" y="1576"/>
                  </a:lnTo>
                  <a:lnTo>
                    <a:pt x="151" y="1567"/>
                  </a:lnTo>
                  <a:lnTo>
                    <a:pt x="156" y="1561"/>
                  </a:lnTo>
                  <a:lnTo>
                    <a:pt x="163" y="1558"/>
                  </a:lnTo>
                  <a:lnTo>
                    <a:pt x="171" y="1557"/>
                  </a:lnTo>
                  <a:lnTo>
                    <a:pt x="177" y="1558"/>
                  </a:lnTo>
                  <a:lnTo>
                    <a:pt x="183" y="1561"/>
                  </a:lnTo>
                  <a:lnTo>
                    <a:pt x="188" y="1567"/>
                  </a:lnTo>
                  <a:lnTo>
                    <a:pt x="190" y="1576"/>
                  </a:lnTo>
                  <a:close/>
                  <a:moveTo>
                    <a:pt x="190" y="1808"/>
                  </a:moveTo>
                  <a:lnTo>
                    <a:pt x="190" y="1911"/>
                  </a:lnTo>
                  <a:lnTo>
                    <a:pt x="188" y="1920"/>
                  </a:lnTo>
                  <a:lnTo>
                    <a:pt x="183" y="1927"/>
                  </a:lnTo>
                  <a:lnTo>
                    <a:pt x="177" y="1931"/>
                  </a:lnTo>
                  <a:lnTo>
                    <a:pt x="171" y="1932"/>
                  </a:lnTo>
                  <a:lnTo>
                    <a:pt x="163" y="1931"/>
                  </a:lnTo>
                  <a:lnTo>
                    <a:pt x="156" y="1927"/>
                  </a:lnTo>
                  <a:lnTo>
                    <a:pt x="151" y="1920"/>
                  </a:lnTo>
                  <a:lnTo>
                    <a:pt x="150" y="1911"/>
                  </a:lnTo>
                  <a:lnTo>
                    <a:pt x="150" y="1808"/>
                  </a:lnTo>
                  <a:lnTo>
                    <a:pt x="151" y="1799"/>
                  </a:lnTo>
                  <a:lnTo>
                    <a:pt x="156" y="1792"/>
                  </a:lnTo>
                  <a:lnTo>
                    <a:pt x="163" y="1789"/>
                  </a:lnTo>
                  <a:lnTo>
                    <a:pt x="171" y="1787"/>
                  </a:lnTo>
                  <a:lnTo>
                    <a:pt x="177" y="1789"/>
                  </a:lnTo>
                  <a:lnTo>
                    <a:pt x="183" y="1792"/>
                  </a:lnTo>
                  <a:lnTo>
                    <a:pt x="188" y="1799"/>
                  </a:lnTo>
                  <a:lnTo>
                    <a:pt x="190" y="1808"/>
                  </a:lnTo>
                  <a:close/>
                  <a:moveTo>
                    <a:pt x="190" y="2039"/>
                  </a:moveTo>
                  <a:lnTo>
                    <a:pt x="190" y="2143"/>
                  </a:lnTo>
                  <a:lnTo>
                    <a:pt x="188" y="2150"/>
                  </a:lnTo>
                  <a:lnTo>
                    <a:pt x="183" y="2157"/>
                  </a:lnTo>
                  <a:lnTo>
                    <a:pt x="177" y="2161"/>
                  </a:lnTo>
                  <a:lnTo>
                    <a:pt x="171" y="2162"/>
                  </a:lnTo>
                  <a:lnTo>
                    <a:pt x="163" y="2161"/>
                  </a:lnTo>
                  <a:lnTo>
                    <a:pt x="156" y="2157"/>
                  </a:lnTo>
                  <a:lnTo>
                    <a:pt x="151" y="2150"/>
                  </a:lnTo>
                  <a:lnTo>
                    <a:pt x="150" y="2143"/>
                  </a:lnTo>
                  <a:lnTo>
                    <a:pt x="150" y="2039"/>
                  </a:lnTo>
                  <a:lnTo>
                    <a:pt x="151" y="2030"/>
                  </a:lnTo>
                  <a:lnTo>
                    <a:pt x="156" y="2024"/>
                  </a:lnTo>
                  <a:lnTo>
                    <a:pt x="163" y="2020"/>
                  </a:lnTo>
                  <a:lnTo>
                    <a:pt x="171" y="2019"/>
                  </a:lnTo>
                  <a:lnTo>
                    <a:pt x="177" y="2020"/>
                  </a:lnTo>
                  <a:lnTo>
                    <a:pt x="183" y="2024"/>
                  </a:lnTo>
                  <a:lnTo>
                    <a:pt x="188" y="2030"/>
                  </a:lnTo>
                  <a:lnTo>
                    <a:pt x="190" y="2039"/>
                  </a:lnTo>
                  <a:close/>
                  <a:moveTo>
                    <a:pt x="190" y="2269"/>
                  </a:moveTo>
                  <a:lnTo>
                    <a:pt x="190" y="2373"/>
                  </a:lnTo>
                  <a:lnTo>
                    <a:pt x="188" y="2382"/>
                  </a:lnTo>
                  <a:lnTo>
                    <a:pt x="183" y="2388"/>
                  </a:lnTo>
                  <a:lnTo>
                    <a:pt x="177" y="2392"/>
                  </a:lnTo>
                  <a:lnTo>
                    <a:pt x="171" y="2393"/>
                  </a:lnTo>
                  <a:lnTo>
                    <a:pt x="163" y="2392"/>
                  </a:lnTo>
                  <a:lnTo>
                    <a:pt x="156" y="2388"/>
                  </a:lnTo>
                  <a:lnTo>
                    <a:pt x="151" y="2382"/>
                  </a:lnTo>
                  <a:lnTo>
                    <a:pt x="150" y="2373"/>
                  </a:lnTo>
                  <a:lnTo>
                    <a:pt x="150" y="2269"/>
                  </a:lnTo>
                  <a:lnTo>
                    <a:pt x="151" y="2260"/>
                  </a:lnTo>
                  <a:lnTo>
                    <a:pt x="156" y="2255"/>
                  </a:lnTo>
                  <a:lnTo>
                    <a:pt x="163" y="2251"/>
                  </a:lnTo>
                  <a:lnTo>
                    <a:pt x="171" y="2250"/>
                  </a:lnTo>
                  <a:lnTo>
                    <a:pt x="177" y="2251"/>
                  </a:lnTo>
                  <a:lnTo>
                    <a:pt x="183" y="2255"/>
                  </a:lnTo>
                  <a:lnTo>
                    <a:pt x="188" y="2260"/>
                  </a:lnTo>
                  <a:lnTo>
                    <a:pt x="190" y="2269"/>
                  </a:lnTo>
                  <a:close/>
                  <a:moveTo>
                    <a:pt x="190" y="2501"/>
                  </a:moveTo>
                  <a:lnTo>
                    <a:pt x="190" y="2604"/>
                  </a:lnTo>
                  <a:lnTo>
                    <a:pt x="188" y="2613"/>
                  </a:lnTo>
                  <a:lnTo>
                    <a:pt x="183" y="2620"/>
                  </a:lnTo>
                  <a:lnTo>
                    <a:pt x="177" y="2624"/>
                  </a:lnTo>
                  <a:lnTo>
                    <a:pt x="171" y="2625"/>
                  </a:lnTo>
                  <a:lnTo>
                    <a:pt x="163" y="2624"/>
                  </a:lnTo>
                  <a:lnTo>
                    <a:pt x="156" y="2620"/>
                  </a:lnTo>
                  <a:lnTo>
                    <a:pt x="151" y="2613"/>
                  </a:lnTo>
                  <a:lnTo>
                    <a:pt x="150" y="2604"/>
                  </a:lnTo>
                  <a:lnTo>
                    <a:pt x="150" y="2501"/>
                  </a:lnTo>
                  <a:lnTo>
                    <a:pt x="151" y="2492"/>
                  </a:lnTo>
                  <a:lnTo>
                    <a:pt x="156" y="2485"/>
                  </a:lnTo>
                  <a:lnTo>
                    <a:pt x="163" y="2482"/>
                  </a:lnTo>
                  <a:lnTo>
                    <a:pt x="171" y="2480"/>
                  </a:lnTo>
                  <a:lnTo>
                    <a:pt x="177" y="2482"/>
                  </a:lnTo>
                  <a:lnTo>
                    <a:pt x="183" y="2485"/>
                  </a:lnTo>
                  <a:lnTo>
                    <a:pt x="188" y="2492"/>
                  </a:lnTo>
                  <a:lnTo>
                    <a:pt x="190" y="2501"/>
                  </a:lnTo>
                  <a:close/>
                  <a:moveTo>
                    <a:pt x="190" y="2732"/>
                  </a:moveTo>
                  <a:lnTo>
                    <a:pt x="190" y="2836"/>
                  </a:lnTo>
                  <a:lnTo>
                    <a:pt x="188" y="2845"/>
                  </a:lnTo>
                  <a:lnTo>
                    <a:pt x="183" y="2850"/>
                  </a:lnTo>
                  <a:lnTo>
                    <a:pt x="177" y="2854"/>
                  </a:lnTo>
                  <a:lnTo>
                    <a:pt x="171" y="2855"/>
                  </a:lnTo>
                  <a:lnTo>
                    <a:pt x="163" y="2854"/>
                  </a:lnTo>
                  <a:lnTo>
                    <a:pt x="156" y="2850"/>
                  </a:lnTo>
                  <a:lnTo>
                    <a:pt x="151" y="2845"/>
                  </a:lnTo>
                  <a:lnTo>
                    <a:pt x="150" y="2836"/>
                  </a:lnTo>
                  <a:lnTo>
                    <a:pt x="150" y="2732"/>
                  </a:lnTo>
                  <a:lnTo>
                    <a:pt x="151" y="2723"/>
                  </a:lnTo>
                  <a:lnTo>
                    <a:pt x="156" y="2717"/>
                  </a:lnTo>
                  <a:lnTo>
                    <a:pt x="163" y="2713"/>
                  </a:lnTo>
                  <a:lnTo>
                    <a:pt x="171" y="2712"/>
                  </a:lnTo>
                  <a:lnTo>
                    <a:pt x="177" y="2713"/>
                  </a:lnTo>
                  <a:lnTo>
                    <a:pt x="183" y="2717"/>
                  </a:lnTo>
                  <a:lnTo>
                    <a:pt x="188" y="2723"/>
                  </a:lnTo>
                  <a:lnTo>
                    <a:pt x="190" y="2732"/>
                  </a:lnTo>
                  <a:close/>
                  <a:moveTo>
                    <a:pt x="190" y="2962"/>
                  </a:moveTo>
                  <a:lnTo>
                    <a:pt x="190" y="3066"/>
                  </a:lnTo>
                  <a:lnTo>
                    <a:pt x="188" y="3075"/>
                  </a:lnTo>
                  <a:lnTo>
                    <a:pt x="183" y="3081"/>
                  </a:lnTo>
                  <a:lnTo>
                    <a:pt x="177" y="3085"/>
                  </a:lnTo>
                  <a:lnTo>
                    <a:pt x="171" y="3086"/>
                  </a:lnTo>
                  <a:lnTo>
                    <a:pt x="163" y="3085"/>
                  </a:lnTo>
                  <a:lnTo>
                    <a:pt x="156" y="3081"/>
                  </a:lnTo>
                  <a:lnTo>
                    <a:pt x="151" y="3075"/>
                  </a:lnTo>
                  <a:lnTo>
                    <a:pt x="150" y="3066"/>
                  </a:lnTo>
                  <a:lnTo>
                    <a:pt x="150" y="2962"/>
                  </a:lnTo>
                  <a:lnTo>
                    <a:pt x="151" y="2953"/>
                  </a:lnTo>
                  <a:lnTo>
                    <a:pt x="156" y="2948"/>
                  </a:lnTo>
                  <a:lnTo>
                    <a:pt x="163" y="2945"/>
                  </a:lnTo>
                  <a:lnTo>
                    <a:pt x="171" y="2943"/>
                  </a:lnTo>
                  <a:lnTo>
                    <a:pt x="177" y="2945"/>
                  </a:lnTo>
                  <a:lnTo>
                    <a:pt x="183" y="2948"/>
                  </a:lnTo>
                  <a:lnTo>
                    <a:pt x="188" y="2953"/>
                  </a:lnTo>
                  <a:lnTo>
                    <a:pt x="190" y="2962"/>
                  </a:lnTo>
                  <a:close/>
                  <a:moveTo>
                    <a:pt x="2375" y="1897"/>
                  </a:moveTo>
                  <a:lnTo>
                    <a:pt x="2375" y="2001"/>
                  </a:lnTo>
                  <a:lnTo>
                    <a:pt x="2372" y="2010"/>
                  </a:lnTo>
                  <a:lnTo>
                    <a:pt x="2368" y="2016"/>
                  </a:lnTo>
                  <a:lnTo>
                    <a:pt x="2362" y="2020"/>
                  </a:lnTo>
                  <a:lnTo>
                    <a:pt x="2354" y="2021"/>
                  </a:lnTo>
                  <a:lnTo>
                    <a:pt x="2347" y="2020"/>
                  </a:lnTo>
                  <a:lnTo>
                    <a:pt x="2340" y="2016"/>
                  </a:lnTo>
                  <a:lnTo>
                    <a:pt x="2336" y="2010"/>
                  </a:lnTo>
                  <a:lnTo>
                    <a:pt x="2334" y="2001"/>
                  </a:lnTo>
                  <a:lnTo>
                    <a:pt x="2334" y="1897"/>
                  </a:lnTo>
                  <a:lnTo>
                    <a:pt x="2336" y="1888"/>
                  </a:lnTo>
                  <a:lnTo>
                    <a:pt x="2340" y="1882"/>
                  </a:lnTo>
                  <a:lnTo>
                    <a:pt x="2347" y="1878"/>
                  </a:lnTo>
                  <a:lnTo>
                    <a:pt x="2354" y="1877"/>
                  </a:lnTo>
                  <a:lnTo>
                    <a:pt x="2362" y="1878"/>
                  </a:lnTo>
                  <a:lnTo>
                    <a:pt x="2368" y="1882"/>
                  </a:lnTo>
                  <a:lnTo>
                    <a:pt x="2372" y="1888"/>
                  </a:lnTo>
                  <a:lnTo>
                    <a:pt x="2375" y="1897"/>
                  </a:lnTo>
                  <a:close/>
                  <a:moveTo>
                    <a:pt x="2589" y="1897"/>
                  </a:moveTo>
                  <a:lnTo>
                    <a:pt x="2589" y="2001"/>
                  </a:lnTo>
                  <a:lnTo>
                    <a:pt x="2588" y="2010"/>
                  </a:lnTo>
                  <a:lnTo>
                    <a:pt x="2583" y="2016"/>
                  </a:lnTo>
                  <a:lnTo>
                    <a:pt x="2576" y="2020"/>
                  </a:lnTo>
                  <a:lnTo>
                    <a:pt x="2570" y="2021"/>
                  </a:lnTo>
                  <a:lnTo>
                    <a:pt x="2562" y="2020"/>
                  </a:lnTo>
                  <a:lnTo>
                    <a:pt x="2556" y="2016"/>
                  </a:lnTo>
                  <a:lnTo>
                    <a:pt x="2550" y="2010"/>
                  </a:lnTo>
                  <a:lnTo>
                    <a:pt x="2549" y="2001"/>
                  </a:lnTo>
                  <a:lnTo>
                    <a:pt x="2549" y="1897"/>
                  </a:lnTo>
                  <a:lnTo>
                    <a:pt x="2550" y="1888"/>
                  </a:lnTo>
                  <a:lnTo>
                    <a:pt x="2556" y="1882"/>
                  </a:lnTo>
                  <a:lnTo>
                    <a:pt x="2562" y="1878"/>
                  </a:lnTo>
                  <a:lnTo>
                    <a:pt x="2570" y="1877"/>
                  </a:lnTo>
                  <a:lnTo>
                    <a:pt x="2576" y="1878"/>
                  </a:lnTo>
                  <a:lnTo>
                    <a:pt x="2583" y="1882"/>
                  </a:lnTo>
                  <a:lnTo>
                    <a:pt x="2588" y="1888"/>
                  </a:lnTo>
                  <a:lnTo>
                    <a:pt x="2589" y="1897"/>
                  </a:lnTo>
                  <a:close/>
                  <a:moveTo>
                    <a:pt x="2804" y="1897"/>
                  </a:moveTo>
                  <a:lnTo>
                    <a:pt x="2804" y="2001"/>
                  </a:lnTo>
                  <a:lnTo>
                    <a:pt x="2803" y="2010"/>
                  </a:lnTo>
                  <a:lnTo>
                    <a:pt x="2798" y="2016"/>
                  </a:lnTo>
                  <a:lnTo>
                    <a:pt x="2792" y="2020"/>
                  </a:lnTo>
                  <a:lnTo>
                    <a:pt x="2784" y="2021"/>
                  </a:lnTo>
                  <a:lnTo>
                    <a:pt x="2777" y="2020"/>
                  </a:lnTo>
                  <a:lnTo>
                    <a:pt x="2771" y="2016"/>
                  </a:lnTo>
                  <a:lnTo>
                    <a:pt x="2766" y="2010"/>
                  </a:lnTo>
                  <a:lnTo>
                    <a:pt x="2765" y="2001"/>
                  </a:lnTo>
                  <a:lnTo>
                    <a:pt x="2765" y="1897"/>
                  </a:lnTo>
                  <a:lnTo>
                    <a:pt x="2766" y="1888"/>
                  </a:lnTo>
                  <a:lnTo>
                    <a:pt x="2771" y="1882"/>
                  </a:lnTo>
                  <a:lnTo>
                    <a:pt x="2777" y="1878"/>
                  </a:lnTo>
                  <a:lnTo>
                    <a:pt x="2784" y="1877"/>
                  </a:lnTo>
                  <a:lnTo>
                    <a:pt x="2792" y="1878"/>
                  </a:lnTo>
                  <a:lnTo>
                    <a:pt x="2798" y="1882"/>
                  </a:lnTo>
                  <a:lnTo>
                    <a:pt x="2803" y="1888"/>
                  </a:lnTo>
                  <a:lnTo>
                    <a:pt x="2804" y="1897"/>
                  </a:lnTo>
                  <a:close/>
                  <a:moveTo>
                    <a:pt x="2375" y="2245"/>
                  </a:moveTo>
                  <a:lnTo>
                    <a:pt x="2375" y="2349"/>
                  </a:lnTo>
                  <a:lnTo>
                    <a:pt x="2372" y="2358"/>
                  </a:lnTo>
                  <a:lnTo>
                    <a:pt x="2368" y="2364"/>
                  </a:lnTo>
                  <a:lnTo>
                    <a:pt x="2362" y="2368"/>
                  </a:lnTo>
                  <a:lnTo>
                    <a:pt x="2354" y="2369"/>
                  </a:lnTo>
                  <a:lnTo>
                    <a:pt x="2347" y="2368"/>
                  </a:lnTo>
                  <a:lnTo>
                    <a:pt x="2340" y="2364"/>
                  </a:lnTo>
                  <a:lnTo>
                    <a:pt x="2336" y="2358"/>
                  </a:lnTo>
                  <a:lnTo>
                    <a:pt x="2334" y="2349"/>
                  </a:lnTo>
                  <a:lnTo>
                    <a:pt x="2334" y="2245"/>
                  </a:lnTo>
                  <a:lnTo>
                    <a:pt x="2336" y="2236"/>
                  </a:lnTo>
                  <a:lnTo>
                    <a:pt x="2340" y="2230"/>
                  </a:lnTo>
                  <a:lnTo>
                    <a:pt x="2347" y="2226"/>
                  </a:lnTo>
                  <a:lnTo>
                    <a:pt x="2354" y="2225"/>
                  </a:lnTo>
                  <a:lnTo>
                    <a:pt x="2362" y="2226"/>
                  </a:lnTo>
                  <a:lnTo>
                    <a:pt x="2368" y="2230"/>
                  </a:lnTo>
                  <a:lnTo>
                    <a:pt x="2372" y="2236"/>
                  </a:lnTo>
                  <a:lnTo>
                    <a:pt x="2375" y="2245"/>
                  </a:lnTo>
                  <a:close/>
                  <a:moveTo>
                    <a:pt x="2589" y="2245"/>
                  </a:moveTo>
                  <a:lnTo>
                    <a:pt x="2589" y="2349"/>
                  </a:lnTo>
                  <a:lnTo>
                    <a:pt x="2588" y="2358"/>
                  </a:lnTo>
                  <a:lnTo>
                    <a:pt x="2583" y="2364"/>
                  </a:lnTo>
                  <a:lnTo>
                    <a:pt x="2576" y="2368"/>
                  </a:lnTo>
                  <a:lnTo>
                    <a:pt x="2570" y="2369"/>
                  </a:lnTo>
                  <a:lnTo>
                    <a:pt x="2562" y="2368"/>
                  </a:lnTo>
                  <a:lnTo>
                    <a:pt x="2556" y="2364"/>
                  </a:lnTo>
                  <a:lnTo>
                    <a:pt x="2550" y="2358"/>
                  </a:lnTo>
                  <a:lnTo>
                    <a:pt x="2549" y="2349"/>
                  </a:lnTo>
                  <a:lnTo>
                    <a:pt x="2549" y="2245"/>
                  </a:lnTo>
                  <a:lnTo>
                    <a:pt x="2550" y="2236"/>
                  </a:lnTo>
                  <a:lnTo>
                    <a:pt x="2556" y="2230"/>
                  </a:lnTo>
                  <a:lnTo>
                    <a:pt x="2562" y="2226"/>
                  </a:lnTo>
                  <a:lnTo>
                    <a:pt x="2570" y="2225"/>
                  </a:lnTo>
                  <a:lnTo>
                    <a:pt x="2576" y="2226"/>
                  </a:lnTo>
                  <a:lnTo>
                    <a:pt x="2583" y="2230"/>
                  </a:lnTo>
                  <a:lnTo>
                    <a:pt x="2588" y="2236"/>
                  </a:lnTo>
                  <a:lnTo>
                    <a:pt x="2589" y="2245"/>
                  </a:lnTo>
                  <a:close/>
                  <a:moveTo>
                    <a:pt x="2804" y="2245"/>
                  </a:moveTo>
                  <a:lnTo>
                    <a:pt x="2804" y="2349"/>
                  </a:lnTo>
                  <a:lnTo>
                    <a:pt x="2803" y="2358"/>
                  </a:lnTo>
                  <a:lnTo>
                    <a:pt x="2798" y="2364"/>
                  </a:lnTo>
                  <a:lnTo>
                    <a:pt x="2792" y="2368"/>
                  </a:lnTo>
                  <a:lnTo>
                    <a:pt x="2784" y="2369"/>
                  </a:lnTo>
                  <a:lnTo>
                    <a:pt x="2777" y="2368"/>
                  </a:lnTo>
                  <a:lnTo>
                    <a:pt x="2771" y="2364"/>
                  </a:lnTo>
                  <a:lnTo>
                    <a:pt x="2766" y="2358"/>
                  </a:lnTo>
                  <a:lnTo>
                    <a:pt x="2765" y="2349"/>
                  </a:lnTo>
                  <a:lnTo>
                    <a:pt x="2765" y="2245"/>
                  </a:lnTo>
                  <a:lnTo>
                    <a:pt x="2766" y="2236"/>
                  </a:lnTo>
                  <a:lnTo>
                    <a:pt x="2771" y="2230"/>
                  </a:lnTo>
                  <a:lnTo>
                    <a:pt x="2777" y="2226"/>
                  </a:lnTo>
                  <a:lnTo>
                    <a:pt x="2784" y="2225"/>
                  </a:lnTo>
                  <a:lnTo>
                    <a:pt x="2792" y="2226"/>
                  </a:lnTo>
                  <a:lnTo>
                    <a:pt x="2798" y="2230"/>
                  </a:lnTo>
                  <a:lnTo>
                    <a:pt x="2803" y="2236"/>
                  </a:lnTo>
                  <a:lnTo>
                    <a:pt x="2804" y="2245"/>
                  </a:lnTo>
                  <a:close/>
                  <a:moveTo>
                    <a:pt x="2375" y="2593"/>
                  </a:moveTo>
                  <a:lnTo>
                    <a:pt x="2375" y="2696"/>
                  </a:lnTo>
                  <a:lnTo>
                    <a:pt x="2372" y="2705"/>
                  </a:lnTo>
                  <a:lnTo>
                    <a:pt x="2368" y="2712"/>
                  </a:lnTo>
                  <a:lnTo>
                    <a:pt x="2362" y="2716"/>
                  </a:lnTo>
                  <a:lnTo>
                    <a:pt x="2354" y="2717"/>
                  </a:lnTo>
                  <a:lnTo>
                    <a:pt x="2347" y="2716"/>
                  </a:lnTo>
                  <a:lnTo>
                    <a:pt x="2340" y="2712"/>
                  </a:lnTo>
                  <a:lnTo>
                    <a:pt x="2336" y="2705"/>
                  </a:lnTo>
                  <a:lnTo>
                    <a:pt x="2334" y="2696"/>
                  </a:lnTo>
                  <a:lnTo>
                    <a:pt x="2334" y="2593"/>
                  </a:lnTo>
                  <a:lnTo>
                    <a:pt x="2336" y="2584"/>
                  </a:lnTo>
                  <a:lnTo>
                    <a:pt x="2340" y="2578"/>
                  </a:lnTo>
                  <a:lnTo>
                    <a:pt x="2347" y="2574"/>
                  </a:lnTo>
                  <a:lnTo>
                    <a:pt x="2354" y="2572"/>
                  </a:lnTo>
                  <a:lnTo>
                    <a:pt x="2362" y="2574"/>
                  </a:lnTo>
                  <a:lnTo>
                    <a:pt x="2368" y="2578"/>
                  </a:lnTo>
                  <a:lnTo>
                    <a:pt x="2372" y="2584"/>
                  </a:lnTo>
                  <a:lnTo>
                    <a:pt x="2375" y="2593"/>
                  </a:lnTo>
                  <a:close/>
                  <a:moveTo>
                    <a:pt x="2589" y="2593"/>
                  </a:moveTo>
                  <a:lnTo>
                    <a:pt x="2589" y="2696"/>
                  </a:lnTo>
                  <a:lnTo>
                    <a:pt x="2588" y="2705"/>
                  </a:lnTo>
                  <a:lnTo>
                    <a:pt x="2583" y="2712"/>
                  </a:lnTo>
                  <a:lnTo>
                    <a:pt x="2576" y="2716"/>
                  </a:lnTo>
                  <a:lnTo>
                    <a:pt x="2570" y="2717"/>
                  </a:lnTo>
                  <a:lnTo>
                    <a:pt x="2562" y="2716"/>
                  </a:lnTo>
                  <a:lnTo>
                    <a:pt x="2556" y="2712"/>
                  </a:lnTo>
                  <a:lnTo>
                    <a:pt x="2550" y="2705"/>
                  </a:lnTo>
                  <a:lnTo>
                    <a:pt x="2549" y="2696"/>
                  </a:lnTo>
                  <a:lnTo>
                    <a:pt x="2549" y="2593"/>
                  </a:lnTo>
                  <a:lnTo>
                    <a:pt x="2550" y="2584"/>
                  </a:lnTo>
                  <a:lnTo>
                    <a:pt x="2556" y="2578"/>
                  </a:lnTo>
                  <a:lnTo>
                    <a:pt x="2562" y="2574"/>
                  </a:lnTo>
                  <a:lnTo>
                    <a:pt x="2570" y="2572"/>
                  </a:lnTo>
                  <a:lnTo>
                    <a:pt x="2576" y="2574"/>
                  </a:lnTo>
                  <a:lnTo>
                    <a:pt x="2583" y="2578"/>
                  </a:lnTo>
                  <a:lnTo>
                    <a:pt x="2588" y="2584"/>
                  </a:lnTo>
                  <a:lnTo>
                    <a:pt x="2589" y="2593"/>
                  </a:lnTo>
                  <a:close/>
                  <a:moveTo>
                    <a:pt x="2804" y="2593"/>
                  </a:moveTo>
                  <a:lnTo>
                    <a:pt x="2804" y="2696"/>
                  </a:lnTo>
                  <a:lnTo>
                    <a:pt x="2803" y="2705"/>
                  </a:lnTo>
                  <a:lnTo>
                    <a:pt x="2798" y="2712"/>
                  </a:lnTo>
                  <a:lnTo>
                    <a:pt x="2792" y="2716"/>
                  </a:lnTo>
                  <a:lnTo>
                    <a:pt x="2784" y="2717"/>
                  </a:lnTo>
                  <a:lnTo>
                    <a:pt x="2777" y="2716"/>
                  </a:lnTo>
                  <a:lnTo>
                    <a:pt x="2771" y="2712"/>
                  </a:lnTo>
                  <a:lnTo>
                    <a:pt x="2766" y="2705"/>
                  </a:lnTo>
                  <a:lnTo>
                    <a:pt x="2765" y="2696"/>
                  </a:lnTo>
                  <a:lnTo>
                    <a:pt x="2765" y="2593"/>
                  </a:lnTo>
                  <a:lnTo>
                    <a:pt x="2766" y="2584"/>
                  </a:lnTo>
                  <a:lnTo>
                    <a:pt x="2771" y="2578"/>
                  </a:lnTo>
                  <a:lnTo>
                    <a:pt x="2777" y="2574"/>
                  </a:lnTo>
                  <a:lnTo>
                    <a:pt x="2784" y="2572"/>
                  </a:lnTo>
                  <a:lnTo>
                    <a:pt x="2792" y="2574"/>
                  </a:lnTo>
                  <a:lnTo>
                    <a:pt x="2798" y="2578"/>
                  </a:lnTo>
                  <a:lnTo>
                    <a:pt x="2803" y="2584"/>
                  </a:lnTo>
                  <a:lnTo>
                    <a:pt x="2804" y="2593"/>
                  </a:lnTo>
                  <a:close/>
                  <a:moveTo>
                    <a:pt x="2375" y="2941"/>
                  </a:moveTo>
                  <a:lnTo>
                    <a:pt x="2375" y="3044"/>
                  </a:lnTo>
                  <a:lnTo>
                    <a:pt x="2372" y="3053"/>
                  </a:lnTo>
                  <a:lnTo>
                    <a:pt x="2368" y="3060"/>
                  </a:lnTo>
                  <a:lnTo>
                    <a:pt x="2362" y="3063"/>
                  </a:lnTo>
                  <a:lnTo>
                    <a:pt x="2354" y="3065"/>
                  </a:lnTo>
                  <a:lnTo>
                    <a:pt x="2347" y="3063"/>
                  </a:lnTo>
                  <a:lnTo>
                    <a:pt x="2340" y="3060"/>
                  </a:lnTo>
                  <a:lnTo>
                    <a:pt x="2336" y="3053"/>
                  </a:lnTo>
                  <a:lnTo>
                    <a:pt x="2334" y="3044"/>
                  </a:lnTo>
                  <a:lnTo>
                    <a:pt x="2334" y="2941"/>
                  </a:lnTo>
                  <a:lnTo>
                    <a:pt x="2336" y="2932"/>
                  </a:lnTo>
                  <a:lnTo>
                    <a:pt x="2340" y="2925"/>
                  </a:lnTo>
                  <a:lnTo>
                    <a:pt x="2347" y="2922"/>
                  </a:lnTo>
                  <a:lnTo>
                    <a:pt x="2354" y="2920"/>
                  </a:lnTo>
                  <a:lnTo>
                    <a:pt x="2362" y="2922"/>
                  </a:lnTo>
                  <a:lnTo>
                    <a:pt x="2368" y="2925"/>
                  </a:lnTo>
                  <a:lnTo>
                    <a:pt x="2372" y="2932"/>
                  </a:lnTo>
                  <a:lnTo>
                    <a:pt x="2375" y="2941"/>
                  </a:lnTo>
                  <a:close/>
                  <a:moveTo>
                    <a:pt x="2589" y="2941"/>
                  </a:moveTo>
                  <a:lnTo>
                    <a:pt x="2589" y="3044"/>
                  </a:lnTo>
                  <a:lnTo>
                    <a:pt x="2588" y="3053"/>
                  </a:lnTo>
                  <a:lnTo>
                    <a:pt x="2583" y="3060"/>
                  </a:lnTo>
                  <a:lnTo>
                    <a:pt x="2576" y="3063"/>
                  </a:lnTo>
                  <a:lnTo>
                    <a:pt x="2570" y="3065"/>
                  </a:lnTo>
                  <a:lnTo>
                    <a:pt x="2562" y="3063"/>
                  </a:lnTo>
                  <a:lnTo>
                    <a:pt x="2556" y="3060"/>
                  </a:lnTo>
                  <a:lnTo>
                    <a:pt x="2550" y="3053"/>
                  </a:lnTo>
                  <a:lnTo>
                    <a:pt x="2549" y="3044"/>
                  </a:lnTo>
                  <a:lnTo>
                    <a:pt x="2549" y="2941"/>
                  </a:lnTo>
                  <a:lnTo>
                    <a:pt x="2550" y="2932"/>
                  </a:lnTo>
                  <a:lnTo>
                    <a:pt x="2556" y="2925"/>
                  </a:lnTo>
                  <a:lnTo>
                    <a:pt x="2562" y="2922"/>
                  </a:lnTo>
                  <a:lnTo>
                    <a:pt x="2570" y="2920"/>
                  </a:lnTo>
                  <a:lnTo>
                    <a:pt x="2576" y="2922"/>
                  </a:lnTo>
                  <a:lnTo>
                    <a:pt x="2583" y="2925"/>
                  </a:lnTo>
                  <a:lnTo>
                    <a:pt x="2588" y="2932"/>
                  </a:lnTo>
                  <a:lnTo>
                    <a:pt x="2589" y="2941"/>
                  </a:lnTo>
                  <a:close/>
                  <a:moveTo>
                    <a:pt x="2804" y="2941"/>
                  </a:moveTo>
                  <a:lnTo>
                    <a:pt x="2804" y="3044"/>
                  </a:lnTo>
                  <a:lnTo>
                    <a:pt x="2803" y="3053"/>
                  </a:lnTo>
                  <a:lnTo>
                    <a:pt x="2798" y="3060"/>
                  </a:lnTo>
                  <a:lnTo>
                    <a:pt x="2792" y="3063"/>
                  </a:lnTo>
                  <a:lnTo>
                    <a:pt x="2784" y="3065"/>
                  </a:lnTo>
                  <a:lnTo>
                    <a:pt x="2777" y="3063"/>
                  </a:lnTo>
                  <a:lnTo>
                    <a:pt x="2771" y="3060"/>
                  </a:lnTo>
                  <a:lnTo>
                    <a:pt x="2766" y="3053"/>
                  </a:lnTo>
                  <a:lnTo>
                    <a:pt x="2765" y="3044"/>
                  </a:lnTo>
                  <a:lnTo>
                    <a:pt x="2765" y="2941"/>
                  </a:lnTo>
                  <a:lnTo>
                    <a:pt x="2766" y="2932"/>
                  </a:lnTo>
                  <a:lnTo>
                    <a:pt x="2771" y="2925"/>
                  </a:lnTo>
                  <a:lnTo>
                    <a:pt x="2777" y="2922"/>
                  </a:lnTo>
                  <a:lnTo>
                    <a:pt x="2784" y="2920"/>
                  </a:lnTo>
                  <a:lnTo>
                    <a:pt x="2792" y="2922"/>
                  </a:lnTo>
                  <a:lnTo>
                    <a:pt x="2798" y="2925"/>
                  </a:lnTo>
                  <a:lnTo>
                    <a:pt x="2803" y="2932"/>
                  </a:lnTo>
                  <a:lnTo>
                    <a:pt x="2804" y="2941"/>
                  </a:lnTo>
                  <a:close/>
                  <a:moveTo>
                    <a:pt x="6888" y="1521"/>
                  </a:moveTo>
                  <a:lnTo>
                    <a:pt x="6778" y="1521"/>
                  </a:lnTo>
                  <a:lnTo>
                    <a:pt x="6778" y="1631"/>
                  </a:lnTo>
                  <a:lnTo>
                    <a:pt x="6888" y="1631"/>
                  </a:lnTo>
                  <a:lnTo>
                    <a:pt x="6888" y="1521"/>
                  </a:lnTo>
                  <a:close/>
                  <a:moveTo>
                    <a:pt x="7276" y="2772"/>
                  </a:moveTo>
                  <a:lnTo>
                    <a:pt x="7276" y="2585"/>
                  </a:lnTo>
                  <a:lnTo>
                    <a:pt x="7276" y="2277"/>
                  </a:lnTo>
                  <a:lnTo>
                    <a:pt x="7277" y="2271"/>
                  </a:lnTo>
                  <a:lnTo>
                    <a:pt x="7277" y="1671"/>
                  </a:lnTo>
                  <a:lnTo>
                    <a:pt x="6909" y="1671"/>
                  </a:lnTo>
                  <a:lnTo>
                    <a:pt x="6758" y="1671"/>
                  </a:lnTo>
                  <a:lnTo>
                    <a:pt x="6469" y="1671"/>
                  </a:lnTo>
                  <a:lnTo>
                    <a:pt x="6460" y="1670"/>
                  </a:lnTo>
                  <a:lnTo>
                    <a:pt x="6454" y="1665"/>
                  </a:lnTo>
                  <a:lnTo>
                    <a:pt x="6450" y="1658"/>
                  </a:lnTo>
                  <a:lnTo>
                    <a:pt x="6449" y="1652"/>
                  </a:lnTo>
                  <a:lnTo>
                    <a:pt x="6450" y="1644"/>
                  </a:lnTo>
                  <a:lnTo>
                    <a:pt x="6454" y="1638"/>
                  </a:lnTo>
                  <a:lnTo>
                    <a:pt x="6460" y="1633"/>
                  </a:lnTo>
                  <a:lnTo>
                    <a:pt x="6469" y="1631"/>
                  </a:lnTo>
                  <a:lnTo>
                    <a:pt x="6574" y="1631"/>
                  </a:lnTo>
                  <a:lnTo>
                    <a:pt x="6574" y="1488"/>
                  </a:lnTo>
                  <a:lnTo>
                    <a:pt x="6172" y="1488"/>
                  </a:lnTo>
                  <a:lnTo>
                    <a:pt x="6172" y="1631"/>
                  </a:lnTo>
                  <a:lnTo>
                    <a:pt x="6204" y="1631"/>
                  </a:lnTo>
                  <a:lnTo>
                    <a:pt x="6213" y="1633"/>
                  </a:lnTo>
                  <a:lnTo>
                    <a:pt x="6219" y="1638"/>
                  </a:lnTo>
                  <a:lnTo>
                    <a:pt x="6223" y="1644"/>
                  </a:lnTo>
                  <a:lnTo>
                    <a:pt x="6224" y="1652"/>
                  </a:lnTo>
                  <a:lnTo>
                    <a:pt x="6223" y="1658"/>
                  </a:lnTo>
                  <a:lnTo>
                    <a:pt x="6219" y="1665"/>
                  </a:lnTo>
                  <a:lnTo>
                    <a:pt x="6213" y="1670"/>
                  </a:lnTo>
                  <a:lnTo>
                    <a:pt x="6204" y="1671"/>
                  </a:lnTo>
                  <a:lnTo>
                    <a:pt x="6037" y="1671"/>
                  </a:lnTo>
                  <a:lnTo>
                    <a:pt x="6037" y="2332"/>
                  </a:lnTo>
                  <a:lnTo>
                    <a:pt x="6037" y="2993"/>
                  </a:lnTo>
                  <a:lnTo>
                    <a:pt x="6037" y="3654"/>
                  </a:lnTo>
                  <a:lnTo>
                    <a:pt x="6037" y="4317"/>
                  </a:lnTo>
                  <a:lnTo>
                    <a:pt x="6656" y="4317"/>
                  </a:lnTo>
                  <a:lnTo>
                    <a:pt x="7276" y="4317"/>
                  </a:lnTo>
                  <a:lnTo>
                    <a:pt x="7276" y="3544"/>
                  </a:lnTo>
                  <a:lnTo>
                    <a:pt x="7276" y="2772"/>
                  </a:lnTo>
                  <a:close/>
                  <a:moveTo>
                    <a:pt x="9050" y="2792"/>
                  </a:moveTo>
                  <a:lnTo>
                    <a:pt x="8182" y="2792"/>
                  </a:lnTo>
                  <a:lnTo>
                    <a:pt x="7315" y="2792"/>
                  </a:lnTo>
                  <a:lnTo>
                    <a:pt x="7315" y="3554"/>
                  </a:lnTo>
                  <a:lnTo>
                    <a:pt x="7315" y="4317"/>
                  </a:lnTo>
                  <a:lnTo>
                    <a:pt x="8182" y="4317"/>
                  </a:lnTo>
                  <a:lnTo>
                    <a:pt x="9050" y="4317"/>
                  </a:lnTo>
                  <a:lnTo>
                    <a:pt x="9050" y="3554"/>
                  </a:lnTo>
                  <a:lnTo>
                    <a:pt x="9050" y="2792"/>
                  </a:lnTo>
                  <a:close/>
                  <a:moveTo>
                    <a:pt x="8412" y="2258"/>
                  </a:moveTo>
                  <a:lnTo>
                    <a:pt x="8412" y="2135"/>
                  </a:lnTo>
                  <a:lnTo>
                    <a:pt x="8413" y="2127"/>
                  </a:lnTo>
                  <a:lnTo>
                    <a:pt x="8418" y="2121"/>
                  </a:lnTo>
                  <a:lnTo>
                    <a:pt x="8425" y="2117"/>
                  </a:lnTo>
                  <a:lnTo>
                    <a:pt x="8432" y="2116"/>
                  </a:lnTo>
                  <a:lnTo>
                    <a:pt x="8677" y="2116"/>
                  </a:lnTo>
                  <a:lnTo>
                    <a:pt x="8685" y="2117"/>
                  </a:lnTo>
                  <a:lnTo>
                    <a:pt x="8691" y="2121"/>
                  </a:lnTo>
                  <a:lnTo>
                    <a:pt x="8695" y="2127"/>
                  </a:lnTo>
                  <a:lnTo>
                    <a:pt x="8698" y="2135"/>
                  </a:lnTo>
                  <a:lnTo>
                    <a:pt x="8698" y="2258"/>
                  </a:lnTo>
                  <a:lnTo>
                    <a:pt x="8853" y="2258"/>
                  </a:lnTo>
                  <a:lnTo>
                    <a:pt x="8868" y="2266"/>
                  </a:lnTo>
                  <a:lnTo>
                    <a:pt x="9089" y="2565"/>
                  </a:lnTo>
                  <a:lnTo>
                    <a:pt x="9100" y="2565"/>
                  </a:lnTo>
                  <a:lnTo>
                    <a:pt x="9108" y="2566"/>
                  </a:lnTo>
                  <a:lnTo>
                    <a:pt x="9114" y="2571"/>
                  </a:lnTo>
                  <a:lnTo>
                    <a:pt x="9120" y="2578"/>
                  </a:lnTo>
                  <a:lnTo>
                    <a:pt x="9121" y="2585"/>
                  </a:lnTo>
                  <a:lnTo>
                    <a:pt x="9121" y="2772"/>
                  </a:lnTo>
                  <a:lnTo>
                    <a:pt x="9120" y="2780"/>
                  </a:lnTo>
                  <a:lnTo>
                    <a:pt x="9114" y="2786"/>
                  </a:lnTo>
                  <a:lnTo>
                    <a:pt x="9108" y="2791"/>
                  </a:lnTo>
                  <a:lnTo>
                    <a:pt x="9100" y="2792"/>
                  </a:lnTo>
                  <a:lnTo>
                    <a:pt x="9090" y="2792"/>
                  </a:lnTo>
                  <a:lnTo>
                    <a:pt x="9090" y="3563"/>
                  </a:lnTo>
                  <a:lnTo>
                    <a:pt x="9090" y="4336"/>
                  </a:lnTo>
                  <a:lnTo>
                    <a:pt x="9089" y="4343"/>
                  </a:lnTo>
                  <a:lnTo>
                    <a:pt x="9084" y="4350"/>
                  </a:lnTo>
                  <a:lnTo>
                    <a:pt x="9077" y="4355"/>
                  </a:lnTo>
                  <a:lnTo>
                    <a:pt x="9070" y="4356"/>
                  </a:lnTo>
                  <a:lnTo>
                    <a:pt x="8184" y="4356"/>
                  </a:lnTo>
                  <a:lnTo>
                    <a:pt x="7297" y="4356"/>
                  </a:lnTo>
                  <a:lnTo>
                    <a:pt x="7295" y="4356"/>
                  </a:lnTo>
                  <a:lnTo>
                    <a:pt x="6656" y="4356"/>
                  </a:lnTo>
                  <a:lnTo>
                    <a:pt x="6018" y="4356"/>
                  </a:lnTo>
                  <a:lnTo>
                    <a:pt x="6010" y="4355"/>
                  </a:lnTo>
                  <a:lnTo>
                    <a:pt x="6004" y="4350"/>
                  </a:lnTo>
                  <a:lnTo>
                    <a:pt x="5999" y="4343"/>
                  </a:lnTo>
                  <a:lnTo>
                    <a:pt x="5997" y="4336"/>
                  </a:lnTo>
                  <a:lnTo>
                    <a:pt x="5997" y="3664"/>
                  </a:lnTo>
                  <a:lnTo>
                    <a:pt x="5997" y="2993"/>
                  </a:lnTo>
                  <a:lnTo>
                    <a:pt x="5997" y="2322"/>
                  </a:lnTo>
                  <a:lnTo>
                    <a:pt x="5997" y="1652"/>
                  </a:lnTo>
                  <a:lnTo>
                    <a:pt x="5999" y="1644"/>
                  </a:lnTo>
                  <a:lnTo>
                    <a:pt x="6004" y="1638"/>
                  </a:lnTo>
                  <a:lnTo>
                    <a:pt x="6010" y="1633"/>
                  </a:lnTo>
                  <a:lnTo>
                    <a:pt x="6018" y="1631"/>
                  </a:lnTo>
                  <a:lnTo>
                    <a:pt x="6132" y="1631"/>
                  </a:lnTo>
                  <a:lnTo>
                    <a:pt x="6132" y="1469"/>
                  </a:lnTo>
                  <a:lnTo>
                    <a:pt x="6133" y="1461"/>
                  </a:lnTo>
                  <a:lnTo>
                    <a:pt x="6138" y="1455"/>
                  </a:lnTo>
                  <a:lnTo>
                    <a:pt x="6145" y="1451"/>
                  </a:lnTo>
                  <a:lnTo>
                    <a:pt x="6152" y="1448"/>
                  </a:lnTo>
                  <a:lnTo>
                    <a:pt x="6595" y="1448"/>
                  </a:lnTo>
                  <a:lnTo>
                    <a:pt x="6602" y="1451"/>
                  </a:lnTo>
                  <a:lnTo>
                    <a:pt x="6609" y="1455"/>
                  </a:lnTo>
                  <a:lnTo>
                    <a:pt x="6613" y="1461"/>
                  </a:lnTo>
                  <a:lnTo>
                    <a:pt x="6614" y="1469"/>
                  </a:lnTo>
                  <a:lnTo>
                    <a:pt x="6614" y="1631"/>
                  </a:lnTo>
                  <a:lnTo>
                    <a:pt x="6738" y="1631"/>
                  </a:lnTo>
                  <a:lnTo>
                    <a:pt x="6738" y="1501"/>
                  </a:lnTo>
                  <a:lnTo>
                    <a:pt x="6740" y="1493"/>
                  </a:lnTo>
                  <a:lnTo>
                    <a:pt x="6744" y="1487"/>
                  </a:lnTo>
                  <a:lnTo>
                    <a:pt x="6750" y="1483"/>
                  </a:lnTo>
                  <a:lnTo>
                    <a:pt x="6758" y="1480"/>
                  </a:lnTo>
                  <a:lnTo>
                    <a:pt x="6909" y="1480"/>
                  </a:lnTo>
                  <a:lnTo>
                    <a:pt x="6917" y="1483"/>
                  </a:lnTo>
                  <a:lnTo>
                    <a:pt x="6923" y="1487"/>
                  </a:lnTo>
                  <a:lnTo>
                    <a:pt x="6927" y="1493"/>
                  </a:lnTo>
                  <a:lnTo>
                    <a:pt x="6928" y="1501"/>
                  </a:lnTo>
                  <a:lnTo>
                    <a:pt x="6928" y="1631"/>
                  </a:lnTo>
                  <a:lnTo>
                    <a:pt x="7297" y="1631"/>
                  </a:lnTo>
                  <a:lnTo>
                    <a:pt x="7305" y="1633"/>
                  </a:lnTo>
                  <a:lnTo>
                    <a:pt x="7312" y="1638"/>
                  </a:lnTo>
                  <a:lnTo>
                    <a:pt x="7315" y="1644"/>
                  </a:lnTo>
                  <a:lnTo>
                    <a:pt x="7317" y="1652"/>
                  </a:lnTo>
                  <a:lnTo>
                    <a:pt x="7317" y="2258"/>
                  </a:lnTo>
                  <a:lnTo>
                    <a:pt x="7864" y="2258"/>
                  </a:lnTo>
                  <a:lnTo>
                    <a:pt x="8412" y="2258"/>
                  </a:lnTo>
                  <a:close/>
                  <a:moveTo>
                    <a:pt x="8657" y="2258"/>
                  </a:moveTo>
                  <a:lnTo>
                    <a:pt x="8657" y="2156"/>
                  </a:lnTo>
                  <a:lnTo>
                    <a:pt x="8452" y="2156"/>
                  </a:lnTo>
                  <a:lnTo>
                    <a:pt x="8452" y="2258"/>
                  </a:lnTo>
                  <a:lnTo>
                    <a:pt x="8482" y="2258"/>
                  </a:lnTo>
                  <a:lnTo>
                    <a:pt x="8491" y="2259"/>
                  </a:lnTo>
                  <a:lnTo>
                    <a:pt x="8496" y="2264"/>
                  </a:lnTo>
                  <a:lnTo>
                    <a:pt x="8500" y="2271"/>
                  </a:lnTo>
                  <a:lnTo>
                    <a:pt x="8502" y="2277"/>
                  </a:lnTo>
                  <a:lnTo>
                    <a:pt x="8500" y="2285"/>
                  </a:lnTo>
                  <a:lnTo>
                    <a:pt x="8496" y="2291"/>
                  </a:lnTo>
                  <a:lnTo>
                    <a:pt x="8491" y="2296"/>
                  </a:lnTo>
                  <a:lnTo>
                    <a:pt x="8482" y="2298"/>
                  </a:lnTo>
                  <a:lnTo>
                    <a:pt x="7899" y="2298"/>
                  </a:lnTo>
                  <a:lnTo>
                    <a:pt x="7315" y="2298"/>
                  </a:lnTo>
                  <a:lnTo>
                    <a:pt x="7315" y="2565"/>
                  </a:lnTo>
                  <a:lnTo>
                    <a:pt x="8177" y="2565"/>
                  </a:lnTo>
                  <a:lnTo>
                    <a:pt x="9039" y="2565"/>
                  </a:lnTo>
                  <a:lnTo>
                    <a:pt x="8843" y="2298"/>
                  </a:lnTo>
                  <a:lnTo>
                    <a:pt x="8637" y="2298"/>
                  </a:lnTo>
                  <a:lnTo>
                    <a:pt x="8630" y="2296"/>
                  </a:lnTo>
                  <a:lnTo>
                    <a:pt x="8623" y="2291"/>
                  </a:lnTo>
                  <a:lnTo>
                    <a:pt x="8619" y="2285"/>
                  </a:lnTo>
                  <a:lnTo>
                    <a:pt x="8618" y="2277"/>
                  </a:lnTo>
                  <a:lnTo>
                    <a:pt x="8619" y="2271"/>
                  </a:lnTo>
                  <a:lnTo>
                    <a:pt x="8623" y="2264"/>
                  </a:lnTo>
                  <a:lnTo>
                    <a:pt x="8630" y="2259"/>
                  </a:lnTo>
                  <a:lnTo>
                    <a:pt x="8637" y="2258"/>
                  </a:lnTo>
                  <a:lnTo>
                    <a:pt x="8657" y="2258"/>
                  </a:lnTo>
                  <a:close/>
                  <a:moveTo>
                    <a:pt x="9075" y="2604"/>
                  </a:moveTo>
                  <a:lnTo>
                    <a:pt x="8195" y="2604"/>
                  </a:lnTo>
                  <a:lnTo>
                    <a:pt x="7315" y="2604"/>
                  </a:lnTo>
                  <a:lnTo>
                    <a:pt x="7315" y="2753"/>
                  </a:lnTo>
                  <a:lnTo>
                    <a:pt x="8192" y="2753"/>
                  </a:lnTo>
                  <a:lnTo>
                    <a:pt x="9070" y="2753"/>
                  </a:lnTo>
                  <a:lnTo>
                    <a:pt x="9081" y="2753"/>
                  </a:lnTo>
                  <a:lnTo>
                    <a:pt x="9081" y="2604"/>
                  </a:lnTo>
                  <a:lnTo>
                    <a:pt x="9075" y="2604"/>
                  </a:lnTo>
                  <a:close/>
                  <a:moveTo>
                    <a:pt x="6236" y="1893"/>
                  </a:moveTo>
                  <a:lnTo>
                    <a:pt x="6369" y="1893"/>
                  </a:lnTo>
                  <a:lnTo>
                    <a:pt x="6378" y="1895"/>
                  </a:lnTo>
                  <a:lnTo>
                    <a:pt x="6384" y="1900"/>
                  </a:lnTo>
                  <a:lnTo>
                    <a:pt x="6387" y="1906"/>
                  </a:lnTo>
                  <a:lnTo>
                    <a:pt x="6388" y="1913"/>
                  </a:lnTo>
                  <a:lnTo>
                    <a:pt x="6387" y="1920"/>
                  </a:lnTo>
                  <a:lnTo>
                    <a:pt x="6384" y="1927"/>
                  </a:lnTo>
                  <a:lnTo>
                    <a:pt x="6378" y="1932"/>
                  </a:lnTo>
                  <a:lnTo>
                    <a:pt x="6369" y="1933"/>
                  </a:lnTo>
                  <a:lnTo>
                    <a:pt x="6236" y="1933"/>
                  </a:lnTo>
                  <a:lnTo>
                    <a:pt x="6227" y="1932"/>
                  </a:lnTo>
                  <a:lnTo>
                    <a:pt x="6220" y="1927"/>
                  </a:lnTo>
                  <a:lnTo>
                    <a:pt x="6216" y="1920"/>
                  </a:lnTo>
                  <a:lnTo>
                    <a:pt x="6215" y="1913"/>
                  </a:lnTo>
                  <a:lnTo>
                    <a:pt x="6216" y="1906"/>
                  </a:lnTo>
                  <a:lnTo>
                    <a:pt x="6220" y="1900"/>
                  </a:lnTo>
                  <a:lnTo>
                    <a:pt x="6227" y="1895"/>
                  </a:lnTo>
                  <a:lnTo>
                    <a:pt x="6236" y="1893"/>
                  </a:lnTo>
                  <a:close/>
                  <a:moveTo>
                    <a:pt x="6472" y="1893"/>
                  </a:moveTo>
                  <a:lnTo>
                    <a:pt x="6605" y="1893"/>
                  </a:lnTo>
                  <a:lnTo>
                    <a:pt x="6614" y="1895"/>
                  </a:lnTo>
                  <a:lnTo>
                    <a:pt x="6620" y="1900"/>
                  </a:lnTo>
                  <a:lnTo>
                    <a:pt x="6624" y="1906"/>
                  </a:lnTo>
                  <a:lnTo>
                    <a:pt x="6626" y="1913"/>
                  </a:lnTo>
                  <a:lnTo>
                    <a:pt x="6624" y="1920"/>
                  </a:lnTo>
                  <a:lnTo>
                    <a:pt x="6620" y="1927"/>
                  </a:lnTo>
                  <a:lnTo>
                    <a:pt x="6614" y="1932"/>
                  </a:lnTo>
                  <a:lnTo>
                    <a:pt x="6605" y="1933"/>
                  </a:lnTo>
                  <a:lnTo>
                    <a:pt x="6472" y="1933"/>
                  </a:lnTo>
                  <a:lnTo>
                    <a:pt x="6464" y="1932"/>
                  </a:lnTo>
                  <a:lnTo>
                    <a:pt x="6458" y="1927"/>
                  </a:lnTo>
                  <a:lnTo>
                    <a:pt x="6454" y="1920"/>
                  </a:lnTo>
                  <a:lnTo>
                    <a:pt x="6452" y="1913"/>
                  </a:lnTo>
                  <a:lnTo>
                    <a:pt x="6454" y="1906"/>
                  </a:lnTo>
                  <a:lnTo>
                    <a:pt x="6458" y="1900"/>
                  </a:lnTo>
                  <a:lnTo>
                    <a:pt x="6464" y="1895"/>
                  </a:lnTo>
                  <a:lnTo>
                    <a:pt x="6472" y="1893"/>
                  </a:lnTo>
                  <a:close/>
                  <a:moveTo>
                    <a:pt x="6709" y="1893"/>
                  </a:moveTo>
                  <a:lnTo>
                    <a:pt x="6842" y="1893"/>
                  </a:lnTo>
                  <a:lnTo>
                    <a:pt x="6851" y="1895"/>
                  </a:lnTo>
                  <a:lnTo>
                    <a:pt x="6858" y="1900"/>
                  </a:lnTo>
                  <a:lnTo>
                    <a:pt x="6861" y="1906"/>
                  </a:lnTo>
                  <a:lnTo>
                    <a:pt x="6863" y="1913"/>
                  </a:lnTo>
                  <a:lnTo>
                    <a:pt x="6861" y="1920"/>
                  </a:lnTo>
                  <a:lnTo>
                    <a:pt x="6858" y="1927"/>
                  </a:lnTo>
                  <a:lnTo>
                    <a:pt x="6851" y="1932"/>
                  </a:lnTo>
                  <a:lnTo>
                    <a:pt x="6842" y="1933"/>
                  </a:lnTo>
                  <a:lnTo>
                    <a:pt x="6709" y="1933"/>
                  </a:lnTo>
                  <a:lnTo>
                    <a:pt x="6700" y="1932"/>
                  </a:lnTo>
                  <a:lnTo>
                    <a:pt x="6693" y="1927"/>
                  </a:lnTo>
                  <a:lnTo>
                    <a:pt x="6690" y="1920"/>
                  </a:lnTo>
                  <a:lnTo>
                    <a:pt x="6688" y="1913"/>
                  </a:lnTo>
                  <a:lnTo>
                    <a:pt x="6690" y="1906"/>
                  </a:lnTo>
                  <a:lnTo>
                    <a:pt x="6693" y="1900"/>
                  </a:lnTo>
                  <a:lnTo>
                    <a:pt x="6700" y="1895"/>
                  </a:lnTo>
                  <a:lnTo>
                    <a:pt x="6709" y="1893"/>
                  </a:lnTo>
                  <a:close/>
                  <a:moveTo>
                    <a:pt x="6946" y="1893"/>
                  </a:moveTo>
                  <a:lnTo>
                    <a:pt x="7078" y="1893"/>
                  </a:lnTo>
                  <a:lnTo>
                    <a:pt x="7087" y="1895"/>
                  </a:lnTo>
                  <a:lnTo>
                    <a:pt x="7094" y="1900"/>
                  </a:lnTo>
                  <a:lnTo>
                    <a:pt x="7097" y="1906"/>
                  </a:lnTo>
                  <a:lnTo>
                    <a:pt x="7099" y="1913"/>
                  </a:lnTo>
                  <a:lnTo>
                    <a:pt x="7097" y="1920"/>
                  </a:lnTo>
                  <a:lnTo>
                    <a:pt x="7094" y="1927"/>
                  </a:lnTo>
                  <a:lnTo>
                    <a:pt x="7087" y="1932"/>
                  </a:lnTo>
                  <a:lnTo>
                    <a:pt x="7078" y="1933"/>
                  </a:lnTo>
                  <a:lnTo>
                    <a:pt x="6946" y="1933"/>
                  </a:lnTo>
                  <a:lnTo>
                    <a:pt x="6937" y="1932"/>
                  </a:lnTo>
                  <a:lnTo>
                    <a:pt x="6931" y="1927"/>
                  </a:lnTo>
                  <a:lnTo>
                    <a:pt x="6927" y="1920"/>
                  </a:lnTo>
                  <a:lnTo>
                    <a:pt x="6926" y="1913"/>
                  </a:lnTo>
                  <a:lnTo>
                    <a:pt x="6927" y="1906"/>
                  </a:lnTo>
                  <a:lnTo>
                    <a:pt x="6931" y="1900"/>
                  </a:lnTo>
                  <a:lnTo>
                    <a:pt x="6937" y="1895"/>
                  </a:lnTo>
                  <a:lnTo>
                    <a:pt x="6946" y="1893"/>
                  </a:lnTo>
                  <a:close/>
                  <a:moveTo>
                    <a:pt x="6236" y="2156"/>
                  </a:moveTo>
                  <a:lnTo>
                    <a:pt x="6369" y="2156"/>
                  </a:lnTo>
                  <a:lnTo>
                    <a:pt x="6378" y="2158"/>
                  </a:lnTo>
                  <a:lnTo>
                    <a:pt x="6384" y="2162"/>
                  </a:lnTo>
                  <a:lnTo>
                    <a:pt x="6387" y="2168"/>
                  </a:lnTo>
                  <a:lnTo>
                    <a:pt x="6388" y="2176"/>
                  </a:lnTo>
                  <a:lnTo>
                    <a:pt x="6387" y="2184"/>
                  </a:lnTo>
                  <a:lnTo>
                    <a:pt x="6384" y="2190"/>
                  </a:lnTo>
                  <a:lnTo>
                    <a:pt x="6378" y="2194"/>
                  </a:lnTo>
                  <a:lnTo>
                    <a:pt x="6369" y="2197"/>
                  </a:lnTo>
                  <a:lnTo>
                    <a:pt x="6236" y="2197"/>
                  </a:lnTo>
                  <a:lnTo>
                    <a:pt x="6227" y="2194"/>
                  </a:lnTo>
                  <a:lnTo>
                    <a:pt x="6220" y="2190"/>
                  </a:lnTo>
                  <a:lnTo>
                    <a:pt x="6216" y="2184"/>
                  </a:lnTo>
                  <a:lnTo>
                    <a:pt x="6215" y="2176"/>
                  </a:lnTo>
                  <a:lnTo>
                    <a:pt x="6216" y="2168"/>
                  </a:lnTo>
                  <a:lnTo>
                    <a:pt x="6220" y="2162"/>
                  </a:lnTo>
                  <a:lnTo>
                    <a:pt x="6227" y="2158"/>
                  </a:lnTo>
                  <a:lnTo>
                    <a:pt x="6236" y="2156"/>
                  </a:lnTo>
                  <a:close/>
                  <a:moveTo>
                    <a:pt x="6472" y="2156"/>
                  </a:moveTo>
                  <a:lnTo>
                    <a:pt x="6605" y="2156"/>
                  </a:lnTo>
                  <a:lnTo>
                    <a:pt x="6614" y="2158"/>
                  </a:lnTo>
                  <a:lnTo>
                    <a:pt x="6620" y="2162"/>
                  </a:lnTo>
                  <a:lnTo>
                    <a:pt x="6624" y="2168"/>
                  </a:lnTo>
                  <a:lnTo>
                    <a:pt x="6626" y="2176"/>
                  </a:lnTo>
                  <a:lnTo>
                    <a:pt x="6624" y="2184"/>
                  </a:lnTo>
                  <a:lnTo>
                    <a:pt x="6620" y="2190"/>
                  </a:lnTo>
                  <a:lnTo>
                    <a:pt x="6614" y="2194"/>
                  </a:lnTo>
                  <a:lnTo>
                    <a:pt x="6605" y="2197"/>
                  </a:lnTo>
                  <a:lnTo>
                    <a:pt x="6472" y="2197"/>
                  </a:lnTo>
                  <a:lnTo>
                    <a:pt x="6464" y="2194"/>
                  </a:lnTo>
                  <a:lnTo>
                    <a:pt x="6458" y="2190"/>
                  </a:lnTo>
                  <a:lnTo>
                    <a:pt x="6454" y="2184"/>
                  </a:lnTo>
                  <a:lnTo>
                    <a:pt x="6452" y="2176"/>
                  </a:lnTo>
                  <a:lnTo>
                    <a:pt x="6454" y="2168"/>
                  </a:lnTo>
                  <a:lnTo>
                    <a:pt x="6458" y="2162"/>
                  </a:lnTo>
                  <a:lnTo>
                    <a:pt x="6464" y="2158"/>
                  </a:lnTo>
                  <a:lnTo>
                    <a:pt x="6472" y="2156"/>
                  </a:lnTo>
                  <a:close/>
                  <a:moveTo>
                    <a:pt x="6709" y="2156"/>
                  </a:moveTo>
                  <a:lnTo>
                    <a:pt x="6842" y="2156"/>
                  </a:lnTo>
                  <a:lnTo>
                    <a:pt x="6851" y="2158"/>
                  </a:lnTo>
                  <a:lnTo>
                    <a:pt x="6858" y="2162"/>
                  </a:lnTo>
                  <a:lnTo>
                    <a:pt x="6861" y="2168"/>
                  </a:lnTo>
                  <a:lnTo>
                    <a:pt x="6863" y="2176"/>
                  </a:lnTo>
                  <a:lnTo>
                    <a:pt x="6861" y="2184"/>
                  </a:lnTo>
                  <a:lnTo>
                    <a:pt x="6858" y="2190"/>
                  </a:lnTo>
                  <a:lnTo>
                    <a:pt x="6851" y="2194"/>
                  </a:lnTo>
                  <a:lnTo>
                    <a:pt x="6842" y="2197"/>
                  </a:lnTo>
                  <a:lnTo>
                    <a:pt x="6709" y="2197"/>
                  </a:lnTo>
                  <a:lnTo>
                    <a:pt x="6700" y="2194"/>
                  </a:lnTo>
                  <a:lnTo>
                    <a:pt x="6693" y="2190"/>
                  </a:lnTo>
                  <a:lnTo>
                    <a:pt x="6690" y="2184"/>
                  </a:lnTo>
                  <a:lnTo>
                    <a:pt x="6688" y="2176"/>
                  </a:lnTo>
                  <a:lnTo>
                    <a:pt x="6690" y="2168"/>
                  </a:lnTo>
                  <a:lnTo>
                    <a:pt x="6693" y="2162"/>
                  </a:lnTo>
                  <a:lnTo>
                    <a:pt x="6700" y="2158"/>
                  </a:lnTo>
                  <a:lnTo>
                    <a:pt x="6709" y="2156"/>
                  </a:lnTo>
                  <a:close/>
                  <a:moveTo>
                    <a:pt x="6946" y="2156"/>
                  </a:moveTo>
                  <a:lnTo>
                    <a:pt x="7078" y="2156"/>
                  </a:lnTo>
                  <a:lnTo>
                    <a:pt x="7087" y="2158"/>
                  </a:lnTo>
                  <a:lnTo>
                    <a:pt x="7094" y="2162"/>
                  </a:lnTo>
                  <a:lnTo>
                    <a:pt x="7097" y="2168"/>
                  </a:lnTo>
                  <a:lnTo>
                    <a:pt x="7099" y="2176"/>
                  </a:lnTo>
                  <a:lnTo>
                    <a:pt x="7097" y="2184"/>
                  </a:lnTo>
                  <a:lnTo>
                    <a:pt x="7094" y="2190"/>
                  </a:lnTo>
                  <a:lnTo>
                    <a:pt x="7087" y="2194"/>
                  </a:lnTo>
                  <a:lnTo>
                    <a:pt x="7078" y="2197"/>
                  </a:lnTo>
                  <a:lnTo>
                    <a:pt x="6946" y="2197"/>
                  </a:lnTo>
                  <a:lnTo>
                    <a:pt x="6937" y="2194"/>
                  </a:lnTo>
                  <a:lnTo>
                    <a:pt x="6931" y="2190"/>
                  </a:lnTo>
                  <a:lnTo>
                    <a:pt x="6927" y="2184"/>
                  </a:lnTo>
                  <a:lnTo>
                    <a:pt x="6926" y="2176"/>
                  </a:lnTo>
                  <a:lnTo>
                    <a:pt x="6927" y="2168"/>
                  </a:lnTo>
                  <a:lnTo>
                    <a:pt x="6931" y="2162"/>
                  </a:lnTo>
                  <a:lnTo>
                    <a:pt x="6937" y="2158"/>
                  </a:lnTo>
                  <a:lnTo>
                    <a:pt x="6946" y="2156"/>
                  </a:lnTo>
                  <a:close/>
                  <a:moveTo>
                    <a:pt x="6236" y="2419"/>
                  </a:moveTo>
                  <a:lnTo>
                    <a:pt x="6369" y="2419"/>
                  </a:lnTo>
                  <a:lnTo>
                    <a:pt x="6378" y="2420"/>
                  </a:lnTo>
                  <a:lnTo>
                    <a:pt x="6384" y="2425"/>
                  </a:lnTo>
                  <a:lnTo>
                    <a:pt x="6387" y="2432"/>
                  </a:lnTo>
                  <a:lnTo>
                    <a:pt x="6388" y="2439"/>
                  </a:lnTo>
                  <a:lnTo>
                    <a:pt x="6387" y="2446"/>
                  </a:lnTo>
                  <a:lnTo>
                    <a:pt x="6384" y="2452"/>
                  </a:lnTo>
                  <a:lnTo>
                    <a:pt x="6378" y="2457"/>
                  </a:lnTo>
                  <a:lnTo>
                    <a:pt x="6369" y="2459"/>
                  </a:lnTo>
                  <a:lnTo>
                    <a:pt x="6236" y="2459"/>
                  </a:lnTo>
                  <a:lnTo>
                    <a:pt x="6227" y="2457"/>
                  </a:lnTo>
                  <a:lnTo>
                    <a:pt x="6220" y="2452"/>
                  </a:lnTo>
                  <a:lnTo>
                    <a:pt x="6216" y="2446"/>
                  </a:lnTo>
                  <a:lnTo>
                    <a:pt x="6215" y="2439"/>
                  </a:lnTo>
                  <a:lnTo>
                    <a:pt x="6216" y="2432"/>
                  </a:lnTo>
                  <a:lnTo>
                    <a:pt x="6220" y="2425"/>
                  </a:lnTo>
                  <a:lnTo>
                    <a:pt x="6227" y="2420"/>
                  </a:lnTo>
                  <a:lnTo>
                    <a:pt x="6236" y="2419"/>
                  </a:lnTo>
                  <a:close/>
                  <a:moveTo>
                    <a:pt x="6472" y="2419"/>
                  </a:moveTo>
                  <a:lnTo>
                    <a:pt x="6605" y="2419"/>
                  </a:lnTo>
                  <a:lnTo>
                    <a:pt x="6614" y="2420"/>
                  </a:lnTo>
                  <a:lnTo>
                    <a:pt x="6620" y="2425"/>
                  </a:lnTo>
                  <a:lnTo>
                    <a:pt x="6624" y="2432"/>
                  </a:lnTo>
                  <a:lnTo>
                    <a:pt x="6626" y="2439"/>
                  </a:lnTo>
                  <a:lnTo>
                    <a:pt x="6624" y="2446"/>
                  </a:lnTo>
                  <a:lnTo>
                    <a:pt x="6620" y="2452"/>
                  </a:lnTo>
                  <a:lnTo>
                    <a:pt x="6614" y="2457"/>
                  </a:lnTo>
                  <a:lnTo>
                    <a:pt x="6605" y="2459"/>
                  </a:lnTo>
                  <a:lnTo>
                    <a:pt x="6472" y="2459"/>
                  </a:lnTo>
                  <a:lnTo>
                    <a:pt x="6464" y="2457"/>
                  </a:lnTo>
                  <a:lnTo>
                    <a:pt x="6458" y="2452"/>
                  </a:lnTo>
                  <a:lnTo>
                    <a:pt x="6454" y="2446"/>
                  </a:lnTo>
                  <a:lnTo>
                    <a:pt x="6452" y="2439"/>
                  </a:lnTo>
                  <a:lnTo>
                    <a:pt x="6454" y="2432"/>
                  </a:lnTo>
                  <a:lnTo>
                    <a:pt x="6458" y="2425"/>
                  </a:lnTo>
                  <a:lnTo>
                    <a:pt x="6464" y="2420"/>
                  </a:lnTo>
                  <a:lnTo>
                    <a:pt x="6472" y="2419"/>
                  </a:lnTo>
                  <a:close/>
                  <a:moveTo>
                    <a:pt x="6709" y="2419"/>
                  </a:moveTo>
                  <a:lnTo>
                    <a:pt x="6842" y="2419"/>
                  </a:lnTo>
                  <a:lnTo>
                    <a:pt x="6851" y="2420"/>
                  </a:lnTo>
                  <a:lnTo>
                    <a:pt x="6858" y="2425"/>
                  </a:lnTo>
                  <a:lnTo>
                    <a:pt x="6861" y="2432"/>
                  </a:lnTo>
                  <a:lnTo>
                    <a:pt x="6863" y="2439"/>
                  </a:lnTo>
                  <a:lnTo>
                    <a:pt x="6861" y="2446"/>
                  </a:lnTo>
                  <a:lnTo>
                    <a:pt x="6858" y="2452"/>
                  </a:lnTo>
                  <a:lnTo>
                    <a:pt x="6851" y="2457"/>
                  </a:lnTo>
                  <a:lnTo>
                    <a:pt x="6842" y="2459"/>
                  </a:lnTo>
                  <a:lnTo>
                    <a:pt x="6709" y="2459"/>
                  </a:lnTo>
                  <a:lnTo>
                    <a:pt x="6700" y="2457"/>
                  </a:lnTo>
                  <a:lnTo>
                    <a:pt x="6693" y="2452"/>
                  </a:lnTo>
                  <a:lnTo>
                    <a:pt x="6690" y="2446"/>
                  </a:lnTo>
                  <a:lnTo>
                    <a:pt x="6688" y="2439"/>
                  </a:lnTo>
                  <a:lnTo>
                    <a:pt x="6690" y="2432"/>
                  </a:lnTo>
                  <a:lnTo>
                    <a:pt x="6693" y="2425"/>
                  </a:lnTo>
                  <a:lnTo>
                    <a:pt x="6700" y="2420"/>
                  </a:lnTo>
                  <a:lnTo>
                    <a:pt x="6709" y="2419"/>
                  </a:lnTo>
                  <a:close/>
                  <a:moveTo>
                    <a:pt x="6946" y="2419"/>
                  </a:moveTo>
                  <a:lnTo>
                    <a:pt x="7078" y="2419"/>
                  </a:lnTo>
                  <a:lnTo>
                    <a:pt x="7087" y="2420"/>
                  </a:lnTo>
                  <a:lnTo>
                    <a:pt x="7094" y="2425"/>
                  </a:lnTo>
                  <a:lnTo>
                    <a:pt x="7097" y="2432"/>
                  </a:lnTo>
                  <a:lnTo>
                    <a:pt x="7099" y="2439"/>
                  </a:lnTo>
                  <a:lnTo>
                    <a:pt x="7097" y="2446"/>
                  </a:lnTo>
                  <a:lnTo>
                    <a:pt x="7094" y="2452"/>
                  </a:lnTo>
                  <a:lnTo>
                    <a:pt x="7087" y="2457"/>
                  </a:lnTo>
                  <a:lnTo>
                    <a:pt x="7078" y="2459"/>
                  </a:lnTo>
                  <a:lnTo>
                    <a:pt x="6946" y="2459"/>
                  </a:lnTo>
                  <a:lnTo>
                    <a:pt x="6937" y="2457"/>
                  </a:lnTo>
                  <a:lnTo>
                    <a:pt x="6931" y="2452"/>
                  </a:lnTo>
                  <a:lnTo>
                    <a:pt x="6927" y="2446"/>
                  </a:lnTo>
                  <a:lnTo>
                    <a:pt x="6926" y="2439"/>
                  </a:lnTo>
                  <a:lnTo>
                    <a:pt x="6927" y="2432"/>
                  </a:lnTo>
                  <a:lnTo>
                    <a:pt x="6931" y="2425"/>
                  </a:lnTo>
                  <a:lnTo>
                    <a:pt x="6937" y="2420"/>
                  </a:lnTo>
                  <a:lnTo>
                    <a:pt x="6946" y="2419"/>
                  </a:lnTo>
                  <a:close/>
                  <a:moveTo>
                    <a:pt x="6236" y="2682"/>
                  </a:moveTo>
                  <a:lnTo>
                    <a:pt x="6369" y="2682"/>
                  </a:lnTo>
                  <a:lnTo>
                    <a:pt x="6378" y="2684"/>
                  </a:lnTo>
                  <a:lnTo>
                    <a:pt x="6384" y="2689"/>
                  </a:lnTo>
                  <a:lnTo>
                    <a:pt x="6387" y="2695"/>
                  </a:lnTo>
                  <a:lnTo>
                    <a:pt x="6388" y="2702"/>
                  </a:lnTo>
                  <a:lnTo>
                    <a:pt x="6387" y="2709"/>
                  </a:lnTo>
                  <a:lnTo>
                    <a:pt x="6384" y="2716"/>
                  </a:lnTo>
                  <a:lnTo>
                    <a:pt x="6378" y="2721"/>
                  </a:lnTo>
                  <a:lnTo>
                    <a:pt x="6369" y="2722"/>
                  </a:lnTo>
                  <a:lnTo>
                    <a:pt x="6236" y="2722"/>
                  </a:lnTo>
                  <a:lnTo>
                    <a:pt x="6227" y="2721"/>
                  </a:lnTo>
                  <a:lnTo>
                    <a:pt x="6220" y="2716"/>
                  </a:lnTo>
                  <a:lnTo>
                    <a:pt x="6216" y="2709"/>
                  </a:lnTo>
                  <a:lnTo>
                    <a:pt x="6215" y="2702"/>
                  </a:lnTo>
                  <a:lnTo>
                    <a:pt x="6216" y="2695"/>
                  </a:lnTo>
                  <a:lnTo>
                    <a:pt x="6220" y="2689"/>
                  </a:lnTo>
                  <a:lnTo>
                    <a:pt x="6227" y="2684"/>
                  </a:lnTo>
                  <a:lnTo>
                    <a:pt x="6236" y="2682"/>
                  </a:lnTo>
                  <a:close/>
                  <a:moveTo>
                    <a:pt x="6472" y="2682"/>
                  </a:moveTo>
                  <a:lnTo>
                    <a:pt x="6605" y="2682"/>
                  </a:lnTo>
                  <a:lnTo>
                    <a:pt x="6614" y="2684"/>
                  </a:lnTo>
                  <a:lnTo>
                    <a:pt x="6620" y="2689"/>
                  </a:lnTo>
                  <a:lnTo>
                    <a:pt x="6624" y="2695"/>
                  </a:lnTo>
                  <a:lnTo>
                    <a:pt x="6626" y="2702"/>
                  </a:lnTo>
                  <a:lnTo>
                    <a:pt x="6624" y="2709"/>
                  </a:lnTo>
                  <a:lnTo>
                    <a:pt x="6620" y="2716"/>
                  </a:lnTo>
                  <a:lnTo>
                    <a:pt x="6614" y="2721"/>
                  </a:lnTo>
                  <a:lnTo>
                    <a:pt x="6605" y="2722"/>
                  </a:lnTo>
                  <a:lnTo>
                    <a:pt x="6472" y="2722"/>
                  </a:lnTo>
                  <a:lnTo>
                    <a:pt x="6464" y="2721"/>
                  </a:lnTo>
                  <a:lnTo>
                    <a:pt x="6458" y="2716"/>
                  </a:lnTo>
                  <a:lnTo>
                    <a:pt x="6454" y="2709"/>
                  </a:lnTo>
                  <a:lnTo>
                    <a:pt x="6452" y="2702"/>
                  </a:lnTo>
                  <a:lnTo>
                    <a:pt x="6454" y="2695"/>
                  </a:lnTo>
                  <a:lnTo>
                    <a:pt x="6458" y="2689"/>
                  </a:lnTo>
                  <a:lnTo>
                    <a:pt x="6464" y="2684"/>
                  </a:lnTo>
                  <a:lnTo>
                    <a:pt x="6472" y="2682"/>
                  </a:lnTo>
                  <a:close/>
                  <a:moveTo>
                    <a:pt x="6709" y="2682"/>
                  </a:moveTo>
                  <a:lnTo>
                    <a:pt x="6842" y="2682"/>
                  </a:lnTo>
                  <a:lnTo>
                    <a:pt x="6851" y="2684"/>
                  </a:lnTo>
                  <a:lnTo>
                    <a:pt x="6858" y="2689"/>
                  </a:lnTo>
                  <a:lnTo>
                    <a:pt x="6861" y="2695"/>
                  </a:lnTo>
                  <a:lnTo>
                    <a:pt x="6863" y="2702"/>
                  </a:lnTo>
                  <a:lnTo>
                    <a:pt x="6861" y="2709"/>
                  </a:lnTo>
                  <a:lnTo>
                    <a:pt x="6858" y="2716"/>
                  </a:lnTo>
                  <a:lnTo>
                    <a:pt x="6851" y="2721"/>
                  </a:lnTo>
                  <a:lnTo>
                    <a:pt x="6842" y="2722"/>
                  </a:lnTo>
                  <a:lnTo>
                    <a:pt x="6709" y="2722"/>
                  </a:lnTo>
                  <a:lnTo>
                    <a:pt x="6700" y="2721"/>
                  </a:lnTo>
                  <a:lnTo>
                    <a:pt x="6693" y="2716"/>
                  </a:lnTo>
                  <a:lnTo>
                    <a:pt x="6690" y="2709"/>
                  </a:lnTo>
                  <a:lnTo>
                    <a:pt x="6688" y="2702"/>
                  </a:lnTo>
                  <a:lnTo>
                    <a:pt x="6690" y="2695"/>
                  </a:lnTo>
                  <a:lnTo>
                    <a:pt x="6693" y="2689"/>
                  </a:lnTo>
                  <a:lnTo>
                    <a:pt x="6700" y="2684"/>
                  </a:lnTo>
                  <a:lnTo>
                    <a:pt x="6709" y="2682"/>
                  </a:lnTo>
                  <a:close/>
                  <a:moveTo>
                    <a:pt x="6946" y="2682"/>
                  </a:moveTo>
                  <a:lnTo>
                    <a:pt x="7078" y="2682"/>
                  </a:lnTo>
                  <a:lnTo>
                    <a:pt x="7087" y="2684"/>
                  </a:lnTo>
                  <a:lnTo>
                    <a:pt x="7094" y="2689"/>
                  </a:lnTo>
                  <a:lnTo>
                    <a:pt x="7097" y="2695"/>
                  </a:lnTo>
                  <a:lnTo>
                    <a:pt x="7099" y="2702"/>
                  </a:lnTo>
                  <a:lnTo>
                    <a:pt x="7097" y="2709"/>
                  </a:lnTo>
                  <a:lnTo>
                    <a:pt x="7094" y="2716"/>
                  </a:lnTo>
                  <a:lnTo>
                    <a:pt x="7087" y="2721"/>
                  </a:lnTo>
                  <a:lnTo>
                    <a:pt x="7078" y="2722"/>
                  </a:lnTo>
                  <a:lnTo>
                    <a:pt x="6946" y="2722"/>
                  </a:lnTo>
                  <a:lnTo>
                    <a:pt x="6937" y="2721"/>
                  </a:lnTo>
                  <a:lnTo>
                    <a:pt x="6931" y="2716"/>
                  </a:lnTo>
                  <a:lnTo>
                    <a:pt x="6927" y="2709"/>
                  </a:lnTo>
                  <a:lnTo>
                    <a:pt x="6926" y="2702"/>
                  </a:lnTo>
                  <a:lnTo>
                    <a:pt x="6927" y="2695"/>
                  </a:lnTo>
                  <a:lnTo>
                    <a:pt x="6931" y="2689"/>
                  </a:lnTo>
                  <a:lnTo>
                    <a:pt x="6937" y="2684"/>
                  </a:lnTo>
                  <a:lnTo>
                    <a:pt x="6946" y="2682"/>
                  </a:lnTo>
                  <a:close/>
                  <a:moveTo>
                    <a:pt x="6236" y="2946"/>
                  </a:moveTo>
                  <a:lnTo>
                    <a:pt x="6369" y="2946"/>
                  </a:lnTo>
                  <a:lnTo>
                    <a:pt x="6378" y="2947"/>
                  </a:lnTo>
                  <a:lnTo>
                    <a:pt x="6384" y="2951"/>
                  </a:lnTo>
                  <a:lnTo>
                    <a:pt x="6387" y="2957"/>
                  </a:lnTo>
                  <a:lnTo>
                    <a:pt x="6388" y="2965"/>
                  </a:lnTo>
                  <a:lnTo>
                    <a:pt x="6387" y="2973"/>
                  </a:lnTo>
                  <a:lnTo>
                    <a:pt x="6384" y="2979"/>
                  </a:lnTo>
                  <a:lnTo>
                    <a:pt x="6378" y="2983"/>
                  </a:lnTo>
                  <a:lnTo>
                    <a:pt x="6369" y="2985"/>
                  </a:lnTo>
                  <a:lnTo>
                    <a:pt x="6236" y="2985"/>
                  </a:lnTo>
                  <a:lnTo>
                    <a:pt x="6227" y="2983"/>
                  </a:lnTo>
                  <a:lnTo>
                    <a:pt x="6220" y="2979"/>
                  </a:lnTo>
                  <a:lnTo>
                    <a:pt x="6216" y="2973"/>
                  </a:lnTo>
                  <a:lnTo>
                    <a:pt x="6215" y="2965"/>
                  </a:lnTo>
                  <a:lnTo>
                    <a:pt x="6216" y="2957"/>
                  </a:lnTo>
                  <a:lnTo>
                    <a:pt x="6220" y="2951"/>
                  </a:lnTo>
                  <a:lnTo>
                    <a:pt x="6227" y="2947"/>
                  </a:lnTo>
                  <a:lnTo>
                    <a:pt x="6236" y="2946"/>
                  </a:lnTo>
                  <a:close/>
                  <a:moveTo>
                    <a:pt x="6472" y="2946"/>
                  </a:moveTo>
                  <a:lnTo>
                    <a:pt x="6605" y="2946"/>
                  </a:lnTo>
                  <a:lnTo>
                    <a:pt x="6614" y="2947"/>
                  </a:lnTo>
                  <a:lnTo>
                    <a:pt x="6620" y="2951"/>
                  </a:lnTo>
                  <a:lnTo>
                    <a:pt x="6624" y="2957"/>
                  </a:lnTo>
                  <a:lnTo>
                    <a:pt x="6626" y="2965"/>
                  </a:lnTo>
                  <a:lnTo>
                    <a:pt x="6624" y="2973"/>
                  </a:lnTo>
                  <a:lnTo>
                    <a:pt x="6620" y="2979"/>
                  </a:lnTo>
                  <a:lnTo>
                    <a:pt x="6614" y="2983"/>
                  </a:lnTo>
                  <a:lnTo>
                    <a:pt x="6605" y="2985"/>
                  </a:lnTo>
                  <a:lnTo>
                    <a:pt x="6472" y="2985"/>
                  </a:lnTo>
                  <a:lnTo>
                    <a:pt x="6464" y="2983"/>
                  </a:lnTo>
                  <a:lnTo>
                    <a:pt x="6458" y="2979"/>
                  </a:lnTo>
                  <a:lnTo>
                    <a:pt x="6454" y="2973"/>
                  </a:lnTo>
                  <a:lnTo>
                    <a:pt x="6452" y="2965"/>
                  </a:lnTo>
                  <a:lnTo>
                    <a:pt x="6454" y="2957"/>
                  </a:lnTo>
                  <a:lnTo>
                    <a:pt x="6458" y="2951"/>
                  </a:lnTo>
                  <a:lnTo>
                    <a:pt x="6464" y="2947"/>
                  </a:lnTo>
                  <a:lnTo>
                    <a:pt x="6472" y="2946"/>
                  </a:lnTo>
                  <a:close/>
                  <a:moveTo>
                    <a:pt x="6709" y="2946"/>
                  </a:moveTo>
                  <a:lnTo>
                    <a:pt x="6842" y="2946"/>
                  </a:lnTo>
                  <a:lnTo>
                    <a:pt x="6851" y="2947"/>
                  </a:lnTo>
                  <a:lnTo>
                    <a:pt x="6858" y="2951"/>
                  </a:lnTo>
                  <a:lnTo>
                    <a:pt x="6861" y="2957"/>
                  </a:lnTo>
                  <a:lnTo>
                    <a:pt x="6863" y="2965"/>
                  </a:lnTo>
                  <a:lnTo>
                    <a:pt x="6861" y="2973"/>
                  </a:lnTo>
                  <a:lnTo>
                    <a:pt x="6858" y="2979"/>
                  </a:lnTo>
                  <a:lnTo>
                    <a:pt x="6851" y="2983"/>
                  </a:lnTo>
                  <a:lnTo>
                    <a:pt x="6842" y="2985"/>
                  </a:lnTo>
                  <a:lnTo>
                    <a:pt x="6709" y="2985"/>
                  </a:lnTo>
                  <a:lnTo>
                    <a:pt x="6700" y="2983"/>
                  </a:lnTo>
                  <a:lnTo>
                    <a:pt x="6693" y="2979"/>
                  </a:lnTo>
                  <a:lnTo>
                    <a:pt x="6690" y="2973"/>
                  </a:lnTo>
                  <a:lnTo>
                    <a:pt x="6688" y="2965"/>
                  </a:lnTo>
                  <a:lnTo>
                    <a:pt x="6690" y="2957"/>
                  </a:lnTo>
                  <a:lnTo>
                    <a:pt x="6693" y="2951"/>
                  </a:lnTo>
                  <a:lnTo>
                    <a:pt x="6700" y="2947"/>
                  </a:lnTo>
                  <a:lnTo>
                    <a:pt x="6709" y="2946"/>
                  </a:lnTo>
                  <a:close/>
                  <a:moveTo>
                    <a:pt x="6946" y="2946"/>
                  </a:moveTo>
                  <a:lnTo>
                    <a:pt x="7078" y="2946"/>
                  </a:lnTo>
                  <a:lnTo>
                    <a:pt x="7087" y="2947"/>
                  </a:lnTo>
                  <a:lnTo>
                    <a:pt x="7094" y="2951"/>
                  </a:lnTo>
                  <a:lnTo>
                    <a:pt x="7097" y="2957"/>
                  </a:lnTo>
                  <a:lnTo>
                    <a:pt x="7099" y="2965"/>
                  </a:lnTo>
                  <a:lnTo>
                    <a:pt x="7097" y="2973"/>
                  </a:lnTo>
                  <a:lnTo>
                    <a:pt x="7094" y="2979"/>
                  </a:lnTo>
                  <a:lnTo>
                    <a:pt x="7087" y="2983"/>
                  </a:lnTo>
                  <a:lnTo>
                    <a:pt x="7078" y="2985"/>
                  </a:lnTo>
                  <a:lnTo>
                    <a:pt x="6946" y="2985"/>
                  </a:lnTo>
                  <a:lnTo>
                    <a:pt x="6937" y="2983"/>
                  </a:lnTo>
                  <a:lnTo>
                    <a:pt x="6931" y="2979"/>
                  </a:lnTo>
                  <a:lnTo>
                    <a:pt x="6927" y="2973"/>
                  </a:lnTo>
                  <a:lnTo>
                    <a:pt x="6926" y="2965"/>
                  </a:lnTo>
                  <a:lnTo>
                    <a:pt x="6927" y="2957"/>
                  </a:lnTo>
                  <a:lnTo>
                    <a:pt x="6931" y="2951"/>
                  </a:lnTo>
                  <a:lnTo>
                    <a:pt x="6937" y="2947"/>
                  </a:lnTo>
                  <a:lnTo>
                    <a:pt x="6946" y="2946"/>
                  </a:lnTo>
                  <a:close/>
                  <a:moveTo>
                    <a:pt x="6236" y="3208"/>
                  </a:moveTo>
                  <a:lnTo>
                    <a:pt x="6369" y="3208"/>
                  </a:lnTo>
                  <a:lnTo>
                    <a:pt x="6378" y="3211"/>
                  </a:lnTo>
                  <a:lnTo>
                    <a:pt x="6384" y="3214"/>
                  </a:lnTo>
                  <a:lnTo>
                    <a:pt x="6387" y="3221"/>
                  </a:lnTo>
                  <a:lnTo>
                    <a:pt x="6388" y="3228"/>
                  </a:lnTo>
                  <a:lnTo>
                    <a:pt x="6387" y="3236"/>
                  </a:lnTo>
                  <a:lnTo>
                    <a:pt x="6384" y="3242"/>
                  </a:lnTo>
                  <a:lnTo>
                    <a:pt x="6378" y="3246"/>
                  </a:lnTo>
                  <a:lnTo>
                    <a:pt x="6369" y="3248"/>
                  </a:lnTo>
                  <a:lnTo>
                    <a:pt x="6236" y="3248"/>
                  </a:lnTo>
                  <a:lnTo>
                    <a:pt x="6227" y="3246"/>
                  </a:lnTo>
                  <a:lnTo>
                    <a:pt x="6220" y="3242"/>
                  </a:lnTo>
                  <a:lnTo>
                    <a:pt x="6216" y="3236"/>
                  </a:lnTo>
                  <a:lnTo>
                    <a:pt x="6215" y="3228"/>
                  </a:lnTo>
                  <a:lnTo>
                    <a:pt x="6216" y="3221"/>
                  </a:lnTo>
                  <a:lnTo>
                    <a:pt x="6220" y="3214"/>
                  </a:lnTo>
                  <a:lnTo>
                    <a:pt x="6227" y="3211"/>
                  </a:lnTo>
                  <a:lnTo>
                    <a:pt x="6236" y="3208"/>
                  </a:lnTo>
                  <a:close/>
                  <a:moveTo>
                    <a:pt x="6472" y="3208"/>
                  </a:moveTo>
                  <a:lnTo>
                    <a:pt x="6605" y="3208"/>
                  </a:lnTo>
                  <a:lnTo>
                    <a:pt x="6614" y="3211"/>
                  </a:lnTo>
                  <a:lnTo>
                    <a:pt x="6620" y="3214"/>
                  </a:lnTo>
                  <a:lnTo>
                    <a:pt x="6624" y="3221"/>
                  </a:lnTo>
                  <a:lnTo>
                    <a:pt x="6626" y="3228"/>
                  </a:lnTo>
                  <a:lnTo>
                    <a:pt x="6624" y="3236"/>
                  </a:lnTo>
                  <a:lnTo>
                    <a:pt x="6620" y="3242"/>
                  </a:lnTo>
                  <a:lnTo>
                    <a:pt x="6614" y="3246"/>
                  </a:lnTo>
                  <a:lnTo>
                    <a:pt x="6605" y="3248"/>
                  </a:lnTo>
                  <a:lnTo>
                    <a:pt x="6472" y="3248"/>
                  </a:lnTo>
                  <a:lnTo>
                    <a:pt x="6464" y="3246"/>
                  </a:lnTo>
                  <a:lnTo>
                    <a:pt x="6458" y="3242"/>
                  </a:lnTo>
                  <a:lnTo>
                    <a:pt x="6454" y="3236"/>
                  </a:lnTo>
                  <a:lnTo>
                    <a:pt x="6452" y="3228"/>
                  </a:lnTo>
                  <a:lnTo>
                    <a:pt x="6454" y="3221"/>
                  </a:lnTo>
                  <a:lnTo>
                    <a:pt x="6458" y="3214"/>
                  </a:lnTo>
                  <a:lnTo>
                    <a:pt x="6464" y="3211"/>
                  </a:lnTo>
                  <a:lnTo>
                    <a:pt x="6472" y="3208"/>
                  </a:lnTo>
                  <a:close/>
                  <a:moveTo>
                    <a:pt x="6709" y="3208"/>
                  </a:moveTo>
                  <a:lnTo>
                    <a:pt x="6842" y="3208"/>
                  </a:lnTo>
                  <a:lnTo>
                    <a:pt x="6851" y="3211"/>
                  </a:lnTo>
                  <a:lnTo>
                    <a:pt x="6858" y="3214"/>
                  </a:lnTo>
                  <a:lnTo>
                    <a:pt x="6861" y="3221"/>
                  </a:lnTo>
                  <a:lnTo>
                    <a:pt x="6863" y="3228"/>
                  </a:lnTo>
                  <a:lnTo>
                    <a:pt x="6861" y="3236"/>
                  </a:lnTo>
                  <a:lnTo>
                    <a:pt x="6858" y="3242"/>
                  </a:lnTo>
                  <a:lnTo>
                    <a:pt x="6851" y="3246"/>
                  </a:lnTo>
                  <a:lnTo>
                    <a:pt x="6842" y="3248"/>
                  </a:lnTo>
                  <a:lnTo>
                    <a:pt x="6709" y="3248"/>
                  </a:lnTo>
                  <a:lnTo>
                    <a:pt x="6700" y="3246"/>
                  </a:lnTo>
                  <a:lnTo>
                    <a:pt x="6693" y="3242"/>
                  </a:lnTo>
                  <a:lnTo>
                    <a:pt x="6690" y="3236"/>
                  </a:lnTo>
                  <a:lnTo>
                    <a:pt x="6688" y="3228"/>
                  </a:lnTo>
                  <a:lnTo>
                    <a:pt x="6690" y="3221"/>
                  </a:lnTo>
                  <a:lnTo>
                    <a:pt x="6693" y="3214"/>
                  </a:lnTo>
                  <a:lnTo>
                    <a:pt x="6700" y="3211"/>
                  </a:lnTo>
                  <a:lnTo>
                    <a:pt x="6709" y="3208"/>
                  </a:lnTo>
                  <a:close/>
                  <a:moveTo>
                    <a:pt x="6946" y="3208"/>
                  </a:moveTo>
                  <a:lnTo>
                    <a:pt x="7078" y="3208"/>
                  </a:lnTo>
                  <a:lnTo>
                    <a:pt x="7087" y="3211"/>
                  </a:lnTo>
                  <a:lnTo>
                    <a:pt x="7094" y="3214"/>
                  </a:lnTo>
                  <a:lnTo>
                    <a:pt x="7097" y="3221"/>
                  </a:lnTo>
                  <a:lnTo>
                    <a:pt x="7099" y="3228"/>
                  </a:lnTo>
                  <a:lnTo>
                    <a:pt x="7097" y="3236"/>
                  </a:lnTo>
                  <a:lnTo>
                    <a:pt x="7094" y="3242"/>
                  </a:lnTo>
                  <a:lnTo>
                    <a:pt x="7087" y="3246"/>
                  </a:lnTo>
                  <a:lnTo>
                    <a:pt x="7078" y="3248"/>
                  </a:lnTo>
                  <a:lnTo>
                    <a:pt x="6946" y="3248"/>
                  </a:lnTo>
                  <a:lnTo>
                    <a:pt x="6937" y="3246"/>
                  </a:lnTo>
                  <a:lnTo>
                    <a:pt x="6931" y="3242"/>
                  </a:lnTo>
                  <a:lnTo>
                    <a:pt x="6927" y="3236"/>
                  </a:lnTo>
                  <a:lnTo>
                    <a:pt x="6926" y="3228"/>
                  </a:lnTo>
                  <a:lnTo>
                    <a:pt x="6927" y="3221"/>
                  </a:lnTo>
                  <a:lnTo>
                    <a:pt x="6931" y="3214"/>
                  </a:lnTo>
                  <a:lnTo>
                    <a:pt x="6937" y="3211"/>
                  </a:lnTo>
                  <a:lnTo>
                    <a:pt x="6946" y="3208"/>
                  </a:lnTo>
                  <a:close/>
                  <a:moveTo>
                    <a:pt x="6236" y="3471"/>
                  </a:moveTo>
                  <a:lnTo>
                    <a:pt x="6369" y="3471"/>
                  </a:lnTo>
                  <a:lnTo>
                    <a:pt x="6378" y="3473"/>
                  </a:lnTo>
                  <a:lnTo>
                    <a:pt x="6384" y="3478"/>
                  </a:lnTo>
                  <a:lnTo>
                    <a:pt x="6387" y="3484"/>
                  </a:lnTo>
                  <a:lnTo>
                    <a:pt x="6388" y="3492"/>
                  </a:lnTo>
                  <a:lnTo>
                    <a:pt x="6387" y="3498"/>
                  </a:lnTo>
                  <a:lnTo>
                    <a:pt x="6384" y="3505"/>
                  </a:lnTo>
                  <a:lnTo>
                    <a:pt x="6378" y="3510"/>
                  </a:lnTo>
                  <a:lnTo>
                    <a:pt x="6369" y="3511"/>
                  </a:lnTo>
                  <a:lnTo>
                    <a:pt x="6236" y="3511"/>
                  </a:lnTo>
                  <a:lnTo>
                    <a:pt x="6227" y="3510"/>
                  </a:lnTo>
                  <a:lnTo>
                    <a:pt x="6220" y="3505"/>
                  </a:lnTo>
                  <a:lnTo>
                    <a:pt x="6216" y="3498"/>
                  </a:lnTo>
                  <a:lnTo>
                    <a:pt x="6215" y="3492"/>
                  </a:lnTo>
                  <a:lnTo>
                    <a:pt x="6216" y="3484"/>
                  </a:lnTo>
                  <a:lnTo>
                    <a:pt x="6220" y="3478"/>
                  </a:lnTo>
                  <a:lnTo>
                    <a:pt x="6227" y="3473"/>
                  </a:lnTo>
                  <a:lnTo>
                    <a:pt x="6236" y="3471"/>
                  </a:lnTo>
                  <a:close/>
                  <a:moveTo>
                    <a:pt x="6472" y="3471"/>
                  </a:moveTo>
                  <a:lnTo>
                    <a:pt x="6605" y="3471"/>
                  </a:lnTo>
                  <a:lnTo>
                    <a:pt x="6614" y="3473"/>
                  </a:lnTo>
                  <a:lnTo>
                    <a:pt x="6620" y="3478"/>
                  </a:lnTo>
                  <a:lnTo>
                    <a:pt x="6624" y="3484"/>
                  </a:lnTo>
                  <a:lnTo>
                    <a:pt x="6626" y="3492"/>
                  </a:lnTo>
                  <a:lnTo>
                    <a:pt x="6624" y="3498"/>
                  </a:lnTo>
                  <a:lnTo>
                    <a:pt x="6620" y="3505"/>
                  </a:lnTo>
                  <a:lnTo>
                    <a:pt x="6614" y="3510"/>
                  </a:lnTo>
                  <a:lnTo>
                    <a:pt x="6605" y="3511"/>
                  </a:lnTo>
                  <a:lnTo>
                    <a:pt x="6472" y="3511"/>
                  </a:lnTo>
                  <a:lnTo>
                    <a:pt x="6464" y="3510"/>
                  </a:lnTo>
                  <a:lnTo>
                    <a:pt x="6458" y="3505"/>
                  </a:lnTo>
                  <a:lnTo>
                    <a:pt x="6454" y="3498"/>
                  </a:lnTo>
                  <a:lnTo>
                    <a:pt x="6452" y="3492"/>
                  </a:lnTo>
                  <a:lnTo>
                    <a:pt x="6454" y="3484"/>
                  </a:lnTo>
                  <a:lnTo>
                    <a:pt x="6458" y="3478"/>
                  </a:lnTo>
                  <a:lnTo>
                    <a:pt x="6464" y="3473"/>
                  </a:lnTo>
                  <a:lnTo>
                    <a:pt x="6472" y="3471"/>
                  </a:lnTo>
                  <a:close/>
                  <a:moveTo>
                    <a:pt x="6709" y="3471"/>
                  </a:moveTo>
                  <a:lnTo>
                    <a:pt x="6842" y="3471"/>
                  </a:lnTo>
                  <a:lnTo>
                    <a:pt x="6851" y="3473"/>
                  </a:lnTo>
                  <a:lnTo>
                    <a:pt x="6858" y="3478"/>
                  </a:lnTo>
                  <a:lnTo>
                    <a:pt x="6861" y="3484"/>
                  </a:lnTo>
                  <a:lnTo>
                    <a:pt x="6863" y="3492"/>
                  </a:lnTo>
                  <a:lnTo>
                    <a:pt x="6861" y="3498"/>
                  </a:lnTo>
                  <a:lnTo>
                    <a:pt x="6858" y="3505"/>
                  </a:lnTo>
                  <a:lnTo>
                    <a:pt x="6851" y="3510"/>
                  </a:lnTo>
                  <a:lnTo>
                    <a:pt x="6842" y="3511"/>
                  </a:lnTo>
                  <a:lnTo>
                    <a:pt x="6709" y="3511"/>
                  </a:lnTo>
                  <a:lnTo>
                    <a:pt x="6700" y="3510"/>
                  </a:lnTo>
                  <a:lnTo>
                    <a:pt x="6693" y="3505"/>
                  </a:lnTo>
                  <a:lnTo>
                    <a:pt x="6690" y="3498"/>
                  </a:lnTo>
                  <a:lnTo>
                    <a:pt x="6688" y="3492"/>
                  </a:lnTo>
                  <a:lnTo>
                    <a:pt x="6690" y="3484"/>
                  </a:lnTo>
                  <a:lnTo>
                    <a:pt x="6693" y="3478"/>
                  </a:lnTo>
                  <a:lnTo>
                    <a:pt x="6700" y="3473"/>
                  </a:lnTo>
                  <a:lnTo>
                    <a:pt x="6709" y="3471"/>
                  </a:lnTo>
                  <a:close/>
                  <a:moveTo>
                    <a:pt x="6946" y="3471"/>
                  </a:moveTo>
                  <a:lnTo>
                    <a:pt x="7078" y="3471"/>
                  </a:lnTo>
                  <a:lnTo>
                    <a:pt x="7087" y="3473"/>
                  </a:lnTo>
                  <a:lnTo>
                    <a:pt x="7094" y="3478"/>
                  </a:lnTo>
                  <a:lnTo>
                    <a:pt x="7097" y="3484"/>
                  </a:lnTo>
                  <a:lnTo>
                    <a:pt x="7099" y="3492"/>
                  </a:lnTo>
                  <a:lnTo>
                    <a:pt x="7097" y="3498"/>
                  </a:lnTo>
                  <a:lnTo>
                    <a:pt x="7094" y="3505"/>
                  </a:lnTo>
                  <a:lnTo>
                    <a:pt x="7087" y="3510"/>
                  </a:lnTo>
                  <a:lnTo>
                    <a:pt x="7078" y="3511"/>
                  </a:lnTo>
                  <a:lnTo>
                    <a:pt x="6946" y="3511"/>
                  </a:lnTo>
                  <a:lnTo>
                    <a:pt x="6937" y="3510"/>
                  </a:lnTo>
                  <a:lnTo>
                    <a:pt x="6931" y="3505"/>
                  </a:lnTo>
                  <a:lnTo>
                    <a:pt x="6927" y="3498"/>
                  </a:lnTo>
                  <a:lnTo>
                    <a:pt x="6926" y="3492"/>
                  </a:lnTo>
                  <a:lnTo>
                    <a:pt x="6927" y="3484"/>
                  </a:lnTo>
                  <a:lnTo>
                    <a:pt x="6931" y="3478"/>
                  </a:lnTo>
                  <a:lnTo>
                    <a:pt x="6937" y="3473"/>
                  </a:lnTo>
                  <a:lnTo>
                    <a:pt x="6946" y="3471"/>
                  </a:lnTo>
                  <a:close/>
                  <a:moveTo>
                    <a:pt x="6236" y="3735"/>
                  </a:moveTo>
                  <a:lnTo>
                    <a:pt x="6369" y="3735"/>
                  </a:lnTo>
                  <a:lnTo>
                    <a:pt x="6378" y="3736"/>
                  </a:lnTo>
                  <a:lnTo>
                    <a:pt x="6384" y="3741"/>
                  </a:lnTo>
                  <a:lnTo>
                    <a:pt x="6387" y="3748"/>
                  </a:lnTo>
                  <a:lnTo>
                    <a:pt x="6388" y="3754"/>
                  </a:lnTo>
                  <a:lnTo>
                    <a:pt x="6387" y="3762"/>
                  </a:lnTo>
                  <a:lnTo>
                    <a:pt x="6384" y="3768"/>
                  </a:lnTo>
                  <a:lnTo>
                    <a:pt x="6378" y="3773"/>
                  </a:lnTo>
                  <a:lnTo>
                    <a:pt x="6369" y="3774"/>
                  </a:lnTo>
                  <a:lnTo>
                    <a:pt x="6236" y="3774"/>
                  </a:lnTo>
                  <a:lnTo>
                    <a:pt x="6227" y="3773"/>
                  </a:lnTo>
                  <a:lnTo>
                    <a:pt x="6220" y="3768"/>
                  </a:lnTo>
                  <a:lnTo>
                    <a:pt x="6216" y="3762"/>
                  </a:lnTo>
                  <a:lnTo>
                    <a:pt x="6215" y="3754"/>
                  </a:lnTo>
                  <a:lnTo>
                    <a:pt x="6216" y="3748"/>
                  </a:lnTo>
                  <a:lnTo>
                    <a:pt x="6220" y="3741"/>
                  </a:lnTo>
                  <a:lnTo>
                    <a:pt x="6227" y="3736"/>
                  </a:lnTo>
                  <a:lnTo>
                    <a:pt x="6236" y="3735"/>
                  </a:lnTo>
                  <a:close/>
                  <a:moveTo>
                    <a:pt x="6472" y="3735"/>
                  </a:moveTo>
                  <a:lnTo>
                    <a:pt x="6605" y="3735"/>
                  </a:lnTo>
                  <a:lnTo>
                    <a:pt x="6614" y="3736"/>
                  </a:lnTo>
                  <a:lnTo>
                    <a:pt x="6620" y="3741"/>
                  </a:lnTo>
                  <a:lnTo>
                    <a:pt x="6624" y="3748"/>
                  </a:lnTo>
                  <a:lnTo>
                    <a:pt x="6626" y="3754"/>
                  </a:lnTo>
                  <a:lnTo>
                    <a:pt x="6624" y="3762"/>
                  </a:lnTo>
                  <a:lnTo>
                    <a:pt x="6620" y="3768"/>
                  </a:lnTo>
                  <a:lnTo>
                    <a:pt x="6614" y="3773"/>
                  </a:lnTo>
                  <a:lnTo>
                    <a:pt x="6605" y="3774"/>
                  </a:lnTo>
                  <a:lnTo>
                    <a:pt x="6472" y="3774"/>
                  </a:lnTo>
                  <a:lnTo>
                    <a:pt x="6464" y="3773"/>
                  </a:lnTo>
                  <a:lnTo>
                    <a:pt x="6458" y="3768"/>
                  </a:lnTo>
                  <a:lnTo>
                    <a:pt x="6454" y="3762"/>
                  </a:lnTo>
                  <a:lnTo>
                    <a:pt x="6452" y="3754"/>
                  </a:lnTo>
                  <a:lnTo>
                    <a:pt x="6454" y="3748"/>
                  </a:lnTo>
                  <a:lnTo>
                    <a:pt x="6458" y="3741"/>
                  </a:lnTo>
                  <a:lnTo>
                    <a:pt x="6464" y="3736"/>
                  </a:lnTo>
                  <a:lnTo>
                    <a:pt x="6472" y="3735"/>
                  </a:lnTo>
                  <a:close/>
                  <a:moveTo>
                    <a:pt x="6709" y="3735"/>
                  </a:moveTo>
                  <a:lnTo>
                    <a:pt x="6842" y="3735"/>
                  </a:lnTo>
                  <a:lnTo>
                    <a:pt x="6851" y="3736"/>
                  </a:lnTo>
                  <a:lnTo>
                    <a:pt x="6858" y="3741"/>
                  </a:lnTo>
                  <a:lnTo>
                    <a:pt x="6861" y="3748"/>
                  </a:lnTo>
                  <a:lnTo>
                    <a:pt x="6863" y="3754"/>
                  </a:lnTo>
                  <a:lnTo>
                    <a:pt x="6861" y="3762"/>
                  </a:lnTo>
                  <a:lnTo>
                    <a:pt x="6858" y="3768"/>
                  </a:lnTo>
                  <a:lnTo>
                    <a:pt x="6851" y="3773"/>
                  </a:lnTo>
                  <a:lnTo>
                    <a:pt x="6842" y="3774"/>
                  </a:lnTo>
                  <a:lnTo>
                    <a:pt x="6709" y="3774"/>
                  </a:lnTo>
                  <a:lnTo>
                    <a:pt x="6700" y="3773"/>
                  </a:lnTo>
                  <a:lnTo>
                    <a:pt x="6693" y="3768"/>
                  </a:lnTo>
                  <a:lnTo>
                    <a:pt x="6690" y="3762"/>
                  </a:lnTo>
                  <a:lnTo>
                    <a:pt x="6688" y="3754"/>
                  </a:lnTo>
                  <a:lnTo>
                    <a:pt x="6690" y="3748"/>
                  </a:lnTo>
                  <a:lnTo>
                    <a:pt x="6693" y="3741"/>
                  </a:lnTo>
                  <a:lnTo>
                    <a:pt x="6700" y="3736"/>
                  </a:lnTo>
                  <a:lnTo>
                    <a:pt x="6709" y="3735"/>
                  </a:lnTo>
                  <a:close/>
                  <a:moveTo>
                    <a:pt x="6946" y="3735"/>
                  </a:moveTo>
                  <a:lnTo>
                    <a:pt x="7078" y="3735"/>
                  </a:lnTo>
                  <a:lnTo>
                    <a:pt x="7087" y="3736"/>
                  </a:lnTo>
                  <a:lnTo>
                    <a:pt x="7094" y="3741"/>
                  </a:lnTo>
                  <a:lnTo>
                    <a:pt x="7097" y="3748"/>
                  </a:lnTo>
                  <a:lnTo>
                    <a:pt x="7099" y="3754"/>
                  </a:lnTo>
                  <a:lnTo>
                    <a:pt x="7097" y="3762"/>
                  </a:lnTo>
                  <a:lnTo>
                    <a:pt x="7094" y="3768"/>
                  </a:lnTo>
                  <a:lnTo>
                    <a:pt x="7087" y="3773"/>
                  </a:lnTo>
                  <a:lnTo>
                    <a:pt x="7078" y="3774"/>
                  </a:lnTo>
                  <a:lnTo>
                    <a:pt x="6946" y="3774"/>
                  </a:lnTo>
                  <a:lnTo>
                    <a:pt x="6937" y="3773"/>
                  </a:lnTo>
                  <a:lnTo>
                    <a:pt x="6931" y="3768"/>
                  </a:lnTo>
                  <a:lnTo>
                    <a:pt x="6927" y="3762"/>
                  </a:lnTo>
                  <a:lnTo>
                    <a:pt x="6926" y="3754"/>
                  </a:lnTo>
                  <a:lnTo>
                    <a:pt x="6927" y="3748"/>
                  </a:lnTo>
                  <a:lnTo>
                    <a:pt x="6931" y="3741"/>
                  </a:lnTo>
                  <a:lnTo>
                    <a:pt x="6937" y="3736"/>
                  </a:lnTo>
                  <a:lnTo>
                    <a:pt x="6946" y="3735"/>
                  </a:lnTo>
                  <a:close/>
                  <a:moveTo>
                    <a:pt x="6236" y="3997"/>
                  </a:moveTo>
                  <a:lnTo>
                    <a:pt x="6369" y="3997"/>
                  </a:lnTo>
                  <a:lnTo>
                    <a:pt x="6378" y="3999"/>
                  </a:lnTo>
                  <a:lnTo>
                    <a:pt x="6384" y="4003"/>
                  </a:lnTo>
                  <a:lnTo>
                    <a:pt x="6387" y="4010"/>
                  </a:lnTo>
                  <a:lnTo>
                    <a:pt x="6388" y="4017"/>
                  </a:lnTo>
                  <a:lnTo>
                    <a:pt x="6387" y="4025"/>
                  </a:lnTo>
                  <a:lnTo>
                    <a:pt x="6384" y="4031"/>
                  </a:lnTo>
                  <a:lnTo>
                    <a:pt x="6378" y="4035"/>
                  </a:lnTo>
                  <a:lnTo>
                    <a:pt x="6369" y="4038"/>
                  </a:lnTo>
                  <a:lnTo>
                    <a:pt x="6236" y="4038"/>
                  </a:lnTo>
                  <a:lnTo>
                    <a:pt x="6227" y="4035"/>
                  </a:lnTo>
                  <a:lnTo>
                    <a:pt x="6220" y="4031"/>
                  </a:lnTo>
                  <a:lnTo>
                    <a:pt x="6216" y="4025"/>
                  </a:lnTo>
                  <a:lnTo>
                    <a:pt x="6215" y="4017"/>
                  </a:lnTo>
                  <a:lnTo>
                    <a:pt x="6216" y="4010"/>
                  </a:lnTo>
                  <a:lnTo>
                    <a:pt x="6220" y="4003"/>
                  </a:lnTo>
                  <a:lnTo>
                    <a:pt x="6227" y="3999"/>
                  </a:lnTo>
                  <a:lnTo>
                    <a:pt x="6236" y="3997"/>
                  </a:lnTo>
                  <a:close/>
                  <a:moveTo>
                    <a:pt x="6472" y="3997"/>
                  </a:moveTo>
                  <a:lnTo>
                    <a:pt x="6605" y="3997"/>
                  </a:lnTo>
                  <a:lnTo>
                    <a:pt x="6614" y="3999"/>
                  </a:lnTo>
                  <a:lnTo>
                    <a:pt x="6620" y="4003"/>
                  </a:lnTo>
                  <a:lnTo>
                    <a:pt x="6624" y="4010"/>
                  </a:lnTo>
                  <a:lnTo>
                    <a:pt x="6626" y="4017"/>
                  </a:lnTo>
                  <a:lnTo>
                    <a:pt x="6624" y="4025"/>
                  </a:lnTo>
                  <a:lnTo>
                    <a:pt x="6620" y="4031"/>
                  </a:lnTo>
                  <a:lnTo>
                    <a:pt x="6614" y="4035"/>
                  </a:lnTo>
                  <a:lnTo>
                    <a:pt x="6605" y="4038"/>
                  </a:lnTo>
                  <a:lnTo>
                    <a:pt x="6472" y="4038"/>
                  </a:lnTo>
                  <a:lnTo>
                    <a:pt x="6464" y="4035"/>
                  </a:lnTo>
                  <a:lnTo>
                    <a:pt x="6458" y="4031"/>
                  </a:lnTo>
                  <a:lnTo>
                    <a:pt x="6454" y="4025"/>
                  </a:lnTo>
                  <a:lnTo>
                    <a:pt x="6452" y="4017"/>
                  </a:lnTo>
                  <a:lnTo>
                    <a:pt x="6454" y="4010"/>
                  </a:lnTo>
                  <a:lnTo>
                    <a:pt x="6458" y="4003"/>
                  </a:lnTo>
                  <a:lnTo>
                    <a:pt x="6464" y="3999"/>
                  </a:lnTo>
                  <a:lnTo>
                    <a:pt x="6472" y="3997"/>
                  </a:lnTo>
                  <a:close/>
                  <a:moveTo>
                    <a:pt x="6709" y="3997"/>
                  </a:moveTo>
                  <a:lnTo>
                    <a:pt x="6842" y="3997"/>
                  </a:lnTo>
                  <a:lnTo>
                    <a:pt x="6851" y="3999"/>
                  </a:lnTo>
                  <a:lnTo>
                    <a:pt x="6858" y="4003"/>
                  </a:lnTo>
                  <a:lnTo>
                    <a:pt x="6861" y="4010"/>
                  </a:lnTo>
                  <a:lnTo>
                    <a:pt x="6863" y="4017"/>
                  </a:lnTo>
                  <a:lnTo>
                    <a:pt x="6861" y="4025"/>
                  </a:lnTo>
                  <a:lnTo>
                    <a:pt x="6858" y="4031"/>
                  </a:lnTo>
                  <a:lnTo>
                    <a:pt x="6851" y="4035"/>
                  </a:lnTo>
                  <a:lnTo>
                    <a:pt x="6842" y="4038"/>
                  </a:lnTo>
                  <a:lnTo>
                    <a:pt x="6709" y="4038"/>
                  </a:lnTo>
                  <a:lnTo>
                    <a:pt x="6700" y="4035"/>
                  </a:lnTo>
                  <a:lnTo>
                    <a:pt x="6693" y="4031"/>
                  </a:lnTo>
                  <a:lnTo>
                    <a:pt x="6690" y="4025"/>
                  </a:lnTo>
                  <a:lnTo>
                    <a:pt x="6688" y="4017"/>
                  </a:lnTo>
                  <a:lnTo>
                    <a:pt x="6690" y="4010"/>
                  </a:lnTo>
                  <a:lnTo>
                    <a:pt x="6693" y="4003"/>
                  </a:lnTo>
                  <a:lnTo>
                    <a:pt x="6700" y="3999"/>
                  </a:lnTo>
                  <a:lnTo>
                    <a:pt x="6709" y="3997"/>
                  </a:lnTo>
                  <a:close/>
                  <a:moveTo>
                    <a:pt x="6946" y="3997"/>
                  </a:moveTo>
                  <a:lnTo>
                    <a:pt x="7078" y="3997"/>
                  </a:lnTo>
                  <a:lnTo>
                    <a:pt x="7087" y="3999"/>
                  </a:lnTo>
                  <a:lnTo>
                    <a:pt x="7094" y="4003"/>
                  </a:lnTo>
                  <a:lnTo>
                    <a:pt x="7097" y="4010"/>
                  </a:lnTo>
                  <a:lnTo>
                    <a:pt x="7099" y="4017"/>
                  </a:lnTo>
                  <a:lnTo>
                    <a:pt x="7097" y="4025"/>
                  </a:lnTo>
                  <a:lnTo>
                    <a:pt x="7094" y="4031"/>
                  </a:lnTo>
                  <a:lnTo>
                    <a:pt x="7087" y="4035"/>
                  </a:lnTo>
                  <a:lnTo>
                    <a:pt x="7078" y="4038"/>
                  </a:lnTo>
                  <a:lnTo>
                    <a:pt x="6946" y="4038"/>
                  </a:lnTo>
                  <a:lnTo>
                    <a:pt x="6937" y="4035"/>
                  </a:lnTo>
                  <a:lnTo>
                    <a:pt x="6931" y="4031"/>
                  </a:lnTo>
                  <a:lnTo>
                    <a:pt x="6927" y="4025"/>
                  </a:lnTo>
                  <a:lnTo>
                    <a:pt x="6926" y="4017"/>
                  </a:lnTo>
                  <a:lnTo>
                    <a:pt x="6927" y="4010"/>
                  </a:lnTo>
                  <a:lnTo>
                    <a:pt x="6931" y="4003"/>
                  </a:lnTo>
                  <a:lnTo>
                    <a:pt x="6937" y="3999"/>
                  </a:lnTo>
                  <a:lnTo>
                    <a:pt x="6946" y="3997"/>
                  </a:lnTo>
                  <a:close/>
                  <a:moveTo>
                    <a:pt x="7545" y="2941"/>
                  </a:moveTo>
                  <a:lnTo>
                    <a:pt x="7545" y="3052"/>
                  </a:lnTo>
                  <a:lnTo>
                    <a:pt x="7542" y="3061"/>
                  </a:lnTo>
                  <a:lnTo>
                    <a:pt x="7539" y="3067"/>
                  </a:lnTo>
                  <a:lnTo>
                    <a:pt x="7532" y="3071"/>
                  </a:lnTo>
                  <a:lnTo>
                    <a:pt x="7524" y="3072"/>
                  </a:lnTo>
                  <a:lnTo>
                    <a:pt x="7517" y="3071"/>
                  </a:lnTo>
                  <a:lnTo>
                    <a:pt x="7510" y="3067"/>
                  </a:lnTo>
                  <a:lnTo>
                    <a:pt x="7506" y="3061"/>
                  </a:lnTo>
                  <a:lnTo>
                    <a:pt x="7505" y="3052"/>
                  </a:lnTo>
                  <a:lnTo>
                    <a:pt x="7505" y="2941"/>
                  </a:lnTo>
                  <a:lnTo>
                    <a:pt x="7506" y="2932"/>
                  </a:lnTo>
                  <a:lnTo>
                    <a:pt x="7510" y="2925"/>
                  </a:lnTo>
                  <a:lnTo>
                    <a:pt x="7517" y="2922"/>
                  </a:lnTo>
                  <a:lnTo>
                    <a:pt x="7524" y="2920"/>
                  </a:lnTo>
                  <a:lnTo>
                    <a:pt x="7532" y="2922"/>
                  </a:lnTo>
                  <a:lnTo>
                    <a:pt x="7539" y="2925"/>
                  </a:lnTo>
                  <a:lnTo>
                    <a:pt x="7542" y="2932"/>
                  </a:lnTo>
                  <a:lnTo>
                    <a:pt x="7545" y="2941"/>
                  </a:lnTo>
                  <a:close/>
                  <a:moveTo>
                    <a:pt x="7808" y="2941"/>
                  </a:moveTo>
                  <a:lnTo>
                    <a:pt x="7808" y="3052"/>
                  </a:lnTo>
                  <a:lnTo>
                    <a:pt x="7807" y="3061"/>
                  </a:lnTo>
                  <a:lnTo>
                    <a:pt x="7801" y="3067"/>
                  </a:lnTo>
                  <a:lnTo>
                    <a:pt x="7795" y="3071"/>
                  </a:lnTo>
                  <a:lnTo>
                    <a:pt x="7787" y="3072"/>
                  </a:lnTo>
                  <a:lnTo>
                    <a:pt x="7781" y="3071"/>
                  </a:lnTo>
                  <a:lnTo>
                    <a:pt x="7774" y="3067"/>
                  </a:lnTo>
                  <a:lnTo>
                    <a:pt x="7769" y="3061"/>
                  </a:lnTo>
                  <a:lnTo>
                    <a:pt x="7768" y="3052"/>
                  </a:lnTo>
                  <a:lnTo>
                    <a:pt x="7768" y="2941"/>
                  </a:lnTo>
                  <a:lnTo>
                    <a:pt x="7769" y="2932"/>
                  </a:lnTo>
                  <a:lnTo>
                    <a:pt x="7774" y="2925"/>
                  </a:lnTo>
                  <a:lnTo>
                    <a:pt x="7781" y="2922"/>
                  </a:lnTo>
                  <a:lnTo>
                    <a:pt x="7787" y="2920"/>
                  </a:lnTo>
                  <a:lnTo>
                    <a:pt x="7795" y="2922"/>
                  </a:lnTo>
                  <a:lnTo>
                    <a:pt x="7801" y="2925"/>
                  </a:lnTo>
                  <a:lnTo>
                    <a:pt x="7807" y="2932"/>
                  </a:lnTo>
                  <a:lnTo>
                    <a:pt x="7808" y="2941"/>
                  </a:lnTo>
                  <a:close/>
                  <a:moveTo>
                    <a:pt x="8071" y="2941"/>
                  </a:moveTo>
                  <a:lnTo>
                    <a:pt x="8071" y="3052"/>
                  </a:lnTo>
                  <a:lnTo>
                    <a:pt x="8069" y="3061"/>
                  </a:lnTo>
                  <a:lnTo>
                    <a:pt x="8064" y="3067"/>
                  </a:lnTo>
                  <a:lnTo>
                    <a:pt x="8058" y="3071"/>
                  </a:lnTo>
                  <a:lnTo>
                    <a:pt x="8051" y="3072"/>
                  </a:lnTo>
                  <a:lnTo>
                    <a:pt x="8044" y="3071"/>
                  </a:lnTo>
                  <a:lnTo>
                    <a:pt x="8037" y="3067"/>
                  </a:lnTo>
                  <a:lnTo>
                    <a:pt x="8032" y="3061"/>
                  </a:lnTo>
                  <a:lnTo>
                    <a:pt x="8031" y="3052"/>
                  </a:lnTo>
                  <a:lnTo>
                    <a:pt x="8031" y="2941"/>
                  </a:lnTo>
                  <a:lnTo>
                    <a:pt x="8032" y="2932"/>
                  </a:lnTo>
                  <a:lnTo>
                    <a:pt x="8037" y="2925"/>
                  </a:lnTo>
                  <a:lnTo>
                    <a:pt x="8044" y="2922"/>
                  </a:lnTo>
                  <a:lnTo>
                    <a:pt x="8051" y="2920"/>
                  </a:lnTo>
                  <a:lnTo>
                    <a:pt x="8058" y="2922"/>
                  </a:lnTo>
                  <a:lnTo>
                    <a:pt x="8064" y="2925"/>
                  </a:lnTo>
                  <a:lnTo>
                    <a:pt x="8069" y="2932"/>
                  </a:lnTo>
                  <a:lnTo>
                    <a:pt x="8071" y="2941"/>
                  </a:lnTo>
                  <a:close/>
                  <a:moveTo>
                    <a:pt x="8334" y="2941"/>
                  </a:moveTo>
                  <a:lnTo>
                    <a:pt x="8334" y="3052"/>
                  </a:lnTo>
                  <a:lnTo>
                    <a:pt x="8332" y="3061"/>
                  </a:lnTo>
                  <a:lnTo>
                    <a:pt x="8327" y="3067"/>
                  </a:lnTo>
                  <a:lnTo>
                    <a:pt x="8322" y="3071"/>
                  </a:lnTo>
                  <a:lnTo>
                    <a:pt x="8314" y="3072"/>
                  </a:lnTo>
                  <a:lnTo>
                    <a:pt x="8307" y="3071"/>
                  </a:lnTo>
                  <a:lnTo>
                    <a:pt x="8300" y="3067"/>
                  </a:lnTo>
                  <a:lnTo>
                    <a:pt x="8296" y="3061"/>
                  </a:lnTo>
                  <a:lnTo>
                    <a:pt x="8294" y="3052"/>
                  </a:lnTo>
                  <a:lnTo>
                    <a:pt x="8294" y="2941"/>
                  </a:lnTo>
                  <a:lnTo>
                    <a:pt x="8296" y="2932"/>
                  </a:lnTo>
                  <a:lnTo>
                    <a:pt x="8300" y="2925"/>
                  </a:lnTo>
                  <a:lnTo>
                    <a:pt x="8307" y="2922"/>
                  </a:lnTo>
                  <a:lnTo>
                    <a:pt x="8314" y="2920"/>
                  </a:lnTo>
                  <a:lnTo>
                    <a:pt x="8322" y="2922"/>
                  </a:lnTo>
                  <a:lnTo>
                    <a:pt x="8327" y="2925"/>
                  </a:lnTo>
                  <a:lnTo>
                    <a:pt x="8332" y="2932"/>
                  </a:lnTo>
                  <a:lnTo>
                    <a:pt x="8334" y="2941"/>
                  </a:lnTo>
                  <a:close/>
                  <a:moveTo>
                    <a:pt x="8598" y="2941"/>
                  </a:moveTo>
                  <a:lnTo>
                    <a:pt x="8598" y="3052"/>
                  </a:lnTo>
                  <a:lnTo>
                    <a:pt x="8595" y="3061"/>
                  </a:lnTo>
                  <a:lnTo>
                    <a:pt x="8591" y="3067"/>
                  </a:lnTo>
                  <a:lnTo>
                    <a:pt x="8585" y="3071"/>
                  </a:lnTo>
                  <a:lnTo>
                    <a:pt x="8577" y="3072"/>
                  </a:lnTo>
                  <a:lnTo>
                    <a:pt x="8569" y="3071"/>
                  </a:lnTo>
                  <a:lnTo>
                    <a:pt x="8563" y="3067"/>
                  </a:lnTo>
                  <a:lnTo>
                    <a:pt x="8559" y="3061"/>
                  </a:lnTo>
                  <a:lnTo>
                    <a:pt x="8557" y="3052"/>
                  </a:lnTo>
                  <a:lnTo>
                    <a:pt x="8557" y="2941"/>
                  </a:lnTo>
                  <a:lnTo>
                    <a:pt x="8559" y="2932"/>
                  </a:lnTo>
                  <a:lnTo>
                    <a:pt x="8563" y="2925"/>
                  </a:lnTo>
                  <a:lnTo>
                    <a:pt x="8569" y="2922"/>
                  </a:lnTo>
                  <a:lnTo>
                    <a:pt x="8577" y="2920"/>
                  </a:lnTo>
                  <a:lnTo>
                    <a:pt x="8585" y="2922"/>
                  </a:lnTo>
                  <a:lnTo>
                    <a:pt x="8591" y="2925"/>
                  </a:lnTo>
                  <a:lnTo>
                    <a:pt x="8595" y="2932"/>
                  </a:lnTo>
                  <a:lnTo>
                    <a:pt x="8598" y="2941"/>
                  </a:lnTo>
                  <a:close/>
                  <a:moveTo>
                    <a:pt x="8861" y="2941"/>
                  </a:moveTo>
                  <a:lnTo>
                    <a:pt x="8861" y="3052"/>
                  </a:lnTo>
                  <a:lnTo>
                    <a:pt x="8858" y="3061"/>
                  </a:lnTo>
                  <a:lnTo>
                    <a:pt x="8854" y="3067"/>
                  </a:lnTo>
                  <a:lnTo>
                    <a:pt x="8848" y="3071"/>
                  </a:lnTo>
                  <a:lnTo>
                    <a:pt x="8840" y="3072"/>
                  </a:lnTo>
                  <a:lnTo>
                    <a:pt x="8832" y="3071"/>
                  </a:lnTo>
                  <a:lnTo>
                    <a:pt x="8826" y="3067"/>
                  </a:lnTo>
                  <a:lnTo>
                    <a:pt x="8822" y="3061"/>
                  </a:lnTo>
                  <a:lnTo>
                    <a:pt x="8821" y="3052"/>
                  </a:lnTo>
                  <a:lnTo>
                    <a:pt x="8821" y="2941"/>
                  </a:lnTo>
                  <a:lnTo>
                    <a:pt x="8822" y="2932"/>
                  </a:lnTo>
                  <a:lnTo>
                    <a:pt x="8826" y="2925"/>
                  </a:lnTo>
                  <a:lnTo>
                    <a:pt x="8832" y="2922"/>
                  </a:lnTo>
                  <a:lnTo>
                    <a:pt x="8840" y="2920"/>
                  </a:lnTo>
                  <a:lnTo>
                    <a:pt x="8848" y="2922"/>
                  </a:lnTo>
                  <a:lnTo>
                    <a:pt x="8854" y="2925"/>
                  </a:lnTo>
                  <a:lnTo>
                    <a:pt x="8858" y="2932"/>
                  </a:lnTo>
                  <a:lnTo>
                    <a:pt x="8861" y="2941"/>
                  </a:lnTo>
                  <a:close/>
                  <a:moveTo>
                    <a:pt x="7545" y="3186"/>
                  </a:moveTo>
                  <a:lnTo>
                    <a:pt x="7545" y="3299"/>
                  </a:lnTo>
                  <a:lnTo>
                    <a:pt x="7542" y="3308"/>
                  </a:lnTo>
                  <a:lnTo>
                    <a:pt x="7539" y="3314"/>
                  </a:lnTo>
                  <a:lnTo>
                    <a:pt x="7532" y="3318"/>
                  </a:lnTo>
                  <a:lnTo>
                    <a:pt x="7524" y="3319"/>
                  </a:lnTo>
                  <a:lnTo>
                    <a:pt x="7517" y="3318"/>
                  </a:lnTo>
                  <a:lnTo>
                    <a:pt x="7510" y="3314"/>
                  </a:lnTo>
                  <a:lnTo>
                    <a:pt x="7506" y="3308"/>
                  </a:lnTo>
                  <a:lnTo>
                    <a:pt x="7505" y="3299"/>
                  </a:lnTo>
                  <a:lnTo>
                    <a:pt x="7505" y="3186"/>
                  </a:lnTo>
                  <a:lnTo>
                    <a:pt x="7506" y="3179"/>
                  </a:lnTo>
                  <a:lnTo>
                    <a:pt x="7510" y="3172"/>
                  </a:lnTo>
                  <a:lnTo>
                    <a:pt x="7517" y="3168"/>
                  </a:lnTo>
                  <a:lnTo>
                    <a:pt x="7524" y="3167"/>
                  </a:lnTo>
                  <a:lnTo>
                    <a:pt x="7532" y="3168"/>
                  </a:lnTo>
                  <a:lnTo>
                    <a:pt x="7539" y="3172"/>
                  </a:lnTo>
                  <a:lnTo>
                    <a:pt x="7542" y="3179"/>
                  </a:lnTo>
                  <a:lnTo>
                    <a:pt x="7545" y="3186"/>
                  </a:lnTo>
                  <a:close/>
                  <a:moveTo>
                    <a:pt x="7808" y="3186"/>
                  </a:moveTo>
                  <a:lnTo>
                    <a:pt x="7808" y="3299"/>
                  </a:lnTo>
                  <a:lnTo>
                    <a:pt x="7807" y="3308"/>
                  </a:lnTo>
                  <a:lnTo>
                    <a:pt x="7801" y="3314"/>
                  </a:lnTo>
                  <a:lnTo>
                    <a:pt x="7795" y="3318"/>
                  </a:lnTo>
                  <a:lnTo>
                    <a:pt x="7787" y="3319"/>
                  </a:lnTo>
                  <a:lnTo>
                    <a:pt x="7781" y="3318"/>
                  </a:lnTo>
                  <a:lnTo>
                    <a:pt x="7774" y="3314"/>
                  </a:lnTo>
                  <a:lnTo>
                    <a:pt x="7769" y="3308"/>
                  </a:lnTo>
                  <a:lnTo>
                    <a:pt x="7768" y="3299"/>
                  </a:lnTo>
                  <a:lnTo>
                    <a:pt x="7768" y="3186"/>
                  </a:lnTo>
                  <a:lnTo>
                    <a:pt x="7769" y="3179"/>
                  </a:lnTo>
                  <a:lnTo>
                    <a:pt x="7774" y="3172"/>
                  </a:lnTo>
                  <a:lnTo>
                    <a:pt x="7781" y="3168"/>
                  </a:lnTo>
                  <a:lnTo>
                    <a:pt x="7787" y="3167"/>
                  </a:lnTo>
                  <a:lnTo>
                    <a:pt x="7795" y="3168"/>
                  </a:lnTo>
                  <a:lnTo>
                    <a:pt x="7801" y="3172"/>
                  </a:lnTo>
                  <a:lnTo>
                    <a:pt x="7807" y="3179"/>
                  </a:lnTo>
                  <a:lnTo>
                    <a:pt x="7808" y="3186"/>
                  </a:lnTo>
                  <a:close/>
                  <a:moveTo>
                    <a:pt x="8071" y="3186"/>
                  </a:moveTo>
                  <a:lnTo>
                    <a:pt x="8071" y="3299"/>
                  </a:lnTo>
                  <a:lnTo>
                    <a:pt x="8069" y="3308"/>
                  </a:lnTo>
                  <a:lnTo>
                    <a:pt x="8064" y="3314"/>
                  </a:lnTo>
                  <a:lnTo>
                    <a:pt x="8058" y="3318"/>
                  </a:lnTo>
                  <a:lnTo>
                    <a:pt x="8051" y="3319"/>
                  </a:lnTo>
                  <a:lnTo>
                    <a:pt x="8044" y="3318"/>
                  </a:lnTo>
                  <a:lnTo>
                    <a:pt x="8037" y="3314"/>
                  </a:lnTo>
                  <a:lnTo>
                    <a:pt x="8032" y="3308"/>
                  </a:lnTo>
                  <a:lnTo>
                    <a:pt x="8031" y="3299"/>
                  </a:lnTo>
                  <a:lnTo>
                    <a:pt x="8031" y="3186"/>
                  </a:lnTo>
                  <a:lnTo>
                    <a:pt x="8032" y="3179"/>
                  </a:lnTo>
                  <a:lnTo>
                    <a:pt x="8037" y="3172"/>
                  </a:lnTo>
                  <a:lnTo>
                    <a:pt x="8044" y="3168"/>
                  </a:lnTo>
                  <a:lnTo>
                    <a:pt x="8051" y="3167"/>
                  </a:lnTo>
                  <a:lnTo>
                    <a:pt x="8058" y="3168"/>
                  </a:lnTo>
                  <a:lnTo>
                    <a:pt x="8064" y="3172"/>
                  </a:lnTo>
                  <a:lnTo>
                    <a:pt x="8069" y="3179"/>
                  </a:lnTo>
                  <a:lnTo>
                    <a:pt x="8071" y="3186"/>
                  </a:lnTo>
                  <a:close/>
                  <a:moveTo>
                    <a:pt x="8334" y="3186"/>
                  </a:moveTo>
                  <a:lnTo>
                    <a:pt x="8334" y="3299"/>
                  </a:lnTo>
                  <a:lnTo>
                    <a:pt x="8332" y="3308"/>
                  </a:lnTo>
                  <a:lnTo>
                    <a:pt x="8327" y="3314"/>
                  </a:lnTo>
                  <a:lnTo>
                    <a:pt x="8322" y="3318"/>
                  </a:lnTo>
                  <a:lnTo>
                    <a:pt x="8314" y="3319"/>
                  </a:lnTo>
                  <a:lnTo>
                    <a:pt x="8307" y="3318"/>
                  </a:lnTo>
                  <a:lnTo>
                    <a:pt x="8300" y="3314"/>
                  </a:lnTo>
                  <a:lnTo>
                    <a:pt x="8296" y="3308"/>
                  </a:lnTo>
                  <a:lnTo>
                    <a:pt x="8294" y="3299"/>
                  </a:lnTo>
                  <a:lnTo>
                    <a:pt x="8294" y="3186"/>
                  </a:lnTo>
                  <a:lnTo>
                    <a:pt x="8296" y="3179"/>
                  </a:lnTo>
                  <a:lnTo>
                    <a:pt x="8300" y="3172"/>
                  </a:lnTo>
                  <a:lnTo>
                    <a:pt x="8307" y="3168"/>
                  </a:lnTo>
                  <a:lnTo>
                    <a:pt x="8314" y="3167"/>
                  </a:lnTo>
                  <a:lnTo>
                    <a:pt x="8322" y="3168"/>
                  </a:lnTo>
                  <a:lnTo>
                    <a:pt x="8327" y="3172"/>
                  </a:lnTo>
                  <a:lnTo>
                    <a:pt x="8332" y="3179"/>
                  </a:lnTo>
                  <a:lnTo>
                    <a:pt x="8334" y="3186"/>
                  </a:lnTo>
                  <a:close/>
                  <a:moveTo>
                    <a:pt x="8598" y="3186"/>
                  </a:moveTo>
                  <a:lnTo>
                    <a:pt x="8598" y="3299"/>
                  </a:lnTo>
                  <a:lnTo>
                    <a:pt x="8595" y="3308"/>
                  </a:lnTo>
                  <a:lnTo>
                    <a:pt x="8591" y="3314"/>
                  </a:lnTo>
                  <a:lnTo>
                    <a:pt x="8585" y="3318"/>
                  </a:lnTo>
                  <a:lnTo>
                    <a:pt x="8577" y="3319"/>
                  </a:lnTo>
                  <a:lnTo>
                    <a:pt x="8569" y="3318"/>
                  </a:lnTo>
                  <a:lnTo>
                    <a:pt x="8563" y="3314"/>
                  </a:lnTo>
                  <a:lnTo>
                    <a:pt x="8559" y="3308"/>
                  </a:lnTo>
                  <a:lnTo>
                    <a:pt x="8557" y="3299"/>
                  </a:lnTo>
                  <a:lnTo>
                    <a:pt x="8557" y="3186"/>
                  </a:lnTo>
                  <a:lnTo>
                    <a:pt x="8559" y="3179"/>
                  </a:lnTo>
                  <a:lnTo>
                    <a:pt x="8563" y="3172"/>
                  </a:lnTo>
                  <a:lnTo>
                    <a:pt x="8569" y="3168"/>
                  </a:lnTo>
                  <a:lnTo>
                    <a:pt x="8577" y="3167"/>
                  </a:lnTo>
                  <a:lnTo>
                    <a:pt x="8585" y="3168"/>
                  </a:lnTo>
                  <a:lnTo>
                    <a:pt x="8591" y="3172"/>
                  </a:lnTo>
                  <a:lnTo>
                    <a:pt x="8595" y="3179"/>
                  </a:lnTo>
                  <a:lnTo>
                    <a:pt x="8598" y="3186"/>
                  </a:lnTo>
                  <a:close/>
                  <a:moveTo>
                    <a:pt x="8861" y="3186"/>
                  </a:moveTo>
                  <a:lnTo>
                    <a:pt x="8861" y="3299"/>
                  </a:lnTo>
                  <a:lnTo>
                    <a:pt x="8858" y="3308"/>
                  </a:lnTo>
                  <a:lnTo>
                    <a:pt x="8854" y="3314"/>
                  </a:lnTo>
                  <a:lnTo>
                    <a:pt x="8848" y="3318"/>
                  </a:lnTo>
                  <a:lnTo>
                    <a:pt x="8840" y="3319"/>
                  </a:lnTo>
                  <a:lnTo>
                    <a:pt x="8832" y="3318"/>
                  </a:lnTo>
                  <a:lnTo>
                    <a:pt x="8826" y="3314"/>
                  </a:lnTo>
                  <a:lnTo>
                    <a:pt x="8822" y="3308"/>
                  </a:lnTo>
                  <a:lnTo>
                    <a:pt x="8821" y="3299"/>
                  </a:lnTo>
                  <a:lnTo>
                    <a:pt x="8821" y="3186"/>
                  </a:lnTo>
                  <a:lnTo>
                    <a:pt x="8822" y="3179"/>
                  </a:lnTo>
                  <a:lnTo>
                    <a:pt x="8826" y="3172"/>
                  </a:lnTo>
                  <a:lnTo>
                    <a:pt x="8832" y="3168"/>
                  </a:lnTo>
                  <a:lnTo>
                    <a:pt x="8840" y="3167"/>
                  </a:lnTo>
                  <a:lnTo>
                    <a:pt x="8848" y="3168"/>
                  </a:lnTo>
                  <a:lnTo>
                    <a:pt x="8854" y="3172"/>
                  </a:lnTo>
                  <a:lnTo>
                    <a:pt x="8858" y="3179"/>
                  </a:lnTo>
                  <a:lnTo>
                    <a:pt x="8861" y="3186"/>
                  </a:lnTo>
                  <a:close/>
                  <a:moveTo>
                    <a:pt x="7545" y="3433"/>
                  </a:moveTo>
                  <a:lnTo>
                    <a:pt x="7545" y="3546"/>
                  </a:lnTo>
                  <a:lnTo>
                    <a:pt x="7542" y="3554"/>
                  </a:lnTo>
                  <a:lnTo>
                    <a:pt x="7539" y="3561"/>
                  </a:lnTo>
                  <a:lnTo>
                    <a:pt x="7532" y="3565"/>
                  </a:lnTo>
                  <a:lnTo>
                    <a:pt x="7524" y="3565"/>
                  </a:lnTo>
                  <a:lnTo>
                    <a:pt x="7517" y="3565"/>
                  </a:lnTo>
                  <a:lnTo>
                    <a:pt x="7510" y="3561"/>
                  </a:lnTo>
                  <a:lnTo>
                    <a:pt x="7506" y="3554"/>
                  </a:lnTo>
                  <a:lnTo>
                    <a:pt x="7505" y="3546"/>
                  </a:lnTo>
                  <a:lnTo>
                    <a:pt x="7505" y="3433"/>
                  </a:lnTo>
                  <a:lnTo>
                    <a:pt x="7506" y="3424"/>
                  </a:lnTo>
                  <a:lnTo>
                    <a:pt x="7510" y="3419"/>
                  </a:lnTo>
                  <a:lnTo>
                    <a:pt x="7517" y="3415"/>
                  </a:lnTo>
                  <a:lnTo>
                    <a:pt x="7524" y="3414"/>
                  </a:lnTo>
                  <a:lnTo>
                    <a:pt x="7532" y="3415"/>
                  </a:lnTo>
                  <a:lnTo>
                    <a:pt x="7539" y="3419"/>
                  </a:lnTo>
                  <a:lnTo>
                    <a:pt x="7542" y="3424"/>
                  </a:lnTo>
                  <a:lnTo>
                    <a:pt x="7545" y="3433"/>
                  </a:lnTo>
                  <a:close/>
                  <a:moveTo>
                    <a:pt x="7808" y="3433"/>
                  </a:moveTo>
                  <a:lnTo>
                    <a:pt x="7808" y="3546"/>
                  </a:lnTo>
                  <a:lnTo>
                    <a:pt x="7807" y="3554"/>
                  </a:lnTo>
                  <a:lnTo>
                    <a:pt x="7801" y="3561"/>
                  </a:lnTo>
                  <a:lnTo>
                    <a:pt x="7795" y="3565"/>
                  </a:lnTo>
                  <a:lnTo>
                    <a:pt x="7787" y="3565"/>
                  </a:lnTo>
                  <a:lnTo>
                    <a:pt x="7781" y="3565"/>
                  </a:lnTo>
                  <a:lnTo>
                    <a:pt x="7774" y="3561"/>
                  </a:lnTo>
                  <a:lnTo>
                    <a:pt x="7769" y="3554"/>
                  </a:lnTo>
                  <a:lnTo>
                    <a:pt x="7768" y="3546"/>
                  </a:lnTo>
                  <a:lnTo>
                    <a:pt x="7768" y="3433"/>
                  </a:lnTo>
                  <a:lnTo>
                    <a:pt x="7769" y="3424"/>
                  </a:lnTo>
                  <a:lnTo>
                    <a:pt x="7774" y="3419"/>
                  </a:lnTo>
                  <a:lnTo>
                    <a:pt x="7781" y="3415"/>
                  </a:lnTo>
                  <a:lnTo>
                    <a:pt x="7787" y="3414"/>
                  </a:lnTo>
                  <a:lnTo>
                    <a:pt x="7795" y="3415"/>
                  </a:lnTo>
                  <a:lnTo>
                    <a:pt x="7801" y="3419"/>
                  </a:lnTo>
                  <a:lnTo>
                    <a:pt x="7807" y="3424"/>
                  </a:lnTo>
                  <a:lnTo>
                    <a:pt x="7808" y="3433"/>
                  </a:lnTo>
                  <a:close/>
                  <a:moveTo>
                    <a:pt x="8071" y="3433"/>
                  </a:moveTo>
                  <a:lnTo>
                    <a:pt x="8071" y="3546"/>
                  </a:lnTo>
                  <a:lnTo>
                    <a:pt x="8069" y="3554"/>
                  </a:lnTo>
                  <a:lnTo>
                    <a:pt x="8064" y="3561"/>
                  </a:lnTo>
                  <a:lnTo>
                    <a:pt x="8058" y="3565"/>
                  </a:lnTo>
                  <a:lnTo>
                    <a:pt x="8051" y="3565"/>
                  </a:lnTo>
                  <a:lnTo>
                    <a:pt x="8044" y="3565"/>
                  </a:lnTo>
                  <a:lnTo>
                    <a:pt x="8037" y="3561"/>
                  </a:lnTo>
                  <a:lnTo>
                    <a:pt x="8032" y="3554"/>
                  </a:lnTo>
                  <a:lnTo>
                    <a:pt x="8031" y="3546"/>
                  </a:lnTo>
                  <a:lnTo>
                    <a:pt x="8031" y="3433"/>
                  </a:lnTo>
                  <a:lnTo>
                    <a:pt x="8032" y="3424"/>
                  </a:lnTo>
                  <a:lnTo>
                    <a:pt x="8037" y="3419"/>
                  </a:lnTo>
                  <a:lnTo>
                    <a:pt x="8044" y="3415"/>
                  </a:lnTo>
                  <a:lnTo>
                    <a:pt x="8051" y="3414"/>
                  </a:lnTo>
                  <a:lnTo>
                    <a:pt x="8058" y="3415"/>
                  </a:lnTo>
                  <a:lnTo>
                    <a:pt x="8064" y="3419"/>
                  </a:lnTo>
                  <a:lnTo>
                    <a:pt x="8069" y="3424"/>
                  </a:lnTo>
                  <a:lnTo>
                    <a:pt x="8071" y="3433"/>
                  </a:lnTo>
                  <a:close/>
                  <a:moveTo>
                    <a:pt x="8334" y="3433"/>
                  </a:moveTo>
                  <a:lnTo>
                    <a:pt x="8334" y="3546"/>
                  </a:lnTo>
                  <a:lnTo>
                    <a:pt x="8332" y="3554"/>
                  </a:lnTo>
                  <a:lnTo>
                    <a:pt x="8327" y="3561"/>
                  </a:lnTo>
                  <a:lnTo>
                    <a:pt x="8322" y="3565"/>
                  </a:lnTo>
                  <a:lnTo>
                    <a:pt x="8314" y="3565"/>
                  </a:lnTo>
                  <a:lnTo>
                    <a:pt x="8307" y="3565"/>
                  </a:lnTo>
                  <a:lnTo>
                    <a:pt x="8300" y="3561"/>
                  </a:lnTo>
                  <a:lnTo>
                    <a:pt x="8296" y="3554"/>
                  </a:lnTo>
                  <a:lnTo>
                    <a:pt x="8294" y="3546"/>
                  </a:lnTo>
                  <a:lnTo>
                    <a:pt x="8294" y="3433"/>
                  </a:lnTo>
                  <a:lnTo>
                    <a:pt x="8296" y="3424"/>
                  </a:lnTo>
                  <a:lnTo>
                    <a:pt x="8300" y="3419"/>
                  </a:lnTo>
                  <a:lnTo>
                    <a:pt x="8307" y="3415"/>
                  </a:lnTo>
                  <a:lnTo>
                    <a:pt x="8314" y="3414"/>
                  </a:lnTo>
                  <a:lnTo>
                    <a:pt x="8322" y="3415"/>
                  </a:lnTo>
                  <a:lnTo>
                    <a:pt x="8327" y="3419"/>
                  </a:lnTo>
                  <a:lnTo>
                    <a:pt x="8332" y="3424"/>
                  </a:lnTo>
                  <a:lnTo>
                    <a:pt x="8334" y="3433"/>
                  </a:lnTo>
                  <a:close/>
                  <a:moveTo>
                    <a:pt x="8598" y="3433"/>
                  </a:moveTo>
                  <a:lnTo>
                    <a:pt x="8598" y="3546"/>
                  </a:lnTo>
                  <a:lnTo>
                    <a:pt x="8595" y="3554"/>
                  </a:lnTo>
                  <a:lnTo>
                    <a:pt x="8591" y="3561"/>
                  </a:lnTo>
                  <a:lnTo>
                    <a:pt x="8585" y="3565"/>
                  </a:lnTo>
                  <a:lnTo>
                    <a:pt x="8577" y="3565"/>
                  </a:lnTo>
                  <a:lnTo>
                    <a:pt x="8569" y="3565"/>
                  </a:lnTo>
                  <a:lnTo>
                    <a:pt x="8563" y="3561"/>
                  </a:lnTo>
                  <a:lnTo>
                    <a:pt x="8559" y="3554"/>
                  </a:lnTo>
                  <a:lnTo>
                    <a:pt x="8557" y="3546"/>
                  </a:lnTo>
                  <a:lnTo>
                    <a:pt x="8557" y="3433"/>
                  </a:lnTo>
                  <a:lnTo>
                    <a:pt x="8559" y="3424"/>
                  </a:lnTo>
                  <a:lnTo>
                    <a:pt x="8563" y="3419"/>
                  </a:lnTo>
                  <a:lnTo>
                    <a:pt x="8569" y="3415"/>
                  </a:lnTo>
                  <a:lnTo>
                    <a:pt x="8577" y="3414"/>
                  </a:lnTo>
                  <a:lnTo>
                    <a:pt x="8585" y="3415"/>
                  </a:lnTo>
                  <a:lnTo>
                    <a:pt x="8591" y="3419"/>
                  </a:lnTo>
                  <a:lnTo>
                    <a:pt x="8595" y="3424"/>
                  </a:lnTo>
                  <a:lnTo>
                    <a:pt x="8598" y="3433"/>
                  </a:lnTo>
                  <a:close/>
                  <a:moveTo>
                    <a:pt x="8861" y="3433"/>
                  </a:moveTo>
                  <a:lnTo>
                    <a:pt x="8861" y="3546"/>
                  </a:lnTo>
                  <a:lnTo>
                    <a:pt x="8858" y="3554"/>
                  </a:lnTo>
                  <a:lnTo>
                    <a:pt x="8854" y="3561"/>
                  </a:lnTo>
                  <a:lnTo>
                    <a:pt x="8848" y="3565"/>
                  </a:lnTo>
                  <a:lnTo>
                    <a:pt x="8840" y="3565"/>
                  </a:lnTo>
                  <a:lnTo>
                    <a:pt x="8832" y="3565"/>
                  </a:lnTo>
                  <a:lnTo>
                    <a:pt x="8826" y="3561"/>
                  </a:lnTo>
                  <a:lnTo>
                    <a:pt x="8822" y="3554"/>
                  </a:lnTo>
                  <a:lnTo>
                    <a:pt x="8821" y="3546"/>
                  </a:lnTo>
                  <a:lnTo>
                    <a:pt x="8821" y="3433"/>
                  </a:lnTo>
                  <a:lnTo>
                    <a:pt x="8822" y="3424"/>
                  </a:lnTo>
                  <a:lnTo>
                    <a:pt x="8826" y="3419"/>
                  </a:lnTo>
                  <a:lnTo>
                    <a:pt x="8832" y="3415"/>
                  </a:lnTo>
                  <a:lnTo>
                    <a:pt x="8840" y="3414"/>
                  </a:lnTo>
                  <a:lnTo>
                    <a:pt x="8848" y="3415"/>
                  </a:lnTo>
                  <a:lnTo>
                    <a:pt x="8854" y="3419"/>
                  </a:lnTo>
                  <a:lnTo>
                    <a:pt x="8858" y="3424"/>
                  </a:lnTo>
                  <a:lnTo>
                    <a:pt x="8861" y="3433"/>
                  </a:lnTo>
                  <a:close/>
                  <a:moveTo>
                    <a:pt x="7545" y="3680"/>
                  </a:moveTo>
                  <a:lnTo>
                    <a:pt x="7545" y="3792"/>
                  </a:lnTo>
                  <a:lnTo>
                    <a:pt x="7542" y="3801"/>
                  </a:lnTo>
                  <a:lnTo>
                    <a:pt x="7539" y="3806"/>
                  </a:lnTo>
                  <a:lnTo>
                    <a:pt x="7532" y="3810"/>
                  </a:lnTo>
                  <a:lnTo>
                    <a:pt x="7524" y="3811"/>
                  </a:lnTo>
                  <a:lnTo>
                    <a:pt x="7517" y="3810"/>
                  </a:lnTo>
                  <a:lnTo>
                    <a:pt x="7510" y="3806"/>
                  </a:lnTo>
                  <a:lnTo>
                    <a:pt x="7506" y="3801"/>
                  </a:lnTo>
                  <a:lnTo>
                    <a:pt x="7505" y="3792"/>
                  </a:lnTo>
                  <a:lnTo>
                    <a:pt x="7505" y="3680"/>
                  </a:lnTo>
                  <a:lnTo>
                    <a:pt x="7506" y="3671"/>
                  </a:lnTo>
                  <a:lnTo>
                    <a:pt x="7510" y="3664"/>
                  </a:lnTo>
                  <a:lnTo>
                    <a:pt x="7517" y="3661"/>
                  </a:lnTo>
                  <a:lnTo>
                    <a:pt x="7524" y="3659"/>
                  </a:lnTo>
                  <a:lnTo>
                    <a:pt x="7532" y="3661"/>
                  </a:lnTo>
                  <a:lnTo>
                    <a:pt x="7539" y="3664"/>
                  </a:lnTo>
                  <a:lnTo>
                    <a:pt x="7542" y="3671"/>
                  </a:lnTo>
                  <a:lnTo>
                    <a:pt x="7545" y="3680"/>
                  </a:lnTo>
                  <a:close/>
                  <a:moveTo>
                    <a:pt x="7808" y="3680"/>
                  </a:moveTo>
                  <a:lnTo>
                    <a:pt x="7808" y="3792"/>
                  </a:lnTo>
                  <a:lnTo>
                    <a:pt x="7807" y="3801"/>
                  </a:lnTo>
                  <a:lnTo>
                    <a:pt x="7801" y="3806"/>
                  </a:lnTo>
                  <a:lnTo>
                    <a:pt x="7795" y="3810"/>
                  </a:lnTo>
                  <a:lnTo>
                    <a:pt x="7787" y="3811"/>
                  </a:lnTo>
                  <a:lnTo>
                    <a:pt x="7781" y="3810"/>
                  </a:lnTo>
                  <a:lnTo>
                    <a:pt x="7774" y="3806"/>
                  </a:lnTo>
                  <a:lnTo>
                    <a:pt x="7769" y="3801"/>
                  </a:lnTo>
                  <a:lnTo>
                    <a:pt x="7768" y="3792"/>
                  </a:lnTo>
                  <a:lnTo>
                    <a:pt x="7768" y="3680"/>
                  </a:lnTo>
                  <a:lnTo>
                    <a:pt x="7769" y="3671"/>
                  </a:lnTo>
                  <a:lnTo>
                    <a:pt x="7774" y="3664"/>
                  </a:lnTo>
                  <a:lnTo>
                    <a:pt x="7781" y="3661"/>
                  </a:lnTo>
                  <a:lnTo>
                    <a:pt x="7787" y="3659"/>
                  </a:lnTo>
                  <a:lnTo>
                    <a:pt x="7795" y="3661"/>
                  </a:lnTo>
                  <a:lnTo>
                    <a:pt x="7801" y="3664"/>
                  </a:lnTo>
                  <a:lnTo>
                    <a:pt x="7807" y="3671"/>
                  </a:lnTo>
                  <a:lnTo>
                    <a:pt x="7808" y="3680"/>
                  </a:lnTo>
                  <a:close/>
                  <a:moveTo>
                    <a:pt x="8071" y="3680"/>
                  </a:moveTo>
                  <a:lnTo>
                    <a:pt x="8071" y="3792"/>
                  </a:lnTo>
                  <a:lnTo>
                    <a:pt x="8069" y="3801"/>
                  </a:lnTo>
                  <a:lnTo>
                    <a:pt x="8064" y="3806"/>
                  </a:lnTo>
                  <a:lnTo>
                    <a:pt x="8058" y="3810"/>
                  </a:lnTo>
                  <a:lnTo>
                    <a:pt x="8051" y="3811"/>
                  </a:lnTo>
                  <a:lnTo>
                    <a:pt x="8044" y="3810"/>
                  </a:lnTo>
                  <a:lnTo>
                    <a:pt x="8037" y="3806"/>
                  </a:lnTo>
                  <a:lnTo>
                    <a:pt x="8032" y="3801"/>
                  </a:lnTo>
                  <a:lnTo>
                    <a:pt x="8031" y="3792"/>
                  </a:lnTo>
                  <a:lnTo>
                    <a:pt x="8031" y="3680"/>
                  </a:lnTo>
                  <a:lnTo>
                    <a:pt x="8032" y="3671"/>
                  </a:lnTo>
                  <a:lnTo>
                    <a:pt x="8037" y="3664"/>
                  </a:lnTo>
                  <a:lnTo>
                    <a:pt x="8044" y="3661"/>
                  </a:lnTo>
                  <a:lnTo>
                    <a:pt x="8051" y="3659"/>
                  </a:lnTo>
                  <a:lnTo>
                    <a:pt x="8058" y="3661"/>
                  </a:lnTo>
                  <a:lnTo>
                    <a:pt x="8064" y="3664"/>
                  </a:lnTo>
                  <a:lnTo>
                    <a:pt x="8069" y="3671"/>
                  </a:lnTo>
                  <a:lnTo>
                    <a:pt x="8071" y="3680"/>
                  </a:lnTo>
                  <a:close/>
                  <a:moveTo>
                    <a:pt x="8334" y="3680"/>
                  </a:moveTo>
                  <a:lnTo>
                    <a:pt x="8334" y="3792"/>
                  </a:lnTo>
                  <a:lnTo>
                    <a:pt x="8332" y="3801"/>
                  </a:lnTo>
                  <a:lnTo>
                    <a:pt x="8327" y="3806"/>
                  </a:lnTo>
                  <a:lnTo>
                    <a:pt x="8322" y="3810"/>
                  </a:lnTo>
                  <a:lnTo>
                    <a:pt x="8314" y="3811"/>
                  </a:lnTo>
                  <a:lnTo>
                    <a:pt x="8307" y="3810"/>
                  </a:lnTo>
                  <a:lnTo>
                    <a:pt x="8300" y="3806"/>
                  </a:lnTo>
                  <a:lnTo>
                    <a:pt x="8296" y="3801"/>
                  </a:lnTo>
                  <a:lnTo>
                    <a:pt x="8294" y="3792"/>
                  </a:lnTo>
                  <a:lnTo>
                    <a:pt x="8294" y="3680"/>
                  </a:lnTo>
                  <a:lnTo>
                    <a:pt x="8296" y="3671"/>
                  </a:lnTo>
                  <a:lnTo>
                    <a:pt x="8300" y="3664"/>
                  </a:lnTo>
                  <a:lnTo>
                    <a:pt x="8307" y="3661"/>
                  </a:lnTo>
                  <a:lnTo>
                    <a:pt x="8314" y="3659"/>
                  </a:lnTo>
                  <a:lnTo>
                    <a:pt x="8322" y="3661"/>
                  </a:lnTo>
                  <a:lnTo>
                    <a:pt x="8327" y="3664"/>
                  </a:lnTo>
                  <a:lnTo>
                    <a:pt x="8332" y="3671"/>
                  </a:lnTo>
                  <a:lnTo>
                    <a:pt x="8334" y="3680"/>
                  </a:lnTo>
                  <a:close/>
                  <a:moveTo>
                    <a:pt x="8598" y="3680"/>
                  </a:moveTo>
                  <a:lnTo>
                    <a:pt x="8598" y="3792"/>
                  </a:lnTo>
                  <a:lnTo>
                    <a:pt x="8595" y="3801"/>
                  </a:lnTo>
                  <a:lnTo>
                    <a:pt x="8591" y="3806"/>
                  </a:lnTo>
                  <a:lnTo>
                    <a:pt x="8585" y="3810"/>
                  </a:lnTo>
                  <a:lnTo>
                    <a:pt x="8577" y="3811"/>
                  </a:lnTo>
                  <a:lnTo>
                    <a:pt x="8569" y="3810"/>
                  </a:lnTo>
                  <a:lnTo>
                    <a:pt x="8563" y="3806"/>
                  </a:lnTo>
                  <a:lnTo>
                    <a:pt x="8559" y="3801"/>
                  </a:lnTo>
                  <a:lnTo>
                    <a:pt x="8557" y="3792"/>
                  </a:lnTo>
                  <a:lnTo>
                    <a:pt x="8557" y="3680"/>
                  </a:lnTo>
                  <a:lnTo>
                    <a:pt x="8559" y="3671"/>
                  </a:lnTo>
                  <a:lnTo>
                    <a:pt x="8563" y="3664"/>
                  </a:lnTo>
                  <a:lnTo>
                    <a:pt x="8569" y="3661"/>
                  </a:lnTo>
                  <a:lnTo>
                    <a:pt x="8577" y="3659"/>
                  </a:lnTo>
                  <a:lnTo>
                    <a:pt x="8585" y="3661"/>
                  </a:lnTo>
                  <a:lnTo>
                    <a:pt x="8591" y="3664"/>
                  </a:lnTo>
                  <a:lnTo>
                    <a:pt x="8595" y="3671"/>
                  </a:lnTo>
                  <a:lnTo>
                    <a:pt x="8598" y="3680"/>
                  </a:lnTo>
                  <a:close/>
                  <a:moveTo>
                    <a:pt x="8861" y="3680"/>
                  </a:moveTo>
                  <a:lnTo>
                    <a:pt x="8861" y="3792"/>
                  </a:lnTo>
                  <a:lnTo>
                    <a:pt x="8858" y="3801"/>
                  </a:lnTo>
                  <a:lnTo>
                    <a:pt x="8854" y="3806"/>
                  </a:lnTo>
                  <a:lnTo>
                    <a:pt x="8848" y="3810"/>
                  </a:lnTo>
                  <a:lnTo>
                    <a:pt x="8840" y="3811"/>
                  </a:lnTo>
                  <a:lnTo>
                    <a:pt x="8832" y="3810"/>
                  </a:lnTo>
                  <a:lnTo>
                    <a:pt x="8826" y="3806"/>
                  </a:lnTo>
                  <a:lnTo>
                    <a:pt x="8822" y="3801"/>
                  </a:lnTo>
                  <a:lnTo>
                    <a:pt x="8821" y="3792"/>
                  </a:lnTo>
                  <a:lnTo>
                    <a:pt x="8821" y="3680"/>
                  </a:lnTo>
                  <a:lnTo>
                    <a:pt x="8822" y="3671"/>
                  </a:lnTo>
                  <a:lnTo>
                    <a:pt x="8826" y="3664"/>
                  </a:lnTo>
                  <a:lnTo>
                    <a:pt x="8832" y="3661"/>
                  </a:lnTo>
                  <a:lnTo>
                    <a:pt x="8840" y="3659"/>
                  </a:lnTo>
                  <a:lnTo>
                    <a:pt x="8848" y="3661"/>
                  </a:lnTo>
                  <a:lnTo>
                    <a:pt x="8854" y="3664"/>
                  </a:lnTo>
                  <a:lnTo>
                    <a:pt x="8858" y="3671"/>
                  </a:lnTo>
                  <a:lnTo>
                    <a:pt x="8861" y="3680"/>
                  </a:lnTo>
                  <a:close/>
                  <a:moveTo>
                    <a:pt x="9081" y="2604"/>
                  </a:moveTo>
                  <a:lnTo>
                    <a:pt x="9075" y="2604"/>
                  </a:lnTo>
                  <a:lnTo>
                    <a:pt x="9081" y="2604"/>
                  </a:lnTo>
                  <a:close/>
                  <a:moveTo>
                    <a:pt x="5536" y="1840"/>
                  </a:moveTo>
                  <a:lnTo>
                    <a:pt x="5109" y="1840"/>
                  </a:lnTo>
                  <a:lnTo>
                    <a:pt x="5109" y="1950"/>
                  </a:lnTo>
                  <a:lnTo>
                    <a:pt x="5536" y="1950"/>
                  </a:lnTo>
                  <a:lnTo>
                    <a:pt x="5536" y="1840"/>
                  </a:lnTo>
                  <a:close/>
                  <a:moveTo>
                    <a:pt x="4446" y="3790"/>
                  </a:moveTo>
                  <a:lnTo>
                    <a:pt x="5309" y="3790"/>
                  </a:lnTo>
                  <a:lnTo>
                    <a:pt x="5318" y="3791"/>
                  </a:lnTo>
                  <a:lnTo>
                    <a:pt x="5324" y="3796"/>
                  </a:lnTo>
                  <a:lnTo>
                    <a:pt x="5328" y="3803"/>
                  </a:lnTo>
                  <a:lnTo>
                    <a:pt x="5329" y="3809"/>
                  </a:lnTo>
                  <a:lnTo>
                    <a:pt x="5328" y="3817"/>
                  </a:lnTo>
                  <a:lnTo>
                    <a:pt x="5324" y="3823"/>
                  </a:lnTo>
                  <a:lnTo>
                    <a:pt x="5318" y="3828"/>
                  </a:lnTo>
                  <a:lnTo>
                    <a:pt x="5309" y="3829"/>
                  </a:lnTo>
                  <a:lnTo>
                    <a:pt x="5215" y="3829"/>
                  </a:lnTo>
                  <a:lnTo>
                    <a:pt x="5215" y="4317"/>
                  </a:lnTo>
                  <a:lnTo>
                    <a:pt x="5754" y="4317"/>
                  </a:lnTo>
                  <a:lnTo>
                    <a:pt x="5754" y="3782"/>
                  </a:lnTo>
                  <a:lnTo>
                    <a:pt x="5754" y="3249"/>
                  </a:lnTo>
                  <a:lnTo>
                    <a:pt x="5754" y="2716"/>
                  </a:lnTo>
                  <a:lnTo>
                    <a:pt x="5754" y="2182"/>
                  </a:lnTo>
                  <a:lnTo>
                    <a:pt x="5195" y="2182"/>
                  </a:lnTo>
                  <a:lnTo>
                    <a:pt x="4637" y="2182"/>
                  </a:lnTo>
                  <a:lnTo>
                    <a:pt x="4629" y="2181"/>
                  </a:lnTo>
                  <a:lnTo>
                    <a:pt x="4623" y="2176"/>
                  </a:lnTo>
                  <a:lnTo>
                    <a:pt x="4619" y="2170"/>
                  </a:lnTo>
                  <a:lnTo>
                    <a:pt x="4617" y="2163"/>
                  </a:lnTo>
                  <a:lnTo>
                    <a:pt x="4619" y="2156"/>
                  </a:lnTo>
                  <a:lnTo>
                    <a:pt x="4623" y="2149"/>
                  </a:lnTo>
                  <a:lnTo>
                    <a:pt x="4629" y="2144"/>
                  </a:lnTo>
                  <a:lnTo>
                    <a:pt x="4637" y="2143"/>
                  </a:lnTo>
                  <a:lnTo>
                    <a:pt x="5615" y="2143"/>
                  </a:lnTo>
                  <a:lnTo>
                    <a:pt x="5615" y="1989"/>
                  </a:lnTo>
                  <a:lnTo>
                    <a:pt x="5555" y="1989"/>
                  </a:lnTo>
                  <a:lnTo>
                    <a:pt x="5089" y="1989"/>
                  </a:lnTo>
                  <a:lnTo>
                    <a:pt x="4119" y="1989"/>
                  </a:lnTo>
                  <a:lnTo>
                    <a:pt x="4119" y="2143"/>
                  </a:lnTo>
                  <a:lnTo>
                    <a:pt x="4373" y="2143"/>
                  </a:lnTo>
                  <a:lnTo>
                    <a:pt x="4382" y="2144"/>
                  </a:lnTo>
                  <a:lnTo>
                    <a:pt x="4387" y="2149"/>
                  </a:lnTo>
                  <a:lnTo>
                    <a:pt x="4391" y="2156"/>
                  </a:lnTo>
                  <a:lnTo>
                    <a:pt x="4392" y="2163"/>
                  </a:lnTo>
                  <a:lnTo>
                    <a:pt x="4391" y="2170"/>
                  </a:lnTo>
                  <a:lnTo>
                    <a:pt x="4387" y="2176"/>
                  </a:lnTo>
                  <a:lnTo>
                    <a:pt x="4382" y="2181"/>
                  </a:lnTo>
                  <a:lnTo>
                    <a:pt x="4373" y="2182"/>
                  </a:lnTo>
                  <a:lnTo>
                    <a:pt x="4001" y="2182"/>
                  </a:lnTo>
                  <a:lnTo>
                    <a:pt x="4001" y="3195"/>
                  </a:lnTo>
                  <a:lnTo>
                    <a:pt x="3999" y="3204"/>
                  </a:lnTo>
                  <a:lnTo>
                    <a:pt x="3994" y="3211"/>
                  </a:lnTo>
                  <a:lnTo>
                    <a:pt x="3988" y="3214"/>
                  </a:lnTo>
                  <a:lnTo>
                    <a:pt x="3980" y="3216"/>
                  </a:lnTo>
                  <a:lnTo>
                    <a:pt x="3974" y="3214"/>
                  </a:lnTo>
                  <a:lnTo>
                    <a:pt x="3967" y="3211"/>
                  </a:lnTo>
                  <a:lnTo>
                    <a:pt x="3962" y="3204"/>
                  </a:lnTo>
                  <a:lnTo>
                    <a:pt x="3961" y="3195"/>
                  </a:lnTo>
                  <a:lnTo>
                    <a:pt x="3961" y="2679"/>
                  </a:lnTo>
                  <a:lnTo>
                    <a:pt x="3961" y="2163"/>
                  </a:lnTo>
                  <a:lnTo>
                    <a:pt x="3962" y="2156"/>
                  </a:lnTo>
                  <a:lnTo>
                    <a:pt x="3966" y="2149"/>
                  </a:lnTo>
                  <a:lnTo>
                    <a:pt x="3973" y="2144"/>
                  </a:lnTo>
                  <a:lnTo>
                    <a:pt x="3980" y="2143"/>
                  </a:lnTo>
                  <a:lnTo>
                    <a:pt x="4079" y="2143"/>
                  </a:lnTo>
                  <a:lnTo>
                    <a:pt x="4079" y="1970"/>
                  </a:lnTo>
                  <a:lnTo>
                    <a:pt x="4080" y="1963"/>
                  </a:lnTo>
                  <a:lnTo>
                    <a:pt x="4085" y="1956"/>
                  </a:lnTo>
                  <a:lnTo>
                    <a:pt x="4092" y="1951"/>
                  </a:lnTo>
                  <a:lnTo>
                    <a:pt x="4099" y="1950"/>
                  </a:lnTo>
                  <a:lnTo>
                    <a:pt x="5069" y="1950"/>
                  </a:lnTo>
                  <a:lnTo>
                    <a:pt x="5069" y="1819"/>
                  </a:lnTo>
                  <a:lnTo>
                    <a:pt x="5070" y="1812"/>
                  </a:lnTo>
                  <a:lnTo>
                    <a:pt x="5075" y="1805"/>
                  </a:lnTo>
                  <a:lnTo>
                    <a:pt x="5082" y="1801"/>
                  </a:lnTo>
                  <a:lnTo>
                    <a:pt x="5089" y="1799"/>
                  </a:lnTo>
                  <a:lnTo>
                    <a:pt x="5555" y="1799"/>
                  </a:lnTo>
                  <a:lnTo>
                    <a:pt x="5563" y="1801"/>
                  </a:lnTo>
                  <a:lnTo>
                    <a:pt x="5569" y="1805"/>
                  </a:lnTo>
                  <a:lnTo>
                    <a:pt x="5573" y="1812"/>
                  </a:lnTo>
                  <a:lnTo>
                    <a:pt x="5575" y="1819"/>
                  </a:lnTo>
                  <a:lnTo>
                    <a:pt x="5575" y="1950"/>
                  </a:lnTo>
                  <a:lnTo>
                    <a:pt x="5636" y="1950"/>
                  </a:lnTo>
                  <a:lnTo>
                    <a:pt x="5643" y="1951"/>
                  </a:lnTo>
                  <a:lnTo>
                    <a:pt x="5650" y="1956"/>
                  </a:lnTo>
                  <a:lnTo>
                    <a:pt x="5654" y="1963"/>
                  </a:lnTo>
                  <a:lnTo>
                    <a:pt x="5656" y="1970"/>
                  </a:lnTo>
                  <a:lnTo>
                    <a:pt x="5656" y="2143"/>
                  </a:lnTo>
                  <a:lnTo>
                    <a:pt x="5773" y="2143"/>
                  </a:lnTo>
                  <a:lnTo>
                    <a:pt x="5781" y="2144"/>
                  </a:lnTo>
                  <a:lnTo>
                    <a:pt x="5787" y="2149"/>
                  </a:lnTo>
                  <a:lnTo>
                    <a:pt x="5792" y="2156"/>
                  </a:lnTo>
                  <a:lnTo>
                    <a:pt x="5793" y="2163"/>
                  </a:lnTo>
                  <a:lnTo>
                    <a:pt x="5793" y="2705"/>
                  </a:lnTo>
                  <a:lnTo>
                    <a:pt x="5793" y="3249"/>
                  </a:lnTo>
                  <a:lnTo>
                    <a:pt x="5793" y="3792"/>
                  </a:lnTo>
                  <a:lnTo>
                    <a:pt x="5793" y="4336"/>
                  </a:lnTo>
                  <a:lnTo>
                    <a:pt x="5792" y="4343"/>
                  </a:lnTo>
                  <a:lnTo>
                    <a:pt x="5787" y="4350"/>
                  </a:lnTo>
                  <a:lnTo>
                    <a:pt x="5781" y="4355"/>
                  </a:lnTo>
                  <a:lnTo>
                    <a:pt x="5773" y="4356"/>
                  </a:lnTo>
                  <a:lnTo>
                    <a:pt x="5195" y="4356"/>
                  </a:lnTo>
                  <a:lnTo>
                    <a:pt x="4560" y="4356"/>
                  </a:lnTo>
                  <a:lnTo>
                    <a:pt x="3980" y="4356"/>
                  </a:lnTo>
                  <a:lnTo>
                    <a:pt x="3973" y="4355"/>
                  </a:lnTo>
                  <a:lnTo>
                    <a:pt x="3966" y="4350"/>
                  </a:lnTo>
                  <a:lnTo>
                    <a:pt x="3962" y="4343"/>
                  </a:lnTo>
                  <a:lnTo>
                    <a:pt x="3961" y="4336"/>
                  </a:lnTo>
                  <a:lnTo>
                    <a:pt x="3961" y="4037"/>
                  </a:lnTo>
                  <a:lnTo>
                    <a:pt x="3962" y="4028"/>
                  </a:lnTo>
                  <a:lnTo>
                    <a:pt x="3967" y="4021"/>
                  </a:lnTo>
                  <a:lnTo>
                    <a:pt x="3974" y="4017"/>
                  </a:lnTo>
                  <a:lnTo>
                    <a:pt x="3980" y="4016"/>
                  </a:lnTo>
                  <a:lnTo>
                    <a:pt x="3988" y="4017"/>
                  </a:lnTo>
                  <a:lnTo>
                    <a:pt x="3994" y="4021"/>
                  </a:lnTo>
                  <a:lnTo>
                    <a:pt x="3999" y="4028"/>
                  </a:lnTo>
                  <a:lnTo>
                    <a:pt x="4001" y="4037"/>
                  </a:lnTo>
                  <a:lnTo>
                    <a:pt x="4001" y="4317"/>
                  </a:lnTo>
                  <a:lnTo>
                    <a:pt x="4539" y="4317"/>
                  </a:lnTo>
                  <a:lnTo>
                    <a:pt x="4539" y="3829"/>
                  </a:lnTo>
                  <a:lnTo>
                    <a:pt x="4446" y="3829"/>
                  </a:lnTo>
                  <a:lnTo>
                    <a:pt x="4437" y="3828"/>
                  </a:lnTo>
                  <a:lnTo>
                    <a:pt x="4430" y="3823"/>
                  </a:lnTo>
                  <a:lnTo>
                    <a:pt x="4426" y="3817"/>
                  </a:lnTo>
                  <a:lnTo>
                    <a:pt x="4425" y="3809"/>
                  </a:lnTo>
                  <a:lnTo>
                    <a:pt x="4426" y="3803"/>
                  </a:lnTo>
                  <a:lnTo>
                    <a:pt x="4430" y="3796"/>
                  </a:lnTo>
                  <a:lnTo>
                    <a:pt x="4437" y="3791"/>
                  </a:lnTo>
                  <a:lnTo>
                    <a:pt x="4446" y="3790"/>
                  </a:lnTo>
                  <a:close/>
                  <a:moveTo>
                    <a:pt x="4897" y="3950"/>
                  </a:moveTo>
                  <a:lnTo>
                    <a:pt x="4897" y="4317"/>
                  </a:lnTo>
                  <a:lnTo>
                    <a:pt x="5175" y="4317"/>
                  </a:lnTo>
                  <a:lnTo>
                    <a:pt x="5175" y="3829"/>
                  </a:lnTo>
                  <a:lnTo>
                    <a:pt x="4579" y="3829"/>
                  </a:lnTo>
                  <a:lnTo>
                    <a:pt x="4579" y="4317"/>
                  </a:lnTo>
                  <a:lnTo>
                    <a:pt x="4857" y="4317"/>
                  </a:lnTo>
                  <a:lnTo>
                    <a:pt x="4857" y="3950"/>
                  </a:lnTo>
                  <a:lnTo>
                    <a:pt x="4859" y="3941"/>
                  </a:lnTo>
                  <a:lnTo>
                    <a:pt x="4864" y="3934"/>
                  </a:lnTo>
                  <a:lnTo>
                    <a:pt x="4870" y="3930"/>
                  </a:lnTo>
                  <a:lnTo>
                    <a:pt x="4877" y="3929"/>
                  </a:lnTo>
                  <a:lnTo>
                    <a:pt x="4884" y="3930"/>
                  </a:lnTo>
                  <a:lnTo>
                    <a:pt x="4891" y="3934"/>
                  </a:lnTo>
                  <a:lnTo>
                    <a:pt x="4896" y="3941"/>
                  </a:lnTo>
                  <a:lnTo>
                    <a:pt x="4897" y="3950"/>
                  </a:lnTo>
                  <a:close/>
                  <a:moveTo>
                    <a:pt x="8349" y="481"/>
                  </a:moveTo>
                  <a:lnTo>
                    <a:pt x="8337" y="483"/>
                  </a:lnTo>
                  <a:lnTo>
                    <a:pt x="8328" y="482"/>
                  </a:lnTo>
                  <a:lnTo>
                    <a:pt x="8321" y="475"/>
                  </a:lnTo>
                  <a:lnTo>
                    <a:pt x="8318" y="464"/>
                  </a:lnTo>
                  <a:lnTo>
                    <a:pt x="8316" y="446"/>
                  </a:lnTo>
                  <a:lnTo>
                    <a:pt x="8312" y="428"/>
                  </a:lnTo>
                  <a:lnTo>
                    <a:pt x="8299" y="394"/>
                  </a:lnTo>
                  <a:lnTo>
                    <a:pt x="8280" y="364"/>
                  </a:lnTo>
                  <a:lnTo>
                    <a:pt x="8255" y="337"/>
                  </a:lnTo>
                  <a:lnTo>
                    <a:pt x="8226" y="316"/>
                  </a:lnTo>
                  <a:lnTo>
                    <a:pt x="8192" y="299"/>
                  </a:lnTo>
                  <a:lnTo>
                    <a:pt x="8175" y="293"/>
                  </a:lnTo>
                  <a:lnTo>
                    <a:pt x="8157" y="289"/>
                  </a:lnTo>
                  <a:lnTo>
                    <a:pt x="8137" y="286"/>
                  </a:lnTo>
                  <a:lnTo>
                    <a:pt x="8119" y="285"/>
                  </a:lnTo>
                  <a:lnTo>
                    <a:pt x="8080" y="289"/>
                  </a:lnTo>
                  <a:lnTo>
                    <a:pt x="8060" y="294"/>
                  </a:lnTo>
                  <a:lnTo>
                    <a:pt x="8042" y="300"/>
                  </a:lnTo>
                  <a:lnTo>
                    <a:pt x="8008" y="318"/>
                  </a:lnTo>
                  <a:lnTo>
                    <a:pt x="7978" y="341"/>
                  </a:lnTo>
                  <a:lnTo>
                    <a:pt x="7966" y="355"/>
                  </a:lnTo>
                  <a:lnTo>
                    <a:pt x="7954" y="369"/>
                  </a:lnTo>
                  <a:lnTo>
                    <a:pt x="7935" y="403"/>
                  </a:lnTo>
                  <a:lnTo>
                    <a:pt x="7928" y="420"/>
                  </a:lnTo>
                  <a:lnTo>
                    <a:pt x="7923" y="438"/>
                  </a:lnTo>
                  <a:lnTo>
                    <a:pt x="7919" y="477"/>
                  </a:lnTo>
                  <a:lnTo>
                    <a:pt x="7867" y="477"/>
                  </a:lnTo>
                  <a:lnTo>
                    <a:pt x="7836" y="474"/>
                  </a:lnTo>
                  <a:lnTo>
                    <a:pt x="7815" y="477"/>
                  </a:lnTo>
                  <a:lnTo>
                    <a:pt x="7798" y="482"/>
                  </a:lnTo>
                  <a:lnTo>
                    <a:pt x="7780" y="492"/>
                  </a:lnTo>
                  <a:lnTo>
                    <a:pt x="7765" y="504"/>
                  </a:lnTo>
                  <a:lnTo>
                    <a:pt x="7754" y="519"/>
                  </a:lnTo>
                  <a:lnTo>
                    <a:pt x="7745" y="537"/>
                  </a:lnTo>
                  <a:lnTo>
                    <a:pt x="7740" y="556"/>
                  </a:lnTo>
                  <a:lnTo>
                    <a:pt x="7737" y="576"/>
                  </a:lnTo>
                  <a:lnTo>
                    <a:pt x="7740" y="598"/>
                  </a:lnTo>
                  <a:lnTo>
                    <a:pt x="8505" y="599"/>
                  </a:lnTo>
                  <a:lnTo>
                    <a:pt x="8508" y="574"/>
                  </a:lnTo>
                  <a:lnTo>
                    <a:pt x="8505" y="552"/>
                  </a:lnTo>
                  <a:lnTo>
                    <a:pt x="8499" y="532"/>
                  </a:lnTo>
                  <a:lnTo>
                    <a:pt x="8490" y="514"/>
                  </a:lnTo>
                  <a:lnTo>
                    <a:pt x="8477" y="497"/>
                  </a:lnTo>
                  <a:lnTo>
                    <a:pt x="8460" y="484"/>
                  </a:lnTo>
                  <a:lnTo>
                    <a:pt x="8443" y="474"/>
                  </a:lnTo>
                  <a:lnTo>
                    <a:pt x="8423" y="468"/>
                  </a:lnTo>
                  <a:lnTo>
                    <a:pt x="8401" y="465"/>
                  </a:lnTo>
                  <a:lnTo>
                    <a:pt x="8373" y="469"/>
                  </a:lnTo>
                  <a:lnTo>
                    <a:pt x="8349" y="481"/>
                  </a:lnTo>
                  <a:close/>
                  <a:moveTo>
                    <a:pt x="7880" y="455"/>
                  </a:moveTo>
                  <a:lnTo>
                    <a:pt x="7883" y="433"/>
                  </a:lnTo>
                  <a:lnTo>
                    <a:pt x="7889" y="411"/>
                  </a:lnTo>
                  <a:lnTo>
                    <a:pt x="7896" y="391"/>
                  </a:lnTo>
                  <a:lnTo>
                    <a:pt x="7905" y="372"/>
                  </a:lnTo>
                  <a:lnTo>
                    <a:pt x="7917" y="354"/>
                  </a:lnTo>
                  <a:lnTo>
                    <a:pt x="7930" y="336"/>
                  </a:lnTo>
                  <a:lnTo>
                    <a:pt x="7944" y="321"/>
                  </a:lnTo>
                  <a:lnTo>
                    <a:pt x="7959" y="305"/>
                  </a:lnTo>
                  <a:lnTo>
                    <a:pt x="7994" y="280"/>
                  </a:lnTo>
                  <a:lnTo>
                    <a:pt x="8032" y="261"/>
                  </a:lnTo>
                  <a:lnTo>
                    <a:pt x="8075" y="249"/>
                  </a:lnTo>
                  <a:lnTo>
                    <a:pt x="8119" y="245"/>
                  </a:lnTo>
                  <a:lnTo>
                    <a:pt x="8160" y="249"/>
                  </a:lnTo>
                  <a:lnTo>
                    <a:pt x="8200" y="259"/>
                  </a:lnTo>
                  <a:lnTo>
                    <a:pt x="8237" y="276"/>
                  </a:lnTo>
                  <a:lnTo>
                    <a:pt x="8254" y="286"/>
                  </a:lnTo>
                  <a:lnTo>
                    <a:pt x="8271" y="299"/>
                  </a:lnTo>
                  <a:lnTo>
                    <a:pt x="8300" y="326"/>
                  </a:lnTo>
                  <a:lnTo>
                    <a:pt x="8325" y="358"/>
                  </a:lnTo>
                  <a:lnTo>
                    <a:pt x="8335" y="376"/>
                  </a:lnTo>
                  <a:lnTo>
                    <a:pt x="8343" y="395"/>
                  </a:lnTo>
                  <a:lnTo>
                    <a:pt x="8350" y="414"/>
                  </a:lnTo>
                  <a:lnTo>
                    <a:pt x="8354" y="433"/>
                  </a:lnTo>
                  <a:lnTo>
                    <a:pt x="8377" y="428"/>
                  </a:lnTo>
                  <a:lnTo>
                    <a:pt x="8401" y="426"/>
                  </a:lnTo>
                  <a:lnTo>
                    <a:pt x="8431" y="428"/>
                  </a:lnTo>
                  <a:lnTo>
                    <a:pt x="8459" y="437"/>
                  </a:lnTo>
                  <a:lnTo>
                    <a:pt x="8484" y="451"/>
                  </a:lnTo>
                  <a:lnTo>
                    <a:pt x="8505" y="470"/>
                  </a:lnTo>
                  <a:lnTo>
                    <a:pt x="8523" y="492"/>
                  </a:lnTo>
                  <a:lnTo>
                    <a:pt x="8531" y="505"/>
                  </a:lnTo>
                  <a:lnTo>
                    <a:pt x="8536" y="518"/>
                  </a:lnTo>
                  <a:lnTo>
                    <a:pt x="8545" y="544"/>
                  </a:lnTo>
                  <a:lnTo>
                    <a:pt x="8548" y="560"/>
                  </a:lnTo>
                  <a:lnTo>
                    <a:pt x="8548" y="574"/>
                  </a:lnTo>
                  <a:lnTo>
                    <a:pt x="8548" y="592"/>
                  </a:lnTo>
                  <a:lnTo>
                    <a:pt x="8544" y="613"/>
                  </a:lnTo>
                  <a:lnTo>
                    <a:pt x="8540" y="624"/>
                  </a:lnTo>
                  <a:lnTo>
                    <a:pt x="8535" y="631"/>
                  </a:lnTo>
                  <a:lnTo>
                    <a:pt x="8528" y="638"/>
                  </a:lnTo>
                  <a:lnTo>
                    <a:pt x="8521" y="640"/>
                  </a:lnTo>
                  <a:lnTo>
                    <a:pt x="7724" y="638"/>
                  </a:lnTo>
                  <a:lnTo>
                    <a:pt x="7717" y="637"/>
                  </a:lnTo>
                  <a:lnTo>
                    <a:pt x="7710" y="631"/>
                  </a:lnTo>
                  <a:lnTo>
                    <a:pt x="7705" y="622"/>
                  </a:lnTo>
                  <a:lnTo>
                    <a:pt x="7701" y="613"/>
                  </a:lnTo>
                  <a:lnTo>
                    <a:pt x="7699" y="593"/>
                  </a:lnTo>
                  <a:lnTo>
                    <a:pt x="7698" y="576"/>
                  </a:lnTo>
                  <a:lnTo>
                    <a:pt x="7700" y="548"/>
                  </a:lnTo>
                  <a:lnTo>
                    <a:pt x="7708" y="521"/>
                  </a:lnTo>
                  <a:lnTo>
                    <a:pt x="7721" y="497"/>
                  </a:lnTo>
                  <a:lnTo>
                    <a:pt x="7737" y="477"/>
                  </a:lnTo>
                  <a:lnTo>
                    <a:pt x="7757" y="459"/>
                  </a:lnTo>
                  <a:lnTo>
                    <a:pt x="7781" y="446"/>
                  </a:lnTo>
                  <a:lnTo>
                    <a:pt x="7807" y="437"/>
                  </a:lnTo>
                  <a:lnTo>
                    <a:pt x="7836" y="434"/>
                  </a:lnTo>
                  <a:lnTo>
                    <a:pt x="7851" y="436"/>
                  </a:lnTo>
                  <a:lnTo>
                    <a:pt x="7864" y="440"/>
                  </a:lnTo>
                  <a:lnTo>
                    <a:pt x="7874" y="445"/>
                  </a:lnTo>
                  <a:lnTo>
                    <a:pt x="7880" y="455"/>
                  </a:lnTo>
                  <a:close/>
                  <a:moveTo>
                    <a:pt x="4157" y="902"/>
                  </a:moveTo>
                  <a:lnTo>
                    <a:pt x="4683" y="902"/>
                  </a:lnTo>
                  <a:lnTo>
                    <a:pt x="5210" y="902"/>
                  </a:lnTo>
                  <a:lnTo>
                    <a:pt x="5210" y="892"/>
                  </a:lnTo>
                  <a:lnTo>
                    <a:pt x="5207" y="865"/>
                  </a:lnTo>
                  <a:lnTo>
                    <a:pt x="5203" y="854"/>
                  </a:lnTo>
                  <a:lnTo>
                    <a:pt x="5200" y="841"/>
                  </a:lnTo>
                  <a:lnTo>
                    <a:pt x="5187" y="819"/>
                  </a:lnTo>
                  <a:lnTo>
                    <a:pt x="5179" y="809"/>
                  </a:lnTo>
                  <a:lnTo>
                    <a:pt x="5171" y="799"/>
                  </a:lnTo>
                  <a:lnTo>
                    <a:pt x="5151" y="784"/>
                  </a:lnTo>
                  <a:lnTo>
                    <a:pt x="5141" y="777"/>
                  </a:lnTo>
                  <a:lnTo>
                    <a:pt x="5129" y="771"/>
                  </a:lnTo>
                  <a:lnTo>
                    <a:pt x="5103" y="763"/>
                  </a:lnTo>
                  <a:lnTo>
                    <a:pt x="5077" y="761"/>
                  </a:lnTo>
                  <a:lnTo>
                    <a:pt x="5052" y="763"/>
                  </a:lnTo>
                  <a:lnTo>
                    <a:pt x="5042" y="767"/>
                  </a:lnTo>
                  <a:lnTo>
                    <a:pt x="5030" y="771"/>
                  </a:lnTo>
                  <a:lnTo>
                    <a:pt x="4996" y="791"/>
                  </a:lnTo>
                  <a:lnTo>
                    <a:pt x="4982" y="799"/>
                  </a:lnTo>
                  <a:lnTo>
                    <a:pt x="4970" y="801"/>
                  </a:lnTo>
                  <a:lnTo>
                    <a:pt x="4961" y="799"/>
                  </a:lnTo>
                  <a:lnTo>
                    <a:pt x="4955" y="786"/>
                  </a:lnTo>
                  <a:lnTo>
                    <a:pt x="4944" y="758"/>
                  </a:lnTo>
                  <a:lnTo>
                    <a:pt x="4938" y="745"/>
                  </a:lnTo>
                  <a:lnTo>
                    <a:pt x="4929" y="732"/>
                  </a:lnTo>
                  <a:lnTo>
                    <a:pt x="4911" y="711"/>
                  </a:lnTo>
                  <a:lnTo>
                    <a:pt x="4900" y="700"/>
                  </a:lnTo>
                  <a:lnTo>
                    <a:pt x="4888" y="690"/>
                  </a:lnTo>
                  <a:lnTo>
                    <a:pt x="4864" y="675"/>
                  </a:lnTo>
                  <a:lnTo>
                    <a:pt x="4837" y="662"/>
                  </a:lnTo>
                  <a:lnTo>
                    <a:pt x="4821" y="658"/>
                  </a:lnTo>
                  <a:lnTo>
                    <a:pt x="4807" y="656"/>
                  </a:lnTo>
                  <a:lnTo>
                    <a:pt x="4775" y="653"/>
                  </a:lnTo>
                  <a:lnTo>
                    <a:pt x="4751" y="656"/>
                  </a:lnTo>
                  <a:lnTo>
                    <a:pt x="4725" y="661"/>
                  </a:lnTo>
                  <a:lnTo>
                    <a:pt x="4702" y="665"/>
                  </a:lnTo>
                  <a:lnTo>
                    <a:pt x="4694" y="663"/>
                  </a:lnTo>
                  <a:lnTo>
                    <a:pt x="4688" y="660"/>
                  </a:lnTo>
                  <a:lnTo>
                    <a:pt x="4671" y="643"/>
                  </a:lnTo>
                  <a:lnTo>
                    <a:pt x="4653" y="628"/>
                  </a:lnTo>
                  <a:lnTo>
                    <a:pt x="4634" y="615"/>
                  </a:lnTo>
                  <a:lnTo>
                    <a:pt x="4614" y="605"/>
                  </a:lnTo>
                  <a:lnTo>
                    <a:pt x="4592" y="596"/>
                  </a:lnTo>
                  <a:lnTo>
                    <a:pt x="4570" y="589"/>
                  </a:lnTo>
                  <a:lnTo>
                    <a:pt x="4546" y="585"/>
                  </a:lnTo>
                  <a:lnTo>
                    <a:pt x="4521" y="584"/>
                  </a:lnTo>
                  <a:lnTo>
                    <a:pt x="4480" y="587"/>
                  </a:lnTo>
                  <a:lnTo>
                    <a:pt x="4462" y="590"/>
                  </a:lnTo>
                  <a:lnTo>
                    <a:pt x="4446" y="594"/>
                  </a:lnTo>
                  <a:lnTo>
                    <a:pt x="4416" y="607"/>
                  </a:lnTo>
                  <a:lnTo>
                    <a:pt x="4393" y="622"/>
                  </a:lnTo>
                  <a:lnTo>
                    <a:pt x="4373" y="640"/>
                  </a:lnTo>
                  <a:lnTo>
                    <a:pt x="4356" y="661"/>
                  </a:lnTo>
                  <a:lnTo>
                    <a:pt x="4343" y="683"/>
                  </a:lnTo>
                  <a:lnTo>
                    <a:pt x="4333" y="704"/>
                  </a:lnTo>
                  <a:lnTo>
                    <a:pt x="4317" y="749"/>
                  </a:lnTo>
                  <a:lnTo>
                    <a:pt x="4306" y="786"/>
                  </a:lnTo>
                  <a:lnTo>
                    <a:pt x="4293" y="812"/>
                  </a:lnTo>
                  <a:lnTo>
                    <a:pt x="4287" y="818"/>
                  </a:lnTo>
                  <a:lnTo>
                    <a:pt x="4276" y="819"/>
                  </a:lnTo>
                  <a:lnTo>
                    <a:pt x="4261" y="818"/>
                  </a:lnTo>
                  <a:lnTo>
                    <a:pt x="4242" y="819"/>
                  </a:lnTo>
                  <a:lnTo>
                    <a:pt x="4224" y="824"/>
                  </a:lnTo>
                  <a:lnTo>
                    <a:pt x="4207" y="832"/>
                  </a:lnTo>
                  <a:lnTo>
                    <a:pt x="4193" y="842"/>
                  </a:lnTo>
                  <a:lnTo>
                    <a:pt x="4180" y="854"/>
                  </a:lnTo>
                  <a:lnTo>
                    <a:pt x="4170" y="868"/>
                  </a:lnTo>
                  <a:lnTo>
                    <a:pt x="4162" y="885"/>
                  </a:lnTo>
                  <a:lnTo>
                    <a:pt x="4157" y="902"/>
                  </a:lnTo>
                  <a:close/>
                  <a:moveTo>
                    <a:pt x="5248" y="923"/>
                  </a:moveTo>
                  <a:lnTo>
                    <a:pt x="5243" y="933"/>
                  </a:lnTo>
                  <a:lnTo>
                    <a:pt x="5238" y="938"/>
                  </a:lnTo>
                  <a:lnTo>
                    <a:pt x="5227" y="942"/>
                  </a:lnTo>
                  <a:lnTo>
                    <a:pt x="4680" y="942"/>
                  </a:lnTo>
                  <a:lnTo>
                    <a:pt x="4135" y="942"/>
                  </a:lnTo>
                  <a:lnTo>
                    <a:pt x="4129" y="940"/>
                  </a:lnTo>
                  <a:lnTo>
                    <a:pt x="4123" y="936"/>
                  </a:lnTo>
                  <a:lnTo>
                    <a:pt x="4117" y="928"/>
                  </a:lnTo>
                  <a:lnTo>
                    <a:pt x="4116" y="920"/>
                  </a:lnTo>
                  <a:lnTo>
                    <a:pt x="4119" y="891"/>
                  </a:lnTo>
                  <a:lnTo>
                    <a:pt x="4128" y="864"/>
                  </a:lnTo>
                  <a:lnTo>
                    <a:pt x="4140" y="840"/>
                  </a:lnTo>
                  <a:lnTo>
                    <a:pt x="4158" y="819"/>
                  </a:lnTo>
                  <a:lnTo>
                    <a:pt x="4180" y="801"/>
                  </a:lnTo>
                  <a:lnTo>
                    <a:pt x="4205" y="789"/>
                  </a:lnTo>
                  <a:lnTo>
                    <a:pt x="4232" y="781"/>
                  </a:lnTo>
                  <a:lnTo>
                    <a:pt x="4261" y="777"/>
                  </a:lnTo>
                  <a:lnTo>
                    <a:pt x="4265" y="753"/>
                  </a:lnTo>
                  <a:lnTo>
                    <a:pt x="4270" y="730"/>
                  </a:lnTo>
                  <a:lnTo>
                    <a:pt x="4279" y="707"/>
                  </a:lnTo>
                  <a:lnTo>
                    <a:pt x="4288" y="686"/>
                  </a:lnTo>
                  <a:lnTo>
                    <a:pt x="4301" y="666"/>
                  </a:lnTo>
                  <a:lnTo>
                    <a:pt x="4314" y="647"/>
                  </a:lnTo>
                  <a:lnTo>
                    <a:pt x="4329" y="629"/>
                  </a:lnTo>
                  <a:lnTo>
                    <a:pt x="4346" y="612"/>
                  </a:lnTo>
                  <a:lnTo>
                    <a:pt x="4364" y="597"/>
                  </a:lnTo>
                  <a:lnTo>
                    <a:pt x="4383" y="584"/>
                  </a:lnTo>
                  <a:lnTo>
                    <a:pt x="4425" y="562"/>
                  </a:lnTo>
                  <a:lnTo>
                    <a:pt x="4448" y="555"/>
                  </a:lnTo>
                  <a:lnTo>
                    <a:pt x="4471" y="550"/>
                  </a:lnTo>
                  <a:lnTo>
                    <a:pt x="4496" y="546"/>
                  </a:lnTo>
                  <a:lnTo>
                    <a:pt x="4521" y="544"/>
                  </a:lnTo>
                  <a:lnTo>
                    <a:pt x="4548" y="546"/>
                  </a:lnTo>
                  <a:lnTo>
                    <a:pt x="4575" y="550"/>
                  </a:lnTo>
                  <a:lnTo>
                    <a:pt x="4625" y="565"/>
                  </a:lnTo>
                  <a:lnTo>
                    <a:pt x="4648" y="576"/>
                  </a:lnTo>
                  <a:lnTo>
                    <a:pt x="4670" y="590"/>
                  </a:lnTo>
                  <a:lnTo>
                    <a:pt x="4689" y="606"/>
                  </a:lnTo>
                  <a:lnTo>
                    <a:pt x="4709" y="622"/>
                  </a:lnTo>
                  <a:lnTo>
                    <a:pt x="4741" y="615"/>
                  </a:lnTo>
                  <a:lnTo>
                    <a:pt x="4775" y="612"/>
                  </a:lnTo>
                  <a:lnTo>
                    <a:pt x="4810" y="615"/>
                  </a:lnTo>
                  <a:lnTo>
                    <a:pt x="4827" y="619"/>
                  </a:lnTo>
                  <a:lnTo>
                    <a:pt x="4842" y="622"/>
                  </a:lnTo>
                  <a:lnTo>
                    <a:pt x="4873" y="635"/>
                  </a:lnTo>
                  <a:lnTo>
                    <a:pt x="4901" y="651"/>
                  </a:lnTo>
                  <a:lnTo>
                    <a:pt x="4927" y="671"/>
                  </a:lnTo>
                  <a:lnTo>
                    <a:pt x="4950" y="694"/>
                  </a:lnTo>
                  <a:lnTo>
                    <a:pt x="4969" y="720"/>
                  </a:lnTo>
                  <a:lnTo>
                    <a:pt x="4984" y="749"/>
                  </a:lnTo>
                  <a:lnTo>
                    <a:pt x="5005" y="738"/>
                  </a:lnTo>
                  <a:lnTo>
                    <a:pt x="5028" y="729"/>
                  </a:lnTo>
                  <a:lnTo>
                    <a:pt x="5052" y="722"/>
                  </a:lnTo>
                  <a:lnTo>
                    <a:pt x="5077" y="721"/>
                  </a:lnTo>
                  <a:lnTo>
                    <a:pt x="5112" y="725"/>
                  </a:lnTo>
                  <a:lnTo>
                    <a:pt x="5128" y="729"/>
                  </a:lnTo>
                  <a:lnTo>
                    <a:pt x="5145" y="734"/>
                  </a:lnTo>
                  <a:lnTo>
                    <a:pt x="5174" y="750"/>
                  </a:lnTo>
                  <a:lnTo>
                    <a:pt x="5200" y="771"/>
                  </a:lnTo>
                  <a:lnTo>
                    <a:pt x="5210" y="784"/>
                  </a:lnTo>
                  <a:lnTo>
                    <a:pt x="5220" y="796"/>
                  </a:lnTo>
                  <a:lnTo>
                    <a:pt x="5229" y="810"/>
                  </a:lnTo>
                  <a:lnTo>
                    <a:pt x="5237" y="826"/>
                  </a:lnTo>
                  <a:lnTo>
                    <a:pt x="5247" y="858"/>
                  </a:lnTo>
                  <a:lnTo>
                    <a:pt x="5250" y="892"/>
                  </a:lnTo>
                  <a:lnTo>
                    <a:pt x="5250" y="908"/>
                  </a:lnTo>
                  <a:lnTo>
                    <a:pt x="5248" y="923"/>
                  </a:lnTo>
                  <a:close/>
                  <a:moveTo>
                    <a:pt x="4239" y="2494"/>
                  </a:moveTo>
                  <a:lnTo>
                    <a:pt x="4239" y="2607"/>
                  </a:lnTo>
                  <a:lnTo>
                    <a:pt x="4238" y="2616"/>
                  </a:lnTo>
                  <a:lnTo>
                    <a:pt x="4233" y="2622"/>
                  </a:lnTo>
                  <a:lnTo>
                    <a:pt x="4226" y="2626"/>
                  </a:lnTo>
                  <a:lnTo>
                    <a:pt x="4219" y="2627"/>
                  </a:lnTo>
                  <a:lnTo>
                    <a:pt x="4212" y="2626"/>
                  </a:lnTo>
                  <a:lnTo>
                    <a:pt x="4206" y="2622"/>
                  </a:lnTo>
                  <a:lnTo>
                    <a:pt x="4201" y="2616"/>
                  </a:lnTo>
                  <a:lnTo>
                    <a:pt x="4199" y="2607"/>
                  </a:lnTo>
                  <a:lnTo>
                    <a:pt x="4199" y="2494"/>
                  </a:lnTo>
                  <a:lnTo>
                    <a:pt x="4201" y="2487"/>
                  </a:lnTo>
                  <a:lnTo>
                    <a:pt x="4206" y="2480"/>
                  </a:lnTo>
                  <a:lnTo>
                    <a:pt x="4212" y="2477"/>
                  </a:lnTo>
                  <a:lnTo>
                    <a:pt x="4219" y="2475"/>
                  </a:lnTo>
                  <a:lnTo>
                    <a:pt x="4226" y="2477"/>
                  </a:lnTo>
                  <a:lnTo>
                    <a:pt x="4233" y="2480"/>
                  </a:lnTo>
                  <a:lnTo>
                    <a:pt x="4238" y="2487"/>
                  </a:lnTo>
                  <a:lnTo>
                    <a:pt x="4239" y="2494"/>
                  </a:lnTo>
                  <a:close/>
                  <a:moveTo>
                    <a:pt x="4502" y="2494"/>
                  </a:moveTo>
                  <a:lnTo>
                    <a:pt x="4502" y="2607"/>
                  </a:lnTo>
                  <a:lnTo>
                    <a:pt x="4501" y="2616"/>
                  </a:lnTo>
                  <a:lnTo>
                    <a:pt x="4496" y="2622"/>
                  </a:lnTo>
                  <a:lnTo>
                    <a:pt x="4489" y="2626"/>
                  </a:lnTo>
                  <a:lnTo>
                    <a:pt x="4483" y="2627"/>
                  </a:lnTo>
                  <a:lnTo>
                    <a:pt x="4475" y="2626"/>
                  </a:lnTo>
                  <a:lnTo>
                    <a:pt x="4469" y="2622"/>
                  </a:lnTo>
                  <a:lnTo>
                    <a:pt x="4464" y="2616"/>
                  </a:lnTo>
                  <a:lnTo>
                    <a:pt x="4462" y="2607"/>
                  </a:lnTo>
                  <a:lnTo>
                    <a:pt x="4462" y="2494"/>
                  </a:lnTo>
                  <a:lnTo>
                    <a:pt x="4464" y="2487"/>
                  </a:lnTo>
                  <a:lnTo>
                    <a:pt x="4469" y="2480"/>
                  </a:lnTo>
                  <a:lnTo>
                    <a:pt x="4475" y="2477"/>
                  </a:lnTo>
                  <a:lnTo>
                    <a:pt x="4483" y="2475"/>
                  </a:lnTo>
                  <a:lnTo>
                    <a:pt x="4489" y="2477"/>
                  </a:lnTo>
                  <a:lnTo>
                    <a:pt x="4496" y="2480"/>
                  </a:lnTo>
                  <a:lnTo>
                    <a:pt x="4501" y="2487"/>
                  </a:lnTo>
                  <a:lnTo>
                    <a:pt x="4502" y="2494"/>
                  </a:lnTo>
                  <a:close/>
                  <a:moveTo>
                    <a:pt x="4765" y="2494"/>
                  </a:moveTo>
                  <a:lnTo>
                    <a:pt x="4765" y="2607"/>
                  </a:lnTo>
                  <a:lnTo>
                    <a:pt x="4764" y="2616"/>
                  </a:lnTo>
                  <a:lnTo>
                    <a:pt x="4759" y="2622"/>
                  </a:lnTo>
                  <a:lnTo>
                    <a:pt x="4752" y="2626"/>
                  </a:lnTo>
                  <a:lnTo>
                    <a:pt x="4746" y="2627"/>
                  </a:lnTo>
                  <a:lnTo>
                    <a:pt x="4738" y="2626"/>
                  </a:lnTo>
                  <a:lnTo>
                    <a:pt x="4732" y="2622"/>
                  </a:lnTo>
                  <a:lnTo>
                    <a:pt x="4728" y="2616"/>
                  </a:lnTo>
                  <a:lnTo>
                    <a:pt x="4725" y="2607"/>
                  </a:lnTo>
                  <a:lnTo>
                    <a:pt x="4725" y="2494"/>
                  </a:lnTo>
                  <a:lnTo>
                    <a:pt x="4728" y="2487"/>
                  </a:lnTo>
                  <a:lnTo>
                    <a:pt x="4732" y="2480"/>
                  </a:lnTo>
                  <a:lnTo>
                    <a:pt x="4738" y="2477"/>
                  </a:lnTo>
                  <a:lnTo>
                    <a:pt x="4746" y="2475"/>
                  </a:lnTo>
                  <a:lnTo>
                    <a:pt x="4752" y="2477"/>
                  </a:lnTo>
                  <a:lnTo>
                    <a:pt x="4759" y="2480"/>
                  </a:lnTo>
                  <a:lnTo>
                    <a:pt x="4764" y="2487"/>
                  </a:lnTo>
                  <a:lnTo>
                    <a:pt x="4765" y="2494"/>
                  </a:lnTo>
                  <a:close/>
                  <a:moveTo>
                    <a:pt x="5029" y="2494"/>
                  </a:moveTo>
                  <a:lnTo>
                    <a:pt x="5029" y="2607"/>
                  </a:lnTo>
                  <a:lnTo>
                    <a:pt x="5027" y="2616"/>
                  </a:lnTo>
                  <a:lnTo>
                    <a:pt x="5023" y="2622"/>
                  </a:lnTo>
                  <a:lnTo>
                    <a:pt x="5016" y="2626"/>
                  </a:lnTo>
                  <a:lnTo>
                    <a:pt x="5009" y="2627"/>
                  </a:lnTo>
                  <a:lnTo>
                    <a:pt x="5001" y="2626"/>
                  </a:lnTo>
                  <a:lnTo>
                    <a:pt x="4994" y="2622"/>
                  </a:lnTo>
                  <a:lnTo>
                    <a:pt x="4991" y="2616"/>
                  </a:lnTo>
                  <a:lnTo>
                    <a:pt x="4988" y="2607"/>
                  </a:lnTo>
                  <a:lnTo>
                    <a:pt x="4988" y="2494"/>
                  </a:lnTo>
                  <a:lnTo>
                    <a:pt x="4991" y="2487"/>
                  </a:lnTo>
                  <a:lnTo>
                    <a:pt x="4994" y="2480"/>
                  </a:lnTo>
                  <a:lnTo>
                    <a:pt x="5001" y="2477"/>
                  </a:lnTo>
                  <a:lnTo>
                    <a:pt x="5009" y="2475"/>
                  </a:lnTo>
                  <a:lnTo>
                    <a:pt x="5016" y="2477"/>
                  </a:lnTo>
                  <a:lnTo>
                    <a:pt x="5023" y="2480"/>
                  </a:lnTo>
                  <a:lnTo>
                    <a:pt x="5027" y="2487"/>
                  </a:lnTo>
                  <a:lnTo>
                    <a:pt x="5029" y="2494"/>
                  </a:lnTo>
                  <a:close/>
                  <a:moveTo>
                    <a:pt x="5292" y="2494"/>
                  </a:moveTo>
                  <a:lnTo>
                    <a:pt x="5292" y="2607"/>
                  </a:lnTo>
                  <a:lnTo>
                    <a:pt x="5289" y="2616"/>
                  </a:lnTo>
                  <a:lnTo>
                    <a:pt x="5286" y="2622"/>
                  </a:lnTo>
                  <a:lnTo>
                    <a:pt x="5279" y="2626"/>
                  </a:lnTo>
                  <a:lnTo>
                    <a:pt x="5271" y="2627"/>
                  </a:lnTo>
                  <a:lnTo>
                    <a:pt x="5264" y="2626"/>
                  </a:lnTo>
                  <a:lnTo>
                    <a:pt x="5257" y="2622"/>
                  </a:lnTo>
                  <a:lnTo>
                    <a:pt x="5253" y="2616"/>
                  </a:lnTo>
                  <a:lnTo>
                    <a:pt x="5252" y="2607"/>
                  </a:lnTo>
                  <a:lnTo>
                    <a:pt x="5252" y="2494"/>
                  </a:lnTo>
                  <a:lnTo>
                    <a:pt x="5253" y="2487"/>
                  </a:lnTo>
                  <a:lnTo>
                    <a:pt x="5257" y="2480"/>
                  </a:lnTo>
                  <a:lnTo>
                    <a:pt x="5264" y="2477"/>
                  </a:lnTo>
                  <a:lnTo>
                    <a:pt x="5271" y="2475"/>
                  </a:lnTo>
                  <a:lnTo>
                    <a:pt x="5279" y="2477"/>
                  </a:lnTo>
                  <a:lnTo>
                    <a:pt x="5286" y="2480"/>
                  </a:lnTo>
                  <a:lnTo>
                    <a:pt x="5289" y="2487"/>
                  </a:lnTo>
                  <a:lnTo>
                    <a:pt x="5292" y="2494"/>
                  </a:lnTo>
                  <a:close/>
                  <a:moveTo>
                    <a:pt x="5555" y="2494"/>
                  </a:moveTo>
                  <a:lnTo>
                    <a:pt x="5555" y="2607"/>
                  </a:lnTo>
                  <a:lnTo>
                    <a:pt x="5554" y="2616"/>
                  </a:lnTo>
                  <a:lnTo>
                    <a:pt x="5548" y="2622"/>
                  </a:lnTo>
                  <a:lnTo>
                    <a:pt x="5542" y="2626"/>
                  </a:lnTo>
                  <a:lnTo>
                    <a:pt x="5534" y="2627"/>
                  </a:lnTo>
                  <a:lnTo>
                    <a:pt x="5528" y="2626"/>
                  </a:lnTo>
                  <a:lnTo>
                    <a:pt x="5521" y="2622"/>
                  </a:lnTo>
                  <a:lnTo>
                    <a:pt x="5516" y="2616"/>
                  </a:lnTo>
                  <a:lnTo>
                    <a:pt x="5515" y="2607"/>
                  </a:lnTo>
                  <a:lnTo>
                    <a:pt x="5515" y="2494"/>
                  </a:lnTo>
                  <a:lnTo>
                    <a:pt x="5516" y="2487"/>
                  </a:lnTo>
                  <a:lnTo>
                    <a:pt x="5521" y="2480"/>
                  </a:lnTo>
                  <a:lnTo>
                    <a:pt x="5528" y="2477"/>
                  </a:lnTo>
                  <a:lnTo>
                    <a:pt x="5534" y="2475"/>
                  </a:lnTo>
                  <a:lnTo>
                    <a:pt x="5542" y="2477"/>
                  </a:lnTo>
                  <a:lnTo>
                    <a:pt x="5548" y="2480"/>
                  </a:lnTo>
                  <a:lnTo>
                    <a:pt x="5554" y="2487"/>
                  </a:lnTo>
                  <a:lnTo>
                    <a:pt x="5555" y="2494"/>
                  </a:lnTo>
                  <a:close/>
                  <a:moveTo>
                    <a:pt x="4239" y="2741"/>
                  </a:moveTo>
                  <a:lnTo>
                    <a:pt x="4239" y="2854"/>
                  </a:lnTo>
                  <a:lnTo>
                    <a:pt x="4238" y="2863"/>
                  </a:lnTo>
                  <a:lnTo>
                    <a:pt x="4233" y="2869"/>
                  </a:lnTo>
                  <a:lnTo>
                    <a:pt x="4226" y="2873"/>
                  </a:lnTo>
                  <a:lnTo>
                    <a:pt x="4219" y="2874"/>
                  </a:lnTo>
                  <a:lnTo>
                    <a:pt x="4212" y="2873"/>
                  </a:lnTo>
                  <a:lnTo>
                    <a:pt x="4206" y="2869"/>
                  </a:lnTo>
                  <a:lnTo>
                    <a:pt x="4201" y="2863"/>
                  </a:lnTo>
                  <a:lnTo>
                    <a:pt x="4199" y="2854"/>
                  </a:lnTo>
                  <a:lnTo>
                    <a:pt x="4199" y="2741"/>
                  </a:lnTo>
                  <a:lnTo>
                    <a:pt x="4201" y="2732"/>
                  </a:lnTo>
                  <a:lnTo>
                    <a:pt x="4206" y="2727"/>
                  </a:lnTo>
                  <a:lnTo>
                    <a:pt x="4212" y="2723"/>
                  </a:lnTo>
                  <a:lnTo>
                    <a:pt x="4219" y="2722"/>
                  </a:lnTo>
                  <a:lnTo>
                    <a:pt x="4226" y="2723"/>
                  </a:lnTo>
                  <a:lnTo>
                    <a:pt x="4233" y="2727"/>
                  </a:lnTo>
                  <a:lnTo>
                    <a:pt x="4238" y="2732"/>
                  </a:lnTo>
                  <a:lnTo>
                    <a:pt x="4239" y="2741"/>
                  </a:lnTo>
                  <a:close/>
                  <a:moveTo>
                    <a:pt x="4502" y="2741"/>
                  </a:moveTo>
                  <a:lnTo>
                    <a:pt x="4502" y="2854"/>
                  </a:lnTo>
                  <a:lnTo>
                    <a:pt x="4501" y="2863"/>
                  </a:lnTo>
                  <a:lnTo>
                    <a:pt x="4496" y="2869"/>
                  </a:lnTo>
                  <a:lnTo>
                    <a:pt x="4489" y="2873"/>
                  </a:lnTo>
                  <a:lnTo>
                    <a:pt x="4483" y="2874"/>
                  </a:lnTo>
                  <a:lnTo>
                    <a:pt x="4475" y="2873"/>
                  </a:lnTo>
                  <a:lnTo>
                    <a:pt x="4469" y="2869"/>
                  </a:lnTo>
                  <a:lnTo>
                    <a:pt x="4464" y="2863"/>
                  </a:lnTo>
                  <a:lnTo>
                    <a:pt x="4462" y="2854"/>
                  </a:lnTo>
                  <a:lnTo>
                    <a:pt x="4462" y="2741"/>
                  </a:lnTo>
                  <a:lnTo>
                    <a:pt x="4464" y="2732"/>
                  </a:lnTo>
                  <a:lnTo>
                    <a:pt x="4469" y="2727"/>
                  </a:lnTo>
                  <a:lnTo>
                    <a:pt x="4475" y="2723"/>
                  </a:lnTo>
                  <a:lnTo>
                    <a:pt x="4483" y="2722"/>
                  </a:lnTo>
                  <a:lnTo>
                    <a:pt x="4489" y="2723"/>
                  </a:lnTo>
                  <a:lnTo>
                    <a:pt x="4496" y="2727"/>
                  </a:lnTo>
                  <a:lnTo>
                    <a:pt x="4501" y="2732"/>
                  </a:lnTo>
                  <a:lnTo>
                    <a:pt x="4502" y="2741"/>
                  </a:lnTo>
                  <a:close/>
                  <a:moveTo>
                    <a:pt x="4765" y="2741"/>
                  </a:moveTo>
                  <a:lnTo>
                    <a:pt x="4765" y="2854"/>
                  </a:lnTo>
                  <a:lnTo>
                    <a:pt x="4764" y="2863"/>
                  </a:lnTo>
                  <a:lnTo>
                    <a:pt x="4759" y="2869"/>
                  </a:lnTo>
                  <a:lnTo>
                    <a:pt x="4752" y="2873"/>
                  </a:lnTo>
                  <a:lnTo>
                    <a:pt x="4746" y="2874"/>
                  </a:lnTo>
                  <a:lnTo>
                    <a:pt x="4738" y="2873"/>
                  </a:lnTo>
                  <a:lnTo>
                    <a:pt x="4732" y="2869"/>
                  </a:lnTo>
                  <a:lnTo>
                    <a:pt x="4728" y="2863"/>
                  </a:lnTo>
                  <a:lnTo>
                    <a:pt x="4725" y="2854"/>
                  </a:lnTo>
                  <a:lnTo>
                    <a:pt x="4725" y="2741"/>
                  </a:lnTo>
                  <a:lnTo>
                    <a:pt x="4728" y="2732"/>
                  </a:lnTo>
                  <a:lnTo>
                    <a:pt x="4732" y="2727"/>
                  </a:lnTo>
                  <a:lnTo>
                    <a:pt x="4738" y="2723"/>
                  </a:lnTo>
                  <a:lnTo>
                    <a:pt x="4746" y="2722"/>
                  </a:lnTo>
                  <a:lnTo>
                    <a:pt x="4752" y="2723"/>
                  </a:lnTo>
                  <a:lnTo>
                    <a:pt x="4759" y="2727"/>
                  </a:lnTo>
                  <a:lnTo>
                    <a:pt x="4764" y="2732"/>
                  </a:lnTo>
                  <a:lnTo>
                    <a:pt x="4765" y="2741"/>
                  </a:lnTo>
                  <a:close/>
                  <a:moveTo>
                    <a:pt x="5029" y="2741"/>
                  </a:moveTo>
                  <a:lnTo>
                    <a:pt x="5029" y="2854"/>
                  </a:lnTo>
                  <a:lnTo>
                    <a:pt x="5027" y="2863"/>
                  </a:lnTo>
                  <a:lnTo>
                    <a:pt x="5023" y="2869"/>
                  </a:lnTo>
                  <a:lnTo>
                    <a:pt x="5016" y="2873"/>
                  </a:lnTo>
                  <a:lnTo>
                    <a:pt x="5009" y="2874"/>
                  </a:lnTo>
                  <a:lnTo>
                    <a:pt x="5001" y="2873"/>
                  </a:lnTo>
                  <a:lnTo>
                    <a:pt x="4994" y="2869"/>
                  </a:lnTo>
                  <a:lnTo>
                    <a:pt x="4991" y="2863"/>
                  </a:lnTo>
                  <a:lnTo>
                    <a:pt x="4988" y="2854"/>
                  </a:lnTo>
                  <a:lnTo>
                    <a:pt x="4988" y="2741"/>
                  </a:lnTo>
                  <a:lnTo>
                    <a:pt x="4991" y="2732"/>
                  </a:lnTo>
                  <a:lnTo>
                    <a:pt x="4994" y="2727"/>
                  </a:lnTo>
                  <a:lnTo>
                    <a:pt x="5001" y="2723"/>
                  </a:lnTo>
                  <a:lnTo>
                    <a:pt x="5009" y="2722"/>
                  </a:lnTo>
                  <a:lnTo>
                    <a:pt x="5016" y="2723"/>
                  </a:lnTo>
                  <a:lnTo>
                    <a:pt x="5023" y="2727"/>
                  </a:lnTo>
                  <a:lnTo>
                    <a:pt x="5027" y="2732"/>
                  </a:lnTo>
                  <a:lnTo>
                    <a:pt x="5029" y="2741"/>
                  </a:lnTo>
                  <a:close/>
                  <a:moveTo>
                    <a:pt x="5292" y="2741"/>
                  </a:moveTo>
                  <a:lnTo>
                    <a:pt x="5292" y="2854"/>
                  </a:lnTo>
                  <a:lnTo>
                    <a:pt x="5289" y="2863"/>
                  </a:lnTo>
                  <a:lnTo>
                    <a:pt x="5286" y="2869"/>
                  </a:lnTo>
                  <a:lnTo>
                    <a:pt x="5279" y="2873"/>
                  </a:lnTo>
                  <a:lnTo>
                    <a:pt x="5271" y="2874"/>
                  </a:lnTo>
                  <a:lnTo>
                    <a:pt x="5264" y="2873"/>
                  </a:lnTo>
                  <a:lnTo>
                    <a:pt x="5257" y="2869"/>
                  </a:lnTo>
                  <a:lnTo>
                    <a:pt x="5253" y="2863"/>
                  </a:lnTo>
                  <a:lnTo>
                    <a:pt x="5252" y="2854"/>
                  </a:lnTo>
                  <a:lnTo>
                    <a:pt x="5252" y="2741"/>
                  </a:lnTo>
                  <a:lnTo>
                    <a:pt x="5253" y="2732"/>
                  </a:lnTo>
                  <a:lnTo>
                    <a:pt x="5257" y="2727"/>
                  </a:lnTo>
                  <a:lnTo>
                    <a:pt x="5264" y="2723"/>
                  </a:lnTo>
                  <a:lnTo>
                    <a:pt x="5271" y="2722"/>
                  </a:lnTo>
                  <a:lnTo>
                    <a:pt x="5279" y="2723"/>
                  </a:lnTo>
                  <a:lnTo>
                    <a:pt x="5286" y="2727"/>
                  </a:lnTo>
                  <a:lnTo>
                    <a:pt x="5289" y="2732"/>
                  </a:lnTo>
                  <a:lnTo>
                    <a:pt x="5292" y="2741"/>
                  </a:lnTo>
                  <a:close/>
                  <a:moveTo>
                    <a:pt x="5555" y="2741"/>
                  </a:moveTo>
                  <a:lnTo>
                    <a:pt x="5555" y="2854"/>
                  </a:lnTo>
                  <a:lnTo>
                    <a:pt x="5554" y="2863"/>
                  </a:lnTo>
                  <a:lnTo>
                    <a:pt x="5548" y="2869"/>
                  </a:lnTo>
                  <a:lnTo>
                    <a:pt x="5542" y="2873"/>
                  </a:lnTo>
                  <a:lnTo>
                    <a:pt x="5534" y="2874"/>
                  </a:lnTo>
                  <a:lnTo>
                    <a:pt x="5528" y="2873"/>
                  </a:lnTo>
                  <a:lnTo>
                    <a:pt x="5521" y="2869"/>
                  </a:lnTo>
                  <a:lnTo>
                    <a:pt x="5516" y="2863"/>
                  </a:lnTo>
                  <a:lnTo>
                    <a:pt x="5515" y="2854"/>
                  </a:lnTo>
                  <a:lnTo>
                    <a:pt x="5515" y="2741"/>
                  </a:lnTo>
                  <a:lnTo>
                    <a:pt x="5516" y="2732"/>
                  </a:lnTo>
                  <a:lnTo>
                    <a:pt x="5521" y="2727"/>
                  </a:lnTo>
                  <a:lnTo>
                    <a:pt x="5528" y="2723"/>
                  </a:lnTo>
                  <a:lnTo>
                    <a:pt x="5534" y="2722"/>
                  </a:lnTo>
                  <a:lnTo>
                    <a:pt x="5542" y="2723"/>
                  </a:lnTo>
                  <a:lnTo>
                    <a:pt x="5548" y="2727"/>
                  </a:lnTo>
                  <a:lnTo>
                    <a:pt x="5554" y="2732"/>
                  </a:lnTo>
                  <a:lnTo>
                    <a:pt x="5555" y="2741"/>
                  </a:lnTo>
                  <a:close/>
                  <a:moveTo>
                    <a:pt x="4239" y="2988"/>
                  </a:moveTo>
                  <a:lnTo>
                    <a:pt x="4239" y="3101"/>
                  </a:lnTo>
                  <a:lnTo>
                    <a:pt x="4238" y="3109"/>
                  </a:lnTo>
                  <a:lnTo>
                    <a:pt x="4233" y="3115"/>
                  </a:lnTo>
                  <a:lnTo>
                    <a:pt x="4226" y="3118"/>
                  </a:lnTo>
                  <a:lnTo>
                    <a:pt x="4219" y="3120"/>
                  </a:lnTo>
                  <a:lnTo>
                    <a:pt x="4212" y="3118"/>
                  </a:lnTo>
                  <a:lnTo>
                    <a:pt x="4206" y="3115"/>
                  </a:lnTo>
                  <a:lnTo>
                    <a:pt x="4201" y="3109"/>
                  </a:lnTo>
                  <a:lnTo>
                    <a:pt x="4199" y="3101"/>
                  </a:lnTo>
                  <a:lnTo>
                    <a:pt x="4199" y="2988"/>
                  </a:lnTo>
                  <a:lnTo>
                    <a:pt x="4201" y="2979"/>
                  </a:lnTo>
                  <a:lnTo>
                    <a:pt x="4206" y="2973"/>
                  </a:lnTo>
                  <a:lnTo>
                    <a:pt x="4212" y="2970"/>
                  </a:lnTo>
                  <a:lnTo>
                    <a:pt x="4219" y="2969"/>
                  </a:lnTo>
                  <a:lnTo>
                    <a:pt x="4226" y="2970"/>
                  </a:lnTo>
                  <a:lnTo>
                    <a:pt x="4233" y="2973"/>
                  </a:lnTo>
                  <a:lnTo>
                    <a:pt x="4238" y="2979"/>
                  </a:lnTo>
                  <a:lnTo>
                    <a:pt x="4239" y="2988"/>
                  </a:lnTo>
                  <a:close/>
                  <a:moveTo>
                    <a:pt x="4502" y="2988"/>
                  </a:moveTo>
                  <a:lnTo>
                    <a:pt x="4502" y="3101"/>
                  </a:lnTo>
                  <a:lnTo>
                    <a:pt x="4501" y="3109"/>
                  </a:lnTo>
                  <a:lnTo>
                    <a:pt x="4496" y="3115"/>
                  </a:lnTo>
                  <a:lnTo>
                    <a:pt x="4489" y="3118"/>
                  </a:lnTo>
                  <a:lnTo>
                    <a:pt x="4483" y="3120"/>
                  </a:lnTo>
                  <a:lnTo>
                    <a:pt x="4475" y="3118"/>
                  </a:lnTo>
                  <a:lnTo>
                    <a:pt x="4469" y="3115"/>
                  </a:lnTo>
                  <a:lnTo>
                    <a:pt x="4464" y="3109"/>
                  </a:lnTo>
                  <a:lnTo>
                    <a:pt x="4462" y="3101"/>
                  </a:lnTo>
                  <a:lnTo>
                    <a:pt x="4462" y="2988"/>
                  </a:lnTo>
                  <a:lnTo>
                    <a:pt x="4464" y="2979"/>
                  </a:lnTo>
                  <a:lnTo>
                    <a:pt x="4469" y="2973"/>
                  </a:lnTo>
                  <a:lnTo>
                    <a:pt x="4475" y="2970"/>
                  </a:lnTo>
                  <a:lnTo>
                    <a:pt x="4483" y="2969"/>
                  </a:lnTo>
                  <a:lnTo>
                    <a:pt x="4489" y="2970"/>
                  </a:lnTo>
                  <a:lnTo>
                    <a:pt x="4496" y="2973"/>
                  </a:lnTo>
                  <a:lnTo>
                    <a:pt x="4501" y="2979"/>
                  </a:lnTo>
                  <a:lnTo>
                    <a:pt x="4502" y="2988"/>
                  </a:lnTo>
                  <a:close/>
                  <a:moveTo>
                    <a:pt x="4765" y="2988"/>
                  </a:moveTo>
                  <a:lnTo>
                    <a:pt x="4765" y="3101"/>
                  </a:lnTo>
                  <a:lnTo>
                    <a:pt x="4764" y="3109"/>
                  </a:lnTo>
                  <a:lnTo>
                    <a:pt x="4759" y="3115"/>
                  </a:lnTo>
                  <a:lnTo>
                    <a:pt x="4752" y="3118"/>
                  </a:lnTo>
                  <a:lnTo>
                    <a:pt x="4746" y="3120"/>
                  </a:lnTo>
                  <a:lnTo>
                    <a:pt x="4738" y="3118"/>
                  </a:lnTo>
                  <a:lnTo>
                    <a:pt x="4732" y="3115"/>
                  </a:lnTo>
                  <a:lnTo>
                    <a:pt x="4728" y="3109"/>
                  </a:lnTo>
                  <a:lnTo>
                    <a:pt x="4725" y="3101"/>
                  </a:lnTo>
                  <a:lnTo>
                    <a:pt x="4725" y="2988"/>
                  </a:lnTo>
                  <a:lnTo>
                    <a:pt x="4728" y="2979"/>
                  </a:lnTo>
                  <a:lnTo>
                    <a:pt x="4732" y="2973"/>
                  </a:lnTo>
                  <a:lnTo>
                    <a:pt x="4738" y="2970"/>
                  </a:lnTo>
                  <a:lnTo>
                    <a:pt x="4746" y="2969"/>
                  </a:lnTo>
                  <a:lnTo>
                    <a:pt x="4752" y="2970"/>
                  </a:lnTo>
                  <a:lnTo>
                    <a:pt x="4759" y="2973"/>
                  </a:lnTo>
                  <a:lnTo>
                    <a:pt x="4764" y="2979"/>
                  </a:lnTo>
                  <a:lnTo>
                    <a:pt x="4765" y="2988"/>
                  </a:lnTo>
                  <a:close/>
                  <a:moveTo>
                    <a:pt x="5029" y="2988"/>
                  </a:moveTo>
                  <a:lnTo>
                    <a:pt x="5029" y="3101"/>
                  </a:lnTo>
                  <a:lnTo>
                    <a:pt x="5027" y="3109"/>
                  </a:lnTo>
                  <a:lnTo>
                    <a:pt x="5023" y="3115"/>
                  </a:lnTo>
                  <a:lnTo>
                    <a:pt x="5016" y="3118"/>
                  </a:lnTo>
                  <a:lnTo>
                    <a:pt x="5009" y="3120"/>
                  </a:lnTo>
                  <a:lnTo>
                    <a:pt x="5001" y="3118"/>
                  </a:lnTo>
                  <a:lnTo>
                    <a:pt x="4994" y="3115"/>
                  </a:lnTo>
                  <a:lnTo>
                    <a:pt x="4991" y="3109"/>
                  </a:lnTo>
                  <a:lnTo>
                    <a:pt x="4988" y="3101"/>
                  </a:lnTo>
                  <a:lnTo>
                    <a:pt x="4988" y="2988"/>
                  </a:lnTo>
                  <a:lnTo>
                    <a:pt x="4991" y="2979"/>
                  </a:lnTo>
                  <a:lnTo>
                    <a:pt x="4994" y="2973"/>
                  </a:lnTo>
                  <a:lnTo>
                    <a:pt x="5001" y="2970"/>
                  </a:lnTo>
                  <a:lnTo>
                    <a:pt x="5009" y="2969"/>
                  </a:lnTo>
                  <a:lnTo>
                    <a:pt x="5016" y="2970"/>
                  </a:lnTo>
                  <a:lnTo>
                    <a:pt x="5023" y="2973"/>
                  </a:lnTo>
                  <a:lnTo>
                    <a:pt x="5027" y="2979"/>
                  </a:lnTo>
                  <a:lnTo>
                    <a:pt x="5029" y="2988"/>
                  </a:lnTo>
                  <a:close/>
                  <a:moveTo>
                    <a:pt x="5292" y="2988"/>
                  </a:moveTo>
                  <a:lnTo>
                    <a:pt x="5292" y="3101"/>
                  </a:lnTo>
                  <a:lnTo>
                    <a:pt x="5289" y="3109"/>
                  </a:lnTo>
                  <a:lnTo>
                    <a:pt x="5286" y="3115"/>
                  </a:lnTo>
                  <a:lnTo>
                    <a:pt x="5279" y="3118"/>
                  </a:lnTo>
                  <a:lnTo>
                    <a:pt x="5271" y="3120"/>
                  </a:lnTo>
                  <a:lnTo>
                    <a:pt x="5264" y="3118"/>
                  </a:lnTo>
                  <a:lnTo>
                    <a:pt x="5257" y="3115"/>
                  </a:lnTo>
                  <a:lnTo>
                    <a:pt x="5253" y="3109"/>
                  </a:lnTo>
                  <a:lnTo>
                    <a:pt x="5252" y="3101"/>
                  </a:lnTo>
                  <a:lnTo>
                    <a:pt x="5252" y="2988"/>
                  </a:lnTo>
                  <a:lnTo>
                    <a:pt x="5253" y="2979"/>
                  </a:lnTo>
                  <a:lnTo>
                    <a:pt x="5257" y="2973"/>
                  </a:lnTo>
                  <a:lnTo>
                    <a:pt x="5264" y="2970"/>
                  </a:lnTo>
                  <a:lnTo>
                    <a:pt x="5271" y="2969"/>
                  </a:lnTo>
                  <a:lnTo>
                    <a:pt x="5279" y="2970"/>
                  </a:lnTo>
                  <a:lnTo>
                    <a:pt x="5286" y="2973"/>
                  </a:lnTo>
                  <a:lnTo>
                    <a:pt x="5289" y="2979"/>
                  </a:lnTo>
                  <a:lnTo>
                    <a:pt x="5292" y="2988"/>
                  </a:lnTo>
                  <a:close/>
                  <a:moveTo>
                    <a:pt x="5555" y="2988"/>
                  </a:moveTo>
                  <a:lnTo>
                    <a:pt x="5555" y="3101"/>
                  </a:lnTo>
                  <a:lnTo>
                    <a:pt x="5554" y="3109"/>
                  </a:lnTo>
                  <a:lnTo>
                    <a:pt x="5548" y="3115"/>
                  </a:lnTo>
                  <a:lnTo>
                    <a:pt x="5542" y="3118"/>
                  </a:lnTo>
                  <a:lnTo>
                    <a:pt x="5534" y="3120"/>
                  </a:lnTo>
                  <a:lnTo>
                    <a:pt x="5528" y="3118"/>
                  </a:lnTo>
                  <a:lnTo>
                    <a:pt x="5521" y="3115"/>
                  </a:lnTo>
                  <a:lnTo>
                    <a:pt x="5516" y="3109"/>
                  </a:lnTo>
                  <a:lnTo>
                    <a:pt x="5515" y="3101"/>
                  </a:lnTo>
                  <a:lnTo>
                    <a:pt x="5515" y="2988"/>
                  </a:lnTo>
                  <a:lnTo>
                    <a:pt x="5516" y="2979"/>
                  </a:lnTo>
                  <a:lnTo>
                    <a:pt x="5521" y="2973"/>
                  </a:lnTo>
                  <a:lnTo>
                    <a:pt x="5528" y="2970"/>
                  </a:lnTo>
                  <a:lnTo>
                    <a:pt x="5534" y="2969"/>
                  </a:lnTo>
                  <a:lnTo>
                    <a:pt x="5542" y="2970"/>
                  </a:lnTo>
                  <a:lnTo>
                    <a:pt x="5548" y="2973"/>
                  </a:lnTo>
                  <a:lnTo>
                    <a:pt x="5554" y="2979"/>
                  </a:lnTo>
                  <a:lnTo>
                    <a:pt x="5555" y="2988"/>
                  </a:lnTo>
                  <a:close/>
                  <a:moveTo>
                    <a:pt x="4239" y="3235"/>
                  </a:moveTo>
                  <a:lnTo>
                    <a:pt x="4239" y="3347"/>
                  </a:lnTo>
                  <a:lnTo>
                    <a:pt x="4238" y="3355"/>
                  </a:lnTo>
                  <a:lnTo>
                    <a:pt x="4233" y="3361"/>
                  </a:lnTo>
                  <a:lnTo>
                    <a:pt x="4226" y="3365"/>
                  </a:lnTo>
                  <a:lnTo>
                    <a:pt x="4219" y="3367"/>
                  </a:lnTo>
                  <a:lnTo>
                    <a:pt x="4212" y="3365"/>
                  </a:lnTo>
                  <a:lnTo>
                    <a:pt x="4206" y="3361"/>
                  </a:lnTo>
                  <a:lnTo>
                    <a:pt x="4201" y="3355"/>
                  </a:lnTo>
                  <a:lnTo>
                    <a:pt x="4199" y="3347"/>
                  </a:lnTo>
                  <a:lnTo>
                    <a:pt x="4199" y="3235"/>
                  </a:lnTo>
                  <a:lnTo>
                    <a:pt x="4201" y="3226"/>
                  </a:lnTo>
                  <a:lnTo>
                    <a:pt x="4206" y="3219"/>
                  </a:lnTo>
                  <a:lnTo>
                    <a:pt x="4212" y="3216"/>
                  </a:lnTo>
                  <a:lnTo>
                    <a:pt x="4219" y="3214"/>
                  </a:lnTo>
                  <a:lnTo>
                    <a:pt x="4226" y="3216"/>
                  </a:lnTo>
                  <a:lnTo>
                    <a:pt x="4233" y="3219"/>
                  </a:lnTo>
                  <a:lnTo>
                    <a:pt x="4238" y="3226"/>
                  </a:lnTo>
                  <a:lnTo>
                    <a:pt x="4239" y="3235"/>
                  </a:lnTo>
                  <a:close/>
                  <a:moveTo>
                    <a:pt x="4502" y="3235"/>
                  </a:moveTo>
                  <a:lnTo>
                    <a:pt x="4502" y="3347"/>
                  </a:lnTo>
                  <a:lnTo>
                    <a:pt x="4501" y="3355"/>
                  </a:lnTo>
                  <a:lnTo>
                    <a:pt x="4496" y="3361"/>
                  </a:lnTo>
                  <a:lnTo>
                    <a:pt x="4489" y="3365"/>
                  </a:lnTo>
                  <a:lnTo>
                    <a:pt x="4483" y="3367"/>
                  </a:lnTo>
                  <a:lnTo>
                    <a:pt x="4475" y="3365"/>
                  </a:lnTo>
                  <a:lnTo>
                    <a:pt x="4469" y="3361"/>
                  </a:lnTo>
                  <a:lnTo>
                    <a:pt x="4464" y="3355"/>
                  </a:lnTo>
                  <a:lnTo>
                    <a:pt x="4462" y="3347"/>
                  </a:lnTo>
                  <a:lnTo>
                    <a:pt x="4462" y="3235"/>
                  </a:lnTo>
                  <a:lnTo>
                    <a:pt x="4464" y="3226"/>
                  </a:lnTo>
                  <a:lnTo>
                    <a:pt x="4469" y="3219"/>
                  </a:lnTo>
                  <a:lnTo>
                    <a:pt x="4475" y="3216"/>
                  </a:lnTo>
                  <a:lnTo>
                    <a:pt x="4483" y="3214"/>
                  </a:lnTo>
                  <a:lnTo>
                    <a:pt x="4489" y="3216"/>
                  </a:lnTo>
                  <a:lnTo>
                    <a:pt x="4496" y="3219"/>
                  </a:lnTo>
                  <a:lnTo>
                    <a:pt x="4501" y="3226"/>
                  </a:lnTo>
                  <a:lnTo>
                    <a:pt x="4502" y="3235"/>
                  </a:lnTo>
                  <a:close/>
                  <a:moveTo>
                    <a:pt x="4765" y="3235"/>
                  </a:moveTo>
                  <a:lnTo>
                    <a:pt x="4765" y="3347"/>
                  </a:lnTo>
                  <a:lnTo>
                    <a:pt x="4764" y="3355"/>
                  </a:lnTo>
                  <a:lnTo>
                    <a:pt x="4759" y="3361"/>
                  </a:lnTo>
                  <a:lnTo>
                    <a:pt x="4752" y="3365"/>
                  </a:lnTo>
                  <a:lnTo>
                    <a:pt x="4746" y="3367"/>
                  </a:lnTo>
                  <a:lnTo>
                    <a:pt x="4738" y="3365"/>
                  </a:lnTo>
                  <a:lnTo>
                    <a:pt x="4732" y="3361"/>
                  </a:lnTo>
                  <a:lnTo>
                    <a:pt x="4728" y="3355"/>
                  </a:lnTo>
                  <a:lnTo>
                    <a:pt x="4725" y="3347"/>
                  </a:lnTo>
                  <a:lnTo>
                    <a:pt x="4725" y="3235"/>
                  </a:lnTo>
                  <a:lnTo>
                    <a:pt x="4728" y="3226"/>
                  </a:lnTo>
                  <a:lnTo>
                    <a:pt x="4732" y="3219"/>
                  </a:lnTo>
                  <a:lnTo>
                    <a:pt x="4738" y="3216"/>
                  </a:lnTo>
                  <a:lnTo>
                    <a:pt x="4746" y="3214"/>
                  </a:lnTo>
                  <a:lnTo>
                    <a:pt x="4752" y="3216"/>
                  </a:lnTo>
                  <a:lnTo>
                    <a:pt x="4759" y="3219"/>
                  </a:lnTo>
                  <a:lnTo>
                    <a:pt x="4764" y="3226"/>
                  </a:lnTo>
                  <a:lnTo>
                    <a:pt x="4765" y="3235"/>
                  </a:lnTo>
                  <a:close/>
                  <a:moveTo>
                    <a:pt x="5029" y="3235"/>
                  </a:moveTo>
                  <a:lnTo>
                    <a:pt x="5029" y="3347"/>
                  </a:lnTo>
                  <a:lnTo>
                    <a:pt x="5027" y="3355"/>
                  </a:lnTo>
                  <a:lnTo>
                    <a:pt x="5023" y="3361"/>
                  </a:lnTo>
                  <a:lnTo>
                    <a:pt x="5016" y="3365"/>
                  </a:lnTo>
                  <a:lnTo>
                    <a:pt x="5009" y="3367"/>
                  </a:lnTo>
                  <a:lnTo>
                    <a:pt x="5001" y="3365"/>
                  </a:lnTo>
                  <a:lnTo>
                    <a:pt x="4994" y="3361"/>
                  </a:lnTo>
                  <a:lnTo>
                    <a:pt x="4991" y="3355"/>
                  </a:lnTo>
                  <a:lnTo>
                    <a:pt x="4988" y="3347"/>
                  </a:lnTo>
                  <a:lnTo>
                    <a:pt x="4988" y="3235"/>
                  </a:lnTo>
                  <a:lnTo>
                    <a:pt x="4991" y="3226"/>
                  </a:lnTo>
                  <a:lnTo>
                    <a:pt x="4994" y="3219"/>
                  </a:lnTo>
                  <a:lnTo>
                    <a:pt x="5001" y="3216"/>
                  </a:lnTo>
                  <a:lnTo>
                    <a:pt x="5009" y="3214"/>
                  </a:lnTo>
                  <a:lnTo>
                    <a:pt x="5016" y="3216"/>
                  </a:lnTo>
                  <a:lnTo>
                    <a:pt x="5023" y="3219"/>
                  </a:lnTo>
                  <a:lnTo>
                    <a:pt x="5027" y="3226"/>
                  </a:lnTo>
                  <a:lnTo>
                    <a:pt x="5029" y="3235"/>
                  </a:lnTo>
                  <a:close/>
                  <a:moveTo>
                    <a:pt x="5292" y="3235"/>
                  </a:moveTo>
                  <a:lnTo>
                    <a:pt x="5292" y="3347"/>
                  </a:lnTo>
                  <a:lnTo>
                    <a:pt x="5289" y="3355"/>
                  </a:lnTo>
                  <a:lnTo>
                    <a:pt x="5286" y="3361"/>
                  </a:lnTo>
                  <a:lnTo>
                    <a:pt x="5279" y="3365"/>
                  </a:lnTo>
                  <a:lnTo>
                    <a:pt x="5271" y="3367"/>
                  </a:lnTo>
                  <a:lnTo>
                    <a:pt x="5264" y="3365"/>
                  </a:lnTo>
                  <a:lnTo>
                    <a:pt x="5257" y="3361"/>
                  </a:lnTo>
                  <a:lnTo>
                    <a:pt x="5253" y="3355"/>
                  </a:lnTo>
                  <a:lnTo>
                    <a:pt x="5252" y="3347"/>
                  </a:lnTo>
                  <a:lnTo>
                    <a:pt x="5252" y="3235"/>
                  </a:lnTo>
                  <a:lnTo>
                    <a:pt x="5253" y="3226"/>
                  </a:lnTo>
                  <a:lnTo>
                    <a:pt x="5257" y="3219"/>
                  </a:lnTo>
                  <a:lnTo>
                    <a:pt x="5264" y="3216"/>
                  </a:lnTo>
                  <a:lnTo>
                    <a:pt x="5271" y="3214"/>
                  </a:lnTo>
                  <a:lnTo>
                    <a:pt x="5279" y="3216"/>
                  </a:lnTo>
                  <a:lnTo>
                    <a:pt x="5286" y="3219"/>
                  </a:lnTo>
                  <a:lnTo>
                    <a:pt x="5289" y="3226"/>
                  </a:lnTo>
                  <a:lnTo>
                    <a:pt x="5292" y="3235"/>
                  </a:lnTo>
                  <a:close/>
                  <a:moveTo>
                    <a:pt x="5555" y="3235"/>
                  </a:moveTo>
                  <a:lnTo>
                    <a:pt x="5555" y="3347"/>
                  </a:lnTo>
                  <a:lnTo>
                    <a:pt x="5554" y="3355"/>
                  </a:lnTo>
                  <a:lnTo>
                    <a:pt x="5548" y="3361"/>
                  </a:lnTo>
                  <a:lnTo>
                    <a:pt x="5542" y="3365"/>
                  </a:lnTo>
                  <a:lnTo>
                    <a:pt x="5534" y="3367"/>
                  </a:lnTo>
                  <a:lnTo>
                    <a:pt x="5528" y="3365"/>
                  </a:lnTo>
                  <a:lnTo>
                    <a:pt x="5521" y="3361"/>
                  </a:lnTo>
                  <a:lnTo>
                    <a:pt x="5516" y="3355"/>
                  </a:lnTo>
                  <a:lnTo>
                    <a:pt x="5515" y="3347"/>
                  </a:lnTo>
                  <a:lnTo>
                    <a:pt x="5515" y="3235"/>
                  </a:lnTo>
                  <a:lnTo>
                    <a:pt x="5516" y="3226"/>
                  </a:lnTo>
                  <a:lnTo>
                    <a:pt x="5521" y="3219"/>
                  </a:lnTo>
                  <a:lnTo>
                    <a:pt x="5528" y="3216"/>
                  </a:lnTo>
                  <a:lnTo>
                    <a:pt x="5534" y="3214"/>
                  </a:lnTo>
                  <a:lnTo>
                    <a:pt x="5542" y="3216"/>
                  </a:lnTo>
                  <a:lnTo>
                    <a:pt x="5548" y="3219"/>
                  </a:lnTo>
                  <a:lnTo>
                    <a:pt x="5554" y="3226"/>
                  </a:lnTo>
                  <a:lnTo>
                    <a:pt x="5555" y="3235"/>
                  </a:lnTo>
                  <a:close/>
                  <a:moveTo>
                    <a:pt x="3624" y="4034"/>
                  </a:moveTo>
                  <a:lnTo>
                    <a:pt x="3624" y="3864"/>
                  </a:lnTo>
                  <a:lnTo>
                    <a:pt x="3625" y="3856"/>
                  </a:lnTo>
                  <a:lnTo>
                    <a:pt x="3629" y="3851"/>
                  </a:lnTo>
                  <a:lnTo>
                    <a:pt x="3634" y="3847"/>
                  </a:lnTo>
                  <a:lnTo>
                    <a:pt x="3639" y="3845"/>
                  </a:lnTo>
                  <a:lnTo>
                    <a:pt x="3646" y="3845"/>
                  </a:lnTo>
                  <a:lnTo>
                    <a:pt x="3652" y="3846"/>
                  </a:lnTo>
                  <a:lnTo>
                    <a:pt x="3657" y="3849"/>
                  </a:lnTo>
                  <a:lnTo>
                    <a:pt x="3662" y="3854"/>
                  </a:lnTo>
                  <a:lnTo>
                    <a:pt x="3666" y="3860"/>
                  </a:lnTo>
                  <a:lnTo>
                    <a:pt x="3667" y="3869"/>
                  </a:lnTo>
                  <a:lnTo>
                    <a:pt x="3667" y="4034"/>
                  </a:lnTo>
                  <a:lnTo>
                    <a:pt x="3710" y="4029"/>
                  </a:lnTo>
                  <a:lnTo>
                    <a:pt x="3751" y="4021"/>
                  </a:lnTo>
                  <a:lnTo>
                    <a:pt x="3789" y="4010"/>
                  </a:lnTo>
                  <a:lnTo>
                    <a:pt x="3828" y="3994"/>
                  </a:lnTo>
                  <a:lnTo>
                    <a:pt x="3846" y="3985"/>
                  </a:lnTo>
                  <a:lnTo>
                    <a:pt x="3864" y="3975"/>
                  </a:lnTo>
                  <a:lnTo>
                    <a:pt x="3897" y="3953"/>
                  </a:lnTo>
                  <a:lnTo>
                    <a:pt x="3928" y="3928"/>
                  </a:lnTo>
                  <a:lnTo>
                    <a:pt x="3957" y="3901"/>
                  </a:lnTo>
                  <a:lnTo>
                    <a:pt x="3970" y="3886"/>
                  </a:lnTo>
                  <a:lnTo>
                    <a:pt x="3983" y="3870"/>
                  </a:lnTo>
                  <a:lnTo>
                    <a:pt x="4006" y="3838"/>
                  </a:lnTo>
                  <a:lnTo>
                    <a:pt x="4026" y="3804"/>
                  </a:lnTo>
                  <a:lnTo>
                    <a:pt x="4043" y="3767"/>
                  </a:lnTo>
                  <a:lnTo>
                    <a:pt x="4057" y="3728"/>
                  </a:lnTo>
                  <a:lnTo>
                    <a:pt x="4067" y="3689"/>
                  </a:lnTo>
                  <a:lnTo>
                    <a:pt x="4074" y="3648"/>
                  </a:lnTo>
                  <a:lnTo>
                    <a:pt x="4075" y="3604"/>
                  </a:lnTo>
                  <a:lnTo>
                    <a:pt x="4074" y="3569"/>
                  </a:lnTo>
                  <a:lnTo>
                    <a:pt x="4069" y="3533"/>
                  </a:lnTo>
                  <a:lnTo>
                    <a:pt x="4062" y="3498"/>
                  </a:lnTo>
                  <a:lnTo>
                    <a:pt x="4052" y="3464"/>
                  </a:lnTo>
                  <a:lnTo>
                    <a:pt x="4039" y="3432"/>
                  </a:lnTo>
                  <a:lnTo>
                    <a:pt x="4024" y="3401"/>
                  </a:lnTo>
                  <a:lnTo>
                    <a:pt x="4006" y="3372"/>
                  </a:lnTo>
                  <a:lnTo>
                    <a:pt x="3987" y="3343"/>
                  </a:lnTo>
                  <a:lnTo>
                    <a:pt x="3955" y="3308"/>
                  </a:lnTo>
                  <a:lnTo>
                    <a:pt x="3919" y="3276"/>
                  </a:lnTo>
                  <a:lnTo>
                    <a:pt x="3880" y="3248"/>
                  </a:lnTo>
                  <a:lnTo>
                    <a:pt x="3860" y="3236"/>
                  </a:lnTo>
                  <a:lnTo>
                    <a:pt x="3839" y="3225"/>
                  </a:lnTo>
                  <a:lnTo>
                    <a:pt x="3817" y="3214"/>
                  </a:lnTo>
                  <a:lnTo>
                    <a:pt x="3794" y="3205"/>
                  </a:lnTo>
                  <a:lnTo>
                    <a:pt x="3748" y="3191"/>
                  </a:lnTo>
                  <a:lnTo>
                    <a:pt x="3699" y="3184"/>
                  </a:lnTo>
                  <a:lnTo>
                    <a:pt x="3674" y="3181"/>
                  </a:lnTo>
                  <a:lnTo>
                    <a:pt x="3648" y="3180"/>
                  </a:lnTo>
                  <a:lnTo>
                    <a:pt x="3604" y="3182"/>
                  </a:lnTo>
                  <a:lnTo>
                    <a:pt x="3562" y="3189"/>
                  </a:lnTo>
                  <a:lnTo>
                    <a:pt x="3521" y="3200"/>
                  </a:lnTo>
                  <a:lnTo>
                    <a:pt x="3481" y="3214"/>
                  </a:lnTo>
                  <a:lnTo>
                    <a:pt x="3443" y="3232"/>
                  </a:lnTo>
                  <a:lnTo>
                    <a:pt x="3408" y="3254"/>
                  </a:lnTo>
                  <a:lnTo>
                    <a:pt x="3375" y="3278"/>
                  </a:lnTo>
                  <a:lnTo>
                    <a:pt x="3344" y="3306"/>
                  </a:lnTo>
                  <a:lnTo>
                    <a:pt x="3316" y="3337"/>
                  </a:lnTo>
                  <a:lnTo>
                    <a:pt x="3292" y="3369"/>
                  </a:lnTo>
                  <a:lnTo>
                    <a:pt x="3270" y="3405"/>
                  </a:lnTo>
                  <a:lnTo>
                    <a:pt x="3252" y="3443"/>
                  </a:lnTo>
                  <a:lnTo>
                    <a:pt x="3238" y="3482"/>
                  </a:lnTo>
                  <a:lnTo>
                    <a:pt x="3226" y="3524"/>
                  </a:lnTo>
                  <a:lnTo>
                    <a:pt x="3220" y="3566"/>
                  </a:lnTo>
                  <a:lnTo>
                    <a:pt x="3219" y="3609"/>
                  </a:lnTo>
                  <a:lnTo>
                    <a:pt x="3220" y="3647"/>
                  </a:lnTo>
                  <a:lnTo>
                    <a:pt x="3224" y="3682"/>
                  </a:lnTo>
                  <a:lnTo>
                    <a:pt x="3231" y="3717"/>
                  </a:lnTo>
                  <a:lnTo>
                    <a:pt x="3242" y="3750"/>
                  </a:lnTo>
                  <a:lnTo>
                    <a:pt x="3254" y="3783"/>
                  </a:lnTo>
                  <a:lnTo>
                    <a:pt x="3270" y="3814"/>
                  </a:lnTo>
                  <a:lnTo>
                    <a:pt x="3288" y="3843"/>
                  </a:lnTo>
                  <a:lnTo>
                    <a:pt x="3307" y="3872"/>
                  </a:lnTo>
                  <a:lnTo>
                    <a:pt x="3336" y="3905"/>
                  </a:lnTo>
                  <a:lnTo>
                    <a:pt x="3370" y="3936"/>
                  </a:lnTo>
                  <a:lnTo>
                    <a:pt x="3388" y="3950"/>
                  </a:lnTo>
                  <a:lnTo>
                    <a:pt x="3407" y="3962"/>
                  </a:lnTo>
                  <a:lnTo>
                    <a:pt x="3445" y="3985"/>
                  </a:lnTo>
                  <a:lnTo>
                    <a:pt x="3487" y="4005"/>
                  </a:lnTo>
                  <a:lnTo>
                    <a:pt x="3531" y="4019"/>
                  </a:lnTo>
                  <a:lnTo>
                    <a:pt x="3576" y="4029"/>
                  </a:lnTo>
                  <a:lnTo>
                    <a:pt x="3624" y="4034"/>
                  </a:lnTo>
                  <a:close/>
                  <a:moveTo>
                    <a:pt x="3628" y="4333"/>
                  </a:moveTo>
                  <a:lnTo>
                    <a:pt x="3625" y="4328"/>
                  </a:lnTo>
                  <a:lnTo>
                    <a:pt x="3624" y="4320"/>
                  </a:lnTo>
                  <a:lnTo>
                    <a:pt x="3624" y="4079"/>
                  </a:lnTo>
                  <a:lnTo>
                    <a:pt x="3571" y="4072"/>
                  </a:lnTo>
                  <a:lnTo>
                    <a:pt x="3521" y="4062"/>
                  </a:lnTo>
                  <a:lnTo>
                    <a:pt x="3472" y="4045"/>
                  </a:lnTo>
                  <a:lnTo>
                    <a:pt x="3449" y="4035"/>
                  </a:lnTo>
                  <a:lnTo>
                    <a:pt x="3428" y="4024"/>
                  </a:lnTo>
                  <a:lnTo>
                    <a:pt x="3384" y="3998"/>
                  </a:lnTo>
                  <a:lnTo>
                    <a:pt x="3363" y="3984"/>
                  </a:lnTo>
                  <a:lnTo>
                    <a:pt x="3344" y="3967"/>
                  </a:lnTo>
                  <a:lnTo>
                    <a:pt x="3326" y="3951"/>
                  </a:lnTo>
                  <a:lnTo>
                    <a:pt x="3308" y="3934"/>
                  </a:lnTo>
                  <a:lnTo>
                    <a:pt x="3292" y="3915"/>
                  </a:lnTo>
                  <a:lnTo>
                    <a:pt x="3276" y="3896"/>
                  </a:lnTo>
                  <a:lnTo>
                    <a:pt x="3253" y="3865"/>
                  </a:lnTo>
                  <a:lnTo>
                    <a:pt x="3233" y="3832"/>
                  </a:lnTo>
                  <a:lnTo>
                    <a:pt x="3216" y="3797"/>
                  </a:lnTo>
                  <a:lnTo>
                    <a:pt x="3201" y="3762"/>
                  </a:lnTo>
                  <a:lnTo>
                    <a:pt x="3189" y="3725"/>
                  </a:lnTo>
                  <a:lnTo>
                    <a:pt x="3181" y="3686"/>
                  </a:lnTo>
                  <a:lnTo>
                    <a:pt x="3176" y="3645"/>
                  </a:lnTo>
                  <a:lnTo>
                    <a:pt x="3174" y="3604"/>
                  </a:lnTo>
                  <a:lnTo>
                    <a:pt x="3176" y="3557"/>
                  </a:lnTo>
                  <a:lnTo>
                    <a:pt x="3184" y="3510"/>
                  </a:lnTo>
                  <a:lnTo>
                    <a:pt x="3189" y="3488"/>
                  </a:lnTo>
                  <a:lnTo>
                    <a:pt x="3195" y="3465"/>
                  </a:lnTo>
                  <a:lnTo>
                    <a:pt x="3211" y="3423"/>
                  </a:lnTo>
                  <a:lnTo>
                    <a:pt x="3231" y="3382"/>
                  </a:lnTo>
                  <a:lnTo>
                    <a:pt x="3254" y="3342"/>
                  </a:lnTo>
                  <a:lnTo>
                    <a:pt x="3281" y="3306"/>
                  </a:lnTo>
                  <a:lnTo>
                    <a:pt x="3297" y="3290"/>
                  </a:lnTo>
                  <a:lnTo>
                    <a:pt x="3312" y="3273"/>
                  </a:lnTo>
                  <a:lnTo>
                    <a:pt x="3345" y="3242"/>
                  </a:lnTo>
                  <a:lnTo>
                    <a:pt x="3363" y="3228"/>
                  </a:lnTo>
                  <a:lnTo>
                    <a:pt x="3381" y="3216"/>
                  </a:lnTo>
                  <a:lnTo>
                    <a:pt x="3420" y="3193"/>
                  </a:lnTo>
                  <a:lnTo>
                    <a:pt x="3440" y="3182"/>
                  </a:lnTo>
                  <a:lnTo>
                    <a:pt x="3462" y="3172"/>
                  </a:lnTo>
                  <a:lnTo>
                    <a:pt x="3483" y="3164"/>
                  </a:lnTo>
                  <a:lnTo>
                    <a:pt x="3504" y="3157"/>
                  </a:lnTo>
                  <a:lnTo>
                    <a:pt x="3528" y="3150"/>
                  </a:lnTo>
                  <a:lnTo>
                    <a:pt x="3549" y="3145"/>
                  </a:lnTo>
                  <a:lnTo>
                    <a:pt x="3597" y="3138"/>
                  </a:lnTo>
                  <a:lnTo>
                    <a:pt x="3644" y="3135"/>
                  </a:lnTo>
                  <a:lnTo>
                    <a:pt x="3701" y="3139"/>
                  </a:lnTo>
                  <a:lnTo>
                    <a:pt x="3728" y="3143"/>
                  </a:lnTo>
                  <a:lnTo>
                    <a:pt x="3755" y="3149"/>
                  </a:lnTo>
                  <a:lnTo>
                    <a:pt x="3781" y="3156"/>
                  </a:lnTo>
                  <a:lnTo>
                    <a:pt x="3807" y="3164"/>
                  </a:lnTo>
                  <a:lnTo>
                    <a:pt x="3831" y="3175"/>
                  </a:lnTo>
                  <a:lnTo>
                    <a:pt x="3856" y="3185"/>
                  </a:lnTo>
                  <a:lnTo>
                    <a:pt x="3902" y="3212"/>
                  </a:lnTo>
                  <a:lnTo>
                    <a:pt x="3944" y="3242"/>
                  </a:lnTo>
                  <a:lnTo>
                    <a:pt x="3965" y="3260"/>
                  </a:lnTo>
                  <a:lnTo>
                    <a:pt x="3983" y="3278"/>
                  </a:lnTo>
                  <a:lnTo>
                    <a:pt x="4001" y="3299"/>
                  </a:lnTo>
                  <a:lnTo>
                    <a:pt x="4017" y="3318"/>
                  </a:lnTo>
                  <a:lnTo>
                    <a:pt x="4040" y="3350"/>
                  </a:lnTo>
                  <a:lnTo>
                    <a:pt x="4060" y="3382"/>
                  </a:lnTo>
                  <a:lnTo>
                    <a:pt x="4078" y="3416"/>
                  </a:lnTo>
                  <a:lnTo>
                    <a:pt x="4092" y="3453"/>
                  </a:lnTo>
                  <a:lnTo>
                    <a:pt x="4103" y="3491"/>
                  </a:lnTo>
                  <a:lnTo>
                    <a:pt x="4112" y="3529"/>
                  </a:lnTo>
                  <a:lnTo>
                    <a:pt x="4117" y="3569"/>
                  </a:lnTo>
                  <a:lnTo>
                    <a:pt x="4119" y="3609"/>
                  </a:lnTo>
                  <a:lnTo>
                    <a:pt x="4117" y="3657"/>
                  </a:lnTo>
                  <a:lnTo>
                    <a:pt x="4110" y="3702"/>
                  </a:lnTo>
                  <a:lnTo>
                    <a:pt x="4105" y="3725"/>
                  </a:lnTo>
                  <a:lnTo>
                    <a:pt x="4099" y="3746"/>
                  </a:lnTo>
                  <a:lnTo>
                    <a:pt x="4084" y="3788"/>
                  </a:lnTo>
                  <a:lnTo>
                    <a:pt x="4075" y="3809"/>
                  </a:lnTo>
                  <a:lnTo>
                    <a:pt x="4065" y="3828"/>
                  </a:lnTo>
                  <a:lnTo>
                    <a:pt x="4043" y="3866"/>
                  </a:lnTo>
                  <a:lnTo>
                    <a:pt x="4016" y="3902"/>
                  </a:lnTo>
                  <a:lnTo>
                    <a:pt x="3988" y="3936"/>
                  </a:lnTo>
                  <a:lnTo>
                    <a:pt x="3956" y="3965"/>
                  </a:lnTo>
                  <a:lnTo>
                    <a:pt x="3921" y="3993"/>
                  </a:lnTo>
                  <a:lnTo>
                    <a:pt x="3884" y="4016"/>
                  </a:lnTo>
                  <a:lnTo>
                    <a:pt x="3844" y="4037"/>
                  </a:lnTo>
                  <a:lnTo>
                    <a:pt x="3802" y="4053"/>
                  </a:lnTo>
                  <a:lnTo>
                    <a:pt x="3760" y="4066"/>
                  </a:lnTo>
                  <a:lnTo>
                    <a:pt x="3715" y="4075"/>
                  </a:lnTo>
                  <a:lnTo>
                    <a:pt x="3667" y="4079"/>
                  </a:lnTo>
                  <a:lnTo>
                    <a:pt x="3667" y="4336"/>
                  </a:lnTo>
                  <a:lnTo>
                    <a:pt x="3666" y="4345"/>
                  </a:lnTo>
                  <a:lnTo>
                    <a:pt x="3661" y="4351"/>
                  </a:lnTo>
                  <a:lnTo>
                    <a:pt x="3654" y="4355"/>
                  </a:lnTo>
                  <a:lnTo>
                    <a:pt x="3648" y="4356"/>
                  </a:lnTo>
                  <a:lnTo>
                    <a:pt x="3640" y="4355"/>
                  </a:lnTo>
                  <a:lnTo>
                    <a:pt x="3634" y="4351"/>
                  </a:lnTo>
                  <a:lnTo>
                    <a:pt x="3629" y="4345"/>
                  </a:lnTo>
                  <a:lnTo>
                    <a:pt x="3628" y="4336"/>
                  </a:lnTo>
                  <a:lnTo>
                    <a:pt x="3628" y="4333"/>
                  </a:lnTo>
                  <a:close/>
                </a:path>
              </a:pathLst>
            </a:custGeom>
            <a:solidFill>
              <a:srgbClr val="FF6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12">
              <a:extLst>
                <a:ext uri="{FF2B5EF4-FFF2-40B4-BE49-F238E27FC236}">
                  <a16:creationId xmlns:a16="http://schemas.microsoft.com/office/drawing/2014/main" id="{D1B949EF-E873-4EC8-9984-717CF3B6E746}"/>
                </a:ext>
              </a:extLst>
            </p:cNvPr>
            <p:cNvSpPr>
              <a:spLocks noChangeAspect="1" noEditPoints="1"/>
            </p:cNvSpPr>
            <p:nvPr userDrawn="1"/>
          </p:nvSpPr>
          <p:spPr bwMode="black">
            <a:xfrm>
              <a:off x="5610994" y="5177099"/>
              <a:ext cx="193514" cy="216000"/>
            </a:xfrm>
            <a:custGeom>
              <a:avLst/>
              <a:gdLst>
                <a:gd name="T0" fmla="*/ 2964 w 3578"/>
                <a:gd name="T1" fmla="*/ 3151 h 3996"/>
                <a:gd name="T2" fmla="*/ 2988 w 3578"/>
                <a:gd name="T3" fmla="*/ 3131 h 3996"/>
                <a:gd name="T4" fmla="*/ 3002 w 3578"/>
                <a:gd name="T5" fmla="*/ 3095 h 3996"/>
                <a:gd name="T6" fmla="*/ 2998 w 3578"/>
                <a:gd name="T7" fmla="*/ 3052 h 3996"/>
                <a:gd name="T8" fmla="*/ 2570 w 3578"/>
                <a:gd name="T9" fmla="*/ 2480 h 3996"/>
                <a:gd name="T10" fmla="*/ 2976 w 3578"/>
                <a:gd name="T11" fmla="*/ 956 h 3996"/>
                <a:gd name="T12" fmla="*/ 2988 w 3578"/>
                <a:gd name="T13" fmla="*/ 917 h 3996"/>
                <a:gd name="T14" fmla="*/ 2981 w 3578"/>
                <a:gd name="T15" fmla="*/ 878 h 3996"/>
                <a:gd name="T16" fmla="*/ 2961 w 3578"/>
                <a:gd name="T17" fmla="*/ 853 h 3996"/>
                <a:gd name="T18" fmla="*/ 2936 w 3578"/>
                <a:gd name="T19" fmla="*/ 840 h 3996"/>
                <a:gd name="T20" fmla="*/ 2275 w 3578"/>
                <a:gd name="T21" fmla="*/ 835 h 3996"/>
                <a:gd name="T22" fmla="*/ 2209 w 3578"/>
                <a:gd name="T23" fmla="*/ 845 h 3996"/>
                <a:gd name="T24" fmla="*/ 2160 w 3578"/>
                <a:gd name="T25" fmla="*/ 872 h 3996"/>
                <a:gd name="T26" fmla="*/ 2119 w 3578"/>
                <a:gd name="T27" fmla="*/ 915 h 3996"/>
                <a:gd name="T28" fmla="*/ 1365 w 3578"/>
                <a:gd name="T29" fmla="*/ 931 h 3996"/>
                <a:gd name="T30" fmla="*/ 1356 w 3578"/>
                <a:gd name="T31" fmla="*/ 884 h 3996"/>
                <a:gd name="T32" fmla="*/ 1325 w 3578"/>
                <a:gd name="T33" fmla="*/ 851 h 3996"/>
                <a:gd name="T34" fmla="*/ 1280 w 3578"/>
                <a:gd name="T35" fmla="*/ 835 h 3996"/>
                <a:gd name="T36" fmla="*/ 664 w 3578"/>
                <a:gd name="T37" fmla="*/ 840 h 3996"/>
                <a:gd name="T38" fmla="*/ 625 w 3578"/>
                <a:gd name="T39" fmla="*/ 862 h 3996"/>
                <a:gd name="T40" fmla="*/ 602 w 3578"/>
                <a:gd name="T41" fmla="*/ 902 h 3996"/>
                <a:gd name="T42" fmla="*/ 598 w 3578"/>
                <a:gd name="T43" fmla="*/ 1998 h 3996"/>
                <a:gd name="T44" fmla="*/ 602 w 3578"/>
                <a:gd name="T45" fmla="*/ 3094 h 3996"/>
                <a:gd name="T46" fmla="*/ 625 w 3578"/>
                <a:gd name="T47" fmla="*/ 3133 h 3996"/>
                <a:gd name="T48" fmla="*/ 664 w 3578"/>
                <a:gd name="T49" fmla="*/ 3156 h 3996"/>
                <a:gd name="T50" fmla="*/ 1280 w 3578"/>
                <a:gd name="T51" fmla="*/ 3160 h 3996"/>
                <a:gd name="T52" fmla="*/ 1325 w 3578"/>
                <a:gd name="T53" fmla="*/ 3144 h 3996"/>
                <a:gd name="T54" fmla="*/ 1356 w 3578"/>
                <a:gd name="T55" fmla="*/ 3111 h 3996"/>
                <a:gd name="T56" fmla="*/ 1365 w 3578"/>
                <a:gd name="T57" fmla="*/ 3064 h 3996"/>
                <a:gd name="T58" fmla="*/ 2119 w 3578"/>
                <a:gd name="T59" fmla="*/ 3080 h 3996"/>
                <a:gd name="T60" fmla="*/ 2160 w 3578"/>
                <a:gd name="T61" fmla="*/ 3123 h 3996"/>
                <a:gd name="T62" fmla="*/ 2209 w 3578"/>
                <a:gd name="T63" fmla="*/ 3151 h 3996"/>
                <a:gd name="T64" fmla="*/ 2275 w 3578"/>
                <a:gd name="T65" fmla="*/ 3160 h 3996"/>
                <a:gd name="T66" fmla="*/ 4 w 3578"/>
                <a:gd name="T67" fmla="*/ 3929 h 3996"/>
                <a:gd name="T68" fmla="*/ 27 w 3578"/>
                <a:gd name="T69" fmla="*/ 3968 h 3996"/>
                <a:gd name="T70" fmla="*/ 66 w 3578"/>
                <a:gd name="T71" fmla="*/ 3991 h 3996"/>
                <a:gd name="T72" fmla="*/ 1789 w 3578"/>
                <a:gd name="T73" fmla="*/ 3996 h 3996"/>
                <a:gd name="T74" fmla="*/ 3512 w 3578"/>
                <a:gd name="T75" fmla="*/ 3991 h 3996"/>
                <a:gd name="T76" fmla="*/ 3552 w 3578"/>
                <a:gd name="T77" fmla="*/ 3968 h 3996"/>
                <a:gd name="T78" fmla="*/ 3574 w 3578"/>
                <a:gd name="T79" fmla="*/ 3929 h 3996"/>
                <a:gd name="T80" fmla="*/ 3577 w 3578"/>
                <a:gd name="T81" fmla="*/ 3624 h 3996"/>
                <a:gd name="T82" fmla="*/ 3563 w 3578"/>
                <a:gd name="T83" fmla="*/ 3579 h 3996"/>
                <a:gd name="T84" fmla="*/ 3529 w 3578"/>
                <a:gd name="T85" fmla="*/ 3549 h 3996"/>
                <a:gd name="T86" fmla="*/ 3482 w 3578"/>
                <a:gd name="T87" fmla="*/ 3538 h 3996"/>
                <a:gd name="T88" fmla="*/ 85 w 3578"/>
                <a:gd name="T89" fmla="*/ 3538 h 3996"/>
                <a:gd name="T90" fmla="*/ 41 w 3578"/>
                <a:gd name="T91" fmla="*/ 3554 h 3996"/>
                <a:gd name="T92" fmla="*/ 11 w 3578"/>
                <a:gd name="T93" fmla="*/ 3587 h 3996"/>
                <a:gd name="T94" fmla="*/ 0 w 3578"/>
                <a:gd name="T95" fmla="*/ 3634 h 3996"/>
                <a:gd name="T96" fmla="*/ 4 w 3578"/>
                <a:gd name="T97" fmla="*/ 391 h 3996"/>
                <a:gd name="T98" fmla="*/ 27 w 3578"/>
                <a:gd name="T99" fmla="*/ 430 h 3996"/>
                <a:gd name="T100" fmla="*/ 66 w 3578"/>
                <a:gd name="T101" fmla="*/ 453 h 3996"/>
                <a:gd name="T102" fmla="*/ 1789 w 3578"/>
                <a:gd name="T103" fmla="*/ 456 h 3996"/>
                <a:gd name="T104" fmla="*/ 3512 w 3578"/>
                <a:gd name="T105" fmla="*/ 453 h 3996"/>
                <a:gd name="T106" fmla="*/ 3552 w 3578"/>
                <a:gd name="T107" fmla="*/ 430 h 3996"/>
                <a:gd name="T108" fmla="*/ 3574 w 3578"/>
                <a:gd name="T109" fmla="*/ 391 h 3996"/>
                <a:gd name="T110" fmla="*/ 3577 w 3578"/>
                <a:gd name="T111" fmla="*/ 85 h 3996"/>
                <a:gd name="T112" fmla="*/ 3563 w 3578"/>
                <a:gd name="T113" fmla="*/ 41 h 3996"/>
                <a:gd name="T114" fmla="*/ 3529 w 3578"/>
                <a:gd name="T115" fmla="*/ 11 h 3996"/>
                <a:gd name="T116" fmla="*/ 3482 w 3578"/>
                <a:gd name="T117" fmla="*/ 0 h 3996"/>
                <a:gd name="T118" fmla="*/ 85 w 3578"/>
                <a:gd name="T119" fmla="*/ 0 h 3996"/>
                <a:gd name="T120" fmla="*/ 41 w 3578"/>
                <a:gd name="T121" fmla="*/ 16 h 3996"/>
                <a:gd name="T122" fmla="*/ 11 w 3578"/>
                <a:gd name="T123" fmla="*/ 49 h 3996"/>
                <a:gd name="T124" fmla="*/ 0 w 3578"/>
                <a:gd name="T125" fmla="*/ 95 h 3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78" h="3996">
                  <a:moveTo>
                    <a:pt x="2924" y="3160"/>
                  </a:moveTo>
                  <a:lnTo>
                    <a:pt x="2936" y="3160"/>
                  </a:lnTo>
                  <a:lnTo>
                    <a:pt x="2947" y="3157"/>
                  </a:lnTo>
                  <a:lnTo>
                    <a:pt x="2958" y="3153"/>
                  </a:lnTo>
                  <a:lnTo>
                    <a:pt x="2964" y="3151"/>
                  </a:lnTo>
                  <a:lnTo>
                    <a:pt x="2968" y="3148"/>
                  </a:lnTo>
                  <a:lnTo>
                    <a:pt x="2977" y="3142"/>
                  </a:lnTo>
                  <a:lnTo>
                    <a:pt x="2981" y="3139"/>
                  </a:lnTo>
                  <a:lnTo>
                    <a:pt x="2985" y="3135"/>
                  </a:lnTo>
                  <a:lnTo>
                    <a:pt x="2988" y="3131"/>
                  </a:lnTo>
                  <a:lnTo>
                    <a:pt x="2991" y="3126"/>
                  </a:lnTo>
                  <a:lnTo>
                    <a:pt x="2996" y="3117"/>
                  </a:lnTo>
                  <a:lnTo>
                    <a:pt x="3000" y="3106"/>
                  </a:lnTo>
                  <a:lnTo>
                    <a:pt x="3001" y="3101"/>
                  </a:lnTo>
                  <a:lnTo>
                    <a:pt x="3002" y="3095"/>
                  </a:lnTo>
                  <a:lnTo>
                    <a:pt x="3003" y="3084"/>
                  </a:lnTo>
                  <a:lnTo>
                    <a:pt x="3002" y="3072"/>
                  </a:lnTo>
                  <a:lnTo>
                    <a:pt x="3001" y="3065"/>
                  </a:lnTo>
                  <a:lnTo>
                    <a:pt x="2999" y="3059"/>
                  </a:lnTo>
                  <a:lnTo>
                    <a:pt x="2998" y="3052"/>
                  </a:lnTo>
                  <a:lnTo>
                    <a:pt x="2995" y="3045"/>
                  </a:lnTo>
                  <a:lnTo>
                    <a:pt x="2988" y="3032"/>
                  </a:lnTo>
                  <a:lnTo>
                    <a:pt x="2985" y="3026"/>
                  </a:lnTo>
                  <a:lnTo>
                    <a:pt x="2980" y="3019"/>
                  </a:lnTo>
                  <a:lnTo>
                    <a:pt x="2570" y="2480"/>
                  </a:lnTo>
                  <a:lnTo>
                    <a:pt x="2162" y="1941"/>
                  </a:lnTo>
                  <a:lnTo>
                    <a:pt x="2562" y="1459"/>
                  </a:lnTo>
                  <a:lnTo>
                    <a:pt x="2962" y="976"/>
                  </a:lnTo>
                  <a:lnTo>
                    <a:pt x="2972" y="962"/>
                  </a:lnTo>
                  <a:lnTo>
                    <a:pt x="2976" y="956"/>
                  </a:lnTo>
                  <a:lnTo>
                    <a:pt x="2979" y="949"/>
                  </a:lnTo>
                  <a:lnTo>
                    <a:pt x="2985" y="936"/>
                  </a:lnTo>
                  <a:lnTo>
                    <a:pt x="2986" y="929"/>
                  </a:lnTo>
                  <a:lnTo>
                    <a:pt x="2988" y="923"/>
                  </a:lnTo>
                  <a:lnTo>
                    <a:pt x="2988" y="917"/>
                  </a:lnTo>
                  <a:lnTo>
                    <a:pt x="2989" y="910"/>
                  </a:lnTo>
                  <a:lnTo>
                    <a:pt x="2988" y="899"/>
                  </a:lnTo>
                  <a:lnTo>
                    <a:pt x="2987" y="894"/>
                  </a:lnTo>
                  <a:lnTo>
                    <a:pt x="2986" y="888"/>
                  </a:lnTo>
                  <a:lnTo>
                    <a:pt x="2981" y="878"/>
                  </a:lnTo>
                  <a:lnTo>
                    <a:pt x="2979" y="873"/>
                  </a:lnTo>
                  <a:lnTo>
                    <a:pt x="2976" y="868"/>
                  </a:lnTo>
                  <a:lnTo>
                    <a:pt x="2972" y="864"/>
                  </a:lnTo>
                  <a:lnTo>
                    <a:pt x="2969" y="861"/>
                  </a:lnTo>
                  <a:lnTo>
                    <a:pt x="2961" y="853"/>
                  </a:lnTo>
                  <a:lnTo>
                    <a:pt x="2957" y="849"/>
                  </a:lnTo>
                  <a:lnTo>
                    <a:pt x="2951" y="846"/>
                  </a:lnTo>
                  <a:lnTo>
                    <a:pt x="2947" y="844"/>
                  </a:lnTo>
                  <a:lnTo>
                    <a:pt x="2941" y="842"/>
                  </a:lnTo>
                  <a:lnTo>
                    <a:pt x="2936" y="840"/>
                  </a:lnTo>
                  <a:lnTo>
                    <a:pt x="2930" y="838"/>
                  </a:lnTo>
                  <a:lnTo>
                    <a:pt x="2925" y="836"/>
                  </a:lnTo>
                  <a:lnTo>
                    <a:pt x="2919" y="836"/>
                  </a:lnTo>
                  <a:lnTo>
                    <a:pt x="2907" y="835"/>
                  </a:lnTo>
                  <a:lnTo>
                    <a:pt x="2275" y="835"/>
                  </a:lnTo>
                  <a:lnTo>
                    <a:pt x="2260" y="835"/>
                  </a:lnTo>
                  <a:lnTo>
                    <a:pt x="2246" y="836"/>
                  </a:lnTo>
                  <a:lnTo>
                    <a:pt x="2234" y="838"/>
                  </a:lnTo>
                  <a:lnTo>
                    <a:pt x="2222" y="841"/>
                  </a:lnTo>
                  <a:lnTo>
                    <a:pt x="2209" y="845"/>
                  </a:lnTo>
                  <a:lnTo>
                    <a:pt x="2198" y="848"/>
                  </a:lnTo>
                  <a:lnTo>
                    <a:pt x="2188" y="854"/>
                  </a:lnTo>
                  <a:lnTo>
                    <a:pt x="2178" y="859"/>
                  </a:lnTo>
                  <a:lnTo>
                    <a:pt x="2168" y="865"/>
                  </a:lnTo>
                  <a:lnTo>
                    <a:pt x="2160" y="872"/>
                  </a:lnTo>
                  <a:lnTo>
                    <a:pt x="2151" y="879"/>
                  </a:lnTo>
                  <a:lnTo>
                    <a:pt x="2142" y="887"/>
                  </a:lnTo>
                  <a:lnTo>
                    <a:pt x="2134" y="896"/>
                  </a:lnTo>
                  <a:lnTo>
                    <a:pt x="2126" y="905"/>
                  </a:lnTo>
                  <a:lnTo>
                    <a:pt x="2119" y="915"/>
                  </a:lnTo>
                  <a:lnTo>
                    <a:pt x="2111" y="925"/>
                  </a:lnTo>
                  <a:lnTo>
                    <a:pt x="1738" y="1404"/>
                  </a:lnTo>
                  <a:lnTo>
                    <a:pt x="1365" y="1885"/>
                  </a:lnTo>
                  <a:lnTo>
                    <a:pt x="1365" y="1408"/>
                  </a:lnTo>
                  <a:lnTo>
                    <a:pt x="1365" y="931"/>
                  </a:lnTo>
                  <a:lnTo>
                    <a:pt x="1365" y="920"/>
                  </a:lnTo>
                  <a:lnTo>
                    <a:pt x="1364" y="910"/>
                  </a:lnTo>
                  <a:lnTo>
                    <a:pt x="1362" y="902"/>
                  </a:lnTo>
                  <a:lnTo>
                    <a:pt x="1359" y="892"/>
                  </a:lnTo>
                  <a:lnTo>
                    <a:pt x="1356" y="884"/>
                  </a:lnTo>
                  <a:lnTo>
                    <a:pt x="1350" y="876"/>
                  </a:lnTo>
                  <a:lnTo>
                    <a:pt x="1346" y="868"/>
                  </a:lnTo>
                  <a:lnTo>
                    <a:pt x="1339" y="862"/>
                  </a:lnTo>
                  <a:lnTo>
                    <a:pt x="1332" y="856"/>
                  </a:lnTo>
                  <a:lnTo>
                    <a:pt x="1325" y="851"/>
                  </a:lnTo>
                  <a:lnTo>
                    <a:pt x="1317" y="846"/>
                  </a:lnTo>
                  <a:lnTo>
                    <a:pt x="1309" y="842"/>
                  </a:lnTo>
                  <a:lnTo>
                    <a:pt x="1300" y="840"/>
                  </a:lnTo>
                  <a:lnTo>
                    <a:pt x="1290" y="837"/>
                  </a:lnTo>
                  <a:lnTo>
                    <a:pt x="1280" y="835"/>
                  </a:lnTo>
                  <a:lnTo>
                    <a:pt x="1270" y="835"/>
                  </a:lnTo>
                  <a:lnTo>
                    <a:pt x="694" y="835"/>
                  </a:lnTo>
                  <a:lnTo>
                    <a:pt x="684" y="835"/>
                  </a:lnTo>
                  <a:lnTo>
                    <a:pt x="674" y="837"/>
                  </a:lnTo>
                  <a:lnTo>
                    <a:pt x="664" y="840"/>
                  </a:lnTo>
                  <a:lnTo>
                    <a:pt x="656" y="842"/>
                  </a:lnTo>
                  <a:lnTo>
                    <a:pt x="647" y="846"/>
                  </a:lnTo>
                  <a:lnTo>
                    <a:pt x="639" y="851"/>
                  </a:lnTo>
                  <a:lnTo>
                    <a:pt x="632" y="856"/>
                  </a:lnTo>
                  <a:lnTo>
                    <a:pt x="625" y="862"/>
                  </a:lnTo>
                  <a:lnTo>
                    <a:pt x="619" y="868"/>
                  </a:lnTo>
                  <a:lnTo>
                    <a:pt x="614" y="876"/>
                  </a:lnTo>
                  <a:lnTo>
                    <a:pt x="609" y="884"/>
                  </a:lnTo>
                  <a:lnTo>
                    <a:pt x="606" y="892"/>
                  </a:lnTo>
                  <a:lnTo>
                    <a:pt x="602" y="902"/>
                  </a:lnTo>
                  <a:lnTo>
                    <a:pt x="600" y="910"/>
                  </a:lnTo>
                  <a:lnTo>
                    <a:pt x="599" y="920"/>
                  </a:lnTo>
                  <a:lnTo>
                    <a:pt x="598" y="931"/>
                  </a:lnTo>
                  <a:lnTo>
                    <a:pt x="598" y="1464"/>
                  </a:lnTo>
                  <a:lnTo>
                    <a:pt x="598" y="1998"/>
                  </a:lnTo>
                  <a:lnTo>
                    <a:pt x="598" y="2531"/>
                  </a:lnTo>
                  <a:lnTo>
                    <a:pt x="598" y="3064"/>
                  </a:lnTo>
                  <a:lnTo>
                    <a:pt x="599" y="3074"/>
                  </a:lnTo>
                  <a:lnTo>
                    <a:pt x="600" y="3084"/>
                  </a:lnTo>
                  <a:lnTo>
                    <a:pt x="602" y="3094"/>
                  </a:lnTo>
                  <a:lnTo>
                    <a:pt x="606" y="3103"/>
                  </a:lnTo>
                  <a:lnTo>
                    <a:pt x="609" y="3111"/>
                  </a:lnTo>
                  <a:lnTo>
                    <a:pt x="614" y="3120"/>
                  </a:lnTo>
                  <a:lnTo>
                    <a:pt x="619" y="3126"/>
                  </a:lnTo>
                  <a:lnTo>
                    <a:pt x="625" y="3133"/>
                  </a:lnTo>
                  <a:lnTo>
                    <a:pt x="632" y="3140"/>
                  </a:lnTo>
                  <a:lnTo>
                    <a:pt x="639" y="3144"/>
                  </a:lnTo>
                  <a:lnTo>
                    <a:pt x="647" y="3150"/>
                  </a:lnTo>
                  <a:lnTo>
                    <a:pt x="656" y="3153"/>
                  </a:lnTo>
                  <a:lnTo>
                    <a:pt x="664" y="3156"/>
                  </a:lnTo>
                  <a:lnTo>
                    <a:pt x="674" y="3158"/>
                  </a:lnTo>
                  <a:lnTo>
                    <a:pt x="684" y="3160"/>
                  </a:lnTo>
                  <a:lnTo>
                    <a:pt x="694" y="3160"/>
                  </a:lnTo>
                  <a:lnTo>
                    <a:pt x="1270" y="3160"/>
                  </a:lnTo>
                  <a:lnTo>
                    <a:pt x="1280" y="3160"/>
                  </a:lnTo>
                  <a:lnTo>
                    <a:pt x="1290" y="3158"/>
                  </a:lnTo>
                  <a:lnTo>
                    <a:pt x="1300" y="3156"/>
                  </a:lnTo>
                  <a:lnTo>
                    <a:pt x="1309" y="3153"/>
                  </a:lnTo>
                  <a:lnTo>
                    <a:pt x="1317" y="3150"/>
                  </a:lnTo>
                  <a:lnTo>
                    <a:pt x="1325" y="3144"/>
                  </a:lnTo>
                  <a:lnTo>
                    <a:pt x="1332" y="3140"/>
                  </a:lnTo>
                  <a:lnTo>
                    <a:pt x="1339" y="3133"/>
                  </a:lnTo>
                  <a:lnTo>
                    <a:pt x="1346" y="3126"/>
                  </a:lnTo>
                  <a:lnTo>
                    <a:pt x="1350" y="3120"/>
                  </a:lnTo>
                  <a:lnTo>
                    <a:pt x="1356" y="3111"/>
                  </a:lnTo>
                  <a:lnTo>
                    <a:pt x="1359" y="3103"/>
                  </a:lnTo>
                  <a:lnTo>
                    <a:pt x="1362" y="3094"/>
                  </a:lnTo>
                  <a:lnTo>
                    <a:pt x="1364" y="3084"/>
                  </a:lnTo>
                  <a:lnTo>
                    <a:pt x="1365" y="3074"/>
                  </a:lnTo>
                  <a:lnTo>
                    <a:pt x="1365" y="3064"/>
                  </a:lnTo>
                  <a:lnTo>
                    <a:pt x="1365" y="2539"/>
                  </a:lnTo>
                  <a:lnTo>
                    <a:pt x="1365" y="2014"/>
                  </a:lnTo>
                  <a:lnTo>
                    <a:pt x="1738" y="2542"/>
                  </a:lnTo>
                  <a:lnTo>
                    <a:pt x="2111" y="3070"/>
                  </a:lnTo>
                  <a:lnTo>
                    <a:pt x="2119" y="3080"/>
                  </a:lnTo>
                  <a:lnTo>
                    <a:pt x="2126" y="3090"/>
                  </a:lnTo>
                  <a:lnTo>
                    <a:pt x="2134" y="3099"/>
                  </a:lnTo>
                  <a:lnTo>
                    <a:pt x="2142" y="3108"/>
                  </a:lnTo>
                  <a:lnTo>
                    <a:pt x="2151" y="3115"/>
                  </a:lnTo>
                  <a:lnTo>
                    <a:pt x="2160" y="3123"/>
                  </a:lnTo>
                  <a:lnTo>
                    <a:pt x="2168" y="3130"/>
                  </a:lnTo>
                  <a:lnTo>
                    <a:pt x="2178" y="3136"/>
                  </a:lnTo>
                  <a:lnTo>
                    <a:pt x="2188" y="3142"/>
                  </a:lnTo>
                  <a:lnTo>
                    <a:pt x="2198" y="3146"/>
                  </a:lnTo>
                  <a:lnTo>
                    <a:pt x="2209" y="3151"/>
                  </a:lnTo>
                  <a:lnTo>
                    <a:pt x="2222" y="3154"/>
                  </a:lnTo>
                  <a:lnTo>
                    <a:pt x="2234" y="3156"/>
                  </a:lnTo>
                  <a:lnTo>
                    <a:pt x="2246" y="3158"/>
                  </a:lnTo>
                  <a:lnTo>
                    <a:pt x="2260" y="3160"/>
                  </a:lnTo>
                  <a:lnTo>
                    <a:pt x="2275" y="3160"/>
                  </a:lnTo>
                  <a:lnTo>
                    <a:pt x="2924" y="3160"/>
                  </a:lnTo>
                  <a:close/>
                  <a:moveTo>
                    <a:pt x="0" y="3899"/>
                  </a:moveTo>
                  <a:lnTo>
                    <a:pt x="1" y="3909"/>
                  </a:lnTo>
                  <a:lnTo>
                    <a:pt x="2" y="3919"/>
                  </a:lnTo>
                  <a:lnTo>
                    <a:pt x="4" y="3929"/>
                  </a:lnTo>
                  <a:lnTo>
                    <a:pt x="8" y="3938"/>
                  </a:lnTo>
                  <a:lnTo>
                    <a:pt x="11" y="3947"/>
                  </a:lnTo>
                  <a:lnTo>
                    <a:pt x="16" y="3955"/>
                  </a:lnTo>
                  <a:lnTo>
                    <a:pt x="21" y="3961"/>
                  </a:lnTo>
                  <a:lnTo>
                    <a:pt x="27" y="3968"/>
                  </a:lnTo>
                  <a:lnTo>
                    <a:pt x="33" y="3975"/>
                  </a:lnTo>
                  <a:lnTo>
                    <a:pt x="41" y="3980"/>
                  </a:lnTo>
                  <a:lnTo>
                    <a:pt x="49" y="3985"/>
                  </a:lnTo>
                  <a:lnTo>
                    <a:pt x="58" y="3988"/>
                  </a:lnTo>
                  <a:lnTo>
                    <a:pt x="66" y="3991"/>
                  </a:lnTo>
                  <a:lnTo>
                    <a:pt x="75" y="3993"/>
                  </a:lnTo>
                  <a:lnTo>
                    <a:pt x="85" y="3995"/>
                  </a:lnTo>
                  <a:lnTo>
                    <a:pt x="96" y="3996"/>
                  </a:lnTo>
                  <a:lnTo>
                    <a:pt x="942" y="3996"/>
                  </a:lnTo>
                  <a:lnTo>
                    <a:pt x="1789" y="3996"/>
                  </a:lnTo>
                  <a:lnTo>
                    <a:pt x="2635" y="3996"/>
                  </a:lnTo>
                  <a:lnTo>
                    <a:pt x="3482" y="3996"/>
                  </a:lnTo>
                  <a:lnTo>
                    <a:pt x="3493" y="3995"/>
                  </a:lnTo>
                  <a:lnTo>
                    <a:pt x="3503" y="3993"/>
                  </a:lnTo>
                  <a:lnTo>
                    <a:pt x="3512" y="3991"/>
                  </a:lnTo>
                  <a:lnTo>
                    <a:pt x="3521" y="3988"/>
                  </a:lnTo>
                  <a:lnTo>
                    <a:pt x="3529" y="3985"/>
                  </a:lnTo>
                  <a:lnTo>
                    <a:pt x="3537" y="3980"/>
                  </a:lnTo>
                  <a:lnTo>
                    <a:pt x="3545" y="3975"/>
                  </a:lnTo>
                  <a:lnTo>
                    <a:pt x="3552" y="3968"/>
                  </a:lnTo>
                  <a:lnTo>
                    <a:pt x="3557" y="3961"/>
                  </a:lnTo>
                  <a:lnTo>
                    <a:pt x="3563" y="3955"/>
                  </a:lnTo>
                  <a:lnTo>
                    <a:pt x="3567" y="3947"/>
                  </a:lnTo>
                  <a:lnTo>
                    <a:pt x="3572" y="3938"/>
                  </a:lnTo>
                  <a:lnTo>
                    <a:pt x="3574" y="3929"/>
                  </a:lnTo>
                  <a:lnTo>
                    <a:pt x="3576" y="3919"/>
                  </a:lnTo>
                  <a:lnTo>
                    <a:pt x="3577" y="3909"/>
                  </a:lnTo>
                  <a:lnTo>
                    <a:pt x="3578" y="3899"/>
                  </a:lnTo>
                  <a:lnTo>
                    <a:pt x="3578" y="3634"/>
                  </a:lnTo>
                  <a:lnTo>
                    <a:pt x="3577" y="3624"/>
                  </a:lnTo>
                  <a:lnTo>
                    <a:pt x="3576" y="3614"/>
                  </a:lnTo>
                  <a:lnTo>
                    <a:pt x="3574" y="3605"/>
                  </a:lnTo>
                  <a:lnTo>
                    <a:pt x="3572" y="3595"/>
                  </a:lnTo>
                  <a:lnTo>
                    <a:pt x="3567" y="3587"/>
                  </a:lnTo>
                  <a:lnTo>
                    <a:pt x="3563" y="3579"/>
                  </a:lnTo>
                  <a:lnTo>
                    <a:pt x="3557" y="3572"/>
                  </a:lnTo>
                  <a:lnTo>
                    <a:pt x="3552" y="3565"/>
                  </a:lnTo>
                  <a:lnTo>
                    <a:pt x="3545" y="3559"/>
                  </a:lnTo>
                  <a:lnTo>
                    <a:pt x="3537" y="3554"/>
                  </a:lnTo>
                  <a:lnTo>
                    <a:pt x="3529" y="3549"/>
                  </a:lnTo>
                  <a:lnTo>
                    <a:pt x="3521" y="3545"/>
                  </a:lnTo>
                  <a:lnTo>
                    <a:pt x="3512" y="3542"/>
                  </a:lnTo>
                  <a:lnTo>
                    <a:pt x="3503" y="3539"/>
                  </a:lnTo>
                  <a:lnTo>
                    <a:pt x="3493" y="3538"/>
                  </a:lnTo>
                  <a:lnTo>
                    <a:pt x="3482" y="3538"/>
                  </a:lnTo>
                  <a:lnTo>
                    <a:pt x="2635" y="3538"/>
                  </a:lnTo>
                  <a:lnTo>
                    <a:pt x="1789" y="3538"/>
                  </a:lnTo>
                  <a:lnTo>
                    <a:pt x="942" y="3538"/>
                  </a:lnTo>
                  <a:lnTo>
                    <a:pt x="96" y="3538"/>
                  </a:lnTo>
                  <a:lnTo>
                    <a:pt x="85" y="3538"/>
                  </a:lnTo>
                  <a:lnTo>
                    <a:pt x="75" y="3539"/>
                  </a:lnTo>
                  <a:lnTo>
                    <a:pt x="66" y="3542"/>
                  </a:lnTo>
                  <a:lnTo>
                    <a:pt x="58" y="3545"/>
                  </a:lnTo>
                  <a:lnTo>
                    <a:pt x="49" y="3549"/>
                  </a:lnTo>
                  <a:lnTo>
                    <a:pt x="41" y="3554"/>
                  </a:lnTo>
                  <a:lnTo>
                    <a:pt x="33" y="3559"/>
                  </a:lnTo>
                  <a:lnTo>
                    <a:pt x="27" y="3565"/>
                  </a:lnTo>
                  <a:lnTo>
                    <a:pt x="21" y="3572"/>
                  </a:lnTo>
                  <a:lnTo>
                    <a:pt x="16" y="3579"/>
                  </a:lnTo>
                  <a:lnTo>
                    <a:pt x="11" y="3587"/>
                  </a:lnTo>
                  <a:lnTo>
                    <a:pt x="8" y="3595"/>
                  </a:lnTo>
                  <a:lnTo>
                    <a:pt x="4" y="3605"/>
                  </a:lnTo>
                  <a:lnTo>
                    <a:pt x="2" y="3614"/>
                  </a:lnTo>
                  <a:lnTo>
                    <a:pt x="1" y="3624"/>
                  </a:lnTo>
                  <a:lnTo>
                    <a:pt x="0" y="3634"/>
                  </a:lnTo>
                  <a:lnTo>
                    <a:pt x="0" y="3899"/>
                  </a:lnTo>
                  <a:close/>
                  <a:moveTo>
                    <a:pt x="0" y="361"/>
                  </a:moveTo>
                  <a:lnTo>
                    <a:pt x="1" y="371"/>
                  </a:lnTo>
                  <a:lnTo>
                    <a:pt x="2" y="381"/>
                  </a:lnTo>
                  <a:lnTo>
                    <a:pt x="4" y="391"/>
                  </a:lnTo>
                  <a:lnTo>
                    <a:pt x="8" y="400"/>
                  </a:lnTo>
                  <a:lnTo>
                    <a:pt x="11" y="409"/>
                  </a:lnTo>
                  <a:lnTo>
                    <a:pt x="16" y="416"/>
                  </a:lnTo>
                  <a:lnTo>
                    <a:pt x="21" y="423"/>
                  </a:lnTo>
                  <a:lnTo>
                    <a:pt x="27" y="430"/>
                  </a:lnTo>
                  <a:lnTo>
                    <a:pt x="33" y="436"/>
                  </a:lnTo>
                  <a:lnTo>
                    <a:pt x="41" y="441"/>
                  </a:lnTo>
                  <a:lnTo>
                    <a:pt x="49" y="446"/>
                  </a:lnTo>
                  <a:lnTo>
                    <a:pt x="58" y="450"/>
                  </a:lnTo>
                  <a:lnTo>
                    <a:pt x="66" y="453"/>
                  </a:lnTo>
                  <a:lnTo>
                    <a:pt x="75" y="455"/>
                  </a:lnTo>
                  <a:lnTo>
                    <a:pt x="85" y="456"/>
                  </a:lnTo>
                  <a:lnTo>
                    <a:pt x="96" y="456"/>
                  </a:lnTo>
                  <a:lnTo>
                    <a:pt x="942" y="456"/>
                  </a:lnTo>
                  <a:lnTo>
                    <a:pt x="1789" y="456"/>
                  </a:lnTo>
                  <a:lnTo>
                    <a:pt x="2635" y="456"/>
                  </a:lnTo>
                  <a:lnTo>
                    <a:pt x="3482" y="456"/>
                  </a:lnTo>
                  <a:lnTo>
                    <a:pt x="3493" y="456"/>
                  </a:lnTo>
                  <a:lnTo>
                    <a:pt x="3503" y="455"/>
                  </a:lnTo>
                  <a:lnTo>
                    <a:pt x="3512" y="453"/>
                  </a:lnTo>
                  <a:lnTo>
                    <a:pt x="3521" y="450"/>
                  </a:lnTo>
                  <a:lnTo>
                    <a:pt x="3529" y="446"/>
                  </a:lnTo>
                  <a:lnTo>
                    <a:pt x="3537" y="441"/>
                  </a:lnTo>
                  <a:lnTo>
                    <a:pt x="3545" y="436"/>
                  </a:lnTo>
                  <a:lnTo>
                    <a:pt x="3552" y="430"/>
                  </a:lnTo>
                  <a:lnTo>
                    <a:pt x="3557" y="423"/>
                  </a:lnTo>
                  <a:lnTo>
                    <a:pt x="3563" y="416"/>
                  </a:lnTo>
                  <a:lnTo>
                    <a:pt x="3567" y="409"/>
                  </a:lnTo>
                  <a:lnTo>
                    <a:pt x="3572" y="400"/>
                  </a:lnTo>
                  <a:lnTo>
                    <a:pt x="3574" y="391"/>
                  </a:lnTo>
                  <a:lnTo>
                    <a:pt x="3576" y="381"/>
                  </a:lnTo>
                  <a:lnTo>
                    <a:pt x="3577" y="371"/>
                  </a:lnTo>
                  <a:lnTo>
                    <a:pt x="3578" y="361"/>
                  </a:lnTo>
                  <a:lnTo>
                    <a:pt x="3578" y="95"/>
                  </a:lnTo>
                  <a:lnTo>
                    <a:pt x="3577" y="85"/>
                  </a:lnTo>
                  <a:lnTo>
                    <a:pt x="3576" y="75"/>
                  </a:lnTo>
                  <a:lnTo>
                    <a:pt x="3574" y="65"/>
                  </a:lnTo>
                  <a:lnTo>
                    <a:pt x="3572" y="57"/>
                  </a:lnTo>
                  <a:lnTo>
                    <a:pt x="3567" y="49"/>
                  </a:lnTo>
                  <a:lnTo>
                    <a:pt x="3563" y="41"/>
                  </a:lnTo>
                  <a:lnTo>
                    <a:pt x="3557" y="33"/>
                  </a:lnTo>
                  <a:lnTo>
                    <a:pt x="3552" y="27"/>
                  </a:lnTo>
                  <a:lnTo>
                    <a:pt x="3545" y="20"/>
                  </a:lnTo>
                  <a:lnTo>
                    <a:pt x="3537" y="16"/>
                  </a:lnTo>
                  <a:lnTo>
                    <a:pt x="3529" y="11"/>
                  </a:lnTo>
                  <a:lnTo>
                    <a:pt x="3521" y="7"/>
                  </a:lnTo>
                  <a:lnTo>
                    <a:pt x="3512" y="3"/>
                  </a:lnTo>
                  <a:lnTo>
                    <a:pt x="3503" y="1"/>
                  </a:lnTo>
                  <a:lnTo>
                    <a:pt x="3493" y="0"/>
                  </a:lnTo>
                  <a:lnTo>
                    <a:pt x="3482" y="0"/>
                  </a:lnTo>
                  <a:lnTo>
                    <a:pt x="2635" y="0"/>
                  </a:lnTo>
                  <a:lnTo>
                    <a:pt x="1789" y="0"/>
                  </a:lnTo>
                  <a:lnTo>
                    <a:pt x="942" y="0"/>
                  </a:lnTo>
                  <a:lnTo>
                    <a:pt x="96" y="0"/>
                  </a:lnTo>
                  <a:lnTo>
                    <a:pt x="85" y="0"/>
                  </a:lnTo>
                  <a:lnTo>
                    <a:pt x="75" y="1"/>
                  </a:lnTo>
                  <a:lnTo>
                    <a:pt x="66" y="3"/>
                  </a:lnTo>
                  <a:lnTo>
                    <a:pt x="58" y="7"/>
                  </a:lnTo>
                  <a:lnTo>
                    <a:pt x="49" y="11"/>
                  </a:lnTo>
                  <a:lnTo>
                    <a:pt x="41" y="16"/>
                  </a:lnTo>
                  <a:lnTo>
                    <a:pt x="33" y="20"/>
                  </a:lnTo>
                  <a:lnTo>
                    <a:pt x="27" y="27"/>
                  </a:lnTo>
                  <a:lnTo>
                    <a:pt x="21" y="33"/>
                  </a:lnTo>
                  <a:lnTo>
                    <a:pt x="16" y="41"/>
                  </a:lnTo>
                  <a:lnTo>
                    <a:pt x="11" y="49"/>
                  </a:lnTo>
                  <a:lnTo>
                    <a:pt x="8" y="57"/>
                  </a:lnTo>
                  <a:lnTo>
                    <a:pt x="4" y="65"/>
                  </a:lnTo>
                  <a:lnTo>
                    <a:pt x="2" y="75"/>
                  </a:lnTo>
                  <a:lnTo>
                    <a:pt x="1" y="85"/>
                  </a:lnTo>
                  <a:lnTo>
                    <a:pt x="0" y="95"/>
                  </a:lnTo>
                  <a:lnTo>
                    <a:pt x="0" y="36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Skatta Sans Regular" pitchFamily="50" charset="0"/>
              </a:endParaRPr>
            </a:p>
          </p:txBody>
        </p:sp>
      </p:grpSp>
      <p:sp>
        <p:nvSpPr>
          <p:cNvPr id="9" name="Freeform 12">
            <a:extLst>
              <a:ext uri="{FF2B5EF4-FFF2-40B4-BE49-F238E27FC236}">
                <a16:creationId xmlns:a16="http://schemas.microsoft.com/office/drawing/2014/main" id="{29437909-B72F-487C-956B-48C1DF8FE0F9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10488488" y="692696"/>
            <a:ext cx="1007493" cy="1124563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130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lhuet Orang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9D0FF65E-A927-4D97-BC5D-3E4E4E00F09D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RIA - RKL yrittäjäpäivä 1.11.202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ED41AD6-447A-4742-AE6E-D69C23E79F69}"/>
              </a:ext>
            </a:extLst>
          </p:cNvPr>
          <p:cNvGrpSpPr/>
          <p:nvPr userDrawn="1"/>
        </p:nvGrpSpPr>
        <p:grpSpPr>
          <a:xfrm>
            <a:off x="0" y="4077072"/>
            <a:ext cx="9874285" cy="1872000"/>
            <a:chOff x="0" y="4077072"/>
            <a:chExt cx="9874285" cy="1872000"/>
          </a:xfrm>
          <a:solidFill>
            <a:schemeClr val="bg1"/>
          </a:solidFill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65B0FBDF-B45A-4871-8CEF-853991A5CC20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0" y="4077072"/>
              <a:ext cx="9874285" cy="1872000"/>
            </a:xfrm>
            <a:custGeom>
              <a:avLst/>
              <a:gdLst>
                <a:gd name="T0" fmla="*/ 10894 w 23040"/>
                <a:gd name="T1" fmla="*/ 3037 h 4369"/>
                <a:gd name="T2" fmla="*/ 10931 w 23040"/>
                <a:gd name="T3" fmla="*/ 2661 h 4369"/>
                <a:gd name="T4" fmla="*/ 13479 w 23040"/>
                <a:gd name="T5" fmla="*/ 2241 h 4369"/>
                <a:gd name="T6" fmla="*/ 12981 w 23040"/>
                <a:gd name="T7" fmla="*/ 1865 h 4369"/>
                <a:gd name="T8" fmla="*/ 13222 w 23040"/>
                <a:gd name="T9" fmla="*/ 1543 h 4369"/>
                <a:gd name="T10" fmla="*/ 13525 w 23040"/>
                <a:gd name="T11" fmla="*/ 3907 h 4369"/>
                <a:gd name="T12" fmla="*/ 12729 w 23040"/>
                <a:gd name="T13" fmla="*/ 3813 h 4369"/>
                <a:gd name="T14" fmla="*/ 10912 w 23040"/>
                <a:gd name="T15" fmla="*/ 2402 h 4369"/>
                <a:gd name="T16" fmla="*/ 16652 w 23040"/>
                <a:gd name="T17" fmla="*/ 970 h 4369"/>
                <a:gd name="T18" fmla="*/ 16232 w 23040"/>
                <a:gd name="T19" fmla="*/ 332 h 4369"/>
                <a:gd name="T20" fmla="*/ 15103 w 23040"/>
                <a:gd name="T21" fmla="*/ 2262 h 4369"/>
                <a:gd name="T22" fmla="*/ 12814 w 23040"/>
                <a:gd name="T23" fmla="*/ 2991 h 4369"/>
                <a:gd name="T24" fmla="*/ 11678 w 23040"/>
                <a:gd name="T25" fmla="*/ 3172 h 4369"/>
                <a:gd name="T26" fmla="*/ 12355 w 23040"/>
                <a:gd name="T27" fmla="*/ 2838 h 4369"/>
                <a:gd name="T28" fmla="*/ 12184 w 23040"/>
                <a:gd name="T29" fmla="*/ 4304 h 4369"/>
                <a:gd name="T30" fmla="*/ 11739 w 23040"/>
                <a:gd name="T31" fmla="*/ 2627 h 4369"/>
                <a:gd name="T32" fmla="*/ 11666 w 23040"/>
                <a:gd name="T33" fmla="*/ 2291 h 4369"/>
                <a:gd name="T34" fmla="*/ 11184 w 23040"/>
                <a:gd name="T35" fmla="*/ 3107 h 4369"/>
                <a:gd name="T36" fmla="*/ 11469 w 23040"/>
                <a:gd name="T37" fmla="*/ 1044 h 4369"/>
                <a:gd name="T38" fmla="*/ 13150 w 23040"/>
                <a:gd name="T39" fmla="*/ 754 h 4369"/>
                <a:gd name="T40" fmla="*/ 16863 w 23040"/>
                <a:gd name="T41" fmla="*/ 4331 h 4369"/>
                <a:gd name="T42" fmla="*/ 14362 w 23040"/>
                <a:gd name="T43" fmla="*/ 3771 h 4369"/>
                <a:gd name="T44" fmla="*/ 14362 w 23040"/>
                <a:gd name="T45" fmla="*/ 3373 h 4369"/>
                <a:gd name="T46" fmla="*/ 14105 w 23040"/>
                <a:gd name="T47" fmla="*/ 3277 h 4369"/>
                <a:gd name="T48" fmla="*/ 14091 w 23040"/>
                <a:gd name="T49" fmla="*/ 2881 h 4369"/>
                <a:gd name="T50" fmla="*/ 20731 w 23040"/>
                <a:gd name="T51" fmla="*/ 4008 h 4369"/>
                <a:gd name="T52" fmla="*/ 19002 w 23040"/>
                <a:gd name="T53" fmla="*/ 3795 h 4369"/>
                <a:gd name="T54" fmla="*/ 19052 w 23040"/>
                <a:gd name="T55" fmla="*/ 3549 h 4369"/>
                <a:gd name="T56" fmla="*/ 19727 w 23040"/>
                <a:gd name="T57" fmla="*/ 3547 h 4369"/>
                <a:gd name="T58" fmla="*/ 21772 w 23040"/>
                <a:gd name="T59" fmla="*/ 1759 h 4369"/>
                <a:gd name="T60" fmla="*/ 20169 w 23040"/>
                <a:gd name="T61" fmla="*/ 1874 h 4369"/>
                <a:gd name="T62" fmla="*/ 18388 w 23040"/>
                <a:gd name="T63" fmla="*/ 2546 h 4369"/>
                <a:gd name="T64" fmla="*/ 19509 w 23040"/>
                <a:gd name="T65" fmla="*/ 3625 h 4369"/>
                <a:gd name="T66" fmla="*/ 18969 w 23040"/>
                <a:gd name="T67" fmla="*/ 3381 h 4369"/>
                <a:gd name="T68" fmla="*/ 2798 w 23040"/>
                <a:gd name="T69" fmla="*/ 3193 h 4369"/>
                <a:gd name="T70" fmla="*/ 440 w 23040"/>
                <a:gd name="T71" fmla="*/ 2751 h 4369"/>
                <a:gd name="T72" fmla="*/ 2868 w 23040"/>
                <a:gd name="T73" fmla="*/ 4141 h 4369"/>
                <a:gd name="T74" fmla="*/ 837 w 23040"/>
                <a:gd name="T75" fmla="*/ 3250 h 4369"/>
                <a:gd name="T76" fmla="*/ 823 w 23040"/>
                <a:gd name="T77" fmla="*/ 3336 h 4369"/>
                <a:gd name="T78" fmla="*/ 1107 w 23040"/>
                <a:gd name="T79" fmla="*/ 3717 h 4369"/>
                <a:gd name="T80" fmla="*/ 1080 w 23040"/>
                <a:gd name="T81" fmla="*/ 3810 h 4369"/>
                <a:gd name="T82" fmla="*/ 188 w 23040"/>
                <a:gd name="T83" fmla="*/ 1799 h 4369"/>
                <a:gd name="T84" fmla="*/ 2556 w 23040"/>
                <a:gd name="T85" fmla="*/ 2016 h 4369"/>
                <a:gd name="T86" fmla="*/ 2583 w 23040"/>
                <a:gd name="T87" fmla="*/ 2578 h 4369"/>
                <a:gd name="T88" fmla="*/ 8182 w 23040"/>
                <a:gd name="T89" fmla="*/ 2792 h 4369"/>
                <a:gd name="T90" fmla="*/ 9070 w 23040"/>
                <a:gd name="T91" fmla="*/ 2753 h 4369"/>
                <a:gd name="T92" fmla="*/ 6863 w 23040"/>
                <a:gd name="T93" fmla="*/ 2176 h 4369"/>
                <a:gd name="T94" fmla="*/ 6215 w 23040"/>
                <a:gd name="T95" fmla="*/ 2702 h 4369"/>
                <a:gd name="T96" fmla="*/ 7097 w 23040"/>
                <a:gd name="T97" fmla="*/ 2957 h 4369"/>
                <a:gd name="T98" fmla="*/ 6454 w 23040"/>
                <a:gd name="T99" fmla="*/ 3498 h 4369"/>
                <a:gd name="T100" fmla="*/ 6384 w 23040"/>
                <a:gd name="T101" fmla="*/ 4003 h 4369"/>
                <a:gd name="T102" fmla="*/ 8037 w 23040"/>
                <a:gd name="T103" fmla="*/ 2925 h 4369"/>
                <a:gd name="T104" fmla="*/ 8332 w 23040"/>
                <a:gd name="T105" fmla="*/ 3308 h 4369"/>
                <a:gd name="T106" fmla="*/ 8296 w 23040"/>
                <a:gd name="T107" fmla="*/ 3424 h 4369"/>
                <a:gd name="T108" fmla="*/ 8598 w 23040"/>
                <a:gd name="T109" fmla="*/ 3792 h 4369"/>
                <a:gd name="T110" fmla="*/ 5650 w 23040"/>
                <a:gd name="T111" fmla="*/ 1956 h 4369"/>
                <a:gd name="T112" fmla="*/ 8119 w 23040"/>
                <a:gd name="T113" fmla="*/ 245 h 4369"/>
                <a:gd name="T114" fmla="*/ 4680 w 23040"/>
                <a:gd name="T115" fmla="*/ 942 h 4369"/>
                <a:gd name="T116" fmla="*/ 5027 w 23040"/>
                <a:gd name="T117" fmla="*/ 2616 h 4369"/>
                <a:gd name="T118" fmla="*/ 4991 w 23040"/>
                <a:gd name="T119" fmla="*/ 2732 h 4369"/>
                <a:gd name="T120" fmla="*/ 5292 w 23040"/>
                <a:gd name="T121" fmla="*/ 3101 h 4369"/>
                <a:gd name="T122" fmla="*/ 5252 w 23040"/>
                <a:gd name="T123" fmla="*/ 3235 h 4369"/>
                <a:gd name="T124" fmla="*/ 3326 w 23040"/>
                <a:gd name="T125" fmla="*/ 3951 h 4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040" h="4369">
                  <a:moveTo>
                    <a:pt x="10933" y="3163"/>
                  </a:moveTo>
                  <a:lnTo>
                    <a:pt x="10933" y="3274"/>
                  </a:lnTo>
                  <a:lnTo>
                    <a:pt x="10931" y="3283"/>
                  </a:lnTo>
                  <a:lnTo>
                    <a:pt x="10926" y="3290"/>
                  </a:lnTo>
                  <a:lnTo>
                    <a:pt x="10920" y="3294"/>
                  </a:lnTo>
                  <a:lnTo>
                    <a:pt x="10912" y="3295"/>
                  </a:lnTo>
                  <a:lnTo>
                    <a:pt x="10906" y="3294"/>
                  </a:lnTo>
                  <a:lnTo>
                    <a:pt x="10899" y="3290"/>
                  </a:lnTo>
                  <a:lnTo>
                    <a:pt x="10894" y="3283"/>
                  </a:lnTo>
                  <a:lnTo>
                    <a:pt x="10893" y="3274"/>
                  </a:lnTo>
                  <a:lnTo>
                    <a:pt x="10893" y="3163"/>
                  </a:lnTo>
                  <a:lnTo>
                    <a:pt x="10894" y="3154"/>
                  </a:lnTo>
                  <a:lnTo>
                    <a:pt x="10899" y="3148"/>
                  </a:lnTo>
                  <a:lnTo>
                    <a:pt x="10906" y="3144"/>
                  </a:lnTo>
                  <a:lnTo>
                    <a:pt x="10912" y="3143"/>
                  </a:lnTo>
                  <a:lnTo>
                    <a:pt x="10920" y="3144"/>
                  </a:lnTo>
                  <a:lnTo>
                    <a:pt x="10926" y="3148"/>
                  </a:lnTo>
                  <a:lnTo>
                    <a:pt x="10931" y="3154"/>
                  </a:lnTo>
                  <a:lnTo>
                    <a:pt x="10933" y="3163"/>
                  </a:lnTo>
                  <a:close/>
                  <a:moveTo>
                    <a:pt x="10670" y="3163"/>
                  </a:moveTo>
                  <a:lnTo>
                    <a:pt x="10670" y="3274"/>
                  </a:lnTo>
                  <a:lnTo>
                    <a:pt x="10669" y="3283"/>
                  </a:lnTo>
                  <a:lnTo>
                    <a:pt x="10663" y="3290"/>
                  </a:lnTo>
                  <a:lnTo>
                    <a:pt x="10657" y="3294"/>
                  </a:lnTo>
                  <a:lnTo>
                    <a:pt x="10649" y="3295"/>
                  </a:lnTo>
                  <a:lnTo>
                    <a:pt x="10643" y="3294"/>
                  </a:lnTo>
                  <a:lnTo>
                    <a:pt x="10637" y="3290"/>
                  </a:lnTo>
                  <a:lnTo>
                    <a:pt x="10631" y="3283"/>
                  </a:lnTo>
                  <a:lnTo>
                    <a:pt x="10630" y="3274"/>
                  </a:lnTo>
                  <a:lnTo>
                    <a:pt x="10630" y="3163"/>
                  </a:lnTo>
                  <a:lnTo>
                    <a:pt x="10631" y="3154"/>
                  </a:lnTo>
                  <a:lnTo>
                    <a:pt x="10637" y="3148"/>
                  </a:lnTo>
                  <a:lnTo>
                    <a:pt x="10643" y="3144"/>
                  </a:lnTo>
                  <a:lnTo>
                    <a:pt x="10649" y="3143"/>
                  </a:lnTo>
                  <a:lnTo>
                    <a:pt x="10657" y="3144"/>
                  </a:lnTo>
                  <a:lnTo>
                    <a:pt x="10663" y="3148"/>
                  </a:lnTo>
                  <a:lnTo>
                    <a:pt x="10669" y="3154"/>
                  </a:lnTo>
                  <a:lnTo>
                    <a:pt x="10670" y="3163"/>
                  </a:lnTo>
                  <a:close/>
                  <a:moveTo>
                    <a:pt x="10407" y="3163"/>
                  </a:moveTo>
                  <a:lnTo>
                    <a:pt x="10407" y="3274"/>
                  </a:lnTo>
                  <a:lnTo>
                    <a:pt x="10404" y="3283"/>
                  </a:lnTo>
                  <a:lnTo>
                    <a:pt x="10401" y="3290"/>
                  </a:lnTo>
                  <a:lnTo>
                    <a:pt x="10394" y="3294"/>
                  </a:lnTo>
                  <a:lnTo>
                    <a:pt x="10386" y="3295"/>
                  </a:lnTo>
                  <a:lnTo>
                    <a:pt x="10379" y="3294"/>
                  </a:lnTo>
                  <a:lnTo>
                    <a:pt x="10372" y="3290"/>
                  </a:lnTo>
                  <a:lnTo>
                    <a:pt x="10369" y="3283"/>
                  </a:lnTo>
                  <a:lnTo>
                    <a:pt x="10366" y="3274"/>
                  </a:lnTo>
                  <a:lnTo>
                    <a:pt x="10366" y="3163"/>
                  </a:lnTo>
                  <a:lnTo>
                    <a:pt x="10369" y="3154"/>
                  </a:lnTo>
                  <a:lnTo>
                    <a:pt x="10372" y="3148"/>
                  </a:lnTo>
                  <a:lnTo>
                    <a:pt x="10379" y="3144"/>
                  </a:lnTo>
                  <a:lnTo>
                    <a:pt x="10386" y="3143"/>
                  </a:lnTo>
                  <a:lnTo>
                    <a:pt x="10394" y="3144"/>
                  </a:lnTo>
                  <a:lnTo>
                    <a:pt x="10401" y="3148"/>
                  </a:lnTo>
                  <a:lnTo>
                    <a:pt x="10404" y="3154"/>
                  </a:lnTo>
                  <a:lnTo>
                    <a:pt x="10407" y="3163"/>
                  </a:lnTo>
                  <a:close/>
                  <a:moveTo>
                    <a:pt x="10143" y="3163"/>
                  </a:moveTo>
                  <a:lnTo>
                    <a:pt x="10143" y="3274"/>
                  </a:lnTo>
                  <a:lnTo>
                    <a:pt x="10142" y="3283"/>
                  </a:lnTo>
                  <a:lnTo>
                    <a:pt x="10138" y="3290"/>
                  </a:lnTo>
                  <a:lnTo>
                    <a:pt x="10131" y="3294"/>
                  </a:lnTo>
                  <a:lnTo>
                    <a:pt x="10124" y="3295"/>
                  </a:lnTo>
                  <a:lnTo>
                    <a:pt x="10116" y="3294"/>
                  </a:lnTo>
                  <a:lnTo>
                    <a:pt x="10109" y="3290"/>
                  </a:lnTo>
                  <a:lnTo>
                    <a:pt x="10106" y="3283"/>
                  </a:lnTo>
                  <a:lnTo>
                    <a:pt x="10103" y="3274"/>
                  </a:lnTo>
                  <a:lnTo>
                    <a:pt x="10103" y="3163"/>
                  </a:lnTo>
                  <a:lnTo>
                    <a:pt x="10106" y="3154"/>
                  </a:lnTo>
                  <a:lnTo>
                    <a:pt x="10109" y="3148"/>
                  </a:lnTo>
                  <a:lnTo>
                    <a:pt x="10116" y="3144"/>
                  </a:lnTo>
                  <a:lnTo>
                    <a:pt x="10124" y="3143"/>
                  </a:lnTo>
                  <a:lnTo>
                    <a:pt x="10131" y="3144"/>
                  </a:lnTo>
                  <a:lnTo>
                    <a:pt x="10138" y="3148"/>
                  </a:lnTo>
                  <a:lnTo>
                    <a:pt x="10142" y="3154"/>
                  </a:lnTo>
                  <a:lnTo>
                    <a:pt x="10143" y="3163"/>
                  </a:lnTo>
                  <a:close/>
                  <a:moveTo>
                    <a:pt x="9880" y="3163"/>
                  </a:moveTo>
                  <a:lnTo>
                    <a:pt x="9880" y="3274"/>
                  </a:lnTo>
                  <a:lnTo>
                    <a:pt x="9879" y="3283"/>
                  </a:lnTo>
                  <a:lnTo>
                    <a:pt x="9874" y="3290"/>
                  </a:lnTo>
                  <a:lnTo>
                    <a:pt x="9867" y="3294"/>
                  </a:lnTo>
                  <a:lnTo>
                    <a:pt x="9861" y="3295"/>
                  </a:lnTo>
                  <a:lnTo>
                    <a:pt x="9853" y="3294"/>
                  </a:lnTo>
                  <a:lnTo>
                    <a:pt x="9847" y="3290"/>
                  </a:lnTo>
                  <a:lnTo>
                    <a:pt x="9841" y="3283"/>
                  </a:lnTo>
                  <a:lnTo>
                    <a:pt x="9840" y="3274"/>
                  </a:lnTo>
                  <a:lnTo>
                    <a:pt x="9840" y="3163"/>
                  </a:lnTo>
                  <a:lnTo>
                    <a:pt x="9841" y="3154"/>
                  </a:lnTo>
                  <a:lnTo>
                    <a:pt x="9847" y="3148"/>
                  </a:lnTo>
                  <a:lnTo>
                    <a:pt x="9853" y="3144"/>
                  </a:lnTo>
                  <a:lnTo>
                    <a:pt x="9861" y="3143"/>
                  </a:lnTo>
                  <a:lnTo>
                    <a:pt x="9867" y="3144"/>
                  </a:lnTo>
                  <a:lnTo>
                    <a:pt x="9874" y="3148"/>
                  </a:lnTo>
                  <a:lnTo>
                    <a:pt x="9879" y="3154"/>
                  </a:lnTo>
                  <a:lnTo>
                    <a:pt x="9880" y="3163"/>
                  </a:lnTo>
                  <a:close/>
                  <a:moveTo>
                    <a:pt x="9617" y="3163"/>
                  </a:moveTo>
                  <a:lnTo>
                    <a:pt x="9617" y="3274"/>
                  </a:lnTo>
                  <a:lnTo>
                    <a:pt x="9616" y="3283"/>
                  </a:lnTo>
                  <a:lnTo>
                    <a:pt x="9611" y="3290"/>
                  </a:lnTo>
                  <a:lnTo>
                    <a:pt x="9604" y="3294"/>
                  </a:lnTo>
                  <a:lnTo>
                    <a:pt x="9598" y="3295"/>
                  </a:lnTo>
                  <a:lnTo>
                    <a:pt x="9590" y="3294"/>
                  </a:lnTo>
                  <a:lnTo>
                    <a:pt x="9584" y="3290"/>
                  </a:lnTo>
                  <a:lnTo>
                    <a:pt x="9579" y="3283"/>
                  </a:lnTo>
                  <a:lnTo>
                    <a:pt x="9577" y="3274"/>
                  </a:lnTo>
                  <a:lnTo>
                    <a:pt x="9577" y="3163"/>
                  </a:lnTo>
                  <a:lnTo>
                    <a:pt x="9579" y="3154"/>
                  </a:lnTo>
                  <a:lnTo>
                    <a:pt x="9584" y="3148"/>
                  </a:lnTo>
                  <a:lnTo>
                    <a:pt x="9590" y="3144"/>
                  </a:lnTo>
                  <a:lnTo>
                    <a:pt x="9598" y="3143"/>
                  </a:lnTo>
                  <a:lnTo>
                    <a:pt x="9604" y="3144"/>
                  </a:lnTo>
                  <a:lnTo>
                    <a:pt x="9611" y="3148"/>
                  </a:lnTo>
                  <a:lnTo>
                    <a:pt x="9616" y="3154"/>
                  </a:lnTo>
                  <a:lnTo>
                    <a:pt x="9617" y="3163"/>
                  </a:lnTo>
                  <a:close/>
                  <a:moveTo>
                    <a:pt x="10933" y="2916"/>
                  </a:moveTo>
                  <a:lnTo>
                    <a:pt x="10933" y="3028"/>
                  </a:lnTo>
                  <a:lnTo>
                    <a:pt x="10931" y="3037"/>
                  </a:lnTo>
                  <a:lnTo>
                    <a:pt x="10926" y="3043"/>
                  </a:lnTo>
                  <a:lnTo>
                    <a:pt x="10920" y="3047"/>
                  </a:lnTo>
                  <a:lnTo>
                    <a:pt x="10912" y="3048"/>
                  </a:lnTo>
                  <a:lnTo>
                    <a:pt x="10906" y="3047"/>
                  </a:lnTo>
                  <a:lnTo>
                    <a:pt x="10899" y="3043"/>
                  </a:lnTo>
                  <a:lnTo>
                    <a:pt x="10894" y="3037"/>
                  </a:lnTo>
                  <a:lnTo>
                    <a:pt x="10893" y="3028"/>
                  </a:lnTo>
                  <a:lnTo>
                    <a:pt x="10893" y="2916"/>
                  </a:lnTo>
                  <a:lnTo>
                    <a:pt x="10894" y="2907"/>
                  </a:lnTo>
                  <a:lnTo>
                    <a:pt x="10899" y="2901"/>
                  </a:lnTo>
                  <a:lnTo>
                    <a:pt x="10906" y="2897"/>
                  </a:lnTo>
                  <a:lnTo>
                    <a:pt x="10912" y="2896"/>
                  </a:lnTo>
                  <a:lnTo>
                    <a:pt x="10920" y="2897"/>
                  </a:lnTo>
                  <a:lnTo>
                    <a:pt x="10926" y="2901"/>
                  </a:lnTo>
                  <a:lnTo>
                    <a:pt x="10931" y="2907"/>
                  </a:lnTo>
                  <a:lnTo>
                    <a:pt x="10933" y="2916"/>
                  </a:lnTo>
                  <a:close/>
                  <a:moveTo>
                    <a:pt x="10670" y="2916"/>
                  </a:moveTo>
                  <a:lnTo>
                    <a:pt x="10670" y="3028"/>
                  </a:lnTo>
                  <a:lnTo>
                    <a:pt x="10669" y="3037"/>
                  </a:lnTo>
                  <a:lnTo>
                    <a:pt x="10663" y="3043"/>
                  </a:lnTo>
                  <a:lnTo>
                    <a:pt x="10657" y="3047"/>
                  </a:lnTo>
                  <a:lnTo>
                    <a:pt x="10649" y="3048"/>
                  </a:lnTo>
                  <a:lnTo>
                    <a:pt x="10643" y="3047"/>
                  </a:lnTo>
                  <a:lnTo>
                    <a:pt x="10637" y="3043"/>
                  </a:lnTo>
                  <a:lnTo>
                    <a:pt x="10631" y="3037"/>
                  </a:lnTo>
                  <a:lnTo>
                    <a:pt x="10630" y="3028"/>
                  </a:lnTo>
                  <a:lnTo>
                    <a:pt x="10630" y="2916"/>
                  </a:lnTo>
                  <a:lnTo>
                    <a:pt x="10631" y="2907"/>
                  </a:lnTo>
                  <a:lnTo>
                    <a:pt x="10637" y="2901"/>
                  </a:lnTo>
                  <a:lnTo>
                    <a:pt x="10643" y="2897"/>
                  </a:lnTo>
                  <a:lnTo>
                    <a:pt x="10649" y="2896"/>
                  </a:lnTo>
                  <a:lnTo>
                    <a:pt x="10657" y="2897"/>
                  </a:lnTo>
                  <a:lnTo>
                    <a:pt x="10663" y="2901"/>
                  </a:lnTo>
                  <a:lnTo>
                    <a:pt x="10669" y="2907"/>
                  </a:lnTo>
                  <a:lnTo>
                    <a:pt x="10670" y="2916"/>
                  </a:lnTo>
                  <a:close/>
                  <a:moveTo>
                    <a:pt x="10407" y="2916"/>
                  </a:moveTo>
                  <a:lnTo>
                    <a:pt x="10407" y="3028"/>
                  </a:lnTo>
                  <a:lnTo>
                    <a:pt x="10404" y="3037"/>
                  </a:lnTo>
                  <a:lnTo>
                    <a:pt x="10401" y="3043"/>
                  </a:lnTo>
                  <a:lnTo>
                    <a:pt x="10394" y="3047"/>
                  </a:lnTo>
                  <a:lnTo>
                    <a:pt x="10386" y="3048"/>
                  </a:lnTo>
                  <a:lnTo>
                    <a:pt x="10379" y="3047"/>
                  </a:lnTo>
                  <a:lnTo>
                    <a:pt x="10372" y="3043"/>
                  </a:lnTo>
                  <a:lnTo>
                    <a:pt x="10369" y="3037"/>
                  </a:lnTo>
                  <a:lnTo>
                    <a:pt x="10366" y="3028"/>
                  </a:lnTo>
                  <a:lnTo>
                    <a:pt x="10366" y="2916"/>
                  </a:lnTo>
                  <a:lnTo>
                    <a:pt x="10369" y="2907"/>
                  </a:lnTo>
                  <a:lnTo>
                    <a:pt x="10372" y="2901"/>
                  </a:lnTo>
                  <a:lnTo>
                    <a:pt x="10379" y="2897"/>
                  </a:lnTo>
                  <a:lnTo>
                    <a:pt x="10386" y="2896"/>
                  </a:lnTo>
                  <a:lnTo>
                    <a:pt x="10394" y="2897"/>
                  </a:lnTo>
                  <a:lnTo>
                    <a:pt x="10401" y="2901"/>
                  </a:lnTo>
                  <a:lnTo>
                    <a:pt x="10404" y="2907"/>
                  </a:lnTo>
                  <a:lnTo>
                    <a:pt x="10407" y="2916"/>
                  </a:lnTo>
                  <a:close/>
                  <a:moveTo>
                    <a:pt x="10143" y="2916"/>
                  </a:moveTo>
                  <a:lnTo>
                    <a:pt x="10143" y="3028"/>
                  </a:lnTo>
                  <a:lnTo>
                    <a:pt x="10142" y="3037"/>
                  </a:lnTo>
                  <a:lnTo>
                    <a:pt x="10138" y="3043"/>
                  </a:lnTo>
                  <a:lnTo>
                    <a:pt x="10131" y="3047"/>
                  </a:lnTo>
                  <a:lnTo>
                    <a:pt x="10124" y="3048"/>
                  </a:lnTo>
                  <a:lnTo>
                    <a:pt x="10116" y="3047"/>
                  </a:lnTo>
                  <a:lnTo>
                    <a:pt x="10109" y="3043"/>
                  </a:lnTo>
                  <a:lnTo>
                    <a:pt x="10106" y="3037"/>
                  </a:lnTo>
                  <a:lnTo>
                    <a:pt x="10103" y="3028"/>
                  </a:lnTo>
                  <a:lnTo>
                    <a:pt x="10103" y="2916"/>
                  </a:lnTo>
                  <a:lnTo>
                    <a:pt x="10106" y="2907"/>
                  </a:lnTo>
                  <a:lnTo>
                    <a:pt x="10109" y="2901"/>
                  </a:lnTo>
                  <a:lnTo>
                    <a:pt x="10116" y="2897"/>
                  </a:lnTo>
                  <a:lnTo>
                    <a:pt x="10124" y="2896"/>
                  </a:lnTo>
                  <a:lnTo>
                    <a:pt x="10131" y="2897"/>
                  </a:lnTo>
                  <a:lnTo>
                    <a:pt x="10138" y="2901"/>
                  </a:lnTo>
                  <a:lnTo>
                    <a:pt x="10142" y="2907"/>
                  </a:lnTo>
                  <a:lnTo>
                    <a:pt x="10143" y="2916"/>
                  </a:lnTo>
                  <a:close/>
                  <a:moveTo>
                    <a:pt x="9880" y="2916"/>
                  </a:moveTo>
                  <a:lnTo>
                    <a:pt x="9880" y="3028"/>
                  </a:lnTo>
                  <a:lnTo>
                    <a:pt x="9879" y="3037"/>
                  </a:lnTo>
                  <a:lnTo>
                    <a:pt x="9874" y="3043"/>
                  </a:lnTo>
                  <a:lnTo>
                    <a:pt x="9867" y="3047"/>
                  </a:lnTo>
                  <a:lnTo>
                    <a:pt x="9861" y="3048"/>
                  </a:lnTo>
                  <a:lnTo>
                    <a:pt x="9853" y="3047"/>
                  </a:lnTo>
                  <a:lnTo>
                    <a:pt x="9847" y="3043"/>
                  </a:lnTo>
                  <a:lnTo>
                    <a:pt x="9841" y="3037"/>
                  </a:lnTo>
                  <a:lnTo>
                    <a:pt x="9840" y="3028"/>
                  </a:lnTo>
                  <a:lnTo>
                    <a:pt x="9840" y="2916"/>
                  </a:lnTo>
                  <a:lnTo>
                    <a:pt x="9841" y="2907"/>
                  </a:lnTo>
                  <a:lnTo>
                    <a:pt x="9847" y="2901"/>
                  </a:lnTo>
                  <a:lnTo>
                    <a:pt x="9853" y="2897"/>
                  </a:lnTo>
                  <a:lnTo>
                    <a:pt x="9861" y="2896"/>
                  </a:lnTo>
                  <a:lnTo>
                    <a:pt x="9867" y="2897"/>
                  </a:lnTo>
                  <a:lnTo>
                    <a:pt x="9874" y="2901"/>
                  </a:lnTo>
                  <a:lnTo>
                    <a:pt x="9879" y="2907"/>
                  </a:lnTo>
                  <a:lnTo>
                    <a:pt x="9880" y="2916"/>
                  </a:lnTo>
                  <a:close/>
                  <a:moveTo>
                    <a:pt x="9617" y="2916"/>
                  </a:moveTo>
                  <a:lnTo>
                    <a:pt x="9617" y="3028"/>
                  </a:lnTo>
                  <a:lnTo>
                    <a:pt x="9616" y="3037"/>
                  </a:lnTo>
                  <a:lnTo>
                    <a:pt x="9611" y="3043"/>
                  </a:lnTo>
                  <a:lnTo>
                    <a:pt x="9604" y="3047"/>
                  </a:lnTo>
                  <a:lnTo>
                    <a:pt x="9598" y="3048"/>
                  </a:lnTo>
                  <a:lnTo>
                    <a:pt x="9590" y="3047"/>
                  </a:lnTo>
                  <a:lnTo>
                    <a:pt x="9584" y="3043"/>
                  </a:lnTo>
                  <a:lnTo>
                    <a:pt x="9579" y="3037"/>
                  </a:lnTo>
                  <a:lnTo>
                    <a:pt x="9577" y="3028"/>
                  </a:lnTo>
                  <a:lnTo>
                    <a:pt x="9577" y="2916"/>
                  </a:lnTo>
                  <a:lnTo>
                    <a:pt x="9579" y="2907"/>
                  </a:lnTo>
                  <a:lnTo>
                    <a:pt x="9584" y="2901"/>
                  </a:lnTo>
                  <a:lnTo>
                    <a:pt x="9590" y="2897"/>
                  </a:lnTo>
                  <a:lnTo>
                    <a:pt x="9598" y="2896"/>
                  </a:lnTo>
                  <a:lnTo>
                    <a:pt x="9604" y="2897"/>
                  </a:lnTo>
                  <a:lnTo>
                    <a:pt x="9611" y="2901"/>
                  </a:lnTo>
                  <a:lnTo>
                    <a:pt x="9616" y="2907"/>
                  </a:lnTo>
                  <a:lnTo>
                    <a:pt x="9617" y="2916"/>
                  </a:lnTo>
                  <a:close/>
                  <a:moveTo>
                    <a:pt x="10933" y="2670"/>
                  </a:moveTo>
                  <a:lnTo>
                    <a:pt x="10933" y="2782"/>
                  </a:lnTo>
                  <a:lnTo>
                    <a:pt x="10931" y="2790"/>
                  </a:lnTo>
                  <a:lnTo>
                    <a:pt x="10926" y="2796"/>
                  </a:lnTo>
                  <a:lnTo>
                    <a:pt x="10920" y="2800"/>
                  </a:lnTo>
                  <a:lnTo>
                    <a:pt x="10912" y="2801"/>
                  </a:lnTo>
                  <a:lnTo>
                    <a:pt x="10906" y="2800"/>
                  </a:lnTo>
                  <a:lnTo>
                    <a:pt x="10899" y="2796"/>
                  </a:lnTo>
                  <a:lnTo>
                    <a:pt x="10894" y="2790"/>
                  </a:lnTo>
                  <a:lnTo>
                    <a:pt x="10893" y="2782"/>
                  </a:lnTo>
                  <a:lnTo>
                    <a:pt x="10893" y="2670"/>
                  </a:lnTo>
                  <a:lnTo>
                    <a:pt x="10894" y="2661"/>
                  </a:lnTo>
                  <a:lnTo>
                    <a:pt x="10899" y="2654"/>
                  </a:lnTo>
                  <a:lnTo>
                    <a:pt x="10906" y="2650"/>
                  </a:lnTo>
                  <a:lnTo>
                    <a:pt x="10912" y="2649"/>
                  </a:lnTo>
                  <a:lnTo>
                    <a:pt x="10920" y="2650"/>
                  </a:lnTo>
                  <a:lnTo>
                    <a:pt x="10926" y="2654"/>
                  </a:lnTo>
                  <a:lnTo>
                    <a:pt x="10931" y="2661"/>
                  </a:lnTo>
                  <a:lnTo>
                    <a:pt x="10933" y="2670"/>
                  </a:lnTo>
                  <a:close/>
                  <a:moveTo>
                    <a:pt x="10670" y="2670"/>
                  </a:moveTo>
                  <a:lnTo>
                    <a:pt x="10670" y="2782"/>
                  </a:lnTo>
                  <a:lnTo>
                    <a:pt x="10669" y="2790"/>
                  </a:lnTo>
                  <a:lnTo>
                    <a:pt x="10663" y="2796"/>
                  </a:lnTo>
                  <a:lnTo>
                    <a:pt x="10657" y="2800"/>
                  </a:lnTo>
                  <a:lnTo>
                    <a:pt x="10649" y="2801"/>
                  </a:lnTo>
                  <a:lnTo>
                    <a:pt x="10643" y="2800"/>
                  </a:lnTo>
                  <a:lnTo>
                    <a:pt x="10637" y="2796"/>
                  </a:lnTo>
                  <a:lnTo>
                    <a:pt x="10631" y="2790"/>
                  </a:lnTo>
                  <a:lnTo>
                    <a:pt x="10630" y="2782"/>
                  </a:lnTo>
                  <a:lnTo>
                    <a:pt x="10630" y="2670"/>
                  </a:lnTo>
                  <a:lnTo>
                    <a:pt x="10631" y="2661"/>
                  </a:lnTo>
                  <a:lnTo>
                    <a:pt x="10637" y="2654"/>
                  </a:lnTo>
                  <a:lnTo>
                    <a:pt x="10643" y="2650"/>
                  </a:lnTo>
                  <a:lnTo>
                    <a:pt x="10649" y="2649"/>
                  </a:lnTo>
                  <a:lnTo>
                    <a:pt x="10657" y="2650"/>
                  </a:lnTo>
                  <a:lnTo>
                    <a:pt x="10663" y="2654"/>
                  </a:lnTo>
                  <a:lnTo>
                    <a:pt x="10669" y="2661"/>
                  </a:lnTo>
                  <a:lnTo>
                    <a:pt x="10670" y="2670"/>
                  </a:lnTo>
                  <a:close/>
                  <a:moveTo>
                    <a:pt x="10407" y="2670"/>
                  </a:moveTo>
                  <a:lnTo>
                    <a:pt x="10407" y="2782"/>
                  </a:lnTo>
                  <a:lnTo>
                    <a:pt x="10404" y="2790"/>
                  </a:lnTo>
                  <a:lnTo>
                    <a:pt x="10401" y="2796"/>
                  </a:lnTo>
                  <a:lnTo>
                    <a:pt x="10394" y="2800"/>
                  </a:lnTo>
                  <a:lnTo>
                    <a:pt x="10386" y="2801"/>
                  </a:lnTo>
                  <a:lnTo>
                    <a:pt x="10379" y="2800"/>
                  </a:lnTo>
                  <a:lnTo>
                    <a:pt x="10372" y="2796"/>
                  </a:lnTo>
                  <a:lnTo>
                    <a:pt x="10369" y="2790"/>
                  </a:lnTo>
                  <a:lnTo>
                    <a:pt x="10366" y="2782"/>
                  </a:lnTo>
                  <a:lnTo>
                    <a:pt x="10366" y="2670"/>
                  </a:lnTo>
                  <a:lnTo>
                    <a:pt x="10369" y="2661"/>
                  </a:lnTo>
                  <a:lnTo>
                    <a:pt x="10372" y="2654"/>
                  </a:lnTo>
                  <a:lnTo>
                    <a:pt x="10379" y="2650"/>
                  </a:lnTo>
                  <a:lnTo>
                    <a:pt x="10386" y="2649"/>
                  </a:lnTo>
                  <a:lnTo>
                    <a:pt x="10394" y="2650"/>
                  </a:lnTo>
                  <a:lnTo>
                    <a:pt x="10401" y="2654"/>
                  </a:lnTo>
                  <a:lnTo>
                    <a:pt x="10404" y="2661"/>
                  </a:lnTo>
                  <a:lnTo>
                    <a:pt x="10407" y="2670"/>
                  </a:lnTo>
                  <a:close/>
                  <a:moveTo>
                    <a:pt x="10143" y="2670"/>
                  </a:moveTo>
                  <a:lnTo>
                    <a:pt x="10143" y="2782"/>
                  </a:lnTo>
                  <a:lnTo>
                    <a:pt x="10142" y="2790"/>
                  </a:lnTo>
                  <a:lnTo>
                    <a:pt x="10138" y="2796"/>
                  </a:lnTo>
                  <a:lnTo>
                    <a:pt x="10131" y="2800"/>
                  </a:lnTo>
                  <a:lnTo>
                    <a:pt x="10124" y="2801"/>
                  </a:lnTo>
                  <a:lnTo>
                    <a:pt x="10116" y="2800"/>
                  </a:lnTo>
                  <a:lnTo>
                    <a:pt x="10109" y="2796"/>
                  </a:lnTo>
                  <a:lnTo>
                    <a:pt x="10106" y="2790"/>
                  </a:lnTo>
                  <a:lnTo>
                    <a:pt x="10103" y="2782"/>
                  </a:lnTo>
                  <a:lnTo>
                    <a:pt x="10103" y="2670"/>
                  </a:lnTo>
                  <a:lnTo>
                    <a:pt x="10106" y="2661"/>
                  </a:lnTo>
                  <a:lnTo>
                    <a:pt x="10109" y="2654"/>
                  </a:lnTo>
                  <a:lnTo>
                    <a:pt x="10116" y="2650"/>
                  </a:lnTo>
                  <a:lnTo>
                    <a:pt x="10124" y="2649"/>
                  </a:lnTo>
                  <a:lnTo>
                    <a:pt x="10131" y="2650"/>
                  </a:lnTo>
                  <a:lnTo>
                    <a:pt x="10138" y="2654"/>
                  </a:lnTo>
                  <a:lnTo>
                    <a:pt x="10142" y="2661"/>
                  </a:lnTo>
                  <a:lnTo>
                    <a:pt x="10143" y="2670"/>
                  </a:lnTo>
                  <a:close/>
                  <a:moveTo>
                    <a:pt x="9880" y="2670"/>
                  </a:moveTo>
                  <a:lnTo>
                    <a:pt x="9880" y="2782"/>
                  </a:lnTo>
                  <a:lnTo>
                    <a:pt x="9879" y="2790"/>
                  </a:lnTo>
                  <a:lnTo>
                    <a:pt x="9874" y="2796"/>
                  </a:lnTo>
                  <a:lnTo>
                    <a:pt x="9867" y="2800"/>
                  </a:lnTo>
                  <a:lnTo>
                    <a:pt x="9861" y="2801"/>
                  </a:lnTo>
                  <a:lnTo>
                    <a:pt x="9853" y="2800"/>
                  </a:lnTo>
                  <a:lnTo>
                    <a:pt x="9847" y="2796"/>
                  </a:lnTo>
                  <a:lnTo>
                    <a:pt x="9841" y="2790"/>
                  </a:lnTo>
                  <a:lnTo>
                    <a:pt x="9840" y="2782"/>
                  </a:lnTo>
                  <a:lnTo>
                    <a:pt x="9840" y="2670"/>
                  </a:lnTo>
                  <a:lnTo>
                    <a:pt x="9841" y="2661"/>
                  </a:lnTo>
                  <a:lnTo>
                    <a:pt x="9847" y="2654"/>
                  </a:lnTo>
                  <a:lnTo>
                    <a:pt x="9853" y="2650"/>
                  </a:lnTo>
                  <a:lnTo>
                    <a:pt x="9861" y="2649"/>
                  </a:lnTo>
                  <a:lnTo>
                    <a:pt x="9867" y="2650"/>
                  </a:lnTo>
                  <a:lnTo>
                    <a:pt x="9874" y="2654"/>
                  </a:lnTo>
                  <a:lnTo>
                    <a:pt x="9879" y="2661"/>
                  </a:lnTo>
                  <a:lnTo>
                    <a:pt x="9880" y="2670"/>
                  </a:lnTo>
                  <a:close/>
                  <a:moveTo>
                    <a:pt x="9617" y="2670"/>
                  </a:moveTo>
                  <a:lnTo>
                    <a:pt x="9617" y="2782"/>
                  </a:lnTo>
                  <a:lnTo>
                    <a:pt x="9616" y="2790"/>
                  </a:lnTo>
                  <a:lnTo>
                    <a:pt x="9611" y="2796"/>
                  </a:lnTo>
                  <a:lnTo>
                    <a:pt x="9604" y="2800"/>
                  </a:lnTo>
                  <a:lnTo>
                    <a:pt x="9598" y="2801"/>
                  </a:lnTo>
                  <a:lnTo>
                    <a:pt x="9590" y="2800"/>
                  </a:lnTo>
                  <a:lnTo>
                    <a:pt x="9584" y="2796"/>
                  </a:lnTo>
                  <a:lnTo>
                    <a:pt x="9579" y="2790"/>
                  </a:lnTo>
                  <a:lnTo>
                    <a:pt x="9577" y="2782"/>
                  </a:lnTo>
                  <a:lnTo>
                    <a:pt x="9577" y="2670"/>
                  </a:lnTo>
                  <a:lnTo>
                    <a:pt x="9579" y="2661"/>
                  </a:lnTo>
                  <a:lnTo>
                    <a:pt x="9584" y="2654"/>
                  </a:lnTo>
                  <a:lnTo>
                    <a:pt x="9590" y="2650"/>
                  </a:lnTo>
                  <a:lnTo>
                    <a:pt x="9598" y="2649"/>
                  </a:lnTo>
                  <a:lnTo>
                    <a:pt x="9604" y="2650"/>
                  </a:lnTo>
                  <a:lnTo>
                    <a:pt x="9611" y="2654"/>
                  </a:lnTo>
                  <a:lnTo>
                    <a:pt x="9616" y="2661"/>
                  </a:lnTo>
                  <a:lnTo>
                    <a:pt x="9617" y="2670"/>
                  </a:lnTo>
                  <a:close/>
                  <a:moveTo>
                    <a:pt x="13776" y="2113"/>
                  </a:moveTo>
                  <a:lnTo>
                    <a:pt x="13776" y="2226"/>
                  </a:lnTo>
                  <a:lnTo>
                    <a:pt x="13774" y="2235"/>
                  </a:lnTo>
                  <a:lnTo>
                    <a:pt x="13769" y="2241"/>
                  </a:lnTo>
                  <a:lnTo>
                    <a:pt x="13763" y="2245"/>
                  </a:lnTo>
                  <a:lnTo>
                    <a:pt x="13756" y="2246"/>
                  </a:lnTo>
                  <a:lnTo>
                    <a:pt x="13749" y="2245"/>
                  </a:lnTo>
                  <a:lnTo>
                    <a:pt x="13742" y="2241"/>
                  </a:lnTo>
                  <a:lnTo>
                    <a:pt x="13737" y="2235"/>
                  </a:lnTo>
                  <a:lnTo>
                    <a:pt x="13736" y="2226"/>
                  </a:lnTo>
                  <a:lnTo>
                    <a:pt x="13736" y="2113"/>
                  </a:lnTo>
                  <a:lnTo>
                    <a:pt x="13737" y="2106"/>
                  </a:lnTo>
                  <a:lnTo>
                    <a:pt x="13742" y="2099"/>
                  </a:lnTo>
                  <a:lnTo>
                    <a:pt x="13749" y="2095"/>
                  </a:lnTo>
                  <a:lnTo>
                    <a:pt x="13756" y="2094"/>
                  </a:lnTo>
                  <a:lnTo>
                    <a:pt x="13763" y="2095"/>
                  </a:lnTo>
                  <a:lnTo>
                    <a:pt x="13769" y="2099"/>
                  </a:lnTo>
                  <a:lnTo>
                    <a:pt x="13774" y="2106"/>
                  </a:lnTo>
                  <a:lnTo>
                    <a:pt x="13776" y="2113"/>
                  </a:lnTo>
                  <a:close/>
                  <a:moveTo>
                    <a:pt x="13513" y="2113"/>
                  </a:moveTo>
                  <a:lnTo>
                    <a:pt x="13513" y="2226"/>
                  </a:lnTo>
                  <a:lnTo>
                    <a:pt x="13511" y="2235"/>
                  </a:lnTo>
                  <a:lnTo>
                    <a:pt x="13506" y="2241"/>
                  </a:lnTo>
                  <a:lnTo>
                    <a:pt x="13500" y="2245"/>
                  </a:lnTo>
                  <a:lnTo>
                    <a:pt x="13492" y="2246"/>
                  </a:lnTo>
                  <a:lnTo>
                    <a:pt x="13486" y="2245"/>
                  </a:lnTo>
                  <a:lnTo>
                    <a:pt x="13479" y="2241"/>
                  </a:lnTo>
                  <a:lnTo>
                    <a:pt x="13474" y="2235"/>
                  </a:lnTo>
                  <a:lnTo>
                    <a:pt x="13473" y="2226"/>
                  </a:lnTo>
                  <a:lnTo>
                    <a:pt x="13473" y="2113"/>
                  </a:lnTo>
                  <a:lnTo>
                    <a:pt x="13474" y="2106"/>
                  </a:lnTo>
                  <a:lnTo>
                    <a:pt x="13479" y="2099"/>
                  </a:lnTo>
                  <a:lnTo>
                    <a:pt x="13486" y="2095"/>
                  </a:lnTo>
                  <a:lnTo>
                    <a:pt x="13492" y="2094"/>
                  </a:lnTo>
                  <a:lnTo>
                    <a:pt x="13500" y="2095"/>
                  </a:lnTo>
                  <a:lnTo>
                    <a:pt x="13506" y="2099"/>
                  </a:lnTo>
                  <a:lnTo>
                    <a:pt x="13511" y="2106"/>
                  </a:lnTo>
                  <a:lnTo>
                    <a:pt x="13513" y="2113"/>
                  </a:lnTo>
                  <a:close/>
                  <a:moveTo>
                    <a:pt x="13250" y="2113"/>
                  </a:moveTo>
                  <a:lnTo>
                    <a:pt x="13250" y="2226"/>
                  </a:lnTo>
                  <a:lnTo>
                    <a:pt x="13247" y="2235"/>
                  </a:lnTo>
                  <a:lnTo>
                    <a:pt x="13243" y="2241"/>
                  </a:lnTo>
                  <a:lnTo>
                    <a:pt x="13237" y="2245"/>
                  </a:lnTo>
                  <a:lnTo>
                    <a:pt x="13229" y="2246"/>
                  </a:lnTo>
                  <a:lnTo>
                    <a:pt x="13222" y="2245"/>
                  </a:lnTo>
                  <a:lnTo>
                    <a:pt x="13215" y="2241"/>
                  </a:lnTo>
                  <a:lnTo>
                    <a:pt x="13211" y="2235"/>
                  </a:lnTo>
                  <a:lnTo>
                    <a:pt x="13210" y="2226"/>
                  </a:lnTo>
                  <a:lnTo>
                    <a:pt x="13210" y="2113"/>
                  </a:lnTo>
                  <a:lnTo>
                    <a:pt x="13211" y="2106"/>
                  </a:lnTo>
                  <a:lnTo>
                    <a:pt x="13215" y="2099"/>
                  </a:lnTo>
                  <a:lnTo>
                    <a:pt x="13222" y="2095"/>
                  </a:lnTo>
                  <a:lnTo>
                    <a:pt x="13229" y="2094"/>
                  </a:lnTo>
                  <a:lnTo>
                    <a:pt x="13237" y="2095"/>
                  </a:lnTo>
                  <a:lnTo>
                    <a:pt x="13243" y="2099"/>
                  </a:lnTo>
                  <a:lnTo>
                    <a:pt x="13247" y="2106"/>
                  </a:lnTo>
                  <a:lnTo>
                    <a:pt x="13250" y="2113"/>
                  </a:lnTo>
                  <a:close/>
                  <a:moveTo>
                    <a:pt x="12987" y="2113"/>
                  </a:moveTo>
                  <a:lnTo>
                    <a:pt x="12987" y="2226"/>
                  </a:lnTo>
                  <a:lnTo>
                    <a:pt x="12984" y="2235"/>
                  </a:lnTo>
                  <a:lnTo>
                    <a:pt x="12981" y="2241"/>
                  </a:lnTo>
                  <a:lnTo>
                    <a:pt x="12974" y="2245"/>
                  </a:lnTo>
                  <a:lnTo>
                    <a:pt x="12966" y="2246"/>
                  </a:lnTo>
                  <a:lnTo>
                    <a:pt x="12959" y="2245"/>
                  </a:lnTo>
                  <a:lnTo>
                    <a:pt x="12952" y="2241"/>
                  </a:lnTo>
                  <a:lnTo>
                    <a:pt x="12948" y="2235"/>
                  </a:lnTo>
                  <a:lnTo>
                    <a:pt x="12946" y="2226"/>
                  </a:lnTo>
                  <a:lnTo>
                    <a:pt x="12946" y="2113"/>
                  </a:lnTo>
                  <a:lnTo>
                    <a:pt x="12948" y="2106"/>
                  </a:lnTo>
                  <a:lnTo>
                    <a:pt x="12952" y="2099"/>
                  </a:lnTo>
                  <a:lnTo>
                    <a:pt x="12959" y="2095"/>
                  </a:lnTo>
                  <a:lnTo>
                    <a:pt x="12966" y="2094"/>
                  </a:lnTo>
                  <a:lnTo>
                    <a:pt x="12974" y="2095"/>
                  </a:lnTo>
                  <a:lnTo>
                    <a:pt x="12981" y="2099"/>
                  </a:lnTo>
                  <a:lnTo>
                    <a:pt x="12984" y="2106"/>
                  </a:lnTo>
                  <a:lnTo>
                    <a:pt x="12987" y="2113"/>
                  </a:lnTo>
                  <a:close/>
                  <a:moveTo>
                    <a:pt x="13776" y="1879"/>
                  </a:moveTo>
                  <a:lnTo>
                    <a:pt x="13776" y="1992"/>
                  </a:lnTo>
                  <a:lnTo>
                    <a:pt x="13774" y="2001"/>
                  </a:lnTo>
                  <a:lnTo>
                    <a:pt x="13769" y="2007"/>
                  </a:lnTo>
                  <a:lnTo>
                    <a:pt x="13763" y="2011"/>
                  </a:lnTo>
                  <a:lnTo>
                    <a:pt x="13756" y="2012"/>
                  </a:lnTo>
                  <a:lnTo>
                    <a:pt x="13749" y="2011"/>
                  </a:lnTo>
                  <a:lnTo>
                    <a:pt x="13742" y="2007"/>
                  </a:lnTo>
                  <a:lnTo>
                    <a:pt x="13737" y="2001"/>
                  </a:lnTo>
                  <a:lnTo>
                    <a:pt x="13736" y="1992"/>
                  </a:lnTo>
                  <a:lnTo>
                    <a:pt x="13736" y="1879"/>
                  </a:lnTo>
                  <a:lnTo>
                    <a:pt x="13737" y="1872"/>
                  </a:lnTo>
                  <a:lnTo>
                    <a:pt x="13742" y="1865"/>
                  </a:lnTo>
                  <a:lnTo>
                    <a:pt x="13749" y="1861"/>
                  </a:lnTo>
                  <a:lnTo>
                    <a:pt x="13756" y="1860"/>
                  </a:lnTo>
                  <a:lnTo>
                    <a:pt x="13763" y="1861"/>
                  </a:lnTo>
                  <a:lnTo>
                    <a:pt x="13769" y="1865"/>
                  </a:lnTo>
                  <a:lnTo>
                    <a:pt x="13774" y="1872"/>
                  </a:lnTo>
                  <a:lnTo>
                    <a:pt x="13776" y="1879"/>
                  </a:lnTo>
                  <a:close/>
                  <a:moveTo>
                    <a:pt x="13513" y="1879"/>
                  </a:moveTo>
                  <a:lnTo>
                    <a:pt x="13513" y="1992"/>
                  </a:lnTo>
                  <a:lnTo>
                    <a:pt x="13511" y="2001"/>
                  </a:lnTo>
                  <a:lnTo>
                    <a:pt x="13506" y="2007"/>
                  </a:lnTo>
                  <a:lnTo>
                    <a:pt x="13500" y="2011"/>
                  </a:lnTo>
                  <a:lnTo>
                    <a:pt x="13492" y="2012"/>
                  </a:lnTo>
                  <a:lnTo>
                    <a:pt x="13486" y="2011"/>
                  </a:lnTo>
                  <a:lnTo>
                    <a:pt x="13479" y="2007"/>
                  </a:lnTo>
                  <a:lnTo>
                    <a:pt x="13474" y="2001"/>
                  </a:lnTo>
                  <a:lnTo>
                    <a:pt x="13473" y="1992"/>
                  </a:lnTo>
                  <a:lnTo>
                    <a:pt x="13473" y="1879"/>
                  </a:lnTo>
                  <a:lnTo>
                    <a:pt x="13474" y="1872"/>
                  </a:lnTo>
                  <a:lnTo>
                    <a:pt x="13479" y="1865"/>
                  </a:lnTo>
                  <a:lnTo>
                    <a:pt x="13486" y="1861"/>
                  </a:lnTo>
                  <a:lnTo>
                    <a:pt x="13492" y="1860"/>
                  </a:lnTo>
                  <a:lnTo>
                    <a:pt x="13500" y="1861"/>
                  </a:lnTo>
                  <a:lnTo>
                    <a:pt x="13506" y="1865"/>
                  </a:lnTo>
                  <a:lnTo>
                    <a:pt x="13511" y="1872"/>
                  </a:lnTo>
                  <a:lnTo>
                    <a:pt x="13513" y="1879"/>
                  </a:lnTo>
                  <a:close/>
                  <a:moveTo>
                    <a:pt x="13250" y="1879"/>
                  </a:moveTo>
                  <a:lnTo>
                    <a:pt x="13250" y="1992"/>
                  </a:lnTo>
                  <a:lnTo>
                    <a:pt x="13247" y="2001"/>
                  </a:lnTo>
                  <a:lnTo>
                    <a:pt x="13243" y="2007"/>
                  </a:lnTo>
                  <a:lnTo>
                    <a:pt x="13237" y="2011"/>
                  </a:lnTo>
                  <a:lnTo>
                    <a:pt x="13229" y="2012"/>
                  </a:lnTo>
                  <a:lnTo>
                    <a:pt x="13222" y="2011"/>
                  </a:lnTo>
                  <a:lnTo>
                    <a:pt x="13215" y="2007"/>
                  </a:lnTo>
                  <a:lnTo>
                    <a:pt x="13211" y="2001"/>
                  </a:lnTo>
                  <a:lnTo>
                    <a:pt x="13210" y="1992"/>
                  </a:lnTo>
                  <a:lnTo>
                    <a:pt x="13210" y="1879"/>
                  </a:lnTo>
                  <a:lnTo>
                    <a:pt x="13211" y="1872"/>
                  </a:lnTo>
                  <a:lnTo>
                    <a:pt x="13215" y="1865"/>
                  </a:lnTo>
                  <a:lnTo>
                    <a:pt x="13222" y="1861"/>
                  </a:lnTo>
                  <a:lnTo>
                    <a:pt x="13229" y="1860"/>
                  </a:lnTo>
                  <a:lnTo>
                    <a:pt x="13237" y="1861"/>
                  </a:lnTo>
                  <a:lnTo>
                    <a:pt x="13243" y="1865"/>
                  </a:lnTo>
                  <a:lnTo>
                    <a:pt x="13247" y="1872"/>
                  </a:lnTo>
                  <a:lnTo>
                    <a:pt x="13250" y="1879"/>
                  </a:lnTo>
                  <a:close/>
                  <a:moveTo>
                    <a:pt x="12987" y="1879"/>
                  </a:moveTo>
                  <a:lnTo>
                    <a:pt x="12987" y="1992"/>
                  </a:lnTo>
                  <a:lnTo>
                    <a:pt x="12984" y="2001"/>
                  </a:lnTo>
                  <a:lnTo>
                    <a:pt x="12981" y="2007"/>
                  </a:lnTo>
                  <a:lnTo>
                    <a:pt x="12974" y="2011"/>
                  </a:lnTo>
                  <a:lnTo>
                    <a:pt x="12966" y="2012"/>
                  </a:lnTo>
                  <a:lnTo>
                    <a:pt x="12959" y="2011"/>
                  </a:lnTo>
                  <a:lnTo>
                    <a:pt x="12952" y="2007"/>
                  </a:lnTo>
                  <a:lnTo>
                    <a:pt x="12948" y="2001"/>
                  </a:lnTo>
                  <a:lnTo>
                    <a:pt x="12946" y="1992"/>
                  </a:lnTo>
                  <a:lnTo>
                    <a:pt x="12946" y="1879"/>
                  </a:lnTo>
                  <a:lnTo>
                    <a:pt x="12948" y="1872"/>
                  </a:lnTo>
                  <a:lnTo>
                    <a:pt x="12952" y="1865"/>
                  </a:lnTo>
                  <a:lnTo>
                    <a:pt x="12959" y="1861"/>
                  </a:lnTo>
                  <a:lnTo>
                    <a:pt x="12966" y="1860"/>
                  </a:lnTo>
                  <a:lnTo>
                    <a:pt x="12974" y="1861"/>
                  </a:lnTo>
                  <a:lnTo>
                    <a:pt x="12981" y="1865"/>
                  </a:lnTo>
                  <a:lnTo>
                    <a:pt x="12984" y="1872"/>
                  </a:lnTo>
                  <a:lnTo>
                    <a:pt x="12987" y="1879"/>
                  </a:lnTo>
                  <a:close/>
                  <a:moveTo>
                    <a:pt x="13776" y="1645"/>
                  </a:moveTo>
                  <a:lnTo>
                    <a:pt x="13776" y="1758"/>
                  </a:lnTo>
                  <a:lnTo>
                    <a:pt x="13774" y="1767"/>
                  </a:lnTo>
                  <a:lnTo>
                    <a:pt x="13769" y="1773"/>
                  </a:lnTo>
                  <a:lnTo>
                    <a:pt x="13763" y="1777"/>
                  </a:lnTo>
                  <a:lnTo>
                    <a:pt x="13756" y="1778"/>
                  </a:lnTo>
                  <a:lnTo>
                    <a:pt x="13749" y="1777"/>
                  </a:lnTo>
                  <a:lnTo>
                    <a:pt x="13742" y="1773"/>
                  </a:lnTo>
                  <a:lnTo>
                    <a:pt x="13737" y="1767"/>
                  </a:lnTo>
                  <a:lnTo>
                    <a:pt x="13736" y="1758"/>
                  </a:lnTo>
                  <a:lnTo>
                    <a:pt x="13736" y="1645"/>
                  </a:lnTo>
                  <a:lnTo>
                    <a:pt x="13737" y="1636"/>
                  </a:lnTo>
                  <a:lnTo>
                    <a:pt x="13742" y="1631"/>
                  </a:lnTo>
                  <a:lnTo>
                    <a:pt x="13749" y="1627"/>
                  </a:lnTo>
                  <a:lnTo>
                    <a:pt x="13756" y="1626"/>
                  </a:lnTo>
                  <a:lnTo>
                    <a:pt x="13763" y="1627"/>
                  </a:lnTo>
                  <a:lnTo>
                    <a:pt x="13769" y="1631"/>
                  </a:lnTo>
                  <a:lnTo>
                    <a:pt x="13774" y="1636"/>
                  </a:lnTo>
                  <a:lnTo>
                    <a:pt x="13776" y="1645"/>
                  </a:lnTo>
                  <a:close/>
                  <a:moveTo>
                    <a:pt x="13513" y="1645"/>
                  </a:moveTo>
                  <a:lnTo>
                    <a:pt x="13513" y="1758"/>
                  </a:lnTo>
                  <a:lnTo>
                    <a:pt x="13511" y="1767"/>
                  </a:lnTo>
                  <a:lnTo>
                    <a:pt x="13506" y="1773"/>
                  </a:lnTo>
                  <a:lnTo>
                    <a:pt x="13500" y="1777"/>
                  </a:lnTo>
                  <a:lnTo>
                    <a:pt x="13492" y="1778"/>
                  </a:lnTo>
                  <a:lnTo>
                    <a:pt x="13486" y="1777"/>
                  </a:lnTo>
                  <a:lnTo>
                    <a:pt x="13479" y="1773"/>
                  </a:lnTo>
                  <a:lnTo>
                    <a:pt x="13474" y="1767"/>
                  </a:lnTo>
                  <a:lnTo>
                    <a:pt x="13473" y="1758"/>
                  </a:lnTo>
                  <a:lnTo>
                    <a:pt x="13473" y="1645"/>
                  </a:lnTo>
                  <a:lnTo>
                    <a:pt x="13474" y="1636"/>
                  </a:lnTo>
                  <a:lnTo>
                    <a:pt x="13479" y="1631"/>
                  </a:lnTo>
                  <a:lnTo>
                    <a:pt x="13486" y="1627"/>
                  </a:lnTo>
                  <a:lnTo>
                    <a:pt x="13492" y="1626"/>
                  </a:lnTo>
                  <a:lnTo>
                    <a:pt x="13500" y="1627"/>
                  </a:lnTo>
                  <a:lnTo>
                    <a:pt x="13506" y="1631"/>
                  </a:lnTo>
                  <a:lnTo>
                    <a:pt x="13511" y="1636"/>
                  </a:lnTo>
                  <a:lnTo>
                    <a:pt x="13513" y="1645"/>
                  </a:lnTo>
                  <a:close/>
                  <a:moveTo>
                    <a:pt x="13250" y="1645"/>
                  </a:moveTo>
                  <a:lnTo>
                    <a:pt x="13250" y="1758"/>
                  </a:lnTo>
                  <a:lnTo>
                    <a:pt x="13247" y="1767"/>
                  </a:lnTo>
                  <a:lnTo>
                    <a:pt x="13243" y="1773"/>
                  </a:lnTo>
                  <a:lnTo>
                    <a:pt x="13237" y="1777"/>
                  </a:lnTo>
                  <a:lnTo>
                    <a:pt x="13229" y="1778"/>
                  </a:lnTo>
                  <a:lnTo>
                    <a:pt x="13222" y="1777"/>
                  </a:lnTo>
                  <a:lnTo>
                    <a:pt x="13215" y="1773"/>
                  </a:lnTo>
                  <a:lnTo>
                    <a:pt x="13211" y="1767"/>
                  </a:lnTo>
                  <a:lnTo>
                    <a:pt x="13210" y="1758"/>
                  </a:lnTo>
                  <a:lnTo>
                    <a:pt x="13210" y="1645"/>
                  </a:lnTo>
                  <a:lnTo>
                    <a:pt x="13211" y="1636"/>
                  </a:lnTo>
                  <a:lnTo>
                    <a:pt x="13215" y="1631"/>
                  </a:lnTo>
                  <a:lnTo>
                    <a:pt x="13222" y="1627"/>
                  </a:lnTo>
                  <a:lnTo>
                    <a:pt x="13229" y="1626"/>
                  </a:lnTo>
                  <a:lnTo>
                    <a:pt x="13237" y="1627"/>
                  </a:lnTo>
                  <a:lnTo>
                    <a:pt x="13243" y="1631"/>
                  </a:lnTo>
                  <a:lnTo>
                    <a:pt x="13247" y="1636"/>
                  </a:lnTo>
                  <a:lnTo>
                    <a:pt x="13250" y="1645"/>
                  </a:lnTo>
                  <a:close/>
                  <a:moveTo>
                    <a:pt x="12987" y="1645"/>
                  </a:moveTo>
                  <a:lnTo>
                    <a:pt x="12987" y="1758"/>
                  </a:lnTo>
                  <a:lnTo>
                    <a:pt x="12984" y="1767"/>
                  </a:lnTo>
                  <a:lnTo>
                    <a:pt x="12981" y="1773"/>
                  </a:lnTo>
                  <a:lnTo>
                    <a:pt x="12974" y="1777"/>
                  </a:lnTo>
                  <a:lnTo>
                    <a:pt x="12966" y="1778"/>
                  </a:lnTo>
                  <a:lnTo>
                    <a:pt x="12959" y="1777"/>
                  </a:lnTo>
                  <a:lnTo>
                    <a:pt x="12952" y="1773"/>
                  </a:lnTo>
                  <a:lnTo>
                    <a:pt x="12948" y="1767"/>
                  </a:lnTo>
                  <a:lnTo>
                    <a:pt x="12946" y="1758"/>
                  </a:lnTo>
                  <a:lnTo>
                    <a:pt x="12946" y="1645"/>
                  </a:lnTo>
                  <a:lnTo>
                    <a:pt x="12948" y="1636"/>
                  </a:lnTo>
                  <a:lnTo>
                    <a:pt x="12952" y="1631"/>
                  </a:lnTo>
                  <a:lnTo>
                    <a:pt x="12959" y="1627"/>
                  </a:lnTo>
                  <a:lnTo>
                    <a:pt x="12966" y="1626"/>
                  </a:lnTo>
                  <a:lnTo>
                    <a:pt x="12974" y="1627"/>
                  </a:lnTo>
                  <a:lnTo>
                    <a:pt x="12981" y="1631"/>
                  </a:lnTo>
                  <a:lnTo>
                    <a:pt x="12984" y="1636"/>
                  </a:lnTo>
                  <a:lnTo>
                    <a:pt x="12987" y="1645"/>
                  </a:lnTo>
                  <a:close/>
                  <a:moveTo>
                    <a:pt x="13776" y="1411"/>
                  </a:moveTo>
                  <a:lnTo>
                    <a:pt x="13776" y="1524"/>
                  </a:lnTo>
                  <a:lnTo>
                    <a:pt x="13774" y="1533"/>
                  </a:lnTo>
                  <a:lnTo>
                    <a:pt x="13769" y="1539"/>
                  </a:lnTo>
                  <a:lnTo>
                    <a:pt x="13763" y="1543"/>
                  </a:lnTo>
                  <a:lnTo>
                    <a:pt x="13756" y="1544"/>
                  </a:lnTo>
                  <a:lnTo>
                    <a:pt x="13749" y="1543"/>
                  </a:lnTo>
                  <a:lnTo>
                    <a:pt x="13742" y="1539"/>
                  </a:lnTo>
                  <a:lnTo>
                    <a:pt x="13737" y="1533"/>
                  </a:lnTo>
                  <a:lnTo>
                    <a:pt x="13736" y="1524"/>
                  </a:lnTo>
                  <a:lnTo>
                    <a:pt x="13736" y="1411"/>
                  </a:lnTo>
                  <a:lnTo>
                    <a:pt x="13737" y="1402"/>
                  </a:lnTo>
                  <a:lnTo>
                    <a:pt x="13742" y="1397"/>
                  </a:lnTo>
                  <a:lnTo>
                    <a:pt x="13749" y="1393"/>
                  </a:lnTo>
                  <a:lnTo>
                    <a:pt x="13756" y="1392"/>
                  </a:lnTo>
                  <a:lnTo>
                    <a:pt x="13763" y="1393"/>
                  </a:lnTo>
                  <a:lnTo>
                    <a:pt x="13769" y="1397"/>
                  </a:lnTo>
                  <a:lnTo>
                    <a:pt x="13774" y="1402"/>
                  </a:lnTo>
                  <a:lnTo>
                    <a:pt x="13776" y="1411"/>
                  </a:lnTo>
                  <a:close/>
                  <a:moveTo>
                    <a:pt x="13513" y="1411"/>
                  </a:moveTo>
                  <a:lnTo>
                    <a:pt x="13513" y="1524"/>
                  </a:lnTo>
                  <a:lnTo>
                    <a:pt x="13511" y="1533"/>
                  </a:lnTo>
                  <a:lnTo>
                    <a:pt x="13506" y="1539"/>
                  </a:lnTo>
                  <a:lnTo>
                    <a:pt x="13500" y="1543"/>
                  </a:lnTo>
                  <a:lnTo>
                    <a:pt x="13492" y="1544"/>
                  </a:lnTo>
                  <a:lnTo>
                    <a:pt x="13486" y="1543"/>
                  </a:lnTo>
                  <a:lnTo>
                    <a:pt x="13479" y="1539"/>
                  </a:lnTo>
                  <a:lnTo>
                    <a:pt x="13474" y="1533"/>
                  </a:lnTo>
                  <a:lnTo>
                    <a:pt x="13473" y="1524"/>
                  </a:lnTo>
                  <a:lnTo>
                    <a:pt x="13473" y="1411"/>
                  </a:lnTo>
                  <a:lnTo>
                    <a:pt x="13474" y="1402"/>
                  </a:lnTo>
                  <a:lnTo>
                    <a:pt x="13479" y="1397"/>
                  </a:lnTo>
                  <a:lnTo>
                    <a:pt x="13486" y="1393"/>
                  </a:lnTo>
                  <a:lnTo>
                    <a:pt x="13492" y="1392"/>
                  </a:lnTo>
                  <a:lnTo>
                    <a:pt x="13500" y="1393"/>
                  </a:lnTo>
                  <a:lnTo>
                    <a:pt x="13506" y="1397"/>
                  </a:lnTo>
                  <a:lnTo>
                    <a:pt x="13511" y="1402"/>
                  </a:lnTo>
                  <a:lnTo>
                    <a:pt x="13513" y="1411"/>
                  </a:lnTo>
                  <a:close/>
                  <a:moveTo>
                    <a:pt x="13250" y="1411"/>
                  </a:moveTo>
                  <a:lnTo>
                    <a:pt x="13250" y="1524"/>
                  </a:lnTo>
                  <a:lnTo>
                    <a:pt x="13247" y="1533"/>
                  </a:lnTo>
                  <a:lnTo>
                    <a:pt x="13243" y="1539"/>
                  </a:lnTo>
                  <a:lnTo>
                    <a:pt x="13237" y="1543"/>
                  </a:lnTo>
                  <a:lnTo>
                    <a:pt x="13229" y="1544"/>
                  </a:lnTo>
                  <a:lnTo>
                    <a:pt x="13222" y="1543"/>
                  </a:lnTo>
                  <a:lnTo>
                    <a:pt x="13215" y="1539"/>
                  </a:lnTo>
                  <a:lnTo>
                    <a:pt x="13211" y="1533"/>
                  </a:lnTo>
                  <a:lnTo>
                    <a:pt x="13210" y="1524"/>
                  </a:lnTo>
                  <a:lnTo>
                    <a:pt x="13210" y="1411"/>
                  </a:lnTo>
                  <a:lnTo>
                    <a:pt x="13211" y="1402"/>
                  </a:lnTo>
                  <a:lnTo>
                    <a:pt x="13215" y="1397"/>
                  </a:lnTo>
                  <a:lnTo>
                    <a:pt x="13222" y="1393"/>
                  </a:lnTo>
                  <a:lnTo>
                    <a:pt x="13229" y="1392"/>
                  </a:lnTo>
                  <a:lnTo>
                    <a:pt x="13237" y="1393"/>
                  </a:lnTo>
                  <a:lnTo>
                    <a:pt x="13243" y="1397"/>
                  </a:lnTo>
                  <a:lnTo>
                    <a:pt x="13247" y="1402"/>
                  </a:lnTo>
                  <a:lnTo>
                    <a:pt x="13250" y="1411"/>
                  </a:lnTo>
                  <a:close/>
                  <a:moveTo>
                    <a:pt x="12987" y="1411"/>
                  </a:moveTo>
                  <a:lnTo>
                    <a:pt x="12987" y="1524"/>
                  </a:lnTo>
                  <a:lnTo>
                    <a:pt x="12984" y="1533"/>
                  </a:lnTo>
                  <a:lnTo>
                    <a:pt x="12981" y="1539"/>
                  </a:lnTo>
                  <a:lnTo>
                    <a:pt x="12974" y="1543"/>
                  </a:lnTo>
                  <a:lnTo>
                    <a:pt x="12966" y="1544"/>
                  </a:lnTo>
                  <a:lnTo>
                    <a:pt x="12959" y="1543"/>
                  </a:lnTo>
                  <a:lnTo>
                    <a:pt x="12952" y="1539"/>
                  </a:lnTo>
                  <a:lnTo>
                    <a:pt x="12948" y="1533"/>
                  </a:lnTo>
                  <a:lnTo>
                    <a:pt x="12946" y="1524"/>
                  </a:lnTo>
                  <a:lnTo>
                    <a:pt x="12946" y="1411"/>
                  </a:lnTo>
                  <a:lnTo>
                    <a:pt x="12948" y="1402"/>
                  </a:lnTo>
                  <a:lnTo>
                    <a:pt x="12952" y="1397"/>
                  </a:lnTo>
                  <a:lnTo>
                    <a:pt x="12959" y="1393"/>
                  </a:lnTo>
                  <a:lnTo>
                    <a:pt x="12966" y="1392"/>
                  </a:lnTo>
                  <a:lnTo>
                    <a:pt x="12974" y="1393"/>
                  </a:lnTo>
                  <a:lnTo>
                    <a:pt x="12981" y="1397"/>
                  </a:lnTo>
                  <a:lnTo>
                    <a:pt x="12984" y="1402"/>
                  </a:lnTo>
                  <a:lnTo>
                    <a:pt x="12987" y="1411"/>
                  </a:lnTo>
                  <a:close/>
                  <a:moveTo>
                    <a:pt x="13776" y="1177"/>
                  </a:moveTo>
                  <a:lnTo>
                    <a:pt x="13776" y="1290"/>
                  </a:lnTo>
                  <a:lnTo>
                    <a:pt x="13774" y="1299"/>
                  </a:lnTo>
                  <a:lnTo>
                    <a:pt x="13769" y="1305"/>
                  </a:lnTo>
                  <a:lnTo>
                    <a:pt x="13763" y="1309"/>
                  </a:lnTo>
                  <a:lnTo>
                    <a:pt x="13756" y="1309"/>
                  </a:lnTo>
                  <a:lnTo>
                    <a:pt x="13749" y="1309"/>
                  </a:lnTo>
                  <a:lnTo>
                    <a:pt x="13742" y="1305"/>
                  </a:lnTo>
                  <a:lnTo>
                    <a:pt x="13737" y="1299"/>
                  </a:lnTo>
                  <a:lnTo>
                    <a:pt x="13736" y="1290"/>
                  </a:lnTo>
                  <a:lnTo>
                    <a:pt x="13736" y="1177"/>
                  </a:lnTo>
                  <a:lnTo>
                    <a:pt x="13737" y="1168"/>
                  </a:lnTo>
                  <a:lnTo>
                    <a:pt x="13742" y="1163"/>
                  </a:lnTo>
                  <a:lnTo>
                    <a:pt x="13749" y="1159"/>
                  </a:lnTo>
                  <a:lnTo>
                    <a:pt x="13756" y="1158"/>
                  </a:lnTo>
                  <a:lnTo>
                    <a:pt x="13763" y="1159"/>
                  </a:lnTo>
                  <a:lnTo>
                    <a:pt x="13769" y="1163"/>
                  </a:lnTo>
                  <a:lnTo>
                    <a:pt x="13774" y="1168"/>
                  </a:lnTo>
                  <a:lnTo>
                    <a:pt x="13776" y="1177"/>
                  </a:lnTo>
                  <a:close/>
                  <a:moveTo>
                    <a:pt x="13513" y="1177"/>
                  </a:moveTo>
                  <a:lnTo>
                    <a:pt x="13513" y="1290"/>
                  </a:lnTo>
                  <a:lnTo>
                    <a:pt x="13511" y="1299"/>
                  </a:lnTo>
                  <a:lnTo>
                    <a:pt x="13506" y="1305"/>
                  </a:lnTo>
                  <a:lnTo>
                    <a:pt x="13500" y="1309"/>
                  </a:lnTo>
                  <a:lnTo>
                    <a:pt x="13492" y="1309"/>
                  </a:lnTo>
                  <a:lnTo>
                    <a:pt x="13486" y="1309"/>
                  </a:lnTo>
                  <a:lnTo>
                    <a:pt x="13479" y="1305"/>
                  </a:lnTo>
                  <a:lnTo>
                    <a:pt x="13474" y="1299"/>
                  </a:lnTo>
                  <a:lnTo>
                    <a:pt x="13473" y="1290"/>
                  </a:lnTo>
                  <a:lnTo>
                    <a:pt x="13473" y="1177"/>
                  </a:lnTo>
                  <a:lnTo>
                    <a:pt x="13474" y="1168"/>
                  </a:lnTo>
                  <a:lnTo>
                    <a:pt x="13479" y="1163"/>
                  </a:lnTo>
                  <a:lnTo>
                    <a:pt x="13486" y="1159"/>
                  </a:lnTo>
                  <a:lnTo>
                    <a:pt x="13492" y="1158"/>
                  </a:lnTo>
                  <a:lnTo>
                    <a:pt x="13500" y="1159"/>
                  </a:lnTo>
                  <a:lnTo>
                    <a:pt x="13506" y="1163"/>
                  </a:lnTo>
                  <a:lnTo>
                    <a:pt x="13511" y="1168"/>
                  </a:lnTo>
                  <a:lnTo>
                    <a:pt x="13513" y="1177"/>
                  </a:lnTo>
                  <a:close/>
                  <a:moveTo>
                    <a:pt x="13250" y="1177"/>
                  </a:moveTo>
                  <a:lnTo>
                    <a:pt x="13250" y="1290"/>
                  </a:lnTo>
                  <a:lnTo>
                    <a:pt x="13247" y="1299"/>
                  </a:lnTo>
                  <a:lnTo>
                    <a:pt x="13243" y="1305"/>
                  </a:lnTo>
                  <a:lnTo>
                    <a:pt x="13237" y="1309"/>
                  </a:lnTo>
                  <a:lnTo>
                    <a:pt x="13229" y="1309"/>
                  </a:lnTo>
                  <a:lnTo>
                    <a:pt x="13222" y="1309"/>
                  </a:lnTo>
                  <a:lnTo>
                    <a:pt x="13215" y="1305"/>
                  </a:lnTo>
                  <a:lnTo>
                    <a:pt x="13211" y="1299"/>
                  </a:lnTo>
                  <a:lnTo>
                    <a:pt x="13210" y="1290"/>
                  </a:lnTo>
                  <a:lnTo>
                    <a:pt x="13210" y="1177"/>
                  </a:lnTo>
                  <a:lnTo>
                    <a:pt x="13211" y="1168"/>
                  </a:lnTo>
                  <a:lnTo>
                    <a:pt x="13215" y="1163"/>
                  </a:lnTo>
                  <a:lnTo>
                    <a:pt x="13222" y="1159"/>
                  </a:lnTo>
                  <a:lnTo>
                    <a:pt x="13229" y="1158"/>
                  </a:lnTo>
                  <a:lnTo>
                    <a:pt x="13237" y="1159"/>
                  </a:lnTo>
                  <a:lnTo>
                    <a:pt x="13243" y="1163"/>
                  </a:lnTo>
                  <a:lnTo>
                    <a:pt x="13247" y="1168"/>
                  </a:lnTo>
                  <a:lnTo>
                    <a:pt x="13250" y="1177"/>
                  </a:lnTo>
                  <a:close/>
                  <a:moveTo>
                    <a:pt x="12987" y="1177"/>
                  </a:moveTo>
                  <a:lnTo>
                    <a:pt x="12987" y="1290"/>
                  </a:lnTo>
                  <a:lnTo>
                    <a:pt x="12984" y="1299"/>
                  </a:lnTo>
                  <a:lnTo>
                    <a:pt x="12981" y="1305"/>
                  </a:lnTo>
                  <a:lnTo>
                    <a:pt x="12974" y="1309"/>
                  </a:lnTo>
                  <a:lnTo>
                    <a:pt x="12966" y="1309"/>
                  </a:lnTo>
                  <a:lnTo>
                    <a:pt x="12959" y="1309"/>
                  </a:lnTo>
                  <a:lnTo>
                    <a:pt x="12952" y="1305"/>
                  </a:lnTo>
                  <a:lnTo>
                    <a:pt x="12948" y="1299"/>
                  </a:lnTo>
                  <a:lnTo>
                    <a:pt x="12946" y="1290"/>
                  </a:lnTo>
                  <a:lnTo>
                    <a:pt x="12946" y="1177"/>
                  </a:lnTo>
                  <a:lnTo>
                    <a:pt x="12948" y="1168"/>
                  </a:lnTo>
                  <a:lnTo>
                    <a:pt x="12952" y="1163"/>
                  </a:lnTo>
                  <a:lnTo>
                    <a:pt x="12959" y="1159"/>
                  </a:lnTo>
                  <a:lnTo>
                    <a:pt x="12966" y="1158"/>
                  </a:lnTo>
                  <a:lnTo>
                    <a:pt x="12974" y="1159"/>
                  </a:lnTo>
                  <a:lnTo>
                    <a:pt x="12981" y="1163"/>
                  </a:lnTo>
                  <a:lnTo>
                    <a:pt x="12984" y="1168"/>
                  </a:lnTo>
                  <a:lnTo>
                    <a:pt x="12987" y="1177"/>
                  </a:lnTo>
                  <a:close/>
                  <a:moveTo>
                    <a:pt x="13538" y="3927"/>
                  </a:moveTo>
                  <a:lnTo>
                    <a:pt x="13538" y="4038"/>
                  </a:lnTo>
                  <a:lnTo>
                    <a:pt x="13536" y="4047"/>
                  </a:lnTo>
                  <a:lnTo>
                    <a:pt x="13532" y="4053"/>
                  </a:lnTo>
                  <a:lnTo>
                    <a:pt x="13525" y="4057"/>
                  </a:lnTo>
                  <a:lnTo>
                    <a:pt x="13518" y="4058"/>
                  </a:lnTo>
                  <a:lnTo>
                    <a:pt x="13510" y="4057"/>
                  </a:lnTo>
                  <a:lnTo>
                    <a:pt x="13504" y="4053"/>
                  </a:lnTo>
                  <a:lnTo>
                    <a:pt x="13500" y="4047"/>
                  </a:lnTo>
                  <a:lnTo>
                    <a:pt x="13497" y="4038"/>
                  </a:lnTo>
                  <a:lnTo>
                    <a:pt x="13497" y="3927"/>
                  </a:lnTo>
                  <a:lnTo>
                    <a:pt x="13500" y="3918"/>
                  </a:lnTo>
                  <a:lnTo>
                    <a:pt x="13504" y="3911"/>
                  </a:lnTo>
                  <a:lnTo>
                    <a:pt x="13510" y="3907"/>
                  </a:lnTo>
                  <a:lnTo>
                    <a:pt x="13518" y="3906"/>
                  </a:lnTo>
                  <a:lnTo>
                    <a:pt x="13525" y="3907"/>
                  </a:lnTo>
                  <a:lnTo>
                    <a:pt x="13532" y="3911"/>
                  </a:lnTo>
                  <a:lnTo>
                    <a:pt x="13536" y="3918"/>
                  </a:lnTo>
                  <a:lnTo>
                    <a:pt x="13538" y="3927"/>
                  </a:lnTo>
                  <a:close/>
                  <a:moveTo>
                    <a:pt x="13274" y="3927"/>
                  </a:moveTo>
                  <a:lnTo>
                    <a:pt x="13274" y="4038"/>
                  </a:lnTo>
                  <a:lnTo>
                    <a:pt x="13273" y="4047"/>
                  </a:lnTo>
                  <a:lnTo>
                    <a:pt x="13269" y="4053"/>
                  </a:lnTo>
                  <a:lnTo>
                    <a:pt x="13263" y="4057"/>
                  </a:lnTo>
                  <a:lnTo>
                    <a:pt x="13255" y="4058"/>
                  </a:lnTo>
                  <a:lnTo>
                    <a:pt x="13247" y="4057"/>
                  </a:lnTo>
                  <a:lnTo>
                    <a:pt x="13241" y="4053"/>
                  </a:lnTo>
                  <a:lnTo>
                    <a:pt x="13237" y="4047"/>
                  </a:lnTo>
                  <a:lnTo>
                    <a:pt x="13234" y="4038"/>
                  </a:lnTo>
                  <a:lnTo>
                    <a:pt x="13234" y="3927"/>
                  </a:lnTo>
                  <a:lnTo>
                    <a:pt x="13237" y="3918"/>
                  </a:lnTo>
                  <a:lnTo>
                    <a:pt x="13241" y="3911"/>
                  </a:lnTo>
                  <a:lnTo>
                    <a:pt x="13247" y="3907"/>
                  </a:lnTo>
                  <a:lnTo>
                    <a:pt x="13255" y="3906"/>
                  </a:lnTo>
                  <a:lnTo>
                    <a:pt x="13263" y="3907"/>
                  </a:lnTo>
                  <a:lnTo>
                    <a:pt x="13269" y="3911"/>
                  </a:lnTo>
                  <a:lnTo>
                    <a:pt x="13273" y="3918"/>
                  </a:lnTo>
                  <a:lnTo>
                    <a:pt x="13274" y="3927"/>
                  </a:lnTo>
                  <a:close/>
                  <a:moveTo>
                    <a:pt x="13011" y="3927"/>
                  </a:moveTo>
                  <a:lnTo>
                    <a:pt x="13011" y="4038"/>
                  </a:lnTo>
                  <a:lnTo>
                    <a:pt x="13010" y="4047"/>
                  </a:lnTo>
                  <a:lnTo>
                    <a:pt x="13005" y="4053"/>
                  </a:lnTo>
                  <a:lnTo>
                    <a:pt x="12998" y="4057"/>
                  </a:lnTo>
                  <a:lnTo>
                    <a:pt x="12992" y="4058"/>
                  </a:lnTo>
                  <a:lnTo>
                    <a:pt x="12984" y="4057"/>
                  </a:lnTo>
                  <a:lnTo>
                    <a:pt x="12978" y="4053"/>
                  </a:lnTo>
                  <a:lnTo>
                    <a:pt x="12973" y="4047"/>
                  </a:lnTo>
                  <a:lnTo>
                    <a:pt x="12972" y="4038"/>
                  </a:lnTo>
                  <a:lnTo>
                    <a:pt x="12972" y="3927"/>
                  </a:lnTo>
                  <a:lnTo>
                    <a:pt x="12973" y="3918"/>
                  </a:lnTo>
                  <a:lnTo>
                    <a:pt x="12978" y="3911"/>
                  </a:lnTo>
                  <a:lnTo>
                    <a:pt x="12984" y="3907"/>
                  </a:lnTo>
                  <a:lnTo>
                    <a:pt x="12992" y="3906"/>
                  </a:lnTo>
                  <a:lnTo>
                    <a:pt x="12998" y="3907"/>
                  </a:lnTo>
                  <a:lnTo>
                    <a:pt x="13005" y="3911"/>
                  </a:lnTo>
                  <a:lnTo>
                    <a:pt x="13010" y="3918"/>
                  </a:lnTo>
                  <a:lnTo>
                    <a:pt x="13011" y="3927"/>
                  </a:lnTo>
                  <a:close/>
                  <a:moveTo>
                    <a:pt x="12748" y="3927"/>
                  </a:moveTo>
                  <a:lnTo>
                    <a:pt x="12748" y="4038"/>
                  </a:lnTo>
                  <a:lnTo>
                    <a:pt x="12747" y="4047"/>
                  </a:lnTo>
                  <a:lnTo>
                    <a:pt x="12742" y="4053"/>
                  </a:lnTo>
                  <a:lnTo>
                    <a:pt x="12736" y="4057"/>
                  </a:lnTo>
                  <a:lnTo>
                    <a:pt x="12729" y="4058"/>
                  </a:lnTo>
                  <a:lnTo>
                    <a:pt x="12721" y="4057"/>
                  </a:lnTo>
                  <a:lnTo>
                    <a:pt x="12715" y="4053"/>
                  </a:lnTo>
                  <a:lnTo>
                    <a:pt x="12710" y="4047"/>
                  </a:lnTo>
                  <a:lnTo>
                    <a:pt x="12709" y="4038"/>
                  </a:lnTo>
                  <a:lnTo>
                    <a:pt x="12709" y="3927"/>
                  </a:lnTo>
                  <a:lnTo>
                    <a:pt x="12710" y="3918"/>
                  </a:lnTo>
                  <a:lnTo>
                    <a:pt x="12715" y="3911"/>
                  </a:lnTo>
                  <a:lnTo>
                    <a:pt x="12721" y="3907"/>
                  </a:lnTo>
                  <a:lnTo>
                    <a:pt x="12729" y="3906"/>
                  </a:lnTo>
                  <a:lnTo>
                    <a:pt x="12736" y="3907"/>
                  </a:lnTo>
                  <a:lnTo>
                    <a:pt x="12742" y="3911"/>
                  </a:lnTo>
                  <a:lnTo>
                    <a:pt x="12747" y="3918"/>
                  </a:lnTo>
                  <a:lnTo>
                    <a:pt x="12748" y="3927"/>
                  </a:lnTo>
                  <a:close/>
                  <a:moveTo>
                    <a:pt x="13538" y="3681"/>
                  </a:moveTo>
                  <a:lnTo>
                    <a:pt x="13538" y="3792"/>
                  </a:lnTo>
                  <a:lnTo>
                    <a:pt x="13536" y="3801"/>
                  </a:lnTo>
                  <a:lnTo>
                    <a:pt x="13532" y="3808"/>
                  </a:lnTo>
                  <a:lnTo>
                    <a:pt x="13525" y="3811"/>
                  </a:lnTo>
                  <a:lnTo>
                    <a:pt x="13518" y="3813"/>
                  </a:lnTo>
                  <a:lnTo>
                    <a:pt x="13510" y="3811"/>
                  </a:lnTo>
                  <a:lnTo>
                    <a:pt x="13504" y="3808"/>
                  </a:lnTo>
                  <a:lnTo>
                    <a:pt x="13500" y="3801"/>
                  </a:lnTo>
                  <a:lnTo>
                    <a:pt x="13497" y="3792"/>
                  </a:lnTo>
                  <a:lnTo>
                    <a:pt x="13497" y="3681"/>
                  </a:lnTo>
                  <a:lnTo>
                    <a:pt x="13500" y="3672"/>
                  </a:lnTo>
                  <a:lnTo>
                    <a:pt x="13504" y="3666"/>
                  </a:lnTo>
                  <a:lnTo>
                    <a:pt x="13510" y="3662"/>
                  </a:lnTo>
                  <a:lnTo>
                    <a:pt x="13518" y="3661"/>
                  </a:lnTo>
                  <a:lnTo>
                    <a:pt x="13525" y="3662"/>
                  </a:lnTo>
                  <a:lnTo>
                    <a:pt x="13532" y="3666"/>
                  </a:lnTo>
                  <a:lnTo>
                    <a:pt x="13536" y="3672"/>
                  </a:lnTo>
                  <a:lnTo>
                    <a:pt x="13538" y="3681"/>
                  </a:lnTo>
                  <a:close/>
                  <a:moveTo>
                    <a:pt x="13274" y="3681"/>
                  </a:moveTo>
                  <a:lnTo>
                    <a:pt x="13274" y="3792"/>
                  </a:lnTo>
                  <a:lnTo>
                    <a:pt x="13273" y="3801"/>
                  </a:lnTo>
                  <a:lnTo>
                    <a:pt x="13269" y="3808"/>
                  </a:lnTo>
                  <a:lnTo>
                    <a:pt x="13263" y="3811"/>
                  </a:lnTo>
                  <a:lnTo>
                    <a:pt x="13255" y="3813"/>
                  </a:lnTo>
                  <a:lnTo>
                    <a:pt x="13247" y="3811"/>
                  </a:lnTo>
                  <a:lnTo>
                    <a:pt x="13241" y="3808"/>
                  </a:lnTo>
                  <a:lnTo>
                    <a:pt x="13237" y="3801"/>
                  </a:lnTo>
                  <a:lnTo>
                    <a:pt x="13234" y="3792"/>
                  </a:lnTo>
                  <a:lnTo>
                    <a:pt x="13234" y="3681"/>
                  </a:lnTo>
                  <a:lnTo>
                    <a:pt x="13237" y="3672"/>
                  </a:lnTo>
                  <a:lnTo>
                    <a:pt x="13241" y="3666"/>
                  </a:lnTo>
                  <a:lnTo>
                    <a:pt x="13247" y="3662"/>
                  </a:lnTo>
                  <a:lnTo>
                    <a:pt x="13255" y="3661"/>
                  </a:lnTo>
                  <a:lnTo>
                    <a:pt x="13263" y="3662"/>
                  </a:lnTo>
                  <a:lnTo>
                    <a:pt x="13269" y="3666"/>
                  </a:lnTo>
                  <a:lnTo>
                    <a:pt x="13273" y="3672"/>
                  </a:lnTo>
                  <a:lnTo>
                    <a:pt x="13274" y="3681"/>
                  </a:lnTo>
                  <a:close/>
                  <a:moveTo>
                    <a:pt x="13011" y="3681"/>
                  </a:moveTo>
                  <a:lnTo>
                    <a:pt x="13011" y="3792"/>
                  </a:lnTo>
                  <a:lnTo>
                    <a:pt x="13010" y="3801"/>
                  </a:lnTo>
                  <a:lnTo>
                    <a:pt x="13005" y="3808"/>
                  </a:lnTo>
                  <a:lnTo>
                    <a:pt x="12998" y="3811"/>
                  </a:lnTo>
                  <a:lnTo>
                    <a:pt x="12992" y="3813"/>
                  </a:lnTo>
                  <a:lnTo>
                    <a:pt x="12984" y="3811"/>
                  </a:lnTo>
                  <a:lnTo>
                    <a:pt x="12978" y="3808"/>
                  </a:lnTo>
                  <a:lnTo>
                    <a:pt x="12973" y="3801"/>
                  </a:lnTo>
                  <a:lnTo>
                    <a:pt x="12972" y="3792"/>
                  </a:lnTo>
                  <a:lnTo>
                    <a:pt x="12972" y="3681"/>
                  </a:lnTo>
                  <a:lnTo>
                    <a:pt x="12973" y="3672"/>
                  </a:lnTo>
                  <a:lnTo>
                    <a:pt x="12978" y="3666"/>
                  </a:lnTo>
                  <a:lnTo>
                    <a:pt x="12984" y="3662"/>
                  </a:lnTo>
                  <a:lnTo>
                    <a:pt x="12992" y="3661"/>
                  </a:lnTo>
                  <a:lnTo>
                    <a:pt x="12998" y="3662"/>
                  </a:lnTo>
                  <a:lnTo>
                    <a:pt x="13005" y="3666"/>
                  </a:lnTo>
                  <a:lnTo>
                    <a:pt x="13010" y="3672"/>
                  </a:lnTo>
                  <a:lnTo>
                    <a:pt x="13011" y="3681"/>
                  </a:lnTo>
                  <a:close/>
                  <a:moveTo>
                    <a:pt x="12748" y="3681"/>
                  </a:moveTo>
                  <a:lnTo>
                    <a:pt x="12748" y="3792"/>
                  </a:lnTo>
                  <a:lnTo>
                    <a:pt x="12747" y="3801"/>
                  </a:lnTo>
                  <a:lnTo>
                    <a:pt x="12742" y="3808"/>
                  </a:lnTo>
                  <a:lnTo>
                    <a:pt x="12736" y="3811"/>
                  </a:lnTo>
                  <a:lnTo>
                    <a:pt x="12729" y="3813"/>
                  </a:lnTo>
                  <a:lnTo>
                    <a:pt x="12721" y="3811"/>
                  </a:lnTo>
                  <a:lnTo>
                    <a:pt x="12715" y="3808"/>
                  </a:lnTo>
                  <a:lnTo>
                    <a:pt x="12710" y="3801"/>
                  </a:lnTo>
                  <a:lnTo>
                    <a:pt x="12709" y="3792"/>
                  </a:lnTo>
                  <a:lnTo>
                    <a:pt x="12709" y="3681"/>
                  </a:lnTo>
                  <a:lnTo>
                    <a:pt x="12710" y="3672"/>
                  </a:lnTo>
                  <a:lnTo>
                    <a:pt x="12715" y="3666"/>
                  </a:lnTo>
                  <a:lnTo>
                    <a:pt x="12721" y="3662"/>
                  </a:lnTo>
                  <a:lnTo>
                    <a:pt x="12729" y="3661"/>
                  </a:lnTo>
                  <a:lnTo>
                    <a:pt x="12736" y="3662"/>
                  </a:lnTo>
                  <a:lnTo>
                    <a:pt x="12742" y="3666"/>
                  </a:lnTo>
                  <a:lnTo>
                    <a:pt x="12747" y="3672"/>
                  </a:lnTo>
                  <a:lnTo>
                    <a:pt x="12748" y="3681"/>
                  </a:lnTo>
                  <a:close/>
                  <a:moveTo>
                    <a:pt x="13538" y="3436"/>
                  </a:moveTo>
                  <a:lnTo>
                    <a:pt x="13538" y="3547"/>
                  </a:lnTo>
                  <a:lnTo>
                    <a:pt x="13536" y="3556"/>
                  </a:lnTo>
                  <a:lnTo>
                    <a:pt x="13532" y="3562"/>
                  </a:lnTo>
                  <a:lnTo>
                    <a:pt x="13525" y="3566"/>
                  </a:lnTo>
                  <a:lnTo>
                    <a:pt x="13518" y="3567"/>
                  </a:lnTo>
                  <a:lnTo>
                    <a:pt x="13510" y="3566"/>
                  </a:lnTo>
                  <a:lnTo>
                    <a:pt x="13504" y="3562"/>
                  </a:lnTo>
                  <a:lnTo>
                    <a:pt x="13500" y="3556"/>
                  </a:lnTo>
                  <a:lnTo>
                    <a:pt x="13497" y="3547"/>
                  </a:lnTo>
                  <a:lnTo>
                    <a:pt x="13497" y="3436"/>
                  </a:lnTo>
                  <a:lnTo>
                    <a:pt x="13500" y="3427"/>
                  </a:lnTo>
                  <a:lnTo>
                    <a:pt x="13504" y="3420"/>
                  </a:lnTo>
                  <a:lnTo>
                    <a:pt x="13510" y="3416"/>
                  </a:lnTo>
                  <a:lnTo>
                    <a:pt x="13518" y="3415"/>
                  </a:lnTo>
                  <a:lnTo>
                    <a:pt x="13525" y="3416"/>
                  </a:lnTo>
                  <a:lnTo>
                    <a:pt x="13532" y="3420"/>
                  </a:lnTo>
                  <a:lnTo>
                    <a:pt x="13536" y="3427"/>
                  </a:lnTo>
                  <a:lnTo>
                    <a:pt x="13538" y="3436"/>
                  </a:lnTo>
                  <a:close/>
                  <a:moveTo>
                    <a:pt x="13274" y="3436"/>
                  </a:moveTo>
                  <a:lnTo>
                    <a:pt x="13274" y="3547"/>
                  </a:lnTo>
                  <a:lnTo>
                    <a:pt x="13273" y="3556"/>
                  </a:lnTo>
                  <a:lnTo>
                    <a:pt x="13269" y="3562"/>
                  </a:lnTo>
                  <a:lnTo>
                    <a:pt x="13263" y="3566"/>
                  </a:lnTo>
                  <a:lnTo>
                    <a:pt x="13255" y="3567"/>
                  </a:lnTo>
                  <a:lnTo>
                    <a:pt x="13247" y="3566"/>
                  </a:lnTo>
                  <a:lnTo>
                    <a:pt x="13241" y="3562"/>
                  </a:lnTo>
                  <a:lnTo>
                    <a:pt x="13237" y="3556"/>
                  </a:lnTo>
                  <a:lnTo>
                    <a:pt x="13234" y="3547"/>
                  </a:lnTo>
                  <a:lnTo>
                    <a:pt x="13234" y="3436"/>
                  </a:lnTo>
                  <a:lnTo>
                    <a:pt x="13237" y="3427"/>
                  </a:lnTo>
                  <a:lnTo>
                    <a:pt x="13241" y="3420"/>
                  </a:lnTo>
                  <a:lnTo>
                    <a:pt x="13247" y="3416"/>
                  </a:lnTo>
                  <a:lnTo>
                    <a:pt x="13255" y="3415"/>
                  </a:lnTo>
                  <a:lnTo>
                    <a:pt x="13263" y="3416"/>
                  </a:lnTo>
                  <a:lnTo>
                    <a:pt x="13269" y="3420"/>
                  </a:lnTo>
                  <a:lnTo>
                    <a:pt x="13273" y="3427"/>
                  </a:lnTo>
                  <a:lnTo>
                    <a:pt x="13274" y="3436"/>
                  </a:lnTo>
                  <a:close/>
                  <a:moveTo>
                    <a:pt x="13011" y="3436"/>
                  </a:moveTo>
                  <a:lnTo>
                    <a:pt x="13011" y="3547"/>
                  </a:lnTo>
                  <a:lnTo>
                    <a:pt x="13010" y="3556"/>
                  </a:lnTo>
                  <a:lnTo>
                    <a:pt x="13005" y="3562"/>
                  </a:lnTo>
                  <a:lnTo>
                    <a:pt x="12998" y="3566"/>
                  </a:lnTo>
                  <a:lnTo>
                    <a:pt x="12992" y="3567"/>
                  </a:lnTo>
                  <a:lnTo>
                    <a:pt x="12984" y="3566"/>
                  </a:lnTo>
                  <a:lnTo>
                    <a:pt x="12978" y="3562"/>
                  </a:lnTo>
                  <a:lnTo>
                    <a:pt x="12973" y="3556"/>
                  </a:lnTo>
                  <a:lnTo>
                    <a:pt x="12972" y="3547"/>
                  </a:lnTo>
                  <a:lnTo>
                    <a:pt x="12972" y="3436"/>
                  </a:lnTo>
                  <a:lnTo>
                    <a:pt x="12973" y="3427"/>
                  </a:lnTo>
                  <a:lnTo>
                    <a:pt x="12978" y="3420"/>
                  </a:lnTo>
                  <a:lnTo>
                    <a:pt x="12984" y="3416"/>
                  </a:lnTo>
                  <a:lnTo>
                    <a:pt x="12992" y="3415"/>
                  </a:lnTo>
                  <a:lnTo>
                    <a:pt x="12998" y="3416"/>
                  </a:lnTo>
                  <a:lnTo>
                    <a:pt x="13005" y="3420"/>
                  </a:lnTo>
                  <a:lnTo>
                    <a:pt x="13010" y="3427"/>
                  </a:lnTo>
                  <a:lnTo>
                    <a:pt x="13011" y="3436"/>
                  </a:lnTo>
                  <a:close/>
                  <a:moveTo>
                    <a:pt x="12748" y="3436"/>
                  </a:moveTo>
                  <a:lnTo>
                    <a:pt x="12748" y="3547"/>
                  </a:lnTo>
                  <a:lnTo>
                    <a:pt x="12747" y="3556"/>
                  </a:lnTo>
                  <a:lnTo>
                    <a:pt x="12742" y="3562"/>
                  </a:lnTo>
                  <a:lnTo>
                    <a:pt x="12736" y="3566"/>
                  </a:lnTo>
                  <a:lnTo>
                    <a:pt x="12729" y="3567"/>
                  </a:lnTo>
                  <a:lnTo>
                    <a:pt x="12721" y="3566"/>
                  </a:lnTo>
                  <a:lnTo>
                    <a:pt x="12715" y="3562"/>
                  </a:lnTo>
                  <a:lnTo>
                    <a:pt x="12710" y="3556"/>
                  </a:lnTo>
                  <a:lnTo>
                    <a:pt x="12709" y="3547"/>
                  </a:lnTo>
                  <a:lnTo>
                    <a:pt x="12709" y="3436"/>
                  </a:lnTo>
                  <a:lnTo>
                    <a:pt x="12710" y="3427"/>
                  </a:lnTo>
                  <a:lnTo>
                    <a:pt x="12715" y="3420"/>
                  </a:lnTo>
                  <a:lnTo>
                    <a:pt x="12721" y="3416"/>
                  </a:lnTo>
                  <a:lnTo>
                    <a:pt x="12729" y="3415"/>
                  </a:lnTo>
                  <a:lnTo>
                    <a:pt x="12736" y="3416"/>
                  </a:lnTo>
                  <a:lnTo>
                    <a:pt x="12742" y="3420"/>
                  </a:lnTo>
                  <a:lnTo>
                    <a:pt x="12747" y="3427"/>
                  </a:lnTo>
                  <a:lnTo>
                    <a:pt x="12748" y="3436"/>
                  </a:lnTo>
                  <a:close/>
                  <a:moveTo>
                    <a:pt x="12486" y="3436"/>
                  </a:moveTo>
                  <a:lnTo>
                    <a:pt x="12486" y="3547"/>
                  </a:lnTo>
                  <a:lnTo>
                    <a:pt x="12484" y="3556"/>
                  </a:lnTo>
                  <a:lnTo>
                    <a:pt x="12479" y="3562"/>
                  </a:lnTo>
                  <a:lnTo>
                    <a:pt x="12473" y="3566"/>
                  </a:lnTo>
                  <a:lnTo>
                    <a:pt x="12465" y="3567"/>
                  </a:lnTo>
                  <a:lnTo>
                    <a:pt x="12459" y="3566"/>
                  </a:lnTo>
                  <a:lnTo>
                    <a:pt x="12452" y="3562"/>
                  </a:lnTo>
                  <a:lnTo>
                    <a:pt x="12447" y="3556"/>
                  </a:lnTo>
                  <a:lnTo>
                    <a:pt x="12446" y="3547"/>
                  </a:lnTo>
                  <a:lnTo>
                    <a:pt x="12446" y="3436"/>
                  </a:lnTo>
                  <a:lnTo>
                    <a:pt x="12447" y="3427"/>
                  </a:lnTo>
                  <a:lnTo>
                    <a:pt x="12452" y="3420"/>
                  </a:lnTo>
                  <a:lnTo>
                    <a:pt x="12459" y="3416"/>
                  </a:lnTo>
                  <a:lnTo>
                    <a:pt x="12465" y="3415"/>
                  </a:lnTo>
                  <a:lnTo>
                    <a:pt x="12473" y="3416"/>
                  </a:lnTo>
                  <a:lnTo>
                    <a:pt x="12479" y="3420"/>
                  </a:lnTo>
                  <a:lnTo>
                    <a:pt x="12484" y="3427"/>
                  </a:lnTo>
                  <a:lnTo>
                    <a:pt x="12486" y="3436"/>
                  </a:lnTo>
                  <a:close/>
                  <a:moveTo>
                    <a:pt x="10933" y="2423"/>
                  </a:moveTo>
                  <a:lnTo>
                    <a:pt x="10933" y="2535"/>
                  </a:lnTo>
                  <a:lnTo>
                    <a:pt x="10931" y="2543"/>
                  </a:lnTo>
                  <a:lnTo>
                    <a:pt x="10926" y="2549"/>
                  </a:lnTo>
                  <a:lnTo>
                    <a:pt x="10920" y="2553"/>
                  </a:lnTo>
                  <a:lnTo>
                    <a:pt x="10912" y="2555"/>
                  </a:lnTo>
                  <a:lnTo>
                    <a:pt x="10906" y="2553"/>
                  </a:lnTo>
                  <a:lnTo>
                    <a:pt x="10899" y="2549"/>
                  </a:lnTo>
                  <a:lnTo>
                    <a:pt x="10894" y="2543"/>
                  </a:lnTo>
                  <a:lnTo>
                    <a:pt x="10893" y="2535"/>
                  </a:lnTo>
                  <a:lnTo>
                    <a:pt x="10893" y="2423"/>
                  </a:lnTo>
                  <a:lnTo>
                    <a:pt x="10894" y="2414"/>
                  </a:lnTo>
                  <a:lnTo>
                    <a:pt x="10899" y="2407"/>
                  </a:lnTo>
                  <a:lnTo>
                    <a:pt x="10906" y="2404"/>
                  </a:lnTo>
                  <a:lnTo>
                    <a:pt x="10912" y="2402"/>
                  </a:lnTo>
                  <a:lnTo>
                    <a:pt x="10920" y="2404"/>
                  </a:lnTo>
                  <a:lnTo>
                    <a:pt x="10926" y="2407"/>
                  </a:lnTo>
                  <a:lnTo>
                    <a:pt x="10931" y="2414"/>
                  </a:lnTo>
                  <a:lnTo>
                    <a:pt x="10933" y="2423"/>
                  </a:lnTo>
                  <a:close/>
                  <a:moveTo>
                    <a:pt x="10670" y="2423"/>
                  </a:moveTo>
                  <a:lnTo>
                    <a:pt x="10670" y="2535"/>
                  </a:lnTo>
                  <a:lnTo>
                    <a:pt x="10669" y="2543"/>
                  </a:lnTo>
                  <a:lnTo>
                    <a:pt x="10663" y="2549"/>
                  </a:lnTo>
                  <a:lnTo>
                    <a:pt x="10657" y="2553"/>
                  </a:lnTo>
                  <a:lnTo>
                    <a:pt x="10649" y="2555"/>
                  </a:lnTo>
                  <a:lnTo>
                    <a:pt x="10643" y="2553"/>
                  </a:lnTo>
                  <a:lnTo>
                    <a:pt x="10637" y="2549"/>
                  </a:lnTo>
                  <a:lnTo>
                    <a:pt x="10631" y="2543"/>
                  </a:lnTo>
                  <a:lnTo>
                    <a:pt x="10630" y="2535"/>
                  </a:lnTo>
                  <a:lnTo>
                    <a:pt x="10630" y="2423"/>
                  </a:lnTo>
                  <a:lnTo>
                    <a:pt x="10631" y="2414"/>
                  </a:lnTo>
                  <a:lnTo>
                    <a:pt x="10637" y="2407"/>
                  </a:lnTo>
                  <a:lnTo>
                    <a:pt x="10643" y="2404"/>
                  </a:lnTo>
                  <a:lnTo>
                    <a:pt x="10649" y="2402"/>
                  </a:lnTo>
                  <a:lnTo>
                    <a:pt x="10657" y="2404"/>
                  </a:lnTo>
                  <a:lnTo>
                    <a:pt x="10663" y="2407"/>
                  </a:lnTo>
                  <a:lnTo>
                    <a:pt x="10669" y="2414"/>
                  </a:lnTo>
                  <a:lnTo>
                    <a:pt x="10670" y="2423"/>
                  </a:lnTo>
                  <a:close/>
                  <a:moveTo>
                    <a:pt x="10407" y="2423"/>
                  </a:moveTo>
                  <a:lnTo>
                    <a:pt x="10407" y="2535"/>
                  </a:lnTo>
                  <a:lnTo>
                    <a:pt x="10404" y="2543"/>
                  </a:lnTo>
                  <a:lnTo>
                    <a:pt x="10401" y="2549"/>
                  </a:lnTo>
                  <a:lnTo>
                    <a:pt x="10394" y="2553"/>
                  </a:lnTo>
                  <a:lnTo>
                    <a:pt x="10386" y="2555"/>
                  </a:lnTo>
                  <a:lnTo>
                    <a:pt x="10379" y="2553"/>
                  </a:lnTo>
                  <a:lnTo>
                    <a:pt x="10372" y="2549"/>
                  </a:lnTo>
                  <a:lnTo>
                    <a:pt x="10369" y="2543"/>
                  </a:lnTo>
                  <a:lnTo>
                    <a:pt x="10366" y="2535"/>
                  </a:lnTo>
                  <a:lnTo>
                    <a:pt x="10366" y="2423"/>
                  </a:lnTo>
                  <a:lnTo>
                    <a:pt x="10369" y="2414"/>
                  </a:lnTo>
                  <a:lnTo>
                    <a:pt x="10372" y="2407"/>
                  </a:lnTo>
                  <a:lnTo>
                    <a:pt x="10379" y="2404"/>
                  </a:lnTo>
                  <a:lnTo>
                    <a:pt x="10386" y="2402"/>
                  </a:lnTo>
                  <a:lnTo>
                    <a:pt x="10394" y="2404"/>
                  </a:lnTo>
                  <a:lnTo>
                    <a:pt x="10401" y="2407"/>
                  </a:lnTo>
                  <a:lnTo>
                    <a:pt x="10404" y="2414"/>
                  </a:lnTo>
                  <a:lnTo>
                    <a:pt x="10407" y="2423"/>
                  </a:lnTo>
                  <a:close/>
                  <a:moveTo>
                    <a:pt x="10143" y="2423"/>
                  </a:moveTo>
                  <a:lnTo>
                    <a:pt x="10143" y="2535"/>
                  </a:lnTo>
                  <a:lnTo>
                    <a:pt x="10142" y="2543"/>
                  </a:lnTo>
                  <a:lnTo>
                    <a:pt x="10138" y="2549"/>
                  </a:lnTo>
                  <a:lnTo>
                    <a:pt x="10131" y="2553"/>
                  </a:lnTo>
                  <a:lnTo>
                    <a:pt x="10124" y="2555"/>
                  </a:lnTo>
                  <a:lnTo>
                    <a:pt x="10116" y="2553"/>
                  </a:lnTo>
                  <a:lnTo>
                    <a:pt x="10109" y="2549"/>
                  </a:lnTo>
                  <a:lnTo>
                    <a:pt x="10106" y="2543"/>
                  </a:lnTo>
                  <a:lnTo>
                    <a:pt x="10103" y="2535"/>
                  </a:lnTo>
                  <a:lnTo>
                    <a:pt x="10103" y="2423"/>
                  </a:lnTo>
                  <a:lnTo>
                    <a:pt x="10106" y="2414"/>
                  </a:lnTo>
                  <a:lnTo>
                    <a:pt x="10109" y="2407"/>
                  </a:lnTo>
                  <a:lnTo>
                    <a:pt x="10116" y="2404"/>
                  </a:lnTo>
                  <a:lnTo>
                    <a:pt x="10124" y="2402"/>
                  </a:lnTo>
                  <a:lnTo>
                    <a:pt x="10131" y="2404"/>
                  </a:lnTo>
                  <a:lnTo>
                    <a:pt x="10138" y="2407"/>
                  </a:lnTo>
                  <a:lnTo>
                    <a:pt x="10142" y="2414"/>
                  </a:lnTo>
                  <a:lnTo>
                    <a:pt x="10143" y="2423"/>
                  </a:lnTo>
                  <a:close/>
                  <a:moveTo>
                    <a:pt x="9880" y="2423"/>
                  </a:moveTo>
                  <a:lnTo>
                    <a:pt x="9880" y="2535"/>
                  </a:lnTo>
                  <a:lnTo>
                    <a:pt x="9879" y="2543"/>
                  </a:lnTo>
                  <a:lnTo>
                    <a:pt x="9874" y="2549"/>
                  </a:lnTo>
                  <a:lnTo>
                    <a:pt x="9867" y="2553"/>
                  </a:lnTo>
                  <a:lnTo>
                    <a:pt x="9861" y="2555"/>
                  </a:lnTo>
                  <a:lnTo>
                    <a:pt x="9853" y="2553"/>
                  </a:lnTo>
                  <a:lnTo>
                    <a:pt x="9847" y="2549"/>
                  </a:lnTo>
                  <a:lnTo>
                    <a:pt x="9841" y="2543"/>
                  </a:lnTo>
                  <a:lnTo>
                    <a:pt x="9840" y="2535"/>
                  </a:lnTo>
                  <a:lnTo>
                    <a:pt x="9840" y="2423"/>
                  </a:lnTo>
                  <a:lnTo>
                    <a:pt x="9841" y="2414"/>
                  </a:lnTo>
                  <a:lnTo>
                    <a:pt x="9847" y="2407"/>
                  </a:lnTo>
                  <a:lnTo>
                    <a:pt x="9853" y="2404"/>
                  </a:lnTo>
                  <a:lnTo>
                    <a:pt x="9861" y="2402"/>
                  </a:lnTo>
                  <a:lnTo>
                    <a:pt x="9867" y="2404"/>
                  </a:lnTo>
                  <a:lnTo>
                    <a:pt x="9874" y="2407"/>
                  </a:lnTo>
                  <a:lnTo>
                    <a:pt x="9879" y="2414"/>
                  </a:lnTo>
                  <a:lnTo>
                    <a:pt x="9880" y="2423"/>
                  </a:lnTo>
                  <a:close/>
                  <a:moveTo>
                    <a:pt x="9617" y="2423"/>
                  </a:moveTo>
                  <a:lnTo>
                    <a:pt x="9617" y="2535"/>
                  </a:lnTo>
                  <a:lnTo>
                    <a:pt x="9616" y="2543"/>
                  </a:lnTo>
                  <a:lnTo>
                    <a:pt x="9611" y="2549"/>
                  </a:lnTo>
                  <a:lnTo>
                    <a:pt x="9604" y="2553"/>
                  </a:lnTo>
                  <a:lnTo>
                    <a:pt x="9598" y="2555"/>
                  </a:lnTo>
                  <a:lnTo>
                    <a:pt x="9590" y="2553"/>
                  </a:lnTo>
                  <a:lnTo>
                    <a:pt x="9584" y="2549"/>
                  </a:lnTo>
                  <a:lnTo>
                    <a:pt x="9579" y="2543"/>
                  </a:lnTo>
                  <a:lnTo>
                    <a:pt x="9577" y="2535"/>
                  </a:lnTo>
                  <a:lnTo>
                    <a:pt x="9577" y="2423"/>
                  </a:lnTo>
                  <a:lnTo>
                    <a:pt x="9579" y="2414"/>
                  </a:lnTo>
                  <a:lnTo>
                    <a:pt x="9584" y="2407"/>
                  </a:lnTo>
                  <a:lnTo>
                    <a:pt x="9590" y="2404"/>
                  </a:lnTo>
                  <a:lnTo>
                    <a:pt x="9598" y="2402"/>
                  </a:lnTo>
                  <a:lnTo>
                    <a:pt x="9604" y="2404"/>
                  </a:lnTo>
                  <a:lnTo>
                    <a:pt x="9611" y="2407"/>
                  </a:lnTo>
                  <a:lnTo>
                    <a:pt x="9616" y="2414"/>
                  </a:lnTo>
                  <a:lnTo>
                    <a:pt x="9617" y="2423"/>
                  </a:lnTo>
                  <a:close/>
                  <a:moveTo>
                    <a:pt x="16589" y="796"/>
                  </a:moveTo>
                  <a:lnTo>
                    <a:pt x="16589" y="847"/>
                  </a:lnTo>
                  <a:lnTo>
                    <a:pt x="16588" y="859"/>
                  </a:lnTo>
                  <a:lnTo>
                    <a:pt x="16584" y="869"/>
                  </a:lnTo>
                  <a:lnTo>
                    <a:pt x="16576" y="878"/>
                  </a:lnTo>
                  <a:lnTo>
                    <a:pt x="16566" y="883"/>
                  </a:lnTo>
                  <a:lnTo>
                    <a:pt x="16556" y="890"/>
                  </a:lnTo>
                  <a:lnTo>
                    <a:pt x="16547" y="896"/>
                  </a:lnTo>
                  <a:lnTo>
                    <a:pt x="16534" y="913"/>
                  </a:lnTo>
                  <a:lnTo>
                    <a:pt x="16529" y="923"/>
                  </a:lnTo>
                  <a:lnTo>
                    <a:pt x="16526" y="934"/>
                  </a:lnTo>
                  <a:lnTo>
                    <a:pt x="16526" y="956"/>
                  </a:lnTo>
                  <a:lnTo>
                    <a:pt x="16530" y="968"/>
                  </a:lnTo>
                  <a:lnTo>
                    <a:pt x="16535" y="978"/>
                  </a:lnTo>
                  <a:lnTo>
                    <a:pt x="16541" y="987"/>
                  </a:lnTo>
                  <a:lnTo>
                    <a:pt x="16549" y="996"/>
                  </a:lnTo>
                  <a:lnTo>
                    <a:pt x="16568" y="1006"/>
                  </a:lnTo>
                  <a:lnTo>
                    <a:pt x="16591" y="1011"/>
                  </a:lnTo>
                  <a:lnTo>
                    <a:pt x="16604" y="1009"/>
                  </a:lnTo>
                  <a:lnTo>
                    <a:pt x="16617" y="1005"/>
                  </a:lnTo>
                  <a:lnTo>
                    <a:pt x="16629" y="1000"/>
                  </a:lnTo>
                  <a:lnTo>
                    <a:pt x="16638" y="991"/>
                  </a:lnTo>
                  <a:lnTo>
                    <a:pt x="16647" y="982"/>
                  </a:lnTo>
                  <a:lnTo>
                    <a:pt x="16652" y="970"/>
                  </a:lnTo>
                  <a:lnTo>
                    <a:pt x="16656" y="957"/>
                  </a:lnTo>
                  <a:lnTo>
                    <a:pt x="16657" y="945"/>
                  </a:lnTo>
                  <a:lnTo>
                    <a:pt x="16659" y="936"/>
                  </a:lnTo>
                  <a:lnTo>
                    <a:pt x="16663" y="929"/>
                  </a:lnTo>
                  <a:lnTo>
                    <a:pt x="16670" y="925"/>
                  </a:lnTo>
                  <a:lnTo>
                    <a:pt x="16677" y="924"/>
                  </a:lnTo>
                  <a:lnTo>
                    <a:pt x="16685" y="925"/>
                  </a:lnTo>
                  <a:lnTo>
                    <a:pt x="16691" y="929"/>
                  </a:lnTo>
                  <a:lnTo>
                    <a:pt x="16695" y="936"/>
                  </a:lnTo>
                  <a:lnTo>
                    <a:pt x="16698" y="945"/>
                  </a:lnTo>
                  <a:lnTo>
                    <a:pt x="16695" y="966"/>
                  </a:lnTo>
                  <a:lnTo>
                    <a:pt x="16689" y="986"/>
                  </a:lnTo>
                  <a:lnTo>
                    <a:pt x="16679" y="1003"/>
                  </a:lnTo>
                  <a:lnTo>
                    <a:pt x="16666" y="1020"/>
                  </a:lnTo>
                  <a:lnTo>
                    <a:pt x="16650" y="1033"/>
                  </a:lnTo>
                  <a:lnTo>
                    <a:pt x="16632" y="1042"/>
                  </a:lnTo>
                  <a:lnTo>
                    <a:pt x="16612" y="1048"/>
                  </a:lnTo>
                  <a:lnTo>
                    <a:pt x="16591" y="1051"/>
                  </a:lnTo>
                  <a:lnTo>
                    <a:pt x="16572" y="1048"/>
                  </a:lnTo>
                  <a:lnTo>
                    <a:pt x="16556" y="1044"/>
                  </a:lnTo>
                  <a:lnTo>
                    <a:pt x="16539" y="1037"/>
                  </a:lnTo>
                  <a:lnTo>
                    <a:pt x="16523" y="1025"/>
                  </a:lnTo>
                  <a:lnTo>
                    <a:pt x="16511" y="1014"/>
                  </a:lnTo>
                  <a:lnTo>
                    <a:pt x="16500" y="998"/>
                  </a:lnTo>
                  <a:lnTo>
                    <a:pt x="16495" y="991"/>
                  </a:lnTo>
                  <a:lnTo>
                    <a:pt x="16491" y="982"/>
                  </a:lnTo>
                  <a:lnTo>
                    <a:pt x="16488" y="964"/>
                  </a:lnTo>
                  <a:lnTo>
                    <a:pt x="16485" y="945"/>
                  </a:lnTo>
                  <a:lnTo>
                    <a:pt x="16486" y="928"/>
                  </a:lnTo>
                  <a:lnTo>
                    <a:pt x="16490" y="910"/>
                  </a:lnTo>
                  <a:lnTo>
                    <a:pt x="16498" y="895"/>
                  </a:lnTo>
                  <a:lnTo>
                    <a:pt x="16507" y="879"/>
                  </a:lnTo>
                  <a:lnTo>
                    <a:pt x="16518" y="867"/>
                  </a:lnTo>
                  <a:lnTo>
                    <a:pt x="16532" y="856"/>
                  </a:lnTo>
                  <a:lnTo>
                    <a:pt x="16549" y="847"/>
                  </a:lnTo>
                  <a:lnTo>
                    <a:pt x="16549" y="796"/>
                  </a:lnTo>
                  <a:lnTo>
                    <a:pt x="16550" y="787"/>
                  </a:lnTo>
                  <a:lnTo>
                    <a:pt x="16556" y="782"/>
                  </a:lnTo>
                  <a:lnTo>
                    <a:pt x="16562" y="778"/>
                  </a:lnTo>
                  <a:lnTo>
                    <a:pt x="16568" y="777"/>
                  </a:lnTo>
                  <a:lnTo>
                    <a:pt x="16576" y="778"/>
                  </a:lnTo>
                  <a:lnTo>
                    <a:pt x="16582" y="782"/>
                  </a:lnTo>
                  <a:lnTo>
                    <a:pt x="16588" y="787"/>
                  </a:lnTo>
                  <a:lnTo>
                    <a:pt x="16589" y="796"/>
                  </a:lnTo>
                  <a:close/>
                  <a:moveTo>
                    <a:pt x="17183" y="112"/>
                  </a:moveTo>
                  <a:lnTo>
                    <a:pt x="17100" y="225"/>
                  </a:lnTo>
                  <a:lnTo>
                    <a:pt x="17100" y="309"/>
                  </a:lnTo>
                  <a:lnTo>
                    <a:pt x="17183" y="309"/>
                  </a:lnTo>
                  <a:lnTo>
                    <a:pt x="17183" y="112"/>
                  </a:lnTo>
                  <a:close/>
                  <a:moveTo>
                    <a:pt x="17059" y="309"/>
                  </a:moveTo>
                  <a:lnTo>
                    <a:pt x="17059" y="218"/>
                  </a:lnTo>
                  <a:lnTo>
                    <a:pt x="17063" y="207"/>
                  </a:lnTo>
                  <a:lnTo>
                    <a:pt x="17175" y="55"/>
                  </a:lnTo>
                  <a:lnTo>
                    <a:pt x="16382" y="309"/>
                  </a:lnTo>
                  <a:lnTo>
                    <a:pt x="16906" y="309"/>
                  </a:lnTo>
                  <a:lnTo>
                    <a:pt x="17015" y="309"/>
                  </a:lnTo>
                  <a:lnTo>
                    <a:pt x="17059" y="309"/>
                  </a:lnTo>
                  <a:close/>
                  <a:moveTo>
                    <a:pt x="17222" y="309"/>
                  </a:moveTo>
                  <a:lnTo>
                    <a:pt x="17388" y="309"/>
                  </a:lnTo>
                  <a:lnTo>
                    <a:pt x="17222" y="80"/>
                  </a:lnTo>
                  <a:lnTo>
                    <a:pt x="17222" y="309"/>
                  </a:lnTo>
                  <a:close/>
                  <a:moveTo>
                    <a:pt x="17183" y="481"/>
                  </a:moveTo>
                  <a:lnTo>
                    <a:pt x="17015" y="481"/>
                  </a:lnTo>
                  <a:lnTo>
                    <a:pt x="17007" y="478"/>
                  </a:lnTo>
                  <a:lnTo>
                    <a:pt x="17000" y="474"/>
                  </a:lnTo>
                  <a:lnTo>
                    <a:pt x="16995" y="468"/>
                  </a:lnTo>
                  <a:lnTo>
                    <a:pt x="16994" y="460"/>
                  </a:lnTo>
                  <a:lnTo>
                    <a:pt x="16994" y="349"/>
                  </a:lnTo>
                  <a:lnTo>
                    <a:pt x="16926" y="349"/>
                  </a:lnTo>
                  <a:lnTo>
                    <a:pt x="16926" y="552"/>
                  </a:lnTo>
                  <a:lnTo>
                    <a:pt x="17067" y="552"/>
                  </a:lnTo>
                  <a:lnTo>
                    <a:pt x="17183" y="552"/>
                  </a:lnTo>
                  <a:lnTo>
                    <a:pt x="17183" y="481"/>
                  </a:lnTo>
                  <a:close/>
                  <a:moveTo>
                    <a:pt x="17222" y="349"/>
                  </a:moveTo>
                  <a:lnTo>
                    <a:pt x="17222" y="460"/>
                  </a:lnTo>
                  <a:lnTo>
                    <a:pt x="17222" y="573"/>
                  </a:lnTo>
                  <a:lnTo>
                    <a:pt x="17222" y="1413"/>
                  </a:lnTo>
                  <a:lnTo>
                    <a:pt x="17222" y="2253"/>
                  </a:lnTo>
                  <a:lnTo>
                    <a:pt x="17220" y="2262"/>
                  </a:lnTo>
                  <a:lnTo>
                    <a:pt x="17216" y="2268"/>
                  </a:lnTo>
                  <a:lnTo>
                    <a:pt x="17209" y="2272"/>
                  </a:lnTo>
                  <a:lnTo>
                    <a:pt x="17202" y="2273"/>
                  </a:lnTo>
                  <a:lnTo>
                    <a:pt x="17194" y="2272"/>
                  </a:lnTo>
                  <a:lnTo>
                    <a:pt x="17188" y="2268"/>
                  </a:lnTo>
                  <a:lnTo>
                    <a:pt x="17184" y="2262"/>
                  </a:lnTo>
                  <a:lnTo>
                    <a:pt x="17183" y="2253"/>
                  </a:lnTo>
                  <a:lnTo>
                    <a:pt x="17183" y="1422"/>
                  </a:lnTo>
                  <a:lnTo>
                    <a:pt x="17183" y="592"/>
                  </a:lnTo>
                  <a:lnTo>
                    <a:pt x="17088" y="592"/>
                  </a:lnTo>
                  <a:lnTo>
                    <a:pt x="17088" y="1422"/>
                  </a:lnTo>
                  <a:lnTo>
                    <a:pt x="17088" y="2253"/>
                  </a:lnTo>
                  <a:lnTo>
                    <a:pt x="17085" y="2262"/>
                  </a:lnTo>
                  <a:lnTo>
                    <a:pt x="17081" y="2268"/>
                  </a:lnTo>
                  <a:lnTo>
                    <a:pt x="17075" y="2272"/>
                  </a:lnTo>
                  <a:lnTo>
                    <a:pt x="17067" y="2273"/>
                  </a:lnTo>
                  <a:lnTo>
                    <a:pt x="17059" y="2272"/>
                  </a:lnTo>
                  <a:lnTo>
                    <a:pt x="17053" y="2268"/>
                  </a:lnTo>
                  <a:lnTo>
                    <a:pt x="17049" y="2262"/>
                  </a:lnTo>
                  <a:lnTo>
                    <a:pt x="17047" y="2253"/>
                  </a:lnTo>
                  <a:lnTo>
                    <a:pt x="17047" y="1422"/>
                  </a:lnTo>
                  <a:lnTo>
                    <a:pt x="17047" y="592"/>
                  </a:lnTo>
                  <a:lnTo>
                    <a:pt x="16906" y="592"/>
                  </a:lnTo>
                  <a:lnTo>
                    <a:pt x="16898" y="590"/>
                  </a:lnTo>
                  <a:lnTo>
                    <a:pt x="16891" y="587"/>
                  </a:lnTo>
                  <a:lnTo>
                    <a:pt x="16888" y="580"/>
                  </a:lnTo>
                  <a:lnTo>
                    <a:pt x="16886" y="573"/>
                  </a:lnTo>
                  <a:lnTo>
                    <a:pt x="16886" y="349"/>
                  </a:lnTo>
                  <a:lnTo>
                    <a:pt x="16584" y="349"/>
                  </a:lnTo>
                  <a:lnTo>
                    <a:pt x="16584" y="740"/>
                  </a:lnTo>
                  <a:lnTo>
                    <a:pt x="16581" y="749"/>
                  </a:lnTo>
                  <a:lnTo>
                    <a:pt x="16577" y="755"/>
                  </a:lnTo>
                  <a:lnTo>
                    <a:pt x="16571" y="759"/>
                  </a:lnTo>
                  <a:lnTo>
                    <a:pt x="16563" y="761"/>
                  </a:lnTo>
                  <a:lnTo>
                    <a:pt x="16556" y="759"/>
                  </a:lnTo>
                  <a:lnTo>
                    <a:pt x="16549" y="755"/>
                  </a:lnTo>
                  <a:lnTo>
                    <a:pt x="16545" y="749"/>
                  </a:lnTo>
                  <a:lnTo>
                    <a:pt x="16544" y="740"/>
                  </a:lnTo>
                  <a:lnTo>
                    <a:pt x="16544" y="349"/>
                  </a:lnTo>
                  <a:lnTo>
                    <a:pt x="16255" y="349"/>
                  </a:lnTo>
                  <a:lnTo>
                    <a:pt x="16246" y="348"/>
                  </a:lnTo>
                  <a:lnTo>
                    <a:pt x="16239" y="344"/>
                  </a:lnTo>
                  <a:lnTo>
                    <a:pt x="16235" y="339"/>
                  </a:lnTo>
                  <a:lnTo>
                    <a:pt x="16232" y="332"/>
                  </a:lnTo>
                  <a:lnTo>
                    <a:pt x="16232" y="326"/>
                  </a:lnTo>
                  <a:lnTo>
                    <a:pt x="16235" y="319"/>
                  </a:lnTo>
                  <a:lnTo>
                    <a:pt x="16241" y="314"/>
                  </a:lnTo>
                  <a:lnTo>
                    <a:pt x="16249" y="310"/>
                  </a:lnTo>
                  <a:lnTo>
                    <a:pt x="17184" y="9"/>
                  </a:lnTo>
                  <a:lnTo>
                    <a:pt x="17188" y="5"/>
                  </a:lnTo>
                  <a:lnTo>
                    <a:pt x="17192" y="2"/>
                  </a:lnTo>
                  <a:lnTo>
                    <a:pt x="17203" y="0"/>
                  </a:lnTo>
                  <a:lnTo>
                    <a:pt x="17213" y="2"/>
                  </a:lnTo>
                  <a:lnTo>
                    <a:pt x="17220" y="10"/>
                  </a:lnTo>
                  <a:lnTo>
                    <a:pt x="17443" y="317"/>
                  </a:lnTo>
                  <a:lnTo>
                    <a:pt x="17447" y="323"/>
                  </a:lnTo>
                  <a:lnTo>
                    <a:pt x="17449" y="328"/>
                  </a:lnTo>
                  <a:lnTo>
                    <a:pt x="17447" y="339"/>
                  </a:lnTo>
                  <a:lnTo>
                    <a:pt x="17440" y="346"/>
                  </a:lnTo>
                  <a:lnTo>
                    <a:pt x="17427" y="349"/>
                  </a:lnTo>
                  <a:lnTo>
                    <a:pt x="17222" y="349"/>
                  </a:lnTo>
                  <a:close/>
                  <a:moveTo>
                    <a:pt x="17183" y="349"/>
                  </a:moveTo>
                  <a:lnTo>
                    <a:pt x="17034" y="349"/>
                  </a:lnTo>
                  <a:lnTo>
                    <a:pt x="17034" y="440"/>
                  </a:lnTo>
                  <a:lnTo>
                    <a:pt x="17183" y="440"/>
                  </a:lnTo>
                  <a:lnTo>
                    <a:pt x="17183" y="349"/>
                  </a:lnTo>
                  <a:close/>
                  <a:moveTo>
                    <a:pt x="15662" y="1363"/>
                  </a:moveTo>
                  <a:lnTo>
                    <a:pt x="15676" y="1370"/>
                  </a:lnTo>
                  <a:lnTo>
                    <a:pt x="15687" y="1379"/>
                  </a:lnTo>
                  <a:lnTo>
                    <a:pt x="15696" y="1391"/>
                  </a:lnTo>
                  <a:lnTo>
                    <a:pt x="15704" y="1404"/>
                  </a:lnTo>
                  <a:lnTo>
                    <a:pt x="15709" y="1417"/>
                  </a:lnTo>
                  <a:lnTo>
                    <a:pt x="15713" y="1431"/>
                  </a:lnTo>
                  <a:lnTo>
                    <a:pt x="15713" y="1461"/>
                  </a:lnTo>
                  <a:lnTo>
                    <a:pt x="15709" y="1477"/>
                  </a:lnTo>
                  <a:lnTo>
                    <a:pt x="15702" y="1491"/>
                  </a:lnTo>
                  <a:lnTo>
                    <a:pt x="15693" y="1503"/>
                  </a:lnTo>
                  <a:lnTo>
                    <a:pt x="15681" y="1515"/>
                  </a:lnTo>
                  <a:lnTo>
                    <a:pt x="15668" y="1524"/>
                  </a:lnTo>
                  <a:lnTo>
                    <a:pt x="15654" y="1530"/>
                  </a:lnTo>
                  <a:lnTo>
                    <a:pt x="15640" y="1534"/>
                  </a:lnTo>
                  <a:lnTo>
                    <a:pt x="15623" y="1535"/>
                  </a:lnTo>
                  <a:lnTo>
                    <a:pt x="15605" y="1534"/>
                  </a:lnTo>
                  <a:lnTo>
                    <a:pt x="15589" y="1529"/>
                  </a:lnTo>
                  <a:lnTo>
                    <a:pt x="15573" y="1520"/>
                  </a:lnTo>
                  <a:lnTo>
                    <a:pt x="15559" y="1509"/>
                  </a:lnTo>
                  <a:lnTo>
                    <a:pt x="15549" y="1496"/>
                  </a:lnTo>
                  <a:lnTo>
                    <a:pt x="15540" y="1480"/>
                  </a:lnTo>
                  <a:lnTo>
                    <a:pt x="15535" y="1464"/>
                  </a:lnTo>
                  <a:lnTo>
                    <a:pt x="15532" y="1445"/>
                  </a:lnTo>
                  <a:lnTo>
                    <a:pt x="15535" y="1437"/>
                  </a:lnTo>
                  <a:lnTo>
                    <a:pt x="15539" y="1431"/>
                  </a:lnTo>
                  <a:lnTo>
                    <a:pt x="15545" y="1427"/>
                  </a:lnTo>
                  <a:lnTo>
                    <a:pt x="15553" y="1425"/>
                  </a:lnTo>
                  <a:lnTo>
                    <a:pt x="15560" y="1427"/>
                  </a:lnTo>
                  <a:lnTo>
                    <a:pt x="15567" y="1431"/>
                  </a:lnTo>
                  <a:lnTo>
                    <a:pt x="15571" y="1437"/>
                  </a:lnTo>
                  <a:lnTo>
                    <a:pt x="15573" y="1445"/>
                  </a:lnTo>
                  <a:lnTo>
                    <a:pt x="15573" y="1455"/>
                  </a:lnTo>
                  <a:lnTo>
                    <a:pt x="15577" y="1465"/>
                  </a:lnTo>
                  <a:lnTo>
                    <a:pt x="15581" y="1474"/>
                  </a:lnTo>
                  <a:lnTo>
                    <a:pt x="15587" y="1480"/>
                  </a:lnTo>
                  <a:lnTo>
                    <a:pt x="15595" y="1487"/>
                  </a:lnTo>
                  <a:lnTo>
                    <a:pt x="15604" y="1492"/>
                  </a:lnTo>
                  <a:lnTo>
                    <a:pt x="15623" y="1496"/>
                  </a:lnTo>
                  <a:lnTo>
                    <a:pt x="15641" y="1492"/>
                  </a:lnTo>
                  <a:lnTo>
                    <a:pt x="15655" y="1484"/>
                  </a:lnTo>
                  <a:lnTo>
                    <a:pt x="15662" y="1478"/>
                  </a:lnTo>
                  <a:lnTo>
                    <a:pt x="15667" y="1470"/>
                  </a:lnTo>
                  <a:lnTo>
                    <a:pt x="15673" y="1455"/>
                  </a:lnTo>
                  <a:lnTo>
                    <a:pt x="15675" y="1436"/>
                  </a:lnTo>
                  <a:lnTo>
                    <a:pt x="15669" y="1423"/>
                  </a:lnTo>
                  <a:lnTo>
                    <a:pt x="15662" y="1413"/>
                  </a:lnTo>
                  <a:lnTo>
                    <a:pt x="15652" y="1405"/>
                  </a:lnTo>
                  <a:lnTo>
                    <a:pt x="15631" y="1390"/>
                  </a:lnTo>
                  <a:lnTo>
                    <a:pt x="15625" y="1379"/>
                  </a:lnTo>
                  <a:lnTo>
                    <a:pt x="15622" y="1365"/>
                  </a:lnTo>
                  <a:lnTo>
                    <a:pt x="15622" y="1323"/>
                  </a:lnTo>
                  <a:lnTo>
                    <a:pt x="15623" y="1314"/>
                  </a:lnTo>
                  <a:lnTo>
                    <a:pt x="15628" y="1308"/>
                  </a:lnTo>
                  <a:lnTo>
                    <a:pt x="15635" y="1305"/>
                  </a:lnTo>
                  <a:lnTo>
                    <a:pt x="15643" y="1304"/>
                  </a:lnTo>
                  <a:lnTo>
                    <a:pt x="15649" y="1305"/>
                  </a:lnTo>
                  <a:lnTo>
                    <a:pt x="15655" y="1308"/>
                  </a:lnTo>
                  <a:lnTo>
                    <a:pt x="15660" y="1314"/>
                  </a:lnTo>
                  <a:lnTo>
                    <a:pt x="15662" y="1323"/>
                  </a:lnTo>
                  <a:lnTo>
                    <a:pt x="15662" y="1363"/>
                  </a:lnTo>
                  <a:close/>
                  <a:moveTo>
                    <a:pt x="15667" y="963"/>
                  </a:moveTo>
                  <a:lnTo>
                    <a:pt x="15667" y="1277"/>
                  </a:lnTo>
                  <a:lnTo>
                    <a:pt x="15664" y="1286"/>
                  </a:lnTo>
                  <a:lnTo>
                    <a:pt x="15660" y="1292"/>
                  </a:lnTo>
                  <a:lnTo>
                    <a:pt x="15654" y="1296"/>
                  </a:lnTo>
                  <a:lnTo>
                    <a:pt x="15646" y="1298"/>
                  </a:lnTo>
                  <a:lnTo>
                    <a:pt x="15639" y="1296"/>
                  </a:lnTo>
                  <a:lnTo>
                    <a:pt x="15632" y="1292"/>
                  </a:lnTo>
                  <a:lnTo>
                    <a:pt x="15628" y="1286"/>
                  </a:lnTo>
                  <a:lnTo>
                    <a:pt x="15627" y="1277"/>
                  </a:lnTo>
                  <a:lnTo>
                    <a:pt x="15627" y="963"/>
                  </a:lnTo>
                  <a:lnTo>
                    <a:pt x="15385" y="963"/>
                  </a:lnTo>
                  <a:lnTo>
                    <a:pt x="15385" y="1139"/>
                  </a:lnTo>
                  <a:lnTo>
                    <a:pt x="15384" y="1147"/>
                  </a:lnTo>
                  <a:lnTo>
                    <a:pt x="15378" y="1153"/>
                  </a:lnTo>
                  <a:lnTo>
                    <a:pt x="15372" y="1157"/>
                  </a:lnTo>
                  <a:lnTo>
                    <a:pt x="15366" y="1158"/>
                  </a:lnTo>
                  <a:lnTo>
                    <a:pt x="15253" y="1158"/>
                  </a:lnTo>
                  <a:lnTo>
                    <a:pt x="15253" y="1705"/>
                  </a:lnTo>
                  <a:lnTo>
                    <a:pt x="15253" y="2253"/>
                  </a:lnTo>
                  <a:lnTo>
                    <a:pt x="15250" y="2262"/>
                  </a:lnTo>
                  <a:lnTo>
                    <a:pt x="15246" y="2268"/>
                  </a:lnTo>
                  <a:lnTo>
                    <a:pt x="15240" y="2272"/>
                  </a:lnTo>
                  <a:lnTo>
                    <a:pt x="15232" y="2273"/>
                  </a:lnTo>
                  <a:lnTo>
                    <a:pt x="15225" y="2272"/>
                  </a:lnTo>
                  <a:lnTo>
                    <a:pt x="15218" y="2268"/>
                  </a:lnTo>
                  <a:lnTo>
                    <a:pt x="15214" y="2262"/>
                  </a:lnTo>
                  <a:lnTo>
                    <a:pt x="15213" y="2253"/>
                  </a:lnTo>
                  <a:lnTo>
                    <a:pt x="15213" y="1705"/>
                  </a:lnTo>
                  <a:lnTo>
                    <a:pt x="15213" y="1158"/>
                  </a:lnTo>
                  <a:lnTo>
                    <a:pt x="15141" y="1158"/>
                  </a:lnTo>
                  <a:lnTo>
                    <a:pt x="15141" y="1705"/>
                  </a:lnTo>
                  <a:lnTo>
                    <a:pt x="15141" y="2253"/>
                  </a:lnTo>
                  <a:lnTo>
                    <a:pt x="15140" y="2262"/>
                  </a:lnTo>
                  <a:lnTo>
                    <a:pt x="15135" y="2268"/>
                  </a:lnTo>
                  <a:lnTo>
                    <a:pt x="15128" y="2272"/>
                  </a:lnTo>
                  <a:lnTo>
                    <a:pt x="15122" y="2273"/>
                  </a:lnTo>
                  <a:lnTo>
                    <a:pt x="15114" y="2272"/>
                  </a:lnTo>
                  <a:lnTo>
                    <a:pt x="15108" y="2268"/>
                  </a:lnTo>
                  <a:lnTo>
                    <a:pt x="15103" y="2262"/>
                  </a:lnTo>
                  <a:lnTo>
                    <a:pt x="15101" y="2253"/>
                  </a:lnTo>
                  <a:lnTo>
                    <a:pt x="15101" y="1695"/>
                  </a:lnTo>
                  <a:lnTo>
                    <a:pt x="15101" y="1139"/>
                  </a:lnTo>
                  <a:lnTo>
                    <a:pt x="15101" y="1047"/>
                  </a:lnTo>
                  <a:lnTo>
                    <a:pt x="15101" y="963"/>
                  </a:lnTo>
                  <a:lnTo>
                    <a:pt x="14931" y="963"/>
                  </a:lnTo>
                  <a:lnTo>
                    <a:pt x="14918" y="960"/>
                  </a:lnTo>
                  <a:lnTo>
                    <a:pt x="14913" y="956"/>
                  </a:lnTo>
                  <a:lnTo>
                    <a:pt x="14910" y="952"/>
                  </a:lnTo>
                  <a:lnTo>
                    <a:pt x="14909" y="947"/>
                  </a:lnTo>
                  <a:lnTo>
                    <a:pt x="14909" y="942"/>
                  </a:lnTo>
                  <a:lnTo>
                    <a:pt x="14914" y="931"/>
                  </a:lnTo>
                  <a:lnTo>
                    <a:pt x="15105" y="680"/>
                  </a:lnTo>
                  <a:lnTo>
                    <a:pt x="15116" y="675"/>
                  </a:lnTo>
                  <a:lnTo>
                    <a:pt x="15127" y="674"/>
                  </a:lnTo>
                  <a:lnTo>
                    <a:pt x="15907" y="924"/>
                  </a:lnTo>
                  <a:lnTo>
                    <a:pt x="15920" y="933"/>
                  </a:lnTo>
                  <a:lnTo>
                    <a:pt x="15922" y="940"/>
                  </a:lnTo>
                  <a:lnTo>
                    <a:pt x="15923" y="946"/>
                  </a:lnTo>
                  <a:lnTo>
                    <a:pt x="15921" y="952"/>
                  </a:lnTo>
                  <a:lnTo>
                    <a:pt x="15916" y="957"/>
                  </a:lnTo>
                  <a:lnTo>
                    <a:pt x="15909" y="961"/>
                  </a:lnTo>
                  <a:lnTo>
                    <a:pt x="15900" y="963"/>
                  </a:lnTo>
                  <a:lnTo>
                    <a:pt x="15667" y="963"/>
                  </a:lnTo>
                  <a:close/>
                  <a:moveTo>
                    <a:pt x="15167" y="727"/>
                  </a:moveTo>
                  <a:lnTo>
                    <a:pt x="15240" y="828"/>
                  </a:lnTo>
                  <a:lnTo>
                    <a:pt x="15244" y="840"/>
                  </a:lnTo>
                  <a:lnTo>
                    <a:pt x="15244" y="923"/>
                  </a:lnTo>
                  <a:lnTo>
                    <a:pt x="15276" y="923"/>
                  </a:lnTo>
                  <a:lnTo>
                    <a:pt x="15366" y="923"/>
                  </a:lnTo>
                  <a:lnTo>
                    <a:pt x="15773" y="923"/>
                  </a:lnTo>
                  <a:lnTo>
                    <a:pt x="15167" y="727"/>
                  </a:lnTo>
                  <a:close/>
                  <a:moveTo>
                    <a:pt x="15203" y="923"/>
                  </a:moveTo>
                  <a:lnTo>
                    <a:pt x="15203" y="846"/>
                  </a:lnTo>
                  <a:lnTo>
                    <a:pt x="15141" y="762"/>
                  </a:lnTo>
                  <a:lnTo>
                    <a:pt x="15141" y="923"/>
                  </a:lnTo>
                  <a:lnTo>
                    <a:pt x="15203" y="923"/>
                  </a:lnTo>
                  <a:close/>
                  <a:moveTo>
                    <a:pt x="15101" y="752"/>
                  </a:moveTo>
                  <a:lnTo>
                    <a:pt x="14971" y="923"/>
                  </a:lnTo>
                  <a:lnTo>
                    <a:pt x="15101" y="923"/>
                  </a:lnTo>
                  <a:lnTo>
                    <a:pt x="15101" y="752"/>
                  </a:lnTo>
                  <a:close/>
                  <a:moveTo>
                    <a:pt x="15296" y="963"/>
                  </a:moveTo>
                  <a:lnTo>
                    <a:pt x="15296" y="1047"/>
                  </a:lnTo>
                  <a:lnTo>
                    <a:pt x="15295" y="1055"/>
                  </a:lnTo>
                  <a:lnTo>
                    <a:pt x="15290" y="1061"/>
                  </a:lnTo>
                  <a:lnTo>
                    <a:pt x="15283" y="1065"/>
                  </a:lnTo>
                  <a:lnTo>
                    <a:pt x="15276" y="1066"/>
                  </a:lnTo>
                  <a:lnTo>
                    <a:pt x="15141" y="1066"/>
                  </a:lnTo>
                  <a:lnTo>
                    <a:pt x="15141" y="1119"/>
                  </a:lnTo>
                  <a:lnTo>
                    <a:pt x="15232" y="1119"/>
                  </a:lnTo>
                  <a:lnTo>
                    <a:pt x="15345" y="1119"/>
                  </a:lnTo>
                  <a:lnTo>
                    <a:pt x="15345" y="963"/>
                  </a:lnTo>
                  <a:lnTo>
                    <a:pt x="15296" y="963"/>
                  </a:lnTo>
                  <a:close/>
                  <a:moveTo>
                    <a:pt x="15257" y="963"/>
                  </a:moveTo>
                  <a:lnTo>
                    <a:pt x="15141" y="963"/>
                  </a:lnTo>
                  <a:lnTo>
                    <a:pt x="15141" y="1027"/>
                  </a:lnTo>
                  <a:lnTo>
                    <a:pt x="15257" y="1027"/>
                  </a:lnTo>
                  <a:lnTo>
                    <a:pt x="15257" y="963"/>
                  </a:lnTo>
                  <a:close/>
                  <a:moveTo>
                    <a:pt x="12486" y="3681"/>
                  </a:moveTo>
                  <a:lnTo>
                    <a:pt x="12486" y="3792"/>
                  </a:lnTo>
                  <a:lnTo>
                    <a:pt x="12484" y="3800"/>
                  </a:lnTo>
                  <a:lnTo>
                    <a:pt x="12482" y="3805"/>
                  </a:lnTo>
                  <a:lnTo>
                    <a:pt x="12523" y="3838"/>
                  </a:lnTo>
                  <a:lnTo>
                    <a:pt x="12559" y="3875"/>
                  </a:lnTo>
                  <a:lnTo>
                    <a:pt x="12592" y="3918"/>
                  </a:lnTo>
                  <a:lnTo>
                    <a:pt x="12606" y="3939"/>
                  </a:lnTo>
                  <a:lnTo>
                    <a:pt x="12619" y="3962"/>
                  </a:lnTo>
                  <a:lnTo>
                    <a:pt x="12641" y="4011"/>
                  </a:lnTo>
                  <a:lnTo>
                    <a:pt x="12657" y="4062"/>
                  </a:lnTo>
                  <a:lnTo>
                    <a:pt x="12666" y="4116"/>
                  </a:lnTo>
                  <a:lnTo>
                    <a:pt x="12670" y="4171"/>
                  </a:lnTo>
                  <a:lnTo>
                    <a:pt x="12666" y="4226"/>
                  </a:lnTo>
                  <a:lnTo>
                    <a:pt x="12661" y="4265"/>
                  </a:lnTo>
                  <a:lnTo>
                    <a:pt x="12654" y="4304"/>
                  </a:lnTo>
                  <a:lnTo>
                    <a:pt x="13197" y="4304"/>
                  </a:lnTo>
                  <a:lnTo>
                    <a:pt x="13741" y="4304"/>
                  </a:lnTo>
                  <a:lnTo>
                    <a:pt x="13741" y="3764"/>
                  </a:lnTo>
                  <a:lnTo>
                    <a:pt x="13741" y="3225"/>
                  </a:lnTo>
                  <a:lnTo>
                    <a:pt x="13183" y="3225"/>
                  </a:lnTo>
                  <a:lnTo>
                    <a:pt x="12625" y="3225"/>
                  </a:lnTo>
                  <a:lnTo>
                    <a:pt x="12616" y="3222"/>
                  </a:lnTo>
                  <a:lnTo>
                    <a:pt x="12610" y="3218"/>
                  </a:lnTo>
                  <a:lnTo>
                    <a:pt x="12606" y="3212"/>
                  </a:lnTo>
                  <a:lnTo>
                    <a:pt x="12606" y="3204"/>
                  </a:lnTo>
                  <a:lnTo>
                    <a:pt x="12606" y="3196"/>
                  </a:lnTo>
                  <a:lnTo>
                    <a:pt x="12610" y="3190"/>
                  </a:lnTo>
                  <a:lnTo>
                    <a:pt x="12616" y="3186"/>
                  </a:lnTo>
                  <a:lnTo>
                    <a:pt x="12625" y="3184"/>
                  </a:lnTo>
                  <a:lnTo>
                    <a:pt x="12793" y="3184"/>
                  </a:lnTo>
                  <a:lnTo>
                    <a:pt x="12793" y="3031"/>
                  </a:lnTo>
                  <a:lnTo>
                    <a:pt x="12353" y="3031"/>
                  </a:lnTo>
                  <a:lnTo>
                    <a:pt x="12353" y="3184"/>
                  </a:lnTo>
                  <a:lnTo>
                    <a:pt x="12493" y="3184"/>
                  </a:lnTo>
                  <a:lnTo>
                    <a:pt x="12502" y="3186"/>
                  </a:lnTo>
                  <a:lnTo>
                    <a:pt x="12509" y="3190"/>
                  </a:lnTo>
                  <a:lnTo>
                    <a:pt x="12512" y="3196"/>
                  </a:lnTo>
                  <a:lnTo>
                    <a:pt x="12514" y="3204"/>
                  </a:lnTo>
                  <a:lnTo>
                    <a:pt x="12512" y="3212"/>
                  </a:lnTo>
                  <a:lnTo>
                    <a:pt x="12509" y="3218"/>
                  </a:lnTo>
                  <a:lnTo>
                    <a:pt x="12502" y="3222"/>
                  </a:lnTo>
                  <a:lnTo>
                    <a:pt x="12493" y="3225"/>
                  </a:lnTo>
                  <a:lnTo>
                    <a:pt x="12236" y="3225"/>
                  </a:lnTo>
                  <a:lnTo>
                    <a:pt x="12236" y="3670"/>
                  </a:lnTo>
                  <a:lnTo>
                    <a:pt x="12233" y="3679"/>
                  </a:lnTo>
                  <a:lnTo>
                    <a:pt x="12229" y="3685"/>
                  </a:lnTo>
                  <a:lnTo>
                    <a:pt x="12223" y="3689"/>
                  </a:lnTo>
                  <a:lnTo>
                    <a:pt x="12215" y="3690"/>
                  </a:lnTo>
                  <a:lnTo>
                    <a:pt x="12207" y="3689"/>
                  </a:lnTo>
                  <a:lnTo>
                    <a:pt x="12201" y="3685"/>
                  </a:lnTo>
                  <a:lnTo>
                    <a:pt x="12197" y="3679"/>
                  </a:lnTo>
                  <a:lnTo>
                    <a:pt x="12194" y="3670"/>
                  </a:lnTo>
                  <a:lnTo>
                    <a:pt x="12194" y="3204"/>
                  </a:lnTo>
                  <a:lnTo>
                    <a:pt x="12197" y="3196"/>
                  </a:lnTo>
                  <a:lnTo>
                    <a:pt x="12201" y="3190"/>
                  </a:lnTo>
                  <a:lnTo>
                    <a:pt x="12207" y="3186"/>
                  </a:lnTo>
                  <a:lnTo>
                    <a:pt x="12215" y="3184"/>
                  </a:lnTo>
                  <a:lnTo>
                    <a:pt x="12314" y="3184"/>
                  </a:lnTo>
                  <a:lnTo>
                    <a:pt x="12314" y="3011"/>
                  </a:lnTo>
                  <a:lnTo>
                    <a:pt x="12315" y="3003"/>
                  </a:lnTo>
                  <a:lnTo>
                    <a:pt x="12319" y="2997"/>
                  </a:lnTo>
                  <a:lnTo>
                    <a:pt x="12325" y="2993"/>
                  </a:lnTo>
                  <a:lnTo>
                    <a:pt x="12333" y="2991"/>
                  </a:lnTo>
                  <a:lnTo>
                    <a:pt x="12814" y="2991"/>
                  </a:lnTo>
                  <a:lnTo>
                    <a:pt x="12822" y="2993"/>
                  </a:lnTo>
                  <a:lnTo>
                    <a:pt x="12828" y="2997"/>
                  </a:lnTo>
                  <a:lnTo>
                    <a:pt x="12832" y="3003"/>
                  </a:lnTo>
                  <a:lnTo>
                    <a:pt x="12833" y="3011"/>
                  </a:lnTo>
                  <a:lnTo>
                    <a:pt x="12833" y="3184"/>
                  </a:lnTo>
                  <a:lnTo>
                    <a:pt x="13761" y="3184"/>
                  </a:lnTo>
                  <a:lnTo>
                    <a:pt x="13769" y="3186"/>
                  </a:lnTo>
                  <a:lnTo>
                    <a:pt x="13776" y="3190"/>
                  </a:lnTo>
                  <a:lnTo>
                    <a:pt x="13779" y="3196"/>
                  </a:lnTo>
                  <a:lnTo>
                    <a:pt x="13782" y="3204"/>
                  </a:lnTo>
                  <a:lnTo>
                    <a:pt x="13782" y="3764"/>
                  </a:lnTo>
                  <a:lnTo>
                    <a:pt x="13782" y="4324"/>
                  </a:lnTo>
                  <a:lnTo>
                    <a:pt x="13779" y="4332"/>
                  </a:lnTo>
                  <a:lnTo>
                    <a:pt x="13776" y="4338"/>
                  </a:lnTo>
                  <a:lnTo>
                    <a:pt x="13769" y="4342"/>
                  </a:lnTo>
                  <a:lnTo>
                    <a:pt x="13761" y="4343"/>
                  </a:lnTo>
                  <a:lnTo>
                    <a:pt x="13197" y="4343"/>
                  </a:lnTo>
                  <a:lnTo>
                    <a:pt x="12633" y="4343"/>
                  </a:lnTo>
                  <a:lnTo>
                    <a:pt x="12628" y="4347"/>
                  </a:lnTo>
                  <a:lnTo>
                    <a:pt x="12621" y="4349"/>
                  </a:lnTo>
                  <a:lnTo>
                    <a:pt x="12016" y="4349"/>
                  </a:lnTo>
                  <a:lnTo>
                    <a:pt x="11412" y="4349"/>
                  </a:lnTo>
                  <a:lnTo>
                    <a:pt x="11403" y="4346"/>
                  </a:lnTo>
                  <a:lnTo>
                    <a:pt x="11397" y="4341"/>
                  </a:lnTo>
                  <a:lnTo>
                    <a:pt x="11388" y="4334"/>
                  </a:lnTo>
                  <a:lnTo>
                    <a:pt x="11385" y="4329"/>
                  </a:lnTo>
                  <a:lnTo>
                    <a:pt x="11385" y="4323"/>
                  </a:lnTo>
                  <a:lnTo>
                    <a:pt x="11385" y="3936"/>
                  </a:lnTo>
                  <a:lnTo>
                    <a:pt x="11346" y="3930"/>
                  </a:lnTo>
                  <a:lnTo>
                    <a:pt x="11307" y="3924"/>
                  </a:lnTo>
                  <a:lnTo>
                    <a:pt x="11271" y="3913"/>
                  </a:lnTo>
                  <a:lnTo>
                    <a:pt x="11235" y="3898"/>
                  </a:lnTo>
                  <a:lnTo>
                    <a:pt x="11202" y="3881"/>
                  </a:lnTo>
                  <a:lnTo>
                    <a:pt x="11171" y="3860"/>
                  </a:lnTo>
                  <a:lnTo>
                    <a:pt x="11142" y="3837"/>
                  </a:lnTo>
                  <a:lnTo>
                    <a:pt x="11115" y="3811"/>
                  </a:lnTo>
                  <a:lnTo>
                    <a:pt x="11090" y="3783"/>
                  </a:lnTo>
                  <a:lnTo>
                    <a:pt x="11069" y="3753"/>
                  </a:lnTo>
                  <a:lnTo>
                    <a:pt x="11049" y="3721"/>
                  </a:lnTo>
                  <a:lnTo>
                    <a:pt x="11034" y="3686"/>
                  </a:lnTo>
                  <a:lnTo>
                    <a:pt x="11021" y="3650"/>
                  </a:lnTo>
                  <a:lnTo>
                    <a:pt x="11011" y="3613"/>
                  </a:lnTo>
                  <a:lnTo>
                    <a:pt x="11006" y="3575"/>
                  </a:lnTo>
                  <a:lnTo>
                    <a:pt x="11005" y="3535"/>
                  </a:lnTo>
                  <a:lnTo>
                    <a:pt x="11006" y="3494"/>
                  </a:lnTo>
                  <a:lnTo>
                    <a:pt x="11012" y="3453"/>
                  </a:lnTo>
                  <a:lnTo>
                    <a:pt x="11022" y="3415"/>
                  </a:lnTo>
                  <a:lnTo>
                    <a:pt x="11035" y="3379"/>
                  </a:lnTo>
                  <a:lnTo>
                    <a:pt x="11052" y="3343"/>
                  </a:lnTo>
                  <a:lnTo>
                    <a:pt x="11072" y="3310"/>
                  </a:lnTo>
                  <a:lnTo>
                    <a:pt x="11096" y="3280"/>
                  </a:lnTo>
                  <a:lnTo>
                    <a:pt x="11121" y="3251"/>
                  </a:lnTo>
                  <a:lnTo>
                    <a:pt x="11151" y="3226"/>
                  </a:lnTo>
                  <a:lnTo>
                    <a:pt x="11181" y="3203"/>
                  </a:lnTo>
                  <a:lnTo>
                    <a:pt x="11214" y="3182"/>
                  </a:lnTo>
                  <a:lnTo>
                    <a:pt x="11249" y="3166"/>
                  </a:lnTo>
                  <a:lnTo>
                    <a:pt x="11287" y="3152"/>
                  </a:lnTo>
                  <a:lnTo>
                    <a:pt x="11325" y="3143"/>
                  </a:lnTo>
                  <a:lnTo>
                    <a:pt x="11365" y="3136"/>
                  </a:lnTo>
                  <a:lnTo>
                    <a:pt x="11406" y="3134"/>
                  </a:lnTo>
                  <a:lnTo>
                    <a:pt x="11447" y="3136"/>
                  </a:lnTo>
                  <a:lnTo>
                    <a:pt x="11487" y="3143"/>
                  </a:lnTo>
                  <a:lnTo>
                    <a:pt x="11525" y="3152"/>
                  </a:lnTo>
                  <a:lnTo>
                    <a:pt x="11562" y="3166"/>
                  </a:lnTo>
                  <a:lnTo>
                    <a:pt x="11597" y="3182"/>
                  </a:lnTo>
                  <a:lnTo>
                    <a:pt x="11630" y="3203"/>
                  </a:lnTo>
                  <a:lnTo>
                    <a:pt x="11661" y="3226"/>
                  </a:lnTo>
                  <a:lnTo>
                    <a:pt x="11689" y="3251"/>
                  </a:lnTo>
                  <a:lnTo>
                    <a:pt x="11716" y="3280"/>
                  </a:lnTo>
                  <a:lnTo>
                    <a:pt x="11739" y="3310"/>
                  </a:lnTo>
                  <a:lnTo>
                    <a:pt x="11759" y="3343"/>
                  </a:lnTo>
                  <a:lnTo>
                    <a:pt x="11775" y="3379"/>
                  </a:lnTo>
                  <a:lnTo>
                    <a:pt x="11789" y="3415"/>
                  </a:lnTo>
                  <a:lnTo>
                    <a:pt x="11800" y="3453"/>
                  </a:lnTo>
                  <a:lnTo>
                    <a:pt x="11805" y="3494"/>
                  </a:lnTo>
                  <a:lnTo>
                    <a:pt x="11807" y="3535"/>
                  </a:lnTo>
                  <a:lnTo>
                    <a:pt x="11806" y="3575"/>
                  </a:lnTo>
                  <a:lnTo>
                    <a:pt x="11800" y="3613"/>
                  </a:lnTo>
                  <a:lnTo>
                    <a:pt x="11791" y="3650"/>
                  </a:lnTo>
                  <a:lnTo>
                    <a:pt x="11778" y="3686"/>
                  </a:lnTo>
                  <a:lnTo>
                    <a:pt x="11761" y="3721"/>
                  </a:lnTo>
                  <a:lnTo>
                    <a:pt x="11743" y="3753"/>
                  </a:lnTo>
                  <a:lnTo>
                    <a:pt x="11720" y="3783"/>
                  </a:lnTo>
                  <a:lnTo>
                    <a:pt x="11696" y="3811"/>
                  </a:lnTo>
                  <a:lnTo>
                    <a:pt x="11669" y="3837"/>
                  </a:lnTo>
                  <a:lnTo>
                    <a:pt x="11639" y="3860"/>
                  </a:lnTo>
                  <a:lnTo>
                    <a:pt x="11608" y="3881"/>
                  </a:lnTo>
                  <a:lnTo>
                    <a:pt x="11575" y="3898"/>
                  </a:lnTo>
                  <a:lnTo>
                    <a:pt x="11539" y="3913"/>
                  </a:lnTo>
                  <a:lnTo>
                    <a:pt x="11502" y="3924"/>
                  </a:lnTo>
                  <a:lnTo>
                    <a:pt x="11465" y="3932"/>
                  </a:lnTo>
                  <a:lnTo>
                    <a:pt x="11425" y="3936"/>
                  </a:lnTo>
                  <a:lnTo>
                    <a:pt x="11425" y="4205"/>
                  </a:lnTo>
                  <a:lnTo>
                    <a:pt x="11443" y="4178"/>
                  </a:lnTo>
                  <a:lnTo>
                    <a:pt x="11464" y="4153"/>
                  </a:lnTo>
                  <a:lnTo>
                    <a:pt x="11488" y="4130"/>
                  </a:lnTo>
                  <a:lnTo>
                    <a:pt x="11516" y="4108"/>
                  </a:lnTo>
                  <a:lnTo>
                    <a:pt x="11549" y="4090"/>
                  </a:lnTo>
                  <a:lnTo>
                    <a:pt x="11585" y="4076"/>
                  </a:lnTo>
                  <a:lnTo>
                    <a:pt x="11625" y="4067"/>
                  </a:lnTo>
                  <a:lnTo>
                    <a:pt x="11646" y="4065"/>
                  </a:lnTo>
                  <a:lnTo>
                    <a:pt x="11669" y="4065"/>
                  </a:lnTo>
                  <a:lnTo>
                    <a:pt x="11685" y="4066"/>
                  </a:lnTo>
                  <a:lnTo>
                    <a:pt x="11702" y="4069"/>
                  </a:lnTo>
                  <a:lnTo>
                    <a:pt x="11719" y="4074"/>
                  </a:lnTo>
                  <a:lnTo>
                    <a:pt x="11734" y="4080"/>
                  </a:lnTo>
                  <a:lnTo>
                    <a:pt x="11766" y="4092"/>
                  </a:lnTo>
                  <a:lnTo>
                    <a:pt x="11783" y="4095"/>
                  </a:lnTo>
                  <a:lnTo>
                    <a:pt x="11800" y="4097"/>
                  </a:lnTo>
                  <a:lnTo>
                    <a:pt x="11814" y="4095"/>
                  </a:lnTo>
                  <a:lnTo>
                    <a:pt x="11825" y="4090"/>
                  </a:lnTo>
                  <a:lnTo>
                    <a:pt x="11837" y="4084"/>
                  </a:lnTo>
                  <a:lnTo>
                    <a:pt x="11847" y="4076"/>
                  </a:lnTo>
                  <a:lnTo>
                    <a:pt x="11847" y="3213"/>
                  </a:lnTo>
                  <a:lnTo>
                    <a:pt x="11833" y="3208"/>
                  </a:lnTo>
                  <a:lnTo>
                    <a:pt x="11820" y="3199"/>
                  </a:lnTo>
                  <a:lnTo>
                    <a:pt x="11796" y="3182"/>
                  </a:lnTo>
                  <a:lnTo>
                    <a:pt x="11784" y="3173"/>
                  </a:lnTo>
                  <a:lnTo>
                    <a:pt x="11771" y="3167"/>
                  </a:lnTo>
                  <a:lnTo>
                    <a:pt x="11757" y="3163"/>
                  </a:lnTo>
                  <a:lnTo>
                    <a:pt x="11742" y="3163"/>
                  </a:lnTo>
                  <a:lnTo>
                    <a:pt x="11696" y="3170"/>
                  </a:lnTo>
                  <a:lnTo>
                    <a:pt x="11678" y="3172"/>
                  </a:lnTo>
                  <a:lnTo>
                    <a:pt x="11661" y="3171"/>
                  </a:lnTo>
                  <a:lnTo>
                    <a:pt x="11646" y="3166"/>
                  </a:lnTo>
                  <a:lnTo>
                    <a:pt x="11632" y="3156"/>
                  </a:lnTo>
                  <a:lnTo>
                    <a:pt x="11624" y="3148"/>
                  </a:lnTo>
                  <a:lnTo>
                    <a:pt x="11617" y="3139"/>
                  </a:lnTo>
                  <a:lnTo>
                    <a:pt x="11602" y="3115"/>
                  </a:lnTo>
                  <a:lnTo>
                    <a:pt x="11591" y="3093"/>
                  </a:lnTo>
                  <a:lnTo>
                    <a:pt x="11580" y="3079"/>
                  </a:lnTo>
                  <a:lnTo>
                    <a:pt x="11570" y="3070"/>
                  </a:lnTo>
                  <a:lnTo>
                    <a:pt x="11561" y="3065"/>
                  </a:lnTo>
                  <a:lnTo>
                    <a:pt x="11537" y="3060"/>
                  </a:lnTo>
                  <a:lnTo>
                    <a:pt x="11520" y="3055"/>
                  </a:lnTo>
                  <a:lnTo>
                    <a:pt x="11498" y="3047"/>
                  </a:lnTo>
                  <a:lnTo>
                    <a:pt x="11475" y="3033"/>
                  </a:lnTo>
                  <a:lnTo>
                    <a:pt x="11467" y="3024"/>
                  </a:lnTo>
                  <a:lnTo>
                    <a:pt x="11462" y="3015"/>
                  </a:lnTo>
                  <a:lnTo>
                    <a:pt x="11456" y="2996"/>
                  </a:lnTo>
                  <a:lnTo>
                    <a:pt x="11453" y="2974"/>
                  </a:lnTo>
                  <a:lnTo>
                    <a:pt x="11453" y="2953"/>
                  </a:lnTo>
                  <a:lnTo>
                    <a:pt x="11451" y="2933"/>
                  </a:lnTo>
                  <a:lnTo>
                    <a:pt x="11446" y="2913"/>
                  </a:lnTo>
                  <a:lnTo>
                    <a:pt x="11440" y="2904"/>
                  </a:lnTo>
                  <a:lnTo>
                    <a:pt x="11434" y="2896"/>
                  </a:lnTo>
                  <a:lnTo>
                    <a:pt x="11399" y="2864"/>
                  </a:lnTo>
                  <a:lnTo>
                    <a:pt x="11387" y="2851"/>
                  </a:lnTo>
                  <a:lnTo>
                    <a:pt x="11376" y="2837"/>
                  </a:lnTo>
                  <a:lnTo>
                    <a:pt x="11371" y="2823"/>
                  </a:lnTo>
                  <a:lnTo>
                    <a:pt x="11370" y="2805"/>
                  </a:lnTo>
                  <a:lnTo>
                    <a:pt x="11375" y="2783"/>
                  </a:lnTo>
                  <a:lnTo>
                    <a:pt x="11384" y="2757"/>
                  </a:lnTo>
                  <a:lnTo>
                    <a:pt x="11394" y="2734"/>
                  </a:lnTo>
                  <a:lnTo>
                    <a:pt x="11398" y="2722"/>
                  </a:lnTo>
                  <a:lnTo>
                    <a:pt x="11401" y="2711"/>
                  </a:lnTo>
                  <a:lnTo>
                    <a:pt x="11397" y="2689"/>
                  </a:lnTo>
                  <a:lnTo>
                    <a:pt x="11389" y="2670"/>
                  </a:lnTo>
                  <a:lnTo>
                    <a:pt x="11380" y="2650"/>
                  </a:lnTo>
                  <a:lnTo>
                    <a:pt x="11373" y="2633"/>
                  </a:lnTo>
                  <a:lnTo>
                    <a:pt x="11369" y="2613"/>
                  </a:lnTo>
                  <a:lnTo>
                    <a:pt x="11373" y="2593"/>
                  </a:lnTo>
                  <a:lnTo>
                    <a:pt x="11378" y="2581"/>
                  </a:lnTo>
                  <a:lnTo>
                    <a:pt x="11387" y="2570"/>
                  </a:lnTo>
                  <a:lnTo>
                    <a:pt x="11412" y="2543"/>
                  </a:lnTo>
                  <a:lnTo>
                    <a:pt x="11430" y="2526"/>
                  </a:lnTo>
                  <a:lnTo>
                    <a:pt x="11442" y="2512"/>
                  </a:lnTo>
                  <a:lnTo>
                    <a:pt x="11448" y="2502"/>
                  </a:lnTo>
                  <a:lnTo>
                    <a:pt x="11451" y="2492"/>
                  </a:lnTo>
                  <a:lnTo>
                    <a:pt x="11452" y="2466"/>
                  </a:lnTo>
                  <a:lnTo>
                    <a:pt x="11456" y="2427"/>
                  </a:lnTo>
                  <a:lnTo>
                    <a:pt x="11460" y="2413"/>
                  </a:lnTo>
                  <a:lnTo>
                    <a:pt x="11465" y="2401"/>
                  </a:lnTo>
                  <a:lnTo>
                    <a:pt x="11471" y="2392"/>
                  </a:lnTo>
                  <a:lnTo>
                    <a:pt x="11479" y="2384"/>
                  </a:lnTo>
                  <a:lnTo>
                    <a:pt x="11497" y="2374"/>
                  </a:lnTo>
                  <a:lnTo>
                    <a:pt x="11516" y="2368"/>
                  </a:lnTo>
                  <a:lnTo>
                    <a:pt x="11537" y="2363"/>
                  </a:lnTo>
                  <a:lnTo>
                    <a:pt x="11557" y="2356"/>
                  </a:lnTo>
                  <a:lnTo>
                    <a:pt x="11566" y="2351"/>
                  </a:lnTo>
                  <a:lnTo>
                    <a:pt x="11575" y="2346"/>
                  </a:lnTo>
                  <a:lnTo>
                    <a:pt x="11582" y="2340"/>
                  </a:lnTo>
                  <a:lnTo>
                    <a:pt x="11589" y="2331"/>
                  </a:lnTo>
                  <a:lnTo>
                    <a:pt x="11612" y="2291"/>
                  </a:lnTo>
                  <a:lnTo>
                    <a:pt x="11623" y="2275"/>
                  </a:lnTo>
                  <a:lnTo>
                    <a:pt x="11633" y="2263"/>
                  </a:lnTo>
                  <a:lnTo>
                    <a:pt x="11647" y="2254"/>
                  </a:lnTo>
                  <a:lnTo>
                    <a:pt x="11664" y="2249"/>
                  </a:lnTo>
                  <a:lnTo>
                    <a:pt x="11685" y="2248"/>
                  </a:lnTo>
                  <a:lnTo>
                    <a:pt x="11714" y="2251"/>
                  </a:lnTo>
                  <a:lnTo>
                    <a:pt x="11743" y="2257"/>
                  </a:lnTo>
                  <a:lnTo>
                    <a:pt x="11762" y="2257"/>
                  </a:lnTo>
                  <a:lnTo>
                    <a:pt x="11780" y="2249"/>
                  </a:lnTo>
                  <a:lnTo>
                    <a:pt x="11805" y="2231"/>
                  </a:lnTo>
                  <a:lnTo>
                    <a:pt x="11832" y="2213"/>
                  </a:lnTo>
                  <a:lnTo>
                    <a:pt x="11848" y="2207"/>
                  </a:lnTo>
                  <a:lnTo>
                    <a:pt x="11866" y="2204"/>
                  </a:lnTo>
                  <a:lnTo>
                    <a:pt x="11885" y="2207"/>
                  </a:lnTo>
                  <a:lnTo>
                    <a:pt x="11901" y="2213"/>
                  </a:lnTo>
                  <a:lnTo>
                    <a:pt x="11916" y="2222"/>
                  </a:lnTo>
                  <a:lnTo>
                    <a:pt x="11930" y="2232"/>
                  </a:lnTo>
                  <a:lnTo>
                    <a:pt x="11943" y="2243"/>
                  </a:lnTo>
                  <a:lnTo>
                    <a:pt x="11959" y="2251"/>
                  </a:lnTo>
                  <a:lnTo>
                    <a:pt x="11974" y="2257"/>
                  </a:lnTo>
                  <a:lnTo>
                    <a:pt x="11992" y="2257"/>
                  </a:lnTo>
                  <a:lnTo>
                    <a:pt x="12037" y="2250"/>
                  </a:lnTo>
                  <a:lnTo>
                    <a:pt x="12056" y="2248"/>
                  </a:lnTo>
                  <a:lnTo>
                    <a:pt x="12073" y="2249"/>
                  </a:lnTo>
                  <a:lnTo>
                    <a:pt x="12088" y="2254"/>
                  </a:lnTo>
                  <a:lnTo>
                    <a:pt x="12102" y="2264"/>
                  </a:lnTo>
                  <a:lnTo>
                    <a:pt x="12109" y="2272"/>
                  </a:lnTo>
                  <a:lnTo>
                    <a:pt x="12116" y="2281"/>
                  </a:lnTo>
                  <a:lnTo>
                    <a:pt x="12130" y="2305"/>
                  </a:lnTo>
                  <a:lnTo>
                    <a:pt x="12143" y="2327"/>
                  </a:lnTo>
                  <a:lnTo>
                    <a:pt x="12153" y="2341"/>
                  </a:lnTo>
                  <a:lnTo>
                    <a:pt x="12162" y="2350"/>
                  </a:lnTo>
                  <a:lnTo>
                    <a:pt x="12173" y="2355"/>
                  </a:lnTo>
                  <a:lnTo>
                    <a:pt x="12197" y="2360"/>
                  </a:lnTo>
                  <a:lnTo>
                    <a:pt x="12214" y="2365"/>
                  </a:lnTo>
                  <a:lnTo>
                    <a:pt x="12234" y="2373"/>
                  </a:lnTo>
                  <a:lnTo>
                    <a:pt x="12257" y="2388"/>
                  </a:lnTo>
                  <a:lnTo>
                    <a:pt x="12265" y="2396"/>
                  </a:lnTo>
                  <a:lnTo>
                    <a:pt x="12271" y="2405"/>
                  </a:lnTo>
                  <a:lnTo>
                    <a:pt x="12278" y="2425"/>
                  </a:lnTo>
                  <a:lnTo>
                    <a:pt x="12279" y="2446"/>
                  </a:lnTo>
                  <a:lnTo>
                    <a:pt x="12280" y="2466"/>
                  </a:lnTo>
                  <a:lnTo>
                    <a:pt x="12282" y="2488"/>
                  </a:lnTo>
                  <a:lnTo>
                    <a:pt x="12287" y="2507"/>
                  </a:lnTo>
                  <a:lnTo>
                    <a:pt x="12292" y="2516"/>
                  </a:lnTo>
                  <a:lnTo>
                    <a:pt x="12300" y="2524"/>
                  </a:lnTo>
                  <a:lnTo>
                    <a:pt x="12333" y="2556"/>
                  </a:lnTo>
                  <a:lnTo>
                    <a:pt x="12347" y="2569"/>
                  </a:lnTo>
                  <a:lnTo>
                    <a:pt x="12356" y="2583"/>
                  </a:lnTo>
                  <a:lnTo>
                    <a:pt x="12361" y="2598"/>
                  </a:lnTo>
                  <a:lnTo>
                    <a:pt x="12362" y="2615"/>
                  </a:lnTo>
                  <a:lnTo>
                    <a:pt x="12359" y="2636"/>
                  </a:lnTo>
                  <a:lnTo>
                    <a:pt x="12348" y="2663"/>
                  </a:lnTo>
                  <a:lnTo>
                    <a:pt x="12337" y="2690"/>
                  </a:lnTo>
                  <a:lnTo>
                    <a:pt x="12333" y="2711"/>
                  </a:lnTo>
                  <a:lnTo>
                    <a:pt x="12336" y="2731"/>
                  </a:lnTo>
                  <a:lnTo>
                    <a:pt x="12343" y="2750"/>
                  </a:lnTo>
                  <a:lnTo>
                    <a:pt x="12352" y="2769"/>
                  </a:lnTo>
                  <a:lnTo>
                    <a:pt x="12360" y="2787"/>
                  </a:lnTo>
                  <a:lnTo>
                    <a:pt x="12364" y="2806"/>
                  </a:lnTo>
                  <a:lnTo>
                    <a:pt x="12360" y="2828"/>
                  </a:lnTo>
                  <a:lnTo>
                    <a:pt x="12355" y="2838"/>
                  </a:lnTo>
                  <a:lnTo>
                    <a:pt x="12347" y="2851"/>
                  </a:lnTo>
                  <a:lnTo>
                    <a:pt x="12321" y="2877"/>
                  </a:lnTo>
                  <a:lnTo>
                    <a:pt x="12302" y="2893"/>
                  </a:lnTo>
                  <a:lnTo>
                    <a:pt x="12291" y="2907"/>
                  </a:lnTo>
                  <a:lnTo>
                    <a:pt x="12284" y="2918"/>
                  </a:lnTo>
                  <a:lnTo>
                    <a:pt x="12282" y="2929"/>
                  </a:lnTo>
                  <a:lnTo>
                    <a:pt x="12282" y="2953"/>
                  </a:lnTo>
                  <a:lnTo>
                    <a:pt x="12278" y="2993"/>
                  </a:lnTo>
                  <a:lnTo>
                    <a:pt x="12274" y="3007"/>
                  </a:lnTo>
                  <a:lnTo>
                    <a:pt x="12269" y="3019"/>
                  </a:lnTo>
                  <a:lnTo>
                    <a:pt x="12262" y="3028"/>
                  </a:lnTo>
                  <a:lnTo>
                    <a:pt x="12255" y="3035"/>
                  </a:lnTo>
                  <a:lnTo>
                    <a:pt x="12237" y="3046"/>
                  </a:lnTo>
                  <a:lnTo>
                    <a:pt x="12216" y="3053"/>
                  </a:lnTo>
                  <a:lnTo>
                    <a:pt x="12196" y="3058"/>
                  </a:lnTo>
                  <a:lnTo>
                    <a:pt x="12177" y="3065"/>
                  </a:lnTo>
                  <a:lnTo>
                    <a:pt x="12168" y="3069"/>
                  </a:lnTo>
                  <a:lnTo>
                    <a:pt x="12159" y="3074"/>
                  </a:lnTo>
                  <a:lnTo>
                    <a:pt x="12151" y="3081"/>
                  </a:lnTo>
                  <a:lnTo>
                    <a:pt x="12144" y="3089"/>
                  </a:lnTo>
                  <a:lnTo>
                    <a:pt x="12121" y="3130"/>
                  </a:lnTo>
                  <a:lnTo>
                    <a:pt x="12111" y="3145"/>
                  </a:lnTo>
                  <a:lnTo>
                    <a:pt x="12100" y="3158"/>
                  </a:lnTo>
                  <a:lnTo>
                    <a:pt x="12087" y="3167"/>
                  </a:lnTo>
                  <a:lnTo>
                    <a:pt x="12070" y="3171"/>
                  </a:lnTo>
                  <a:lnTo>
                    <a:pt x="12048" y="3172"/>
                  </a:lnTo>
                  <a:lnTo>
                    <a:pt x="12020" y="3168"/>
                  </a:lnTo>
                  <a:lnTo>
                    <a:pt x="11989" y="3163"/>
                  </a:lnTo>
                  <a:lnTo>
                    <a:pt x="11971" y="3163"/>
                  </a:lnTo>
                  <a:lnTo>
                    <a:pt x="11953" y="3172"/>
                  </a:lnTo>
                  <a:lnTo>
                    <a:pt x="11929" y="3189"/>
                  </a:lnTo>
                  <a:lnTo>
                    <a:pt x="11910" y="3202"/>
                  </a:lnTo>
                  <a:lnTo>
                    <a:pt x="11887" y="3213"/>
                  </a:lnTo>
                  <a:lnTo>
                    <a:pt x="11887" y="4017"/>
                  </a:lnTo>
                  <a:lnTo>
                    <a:pt x="11933" y="3925"/>
                  </a:lnTo>
                  <a:lnTo>
                    <a:pt x="11961" y="3877"/>
                  </a:lnTo>
                  <a:lnTo>
                    <a:pt x="11994" y="3829"/>
                  </a:lnTo>
                  <a:lnTo>
                    <a:pt x="12014" y="3808"/>
                  </a:lnTo>
                  <a:lnTo>
                    <a:pt x="12035" y="3787"/>
                  </a:lnTo>
                  <a:lnTo>
                    <a:pt x="12060" y="3769"/>
                  </a:lnTo>
                  <a:lnTo>
                    <a:pt x="12073" y="3762"/>
                  </a:lnTo>
                  <a:lnTo>
                    <a:pt x="12085" y="3754"/>
                  </a:lnTo>
                  <a:lnTo>
                    <a:pt x="12115" y="3741"/>
                  </a:lnTo>
                  <a:lnTo>
                    <a:pt x="12148" y="3731"/>
                  </a:lnTo>
                  <a:lnTo>
                    <a:pt x="12184" y="3725"/>
                  </a:lnTo>
                  <a:lnTo>
                    <a:pt x="12224" y="3723"/>
                  </a:lnTo>
                  <a:lnTo>
                    <a:pt x="12283" y="3727"/>
                  </a:lnTo>
                  <a:lnTo>
                    <a:pt x="12341" y="3739"/>
                  </a:lnTo>
                  <a:lnTo>
                    <a:pt x="12368" y="3748"/>
                  </a:lnTo>
                  <a:lnTo>
                    <a:pt x="12395" y="3758"/>
                  </a:lnTo>
                  <a:lnTo>
                    <a:pt x="12420" y="3769"/>
                  </a:lnTo>
                  <a:lnTo>
                    <a:pt x="12446" y="3782"/>
                  </a:lnTo>
                  <a:lnTo>
                    <a:pt x="12446" y="3681"/>
                  </a:lnTo>
                  <a:lnTo>
                    <a:pt x="12447" y="3672"/>
                  </a:lnTo>
                  <a:lnTo>
                    <a:pt x="12452" y="3666"/>
                  </a:lnTo>
                  <a:lnTo>
                    <a:pt x="12459" y="3662"/>
                  </a:lnTo>
                  <a:lnTo>
                    <a:pt x="12465" y="3661"/>
                  </a:lnTo>
                  <a:lnTo>
                    <a:pt x="12473" y="3662"/>
                  </a:lnTo>
                  <a:lnTo>
                    <a:pt x="12479" y="3666"/>
                  </a:lnTo>
                  <a:lnTo>
                    <a:pt x="12484" y="3672"/>
                  </a:lnTo>
                  <a:lnTo>
                    <a:pt x="12486" y="3681"/>
                  </a:lnTo>
                  <a:close/>
                  <a:moveTo>
                    <a:pt x="12630" y="4171"/>
                  </a:moveTo>
                  <a:lnTo>
                    <a:pt x="12628" y="4130"/>
                  </a:lnTo>
                  <a:lnTo>
                    <a:pt x="12621" y="4089"/>
                  </a:lnTo>
                  <a:lnTo>
                    <a:pt x="12613" y="4051"/>
                  </a:lnTo>
                  <a:lnTo>
                    <a:pt x="12598" y="4012"/>
                  </a:lnTo>
                  <a:lnTo>
                    <a:pt x="12582" y="3976"/>
                  </a:lnTo>
                  <a:lnTo>
                    <a:pt x="12561" y="3943"/>
                  </a:lnTo>
                  <a:lnTo>
                    <a:pt x="12537" y="3911"/>
                  </a:lnTo>
                  <a:lnTo>
                    <a:pt x="12511" y="3883"/>
                  </a:lnTo>
                  <a:lnTo>
                    <a:pt x="12482" y="3856"/>
                  </a:lnTo>
                  <a:lnTo>
                    <a:pt x="12451" y="3833"/>
                  </a:lnTo>
                  <a:lnTo>
                    <a:pt x="12418" y="3813"/>
                  </a:lnTo>
                  <a:lnTo>
                    <a:pt x="12382" y="3795"/>
                  </a:lnTo>
                  <a:lnTo>
                    <a:pt x="12345" y="3781"/>
                  </a:lnTo>
                  <a:lnTo>
                    <a:pt x="12306" y="3772"/>
                  </a:lnTo>
                  <a:lnTo>
                    <a:pt x="12265" y="3765"/>
                  </a:lnTo>
                  <a:lnTo>
                    <a:pt x="12224" y="3763"/>
                  </a:lnTo>
                  <a:lnTo>
                    <a:pt x="12197" y="3764"/>
                  </a:lnTo>
                  <a:lnTo>
                    <a:pt x="12173" y="3767"/>
                  </a:lnTo>
                  <a:lnTo>
                    <a:pt x="12150" y="3772"/>
                  </a:lnTo>
                  <a:lnTo>
                    <a:pt x="12128" y="3780"/>
                  </a:lnTo>
                  <a:lnTo>
                    <a:pt x="12089" y="3797"/>
                  </a:lnTo>
                  <a:lnTo>
                    <a:pt x="12073" y="3809"/>
                  </a:lnTo>
                  <a:lnTo>
                    <a:pt x="12057" y="3822"/>
                  </a:lnTo>
                  <a:lnTo>
                    <a:pt x="12029" y="3850"/>
                  </a:lnTo>
                  <a:lnTo>
                    <a:pt x="12005" y="3881"/>
                  </a:lnTo>
                  <a:lnTo>
                    <a:pt x="11984" y="3915"/>
                  </a:lnTo>
                  <a:lnTo>
                    <a:pt x="11965" y="3950"/>
                  </a:lnTo>
                  <a:lnTo>
                    <a:pt x="11932" y="4017"/>
                  </a:lnTo>
                  <a:lnTo>
                    <a:pt x="11915" y="4049"/>
                  </a:lnTo>
                  <a:lnTo>
                    <a:pt x="11897" y="4077"/>
                  </a:lnTo>
                  <a:lnTo>
                    <a:pt x="11878" y="4102"/>
                  </a:lnTo>
                  <a:lnTo>
                    <a:pt x="11866" y="4112"/>
                  </a:lnTo>
                  <a:lnTo>
                    <a:pt x="11855" y="4120"/>
                  </a:lnTo>
                  <a:lnTo>
                    <a:pt x="11843" y="4127"/>
                  </a:lnTo>
                  <a:lnTo>
                    <a:pt x="11830" y="4132"/>
                  </a:lnTo>
                  <a:lnTo>
                    <a:pt x="11800" y="4136"/>
                  </a:lnTo>
                  <a:lnTo>
                    <a:pt x="11783" y="4135"/>
                  </a:lnTo>
                  <a:lnTo>
                    <a:pt x="11766" y="4131"/>
                  </a:lnTo>
                  <a:lnTo>
                    <a:pt x="11750" y="4126"/>
                  </a:lnTo>
                  <a:lnTo>
                    <a:pt x="11734" y="4120"/>
                  </a:lnTo>
                  <a:lnTo>
                    <a:pt x="11702" y="4109"/>
                  </a:lnTo>
                  <a:lnTo>
                    <a:pt x="11685" y="4106"/>
                  </a:lnTo>
                  <a:lnTo>
                    <a:pt x="11669" y="4104"/>
                  </a:lnTo>
                  <a:lnTo>
                    <a:pt x="11625" y="4108"/>
                  </a:lnTo>
                  <a:lnTo>
                    <a:pt x="11603" y="4112"/>
                  </a:lnTo>
                  <a:lnTo>
                    <a:pt x="11584" y="4118"/>
                  </a:lnTo>
                  <a:lnTo>
                    <a:pt x="11565" y="4127"/>
                  </a:lnTo>
                  <a:lnTo>
                    <a:pt x="11546" y="4136"/>
                  </a:lnTo>
                  <a:lnTo>
                    <a:pt x="11529" y="4148"/>
                  </a:lnTo>
                  <a:lnTo>
                    <a:pt x="11512" y="4161"/>
                  </a:lnTo>
                  <a:lnTo>
                    <a:pt x="11498" y="4175"/>
                  </a:lnTo>
                  <a:lnTo>
                    <a:pt x="11484" y="4190"/>
                  </a:lnTo>
                  <a:lnTo>
                    <a:pt x="11471" y="4208"/>
                  </a:lnTo>
                  <a:lnTo>
                    <a:pt x="11461" y="4226"/>
                  </a:lnTo>
                  <a:lnTo>
                    <a:pt x="11452" y="4245"/>
                  </a:lnTo>
                  <a:lnTo>
                    <a:pt x="11444" y="4265"/>
                  </a:lnTo>
                  <a:lnTo>
                    <a:pt x="11438" y="4286"/>
                  </a:lnTo>
                  <a:lnTo>
                    <a:pt x="11434" y="4309"/>
                  </a:lnTo>
                  <a:lnTo>
                    <a:pt x="12171" y="4309"/>
                  </a:lnTo>
                  <a:lnTo>
                    <a:pt x="12177" y="4305"/>
                  </a:lnTo>
                  <a:lnTo>
                    <a:pt x="12184" y="4304"/>
                  </a:lnTo>
                  <a:lnTo>
                    <a:pt x="12609" y="4304"/>
                  </a:lnTo>
                  <a:lnTo>
                    <a:pt x="12618" y="4271"/>
                  </a:lnTo>
                  <a:lnTo>
                    <a:pt x="12625" y="4239"/>
                  </a:lnTo>
                  <a:lnTo>
                    <a:pt x="12629" y="4204"/>
                  </a:lnTo>
                  <a:lnTo>
                    <a:pt x="12630" y="4171"/>
                  </a:lnTo>
                  <a:close/>
                  <a:moveTo>
                    <a:pt x="11425" y="3810"/>
                  </a:moveTo>
                  <a:lnTo>
                    <a:pt x="11524" y="3712"/>
                  </a:lnTo>
                  <a:lnTo>
                    <a:pt x="11532" y="3707"/>
                  </a:lnTo>
                  <a:lnTo>
                    <a:pt x="11539" y="3705"/>
                  </a:lnTo>
                  <a:lnTo>
                    <a:pt x="11547" y="3707"/>
                  </a:lnTo>
                  <a:lnTo>
                    <a:pt x="11553" y="3712"/>
                  </a:lnTo>
                  <a:lnTo>
                    <a:pt x="11557" y="3717"/>
                  </a:lnTo>
                  <a:lnTo>
                    <a:pt x="11558" y="3725"/>
                  </a:lnTo>
                  <a:lnTo>
                    <a:pt x="11557" y="3732"/>
                  </a:lnTo>
                  <a:lnTo>
                    <a:pt x="11553" y="3740"/>
                  </a:lnTo>
                  <a:lnTo>
                    <a:pt x="11426" y="3866"/>
                  </a:lnTo>
                  <a:lnTo>
                    <a:pt x="11425" y="3895"/>
                  </a:lnTo>
                  <a:lnTo>
                    <a:pt x="11460" y="3892"/>
                  </a:lnTo>
                  <a:lnTo>
                    <a:pt x="11494" y="3884"/>
                  </a:lnTo>
                  <a:lnTo>
                    <a:pt x="11528" y="3874"/>
                  </a:lnTo>
                  <a:lnTo>
                    <a:pt x="11558" y="3861"/>
                  </a:lnTo>
                  <a:lnTo>
                    <a:pt x="11589" y="3846"/>
                  </a:lnTo>
                  <a:lnTo>
                    <a:pt x="11617" y="3828"/>
                  </a:lnTo>
                  <a:lnTo>
                    <a:pt x="11643" y="3806"/>
                  </a:lnTo>
                  <a:lnTo>
                    <a:pt x="11667" y="3783"/>
                  </a:lnTo>
                  <a:lnTo>
                    <a:pt x="11689" y="3758"/>
                  </a:lnTo>
                  <a:lnTo>
                    <a:pt x="11710" y="3731"/>
                  </a:lnTo>
                  <a:lnTo>
                    <a:pt x="11726" y="3702"/>
                  </a:lnTo>
                  <a:lnTo>
                    <a:pt x="11741" y="3671"/>
                  </a:lnTo>
                  <a:lnTo>
                    <a:pt x="11752" y="3639"/>
                  </a:lnTo>
                  <a:lnTo>
                    <a:pt x="11761" y="3606"/>
                  </a:lnTo>
                  <a:lnTo>
                    <a:pt x="11766" y="3571"/>
                  </a:lnTo>
                  <a:lnTo>
                    <a:pt x="11767" y="3535"/>
                  </a:lnTo>
                  <a:lnTo>
                    <a:pt x="11765" y="3498"/>
                  </a:lnTo>
                  <a:lnTo>
                    <a:pt x="11760" y="3462"/>
                  </a:lnTo>
                  <a:lnTo>
                    <a:pt x="11751" y="3428"/>
                  </a:lnTo>
                  <a:lnTo>
                    <a:pt x="11739" y="3395"/>
                  </a:lnTo>
                  <a:lnTo>
                    <a:pt x="11724" y="3363"/>
                  </a:lnTo>
                  <a:lnTo>
                    <a:pt x="11706" y="3333"/>
                  </a:lnTo>
                  <a:lnTo>
                    <a:pt x="11684" y="3305"/>
                  </a:lnTo>
                  <a:lnTo>
                    <a:pt x="11661" y="3280"/>
                  </a:lnTo>
                  <a:lnTo>
                    <a:pt x="11635" y="3257"/>
                  </a:lnTo>
                  <a:lnTo>
                    <a:pt x="11608" y="3236"/>
                  </a:lnTo>
                  <a:lnTo>
                    <a:pt x="11578" y="3218"/>
                  </a:lnTo>
                  <a:lnTo>
                    <a:pt x="11547" y="3203"/>
                  </a:lnTo>
                  <a:lnTo>
                    <a:pt x="11530" y="3196"/>
                  </a:lnTo>
                  <a:lnTo>
                    <a:pt x="11514" y="3190"/>
                  </a:lnTo>
                  <a:lnTo>
                    <a:pt x="11479" y="3181"/>
                  </a:lnTo>
                  <a:lnTo>
                    <a:pt x="11443" y="3176"/>
                  </a:lnTo>
                  <a:lnTo>
                    <a:pt x="11406" y="3175"/>
                  </a:lnTo>
                  <a:lnTo>
                    <a:pt x="11369" y="3176"/>
                  </a:lnTo>
                  <a:lnTo>
                    <a:pt x="11333" y="3181"/>
                  </a:lnTo>
                  <a:lnTo>
                    <a:pt x="11298" y="3190"/>
                  </a:lnTo>
                  <a:lnTo>
                    <a:pt x="11265" y="3203"/>
                  </a:lnTo>
                  <a:lnTo>
                    <a:pt x="11233" y="3218"/>
                  </a:lnTo>
                  <a:lnTo>
                    <a:pt x="11203" y="3236"/>
                  </a:lnTo>
                  <a:lnTo>
                    <a:pt x="11175" y="3257"/>
                  </a:lnTo>
                  <a:lnTo>
                    <a:pt x="11149" y="3280"/>
                  </a:lnTo>
                  <a:lnTo>
                    <a:pt x="11126" y="3305"/>
                  </a:lnTo>
                  <a:lnTo>
                    <a:pt x="11106" y="3333"/>
                  </a:lnTo>
                  <a:lnTo>
                    <a:pt x="11088" y="3363"/>
                  </a:lnTo>
                  <a:lnTo>
                    <a:pt x="11072" y="3395"/>
                  </a:lnTo>
                  <a:lnTo>
                    <a:pt x="11066" y="3411"/>
                  </a:lnTo>
                  <a:lnTo>
                    <a:pt x="11060" y="3428"/>
                  </a:lnTo>
                  <a:lnTo>
                    <a:pt x="11051" y="3462"/>
                  </a:lnTo>
                  <a:lnTo>
                    <a:pt x="11046" y="3498"/>
                  </a:lnTo>
                  <a:lnTo>
                    <a:pt x="11044" y="3535"/>
                  </a:lnTo>
                  <a:lnTo>
                    <a:pt x="11046" y="3570"/>
                  </a:lnTo>
                  <a:lnTo>
                    <a:pt x="11051" y="3606"/>
                  </a:lnTo>
                  <a:lnTo>
                    <a:pt x="11060" y="3639"/>
                  </a:lnTo>
                  <a:lnTo>
                    <a:pt x="11070" y="3671"/>
                  </a:lnTo>
                  <a:lnTo>
                    <a:pt x="11085" y="3702"/>
                  </a:lnTo>
                  <a:lnTo>
                    <a:pt x="11102" y="3731"/>
                  </a:lnTo>
                  <a:lnTo>
                    <a:pt x="11121" y="3758"/>
                  </a:lnTo>
                  <a:lnTo>
                    <a:pt x="11143" y="3783"/>
                  </a:lnTo>
                  <a:lnTo>
                    <a:pt x="11167" y="3806"/>
                  </a:lnTo>
                  <a:lnTo>
                    <a:pt x="11193" y="3827"/>
                  </a:lnTo>
                  <a:lnTo>
                    <a:pt x="11221" y="3846"/>
                  </a:lnTo>
                  <a:lnTo>
                    <a:pt x="11252" y="3861"/>
                  </a:lnTo>
                  <a:lnTo>
                    <a:pt x="11283" y="3874"/>
                  </a:lnTo>
                  <a:lnTo>
                    <a:pt x="11316" y="3884"/>
                  </a:lnTo>
                  <a:lnTo>
                    <a:pt x="11349" y="3891"/>
                  </a:lnTo>
                  <a:lnTo>
                    <a:pt x="11385" y="3895"/>
                  </a:lnTo>
                  <a:lnTo>
                    <a:pt x="11385" y="3757"/>
                  </a:lnTo>
                  <a:lnTo>
                    <a:pt x="11258" y="3631"/>
                  </a:lnTo>
                  <a:lnTo>
                    <a:pt x="11253" y="3624"/>
                  </a:lnTo>
                  <a:lnTo>
                    <a:pt x="11252" y="3616"/>
                  </a:lnTo>
                  <a:lnTo>
                    <a:pt x="11255" y="3608"/>
                  </a:lnTo>
                  <a:lnTo>
                    <a:pt x="11258" y="3602"/>
                  </a:lnTo>
                  <a:lnTo>
                    <a:pt x="11265" y="3598"/>
                  </a:lnTo>
                  <a:lnTo>
                    <a:pt x="11271" y="3597"/>
                  </a:lnTo>
                  <a:lnTo>
                    <a:pt x="11279" y="3598"/>
                  </a:lnTo>
                  <a:lnTo>
                    <a:pt x="11287" y="3602"/>
                  </a:lnTo>
                  <a:lnTo>
                    <a:pt x="11385" y="3700"/>
                  </a:lnTo>
                  <a:lnTo>
                    <a:pt x="11385" y="3589"/>
                  </a:lnTo>
                  <a:lnTo>
                    <a:pt x="11385" y="3581"/>
                  </a:lnTo>
                  <a:lnTo>
                    <a:pt x="11385" y="3447"/>
                  </a:lnTo>
                  <a:lnTo>
                    <a:pt x="11387" y="3439"/>
                  </a:lnTo>
                  <a:lnTo>
                    <a:pt x="11392" y="3433"/>
                  </a:lnTo>
                  <a:lnTo>
                    <a:pt x="11398" y="3429"/>
                  </a:lnTo>
                  <a:lnTo>
                    <a:pt x="11405" y="3428"/>
                  </a:lnTo>
                  <a:lnTo>
                    <a:pt x="11412" y="3429"/>
                  </a:lnTo>
                  <a:lnTo>
                    <a:pt x="11419" y="3433"/>
                  </a:lnTo>
                  <a:lnTo>
                    <a:pt x="11424" y="3439"/>
                  </a:lnTo>
                  <a:lnTo>
                    <a:pt x="11425" y="3447"/>
                  </a:lnTo>
                  <a:lnTo>
                    <a:pt x="11425" y="3537"/>
                  </a:lnTo>
                  <a:lnTo>
                    <a:pt x="11517" y="3445"/>
                  </a:lnTo>
                  <a:lnTo>
                    <a:pt x="11525" y="3439"/>
                  </a:lnTo>
                  <a:lnTo>
                    <a:pt x="11533" y="3438"/>
                  </a:lnTo>
                  <a:lnTo>
                    <a:pt x="11541" y="3441"/>
                  </a:lnTo>
                  <a:lnTo>
                    <a:pt x="11546" y="3445"/>
                  </a:lnTo>
                  <a:lnTo>
                    <a:pt x="11551" y="3451"/>
                  </a:lnTo>
                  <a:lnTo>
                    <a:pt x="11552" y="3457"/>
                  </a:lnTo>
                  <a:lnTo>
                    <a:pt x="11551" y="3465"/>
                  </a:lnTo>
                  <a:lnTo>
                    <a:pt x="11546" y="3473"/>
                  </a:lnTo>
                  <a:lnTo>
                    <a:pt x="11425" y="3593"/>
                  </a:lnTo>
                  <a:lnTo>
                    <a:pt x="11425" y="3810"/>
                  </a:lnTo>
                  <a:close/>
                  <a:moveTo>
                    <a:pt x="11847" y="2875"/>
                  </a:moveTo>
                  <a:lnTo>
                    <a:pt x="11847" y="2753"/>
                  </a:lnTo>
                  <a:lnTo>
                    <a:pt x="11743" y="2650"/>
                  </a:lnTo>
                  <a:lnTo>
                    <a:pt x="11738" y="2643"/>
                  </a:lnTo>
                  <a:lnTo>
                    <a:pt x="11737" y="2635"/>
                  </a:lnTo>
                  <a:lnTo>
                    <a:pt x="11739" y="2627"/>
                  </a:lnTo>
                  <a:lnTo>
                    <a:pt x="11743" y="2622"/>
                  </a:lnTo>
                  <a:lnTo>
                    <a:pt x="11750" y="2617"/>
                  </a:lnTo>
                  <a:lnTo>
                    <a:pt x="11757" y="2616"/>
                  </a:lnTo>
                  <a:lnTo>
                    <a:pt x="11764" y="2617"/>
                  </a:lnTo>
                  <a:lnTo>
                    <a:pt x="11771" y="2622"/>
                  </a:lnTo>
                  <a:lnTo>
                    <a:pt x="11847" y="2696"/>
                  </a:lnTo>
                  <a:lnTo>
                    <a:pt x="11847" y="2643"/>
                  </a:lnTo>
                  <a:lnTo>
                    <a:pt x="11848" y="2634"/>
                  </a:lnTo>
                  <a:lnTo>
                    <a:pt x="11853" y="2627"/>
                  </a:lnTo>
                  <a:lnTo>
                    <a:pt x="11860" y="2624"/>
                  </a:lnTo>
                  <a:lnTo>
                    <a:pt x="11866" y="2622"/>
                  </a:lnTo>
                  <a:lnTo>
                    <a:pt x="11874" y="2624"/>
                  </a:lnTo>
                  <a:lnTo>
                    <a:pt x="11880" y="2627"/>
                  </a:lnTo>
                  <a:lnTo>
                    <a:pt x="11885" y="2634"/>
                  </a:lnTo>
                  <a:lnTo>
                    <a:pt x="11887" y="2643"/>
                  </a:lnTo>
                  <a:lnTo>
                    <a:pt x="11887" y="2741"/>
                  </a:lnTo>
                  <a:lnTo>
                    <a:pt x="11887" y="2748"/>
                  </a:lnTo>
                  <a:lnTo>
                    <a:pt x="11887" y="2831"/>
                  </a:lnTo>
                  <a:lnTo>
                    <a:pt x="12024" y="2693"/>
                  </a:lnTo>
                  <a:lnTo>
                    <a:pt x="12032" y="2688"/>
                  </a:lnTo>
                  <a:lnTo>
                    <a:pt x="12039" y="2686"/>
                  </a:lnTo>
                  <a:lnTo>
                    <a:pt x="12047" y="2689"/>
                  </a:lnTo>
                  <a:lnTo>
                    <a:pt x="12052" y="2693"/>
                  </a:lnTo>
                  <a:lnTo>
                    <a:pt x="12057" y="2699"/>
                  </a:lnTo>
                  <a:lnTo>
                    <a:pt x="12059" y="2707"/>
                  </a:lnTo>
                  <a:lnTo>
                    <a:pt x="12057" y="2714"/>
                  </a:lnTo>
                  <a:lnTo>
                    <a:pt x="12052" y="2721"/>
                  </a:lnTo>
                  <a:lnTo>
                    <a:pt x="11887" y="2887"/>
                  </a:lnTo>
                  <a:lnTo>
                    <a:pt x="11887" y="2960"/>
                  </a:lnTo>
                  <a:lnTo>
                    <a:pt x="11887" y="2968"/>
                  </a:lnTo>
                  <a:lnTo>
                    <a:pt x="11887" y="3172"/>
                  </a:lnTo>
                  <a:lnTo>
                    <a:pt x="11897" y="3164"/>
                  </a:lnTo>
                  <a:lnTo>
                    <a:pt x="11907" y="3156"/>
                  </a:lnTo>
                  <a:lnTo>
                    <a:pt x="11919" y="3147"/>
                  </a:lnTo>
                  <a:lnTo>
                    <a:pt x="11932" y="3138"/>
                  </a:lnTo>
                  <a:lnTo>
                    <a:pt x="11947" y="3130"/>
                  </a:lnTo>
                  <a:lnTo>
                    <a:pt x="11968" y="3126"/>
                  </a:lnTo>
                  <a:lnTo>
                    <a:pt x="11993" y="3125"/>
                  </a:lnTo>
                  <a:lnTo>
                    <a:pt x="12027" y="3129"/>
                  </a:lnTo>
                  <a:lnTo>
                    <a:pt x="12043" y="3131"/>
                  </a:lnTo>
                  <a:lnTo>
                    <a:pt x="12056" y="3131"/>
                  </a:lnTo>
                  <a:lnTo>
                    <a:pt x="12066" y="3129"/>
                  </a:lnTo>
                  <a:lnTo>
                    <a:pt x="12075" y="3125"/>
                  </a:lnTo>
                  <a:lnTo>
                    <a:pt x="12088" y="3112"/>
                  </a:lnTo>
                  <a:lnTo>
                    <a:pt x="12097" y="3097"/>
                  </a:lnTo>
                  <a:lnTo>
                    <a:pt x="12106" y="3078"/>
                  </a:lnTo>
                  <a:lnTo>
                    <a:pt x="12118" y="3058"/>
                  </a:lnTo>
                  <a:lnTo>
                    <a:pt x="12135" y="3040"/>
                  </a:lnTo>
                  <a:lnTo>
                    <a:pt x="12148" y="3033"/>
                  </a:lnTo>
                  <a:lnTo>
                    <a:pt x="12162" y="3026"/>
                  </a:lnTo>
                  <a:lnTo>
                    <a:pt x="12211" y="3012"/>
                  </a:lnTo>
                  <a:lnTo>
                    <a:pt x="12224" y="3007"/>
                  </a:lnTo>
                  <a:lnTo>
                    <a:pt x="12232" y="3001"/>
                  </a:lnTo>
                  <a:lnTo>
                    <a:pt x="12237" y="2992"/>
                  </a:lnTo>
                  <a:lnTo>
                    <a:pt x="12238" y="2978"/>
                  </a:lnTo>
                  <a:lnTo>
                    <a:pt x="12242" y="2928"/>
                  </a:lnTo>
                  <a:lnTo>
                    <a:pt x="12244" y="2911"/>
                  </a:lnTo>
                  <a:lnTo>
                    <a:pt x="12250" y="2897"/>
                  </a:lnTo>
                  <a:lnTo>
                    <a:pt x="12262" y="2875"/>
                  </a:lnTo>
                  <a:lnTo>
                    <a:pt x="12270" y="2868"/>
                  </a:lnTo>
                  <a:lnTo>
                    <a:pt x="12279" y="2860"/>
                  </a:lnTo>
                  <a:lnTo>
                    <a:pt x="12296" y="2847"/>
                  </a:lnTo>
                  <a:lnTo>
                    <a:pt x="12310" y="2836"/>
                  </a:lnTo>
                  <a:lnTo>
                    <a:pt x="12315" y="2828"/>
                  </a:lnTo>
                  <a:lnTo>
                    <a:pt x="12319" y="2821"/>
                  </a:lnTo>
                  <a:lnTo>
                    <a:pt x="12320" y="2812"/>
                  </a:lnTo>
                  <a:lnTo>
                    <a:pt x="12320" y="2801"/>
                  </a:lnTo>
                  <a:lnTo>
                    <a:pt x="12312" y="2773"/>
                  </a:lnTo>
                  <a:lnTo>
                    <a:pt x="12300" y="2743"/>
                  </a:lnTo>
                  <a:lnTo>
                    <a:pt x="12294" y="2727"/>
                  </a:lnTo>
                  <a:lnTo>
                    <a:pt x="12293" y="2711"/>
                  </a:lnTo>
                  <a:lnTo>
                    <a:pt x="12294" y="2693"/>
                  </a:lnTo>
                  <a:lnTo>
                    <a:pt x="12300" y="2676"/>
                  </a:lnTo>
                  <a:lnTo>
                    <a:pt x="12318" y="2629"/>
                  </a:lnTo>
                  <a:lnTo>
                    <a:pt x="12323" y="2616"/>
                  </a:lnTo>
                  <a:lnTo>
                    <a:pt x="12323" y="2606"/>
                  </a:lnTo>
                  <a:lnTo>
                    <a:pt x="12319" y="2598"/>
                  </a:lnTo>
                  <a:lnTo>
                    <a:pt x="12309" y="2588"/>
                  </a:lnTo>
                  <a:lnTo>
                    <a:pt x="12271" y="2553"/>
                  </a:lnTo>
                  <a:lnTo>
                    <a:pt x="12261" y="2540"/>
                  </a:lnTo>
                  <a:lnTo>
                    <a:pt x="12252" y="2529"/>
                  </a:lnTo>
                  <a:lnTo>
                    <a:pt x="12247" y="2516"/>
                  </a:lnTo>
                  <a:lnTo>
                    <a:pt x="12243" y="2505"/>
                  </a:lnTo>
                  <a:lnTo>
                    <a:pt x="12242" y="2483"/>
                  </a:lnTo>
                  <a:lnTo>
                    <a:pt x="12242" y="2461"/>
                  </a:lnTo>
                  <a:lnTo>
                    <a:pt x="12241" y="2443"/>
                  </a:lnTo>
                  <a:lnTo>
                    <a:pt x="12238" y="2434"/>
                  </a:lnTo>
                  <a:lnTo>
                    <a:pt x="12236" y="2427"/>
                  </a:lnTo>
                  <a:lnTo>
                    <a:pt x="12229" y="2419"/>
                  </a:lnTo>
                  <a:lnTo>
                    <a:pt x="12220" y="2413"/>
                  </a:lnTo>
                  <a:lnTo>
                    <a:pt x="12209" y="2406"/>
                  </a:lnTo>
                  <a:lnTo>
                    <a:pt x="12193" y="2401"/>
                  </a:lnTo>
                  <a:lnTo>
                    <a:pt x="12164" y="2393"/>
                  </a:lnTo>
                  <a:lnTo>
                    <a:pt x="12143" y="2384"/>
                  </a:lnTo>
                  <a:lnTo>
                    <a:pt x="12129" y="2376"/>
                  </a:lnTo>
                  <a:lnTo>
                    <a:pt x="12120" y="2365"/>
                  </a:lnTo>
                  <a:lnTo>
                    <a:pt x="12106" y="2340"/>
                  </a:lnTo>
                  <a:lnTo>
                    <a:pt x="12096" y="2322"/>
                  </a:lnTo>
                  <a:lnTo>
                    <a:pt x="12082" y="2301"/>
                  </a:lnTo>
                  <a:lnTo>
                    <a:pt x="12077" y="2295"/>
                  </a:lnTo>
                  <a:lnTo>
                    <a:pt x="12070" y="2291"/>
                  </a:lnTo>
                  <a:lnTo>
                    <a:pt x="12055" y="2287"/>
                  </a:lnTo>
                  <a:lnTo>
                    <a:pt x="12038" y="2289"/>
                  </a:lnTo>
                  <a:lnTo>
                    <a:pt x="12020" y="2292"/>
                  </a:lnTo>
                  <a:lnTo>
                    <a:pt x="12000" y="2296"/>
                  </a:lnTo>
                  <a:lnTo>
                    <a:pt x="11978" y="2296"/>
                  </a:lnTo>
                  <a:lnTo>
                    <a:pt x="11955" y="2292"/>
                  </a:lnTo>
                  <a:lnTo>
                    <a:pt x="11930" y="2281"/>
                  </a:lnTo>
                  <a:lnTo>
                    <a:pt x="11900" y="2259"/>
                  </a:lnTo>
                  <a:lnTo>
                    <a:pt x="11882" y="2248"/>
                  </a:lnTo>
                  <a:lnTo>
                    <a:pt x="11866" y="2244"/>
                  </a:lnTo>
                  <a:lnTo>
                    <a:pt x="11851" y="2246"/>
                  </a:lnTo>
                  <a:lnTo>
                    <a:pt x="11843" y="2250"/>
                  </a:lnTo>
                  <a:lnTo>
                    <a:pt x="11837" y="2254"/>
                  </a:lnTo>
                  <a:lnTo>
                    <a:pt x="11812" y="2276"/>
                  </a:lnTo>
                  <a:lnTo>
                    <a:pt x="11796" y="2286"/>
                  </a:lnTo>
                  <a:lnTo>
                    <a:pt x="11774" y="2294"/>
                  </a:lnTo>
                  <a:lnTo>
                    <a:pt x="11744" y="2295"/>
                  </a:lnTo>
                  <a:lnTo>
                    <a:pt x="11726" y="2294"/>
                  </a:lnTo>
                  <a:lnTo>
                    <a:pt x="11706" y="2291"/>
                  </a:lnTo>
                  <a:lnTo>
                    <a:pt x="11691" y="2289"/>
                  </a:lnTo>
                  <a:lnTo>
                    <a:pt x="11676" y="2289"/>
                  </a:lnTo>
                  <a:lnTo>
                    <a:pt x="11666" y="2291"/>
                  </a:lnTo>
                  <a:lnTo>
                    <a:pt x="11658" y="2295"/>
                  </a:lnTo>
                  <a:lnTo>
                    <a:pt x="11646" y="2308"/>
                  </a:lnTo>
                  <a:lnTo>
                    <a:pt x="11637" y="2324"/>
                  </a:lnTo>
                  <a:lnTo>
                    <a:pt x="11628" y="2342"/>
                  </a:lnTo>
                  <a:lnTo>
                    <a:pt x="11616" y="2361"/>
                  </a:lnTo>
                  <a:lnTo>
                    <a:pt x="11598" y="2379"/>
                  </a:lnTo>
                  <a:lnTo>
                    <a:pt x="11585" y="2387"/>
                  </a:lnTo>
                  <a:lnTo>
                    <a:pt x="11570" y="2393"/>
                  </a:lnTo>
                  <a:lnTo>
                    <a:pt x="11521" y="2409"/>
                  </a:lnTo>
                  <a:lnTo>
                    <a:pt x="11508" y="2414"/>
                  </a:lnTo>
                  <a:lnTo>
                    <a:pt x="11501" y="2419"/>
                  </a:lnTo>
                  <a:lnTo>
                    <a:pt x="11497" y="2428"/>
                  </a:lnTo>
                  <a:lnTo>
                    <a:pt x="11494" y="2442"/>
                  </a:lnTo>
                  <a:lnTo>
                    <a:pt x="11491" y="2492"/>
                  </a:lnTo>
                  <a:lnTo>
                    <a:pt x="11488" y="2509"/>
                  </a:lnTo>
                  <a:lnTo>
                    <a:pt x="11484" y="2523"/>
                  </a:lnTo>
                  <a:lnTo>
                    <a:pt x="11470" y="2544"/>
                  </a:lnTo>
                  <a:lnTo>
                    <a:pt x="11462" y="2552"/>
                  </a:lnTo>
                  <a:lnTo>
                    <a:pt x="11455" y="2560"/>
                  </a:lnTo>
                  <a:lnTo>
                    <a:pt x="11438" y="2572"/>
                  </a:lnTo>
                  <a:lnTo>
                    <a:pt x="11424" y="2585"/>
                  </a:lnTo>
                  <a:lnTo>
                    <a:pt x="11419" y="2592"/>
                  </a:lnTo>
                  <a:lnTo>
                    <a:pt x="11415" y="2599"/>
                  </a:lnTo>
                  <a:lnTo>
                    <a:pt x="11412" y="2608"/>
                  </a:lnTo>
                  <a:lnTo>
                    <a:pt x="11412" y="2620"/>
                  </a:lnTo>
                  <a:lnTo>
                    <a:pt x="11421" y="2647"/>
                  </a:lnTo>
                  <a:lnTo>
                    <a:pt x="11434" y="2677"/>
                  </a:lnTo>
                  <a:lnTo>
                    <a:pt x="11438" y="2694"/>
                  </a:lnTo>
                  <a:lnTo>
                    <a:pt x="11440" y="2711"/>
                  </a:lnTo>
                  <a:lnTo>
                    <a:pt x="11438" y="2732"/>
                  </a:lnTo>
                  <a:lnTo>
                    <a:pt x="11432" y="2751"/>
                  </a:lnTo>
                  <a:lnTo>
                    <a:pt x="11416" y="2782"/>
                  </a:lnTo>
                  <a:lnTo>
                    <a:pt x="11411" y="2797"/>
                  </a:lnTo>
                  <a:lnTo>
                    <a:pt x="11411" y="2805"/>
                  </a:lnTo>
                  <a:lnTo>
                    <a:pt x="11412" y="2812"/>
                  </a:lnTo>
                  <a:lnTo>
                    <a:pt x="11420" y="2828"/>
                  </a:lnTo>
                  <a:lnTo>
                    <a:pt x="11438" y="2847"/>
                  </a:lnTo>
                  <a:lnTo>
                    <a:pt x="11461" y="2868"/>
                  </a:lnTo>
                  <a:lnTo>
                    <a:pt x="11476" y="2884"/>
                  </a:lnTo>
                  <a:lnTo>
                    <a:pt x="11484" y="2899"/>
                  </a:lnTo>
                  <a:lnTo>
                    <a:pt x="11488" y="2911"/>
                  </a:lnTo>
                  <a:lnTo>
                    <a:pt x="11491" y="2941"/>
                  </a:lnTo>
                  <a:lnTo>
                    <a:pt x="11491" y="2960"/>
                  </a:lnTo>
                  <a:lnTo>
                    <a:pt x="11494" y="2985"/>
                  </a:lnTo>
                  <a:lnTo>
                    <a:pt x="11502" y="3000"/>
                  </a:lnTo>
                  <a:lnTo>
                    <a:pt x="11514" y="3010"/>
                  </a:lnTo>
                  <a:lnTo>
                    <a:pt x="11529" y="3015"/>
                  </a:lnTo>
                  <a:lnTo>
                    <a:pt x="11547" y="3020"/>
                  </a:lnTo>
                  <a:lnTo>
                    <a:pt x="11567" y="3026"/>
                  </a:lnTo>
                  <a:lnTo>
                    <a:pt x="11587" y="3034"/>
                  </a:lnTo>
                  <a:lnTo>
                    <a:pt x="11606" y="3048"/>
                  </a:lnTo>
                  <a:lnTo>
                    <a:pt x="11615" y="3057"/>
                  </a:lnTo>
                  <a:lnTo>
                    <a:pt x="11623" y="3069"/>
                  </a:lnTo>
                  <a:lnTo>
                    <a:pt x="11648" y="3112"/>
                  </a:lnTo>
                  <a:lnTo>
                    <a:pt x="11656" y="3124"/>
                  </a:lnTo>
                  <a:lnTo>
                    <a:pt x="11664" y="3130"/>
                  </a:lnTo>
                  <a:lnTo>
                    <a:pt x="11673" y="3133"/>
                  </a:lnTo>
                  <a:lnTo>
                    <a:pt x="11687" y="3131"/>
                  </a:lnTo>
                  <a:lnTo>
                    <a:pt x="11737" y="3124"/>
                  </a:lnTo>
                  <a:lnTo>
                    <a:pt x="11757" y="3124"/>
                  </a:lnTo>
                  <a:lnTo>
                    <a:pt x="11774" y="3126"/>
                  </a:lnTo>
                  <a:lnTo>
                    <a:pt x="11789" y="3131"/>
                  </a:lnTo>
                  <a:lnTo>
                    <a:pt x="11803" y="3139"/>
                  </a:lnTo>
                  <a:lnTo>
                    <a:pt x="11826" y="3156"/>
                  </a:lnTo>
                  <a:lnTo>
                    <a:pt x="11847" y="3171"/>
                  </a:lnTo>
                  <a:lnTo>
                    <a:pt x="11847" y="2973"/>
                  </a:lnTo>
                  <a:lnTo>
                    <a:pt x="11769" y="2895"/>
                  </a:lnTo>
                  <a:lnTo>
                    <a:pt x="11764" y="2887"/>
                  </a:lnTo>
                  <a:lnTo>
                    <a:pt x="11762" y="2879"/>
                  </a:lnTo>
                  <a:lnTo>
                    <a:pt x="11765" y="2873"/>
                  </a:lnTo>
                  <a:lnTo>
                    <a:pt x="11769" y="2867"/>
                  </a:lnTo>
                  <a:lnTo>
                    <a:pt x="11775" y="2863"/>
                  </a:lnTo>
                  <a:lnTo>
                    <a:pt x="11782" y="2860"/>
                  </a:lnTo>
                  <a:lnTo>
                    <a:pt x="11789" y="2861"/>
                  </a:lnTo>
                  <a:lnTo>
                    <a:pt x="11797" y="2867"/>
                  </a:lnTo>
                  <a:lnTo>
                    <a:pt x="11847" y="2916"/>
                  </a:lnTo>
                  <a:lnTo>
                    <a:pt x="11847" y="2882"/>
                  </a:lnTo>
                  <a:lnTo>
                    <a:pt x="11847" y="2875"/>
                  </a:lnTo>
                  <a:close/>
                  <a:moveTo>
                    <a:pt x="11887" y="2960"/>
                  </a:moveTo>
                  <a:lnTo>
                    <a:pt x="11887" y="2968"/>
                  </a:lnTo>
                  <a:lnTo>
                    <a:pt x="11887" y="2960"/>
                  </a:lnTo>
                  <a:close/>
                  <a:moveTo>
                    <a:pt x="11887" y="2741"/>
                  </a:moveTo>
                  <a:lnTo>
                    <a:pt x="11887" y="2748"/>
                  </a:lnTo>
                  <a:lnTo>
                    <a:pt x="11887" y="2741"/>
                  </a:lnTo>
                  <a:close/>
                  <a:moveTo>
                    <a:pt x="11847" y="2882"/>
                  </a:moveTo>
                  <a:lnTo>
                    <a:pt x="11847" y="2875"/>
                  </a:lnTo>
                  <a:lnTo>
                    <a:pt x="11847" y="2882"/>
                  </a:lnTo>
                  <a:close/>
                  <a:moveTo>
                    <a:pt x="9740" y="1741"/>
                  </a:moveTo>
                  <a:lnTo>
                    <a:pt x="9740" y="1619"/>
                  </a:lnTo>
                  <a:lnTo>
                    <a:pt x="9741" y="1611"/>
                  </a:lnTo>
                  <a:lnTo>
                    <a:pt x="9747" y="1604"/>
                  </a:lnTo>
                  <a:lnTo>
                    <a:pt x="9753" y="1601"/>
                  </a:lnTo>
                  <a:lnTo>
                    <a:pt x="9761" y="1599"/>
                  </a:lnTo>
                  <a:lnTo>
                    <a:pt x="10006" y="1599"/>
                  </a:lnTo>
                  <a:lnTo>
                    <a:pt x="10013" y="1601"/>
                  </a:lnTo>
                  <a:lnTo>
                    <a:pt x="10020" y="1604"/>
                  </a:lnTo>
                  <a:lnTo>
                    <a:pt x="10024" y="1611"/>
                  </a:lnTo>
                  <a:lnTo>
                    <a:pt x="10026" y="1619"/>
                  </a:lnTo>
                  <a:lnTo>
                    <a:pt x="10026" y="1741"/>
                  </a:lnTo>
                  <a:lnTo>
                    <a:pt x="10978" y="1741"/>
                  </a:lnTo>
                  <a:lnTo>
                    <a:pt x="10987" y="1744"/>
                  </a:lnTo>
                  <a:lnTo>
                    <a:pt x="10994" y="1749"/>
                  </a:lnTo>
                  <a:lnTo>
                    <a:pt x="11211" y="2048"/>
                  </a:lnTo>
                  <a:lnTo>
                    <a:pt x="11235" y="2048"/>
                  </a:lnTo>
                  <a:lnTo>
                    <a:pt x="11242" y="2051"/>
                  </a:lnTo>
                  <a:lnTo>
                    <a:pt x="11248" y="2055"/>
                  </a:lnTo>
                  <a:lnTo>
                    <a:pt x="11253" y="2061"/>
                  </a:lnTo>
                  <a:lnTo>
                    <a:pt x="11255" y="2069"/>
                  </a:lnTo>
                  <a:lnTo>
                    <a:pt x="11255" y="2241"/>
                  </a:lnTo>
                  <a:lnTo>
                    <a:pt x="11253" y="2249"/>
                  </a:lnTo>
                  <a:lnTo>
                    <a:pt x="11248" y="2255"/>
                  </a:lnTo>
                  <a:lnTo>
                    <a:pt x="11242" y="2260"/>
                  </a:lnTo>
                  <a:lnTo>
                    <a:pt x="11235" y="2262"/>
                  </a:lnTo>
                  <a:lnTo>
                    <a:pt x="11224" y="2262"/>
                  </a:lnTo>
                  <a:lnTo>
                    <a:pt x="11224" y="3107"/>
                  </a:lnTo>
                  <a:lnTo>
                    <a:pt x="11223" y="3116"/>
                  </a:lnTo>
                  <a:lnTo>
                    <a:pt x="11217" y="3122"/>
                  </a:lnTo>
                  <a:lnTo>
                    <a:pt x="11211" y="3126"/>
                  </a:lnTo>
                  <a:lnTo>
                    <a:pt x="11205" y="3127"/>
                  </a:lnTo>
                  <a:lnTo>
                    <a:pt x="11197" y="3126"/>
                  </a:lnTo>
                  <a:lnTo>
                    <a:pt x="11190" y="3122"/>
                  </a:lnTo>
                  <a:lnTo>
                    <a:pt x="11185" y="3116"/>
                  </a:lnTo>
                  <a:lnTo>
                    <a:pt x="11184" y="3107"/>
                  </a:lnTo>
                  <a:lnTo>
                    <a:pt x="11184" y="2262"/>
                  </a:lnTo>
                  <a:lnTo>
                    <a:pt x="10285" y="2262"/>
                  </a:lnTo>
                  <a:lnTo>
                    <a:pt x="9388" y="2262"/>
                  </a:lnTo>
                  <a:lnTo>
                    <a:pt x="9388" y="3282"/>
                  </a:lnTo>
                  <a:lnTo>
                    <a:pt x="9388" y="4304"/>
                  </a:lnTo>
                  <a:lnTo>
                    <a:pt x="10285" y="4304"/>
                  </a:lnTo>
                  <a:lnTo>
                    <a:pt x="11184" y="4304"/>
                  </a:lnTo>
                  <a:lnTo>
                    <a:pt x="11184" y="3976"/>
                  </a:lnTo>
                  <a:lnTo>
                    <a:pt x="11185" y="3969"/>
                  </a:lnTo>
                  <a:lnTo>
                    <a:pt x="11190" y="3962"/>
                  </a:lnTo>
                  <a:lnTo>
                    <a:pt x="11197" y="3959"/>
                  </a:lnTo>
                  <a:lnTo>
                    <a:pt x="11205" y="3957"/>
                  </a:lnTo>
                  <a:lnTo>
                    <a:pt x="11211" y="3959"/>
                  </a:lnTo>
                  <a:lnTo>
                    <a:pt x="11217" y="3962"/>
                  </a:lnTo>
                  <a:lnTo>
                    <a:pt x="11223" y="3969"/>
                  </a:lnTo>
                  <a:lnTo>
                    <a:pt x="11224" y="3976"/>
                  </a:lnTo>
                  <a:lnTo>
                    <a:pt x="11224" y="4324"/>
                  </a:lnTo>
                  <a:lnTo>
                    <a:pt x="11223" y="4332"/>
                  </a:lnTo>
                  <a:lnTo>
                    <a:pt x="11217" y="4338"/>
                  </a:lnTo>
                  <a:lnTo>
                    <a:pt x="11211" y="4342"/>
                  </a:lnTo>
                  <a:lnTo>
                    <a:pt x="11205" y="4343"/>
                  </a:lnTo>
                  <a:lnTo>
                    <a:pt x="10285" y="4343"/>
                  </a:lnTo>
                  <a:lnTo>
                    <a:pt x="9367" y="4343"/>
                  </a:lnTo>
                  <a:lnTo>
                    <a:pt x="9361" y="4342"/>
                  </a:lnTo>
                  <a:lnTo>
                    <a:pt x="9354" y="4338"/>
                  </a:lnTo>
                  <a:lnTo>
                    <a:pt x="9349" y="4332"/>
                  </a:lnTo>
                  <a:lnTo>
                    <a:pt x="9348" y="4324"/>
                  </a:lnTo>
                  <a:lnTo>
                    <a:pt x="9348" y="3808"/>
                  </a:lnTo>
                  <a:lnTo>
                    <a:pt x="9348" y="3292"/>
                  </a:lnTo>
                  <a:lnTo>
                    <a:pt x="9348" y="2777"/>
                  </a:lnTo>
                  <a:lnTo>
                    <a:pt x="9348" y="2262"/>
                  </a:lnTo>
                  <a:lnTo>
                    <a:pt x="9336" y="2262"/>
                  </a:lnTo>
                  <a:lnTo>
                    <a:pt x="9329" y="2260"/>
                  </a:lnTo>
                  <a:lnTo>
                    <a:pt x="9322" y="2255"/>
                  </a:lnTo>
                  <a:lnTo>
                    <a:pt x="9318" y="2249"/>
                  </a:lnTo>
                  <a:lnTo>
                    <a:pt x="9317" y="2241"/>
                  </a:lnTo>
                  <a:lnTo>
                    <a:pt x="9317" y="2069"/>
                  </a:lnTo>
                  <a:lnTo>
                    <a:pt x="9318" y="2061"/>
                  </a:lnTo>
                  <a:lnTo>
                    <a:pt x="9322" y="2055"/>
                  </a:lnTo>
                  <a:lnTo>
                    <a:pt x="9329" y="2051"/>
                  </a:lnTo>
                  <a:lnTo>
                    <a:pt x="9336" y="2048"/>
                  </a:lnTo>
                  <a:lnTo>
                    <a:pt x="9364" y="2048"/>
                  </a:lnTo>
                  <a:lnTo>
                    <a:pt x="9581" y="1749"/>
                  </a:lnTo>
                  <a:lnTo>
                    <a:pt x="9589" y="1744"/>
                  </a:lnTo>
                  <a:lnTo>
                    <a:pt x="9598" y="1741"/>
                  </a:lnTo>
                  <a:lnTo>
                    <a:pt x="9740" y="1741"/>
                  </a:lnTo>
                  <a:close/>
                  <a:moveTo>
                    <a:pt x="9985" y="1741"/>
                  </a:moveTo>
                  <a:lnTo>
                    <a:pt x="9985" y="1639"/>
                  </a:lnTo>
                  <a:lnTo>
                    <a:pt x="9780" y="1639"/>
                  </a:lnTo>
                  <a:lnTo>
                    <a:pt x="9780" y="1741"/>
                  </a:lnTo>
                  <a:lnTo>
                    <a:pt x="9799" y="1741"/>
                  </a:lnTo>
                  <a:lnTo>
                    <a:pt x="9808" y="1743"/>
                  </a:lnTo>
                  <a:lnTo>
                    <a:pt x="9815" y="1748"/>
                  </a:lnTo>
                  <a:lnTo>
                    <a:pt x="9818" y="1754"/>
                  </a:lnTo>
                  <a:lnTo>
                    <a:pt x="9820" y="1762"/>
                  </a:lnTo>
                  <a:lnTo>
                    <a:pt x="9818" y="1768"/>
                  </a:lnTo>
                  <a:lnTo>
                    <a:pt x="9815" y="1775"/>
                  </a:lnTo>
                  <a:lnTo>
                    <a:pt x="9808" y="1780"/>
                  </a:lnTo>
                  <a:lnTo>
                    <a:pt x="9799" y="1781"/>
                  </a:lnTo>
                  <a:lnTo>
                    <a:pt x="9607" y="1781"/>
                  </a:lnTo>
                  <a:lnTo>
                    <a:pt x="9413" y="2048"/>
                  </a:lnTo>
                  <a:lnTo>
                    <a:pt x="10288" y="2048"/>
                  </a:lnTo>
                  <a:lnTo>
                    <a:pt x="11162" y="2048"/>
                  </a:lnTo>
                  <a:lnTo>
                    <a:pt x="10967" y="1781"/>
                  </a:lnTo>
                  <a:lnTo>
                    <a:pt x="9953" y="1781"/>
                  </a:lnTo>
                  <a:lnTo>
                    <a:pt x="9944" y="1780"/>
                  </a:lnTo>
                  <a:lnTo>
                    <a:pt x="9938" y="1775"/>
                  </a:lnTo>
                  <a:lnTo>
                    <a:pt x="9934" y="1768"/>
                  </a:lnTo>
                  <a:lnTo>
                    <a:pt x="9933" y="1762"/>
                  </a:lnTo>
                  <a:lnTo>
                    <a:pt x="9934" y="1754"/>
                  </a:lnTo>
                  <a:lnTo>
                    <a:pt x="9938" y="1748"/>
                  </a:lnTo>
                  <a:lnTo>
                    <a:pt x="9944" y="1743"/>
                  </a:lnTo>
                  <a:lnTo>
                    <a:pt x="9953" y="1741"/>
                  </a:lnTo>
                  <a:lnTo>
                    <a:pt x="9985" y="1741"/>
                  </a:lnTo>
                  <a:close/>
                  <a:moveTo>
                    <a:pt x="9372" y="2089"/>
                  </a:moveTo>
                  <a:lnTo>
                    <a:pt x="9357" y="2089"/>
                  </a:lnTo>
                  <a:lnTo>
                    <a:pt x="9357" y="2222"/>
                  </a:lnTo>
                  <a:lnTo>
                    <a:pt x="10285" y="2222"/>
                  </a:lnTo>
                  <a:lnTo>
                    <a:pt x="11215" y="2222"/>
                  </a:lnTo>
                  <a:lnTo>
                    <a:pt x="11215" y="2089"/>
                  </a:lnTo>
                  <a:lnTo>
                    <a:pt x="11205" y="2089"/>
                  </a:lnTo>
                  <a:lnTo>
                    <a:pt x="11198" y="2089"/>
                  </a:lnTo>
                  <a:lnTo>
                    <a:pt x="10288" y="2089"/>
                  </a:lnTo>
                  <a:lnTo>
                    <a:pt x="9379" y="2089"/>
                  </a:lnTo>
                  <a:lnTo>
                    <a:pt x="9372" y="2089"/>
                  </a:lnTo>
                  <a:close/>
                  <a:moveTo>
                    <a:pt x="11205" y="2089"/>
                  </a:moveTo>
                  <a:lnTo>
                    <a:pt x="11198" y="2089"/>
                  </a:lnTo>
                  <a:lnTo>
                    <a:pt x="11205" y="2089"/>
                  </a:lnTo>
                  <a:close/>
                  <a:moveTo>
                    <a:pt x="9379" y="2089"/>
                  </a:moveTo>
                  <a:lnTo>
                    <a:pt x="9372" y="2089"/>
                  </a:lnTo>
                  <a:lnTo>
                    <a:pt x="9379" y="2089"/>
                  </a:lnTo>
                  <a:close/>
                  <a:moveTo>
                    <a:pt x="11106" y="1136"/>
                  </a:moveTo>
                  <a:lnTo>
                    <a:pt x="11083" y="1126"/>
                  </a:lnTo>
                  <a:lnTo>
                    <a:pt x="11056" y="1122"/>
                  </a:lnTo>
                  <a:lnTo>
                    <a:pt x="11035" y="1125"/>
                  </a:lnTo>
                  <a:lnTo>
                    <a:pt x="11017" y="1130"/>
                  </a:lnTo>
                  <a:lnTo>
                    <a:pt x="10999" y="1140"/>
                  </a:lnTo>
                  <a:lnTo>
                    <a:pt x="10985" y="1152"/>
                  </a:lnTo>
                  <a:lnTo>
                    <a:pt x="10972" y="1167"/>
                  </a:lnTo>
                  <a:lnTo>
                    <a:pt x="10963" y="1185"/>
                  </a:lnTo>
                  <a:lnTo>
                    <a:pt x="10957" y="1204"/>
                  </a:lnTo>
                  <a:lnTo>
                    <a:pt x="10956" y="1225"/>
                  </a:lnTo>
                  <a:lnTo>
                    <a:pt x="10958" y="1246"/>
                  </a:lnTo>
                  <a:lnTo>
                    <a:pt x="11683" y="1245"/>
                  </a:lnTo>
                  <a:lnTo>
                    <a:pt x="11683" y="1227"/>
                  </a:lnTo>
                  <a:lnTo>
                    <a:pt x="11682" y="1208"/>
                  </a:lnTo>
                  <a:lnTo>
                    <a:pt x="11675" y="1190"/>
                  </a:lnTo>
                  <a:lnTo>
                    <a:pt x="11666" y="1174"/>
                  </a:lnTo>
                  <a:lnTo>
                    <a:pt x="11653" y="1159"/>
                  </a:lnTo>
                  <a:lnTo>
                    <a:pt x="11647" y="1153"/>
                  </a:lnTo>
                  <a:lnTo>
                    <a:pt x="11639" y="1148"/>
                  </a:lnTo>
                  <a:lnTo>
                    <a:pt x="11621" y="1139"/>
                  </a:lnTo>
                  <a:lnTo>
                    <a:pt x="11603" y="1133"/>
                  </a:lnTo>
                  <a:lnTo>
                    <a:pt x="11583" y="1131"/>
                  </a:lnTo>
                  <a:lnTo>
                    <a:pt x="11558" y="1134"/>
                  </a:lnTo>
                  <a:lnTo>
                    <a:pt x="11542" y="1138"/>
                  </a:lnTo>
                  <a:lnTo>
                    <a:pt x="11523" y="1139"/>
                  </a:lnTo>
                  <a:lnTo>
                    <a:pt x="11489" y="1133"/>
                  </a:lnTo>
                  <a:lnTo>
                    <a:pt x="11489" y="1113"/>
                  </a:lnTo>
                  <a:lnTo>
                    <a:pt x="11487" y="1096"/>
                  </a:lnTo>
                  <a:lnTo>
                    <a:pt x="11482" y="1078"/>
                  </a:lnTo>
                  <a:lnTo>
                    <a:pt x="11476" y="1061"/>
                  </a:lnTo>
                  <a:lnTo>
                    <a:pt x="11469" y="1044"/>
                  </a:lnTo>
                  <a:lnTo>
                    <a:pt x="11460" y="1030"/>
                  </a:lnTo>
                  <a:lnTo>
                    <a:pt x="11451" y="1016"/>
                  </a:lnTo>
                  <a:lnTo>
                    <a:pt x="11439" y="1002"/>
                  </a:lnTo>
                  <a:lnTo>
                    <a:pt x="11412" y="980"/>
                  </a:lnTo>
                  <a:lnTo>
                    <a:pt x="11383" y="964"/>
                  </a:lnTo>
                  <a:lnTo>
                    <a:pt x="11366" y="957"/>
                  </a:lnTo>
                  <a:lnTo>
                    <a:pt x="11349" y="954"/>
                  </a:lnTo>
                  <a:lnTo>
                    <a:pt x="11312" y="950"/>
                  </a:lnTo>
                  <a:lnTo>
                    <a:pt x="11278" y="954"/>
                  </a:lnTo>
                  <a:lnTo>
                    <a:pt x="11261" y="957"/>
                  </a:lnTo>
                  <a:lnTo>
                    <a:pt x="11246" y="963"/>
                  </a:lnTo>
                  <a:lnTo>
                    <a:pt x="11230" y="970"/>
                  </a:lnTo>
                  <a:lnTo>
                    <a:pt x="11216" y="978"/>
                  </a:lnTo>
                  <a:lnTo>
                    <a:pt x="11190" y="998"/>
                  </a:lnTo>
                  <a:lnTo>
                    <a:pt x="11170" y="1024"/>
                  </a:lnTo>
                  <a:lnTo>
                    <a:pt x="11153" y="1053"/>
                  </a:lnTo>
                  <a:lnTo>
                    <a:pt x="11147" y="1069"/>
                  </a:lnTo>
                  <a:lnTo>
                    <a:pt x="11142" y="1085"/>
                  </a:lnTo>
                  <a:lnTo>
                    <a:pt x="11138" y="1102"/>
                  </a:lnTo>
                  <a:lnTo>
                    <a:pt x="11137" y="1120"/>
                  </a:lnTo>
                  <a:lnTo>
                    <a:pt x="11134" y="1131"/>
                  </a:lnTo>
                  <a:lnTo>
                    <a:pt x="11126" y="1138"/>
                  </a:lnTo>
                  <a:lnTo>
                    <a:pt x="11122" y="1139"/>
                  </a:lnTo>
                  <a:lnTo>
                    <a:pt x="11117" y="1140"/>
                  </a:lnTo>
                  <a:lnTo>
                    <a:pt x="11106" y="1136"/>
                  </a:lnTo>
                  <a:close/>
                  <a:moveTo>
                    <a:pt x="11528" y="1106"/>
                  </a:moveTo>
                  <a:lnTo>
                    <a:pt x="11539" y="1098"/>
                  </a:lnTo>
                  <a:lnTo>
                    <a:pt x="11555" y="1094"/>
                  </a:lnTo>
                  <a:lnTo>
                    <a:pt x="11583" y="1090"/>
                  </a:lnTo>
                  <a:lnTo>
                    <a:pt x="11611" y="1094"/>
                  </a:lnTo>
                  <a:lnTo>
                    <a:pt x="11624" y="1097"/>
                  </a:lnTo>
                  <a:lnTo>
                    <a:pt x="11637" y="1102"/>
                  </a:lnTo>
                  <a:lnTo>
                    <a:pt x="11660" y="1115"/>
                  </a:lnTo>
                  <a:lnTo>
                    <a:pt x="11682" y="1131"/>
                  </a:lnTo>
                  <a:lnTo>
                    <a:pt x="11698" y="1151"/>
                  </a:lnTo>
                  <a:lnTo>
                    <a:pt x="11712" y="1174"/>
                  </a:lnTo>
                  <a:lnTo>
                    <a:pt x="11720" y="1199"/>
                  </a:lnTo>
                  <a:lnTo>
                    <a:pt x="11723" y="1213"/>
                  </a:lnTo>
                  <a:lnTo>
                    <a:pt x="11723" y="1227"/>
                  </a:lnTo>
                  <a:lnTo>
                    <a:pt x="11723" y="1243"/>
                  </a:lnTo>
                  <a:lnTo>
                    <a:pt x="11721" y="1262"/>
                  </a:lnTo>
                  <a:lnTo>
                    <a:pt x="11714" y="1278"/>
                  </a:lnTo>
                  <a:lnTo>
                    <a:pt x="11707" y="1284"/>
                  </a:lnTo>
                  <a:lnTo>
                    <a:pt x="11700" y="1285"/>
                  </a:lnTo>
                  <a:lnTo>
                    <a:pt x="10943" y="1286"/>
                  </a:lnTo>
                  <a:lnTo>
                    <a:pt x="10934" y="1285"/>
                  </a:lnTo>
                  <a:lnTo>
                    <a:pt x="10928" y="1280"/>
                  </a:lnTo>
                  <a:lnTo>
                    <a:pt x="10924" y="1271"/>
                  </a:lnTo>
                  <a:lnTo>
                    <a:pt x="10920" y="1262"/>
                  </a:lnTo>
                  <a:lnTo>
                    <a:pt x="10916" y="1240"/>
                  </a:lnTo>
                  <a:lnTo>
                    <a:pt x="10915" y="1225"/>
                  </a:lnTo>
                  <a:lnTo>
                    <a:pt x="10919" y="1197"/>
                  </a:lnTo>
                  <a:lnTo>
                    <a:pt x="10926" y="1170"/>
                  </a:lnTo>
                  <a:lnTo>
                    <a:pt x="10939" y="1145"/>
                  </a:lnTo>
                  <a:lnTo>
                    <a:pt x="10956" y="1125"/>
                  </a:lnTo>
                  <a:lnTo>
                    <a:pt x="10978" y="1107"/>
                  </a:lnTo>
                  <a:lnTo>
                    <a:pt x="10989" y="1099"/>
                  </a:lnTo>
                  <a:lnTo>
                    <a:pt x="11001" y="1094"/>
                  </a:lnTo>
                  <a:lnTo>
                    <a:pt x="11028" y="1085"/>
                  </a:lnTo>
                  <a:lnTo>
                    <a:pt x="11042" y="1083"/>
                  </a:lnTo>
                  <a:lnTo>
                    <a:pt x="11056" y="1083"/>
                  </a:lnTo>
                  <a:lnTo>
                    <a:pt x="11079" y="1084"/>
                  </a:lnTo>
                  <a:lnTo>
                    <a:pt x="11101" y="1089"/>
                  </a:lnTo>
                  <a:lnTo>
                    <a:pt x="11110" y="1052"/>
                  </a:lnTo>
                  <a:lnTo>
                    <a:pt x="11126" y="1019"/>
                  </a:lnTo>
                  <a:lnTo>
                    <a:pt x="11147" y="988"/>
                  </a:lnTo>
                  <a:lnTo>
                    <a:pt x="11173" y="961"/>
                  </a:lnTo>
                  <a:lnTo>
                    <a:pt x="11202" y="940"/>
                  </a:lnTo>
                  <a:lnTo>
                    <a:pt x="11237" y="923"/>
                  </a:lnTo>
                  <a:lnTo>
                    <a:pt x="11274" y="913"/>
                  </a:lnTo>
                  <a:lnTo>
                    <a:pt x="11312" y="910"/>
                  </a:lnTo>
                  <a:lnTo>
                    <a:pt x="11355" y="914"/>
                  </a:lnTo>
                  <a:lnTo>
                    <a:pt x="11374" y="918"/>
                  </a:lnTo>
                  <a:lnTo>
                    <a:pt x="11393" y="925"/>
                  </a:lnTo>
                  <a:lnTo>
                    <a:pt x="11428" y="942"/>
                  </a:lnTo>
                  <a:lnTo>
                    <a:pt x="11444" y="954"/>
                  </a:lnTo>
                  <a:lnTo>
                    <a:pt x="11458" y="966"/>
                  </a:lnTo>
                  <a:lnTo>
                    <a:pt x="11473" y="980"/>
                  </a:lnTo>
                  <a:lnTo>
                    <a:pt x="11485" y="996"/>
                  </a:lnTo>
                  <a:lnTo>
                    <a:pt x="11506" y="1029"/>
                  </a:lnTo>
                  <a:lnTo>
                    <a:pt x="11514" y="1047"/>
                  </a:lnTo>
                  <a:lnTo>
                    <a:pt x="11520" y="1066"/>
                  </a:lnTo>
                  <a:lnTo>
                    <a:pt x="11525" y="1085"/>
                  </a:lnTo>
                  <a:lnTo>
                    <a:pt x="11528" y="1106"/>
                  </a:lnTo>
                  <a:close/>
                  <a:moveTo>
                    <a:pt x="13515" y="644"/>
                  </a:moveTo>
                  <a:lnTo>
                    <a:pt x="13404" y="644"/>
                  </a:lnTo>
                  <a:lnTo>
                    <a:pt x="13404" y="754"/>
                  </a:lnTo>
                  <a:lnTo>
                    <a:pt x="13515" y="754"/>
                  </a:lnTo>
                  <a:lnTo>
                    <a:pt x="13515" y="644"/>
                  </a:lnTo>
                  <a:close/>
                  <a:moveTo>
                    <a:pt x="13534" y="605"/>
                  </a:moveTo>
                  <a:lnTo>
                    <a:pt x="13542" y="606"/>
                  </a:lnTo>
                  <a:lnTo>
                    <a:pt x="13549" y="611"/>
                  </a:lnTo>
                  <a:lnTo>
                    <a:pt x="13552" y="617"/>
                  </a:lnTo>
                  <a:lnTo>
                    <a:pt x="13555" y="624"/>
                  </a:lnTo>
                  <a:lnTo>
                    <a:pt x="13555" y="754"/>
                  </a:lnTo>
                  <a:lnTo>
                    <a:pt x="14078" y="754"/>
                  </a:lnTo>
                  <a:lnTo>
                    <a:pt x="14086" y="757"/>
                  </a:lnTo>
                  <a:lnTo>
                    <a:pt x="14092" y="761"/>
                  </a:lnTo>
                  <a:lnTo>
                    <a:pt x="14097" y="767"/>
                  </a:lnTo>
                  <a:lnTo>
                    <a:pt x="14099" y="775"/>
                  </a:lnTo>
                  <a:lnTo>
                    <a:pt x="14099" y="1471"/>
                  </a:lnTo>
                  <a:lnTo>
                    <a:pt x="14099" y="2170"/>
                  </a:lnTo>
                  <a:lnTo>
                    <a:pt x="14097" y="2177"/>
                  </a:lnTo>
                  <a:lnTo>
                    <a:pt x="14092" y="2184"/>
                  </a:lnTo>
                  <a:lnTo>
                    <a:pt x="14086" y="2188"/>
                  </a:lnTo>
                  <a:lnTo>
                    <a:pt x="14078" y="2189"/>
                  </a:lnTo>
                  <a:lnTo>
                    <a:pt x="14072" y="2188"/>
                  </a:lnTo>
                  <a:lnTo>
                    <a:pt x="14065" y="2184"/>
                  </a:lnTo>
                  <a:lnTo>
                    <a:pt x="14060" y="2177"/>
                  </a:lnTo>
                  <a:lnTo>
                    <a:pt x="14059" y="2170"/>
                  </a:lnTo>
                  <a:lnTo>
                    <a:pt x="14059" y="1482"/>
                  </a:lnTo>
                  <a:lnTo>
                    <a:pt x="14059" y="795"/>
                  </a:lnTo>
                  <a:lnTo>
                    <a:pt x="13534" y="795"/>
                  </a:lnTo>
                  <a:lnTo>
                    <a:pt x="13384" y="795"/>
                  </a:lnTo>
                  <a:lnTo>
                    <a:pt x="13150" y="795"/>
                  </a:lnTo>
                  <a:lnTo>
                    <a:pt x="13141" y="793"/>
                  </a:lnTo>
                  <a:lnTo>
                    <a:pt x="13134" y="789"/>
                  </a:lnTo>
                  <a:lnTo>
                    <a:pt x="13131" y="782"/>
                  </a:lnTo>
                  <a:lnTo>
                    <a:pt x="13129" y="775"/>
                  </a:lnTo>
                  <a:lnTo>
                    <a:pt x="13131" y="767"/>
                  </a:lnTo>
                  <a:lnTo>
                    <a:pt x="13134" y="761"/>
                  </a:lnTo>
                  <a:lnTo>
                    <a:pt x="13141" y="757"/>
                  </a:lnTo>
                  <a:lnTo>
                    <a:pt x="13150" y="754"/>
                  </a:lnTo>
                  <a:lnTo>
                    <a:pt x="13201" y="754"/>
                  </a:lnTo>
                  <a:lnTo>
                    <a:pt x="13201" y="612"/>
                  </a:lnTo>
                  <a:lnTo>
                    <a:pt x="12798" y="612"/>
                  </a:lnTo>
                  <a:lnTo>
                    <a:pt x="12798" y="754"/>
                  </a:lnTo>
                  <a:lnTo>
                    <a:pt x="12852" y="754"/>
                  </a:lnTo>
                  <a:lnTo>
                    <a:pt x="12861" y="757"/>
                  </a:lnTo>
                  <a:lnTo>
                    <a:pt x="12868" y="761"/>
                  </a:lnTo>
                  <a:lnTo>
                    <a:pt x="12872" y="767"/>
                  </a:lnTo>
                  <a:lnTo>
                    <a:pt x="12873" y="775"/>
                  </a:lnTo>
                  <a:lnTo>
                    <a:pt x="12872" y="782"/>
                  </a:lnTo>
                  <a:lnTo>
                    <a:pt x="12868" y="789"/>
                  </a:lnTo>
                  <a:lnTo>
                    <a:pt x="12861" y="793"/>
                  </a:lnTo>
                  <a:lnTo>
                    <a:pt x="12852" y="795"/>
                  </a:lnTo>
                  <a:lnTo>
                    <a:pt x="12664" y="795"/>
                  </a:lnTo>
                  <a:lnTo>
                    <a:pt x="12664" y="1810"/>
                  </a:lnTo>
                  <a:lnTo>
                    <a:pt x="12664" y="2826"/>
                  </a:lnTo>
                  <a:lnTo>
                    <a:pt x="12661" y="2835"/>
                  </a:lnTo>
                  <a:lnTo>
                    <a:pt x="12657" y="2840"/>
                  </a:lnTo>
                  <a:lnTo>
                    <a:pt x="12651" y="2844"/>
                  </a:lnTo>
                  <a:lnTo>
                    <a:pt x="12643" y="2845"/>
                  </a:lnTo>
                  <a:lnTo>
                    <a:pt x="12636" y="2844"/>
                  </a:lnTo>
                  <a:lnTo>
                    <a:pt x="12629" y="2840"/>
                  </a:lnTo>
                  <a:lnTo>
                    <a:pt x="12625" y="2835"/>
                  </a:lnTo>
                  <a:lnTo>
                    <a:pt x="12624" y="2826"/>
                  </a:lnTo>
                  <a:lnTo>
                    <a:pt x="12624" y="2313"/>
                  </a:lnTo>
                  <a:lnTo>
                    <a:pt x="12624" y="1800"/>
                  </a:lnTo>
                  <a:lnTo>
                    <a:pt x="12624" y="1287"/>
                  </a:lnTo>
                  <a:lnTo>
                    <a:pt x="12624" y="775"/>
                  </a:lnTo>
                  <a:lnTo>
                    <a:pt x="12625" y="767"/>
                  </a:lnTo>
                  <a:lnTo>
                    <a:pt x="12629" y="761"/>
                  </a:lnTo>
                  <a:lnTo>
                    <a:pt x="12636" y="757"/>
                  </a:lnTo>
                  <a:lnTo>
                    <a:pt x="12643" y="754"/>
                  </a:lnTo>
                  <a:lnTo>
                    <a:pt x="12759" y="754"/>
                  </a:lnTo>
                  <a:lnTo>
                    <a:pt x="12759" y="592"/>
                  </a:lnTo>
                  <a:lnTo>
                    <a:pt x="12760" y="584"/>
                  </a:lnTo>
                  <a:lnTo>
                    <a:pt x="12764" y="578"/>
                  </a:lnTo>
                  <a:lnTo>
                    <a:pt x="12770" y="574"/>
                  </a:lnTo>
                  <a:lnTo>
                    <a:pt x="12778" y="573"/>
                  </a:lnTo>
                  <a:lnTo>
                    <a:pt x="13220" y="573"/>
                  </a:lnTo>
                  <a:lnTo>
                    <a:pt x="13228" y="574"/>
                  </a:lnTo>
                  <a:lnTo>
                    <a:pt x="13234" y="578"/>
                  </a:lnTo>
                  <a:lnTo>
                    <a:pt x="13240" y="584"/>
                  </a:lnTo>
                  <a:lnTo>
                    <a:pt x="13241" y="592"/>
                  </a:lnTo>
                  <a:lnTo>
                    <a:pt x="13241" y="754"/>
                  </a:lnTo>
                  <a:lnTo>
                    <a:pt x="13364" y="754"/>
                  </a:lnTo>
                  <a:lnTo>
                    <a:pt x="13364" y="624"/>
                  </a:lnTo>
                  <a:lnTo>
                    <a:pt x="13365" y="617"/>
                  </a:lnTo>
                  <a:lnTo>
                    <a:pt x="13370" y="611"/>
                  </a:lnTo>
                  <a:lnTo>
                    <a:pt x="13377" y="606"/>
                  </a:lnTo>
                  <a:lnTo>
                    <a:pt x="13384" y="605"/>
                  </a:lnTo>
                  <a:lnTo>
                    <a:pt x="13534" y="605"/>
                  </a:lnTo>
                  <a:close/>
                  <a:moveTo>
                    <a:pt x="15835" y="2587"/>
                  </a:moveTo>
                  <a:lnTo>
                    <a:pt x="15677" y="2587"/>
                  </a:lnTo>
                  <a:lnTo>
                    <a:pt x="15677" y="3445"/>
                  </a:lnTo>
                  <a:lnTo>
                    <a:pt x="15677" y="4304"/>
                  </a:lnTo>
                  <a:lnTo>
                    <a:pt x="16008" y="4304"/>
                  </a:lnTo>
                  <a:lnTo>
                    <a:pt x="16008" y="3419"/>
                  </a:lnTo>
                  <a:lnTo>
                    <a:pt x="16008" y="2534"/>
                  </a:lnTo>
                  <a:lnTo>
                    <a:pt x="16009" y="2525"/>
                  </a:lnTo>
                  <a:lnTo>
                    <a:pt x="16012" y="2519"/>
                  </a:lnTo>
                  <a:lnTo>
                    <a:pt x="16016" y="2515"/>
                  </a:lnTo>
                  <a:lnTo>
                    <a:pt x="16021" y="2511"/>
                  </a:lnTo>
                  <a:lnTo>
                    <a:pt x="16027" y="2511"/>
                  </a:lnTo>
                  <a:lnTo>
                    <a:pt x="16032" y="2512"/>
                  </a:lnTo>
                  <a:lnTo>
                    <a:pt x="16039" y="2516"/>
                  </a:lnTo>
                  <a:lnTo>
                    <a:pt x="16045" y="2523"/>
                  </a:lnTo>
                  <a:lnTo>
                    <a:pt x="16536" y="3199"/>
                  </a:lnTo>
                  <a:lnTo>
                    <a:pt x="16536" y="2534"/>
                  </a:lnTo>
                  <a:lnTo>
                    <a:pt x="16538" y="2525"/>
                  </a:lnTo>
                  <a:lnTo>
                    <a:pt x="16540" y="2519"/>
                  </a:lnTo>
                  <a:lnTo>
                    <a:pt x="16544" y="2515"/>
                  </a:lnTo>
                  <a:lnTo>
                    <a:pt x="16549" y="2511"/>
                  </a:lnTo>
                  <a:lnTo>
                    <a:pt x="16556" y="2511"/>
                  </a:lnTo>
                  <a:lnTo>
                    <a:pt x="16562" y="2512"/>
                  </a:lnTo>
                  <a:lnTo>
                    <a:pt x="16567" y="2516"/>
                  </a:lnTo>
                  <a:lnTo>
                    <a:pt x="16573" y="2523"/>
                  </a:lnTo>
                  <a:lnTo>
                    <a:pt x="17076" y="3214"/>
                  </a:lnTo>
                  <a:lnTo>
                    <a:pt x="17076" y="2534"/>
                  </a:lnTo>
                  <a:lnTo>
                    <a:pt x="17077" y="2525"/>
                  </a:lnTo>
                  <a:lnTo>
                    <a:pt x="17080" y="2519"/>
                  </a:lnTo>
                  <a:lnTo>
                    <a:pt x="17084" y="2515"/>
                  </a:lnTo>
                  <a:lnTo>
                    <a:pt x="17089" y="2511"/>
                  </a:lnTo>
                  <a:lnTo>
                    <a:pt x="17094" y="2511"/>
                  </a:lnTo>
                  <a:lnTo>
                    <a:pt x="17100" y="2512"/>
                  </a:lnTo>
                  <a:lnTo>
                    <a:pt x="17107" y="2516"/>
                  </a:lnTo>
                  <a:lnTo>
                    <a:pt x="17112" y="2523"/>
                  </a:lnTo>
                  <a:lnTo>
                    <a:pt x="17640" y="3249"/>
                  </a:lnTo>
                  <a:lnTo>
                    <a:pt x="17644" y="3258"/>
                  </a:lnTo>
                  <a:lnTo>
                    <a:pt x="17644" y="3265"/>
                  </a:lnTo>
                  <a:lnTo>
                    <a:pt x="17642" y="3272"/>
                  </a:lnTo>
                  <a:lnTo>
                    <a:pt x="17636" y="3277"/>
                  </a:lnTo>
                  <a:lnTo>
                    <a:pt x="17630" y="3281"/>
                  </a:lnTo>
                  <a:lnTo>
                    <a:pt x="17622" y="3281"/>
                  </a:lnTo>
                  <a:lnTo>
                    <a:pt x="17615" y="3280"/>
                  </a:lnTo>
                  <a:lnTo>
                    <a:pt x="17608" y="3273"/>
                  </a:lnTo>
                  <a:lnTo>
                    <a:pt x="17116" y="2595"/>
                  </a:lnTo>
                  <a:lnTo>
                    <a:pt x="17116" y="3262"/>
                  </a:lnTo>
                  <a:lnTo>
                    <a:pt x="17113" y="3271"/>
                  </a:lnTo>
                  <a:lnTo>
                    <a:pt x="17108" y="3278"/>
                  </a:lnTo>
                  <a:lnTo>
                    <a:pt x="17099" y="3281"/>
                  </a:lnTo>
                  <a:lnTo>
                    <a:pt x="17090" y="3281"/>
                  </a:lnTo>
                  <a:lnTo>
                    <a:pt x="17080" y="3281"/>
                  </a:lnTo>
                  <a:lnTo>
                    <a:pt x="17074" y="3278"/>
                  </a:lnTo>
                  <a:lnTo>
                    <a:pt x="17070" y="3273"/>
                  </a:lnTo>
                  <a:lnTo>
                    <a:pt x="16577" y="2595"/>
                  </a:lnTo>
                  <a:lnTo>
                    <a:pt x="16577" y="3258"/>
                  </a:lnTo>
                  <a:lnTo>
                    <a:pt x="16577" y="3264"/>
                  </a:lnTo>
                  <a:lnTo>
                    <a:pt x="16575" y="3269"/>
                  </a:lnTo>
                  <a:lnTo>
                    <a:pt x="16571" y="3276"/>
                  </a:lnTo>
                  <a:lnTo>
                    <a:pt x="16563" y="3281"/>
                  </a:lnTo>
                  <a:lnTo>
                    <a:pt x="16554" y="3281"/>
                  </a:lnTo>
                  <a:lnTo>
                    <a:pt x="16547" y="3278"/>
                  </a:lnTo>
                  <a:lnTo>
                    <a:pt x="16541" y="3276"/>
                  </a:lnTo>
                  <a:lnTo>
                    <a:pt x="16539" y="3271"/>
                  </a:lnTo>
                  <a:lnTo>
                    <a:pt x="16049" y="2595"/>
                  </a:lnTo>
                  <a:lnTo>
                    <a:pt x="16049" y="3450"/>
                  </a:lnTo>
                  <a:lnTo>
                    <a:pt x="16049" y="4304"/>
                  </a:lnTo>
                  <a:lnTo>
                    <a:pt x="16844" y="4304"/>
                  </a:lnTo>
                  <a:lnTo>
                    <a:pt x="16853" y="4305"/>
                  </a:lnTo>
                  <a:lnTo>
                    <a:pt x="16859" y="4310"/>
                  </a:lnTo>
                  <a:lnTo>
                    <a:pt x="16863" y="4317"/>
                  </a:lnTo>
                  <a:lnTo>
                    <a:pt x="16865" y="4324"/>
                  </a:lnTo>
                  <a:lnTo>
                    <a:pt x="16863" y="4331"/>
                  </a:lnTo>
                  <a:lnTo>
                    <a:pt x="16859" y="4337"/>
                  </a:lnTo>
                  <a:lnTo>
                    <a:pt x="16853" y="4342"/>
                  </a:lnTo>
                  <a:lnTo>
                    <a:pt x="16844" y="4343"/>
                  </a:lnTo>
                  <a:lnTo>
                    <a:pt x="16250" y="4343"/>
                  </a:lnTo>
                  <a:lnTo>
                    <a:pt x="15657" y="4343"/>
                  </a:lnTo>
                  <a:lnTo>
                    <a:pt x="14760" y="4343"/>
                  </a:lnTo>
                  <a:lnTo>
                    <a:pt x="13864" y="4343"/>
                  </a:lnTo>
                  <a:lnTo>
                    <a:pt x="13856" y="4342"/>
                  </a:lnTo>
                  <a:lnTo>
                    <a:pt x="13850" y="4338"/>
                  </a:lnTo>
                  <a:lnTo>
                    <a:pt x="13846" y="4332"/>
                  </a:lnTo>
                  <a:lnTo>
                    <a:pt x="13843" y="4324"/>
                  </a:lnTo>
                  <a:lnTo>
                    <a:pt x="13843" y="3455"/>
                  </a:lnTo>
                  <a:lnTo>
                    <a:pt x="13843" y="2587"/>
                  </a:lnTo>
                  <a:lnTo>
                    <a:pt x="13686" y="2587"/>
                  </a:lnTo>
                  <a:lnTo>
                    <a:pt x="13677" y="2585"/>
                  </a:lnTo>
                  <a:lnTo>
                    <a:pt x="13670" y="2581"/>
                  </a:lnTo>
                  <a:lnTo>
                    <a:pt x="13667" y="2575"/>
                  </a:lnTo>
                  <a:lnTo>
                    <a:pt x="13665" y="2567"/>
                  </a:lnTo>
                  <a:lnTo>
                    <a:pt x="13667" y="2560"/>
                  </a:lnTo>
                  <a:lnTo>
                    <a:pt x="13670" y="2553"/>
                  </a:lnTo>
                  <a:lnTo>
                    <a:pt x="13677" y="2549"/>
                  </a:lnTo>
                  <a:lnTo>
                    <a:pt x="13686" y="2547"/>
                  </a:lnTo>
                  <a:lnTo>
                    <a:pt x="13963" y="2547"/>
                  </a:lnTo>
                  <a:lnTo>
                    <a:pt x="13963" y="2374"/>
                  </a:lnTo>
                  <a:lnTo>
                    <a:pt x="13964" y="2367"/>
                  </a:lnTo>
                  <a:lnTo>
                    <a:pt x="13968" y="2360"/>
                  </a:lnTo>
                  <a:lnTo>
                    <a:pt x="13974" y="2355"/>
                  </a:lnTo>
                  <a:lnTo>
                    <a:pt x="13982" y="2354"/>
                  </a:lnTo>
                  <a:lnTo>
                    <a:pt x="14750" y="2354"/>
                  </a:lnTo>
                  <a:lnTo>
                    <a:pt x="15519" y="2354"/>
                  </a:lnTo>
                  <a:lnTo>
                    <a:pt x="15527" y="2355"/>
                  </a:lnTo>
                  <a:lnTo>
                    <a:pt x="15534" y="2360"/>
                  </a:lnTo>
                  <a:lnTo>
                    <a:pt x="15537" y="2367"/>
                  </a:lnTo>
                  <a:lnTo>
                    <a:pt x="15539" y="2374"/>
                  </a:lnTo>
                  <a:lnTo>
                    <a:pt x="15539" y="2547"/>
                  </a:lnTo>
                  <a:lnTo>
                    <a:pt x="15835" y="2547"/>
                  </a:lnTo>
                  <a:lnTo>
                    <a:pt x="15844" y="2549"/>
                  </a:lnTo>
                  <a:lnTo>
                    <a:pt x="15850" y="2553"/>
                  </a:lnTo>
                  <a:lnTo>
                    <a:pt x="15854" y="2560"/>
                  </a:lnTo>
                  <a:lnTo>
                    <a:pt x="15855" y="2567"/>
                  </a:lnTo>
                  <a:lnTo>
                    <a:pt x="15854" y="2575"/>
                  </a:lnTo>
                  <a:lnTo>
                    <a:pt x="15850" y="2581"/>
                  </a:lnTo>
                  <a:lnTo>
                    <a:pt x="15844" y="2585"/>
                  </a:lnTo>
                  <a:lnTo>
                    <a:pt x="15835" y="2587"/>
                  </a:lnTo>
                  <a:close/>
                  <a:moveTo>
                    <a:pt x="15636" y="2587"/>
                  </a:moveTo>
                  <a:lnTo>
                    <a:pt x="14760" y="2587"/>
                  </a:lnTo>
                  <a:lnTo>
                    <a:pt x="13885" y="2587"/>
                  </a:lnTo>
                  <a:lnTo>
                    <a:pt x="13885" y="3445"/>
                  </a:lnTo>
                  <a:lnTo>
                    <a:pt x="13885" y="4304"/>
                  </a:lnTo>
                  <a:lnTo>
                    <a:pt x="14760" y="4304"/>
                  </a:lnTo>
                  <a:lnTo>
                    <a:pt x="15636" y="4304"/>
                  </a:lnTo>
                  <a:lnTo>
                    <a:pt x="15636" y="3445"/>
                  </a:lnTo>
                  <a:lnTo>
                    <a:pt x="15636" y="2587"/>
                  </a:lnTo>
                  <a:close/>
                  <a:moveTo>
                    <a:pt x="14002" y="2547"/>
                  </a:moveTo>
                  <a:lnTo>
                    <a:pt x="14750" y="2547"/>
                  </a:lnTo>
                  <a:lnTo>
                    <a:pt x="15499" y="2547"/>
                  </a:lnTo>
                  <a:lnTo>
                    <a:pt x="15499" y="2393"/>
                  </a:lnTo>
                  <a:lnTo>
                    <a:pt x="14750" y="2393"/>
                  </a:lnTo>
                  <a:lnTo>
                    <a:pt x="14002" y="2393"/>
                  </a:lnTo>
                  <a:lnTo>
                    <a:pt x="14002" y="2547"/>
                  </a:lnTo>
                  <a:close/>
                  <a:moveTo>
                    <a:pt x="15171" y="3639"/>
                  </a:moveTo>
                  <a:lnTo>
                    <a:pt x="15171" y="3751"/>
                  </a:lnTo>
                  <a:lnTo>
                    <a:pt x="15168" y="3760"/>
                  </a:lnTo>
                  <a:lnTo>
                    <a:pt x="15164" y="3765"/>
                  </a:lnTo>
                  <a:lnTo>
                    <a:pt x="15158" y="3769"/>
                  </a:lnTo>
                  <a:lnTo>
                    <a:pt x="15150" y="3771"/>
                  </a:lnTo>
                  <a:lnTo>
                    <a:pt x="15142" y="3769"/>
                  </a:lnTo>
                  <a:lnTo>
                    <a:pt x="15136" y="3765"/>
                  </a:lnTo>
                  <a:lnTo>
                    <a:pt x="15132" y="3760"/>
                  </a:lnTo>
                  <a:lnTo>
                    <a:pt x="15131" y="3751"/>
                  </a:lnTo>
                  <a:lnTo>
                    <a:pt x="15131" y="3639"/>
                  </a:lnTo>
                  <a:lnTo>
                    <a:pt x="15132" y="3630"/>
                  </a:lnTo>
                  <a:lnTo>
                    <a:pt x="15136" y="3624"/>
                  </a:lnTo>
                  <a:lnTo>
                    <a:pt x="15142" y="3620"/>
                  </a:lnTo>
                  <a:lnTo>
                    <a:pt x="15150" y="3618"/>
                  </a:lnTo>
                  <a:lnTo>
                    <a:pt x="15158" y="3620"/>
                  </a:lnTo>
                  <a:lnTo>
                    <a:pt x="15164" y="3624"/>
                  </a:lnTo>
                  <a:lnTo>
                    <a:pt x="15168" y="3630"/>
                  </a:lnTo>
                  <a:lnTo>
                    <a:pt x="15171" y="3639"/>
                  </a:lnTo>
                  <a:close/>
                  <a:moveTo>
                    <a:pt x="14908" y="3639"/>
                  </a:moveTo>
                  <a:lnTo>
                    <a:pt x="14908" y="3751"/>
                  </a:lnTo>
                  <a:lnTo>
                    <a:pt x="14905" y="3760"/>
                  </a:lnTo>
                  <a:lnTo>
                    <a:pt x="14901" y="3765"/>
                  </a:lnTo>
                  <a:lnTo>
                    <a:pt x="14895" y="3769"/>
                  </a:lnTo>
                  <a:lnTo>
                    <a:pt x="14887" y="3771"/>
                  </a:lnTo>
                  <a:lnTo>
                    <a:pt x="14880" y="3769"/>
                  </a:lnTo>
                  <a:lnTo>
                    <a:pt x="14873" y="3765"/>
                  </a:lnTo>
                  <a:lnTo>
                    <a:pt x="14869" y="3760"/>
                  </a:lnTo>
                  <a:lnTo>
                    <a:pt x="14867" y="3751"/>
                  </a:lnTo>
                  <a:lnTo>
                    <a:pt x="14867" y="3639"/>
                  </a:lnTo>
                  <a:lnTo>
                    <a:pt x="14869" y="3630"/>
                  </a:lnTo>
                  <a:lnTo>
                    <a:pt x="14873" y="3624"/>
                  </a:lnTo>
                  <a:lnTo>
                    <a:pt x="14880" y="3620"/>
                  </a:lnTo>
                  <a:lnTo>
                    <a:pt x="14887" y="3618"/>
                  </a:lnTo>
                  <a:lnTo>
                    <a:pt x="14895" y="3620"/>
                  </a:lnTo>
                  <a:lnTo>
                    <a:pt x="14901" y="3624"/>
                  </a:lnTo>
                  <a:lnTo>
                    <a:pt x="14905" y="3630"/>
                  </a:lnTo>
                  <a:lnTo>
                    <a:pt x="14908" y="3639"/>
                  </a:lnTo>
                  <a:close/>
                  <a:moveTo>
                    <a:pt x="14644" y="3639"/>
                  </a:moveTo>
                  <a:lnTo>
                    <a:pt x="14644" y="3751"/>
                  </a:lnTo>
                  <a:lnTo>
                    <a:pt x="14642" y="3760"/>
                  </a:lnTo>
                  <a:lnTo>
                    <a:pt x="14637" y="3765"/>
                  </a:lnTo>
                  <a:lnTo>
                    <a:pt x="14631" y="3769"/>
                  </a:lnTo>
                  <a:lnTo>
                    <a:pt x="14624" y="3771"/>
                  </a:lnTo>
                  <a:lnTo>
                    <a:pt x="14617" y="3769"/>
                  </a:lnTo>
                  <a:lnTo>
                    <a:pt x="14610" y="3765"/>
                  </a:lnTo>
                  <a:lnTo>
                    <a:pt x="14606" y="3760"/>
                  </a:lnTo>
                  <a:lnTo>
                    <a:pt x="14604" y="3751"/>
                  </a:lnTo>
                  <a:lnTo>
                    <a:pt x="14604" y="3639"/>
                  </a:lnTo>
                  <a:lnTo>
                    <a:pt x="14606" y="3630"/>
                  </a:lnTo>
                  <a:lnTo>
                    <a:pt x="14610" y="3624"/>
                  </a:lnTo>
                  <a:lnTo>
                    <a:pt x="14617" y="3620"/>
                  </a:lnTo>
                  <a:lnTo>
                    <a:pt x="14624" y="3618"/>
                  </a:lnTo>
                  <a:lnTo>
                    <a:pt x="14631" y="3620"/>
                  </a:lnTo>
                  <a:lnTo>
                    <a:pt x="14637" y="3624"/>
                  </a:lnTo>
                  <a:lnTo>
                    <a:pt x="14642" y="3630"/>
                  </a:lnTo>
                  <a:lnTo>
                    <a:pt x="14644" y="3639"/>
                  </a:lnTo>
                  <a:close/>
                  <a:moveTo>
                    <a:pt x="14381" y="3639"/>
                  </a:moveTo>
                  <a:lnTo>
                    <a:pt x="14381" y="3751"/>
                  </a:lnTo>
                  <a:lnTo>
                    <a:pt x="14379" y="3760"/>
                  </a:lnTo>
                  <a:lnTo>
                    <a:pt x="14374" y="3765"/>
                  </a:lnTo>
                  <a:lnTo>
                    <a:pt x="14368" y="3769"/>
                  </a:lnTo>
                  <a:lnTo>
                    <a:pt x="14362" y="3771"/>
                  </a:lnTo>
                  <a:lnTo>
                    <a:pt x="14354" y="3769"/>
                  </a:lnTo>
                  <a:lnTo>
                    <a:pt x="14347" y="3765"/>
                  </a:lnTo>
                  <a:lnTo>
                    <a:pt x="14342" y="3760"/>
                  </a:lnTo>
                  <a:lnTo>
                    <a:pt x="14341" y="3751"/>
                  </a:lnTo>
                  <a:lnTo>
                    <a:pt x="14341" y="3639"/>
                  </a:lnTo>
                  <a:lnTo>
                    <a:pt x="14342" y="3630"/>
                  </a:lnTo>
                  <a:lnTo>
                    <a:pt x="14347" y="3624"/>
                  </a:lnTo>
                  <a:lnTo>
                    <a:pt x="14354" y="3620"/>
                  </a:lnTo>
                  <a:lnTo>
                    <a:pt x="14362" y="3618"/>
                  </a:lnTo>
                  <a:lnTo>
                    <a:pt x="14368" y="3620"/>
                  </a:lnTo>
                  <a:lnTo>
                    <a:pt x="14374" y="3624"/>
                  </a:lnTo>
                  <a:lnTo>
                    <a:pt x="14379" y="3630"/>
                  </a:lnTo>
                  <a:lnTo>
                    <a:pt x="14381" y="3639"/>
                  </a:lnTo>
                  <a:close/>
                  <a:moveTo>
                    <a:pt x="14118" y="3639"/>
                  </a:moveTo>
                  <a:lnTo>
                    <a:pt x="14118" y="3751"/>
                  </a:lnTo>
                  <a:lnTo>
                    <a:pt x="14117" y="3760"/>
                  </a:lnTo>
                  <a:lnTo>
                    <a:pt x="14111" y="3765"/>
                  </a:lnTo>
                  <a:lnTo>
                    <a:pt x="14105" y="3769"/>
                  </a:lnTo>
                  <a:lnTo>
                    <a:pt x="14097" y="3771"/>
                  </a:lnTo>
                  <a:lnTo>
                    <a:pt x="14091" y="3769"/>
                  </a:lnTo>
                  <a:lnTo>
                    <a:pt x="14085" y="3765"/>
                  </a:lnTo>
                  <a:lnTo>
                    <a:pt x="14079" y="3760"/>
                  </a:lnTo>
                  <a:lnTo>
                    <a:pt x="14078" y="3751"/>
                  </a:lnTo>
                  <a:lnTo>
                    <a:pt x="14078" y="3639"/>
                  </a:lnTo>
                  <a:lnTo>
                    <a:pt x="14079" y="3630"/>
                  </a:lnTo>
                  <a:lnTo>
                    <a:pt x="14085" y="3624"/>
                  </a:lnTo>
                  <a:lnTo>
                    <a:pt x="14091" y="3620"/>
                  </a:lnTo>
                  <a:lnTo>
                    <a:pt x="14097" y="3618"/>
                  </a:lnTo>
                  <a:lnTo>
                    <a:pt x="14105" y="3620"/>
                  </a:lnTo>
                  <a:lnTo>
                    <a:pt x="14111" y="3624"/>
                  </a:lnTo>
                  <a:lnTo>
                    <a:pt x="14117" y="3630"/>
                  </a:lnTo>
                  <a:lnTo>
                    <a:pt x="14118" y="3639"/>
                  </a:lnTo>
                  <a:close/>
                  <a:moveTo>
                    <a:pt x="15434" y="3392"/>
                  </a:moveTo>
                  <a:lnTo>
                    <a:pt x="15434" y="3505"/>
                  </a:lnTo>
                  <a:lnTo>
                    <a:pt x="15432" y="3514"/>
                  </a:lnTo>
                  <a:lnTo>
                    <a:pt x="15427" y="3520"/>
                  </a:lnTo>
                  <a:lnTo>
                    <a:pt x="15421" y="3524"/>
                  </a:lnTo>
                  <a:lnTo>
                    <a:pt x="15413" y="3524"/>
                  </a:lnTo>
                  <a:lnTo>
                    <a:pt x="15407" y="3524"/>
                  </a:lnTo>
                  <a:lnTo>
                    <a:pt x="15400" y="3520"/>
                  </a:lnTo>
                  <a:lnTo>
                    <a:pt x="15395" y="3514"/>
                  </a:lnTo>
                  <a:lnTo>
                    <a:pt x="15394" y="3505"/>
                  </a:lnTo>
                  <a:lnTo>
                    <a:pt x="15394" y="3392"/>
                  </a:lnTo>
                  <a:lnTo>
                    <a:pt x="15395" y="3383"/>
                  </a:lnTo>
                  <a:lnTo>
                    <a:pt x="15400" y="3378"/>
                  </a:lnTo>
                  <a:lnTo>
                    <a:pt x="15407" y="3374"/>
                  </a:lnTo>
                  <a:lnTo>
                    <a:pt x="15413" y="3373"/>
                  </a:lnTo>
                  <a:lnTo>
                    <a:pt x="15421" y="3374"/>
                  </a:lnTo>
                  <a:lnTo>
                    <a:pt x="15427" y="3378"/>
                  </a:lnTo>
                  <a:lnTo>
                    <a:pt x="15432" y="3383"/>
                  </a:lnTo>
                  <a:lnTo>
                    <a:pt x="15434" y="3392"/>
                  </a:lnTo>
                  <a:close/>
                  <a:moveTo>
                    <a:pt x="15171" y="3392"/>
                  </a:moveTo>
                  <a:lnTo>
                    <a:pt x="15171" y="3505"/>
                  </a:lnTo>
                  <a:lnTo>
                    <a:pt x="15168" y="3514"/>
                  </a:lnTo>
                  <a:lnTo>
                    <a:pt x="15164" y="3520"/>
                  </a:lnTo>
                  <a:lnTo>
                    <a:pt x="15158" y="3524"/>
                  </a:lnTo>
                  <a:lnTo>
                    <a:pt x="15150" y="3524"/>
                  </a:lnTo>
                  <a:lnTo>
                    <a:pt x="15142" y="3524"/>
                  </a:lnTo>
                  <a:lnTo>
                    <a:pt x="15136" y="3520"/>
                  </a:lnTo>
                  <a:lnTo>
                    <a:pt x="15132" y="3514"/>
                  </a:lnTo>
                  <a:lnTo>
                    <a:pt x="15131" y="3505"/>
                  </a:lnTo>
                  <a:lnTo>
                    <a:pt x="15131" y="3392"/>
                  </a:lnTo>
                  <a:lnTo>
                    <a:pt x="15132" y="3383"/>
                  </a:lnTo>
                  <a:lnTo>
                    <a:pt x="15136" y="3378"/>
                  </a:lnTo>
                  <a:lnTo>
                    <a:pt x="15142" y="3374"/>
                  </a:lnTo>
                  <a:lnTo>
                    <a:pt x="15150" y="3373"/>
                  </a:lnTo>
                  <a:lnTo>
                    <a:pt x="15158" y="3374"/>
                  </a:lnTo>
                  <a:lnTo>
                    <a:pt x="15164" y="3378"/>
                  </a:lnTo>
                  <a:lnTo>
                    <a:pt x="15168" y="3383"/>
                  </a:lnTo>
                  <a:lnTo>
                    <a:pt x="15171" y="3392"/>
                  </a:lnTo>
                  <a:close/>
                  <a:moveTo>
                    <a:pt x="14908" y="3392"/>
                  </a:moveTo>
                  <a:lnTo>
                    <a:pt x="14908" y="3505"/>
                  </a:lnTo>
                  <a:lnTo>
                    <a:pt x="14905" y="3514"/>
                  </a:lnTo>
                  <a:lnTo>
                    <a:pt x="14901" y="3520"/>
                  </a:lnTo>
                  <a:lnTo>
                    <a:pt x="14895" y="3524"/>
                  </a:lnTo>
                  <a:lnTo>
                    <a:pt x="14887" y="3524"/>
                  </a:lnTo>
                  <a:lnTo>
                    <a:pt x="14880" y="3524"/>
                  </a:lnTo>
                  <a:lnTo>
                    <a:pt x="14873" y="3520"/>
                  </a:lnTo>
                  <a:lnTo>
                    <a:pt x="14869" y="3514"/>
                  </a:lnTo>
                  <a:lnTo>
                    <a:pt x="14867" y="3505"/>
                  </a:lnTo>
                  <a:lnTo>
                    <a:pt x="14867" y="3392"/>
                  </a:lnTo>
                  <a:lnTo>
                    <a:pt x="14869" y="3383"/>
                  </a:lnTo>
                  <a:lnTo>
                    <a:pt x="14873" y="3378"/>
                  </a:lnTo>
                  <a:lnTo>
                    <a:pt x="14880" y="3374"/>
                  </a:lnTo>
                  <a:lnTo>
                    <a:pt x="14887" y="3373"/>
                  </a:lnTo>
                  <a:lnTo>
                    <a:pt x="14895" y="3374"/>
                  </a:lnTo>
                  <a:lnTo>
                    <a:pt x="14901" y="3378"/>
                  </a:lnTo>
                  <a:lnTo>
                    <a:pt x="14905" y="3383"/>
                  </a:lnTo>
                  <a:lnTo>
                    <a:pt x="14908" y="3392"/>
                  </a:lnTo>
                  <a:close/>
                  <a:moveTo>
                    <a:pt x="14644" y="3392"/>
                  </a:moveTo>
                  <a:lnTo>
                    <a:pt x="14644" y="3505"/>
                  </a:lnTo>
                  <a:lnTo>
                    <a:pt x="14642" y="3514"/>
                  </a:lnTo>
                  <a:lnTo>
                    <a:pt x="14637" y="3520"/>
                  </a:lnTo>
                  <a:lnTo>
                    <a:pt x="14631" y="3524"/>
                  </a:lnTo>
                  <a:lnTo>
                    <a:pt x="14624" y="3524"/>
                  </a:lnTo>
                  <a:lnTo>
                    <a:pt x="14617" y="3524"/>
                  </a:lnTo>
                  <a:lnTo>
                    <a:pt x="14610" y="3520"/>
                  </a:lnTo>
                  <a:lnTo>
                    <a:pt x="14606" y="3514"/>
                  </a:lnTo>
                  <a:lnTo>
                    <a:pt x="14604" y="3505"/>
                  </a:lnTo>
                  <a:lnTo>
                    <a:pt x="14604" y="3392"/>
                  </a:lnTo>
                  <a:lnTo>
                    <a:pt x="14606" y="3383"/>
                  </a:lnTo>
                  <a:lnTo>
                    <a:pt x="14610" y="3378"/>
                  </a:lnTo>
                  <a:lnTo>
                    <a:pt x="14617" y="3374"/>
                  </a:lnTo>
                  <a:lnTo>
                    <a:pt x="14624" y="3373"/>
                  </a:lnTo>
                  <a:lnTo>
                    <a:pt x="14631" y="3374"/>
                  </a:lnTo>
                  <a:lnTo>
                    <a:pt x="14637" y="3378"/>
                  </a:lnTo>
                  <a:lnTo>
                    <a:pt x="14642" y="3383"/>
                  </a:lnTo>
                  <a:lnTo>
                    <a:pt x="14644" y="3392"/>
                  </a:lnTo>
                  <a:close/>
                  <a:moveTo>
                    <a:pt x="14381" y="3392"/>
                  </a:moveTo>
                  <a:lnTo>
                    <a:pt x="14381" y="3505"/>
                  </a:lnTo>
                  <a:lnTo>
                    <a:pt x="14379" y="3514"/>
                  </a:lnTo>
                  <a:lnTo>
                    <a:pt x="14374" y="3520"/>
                  </a:lnTo>
                  <a:lnTo>
                    <a:pt x="14368" y="3524"/>
                  </a:lnTo>
                  <a:lnTo>
                    <a:pt x="14362" y="3524"/>
                  </a:lnTo>
                  <a:lnTo>
                    <a:pt x="14354" y="3524"/>
                  </a:lnTo>
                  <a:lnTo>
                    <a:pt x="14347" y="3520"/>
                  </a:lnTo>
                  <a:lnTo>
                    <a:pt x="14342" y="3514"/>
                  </a:lnTo>
                  <a:lnTo>
                    <a:pt x="14341" y="3505"/>
                  </a:lnTo>
                  <a:lnTo>
                    <a:pt x="14341" y="3392"/>
                  </a:lnTo>
                  <a:lnTo>
                    <a:pt x="14342" y="3383"/>
                  </a:lnTo>
                  <a:lnTo>
                    <a:pt x="14347" y="3378"/>
                  </a:lnTo>
                  <a:lnTo>
                    <a:pt x="14354" y="3374"/>
                  </a:lnTo>
                  <a:lnTo>
                    <a:pt x="14362" y="3373"/>
                  </a:lnTo>
                  <a:lnTo>
                    <a:pt x="14368" y="3374"/>
                  </a:lnTo>
                  <a:lnTo>
                    <a:pt x="14374" y="3378"/>
                  </a:lnTo>
                  <a:lnTo>
                    <a:pt x="14379" y="3383"/>
                  </a:lnTo>
                  <a:lnTo>
                    <a:pt x="14381" y="3392"/>
                  </a:lnTo>
                  <a:close/>
                  <a:moveTo>
                    <a:pt x="14118" y="3392"/>
                  </a:moveTo>
                  <a:lnTo>
                    <a:pt x="14118" y="3505"/>
                  </a:lnTo>
                  <a:lnTo>
                    <a:pt x="14117" y="3514"/>
                  </a:lnTo>
                  <a:lnTo>
                    <a:pt x="14111" y="3520"/>
                  </a:lnTo>
                  <a:lnTo>
                    <a:pt x="14105" y="3524"/>
                  </a:lnTo>
                  <a:lnTo>
                    <a:pt x="14097" y="3524"/>
                  </a:lnTo>
                  <a:lnTo>
                    <a:pt x="14091" y="3524"/>
                  </a:lnTo>
                  <a:lnTo>
                    <a:pt x="14085" y="3520"/>
                  </a:lnTo>
                  <a:lnTo>
                    <a:pt x="14079" y="3514"/>
                  </a:lnTo>
                  <a:lnTo>
                    <a:pt x="14078" y="3505"/>
                  </a:lnTo>
                  <a:lnTo>
                    <a:pt x="14078" y="3392"/>
                  </a:lnTo>
                  <a:lnTo>
                    <a:pt x="14079" y="3383"/>
                  </a:lnTo>
                  <a:lnTo>
                    <a:pt x="14085" y="3378"/>
                  </a:lnTo>
                  <a:lnTo>
                    <a:pt x="14091" y="3374"/>
                  </a:lnTo>
                  <a:lnTo>
                    <a:pt x="14097" y="3373"/>
                  </a:lnTo>
                  <a:lnTo>
                    <a:pt x="14105" y="3374"/>
                  </a:lnTo>
                  <a:lnTo>
                    <a:pt x="14111" y="3378"/>
                  </a:lnTo>
                  <a:lnTo>
                    <a:pt x="14117" y="3383"/>
                  </a:lnTo>
                  <a:lnTo>
                    <a:pt x="14118" y="3392"/>
                  </a:lnTo>
                  <a:close/>
                  <a:moveTo>
                    <a:pt x="15434" y="3145"/>
                  </a:moveTo>
                  <a:lnTo>
                    <a:pt x="15434" y="3258"/>
                  </a:lnTo>
                  <a:lnTo>
                    <a:pt x="15432" y="3267"/>
                  </a:lnTo>
                  <a:lnTo>
                    <a:pt x="15427" y="3273"/>
                  </a:lnTo>
                  <a:lnTo>
                    <a:pt x="15421" y="3277"/>
                  </a:lnTo>
                  <a:lnTo>
                    <a:pt x="15413" y="3278"/>
                  </a:lnTo>
                  <a:lnTo>
                    <a:pt x="15407" y="3277"/>
                  </a:lnTo>
                  <a:lnTo>
                    <a:pt x="15400" y="3273"/>
                  </a:lnTo>
                  <a:lnTo>
                    <a:pt x="15395" y="3267"/>
                  </a:lnTo>
                  <a:lnTo>
                    <a:pt x="15394" y="3258"/>
                  </a:lnTo>
                  <a:lnTo>
                    <a:pt x="15394" y="3145"/>
                  </a:lnTo>
                  <a:lnTo>
                    <a:pt x="15395" y="3138"/>
                  </a:lnTo>
                  <a:lnTo>
                    <a:pt x="15400" y="3131"/>
                  </a:lnTo>
                  <a:lnTo>
                    <a:pt x="15407" y="3127"/>
                  </a:lnTo>
                  <a:lnTo>
                    <a:pt x="15413" y="3126"/>
                  </a:lnTo>
                  <a:lnTo>
                    <a:pt x="15421" y="3127"/>
                  </a:lnTo>
                  <a:lnTo>
                    <a:pt x="15427" y="3131"/>
                  </a:lnTo>
                  <a:lnTo>
                    <a:pt x="15432" y="3138"/>
                  </a:lnTo>
                  <a:lnTo>
                    <a:pt x="15434" y="3145"/>
                  </a:lnTo>
                  <a:close/>
                  <a:moveTo>
                    <a:pt x="15171" y="3145"/>
                  </a:moveTo>
                  <a:lnTo>
                    <a:pt x="15171" y="3258"/>
                  </a:lnTo>
                  <a:lnTo>
                    <a:pt x="15168" y="3267"/>
                  </a:lnTo>
                  <a:lnTo>
                    <a:pt x="15164" y="3273"/>
                  </a:lnTo>
                  <a:lnTo>
                    <a:pt x="15158" y="3277"/>
                  </a:lnTo>
                  <a:lnTo>
                    <a:pt x="15150" y="3278"/>
                  </a:lnTo>
                  <a:lnTo>
                    <a:pt x="15142" y="3277"/>
                  </a:lnTo>
                  <a:lnTo>
                    <a:pt x="15136" y="3273"/>
                  </a:lnTo>
                  <a:lnTo>
                    <a:pt x="15132" y="3267"/>
                  </a:lnTo>
                  <a:lnTo>
                    <a:pt x="15131" y="3258"/>
                  </a:lnTo>
                  <a:lnTo>
                    <a:pt x="15131" y="3145"/>
                  </a:lnTo>
                  <a:lnTo>
                    <a:pt x="15132" y="3138"/>
                  </a:lnTo>
                  <a:lnTo>
                    <a:pt x="15136" y="3131"/>
                  </a:lnTo>
                  <a:lnTo>
                    <a:pt x="15142" y="3127"/>
                  </a:lnTo>
                  <a:lnTo>
                    <a:pt x="15150" y="3126"/>
                  </a:lnTo>
                  <a:lnTo>
                    <a:pt x="15158" y="3127"/>
                  </a:lnTo>
                  <a:lnTo>
                    <a:pt x="15164" y="3131"/>
                  </a:lnTo>
                  <a:lnTo>
                    <a:pt x="15168" y="3138"/>
                  </a:lnTo>
                  <a:lnTo>
                    <a:pt x="15171" y="3145"/>
                  </a:lnTo>
                  <a:close/>
                  <a:moveTo>
                    <a:pt x="14908" y="3145"/>
                  </a:moveTo>
                  <a:lnTo>
                    <a:pt x="14908" y="3258"/>
                  </a:lnTo>
                  <a:lnTo>
                    <a:pt x="14905" y="3267"/>
                  </a:lnTo>
                  <a:lnTo>
                    <a:pt x="14901" y="3273"/>
                  </a:lnTo>
                  <a:lnTo>
                    <a:pt x="14895" y="3277"/>
                  </a:lnTo>
                  <a:lnTo>
                    <a:pt x="14887" y="3278"/>
                  </a:lnTo>
                  <a:lnTo>
                    <a:pt x="14880" y="3277"/>
                  </a:lnTo>
                  <a:lnTo>
                    <a:pt x="14873" y="3273"/>
                  </a:lnTo>
                  <a:lnTo>
                    <a:pt x="14869" y="3267"/>
                  </a:lnTo>
                  <a:lnTo>
                    <a:pt x="14867" y="3258"/>
                  </a:lnTo>
                  <a:lnTo>
                    <a:pt x="14867" y="3145"/>
                  </a:lnTo>
                  <a:lnTo>
                    <a:pt x="14869" y="3138"/>
                  </a:lnTo>
                  <a:lnTo>
                    <a:pt x="14873" y="3131"/>
                  </a:lnTo>
                  <a:lnTo>
                    <a:pt x="14880" y="3127"/>
                  </a:lnTo>
                  <a:lnTo>
                    <a:pt x="14887" y="3126"/>
                  </a:lnTo>
                  <a:lnTo>
                    <a:pt x="14895" y="3127"/>
                  </a:lnTo>
                  <a:lnTo>
                    <a:pt x="14901" y="3131"/>
                  </a:lnTo>
                  <a:lnTo>
                    <a:pt x="14905" y="3138"/>
                  </a:lnTo>
                  <a:lnTo>
                    <a:pt x="14908" y="3145"/>
                  </a:lnTo>
                  <a:close/>
                  <a:moveTo>
                    <a:pt x="14644" y="3145"/>
                  </a:moveTo>
                  <a:lnTo>
                    <a:pt x="14644" y="3258"/>
                  </a:lnTo>
                  <a:lnTo>
                    <a:pt x="14642" y="3267"/>
                  </a:lnTo>
                  <a:lnTo>
                    <a:pt x="14637" y="3273"/>
                  </a:lnTo>
                  <a:lnTo>
                    <a:pt x="14631" y="3277"/>
                  </a:lnTo>
                  <a:lnTo>
                    <a:pt x="14624" y="3278"/>
                  </a:lnTo>
                  <a:lnTo>
                    <a:pt x="14617" y="3277"/>
                  </a:lnTo>
                  <a:lnTo>
                    <a:pt x="14610" y="3273"/>
                  </a:lnTo>
                  <a:lnTo>
                    <a:pt x="14606" y="3267"/>
                  </a:lnTo>
                  <a:lnTo>
                    <a:pt x="14604" y="3258"/>
                  </a:lnTo>
                  <a:lnTo>
                    <a:pt x="14604" y="3145"/>
                  </a:lnTo>
                  <a:lnTo>
                    <a:pt x="14606" y="3138"/>
                  </a:lnTo>
                  <a:lnTo>
                    <a:pt x="14610" y="3131"/>
                  </a:lnTo>
                  <a:lnTo>
                    <a:pt x="14617" y="3127"/>
                  </a:lnTo>
                  <a:lnTo>
                    <a:pt x="14624" y="3126"/>
                  </a:lnTo>
                  <a:lnTo>
                    <a:pt x="14631" y="3127"/>
                  </a:lnTo>
                  <a:lnTo>
                    <a:pt x="14637" y="3131"/>
                  </a:lnTo>
                  <a:lnTo>
                    <a:pt x="14642" y="3138"/>
                  </a:lnTo>
                  <a:lnTo>
                    <a:pt x="14644" y="3145"/>
                  </a:lnTo>
                  <a:close/>
                  <a:moveTo>
                    <a:pt x="14381" y="3145"/>
                  </a:moveTo>
                  <a:lnTo>
                    <a:pt x="14381" y="3258"/>
                  </a:lnTo>
                  <a:lnTo>
                    <a:pt x="14379" y="3267"/>
                  </a:lnTo>
                  <a:lnTo>
                    <a:pt x="14374" y="3273"/>
                  </a:lnTo>
                  <a:lnTo>
                    <a:pt x="14368" y="3277"/>
                  </a:lnTo>
                  <a:lnTo>
                    <a:pt x="14362" y="3278"/>
                  </a:lnTo>
                  <a:lnTo>
                    <a:pt x="14354" y="3277"/>
                  </a:lnTo>
                  <a:lnTo>
                    <a:pt x="14347" y="3273"/>
                  </a:lnTo>
                  <a:lnTo>
                    <a:pt x="14342" y="3267"/>
                  </a:lnTo>
                  <a:lnTo>
                    <a:pt x="14341" y="3258"/>
                  </a:lnTo>
                  <a:lnTo>
                    <a:pt x="14341" y="3145"/>
                  </a:lnTo>
                  <a:lnTo>
                    <a:pt x="14342" y="3138"/>
                  </a:lnTo>
                  <a:lnTo>
                    <a:pt x="14347" y="3131"/>
                  </a:lnTo>
                  <a:lnTo>
                    <a:pt x="14354" y="3127"/>
                  </a:lnTo>
                  <a:lnTo>
                    <a:pt x="14362" y="3126"/>
                  </a:lnTo>
                  <a:lnTo>
                    <a:pt x="14368" y="3127"/>
                  </a:lnTo>
                  <a:lnTo>
                    <a:pt x="14374" y="3131"/>
                  </a:lnTo>
                  <a:lnTo>
                    <a:pt x="14379" y="3138"/>
                  </a:lnTo>
                  <a:lnTo>
                    <a:pt x="14381" y="3145"/>
                  </a:lnTo>
                  <a:close/>
                  <a:moveTo>
                    <a:pt x="14118" y="3145"/>
                  </a:moveTo>
                  <a:lnTo>
                    <a:pt x="14118" y="3258"/>
                  </a:lnTo>
                  <a:lnTo>
                    <a:pt x="14117" y="3267"/>
                  </a:lnTo>
                  <a:lnTo>
                    <a:pt x="14111" y="3273"/>
                  </a:lnTo>
                  <a:lnTo>
                    <a:pt x="14105" y="3277"/>
                  </a:lnTo>
                  <a:lnTo>
                    <a:pt x="14097" y="3278"/>
                  </a:lnTo>
                  <a:lnTo>
                    <a:pt x="14091" y="3277"/>
                  </a:lnTo>
                  <a:lnTo>
                    <a:pt x="14085" y="3273"/>
                  </a:lnTo>
                  <a:lnTo>
                    <a:pt x="14079" y="3267"/>
                  </a:lnTo>
                  <a:lnTo>
                    <a:pt x="14078" y="3258"/>
                  </a:lnTo>
                  <a:lnTo>
                    <a:pt x="14078" y="3145"/>
                  </a:lnTo>
                  <a:lnTo>
                    <a:pt x="14079" y="3138"/>
                  </a:lnTo>
                  <a:lnTo>
                    <a:pt x="14085" y="3131"/>
                  </a:lnTo>
                  <a:lnTo>
                    <a:pt x="14091" y="3127"/>
                  </a:lnTo>
                  <a:lnTo>
                    <a:pt x="14097" y="3126"/>
                  </a:lnTo>
                  <a:lnTo>
                    <a:pt x="14105" y="3127"/>
                  </a:lnTo>
                  <a:lnTo>
                    <a:pt x="14111" y="3131"/>
                  </a:lnTo>
                  <a:lnTo>
                    <a:pt x="14117" y="3138"/>
                  </a:lnTo>
                  <a:lnTo>
                    <a:pt x="14118" y="3145"/>
                  </a:lnTo>
                  <a:close/>
                  <a:moveTo>
                    <a:pt x="15434" y="2900"/>
                  </a:moveTo>
                  <a:lnTo>
                    <a:pt x="15434" y="3011"/>
                  </a:lnTo>
                  <a:lnTo>
                    <a:pt x="15432" y="3020"/>
                  </a:lnTo>
                  <a:lnTo>
                    <a:pt x="15427" y="3026"/>
                  </a:lnTo>
                  <a:lnTo>
                    <a:pt x="15421" y="3030"/>
                  </a:lnTo>
                  <a:lnTo>
                    <a:pt x="15413" y="3031"/>
                  </a:lnTo>
                  <a:lnTo>
                    <a:pt x="15407" y="3030"/>
                  </a:lnTo>
                  <a:lnTo>
                    <a:pt x="15400" y="3026"/>
                  </a:lnTo>
                  <a:lnTo>
                    <a:pt x="15395" y="3020"/>
                  </a:lnTo>
                  <a:lnTo>
                    <a:pt x="15394" y="3011"/>
                  </a:lnTo>
                  <a:lnTo>
                    <a:pt x="15394" y="2900"/>
                  </a:lnTo>
                  <a:lnTo>
                    <a:pt x="15395" y="2891"/>
                  </a:lnTo>
                  <a:lnTo>
                    <a:pt x="15400" y="2884"/>
                  </a:lnTo>
                  <a:lnTo>
                    <a:pt x="15407" y="2881"/>
                  </a:lnTo>
                  <a:lnTo>
                    <a:pt x="15413" y="2879"/>
                  </a:lnTo>
                  <a:lnTo>
                    <a:pt x="15421" y="2881"/>
                  </a:lnTo>
                  <a:lnTo>
                    <a:pt x="15427" y="2884"/>
                  </a:lnTo>
                  <a:lnTo>
                    <a:pt x="15432" y="2891"/>
                  </a:lnTo>
                  <a:lnTo>
                    <a:pt x="15434" y="2900"/>
                  </a:lnTo>
                  <a:close/>
                  <a:moveTo>
                    <a:pt x="15171" y="2900"/>
                  </a:moveTo>
                  <a:lnTo>
                    <a:pt x="15171" y="3011"/>
                  </a:lnTo>
                  <a:lnTo>
                    <a:pt x="15168" y="3020"/>
                  </a:lnTo>
                  <a:lnTo>
                    <a:pt x="15164" y="3026"/>
                  </a:lnTo>
                  <a:lnTo>
                    <a:pt x="15158" y="3030"/>
                  </a:lnTo>
                  <a:lnTo>
                    <a:pt x="15150" y="3031"/>
                  </a:lnTo>
                  <a:lnTo>
                    <a:pt x="15142" y="3030"/>
                  </a:lnTo>
                  <a:lnTo>
                    <a:pt x="15136" y="3026"/>
                  </a:lnTo>
                  <a:lnTo>
                    <a:pt x="15132" y="3020"/>
                  </a:lnTo>
                  <a:lnTo>
                    <a:pt x="15131" y="3011"/>
                  </a:lnTo>
                  <a:lnTo>
                    <a:pt x="15131" y="2900"/>
                  </a:lnTo>
                  <a:lnTo>
                    <a:pt x="15132" y="2891"/>
                  </a:lnTo>
                  <a:lnTo>
                    <a:pt x="15136" y="2884"/>
                  </a:lnTo>
                  <a:lnTo>
                    <a:pt x="15142" y="2881"/>
                  </a:lnTo>
                  <a:lnTo>
                    <a:pt x="15150" y="2879"/>
                  </a:lnTo>
                  <a:lnTo>
                    <a:pt x="15158" y="2881"/>
                  </a:lnTo>
                  <a:lnTo>
                    <a:pt x="15164" y="2884"/>
                  </a:lnTo>
                  <a:lnTo>
                    <a:pt x="15168" y="2891"/>
                  </a:lnTo>
                  <a:lnTo>
                    <a:pt x="15171" y="2900"/>
                  </a:lnTo>
                  <a:close/>
                  <a:moveTo>
                    <a:pt x="14908" y="2900"/>
                  </a:moveTo>
                  <a:lnTo>
                    <a:pt x="14908" y="3011"/>
                  </a:lnTo>
                  <a:lnTo>
                    <a:pt x="14905" y="3020"/>
                  </a:lnTo>
                  <a:lnTo>
                    <a:pt x="14901" y="3026"/>
                  </a:lnTo>
                  <a:lnTo>
                    <a:pt x="14895" y="3030"/>
                  </a:lnTo>
                  <a:lnTo>
                    <a:pt x="14887" y="3031"/>
                  </a:lnTo>
                  <a:lnTo>
                    <a:pt x="14880" y="3030"/>
                  </a:lnTo>
                  <a:lnTo>
                    <a:pt x="14873" y="3026"/>
                  </a:lnTo>
                  <a:lnTo>
                    <a:pt x="14869" y="3020"/>
                  </a:lnTo>
                  <a:lnTo>
                    <a:pt x="14867" y="3011"/>
                  </a:lnTo>
                  <a:lnTo>
                    <a:pt x="14867" y="2900"/>
                  </a:lnTo>
                  <a:lnTo>
                    <a:pt x="14869" y="2891"/>
                  </a:lnTo>
                  <a:lnTo>
                    <a:pt x="14873" y="2884"/>
                  </a:lnTo>
                  <a:lnTo>
                    <a:pt x="14880" y="2881"/>
                  </a:lnTo>
                  <a:lnTo>
                    <a:pt x="14887" y="2879"/>
                  </a:lnTo>
                  <a:lnTo>
                    <a:pt x="14895" y="2881"/>
                  </a:lnTo>
                  <a:lnTo>
                    <a:pt x="14901" y="2884"/>
                  </a:lnTo>
                  <a:lnTo>
                    <a:pt x="14905" y="2891"/>
                  </a:lnTo>
                  <a:lnTo>
                    <a:pt x="14908" y="2900"/>
                  </a:lnTo>
                  <a:close/>
                  <a:moveTo>
                    <a:pt x="14644" y="2900"/>
                  </a:moveTo>
                  <a:lnTo>
                    <a:pt x="14644" y="3011"/>
                  </a:lnTo>
                  <a:lnTo>
                    <a:pt x="14642" y="3020"/>
                  </a:lnTo>
                  <a:lnTo>
                    <a:pt x="14637" y="3026"/>
                  </a:lnTo>
                  <a:lnTo>
                    <a:pt x="14631" y="3030"/>
                  </a:lnTo>
                  <a:lnTo>
                    <a:pt x="14624" y="3031"/>
                  </a:lnTo>
                  <a:lnTo>
                    <a:pt x="14617" y="3030"/>
                  </a:lnTo>
                  <a:lnTo>
                    <a:pt x="14610" y="3026"/>
                  </a:lnTo>
                  <a:lnTo>
                    <a:pt x="14606" y="3020"/>
                  </a:lnTo>
                  <a:lnTo>
                    <a:pt x="14604" y="3011"/>
                  </a:lnTo>
                  <a:lnTo>
                    <a:pt x="14604" y="2900"/>
                  </a:lnTo>
                  <a:lnTo>
                    <a:pt x="14606" y="2891"/>
                  </a:lnTo>
                  <a:lnTo>
                    <a:pt x="14610" y="2884"/>
                  </a:lnTo>
                  <a:lnTo>
                    <a:pt x="14617" y="2881"/>
                  </a:lnTo>
                  <a:lnTo>
                    <a:pt x="14624" y="2879"/>
                  </a:lnTo>
                  <a:lnTo>
                    <a:pt x="14631" y="2881"/>
                  </a:lnTo>
                  <a:lnTo>
                    <a:pt x="14637" y="2884"/>
                  </a:lnTo>
                  <a:lnTo>
                    <a:pt x="14642" y="2891"/>
                  </a:lnTo>
                  <a:lnTo>
                    <a:pt x="14644" y="2900"/>
                  </a:lnTo>
                  <a:close/>
                  <a:moveTo>
                    <a:pt x="14381" y="2900"/>
                  </a:moveTo>
                  <a:lnTo>
                    <a:pt x="14381" y="3011"/>
                  </a:lnTo>
                  <a:lnTo>
                    <a:pt x="14379" y="3020"/>
                  </a:lnTo>
                  <a:lnTo>
                    <a:pt x="14374" y="3026"/>
                  </a:lnTo>
                  <a:lnTo>
                    <a:pt x="14368" y="3030"/>
                  </a:lnTo>
                  <a:lnTo>
                    <a:pt x="14362" y="3031"/>
                  </a:lnTo>
                  <a:lnTo>
                    <a:pt x="14354" y="3030"/>
                  </a:lnTo>
                  <a:lnTo>
                    <a:pt x="14347" y="3026"/>
                  </a:lnTo>
                  <a:lnTo>
                    <a:pt x="14342" y="3020"/>
                  </a:lnTo>
                  <a:lnTo>
                    <a:pt x="14341" y="3011"/>
                  </a:lnTo>
                  <a:lnTo>
                    <a:pt x="14341" y="2900"/>
                  </a:lnTo>
                  <a:lnTo>
                    <a:pt x="14342" y="2891"/>
                  </a:lnTo>
                  <a:lnTo>
                    <a:pt x="14347" y="2884"/>
                  </a:lnTo>
                  <a:lnTo>
                    <a:pt x="14354" y="2881"/>
                  </a:lnTo>
                  <a:lnTo>
                    <a:pt x="14362" y="2879"/>
                  </a:lnTo>
                  <a:lnTo>
                    <a:pt x="14368" y="2881"/>
                  </a:lnTo>
                  <a:lnTo>
                    <a:pt x="14374" y="2884"/>
                  </a:lnTo>
                  <a:lnTo>
                    <a:pt x="14379" y="2891"/>
                  </a:lnTo>
                  <a:lnTo>
                    <a:pt x="14381" y="2900"/>
                  </a:lnTo>
                  <a:close/>
                  <a:moveTo>
                    <a:pt x="14118" y="2900"/>
                  </a:moveTo>
                  <a:lnTo>
                    <a:pt x="14118" y="3011"/>
                  </a:lnTo>
                  <a:lnTo>
                    <a:pt x="14117" y="3020"/>
                  </a:lnTo>
                  <a:lnTo>
                    <a:pt x="14111" y="3026"/>
                  </a:lnTo>
                  <a:lnTo>
                    <a:pt x="14105" y="3030"/>
                  </a:lnTo>
                  <a:lnTo>
                    <a:pt x="14097" y="3031"/>
                  </a:lnTo>
                  <a:lnTo>
                    <a:pt x="14091" y="3030"/>
                  </a:lnTo>
                  <a:lnTo>
                    <a:pt x="14085" y="3026"/>
                  </a:lnTo>
                  <a:lnTo>
                    <a:pt x="14079" y="3020"/>
                  </a:lnTo>
                  <a:lnTo>
                    <a:pt x="14078" y="3011"/>
                  </a:lnTo>
                  <a:lnTo>
                    <a:pt x="14078" y="2900"/>
                  </a:lnTo>
                  <a:lnTo>
                    <a:pt x="14079" y="2891"/>
                  </a:lnTo>
                  <a:lnTo>
                    <a:pt x="14085" y="2884"/>
                  </a:lnTo>
                  <a:lnTo>
                    <a:pt x="14091" y="2881"/>
                  </a:lnTo>
                  <a:lnTo>
                    <a:pt x="14097" y="2879"/>
                  </a:lnTo>
                  <a:lnTo>
                    <a:pt x="14105" y="2881"/>
                  </a:lnTo>
                  <a:lnTo>
                    <a:pt x="14111" y="2884"/>
                  </a:lnTo>
                  <a:lnTo>
                    <a:pt x="14117" y="2891"/>
                  </a:lnTo>
                  <a:lnTo>
                    <a:pt x="14118" y="2900"/>
                  </a:lnTo>
                  <a:close/>
                  <a:moveTo>
                    <a:pt x="15434" y="3639"/>
                  </a:moveTo>
                  <a:lnTo>
                    <a:pt x="15434" y="3751"/>
                  </a:lnTo>
                  <a:lnTo>
                    <a:pt x="15432" y="3760"/>
                  </a:lnTo>
                  <a:lnTo>
                    <a:pt x="15427" y="3765"/>
                  </a:lnTo>
                  <a:lnTo>
                    <a:pt x="15421" y="3769"/>
                  </a:lnTo>
                  <a:lnTo>
                    <a:pt x="15413" y="3771"/>
                  </a:lnTo>
                  <a:lnTo>
                    <a:pt x="15407" y="3769"/>
                  </a:lnTo>
                  <a:lnTo>
                    <a:pt x="15400" y="3765"/>
                  </a:lnTo>
                  <a:lnTo>
                    <a:pt x="15395" y="3760"/>
                  </a:lnTo>
                  <a:lnTo>
                    <a:pt x="15394" y="3751"/>
                  </a:lnTo>
                  <a:lnTo>
                    <a:pt x="15394" y="3639"/>
                  </a:lnTo>
                  <a:lnTo>
                    <a:pt x="15395" y="3630"/>
                  </a:lnTo>
                  <a:lnTo>
                    <a:pt x="15400" y="3624"/>
                  </a:lnTo>
                  <a:lnTo>
                    <a:pt x="15407" y="3620"/>
                  </a:lnTo>
                  <a:lnTo>
                    <a:pt x="15413" y="3618"/>
                  </a:lnTo>
                  <a:lnTo>
                    <a:pt x="15421" y="3620"/>
                  </a:lnTo>
                  <a:lnTo>
                    <a:pt x="15427" y="3624"/>
                  </a:lnTo>
                  <a:lnTo>
                    <a:pt x="15432" y="3630"/>
                  </a:lnTo>
                  <a:lnTo>
                    <a:pt x="15434" y="3639"/>
                  </a:lnTo>
                  <a:close/>
                  <a:moveTo>
                    <a:pt x="18172" y="964"/>
                  </a:moveTo>
                  <a:lnTo>
                    <a:pt x="17643" y="964"/>
                  </a:lnTo>
                  <a:lnTo>
                    <a:pt x="17643" y="1019"/>
                  </a:lnTo>
                  <a:lnTo>
                    <a:pt x="18172" y="1019"/>
                  </a:lnTo>
                  <a:lnTo>
                    <a:pt x="18172" y="964"/>
                  </a:lnTo>
                  <a:close/>
                  <a:moveTo>
                    <a:pt x="17665" y="1323"/>
                  </a:moveTo>
                  <a:lnTo>
                    <a:pt x="18163" y="2010"/>
                  </a:lnTo>
                  <a:lnTo>
                    <a:pt x="18134" y="1058"/>
                  </a:lnTo>
                  <a:lnTo>
                    <a:pt x="17680" y="1058"/>
                  </a:lnTo>
                  <a:lnTo>
                    <a:pt x="17665" y="1322"/>
                  </a:lnTo>
                  <a:lnTo>
                    <a:pt x="17665" y="1323"/>
                  </a:lnTo>
                  <a:close/>
                  <a:moveTo>
                    <a:pt x="17638" y="1754"/>
                  </a:moveTo>
                  <a:lnTo>
                    <a:pt x="18179" y="2500"/>
                  </a:lnTo>
                  <a:lnTo>
                    <a:pt x="18166" y="2079"/>
                  </a:lnTo>
                  <a:lnTo>
                    <a:pt x="18161" y="2074"/>
                  </a:lnTo>
                  <a:lnTo>
                    <a:pt x="17661" y="1385"/>
                  </a:lnTo>
                  <a:lnTo>
                    <a:pt x="17638" y="1754"/>
                  </a:lnTo>
                  <a:close/>
                  <a:moveTo>
                    <a:pt x="17611" y="2186"/>
                  </a:moveTo>
                  <a:lnTo>
                    <a:pt x="18194" y="2989"/>
                  </a:lnTo>
                  <a:lnTo>
                    <a:pt x="18181" y="2571"/>
                  </a:lnTo>
                  <a:lnTo>
                    <a:pt x="17634" y="1817"/>
                  </a:lnTo>
                  <a:lnTo>
                    <a:pt x="17611" y="2186"/>
                  </a:lnTo>
                  <a:close/>
                  <a:moveTo>
                    <a:pt x="22919" y="2556"/>
                  </a:moveTo>
                  <a:lnTo>
                    <a:pt x="22895" y="2525"/>
                  </a:lnTo>
                  <a:lnTo>
                    <a:pt x="22869" y="2494"/>
                  </a:lnTo>
                  <a:lnTo>
                    <a:pt x="22841" y="2464"/>
                  </a:lnTo>
                  <a:lnTo>
                    <a:pt x="22812" y="2434"/>
                  </a:lnTo>
                  <a:lnTo>
                    <a:pt x="22748" y="2377"/>
                  </a:lnTo>
                  <a:lnTo>
                    <a:pt x="22714" y="2350"/>
                  </a:lnTo>
                  <a:lnTo>
                    <a:pt x="22678" y="2323"/>
                  </a:lnTo>
                  <a:lnTo>
                    <a:pt x="22603" y="2272"/>
                  </a:lnTo>
                  <a:lnTo>
                    <a:pt x="22522" y="2225"/>
                  </a:lnTo>
                  <a:lnTo>
                    <a:pt x="22436" y="2181"/>
                  </a:lnTo>
                  <a:lnTo>
                    <a:pt x="22346" y="2142"/>
                  </a:lnTo>
                  <a:lnTo>
                    <a:pt x="22250" y="2104"/>
                  </a:lnTo>
                  <a:lnTo>
                    <a:pt x="22151" y="2072"/>
                  </a:lnTo>
                  <a:lnTo>
                    <a:pt x="22048" y="2046"/>
                  </a:lnTo>
                  <a:lnTo>
                    <a:pt x="21995" y="2033"/>
                  </a:lnTo>
                  <a:lnTo>
                    <a:pt x="21941" y="2023"/>
                  </a:lnTo>
                  <a:lnTo>
                    <a:pt x="21831" y="2003"/>
                  </a:lnTo>
                  <a:lnTo>
                    <a:pt x="21774" y="1997"/>
                  </a:lnTo>
                  <a:lnTo>
                    <a:pt x="21718" y="1991"/>
                  </a:lnTo>
                  <a:lnTo>
                    <a:pt x="21601" y="1983"/>
                  </a:lnTo>
                  <a:lnTo>
                    <a:pt x="21483" y="1980"/>
                  </a:lnTo>
                  <a:lnTo>
                    <a:pt x="21365" y="1983"/>
                  </a:lnTo>
                  <a:lnTo>
                    <a:pt x="21249" y="1991"/>
                  </a:lnTo>
                  <a:lnTo>
                    <a:pt x="21136" y="2003"/>
                  </a:lnTo>
                  <a:lnTo>
                    <a:pt x="21026" y="2023"/>
                  </a:lnTo>
                  <a:lnTo>
                    <a:pt x="20972" y="2033"/>
                  </a:lnTo>
                  <a:lnTo>
                    <a:pt x="20919" y="2046"/>
                  </a:lnTo>
                  <a:lnTo>
                    <a:pt x="20815" y="2072"/>
                  </a:lnTo>
                  <a:lnTo>
                    <a:pt x="20717" y="2104"/>
                  </a:lnTo>
                  <a:lnTo>
                    <a:pt x="20622" y="2142"/>
                  </a:lnTo>
                  <a:lnTo>
                    <a:pt x="20531" y="2181"/>
                  </a:lnTo>
                  <a:lnTo>
                    <a:pt x="20445" y="2225"/>
                  </a:lnTo>
                  <a:lnTo>
                    <a:pt x="20364" y="2272"/>
                  </a:lnTo>
                  <a:lnTo>
                    <a:pt x="20288" y="2323"/>
                  </a:lnTo>
                  <a:lnTo>
                    <a:pt x="20219" y="2377"/>
                  </a:lnTo>
                  <a:lnTo>
                    <a:pt x="20187" y="2405"/>
                  </a:lnTo>
                  <a:lnTo>
                    <a:pt x="20155" y="2434"/>
                  </a:lnTo>
                  <a:lnTo>
                    <a:pt x="20125" y="2464"/>
                  </a:lnTo>
                  <a:lnTo>
                    <a:pt x="20098" y="2494"/>
                  </a:lnTo>
                  <a:lnTo>
                    <a:pt x="20047" y="2556"/>
                  </a:lnTo>
                  <a:lnTo>
                    <a:pt x="20765" y="2556"/>
                  </a:lnTo>
                  <a:lnTo>
                    <a:pt x="21483" y="2556"/>
                  </a:lnTo>
                  <a:lnTo>
                    <a:pt x="22201" y="2556"/>
                  </a:lnTo>
                  <a:lnTo>
                    <a:pt x="22919" y="2556"/>
                  </a:lnTo>
                  <a:close/>
                  <a:moveTo>
                    <a:pt x="21733" y="1952"/>
                  </a:moveTo>
                  <a:lnTo>
                    <a:pt x="21733" y="1794"/>
                  </a:lnTo>
                  <a:lnTo>
                    <a:pt x="21235" y="1794"/>
                  </a:lnTo>
                  <a:lnTo>
                    <a:pt x="21235" y="1952"/>
                  </a:lnTo>
                  <a:lnTo>
                    <a:pt x="21295" y="1947"/>
                  </a:lnTo>
                  <a:lnTo>
                    <a:pt x="21358" y="1943"/>
                  </a:lnTo>
                  <a:lnTo>
                    <a:pt x="21420" y="1941"/>
                  </a:lnTo>
                  <a:lnTo>
                    <a:pt x="21483" y="1939"/>
                  </a:lnTo>
                  <a:lnTo>
                    <a:pt x="21609" y="1943"/>
                  </a:lnTo>
                  <a:lnTo>
                    <a:pt x="21733" y="1952"/>
                  </a:lnTo>
                  <a:close/>
                  <a:moveTo>
                    <a:pt x="20024" y="2977"/>
                  </a:moveTo>
                  <a:lnTo>
                    <a:pt x="20754" y="2977"/>
                  </a:lnTo>
                  <a:lnTo>
                    <a:pt x="21483" y="2977"/>
                  </a:lnTo>
                  <a:lnTo>
                    <a:pt x="22213" y="2977"/>
                  </a:lnTo>
                  <a:lnTo>
                    <a:pt x="22943" y="2977"/>
                  </a:lnTo>
                  <a:lnTo>
                    <a:pt x="22943" y="2750"/>
                  </a:lnTo>
                  <a:lnTo>
                    <a:pt x="22213" y="2750"/>
                  </a:lnTo>
                  <a:lnTo>
                    <a:pt x="21483" y="2750"/>
                  </a:lnTo>
                  <a:lnTo>
                    <a:pt x="20754" y="2750"/>
                  </a:lnTo>
                  <a:lnTo>
                    <a:pt x="20024" y="2750"/>
                  </a:lnTo>
                  <a:lnTo>
                    <a:pt x="20024" y="2977"/>
                  </a:lnTo>
                  <a:close/>
                  <a:moveTo>
                    <a:pt x="20768" y="4017"/>
                  </a:moveTo>
                  <a:lnTo>
                    <a:pt x="20768" y="4324"/>
                  </a:lnTo>
                  <a:lnTo>
                    <a:pt x="20974" y="4324"/>
                  </a:lnTo>
                  <a:lnTo>
                    <a:pt x="20974" y="3670"/>
                  </a:lnTo>
                  <a:lnTo>
                    <a:pt x="20974" y="3016"/>
                  </a:lnTo>
                  <a:lnTo>
                    <a:pt x="20523" y="3016"/>
                  </a:lnTo>
                  <a:lnTo>
                    <a:pt x="20523" y="3670"/>
                  </a:lnTo>
                  <a:lnTo>
                    <a:pt x="20523" y="4324"/>
                  </a:lnTo>
                  <a:lnTo>
                    <a:pt x="20728" y="4324"/>
                  </a:lnTo>
                  <a:lnTo>
                    <a:pt x="20728" y="4017"/>
                  </a:lnTo>
                  <a:lnTo>
                    <a:pt x="20731" y="4008"/>
                  </a:lnTo>
                  <a:lnTo>
                    <a:pt x="20734" y="4002"/>
                  </a:lnTo>
                  <a:lnTo>
                    <a:pt x="20741" y="3998"/>
                  </a:lnTo>
                  <a:lnTo>
                    <a:pt x="20749" y="3997"/>
                  </a:lnTo>
                  <a:lnTo>
                    <a:pt x="20756" y="3998"/>
                  </a:lnTo>
                  <a:lnTo>
                    <a:pt x="20763" y="4002"/>
                  </a:lnTo>
                  <a:lnTo>
                    <a:pt x="20767" y="4008"/>
                  </a:lnTo>
                  <a:lnTo>
                    <a:pt x="20768" y="4017"/>
                  </a:lnTo>
                  <a:close/>
                  <a:moveTo>
                    <a:pt x="21260" y="4017"/>
                  </a:moveTo>
                  <a:lnTo>
                    <a:pt x="21260" y="4324"/>
                  </a:lnTo>
                  <a:lnTo>
                    <a:pt x="21467" y="4324"/>
                  </a:lnTo>
                  <a:lnTo>
                    <a:pt x="21467" y="3670"/>
                  </a:lnTo>
                  <a:lnTo>
                    <a:pt x="21467" y="3016"/>
                  </a:lnTo>
                  <a:lnTo>
                    <a:pt x="21014" y="3016"/>
                  </a:lnTo>
                  <a:lnTo>
                    <a:pt x="21014" y="3670"/>
                  </a:lnTo>
                  <a:lnTo>
                    <a:pt x="21014" y="4324"/>
                  </a:lnTo>
                  <a:lnTo>
                    <a:pt x="21220" y="4324"/>
                  </a:lnTo>
                  <a:lnTo>
                    <a:pt x="21220" y="4017"/>
                  </a:lnTo>
                  <a:lnTo>
                    <a:pt x="21222" y="4008"/>
                  </a:lnTo>
                  <a:lnTo>
                    <a:pt x="21227" y="4002"/>
                  </a:lnTo>
                  <a:lnTo>
                    <a:pt x="21233" y="3998"/>
                  </a:lnTo>
                  <a:lnTo>
                    <a:pt x="21241" y="3997"/>
                  </a:lnTo>
                  <a:lnTo>
                    <a:pt x="21247" y="3998"/>
                  </a:lnTo>
                  <a:lnTo>
                    <a:pt x="21254" y="4002"/>
                  </a:lnTo>
                  <a:lnTo>
                    <a:pt x="21259" y="4008"/>
                  </a:lnTo>
                  <a:lnTo>
                    <a:pt x="21260" y="4017"/>
                  </a:lnTo>
                  <a:close/>
                  <a:moveTo>
                    <a:pt x="21753" y="4017"/>
                  </a:moveTo>
                  <a:lnTo>
                    <a:pt x="21753" y="4324"/>
                  </a:lnTo>
                  <a:lnTo>
                    <a:pt x="21959" y="4324"/>
                  </a:lnTo>
                  <a:lnTo>
                    <a:pt x="21959" y="3670"/>
                  </a:lnTo>
                  <a:lnTo>
                    <a:pt x="21959" y="3016"/>
                  </a:lnTo>
                  <a:lnTo>
                    <a:pt x="21506" y="3016"/>
                  </a:lnTo>
                  <a:lnTo>
                    <a:pt x="21506" y="3670"/>
                  </a:lnTo>
                  <a:lnTo>
                    <a:pt x="21506" y="4324"/>
                  </a:lnTo>
                  <a:lnTo>
                    <a:pt x="21713" y="4324"/>
                  </a:lnTo>
                  <a:lnTo>
                    <a:pt x="21713" y="4017"/>
                  </a:lnTo>
                  <a:lnTo>
                    <a:pt x="21714" y="4008"/>
                  </a:lnTo>
                  <a:lnTo>
                    <a:pt x="21719" y="4002"/>
                  </a:lnTo>
                  <a:lnTo>
                    <a:pt x="21726" y="3998"/>
                  </a:lnTo>
                  <a:lnTo>
                    <a:pt x="21732" y="3997"/>
                  </a:lnTo>
                  <a:lnTo>
                    <a:pt x="21740" y="3998"/>
                  </a:lnTo>
                  <a:lnTo>
                    <a:pt x="21746" y="4002"/>
                  </a:lnTo>
                  <a:lnTo>
                    <a:pt x="21751" y="4008"/>
                  </a:lnTo>
                  <a:lnTo>
                    <a:pt x="21753" y="4017"/>
                  </a:lnTo>
                  <a:close/>
                  <a:moveTo>
                    <a:pt x="22245" y="4017"/>
                  </a:moveTo>
                  <a:lnTo>
                    <a:pt x="22245" y="4324"/>
                  </a:lnTo>
                  <a:lnTo>
                    <a:pt x="22450" y="4324"/>
                  </a:lnTo>
                  <a:lnTo>
                    <a:pt x="22450" y="3670"/>
                  </a:lnTo>
                  <a:lnTo>
                    <a:pt x="22450" y="3016"/>
                  </a:lnTo>
                  <a:lnTo>
                    <a:pt x="21999" y="3016"/>
                  </a:lnTo>
                  <a:lnTo>
                    <a:pt x="21999" y="3670"/>
                  </a:lnTo>
                  <a:lnTo>
                    <a:pt x="21999" y="4324"/>
                  </a:lnTo>
                  <a:lnTo>
                    <a:pt x="22205" y="4324"/>
                  </a:lnTo>
                  <a:lnTo>
                    <a:pt x="22205" y="4017"/>
                  </a:lnTo>
                  <a:lnTo>
                    <a:pt x="22207" y="4008"/>
                  </a:lnTo>
                  <a:lnTo>
                    <a:pt x="22210" y="4002"/>
                  </a:lnTo>
                  <a:lnTo>
                    <a:pt x="22217" y="3998"/>
                  </a:lnTo>
                  <a:lnTo>
                    <a:pt x="22224" y="3997"/>
                  </a:lnTo>
                  <a:lnTo>
                    <a:pt x="22232" y="3998"/>
                  </a:lnTo>
                  <a:lnTo>
                    <a:pt x="22239" y="4002"/>
                  </a:lnTo>
                  <a:lnTo>
                    <a:pt x="22242" y="4008"/>
                  </a:lnTo>
                  <a:lnTo>
                    <a:pt x="22245" y="4017"/>
                  </a:lnTo>
                  <a:close/>
                  <a:moveTo>
                    <a:pt x="22737" y="4017"/>
                  </a:moveTo>
                  <a:lnTo>
                    <a:pt x="22737" y="4324"/>
                  </a:lnTo>
                  <a:lnTo>
                    <a:pt x="22943" y="4324"/>
                  </a:lnTo>
                  <a:lnTo>
                    <a:pt x="22943" y="3670"/>
                  </a:lnTo>
                  <a:lnTo>
                    <a:pt x="22943" y="3016"/>
                  </a:lnTo>
                  <a:lnTo>
                    <a:pt x="22491" y="3016"/>
                  </a:lnTo>
                  <a:lnTo>
                    <a:pt x="22491" y="3670"/>
                  </a:lnTo>
                  <a:lnTo>
                    <a:pt x="22491" y="4324"/>
                  </a:lnTo>
                  <a:lnTo>
                    <a:pt x="22696" y="4324"/>
                  </a:lnTo>
                  <a:lnTo>
                    <a:pt x="22696" y="4017"/>
                  </a:lnTo>
                  <a:lnTo>
                    <a:pt x="22699" y="4008"/>
                  </a:lnTo>
                  <a:lnTo>
                    <a:pt x="22703" y="4002"/>
                  </a:lnTo>
                  <a:lnTo>
                    <a:pt x="22709" y="3998"/>
                  </a:lnTo>
                  <a:lnTo>
                    <a:pt x="22717" y="3997"/>
                  </a:lnTo>
                  <a:lnTo>
                    <a:pt x="22725" y="3998"/>
                  </a:lnTo>
                  <a:lnTo>
                    <a:pt x="22731" y="4002"/>
                  </a:lnTo>
                  <a:lnTo>
                    <a:pt x="22735" y="4008"/>
                  </a:lnTo>
                  <a:lnTo>
                    <a:pt x="22737" y="4017"/>
                  </a:lnTo>
                  <a:close/>
                  <a:moveTo>
                    <a:pt x="21727" y="1754"/>
                  </a:moveTo>
                  <a:lnTo>
                    <a:pt x="21714" y="1740"/>
                  </a:lnTo>
                  <a:lnTo>
                    <a:pt x="21696" y="1727"/>
                  </a:lnTo>
                  <a:lnTo>
                    <a:pt x="21673" y="1714"/>
                  </a:lnTo>
                  <a:lnTo>
                    <a:pt x="21645" y="1703"/>
                  </a:lnTo>
                  <a:lnTo>
                    <a:pt x="21612" y="1693"/>
                  </a:lnTo>
                  <a:lnTo>
                    <a:pt x="21573" y="1686"/>
                  </a:lnTo>
                  <a:lnTo>
                    <a:pt x="21531" y="1681"/>
                  </a:lnTo>
                  <a:lnTo>
                    <a:pt x="21483" y="1679"/>
                  </a:lnTo>
                  <a:lnTo>
                    <a:pt x="21437" y="1681"/>
                  </a:lnTo>
                  <a:lnTo>
                    <a:pt x="21394" y="1686"/>
                  </a:lnTo>
                  <a:lnTo>
                    <a:pt x="21356" y="1693"/>
                  </a:lnTo>
                  <a:lnTo>
                    <a:pt x="21322" y="1703"/>
                  </a:lnTo>
                  <a:lnTo>
                    <a:pt x="21294" y="1714"/>
                  </a:lnTo>
                  <a:lnTo>
                    <a:pt x="21270" y="1727"/>
                  </a:lnTo>
                  <a:lnTo>
                    <a:pt x="21253" y="1740"/>
                  </a:lnTo>
                  <a:lnTo>
                    <a:pt x="21241" y="1754"/>
                  </a:lnTo>
                  <a:lnTo>
                    <a:pt x="21727" y="1754"/>
                  </a:lnTo>
                  <a:close/>
                  <a:moveTo>
                    <a:pt x="19597" y="4131"/>
                  </a:moveTo>
                  <a:lnTo>
                    <a:pt x="19564" y="4135"/>
                  </a:lnTo>
                  <a:lnTo>
                    <a:pt x="19532" y="4145"/>
                  </a:lnTo>
                  <a:lnTo>
                    <a:pt x="19500" y="4154"/>
                  </a:lnTo>
                  <a:lnTo>
                    <a:pt x="19465" y="4159"/>
                  </a:lnTo>
                  <a:lnTo>
                    <a:pt x="19436" y="4154"/>
                  </a:lnTo>
                  <a:lnTo>
                    <a:pt x="19423" y="4149"/>
                  </a:lnTo>
                  <a:lnTo>
                    <a:pt x="19410" y="4143"/>
                  </a:lnTo>
                  <a:lnTo>
                    <a:pt x="19388" y="4125"/>
                  </a:lnTo>
                  <a:lnTo>
                    <a:pt x="19369" y="4100"/>
                  </a:lnTo>
                  <a:lnTo>
                    <a:pt x="19351" y="4072"/>
                  </a:lnTo>
                  <a:lnTo>
                    <a:pt x="19334" y="4040"/>
                  </a:lnTo>
                  <a:lnTo>
                    <a:pt x="19300" y="3973"/>
                  </a:lnTo>
                  <a:lnTo>
                    <a:pt x="19282" y="3937"/>
                  </a:lnTo>
                  <a:lnTo>
                    <a:pt x="19260" y="3904"/>
                  </a:lnTo>
                  <a:lnTo>
                    <a:pt x="19235" y="3872"/>
                  </a:lnTo>
                  <a:lnTo>
                    <a:pt x="19209" y="3843"/>
                  </a:lnTo>
                  <a:lnTo>
                    <a:pt x="19175" y="3820"/>
                  </a:lnTo>
                  <a:lnTo>
                    <a:pt x="19157" y="3810"/>
                  </a:lnTo>
                  <a:lnTo>
                    <a:pt x="19138" y="3801"/>
                  </a:lnTo>
                  <a:lnTo>
                    <a:pt x="19116" y="3795"/>
                  </a:lnTo>
                  <a:lnTo>
                    <a:pt x="19093" y="3790"/>
                  </a:lnTo>
                  <a:lnTo>
                    <a:pt x="19069" y="3787"/>
                  </a:lnTo>
                  <a:lnTo>
                    <a:pt x="19042" y="3786"/>
                  </a:lnTo>
                  <a:lnTo>
                    <a:pt x="19014" y="3790"/>
                  </a:lnTo>
                  <a:lnTo>
                    <a:pt x="19002" y="3795"/>
                  </a:lnTo>
                  <a:lnTo>
                    <a:pt x="18993" y="3801"/>
                  </a:lnTo>
                  <a:lnTo>
                    <a:pt x="18974" y="3817"/>
                  </a:lnTo>
                  <a:lnTo>
                    <a:pt x="18952" y="3836"/>
                  </a:lnTo>
                  <a:lnTo>
                    <a:pt x="18925" y="3854"/>
                  </a:lnTo>
                  <a:lnTo>
                    <a:pt x="18908" y="3863"/>
                  </a:lnTo>
                  <a:lnTo>
                    <a:pt x="18889" y="3869"/>
                  </a:lnTo>
                  <a:lnTo>
                    <a:pt x="18865" y="3875"/>
                  </a:lnTo>
                  <a:lnTo>
                    <a:pt x="18838" y="3881"/>
                  </a:lnTo>
                  <a:lnTo>
                    <a:pt x="18806" y="3884"/>
                  </a:lnTo>
                  <a:lnTo>
                    <a:pt x="18769" y="3886"/>
                  </a:lnTo>
                  <a:lnTo>
                    <a:pt x="18742" y="3883"/>
                  </a:lnTo>
                  <a:lnTo>
                    <a:pt x="18720" y="3879"/>
                  </a:lnTo>
                  <a:lnTo>
                    <a:pt x="18688" y="3868"/>
                  </a:lnTo>
                  <a:lnTo>
                    <a:pt x="18662" y="3855"/>
                  </a:lnTo>
                  <a:lnTo>
                    <a:pt x="18649" y="3851"/>
                  </a:lnTo>
                  <a:lnTo>
                    <a:pt x="18637" y="3850"/>
                  </a:lnTo>
                  <a:lnTo>
                    <a:pt x="18615" y="3851"/>
                  </a:lnTo>
                  <a:lnTo>
                    <a:pt x="18594" y="3856"/>
                  </a:lnTo>
                  <a:lnTo>
                    <a:pt x="18575" y="3864"/>
                  </a:lnTo>
                  <a:lnTo>
                    <a:pt x="18557" y="3875"/>
                  </a:lnTo>
                  <a:lnTo>
                    <a:pt x="18540" y="3888"/>
                  </a:lnTo>
                  <a:lnTo>
                    <a:pt x="18524" y="3902"/>
                  </a:lnTo>
                  <a:lnTo>
                    <a:pt x="18494" y="3936"/>
                  </a:lnTo>
                  <a:lnTo>
                    <a:pt x="18467" y="3973"/>
                  </a:lnTo>
                  <a:lnTo>
                    <a:pt x="18442" y="4011"/>
                  </a:lnTo>
                  <a:lnTo>
                    <a:pt x="18416" y="4047"/>
                  </a:lnTo>
                  <a:lnTo>
                    <a:pt x="18389" y="4077"/>
                  </a:lnTo>
                  <a:lnTo>
                    <a:pt x="18366" y="4097"/>
                  </a:lnTo>
                  <a:lnTo>
                    <a:pt x="18337" y="4116"/>
                  </a:lnTo>
                  <a:lnTo>
                    <a:pt x="18266" y="4155"/>
                  </a:lnTo>
                  <a:lnTo>
                    <a:pt x="18261" y="4161"/>
                  </a:lnTo>
                  <a:lnTo>
                    <a:pt x="18253" y="4163"/>
                  </a:lnTo>
                  <a:lnTo>
                    <a:pt x="18207" y="4191"/>
                  </a:lnTo>
                  <a:lnTo>
                    <a:pt x="18169" y="4221"/>
                  </a:lnTo>
                  <a:lnTo>
                    <a:pt x="18153" y="4236"/>
                  </a:lnTo>
                  <a:lnTo>
                    <a:pt x="18147" y="4245"/>
                  </a:lnTo>
                  <a:lnTo>
                    <a:pt x="18142" y="4253"/>
                  </a:lnTo>
                  <a:lnTo>
                    <a:pt x="18134" y="4269"/>
                  </a:lnTo>
                  <a:lnTo>
                    <a:pt x="18131" y="4287"/>
                  </a:lnTo>
                  <a:lnTo>
                    <a:pt x="18133" y="4308"/>
                  </a:lnTo>
                  <a:lnTo>
                    <a:pt x="18137" y="4329"/>
                  </a:lnTo>
                  <a:lnTo>
                    <a:pt x="18256" y="4329"/>
                  </a:lnTo>
                  <a:lnTo>
                    <a:pt x="18261" y="4329"/>
                  </a:lnTo>
                  <a:lnTo>
                    <a:pt x="19046" y="4329"/>
                  </a:lnTo>
                  <a:lnTo>
                    <a:pt x="19830" y="4329"/>
                  </a:lnTo>
                  <a:lnTo>
                    <a:pt x="19825" y="4308"/>
                  </a:lnTo>
                  <a:lnTo>
                    <a:pt x="19819" y="4286"/>
                  </a:lnTo>
                  <a:lnTo>
                    <a:pt x="19810" y="4265"/>
                  </a:lnTo>
                  <a:lnTo>
                    <a:pt x="19801" y="4248"/>
                  </a:lnTo>
                  <a:lnTo>
                    <a:pt x="19778" y="4213"/>
                  </a:lnTo>
                  <a:lnTo>
                    <a:pt x="19764" y="4198"/>
                  </a:lnTo>
                  <a:lnTo>
                    <a:pt x="19748" y="4185"/>
                  </a:lnTo>
                  <a:lnTo>
                    <a:pt x="19733" y="4172"/>
                  </a:lnTo>
                  <a:lnTo>
                    <a:pt x="19716" y="4162"/>
                  </a:lnTo>
                  <a:lnTo>
                    <a:pt x="19698" y="4153"/>
                  </a:lnTo>
                  <a:lnTo>
                    <a:pt x="19679" y="4145"/>
                  </a:lnTo>
                  <a:lnTo>
                    <a:pt x="19660" y="4139"/>
                  </a:lnTo>
                  <a:lnTo>
                    <a:pt x="19639" y="4134"/>
                  </a:lnTo>
                  <a:lnTo>
                    <a:pt x="19597" y="4131"/>
                  </a:lnTo>
                  <a:close/>
                  <a:moveTo>
                    <a:pt x="18860" y="2743"/>
                  </a:moveTo>
                  <a:lnTo>
                    <a:pt x="18742" y="2904"/>
                  </a:lnTo>
                  <a:lnTo>
                    <a:pt x="18742" y="3047"/>
                  </a:lnTo>
                  <a:lnTo>
                    <a:pt x="18794" y="3040"/>
                  </a:lnTo>
                  <a:lnTo>
                    <a:pt x="18803" y="3039"/>
                  </a:lnTo>
                  <a:lnTo>
                    <a:pt x="18811" y="3043"/>
                  </a:lnTo>
                  <a:lnTo>
                    <a:pt x="18815" y="3048"/>
                  </a:lnTo>
                  <a:lnTo>
                    <a:pt x="18819" y="3056"/>
                  </a:lnTo>
                  <a:lnTo>
                    <a:pt x="18819" y="3062"/>
                  </a:lnTo>
                  <a:lnTo>
                    <a:pt x="18816" y="3070"/>
                  </a:lnTo>
                  <a:lnTo>
                    <a:pt x="18811" y="3075"/>
                  </a:lnTo>
                  <a:lnTo>
                    <a:pt x="18802" y="3079"/>
                  </a:lnTo>
                  <a:lnTo>
                    <a:pt x="18773" y="3084"/>
                  </a:lnTo>
                  <a:lnTo>
                    <a:pt x="18742" y="3086"/>
                  </a:lnTo>
                  <a:lnTo>
                    <a:pt x="18742" y="3827"/>
                  </a:lnTo>
                  <a:lnTo>
                    <a:pt x="18741" y="3836"/>
                  </a:lnTo>
                  <a:lnTo>
                    <a:pt x="18735" y="3842"/>
                  </a:lnTo>
                  <a:lnTo>
                    <a:pt x="18751" y="3845"/>
                  </a:lnTo>
                  <a:lnTo>
                    <a:pt x="18769" y="3845"/>
                  </a:lnTo>
                  <a:lnTo>
                    <a:pt x="18798" y="3845"/>
                  </a:lnTo>
                  <a:lnTo>
                    <a:pt x="18825" y="3843"/>
                  </a:lnTo>
                  <a:lnTo>
                    <a:pt x="18850" y="3840"/>
                  </a:lnTo>
                  <a:lnTo>
                    <a:pt x="18871" y="3835"/>
                  </a:lnTo>
                  <a:lnTo>
                    <a:pt x="18892" y="3826"/>
                  </a:lnTo>
                  <a:lnTo>
                    <a:pt x="18911" y="3815"/>
                  </a:lnTo>
                  <a:lnTo>
                    <a:pt x="18952" y="3782"/>
                  </a:lnTo>
                  <a:lnTo>
                    <a:pt x="18973" y="3767"/>
                  </a:lnTo>
                  <a:lnTo>
                    <a:pt x="18982" y="3760"/>
                  </a:lnTo>
                  <a:lnTo>
                    <a:pt x="18992" y="3755"/>
                  </a:lnTo>
                  <a:lnTo>
                    <a:pt x="19015" y="3748"/>
                  </a:lnTo>
                  <a:lnTo>
                    <a:pt x="19042" y="3745"/>
                  </a:lnTo>
                  <a:lnTo>
                    <a:pt x="19075" y="3748"/>
                  </a:lnTo>
                  <a:lnTo>
                    <a:pt x="19107" y="3751"/>
                  </a:lnTo>
                  <a:lnTo>
                    <a:pt x="19135" y="3758"/>
                  </a:lnTo>
                  <a:lnTo>
                    <a:pt x="19162" y="3768"/>
                  </a:lnTo>
                  <a:lnTo>
                    <a:pt x="19187" y="3780"/>
                  </a:lnTo>
                  <a:lnTo>
                    <a:pt x="19209" y="3794"/>
                  </a:lnTo>
                  <a:lnTo>
                    <a:pt x="19229" y="3809"/>
                  </a:lnTo>
                  <a:lnTo>
                    <a:pt x="19248" y="3827"/>
                  </a:lnTo>
                  <a:lnTo>
                    <a:pt x="19282" y="3866"/>
                  </a:lnTo>
                  <a:lnTo>
                    <a:pt x="19311" y="3911"/>
                  </a:lnTo>
                  <a:lnTo>
                    <a:pt x="19338" y="3960"/>
                  </a:lnTo>
                  <a:lnTo>
                    <a:pt x="19364" y="4012"/>
                  </a:lnTo>
                  <a:lnTo>
                    <a:pt x="19369" y="4021"/>
                  </a:lnTo>
                  <a:lnTo>
                    <a:pt x="19369" y="3649"/>
                  </a:lnTo>
                  <a:lnTo>
                    <a:pt x="19334" y="3663"/>
                  </a:lnTo>
                  <a:lnTo>
                    <a:pt x="19319" y="3670"/>
                  </a:lnTo>
                  <a:lnTo>
                    <a:pt x="19302" y="3676"/>
                  </a:lnTo>
                  <a:lnTo>
                    <a:pt x="19284" y="3676"/>
                  </a:lnTo>
                  <a:lnTo>
                    <a:pt x="19275" y="3675"/>
                  </a:lnTo>
                  <a:lnTo>
                    <a:pt x="19265" y="3671"/>
                  </a:lnTo>
                  <a:lnTo>
                    <a:pt x="19255" y="3666"/>
                  </a:lnTo>
                  <a:lnTo>
                    <a:pt x="19244" y="3658"/>
                  </a:lnTo>
                  <a:lnTo>
                    <a:pt x="19221" y="3634"/>
                  </a:lnTo>
                  <a:lnTo>
                    <a:pt x="19205" y="3616"/>
                  </a:lnTo>
                  <a:lnTo>
                    <a:pt x="19191" y="3604"/>
                  </a:lnTo>
                  <a:lnTo>
                    <a:pt x="19180" y="3598"/>
                  </a:lnTo>
                  <a:lnTo>
                    <a:pt x="19169" y="3595"/>
                  </a:lnTo>
                  <a:lnTo>
                    <a:pt x="19144" y="3594"/>
                  </a:lnTo>
                  <a:lnTo>
                    <a:pt x="19105" y="3590"/>
                  </a:lnTo>
                  <a:lnTo>
                    <a:pt x="19091" y="3586"/>
                  </a:lnTo>
                  <a:lnTo>
                    <a:pt x="19079" y="3581"/>
                  </a:lnTo>
                  <a:lnTo>
                    <a:pt x="19062" y="3567"/>
                  </a:lnTo>
                  <a:lnTo>
                    <a:pt x="19052" y="3549"/>
                  </a:lnTo>
                  <a:lnTo>
                    <a:pt x="19044" y="3530"/>
                  </a:lnTo>
                  <a:lnTo>
                    <a:pt x="19039" y="3510"/>
                  </a:lnTo>
                  <a:lnTo>
                    <a:pt x="19033" y="3489"/>
                  </a:lnTo>
                  <a:lnTo>
                    <a:pt x="19029" y="3480"/>
                  </a:lnTo>
                  <a:lnTo>
                    <a:pt x="19024" y="3471"/>
                  </a:lnTo>
                  <a:lnTo>
                    <a:pt x="19016" y="3464"/>
                  </a:lnTo>
                  <a:lnTo>
                    <a:pt x="19009" y="3457"/>
                  </a:lnTo>
                  <a:lnTo>
                    <a:pt x="18967" y="3434"/>
                  </a:lnTo>
                  <a:lnTo>
                    <a:pt x="18952" y="3424"/>
                  </a:lnTo>
                  <a:lnTo>
                    <a:pt x="18939" y="3414"/>
                  </a:lnTo>
                  <a:lnTo>
                    <a:pt x="18930" y="3400"/>
                  </a:lnTo>
                  <a:lnTo>
                    <a:pt x="18926" y="3383"/>
                  </a:lnTo>
                  <a:lnTo>
                    <a:pt x="18925" y="3361"/>
                  </a:lnTo>
                  <a:lnTo>
                    <a:pt x="18929" y="3333"/>
                  </a:lnTo>
                  <a:lnTo>
                    <a:pt x="18934" y="3304"/>
                  </a:lnTo>
                  <a:lnTo>
                    <a:pt x="18934" y="3285"/>
                  </a:lnTo>
                  <a:lnTo>
                    <a:pt x="18925" y="3267"/>
                  </a:lnTo>
                  <a:lnTo>
                    <a:pt x="18908" y="3242"/>
                  </a:lnTo>
                  <a:lnTo>
                    <a:pt x="18891" y="3216"/>
                  </a:lnTo>
                  <a:lnTo>
                    <a:pt x="18884" y="3199"/>
                  </a:lnTo>
                  <a:lnTo>
                    <a:pt x="18882" y="3181"/>
                  </a:lnTo>
                  <a:lnTo>
                    <a:pt x="18884" y="3162"/>
                  </a:lnTo>
                  <a:lnTo>
                    <a:pt x="18891" y="3145"/>
                  </a:lnTo>
                  <a:lnTo>
                    <a:pt x="18908" y="3118"/>
                  </a:lnTo>
                  <a:lnTo>
                    <a:pt x="18923" y="3098"/>
                  </a:lnTo>
                  <a:lnTo>
                    <a:pt x="18930" y="3083"/>
                  </a:lnTo>
                  <a:lnTo>
                    <a:pt x="18934" y="3070"/>
                  </a:lnTo>
                  <a:lnTo>
                    <a:pt x="18935" y="3060"/>
                  </a:lnTo>
                  <a:lnTo>
                    <a:pt x="18929" y="3035"/>
                  </a:lnTo>
                  <a:lnTo>
                    <a:pt x="18925" y="2996"/>
                  </a:lnTo>
                  <a:lnTo>
                    <a:pt x="18928" y="2969"/>
                  </a:lnTo>
                  <a:lnTo>
                    <a:pt x="18932" y="2959"/>
                  </a:lnTo>
                  <a:lnTo>
                    <a:pt x="18938" y="2950"/>
                  </a:lnTo>
                  <a:lnTo>
                    <a:pt x="18944" y="2942"/>
                  </a:lnTo>
                  <a:lnTo>
                    <a:pt x="18952" y="2936"/>
                  </a:lnTo>
                  <a:lnTo>
                    <a:pt x="18970" y="2924"/>
                  </a:lnTo>
                  <a:lnTo>
                    <a:pt x="19007" y="2904"/>
                  </a:lnTo>
                  <a:lnTo>
                    <a:pt x="19023" y="2891"/>
                  </a:lnTo>
                  <a:lnTo>
                    <a:pt x="19033" y="2872"/>
                  </a:lnTo>
                  <a:lnTo>
                    <a:pt x="19047" y="2828"/>
                  </a:lnTo>
                  <a:lnTo>
                    <a:pt x="19053" y="2810"/>
                  </a:lnTo>
                  <a:lnTo>
                    <a:pt x="19061" y="2796"/>
                  </a:lnTo>
                  <a:lnTo>
                    <a:pt x="19073" y="2785"/>
                  </a:lnTo>
                  <a:lnTo>
                    <a:pt x="19088" y="2776"/>
                  </a:lnTo>
                  <a:lnTo>
                    <a:pt x="19109" y="2771"/>
                  </a:lnTo>
                  <a:lnTo>
                    <a:pt x="19138" y="2768"/>
                  </a:lnTo>
                  <a:lnTo>
                    <a:pt x="19162" y="2766"/>
                  </a:lnTo>
                  <a:lnTo>
                    <a:pt x="19180" y="2763"/>
                  </a:lnTo>
                  <a:lnTo>
                    <a:pt x="19192" y="2758"/>
                  </a:lnTo>
                  <a:lnTo>
                    <a:pt x="19201" y="2751"/>
                  </a:lnTo>
                  <a:lnTo>
                    <a:pt x="19216" y="2732"/>
                  </a:lnTo>
                  <a:lnTo>
                    <a:pt x="19228" y="2719"/>
                  </a:lnTo>
                  <a:lnTo>
                    <a:pt x="19243" y="2704"/>
                  </a:lnTo>
                  <a:lnTo>
                    <a:pt x="19265" y="2690"/>
                  </a:lnTo>
                  <a:lnTo>
                    <a:pt x="19274" y="2686"/>
                  </a:lnTo>
                  <a:lnTo>
                    <a:pt x="19284" y="2685"/>
                  </a:lnTo>
                  <a:lnTo>
                    <a:pt x="19302" y="2686"/>
                  </a:lnTo>
                  <a:lnTo>
                    <a:pt x="19319" y="2691"/>
                  </a:lnTo>
                  <a:lnTo>
                    <a:pt x="19352" y="2707"/>
                  </a:lnTo>
                  <a:lnTo>
                    <a:pt x="19370" y="2713"/>
                  </a:lnTo>
                  <a:lnTo>
                    <a:pt x="19388" y="2716"/>
                  </a:lnTo>
                  <a:lnTo>
                    <a:pt x="19410" y="2712"/>
                  </a:lnTo>
                  <a:lnTo>
                    <a:pt x="19429" y="2705"/>
                  </a:lnTo>
                  <a:lnTo>
                    <a:pt x="19448" y="2696"/>
                  </a:lnTo>
                  <a:lnTo>
                    <a:pt x="19466" y="2689"/>
                  </a:lnTo>
                  <a:lnTo>
                    <a:pt x="19486" y="2685"/>
                  </a:lnTo>
                  <a:lnTo>
                    <a:pt x="19506" y="2688"/>
                  </a:lnTo>
                  <a:lnTo>
                    <a:pt x="19518" y="2694"/>
                  </a:lnTo>
                  <a:lnTo>
                    <a:pt x="19529" y="2702"/>
                  </a:lnTo>
                  <a:lnTo>
                    <a:pt x="19556" y="2727"/>
                  </a:lnTo>
                  <a:lnTo>
                    <a:pt x="19573" y="2746"/>
                  </a:lnTo>
                  <a:lnTo>
                    <a:pt x="19586" y="2758"/>
                  </a:lnTo>
                  <a:lnTo>
                    <a:pt x="19597" y="2764"/>
                  </a:lnTo>
                  <a:lnTo>
                    <a:pt x="19607" y="2767"/>
                  </a:lnTo>
                  <a:lnTo>
                    <a:pt x="19633" y="2767"/>
                  </a:lnTo>
                  <a:lnTo>
                    <a:pt x="19673" y="2771"/>
                  </a:lnTo>
                  <a:lnTo>
                    <a:pt x="19687" y="2774"/>
                  </a:lnTo>
                  <a:lnTo>
                    <a:pt x="19698" y="2780"/>
                  </a:lnTo>
                  <a:lnTo>
                    <a:pt x="19715" y="2794"/>
                  </a:lnTo>
                  <a:lnTo>
                    <a:pt x="19725" y="2812"/>
                  </a:lnTo>
                  <a:lnTo>
                    <a:pt x="19732" y="2832"/>
                  </a:lnTo>
                  <a:lnTo>
                    <a:pt x="19737" y="2852"/>
                  </a:lnTo>
                  <a:lnTo>
                    <a:pt x="19743" y="2872"/>
                  </a:lnTo>
                  <a:lnTo>
                    <a:pt x="19748" y="2881"/>
                  </a:lnTo>
                  <a:lnTo>
                    <a:pt x="19754" y="2890"/>
                  </a:lnTo>
                  <a:lnTo>
                    <a:pt x="19760" y="2897"/>
                  </a:lnTo>
                  <a:lnTo>
                    <a:pt x="19769" y="2904"/>
                  </a:lnTo>
                  <a:lnTo>
                    <a:pt x="19809" y="2927"/>
                  </a:lnTo>
                  <a:lnTo>
                    <a:pt x="19825" y="2937"/>
                  </a:lnTo>
                  <a:lnTo>
                    <a:pt x="19837" y="2948"/>
                  </a:lnTo>
                  <a:lnTo>
                    <a:pt x="19846" y="2961"/>
                  </a:lnTo>
                  <a:lnTo>
                    <a:pt x="19851" y="2978"/>
                  </a:lnTo>
                  <a:lnTo>
                    <a:pt x="19852" y="3000"/>
                  </a:lnTo>
                  <a:lnTo>
                    <a:pt x="19848" y="3028"/>
                  </a:lnTo>
                  <a:lnTo>
                    <a:pt x="19843" y="3057"/>
                  </a:lnTo>
                  <a:lnTo>
                    <a:pt x="19843" y="3076"/>
                  </a:lnTo>
                  <a:lnTo>
                    <a:pt x="19851" y="3094"/>
                  </a:lnTo>
                  <a:lnTo>
                    <a:pt x="19869" y="3118"/>
                  </a:lnTo>
                  <a:lnTo>
                    <a:pt x="19887" y="3145"/>
                  </a:lnTo>
                  <a:lnTo>
                    <a:pt x="19893" y="3162"/>
                  </a:lnTo>
                  <a:lnTo>
                    <a:pt x="19896" y="3181"/>
                  </a:lnTo>
                  <a:lnTo>
                    <a:pt x="19893" y="3199"/>
                  </a:lnTo>
                  <a:lnTo>
                    <a:pt x="19887" y="3216"/>
                  </a:lnTo>
                  <a:lnTo>
                    <a:pt x="19878" y="3230"/>
                  </a:lnTo>
                  <a:lnTo>
                    <a:pt x="19868" y="3244"/>
                  </a:lnTo>
                  <a:lnTo>
                    <a:pt x="19857" y="3258"/>
                  </a:lnTo>
                  <a:lnTo>
                    <a:pt x="19848" y="3272"/>
                  </a:lnTo>
                  <a:lnTo>
                    <a:pt x="19843" y="3287"/>
                  </a:lnTo>
                  <a:lnTo>
                    <a:pt x="19843" y="3305"/>
                  </a:lnTo>
                  <a:lnTo>
                    <a:pt x="19850" y="3351"/>
                  </a:lnTo>
                  <a:lnTo>
                    <a:pt x="19852" y="3369"/>
                  </a:lnTo>
                  <a:lnTo>
                    <a:pt x="19851" y="3386"/>
                  </a:lnTo>
                  <a:lnTo>
                    <a:pt x="19846" y="3401"/>
                  </a:lnTo>
                  <a:lnTo>
                    <a:pt x="19836" y="3415"/>
                  </a:lnTo>
                  <a:lnTo>
                    <a:pt x="19819" y="3429"/>
                  </a:lnTo>
                  <a:lnTo>
                    <a:pt x="19795" y="3445"/>
                  </a:lnTo>
                  <a:lnTo>
                    <a:pt x="19773" y="3456"/>
                  </a:lnTo>
                  <a:lnTo>
                    <a:pt x="19759" y="3466"/>
                  </a:lnTo>
                  <a:lnTo>
                    <a:pt x="19750" y="3476"/>
                  </a:lnTo>
                  <a:lnTo>
                    <a:pt x="19745" y="3485"/>
                  </a:lnTo>
                  <a:lnTo>
                    <a:pt x="19739" y="3510"/>
                  </a:lnTo>
                  <a:lnTo>
                    <a:pt x="19734" y="3526"/>
                  </a:lnTo>
                  <a:lnTo>
                    <a:pt x="19727" y="3547"/>
                  </a:lnTo>
                  <a:lnTo>
                    <a:pt x="19711" y="3570"/>
                  </a:lnTo>
                  <a:lnTo>
                    <a:pt x="19704" y="3579"/>
                  </a:lnTo>
                  <a:lnTo>
                    <a:pt x="19695" y="3584"/>
                  </a:lnTo>
                  <a:lnTo>
                    <a:pt x="19674" y="3590"/>
                  </a:lnTo>
                  <a:lnTo>
                    <a:pt x="19653" y="3593"/>
                  </a:lnTo>
                  <a:lnTo>
                    <a:pt x="19632" y="3593"/>
                  </a:lnTo>
                  <a:lnTo>
                    <a:pt x="19611" y="3594"/>
                  </a:lnTo>
                  <a:lnTo>
                    <a:pt x="19592" y="3601"/>
                  </a:lnTo>
                  <a:lnTo>
                    <a:pt x="19583" y="3606"/>
                  </a:lnTo>
                  <a:lnTo>
                    <a:pt x="19575" y="3612"/>
                  </a:lnTo>
                  <a:lnTo>
                    <a:pt x="19543" y="3647"/>
                  </a:lnTo>
                  <a:lnTo>
                    <a:pt x="19530" y="3659"/>
                  </a:lnTo>
                  <a:lnTo>
                    <a:pt x="19516" y="3668"/>
                  </a:lnTo>
                  <a:lnTo>
                    <a:pt x="19501" y="3675"/>
                  </a:lnTo>
                  <a:lnTo>
                    <a:pt x="19484" y="3676"/>
                  </a:lnTo>
                  <a:lnTo>
                    <a:pt x="19462" y="3671"/>
                  </a:lnTo>
                  <a:lnTo>
                    <a:pt x="19436" y="3661"/>
                  </a:lnTo>
                  <a:lnTo>
                    <a:pt x="19409" y="3649"/>
                  </a:lnTo>
                  <a:lnTo>
                    <a:pt x="19409" y="4083"/>
                  </a:lnTo>
                  <a:lnTo>
                    <a:pt x="19409" y="4086"/>
                  </a:lnTo>
                  <a:lnTo>
                    <a:pt x="19420" y="4099"/>
                  </a:lnTo>
                  <a:lnTo>
                    <a:pt x="19434" y="4109"/>
                  </a:lnTo>
                  <a:lnTo>
                    <a:pt x="19448" y="4117"/>
                  </a:lnTo>
                  <a:lnTo>
                    <a:pt x="19465" y="4118"/>
                  </a:lnTo>
                  <a:lnTo>
                    <a:pt x="19498" y="4115"/>
                  </a:lnTo>
                  <a:lnTo>
                    <a:pt x="19530" y="4104"/>
                  </a:lnTo>
                  <a:lnTo>
                    <a:pt x="19564" y="4095"/>
                  </a:lnTo>
                  <a:lnTo>
                    <a:pt x="19597" y="4090"/>
                  </a:lnTo>
                  <a:lnTo>
                    <a:pt x="19629" y="4093"/>
                  </a:lnTo>
                  <a:lnTo>
                    <a:pt x="19660" y="4098"/>
                  </a:lnTo>
                  <a:lnTo>
                    <a:pt x="19688" y="4106"/>
                  </a:lnTo>
                  <a:lnTo>
                    <a:pt x="19715" y="4116"/>
                  </a:lnTo>
                  <a:lnTo>
                    <a:pt x="19739" y="4130"/>
                  </a:lnTo>
                  <a:lnTo>
                    <a:pt x="19761" y="4144"/>
                  </a:lnTo>
                  <a:lnTo>
                    <a:pt x="19782" y="4161"/>
                  </a:lnTo>
                  <a:lnTo>
                    <a:pt x="19800" y="4178"/>
                  </a:lnTo>
                  <a:lnTo>
                    <a:pt x="19830" y="4217"/>
                  </a:lnTo>
                  <a:lnTo>
                    <a:pt x="19842" y="4236"/>
                  </a:lnTo>
                  <a:lnTo>
                    <a:pt x="19852" y="4255"/>
                  </a:lnTo>
                  <a:lnTo>
                    <a:pt x="19861" y="4274"/>
                  </a:lnTo>
                  <a:lnTo>
                    <a:pt x="19866" y="4292"/>
                  </a:lnTo>
                  <a:lnTo>
                    <a:pt x="19871" y="4309"/>
                  </a:lnTo>
                  <a:lnTo>
                    <a:pt x="19874" y="4324"/>
                  </a:lnTo>
                  <a:lnTo>
                    <a:pt x="20236" y="4324"/>
                  </a:lnTo>
                  <a:lnTo>
                    <a:pt x="20236" y="4017"/>
                  </a:lnTo>
                  <a:lnTo>
                    <a:pt x="20238" y="4008"/>
                  </a:lnTo>
                  <a:lnTo>
                    <a:pt x="20242" y="4002"/>
                  </a:lnTo>
                  <a:lnTo>
                    <a:pt x="20248" y="3998"/>
                  </a:lnTo>
                  <a:lnTo>
                    <a:pt x="20256" y="3997"/>
                  </a:lnTo>
                  <a:lnTo>
                    <a:pt x="20264" y="3998"/>
                  </a:lnTo>
                  <a:lnTo>
                    <a:pt x="20270" y="4002"/>
                  </a:lnTo>
                  <a:lnTo>
                    <a:pt x="20274" y="4008"/>
                  </a:lnTo>
                  <a:lnTo>
                    <a:pt x="20277" y="4017"/>
                  </a:lnTo>
                  <a:lnTo>
                    <a:pt x="20277" y="4324"/>
                  </a:lnTo>
                  <a:lnTo>
                    <a:pt x="20482" y="4324"/>
                  </a:lnTo>
                  <a:lnTo>
                    <a:pt x="20482" y="3670"/>
                  </a:lnTo>
                  <a:lnTo>
                    <a:pt x="20482" y="3016"/>
                  </a:lnTo>
                  <a:lnTo>
                    <a:pt x="20024" y="3016"/>
                  </a:lnTo>
                  <a:lnTo>
                    <a:pt x="20024" y="3584"/>
                  </a:lnTo>
                  <a:lnTo>
                    <a:pt x="20024" y="4152"/>
                  </a:lnTo>
                  <a:lnTo>
                    <a:pt x="20023" y="4161"/>
                  </a:lnTo>
                  <a:lnTo>
                    <a:pt x="20018" y="4167"/>
                  </a:lnTo>
                  <a:lnTo>
                    <a:pt x="20011" y="4171"/>
                  </a:lnTo>
                  <a:lnTo>
                    <a:pt x="20005" y="4172"/>
                  </a:lnTo>
                  <a:lnTo>
                    <a:pt x="19997" y="4171"/>
                  </a:lnTo>
                  <a:lnTo>
                    <a:pt x="19991" y="4167"/>
                  </a:lnTo>
                  <a:lnTo>
                    <a:pt x="19986" y="4161"/>
                  </a:lnTo>
                  <a:lnTo>
                    <a:pt x="19984" y="4152"/>
                  </a:lnTo>
                  <a:lnTo>
                    <a:pt x="19984" y="3451"/>
                  </a:lnTo>
                  <a:lnTo>
                    <a:pt x="19984" y="2750"/>
                  </a:lnTo>
                  <a:lnTo>
                    <a:pt x="19946" y="2750"/>
                  </a:lnTo>
                  <a:lnTo>
                    <a:pt x="19939" y="2748"/>
                  </a:lnTo>
                  <a:lnTo>
                    <a:pt x="19933" y="2744"/>
                  </a:lnTo>
                  <a:lnTo>
                    <a:pt x="19928" y="2737"/>
                  </a:lnTo>
                  <a:lnTo>
                    <a:pt x="19927" y="2730"/>
                  </a:lnTo>
                  <a:lnTo>
                    <a:pt x="19927" y="2576"/>
                  </a:lnTo>
                  <a:lnTo>
                    <a:pt x="19928" y="2569"/>
                  </a:lnTo>
                  <a:lnTo>
                    <a:pt x="19933" y="2562"/>
                  </a:lnTo>
                  <a:lnTo>
                    <a:pt x="19939" y="2558"/>
                  </a:lnTo>
                  <a:lnTo>
                    <a:pt x="19946" y="2556"/>
                  </a:lnTo>
                  <a:lnTo>
                    <a:pt x="19998" y="2556"/>
                  </a:lnTo>
                  <a:lnTo>
                    <a:pt x="20041" y="2500"/>
                  </a:lnTo>
                  <a:lnTo>
                    <a:pt x="20089" y="2443"/>
                  </a:lnTo>
                  <a:lnTo>
                    <a:pt x="20116" y="2418"/>
                  </a:lnTo>
                  <a:lnTo>
                    <a:pt x="20143" y="2391"/>
                  </a:lnTo>
                  <a:lnTo>
                    <a:pt x="20201" y="2340"/>
                  </a:lnTo>
                  <a:lnTo>
                    <a:pt x="20264" y="2292"/>
                  </a:lnTo>
                  <a:lnTo>
                    <a:pt x="20331" y="2246"/>
                  </a:lnTo>
                  <a:lnTo>
                    <a:pt x="20402" y="2203"/>
                  </a:lnTo>
                  <a:lnTo>
                    <a:pt x="20477" y="2163"/>
                  </a:lnTo>
                  <a:lnTo>
                    <a:pt x="20556" y="2126"/>
                  </a:lnTo>
                  <a:lnTo>
                    <a:pt x="20638" y="2092"/>
                  </a:lnTo>
                  <a:lnTo>
                    <a:pt x="20681" y="2075"/>
                  </a:lnTo>
                  <a:lnTo>
                    <a:pt x="20724" y="2060"/>
                  </a:lnTo>
                  <a:lnTo>
                    <a:pt x="20813" y="2033"/>
                  </a:lnTo>
                  <a:lnTo>
                    <a:pt x="20904" y="2009"/>
                  </a:lnTo>
                  <a:lnTo>
                    <a:pt x="20999" y="1987"/>
                  </a:lnTo>
                  <a:lnTo>
                    <a:pt x="21095" y="1970"/>
                  </a:lnTo>
                  <a:lnTo>
                    <a:pt x="21194" y="1956"/>
                  </a:lnTo>
                  <a:lnTo>
                    <a:pt x="21194" y="1775"/>
                  </a:lnTo>
                  <a:lnTo>
                    <a:pt x="21196" y="1759"/>
                  </a:lnTo>
                  <a:lnTo>
                    <a:pt x="21200" y="1744"/>
                  </a:lnTo>
                  <a:lnTo>
                    <a:pt x="21209" y="1730"/>
                  </a:lnTo>
                  <a:lnTo>
                    <a:pt x="21219" y="1717"/>
                  </a:lnTo>
                  <a:lnTo>
                    <a:pt x="21232" y="1705"/>
                  </a:lnTo>
                  <a:lnTo>
                    <a:pt x="21247" y="1694"/>
                  </a:lnTo>
                  <a:lnTo>
                    <a:pt x="21265" y="1684"/>
                  </a:lnTo>
                  <a:lnTo>
                    <a:pt x="21285" y="1675"/>
                  </a:lnTo>
                  <a:lnTo>
                    <a:pt x="21329" y="1659"/>
                  </a:lnTo>
                  <a:lnTo>
                    <a:pt x="21378" y="1648"/>
                  </a:lnTo>
                  <a:lnTo>
                    <a:pt x="21429" y="1642"/>
                  </a:lnTo>
                  <a:lnTo>
                    <a:pt x="21483" y="1639"/>
                  </a:lnTo>
                  <a:lnTo>
                    <a:pt x="21537" y="1642"/>
                  </a:lnTo>
                  <a:lnTo>
                    <a:pt x="21590" y="1648"/>
                  </a:lnTo>
                  <a:lnTo>
                    <a:pt x="21614" y="1653"/>
                  </a:lnTo>
                  <a:lnTo>
                    <a:pt x="21638" y="1659"/>
                  </a:lnTo>
                  <a:lnTo>
                    <a:pt x="21660" y="1666"/>
                  </a:lnTo>
                  <a:lnTo>
                    <a:pt x="21682" y="1675"/>
                  </a:lnTo>
                  <a:lnTo>
                    <a:pt x="21719" y="1694"/>
                  </a:lnTo>
                  <a:lnTo>
                    <a:pt x="21747" y="1717"/>
                  </a:lnTo>
                  <a:lnTo>
                    <a:pt x="21759" y="1730"/>
                  </a:lnTo>
                  <a:lnTo>
                    <a:pt x="21767" y="1744"/>
                  </a:lnTo>
                  <a:lnTo>
                    <a:pt x="21772" y="1759"/>
                  </a:lnTo>
                  <a:lnTo>
                    <a:pt x="21773" y="1775"/>
                  </a:lnTo>
                  <a:lnTo>
                    <a:pt x="21773" y="1956"/>
                  </a:lnTo>
                  <a:lnTo>
                    <a:pt x="21872" y="1970"/>
                  </a:lnTo>
                  <a:lnTo>
                    <a:pt x="21969" y="1987"/>
                  </a:lnTo>
                  <a:lnTo>
                    <a:pt x="22063" y="2009"/>
                  </a:lnTo>
                  <a:lnTo>
                    <a:pt x="22155" y="2033"/>
                  </a:lnTo>
                  <a:lnTo>
                    <a:pt x="22244" y="2060"/>
                  </a:lnTo>
                  <a:lnTo>
                    <a:pt x="22328" y="2092"/>
                  </a:lnTo>
                  <a:lnTo>
                    <a:pt x="22412" y="2126"/>
                  </a:lnTo>
                  <a:lnTo>
                    <a:pt x="22490" y="2163"/>
                  </a:lnTo>
                  <a:lnTo>
                    <a:pt x="22566" y="2203"/>
                  </a:lnTo>
                  <a:lnTo>
                    <a:pt x="22601" y="2225"/>
                  </a:lnTo>
                  <a:lnTo>
                    <a:pt x="22636" y="2246"/>
                  </a:lnTo>
                  <a:lnTo>
                    <a:pt x="22703" y="2292"/>
                  </a:lnTo>
                  <a:lnTo>
                    <a:pt x="22766" y="2340"/>
                  </a:lnTo>
                  <a:lnTo>
                    <a:pt x="22795" y="2365"/>
                  </a:lnTo>
                  <a:lnTo>
                    <a:pt x="22825" y="2391"/>
                  </a:lnTo>
                  <a:lnTo>
                    <a:pt x="22877" y="2445"/>
                  </a:lnTo>
                  <a:lnTo>
                    <a:pt x="22926" y="2500"/>
                  </a:lnTo>
                  <a:lnTo>
                    <a:pt x="22969" y="2556"/>
                  </a:lnTo>
                  <a:lnTo>
                    <a:pt x="23021" y="2556"/>
                  </a:lnTo>
                  <a:lnTo>
                    <a:pt x="23028" y="2558"/>
                  </a:lnTo>
                  <a:lnTo>
                    <a:pt x="23035" y="2562"/>
                  </a:lnTo>
                  <a:lnTo>
                    <a:pt x="23039" y="2569"/>
                  </a:lnTo>
                  <a:lnTo>
                    <a:pt x="23040" y="2576"/>
                  </a:lnTo>
                  <a:lnTo>
                    <a:pt x="23040" y="2730"/>
                  </a:lnTo>
                  <a:lnTo>
                    <a:pt x="23039" y="2737"/>
                  </a:lnTo>
                  <a:lnTo>
                    <a:pt x="23035" y="2744"/>
                  </a:lnTo>
                  <a:lnTo>
                    <a:pt x="23028" y="2748"/>
                  </a:lnTo>
                  <a:lnTo>
                    <a:pt x="23021" y="2750"/>
                  </a:lnTo>
                  <a:lnTo>
                    <a:pt x="22982" y="2750"/>
                  </a:lnTo>
                  <a:lnTo>
                    <a:pt x="22982" y="3547"/>
                  </a:lnTo>
                  <a:lnTo>
                    <a:pt x="22982" y="4345"/>
                  </a:lnTo>
                  <a:lnTo>
                    <a:pt x="22981" y="4352"/>
                  </a:lnTo>
                  <a:lnTo>
                    <a:pt x="22977" y="4359"/>
                  </a:lnTo>
                  <a:lnTo>
                    <a:pt x="22971" y="4363"/>
                  </a:lnTo>
                  <a:lnTo>
                    <a:pt x="22963" y="4365"/>
                  </a:lnTo>
                  <a:lnTo>
                    <a:pt x="22717" y="4365"/>
                  </a:lnTo>
                  <a:lnTo>
                    <a:pt x="21733" y="4365"/>
                  </a:lnTo>
                  <a:lnTo>
                    <a:pt x="21241" y="4365"/>
                  </a:lnTo>
                  <a:lnTo>
                    <a:pt x="20749" y="4365"/>
                  </a:lnTo>
                  <a:lnTo>
                    <a:pt x="20257" y="4365"/>
                  </a:lnTo>
                  <a:lnTo>
                    <a:pt x="19865" y="4365"/>
                  </a:lnTo>
                  <a:lnTo>
                    <a:pt x="19859" y="4368"/>
                  </a:lnTo>
                  <a:lnTo>
                    <a:pt x="19852" y="4369"/>
                  </a:lnTo>
                  <a:lnTo>
                    <a:pt x="18987" y="4369"/>
                  </a:lnTo>
                  <a:lnTo>
                    <a:pt x="18122" y="4369"/>
                  </a:lnTo>
                  <a:lnTo>
                    <a:pt x="18119" y="4369"/>
                  </a:lnTo>
                  <a:lnTo>
                    <a:pt x="17558" y="4369"/>
                  </a:lnTo>
                  <a:lnTo>
                    <a:pt x="17549" y="4366"/>
                  </a:lnTo>
                  <a:lnTo>
                    <a:pt x="17543" y="4363"/>
                  </a:lnTo>
                  <a:lnTo>
                    <a:pt x="17540" y="4356"/>
                  </a:lnTo>
                  <a:lnTo>
                    <a:pt x="17539" y="4349"/>
                  </a:lnTo>
                  <a:lnTo>
                    <a:pt x="17540" y="4341"/>
                  </a:lnTo>
                  <a:lnTo>
                    <a:pt x="17543" y="4334"/>
                  </a:lnTo>
                  <a:lnTo>
                    <a:pt x="17549" y="4331"/>
                  </a:lnTo>
                  <a:lnTo>
                    <a:pt x="17558" y="4329"/>
                  </a:lnTo>
                  <a:lnTo>
                    <a:pt x="18096" y="4329"/>
                  </a:lnTo>
                  <a:lnTo>
                    <a:pt x="18092" y="4305"/>
                  </a:lnTo>
                  <a:lnTo>
                    <a:pt x="18090" y="4287"/>
                  </a:lnTo>
                  <a:lnTo>
                    <a:pt x="18094" y="4262"/>
                  </a:lnTo>
                  <a:lnTo>
                    <a:pt x="18103" y="4237"/>
                  </a:lnTo>
                  <a:lnTo>
                    <a:pt x="18116" y="4216"/>
                  </a:lnTo>
                  <a:lnTo>
                    <a:pt x="18134" y="4196"/>
                  </a:lnTo>
                  <a:lnTo>
                    <a:pt x="18155" y="4178"/>
                  </a:lnTo>
                  <a:lnTo>
                    <a:pt x="18178" y="4162"/>
                  </a:lnTo>
                  <a:lnTo>
                    <a:pt x="18230" y="4131"/>
                  </a:lnTo>
                  <a:lnTo>
                    <a:pt x="18213" y="3595"/>
                  </a:lnTo>
                  <a:lnTo>
                    <a:pt x="18197" y="3061"/>
                  </a:lnTo>
                  <a:lnTo>
                    <a:pt x="17607" y="2249"/>
                  </a:lnTo>
                  <a:lnTo>
                    <a:pt x="17579" y="2705"/>
                  </a:lnTo>
                  <a:lnTo>
                    <a:pt x="17576" y="2714"/>
                  </a:lnTo>
                  <a:lnTo>
                    <a:pt x="17571" y="2719"/>
                  </a:lnTo>
                  <a:lnTo>
                    <a:pt x="17557" y="2725"/>
                  </a:lnTo>
                  <a:lnTo>
                    <a:pt x="17551" y="2722"/>
                  </a:lnTo>
                  <a:lnTo>
                    <a:pt x="17544" y="2718"/>
                  </a:lnTo>
                  <a:lnTo>
                    <a:pt x="17540" y="2712"/>
                  </a:lnTo>
                  <a:lnTo>
                    <a:pt x="17539" y="2703"/>
                  </a:lnTo>
                  <a:lnTo>
                    <a:pt x="17570" y="2195"/>
                  </a:lnTo>
                  <a:lnTo>
                    <a:pt x="17571" y="2188"/>
                  </a:lnTo>
                  <a:lnTo>
                    <a:pt x="17597" y="1763"/>
                  </a:lnTo>
                  <a:lnTo>
                    <a:pt x="17597" y="1755"/>
                  </a:lnTo>
                  <a:lnTo>
                    <a:pt x="17640" y="1058"/>
                  </a:lnTo>
                  <a:lnTo>
                    <a:pt x="17622" y="1058"/>
                  </a:lnTo>
                  <a:lnTo>
                    <a:pt x="17615" y="1057"/>
                  </a:lnTo>
                  <a:lnTo>
                    <a:pt x="17608" y="1053"/>
                  </a:lnTo>
                  <a:lnTo>
                    <a:pt x="17604" y="1047"/>
                  </a:lnTo>
                  <a:lnTo>
                    <a:pt x="17603" y="1039"/>
                  </a:lnTo>
                  <a:lnTo>
                    <a:pt x="17603" y="943"/>
                  </a:lnTo>
                  <a:lnTo>
                    <a:pt x="17604" y="936"/>
                  </a:lnTo>
                  <a:lnTo>
                    <a:pt x="17608" y="929"/>
                  </a:lnTo>
                  <a:lnTo>
                    <a:pt x="17615" y="925"/>
                  </a:lnTo>
                  <a:lnTo>
                    <a:pt x="17622" y="924"/>
                  </a:lnTo>
                  <a:lnTo>
                    <a:pt x="18192" y="924"/>
                  </a:lnTo>
                  <a:lnTo>
                    <a:pt x="18199" y="925"/>
                  </a:lnTo>
                  <a:lnTo>
                    <a:pt x="18206" y="929"/>
                  </a:lnTo>
                  <a:lnTo>
                    <a:pt x="18211" y="936"/>
                  </a:lnTo>
                  <a:lnTo>
                    <a:pt x="18212" y="943"/>
                  </a:lnTo>
                  <a:lnTo>
                    <a:pt x="18212" y="1039"/>
                  </a:lnTo>
                  <a:lnTo>
                    <a:pt x="18211" y="1047"/>
                  </a:lnTo>
                  <a:lnTo>
                    <a:pt x="18206" y="1053"/>
                  </a:lnTo>
                  <a:lnTo>
                    <a:pt x="18199" y="1057"/>
                  </a:lnTo>
                  <a:lnTo>
                    <a:pt x="18192" y="1058"/>
                  </a:lnTo>
                  <a:lnTo>
                    <a:pt x="18174" y="1058"/>
                  </a:lnTo>
                  <a:lnTo>
                    <a:pt x="18201" y="1919"/>
                  </a:lnTo>
                  <a:lnTo>
                    <a:pt x="18930" y="1919"/>
                  </a:lnTo>
                  <a:lnTo>
                    <a:pt x="19661" y="1919"/>
                  </a:lnTo>
                  <a:lnTo>
                    <a:pt x="19698" y="1158"/>
                  </a:lnTo>
                  <a:lnTo>
                    <a:pt x="19736" y="399"/>
                  </a:lnTo>
                  <a:lnTo>
                    <a:pt x="19738" y="392"/>
                  </a:lnTo>
                  <a:lnTo>
                    <a:pt x="19742" y="386"/>
                  </a:lnTo>
                  <a:lnTo>
                    <a:pt x="19748" y="382"/>
                  </a:lnTo>
                  <a:lnTo>
                    <a:pt x="19756" y="381"/>
                  </a:lnTo>
                  <a:lnTo>
                    <a:pt x="20084" y="381"/>
                  </a:lnTo>
                  <a:lnTo>
                    <a:pt x="20092" y="382"/>
                  </a:lnTo>
                  <a:lnTo>
                    <a:pt x="20098" y="386"/>
                  </a:lnTo>
                  <a:lnTo>
                    <a:pt x="20102" y="392"/>
                  </a:lnTo>
                  <a:lnTo>
                    <a:pt x="20105" y="399"/>
                  </a:lnTo>
                  <a:lnTo>
                    <a:pt x="20142" y="1126"/>
                  </a:lnTo>
                  <a:lnTo>
                    <a:pt x="20181" y="1855"/>
                  </a:lnTo>
                  <a:lnTo>
                    <a:pt x="20179" y="1864"/>
                  </a:lnTo>
                  <a:lnTo>
                    <a:pt x="20175" y="1870"/>
                  </a:lnTo>
                  <a:lnTo>
                    <a:pt x="20169" y="1874"/>
                  </a:lnTo>
                  <a:lnTo>
                    <a:pt x="20161" y="1877"/>
                  </a:lnTo>
                  <a:lnTo>
                    <a:pt x="20147" y="1872"/>
                  </a:lnTo>
                  <a:lnTo>
                    <a:pt x="20143" y="1867"/>
                  </a:lnTo>
                  <a:lnTo>
                    <a:pt x="20141" y="1858"/>
                  </a:lnTo>
                  <a:lnTo>
                    <a:pt x="20102" y="1139"/>
                  </a:lnTo>
                  <a:lnTo>
                    <a:pt x="20065" y="420"/>
                  </a:lnTo>
                  <a:lnTo>
                    <a:pt x="19775" y="420"/>
                  </a:lnTo>
                  <a:lnTo>
                    <a:pt x="19737" y="1180"/>
                  </a:lnTo>
                  <a:lnTo>
                    <a:pt x="19700" y="1939"/>
                  </a:lnTo>
                  <a:lnTo>
                    <a:pt x="19700" y="1942"/>
                  </a:lnTo>
                  <a:lnTo>
                    <a:pt x="19698" y="1947"/>
                  </a:lnTo>
                  <a:lnTo>
                    <a:pt x="19695" y="1952"/>
                  </a:lnTo>
                  <a:lnTo>
                    <a:pt x="19688" y="1956"/>
                  </a:lnTo>
                  <a:lnTo>
                    <a:pt x="19682" y="1959"/>
                  </a:lnTo>
                  <a:lnTo>
                    <a:pt x="18942" y="1959"/>
                  </a:lnTo>
                  <a:lnTo>
                    <a:pt x="18202" y="1959"/>
                  </a:lnTo>
                  <a:lnTo>
                    <a:pt x="18221" y="2560"/>
                  </a:lnTo>
                  <a:lnTo>
                    <a:pt x="18221" y="2567"/>
                  </a:lnTo>
                  <a:lnTo>
                    <a:pt x="18244" y="3338"/>
                  </a:lnTo>
                  <a:lnTo>
                    <a:pt x="18269" y="4111"/>
                  </a:lnTo>
                  <a:lnTo>
                    <a:pt x="18320" y="4081"/>
                  </a:lnTo>
                  <a:lnTo>
                    <a:pt x="18342" y="4066"/>
                  </a:lnTo>
                  <a:lnTo>
                    <a:pt x="18361" y="4049"/>
                  </a:lnTo>
                  <a:lnTo>
                    <a:pt x="18392" y="4015"/>
                  </a:lnTo>
                  <a:lnTo>
                    <a:pt x="18419" y="3976"/>
                  </a:lnTo>
                  <a:lnTo>
                    <a:pt x="18447" y="3936"/>
                  </a:lnTo>
                  <a:lnTo>
                    <a:pt x="18475" y="3897"/>
                  </a:lnTo>
                  <a:lnTo>
                    <a:pt x="18506" y="3863"/>
                  </a:lnTo>
                  <a:lnTo>
                    <a:pt x="18524" y="3849"/>
                  </a:lnTo>
                  <a:lnTo>
                    <a:pt x="18542" y="3835"/>
                  </a:lnTo>
                  <a:lnTo>
                    <a:pt x="18562" y="3824"/>
                  </a:lnTo>
                  <a:lnTo>
                    <a:pt x="18585" y="3817"/>
                  </a:lnTo>
                  <a:lnTo>
                    <a:pt x="18610" y="3811"/>
                  </a:lnTo>
                  <a:lnTo>
                    <a:pt x="18637" y="3810"/>
                  </a:lnTo>
                  <a:lnTo>
                    <a:pt x="18656" y="3811"/>
                  </a:lnTo>
                  <a:lnTo>
                    <a:pt x="18673" y="3817"/>
                  </a:lnTo>
                  <a:lnTo>
                    <a:pt x="18702" y="3831"/>
                  </a:lnTo>
                  <a:lnTo>
                    <a:pt x="18702" y="3827"/>
                  </a:lnTo>
                  <a:lnTo>
                    <a:pt x="18702" y="3086"/>
                  </a:lnTo>
                  <a:lnTo>
                    <a:pt x="18664" y="3083"/>
                  </a:lnTo>
                  <a:lnTo>
                    <a:pt x="18625" y="3075"/>
                  </a:lnTo>
                  <a:lnTo>
                    <a:pt x="18588" y="3065"/>
                  </a:lnTo>
                  <a:lnTo>
                    <a:pt x="18553" y="3051"/>
                  </a:lnTo>
                  <a:lnTo>
                    <a:pt x="18519" y="3033"/>
                  </a:lnTo>
                  <a:lnTo>
                    <a:pt x="18488" y="3012"/>
                  </a:lnTo>
                  <a:lnTo>
                    <a:pt x="18458" y="2989"/>
                  </a:lnTo>
                  <a:lnTo>
                    <a:pt x="18431" y="2964"/>
                  </a:lnTo>
                  <a:lnTo>
                    <a:pt x="18407" y="2936"/>
                  </a:lnTo>
                  <a:lnTo>
                    <a:pt x="18385" y="2905"/>
                  </a:lnTo>
                  <a:lnTo>
                    <a:pt x="18366" y="2873"/>
                  </a:lnTo>
                  <a:lnTo>
                    <a:pt x="18349" y="2838"/>
                  </a:lnTo>
                  <a:lnTo>
                    <a:pt x="18337" y="2803"/>
                  </a:lnTo>
                  <a:lnTo>
                    <a:pt x="18328" y="2766"/>
                  </a:lnTo>
                  <a:lnTo>
                    <a:pt x="18322" y="2726"/>
                  </a:lnTo>
                  <a:lnTo>
                    <a:pt x="18320" y="2686"/>
                  </a:lnTo>
                  <a:lnTo>
                    <a:pt x="18322" y="2645"/>
                  </a:lnTo>
                  <a:lnTo>
                    <a:pt x="18328" y="2606"/>
                  </a:lnTo>
                  <a:lnTo>
                    <a:pt x="18338" y="2567"/>
                  </a:lnTo>
                  <a:lnTo>
                    <a:pt x="18352" y="2530"/>
                  </a:lnTo>
                  <a:lnTo>
                    <a:pt x="18369" y="2496"/>
                  </a:lnTo>
                  <a:lnTo>
                    <a:pt x="18388" y="2462"/>
                  </a:lnTo>
                  <a:lnTo>
                    <a:pt x="18412" y="2432"/>
                  </a:lnTo>
                  <a:lnTo>
                    <a:pt x="18438" y="2404"/>
                  </a:lnTo>
                  <a:lnTo>
                    <a:pt x="18466" y="2377"/>
                  </a:lnTo>
                  <a:lnTo>
                    <a:pt x="18497" y="2354"/>
                  </a:lnTo>
                  <a:lnTo>
                    <a:pt x="18530" y="2335"/>
                  </a:lnTo>
                  <a:lnTo>
                    <a:pt x="18565" y="2317"/>
                  </a:lnTo>
                  <a:lnTo>
                    <a:pt x="18602" y="2304"/>
                  </a:lnTo>
                  <a:lnTo>
                    <a:pt x="18640" y="2294"/>
                  </a:lnTo>
                  <a:lnTo>
                    <a:pt x="18680" y="2287"/>
                  </a:lnTo>
                  <a:lnTo>
                    <a:pt x="18721" y="2286"/>
                  </a:lnTo>
                  <a:lnTo>
                    <a:pt x="18764" y="2287"/>
                  </a:lnTo>
                  <a:lnTo>
                    <a:pt x="18803" y="2294"/>
                  </a:lnTo>
                  <a:lnTo>
                    <a:pt x="18842" y="2304"/>
                  </a:lnTo>
                  <a:lnTo>
                    <a:pt x="18879" y="2318"/>
                  </a:lnTo>
                  <a:lnTo>
                    <a:pt x="18914" y="2335"/>
                  </a:lnTo>
                  <a:lnTo>
                    <a:pt x="18947" y="2355"/>
                  </a:lnTo>
                  <a:lnTo>
                    <a:pt x="18978" y="2378"/>
                  </a:lnTo>
                  <a:lnTo>
                    <a:pt x="19007" y="2404"/>
                  </a:lnTo>
                  <a:lnTo>
                    <a:pt x="19033" y="2433"/>
                  </a:lnTo>
                  <a:lnTo>
                    <a:pt x="19056" y="2464"/>
                  </a:lnTo>
                  <a:lnTo>
                    <a:pt x="19075" y="2497"/>
                  </a:lnTo>
                  <a:lnTo>
                    <a:pt x="19092" y="2532"/>
                  </a:lnTo>
                  <a:lnTo>
                    <a:pt x="19106" y="2569"/>
                  </a:lnTo>
                  <a:lnTo>
                    <a:pt x="19115" y="2607"/>
                  </a:lnTo>
                  <a:lnTo>
                    <a:pt x="19121" y="2645"/>
                  </a:lnTo>
                  <a:lnTo>
                    <a:pt x="19124" y="2686"/>
                  </a:lnTo>
                  <a:lnTo>
                    <a:pt x="19121" y="2695"/>
                  </a:lnTo>
                  <a:lnTo>
                    <a:pt x="19118" y="2702"/>
                  </a:lnTo>
                  <a:lnTo>
                    <a:pt x="19111" y="2705"/>
                  </a:lnTo>
                  <a:lnTo>
                    <a:pt x="19103" y="2707"/>
                  </a:lnTo>
                  <a:lnTo>
                    <a:pt x="19096" y="2705"/>
                  </a:lnTo>
                  <a:lnTo>
                    <a:pt x="19089" y="2702"/>
                  </a:lnTo>
                  <a:lnTo>
                    <a:pt x="19085" y="2695"/>
                  </a:lnTo>
                  <a:lnTo>
                    <a:pt x="19083" y="2686"/>
                  </a:lnTo>
                  <a:lnTo>
                    <a:pt x="19082" y="2650"/>
                  </a:lnTo>
                  <a:lnTo>
                    <a:pt x="19076" y="2615"/>
                  </a:lnTo>
                  <a:lnTo>
                    <a:pt x="19067" y="2580"/>
                  </a:lnTo>
                  <a:lnTo>
                    <a:pt x="19055" y="2547"/>
                  </a:lnTo>
                  <a:lnTo>
                    <a:pt x="19041" y="2515"/>
                  </a:lnTo>
                  <a:lnTo>
                    <a:pt x="19023" y="2485"/>
                  </a:lnTo>
                  <a:lnTo>
                    <a:pt x="19002" y="2457"/>
                  </a:lnTo>
                  <a:lnTo>
                    <a:pt x="18978" y="2432"/>
                  </a:lnTo>
                  <a:lnTo>
                    <a:pt x="18952" y="2409"/>
                  </a:lnTo>
                  <a:lnTo>
                    <a:pt x="18925" y="2388"/>
                  </a:lnTo>
                  <a:lnTo>
                    <a:pt x="18894" y="2369"/>
                  </a:lnTo>
                  <a:lnTo>
                    <a:pt x="18864" y="2354"/>
                  </a:lnTo>
                  <a:lnTo>
                    <a:pt x="18830" y="2342"/>
                  </a:lnTo>
                  <a:lnTo>
                    <a:pt x="18796" y="2333"/>
                  </a:lnTo>
                  <a:lnTo>
                    <a:pt x="18758" y="2328"/>
                  </a:lnTo>
                  <a:lnTo>
                    <a:pt x="18721" y="2326"/>
                  </a:lnTo>
                  <a:lnTo>
                    <a:pt x="18684" y="2328"/>
                  </a:lnTo>
                  <a:lnTo>
                    <a:pt x="18648" y="2333"/>
                  </a:lnTo>
                  <a:lnTo>
                    <a:pt x="18614" y="2342"/>
                  </a:lnTo>
                  <a:lnTo>
                    <a:pt x="18580" y="2354"/>
                  </a:lnTo>
                  <a:lnTo>
                    <a:pt x="18549" y="2369"/>
                  </a:lnTo>
                  <a:lnTo>
                    <a:pt x="18520" y="2387"/>
                  </a:lnTo>
                  <a:lnTo>
                    <a:pt x="18492" y="2407"/>
                  </a:lnTo>
                  <a:lnTo>
                    <a:pt x="18466" y="2432"/>
                  </a:lnTo>
                  <a:lnTo>
                    <a:pt x="18443" y="2457"/>
                  </a:lnTo>
                  <a:lnTo>
                    <a:pt x="18421" y="2484"/>
                  </a:lnTo>
                  <a:lnTo>
                    <a:pt x="18403" y="2515"/>
                  </a:lnTo>
                  <a:lnTo>
                    <a:pt x="18388" y="2546"/>
                  </a:lnTo>
                  <a:lnTo>
                    <a:pt x="18381" y="2562"/>
                  </a:lnTo>
                  <a:lnTo>
                    <a:pt x="18376" y="2579"/>
                  </a:lnTo>
                  <a:lnTo>
                    <a:pt x="18367" y="2613"/>
                  </a:lnTo>
                  <a:lnTo>
                    <a:pt x="18362" y="2649"/>
                  </a:lnTo>
                  <a:lnTo>
                    <a:pt x="18360" y="2686"/>
                  </a:lnTo>
                  <a:lnTo>
                    <a:pt x="18362" y="2722"/>
                  </a:lnTo>
                  <a:lnTo>
                    <a:pt x="18367" y="2757"/>
                  </a:lnTo>
                  <a:lnTo>
                    <a:pt x="18375" y="2790"/>
                  </a:lnTo>
                  <a:lnTo>
                    <a:pt x="18387" y="2823"/>
                  </a:lnTo>
                  <a:lnTo>
                    <a:pt x="18401" y="2854"/>
                  </a:lnTo>
                  <a:lnTo>
                    <a:pt x="18417" y="2882"/>
                  </a:lnTo>
                  <a:lnTo>
                    <a:pt x="18438" y="2910"/>
                  </a:lnTo>
                  <a:lnTo>
                    <a:pt x="18460" y="2936"/>
                  </a:lnTo>
                  <a:lnTo>
                    <a:pt x="18484" y="2959"/>
                  </a:lnTo>
                  <a:lnTo>
                    <a:pt x="18510" y="2979"/>
                  </a:lnTo>
                  <a:lnTo>
                    <a:pt x="18538" y="2997"/>
                  </a:lnTo>
                  <a:lnTo>
                    <a:pt x="18569" y="3014"/>
                  </a:lnTo>
                  <a:lnTo>
                    <a:pt x="18599" y="3026"/>
                  </a:lnTo>
                  <a:lnTo>
                    <a:pt x="18633" y="3037"/>
                  </a:lnTo>
                  <a:lnTo>
                    <a:pt x="18667" y="3043"/>
                  </a:lnTo>
                  <a:lnTo>
                    <a:pt x="18702" y="3047"/>
                  </a:lnTo>
                  <a:lnTo>
                    <a:pt x="18702" y="3011"/>
                  </a:lnTo>
                  <a:lnTo>
                    <a:pt x="18701" y="3008"/>
                  </a:lnTo>
                  <a:lnTo>
                    <a:pt x="18597" y="2865"/>
                  </a:lnTo>
                  <a:lnTo>
                    <a:pt x="18593" y="2858"/>
                  </a:lnTo>
                  <a:lnTo>
                    <a:pt x="18593" y="2850"/>
                  </a:lnTo>
                  <a:lnTo>
                    <a:pt x="18596" y="2842"/>
                  </a:lnTo>
                  <a:lnTo>
                    <a:pt x="18601" y="2837"/>
                  </a:lnTo>
                  <a:lnTo>
                    <a:pt x="18607" y="2835"/>
                  </a:lnTo>
                  <a:lnTo>
                    <a:pt x="18615" y="2833"/>
                  </a:lnTo>
                  <a:lnTo>
                    <a:pt x="18623" y="2836"/>
                  </a:lnTo>
                  <a:lnTo>
                    <a:pt x="18629" y="2842"/>
                  </a:lnTo>
                  <a:lnTo>
                    <a:pt x="18702" y="2943"/>
                  </a:lnTo>
                  <a:lnTo>
                    <a:pt x="18702" y="2901"/>
                  </a:lnTo>
                  <a:lnTo>
                    <a:pt x="18702" y="2895"/>
                  </a:lnTo>
                  <a:lnTo>
                    <a:pt x="18702" y="2744"/>
                  </a:lnTo>
                  <a:lnTo>
                    <a:pt x="18606" y="2611"/>
                  </a:lnTo>
                  <a:lnTo>
                    <a:pt x="18602" y="2603"/>
                  </a:lnTo>
                  <a:lnTo>
                    <a:pt x="18602" y="2595"/>
                  </a:lnTo>
                  <a:lnTo>
                    <a:pt x="18606" y="2588"/>
                  </a:lnTo>
                  <a:lnTo>
                    <a:pt x="18611" y="2583"/>
                  </a:lnTo>
                  <a:lnTo>
                    <a:pt x="18617" y="2580"/>
                  </a:lnTo>
                  <a:lnTo>
                    <a:pt x="18625" y="2579"/>
                  </a:lnTo>
                  <a:lnTo>
                    <a:pt x="18633" y="2581"/>
                  </a:lnTo>
                  <a:lnTo>
                    <a:pt x="18639" y="2588"/>
                  </a:lnTo>
                  <a:lnTo>
                    <a:pt x="18702" y="2675"/>
                  </a:lnTo>
                  <a:lnTo>
                    <a:pt x="18702" y="2599"/>
                  </a:lnTo>
                  <a:lnTo>
                    <a:pt x="18705" y="2590"/>
                  </a:lnTo>
                  <a:lnTo>
                    <a:pt x="18708" y="2584"/>
                  </a:lnTo>
                  <a:lnTo>
                    <a:pt x="18715" y="2580"/>
                  </a:lnTo>
                  <a:lnTo>
                    <a:pt x="18723" y="2579"/>
                  </a:lnTo>
                  <a:lnTo>
                    <a:pt x="18730" y="2580"/>
                  </a:lnTo>
                  <a:lnTo>
                    <a:pt x="18737" y="2584"/>
                  </a:lnTo>
                  <a:lnTo>
                    <a:pt x="18741" y="2590"/>
                  </a:lnTo>
                  <a:lnTo>
                    <a:pt x="18742" y="2599"/>
                  </a:lnTo>
                  <a:lnTo>
                    <a:pt x="18742" y="2734"/>
                  </a:lnTo>
                  <a:lnTo>
                    <a:pt x="18742" y="2740"/>
                  </a:lnTo>
                  <a:lnTo>
                    <a:pt x="18742" y="2836"/>
                  </a:lnTo>
                  <a:lnTo>
                    <a:pt x="18828" y="2718"/>
                  </a:lnTo>
                  <a:lnTo>
                    <a:pt x="18834" y="2712"/>
                  </a:lnTo>
                  <a:lnTo>
                    <a:pt x="18842" y="2711"/>
                  </a:lnTo>
                  <a:lnTo>
                    <a:pt x="18856" y="2714"/>
                  </a:lnTo>
                  <a:lnTo>
                    <a:pt x="18861" y="2719"/>
                  </a:lnTo>
                  <a:lnTo>
                    <a:pt x="18864" y="2726"/>
                  </a:lnTo>
                  <a:lnTo>
                    <a:pt x="18864" y="2734"/>
                  </a:lnTo>
                  <a:lnTo>
                    <a:pt x="18860" y="2743"/>
                  </a:lnTo>
                  <a:close/>
                  <a:moveTo>
                    <a:pt x="20006" y="2597"/>
                  </a:moveTo>
                  <a:lnTo>
                    <a:pt x="19966" y="2597"/>
                  </a:lnTo>
                  <a:lnTo>
                    <a:pt x="19966" y="2709"/>
                  </a:lnTo>
                  <a:lnTo>
                    <a:pt x="20724" y="2709"/>
                  </a:lnTo>
                  <a:lnTo>
                    <a:pt x="21483" y="2709"/>
                  </a:lnTo>
                  <a:lnTo>
                    <a:pt x="22241" y="2709"/>
                  </a:lnTo>
                  <a:lnTo>
                    <a:pt x="23000" y="2709"/>
                  </a:lnTo>
                  <a:lnTo>
                    <a:pt x="23000" y="2597"/>
                  </a:lnTo>
                  <a:lnTo>
                    <a:pt x="22962" y="2597"/>
                  </a:lnTo>
                  <a:lnTo>
                    <a:pt x="22954" y="2597"/>
                  </a:lnTo>
                  <a:lnTo>
                    <a:pt x="22218" y="2597"/>
                  </a:lnTo>
                  <a:lnTo>
                    <a:pt x="21483" y="2597"/>
                  </a:lnTo>
                  <a:lnTo>
                    <a:pt x="20747" y="2597"/>
                  </a:lnTo>
                  <a:lnTo>
                    <a:pt x="20013" y="2597"/>
                  </a:lnTo>
                  <a:lnTo>
                    <a:pt x="20006" y="2597"/>
                  </a:lnTo>
                  <a:close/>
                  <a:moveTo>
                    <a:pt x="19369" y="3221"/>
                  </a:moveTo>
                  <a:lnTo>
                    <a:pt x="19369" y="3011"/>
                  </a:lnTo>
                  <a:lnTo>
                    <a:pt x="19370" y="3002"/>
                  </a:lnTo>
                  <a:lnTo>
                    <a:pt x="19375" y="2996"/>
                  </a:lnTo>
                  <a:lnTo>
                    <a:pt x="19382" y="2992"/>
                  </a:lnTo>
                  <a:lnTo>
                    <a:pt x="19388" y="2991"/>
                  </a:lnTo>
                  <a:lnTo>
                    <a:pt x="19396" y="2992"/>
                  </a:lnTo>
                  <a:lnTo>
                    <a:pt x="19402" y="2996"/>
                  </a:lnTo>
                  <a:lnTo>
                    <a:pt x="19407" y="3002"/>
                  </a:lnTo>
                  <a:lnTo>
                    <a:pt x="19409" y="3011"/>
                  </a:lnTo>
                  <a:lnTo>
                    <a:pt x="19409" y="3162"/>
                  </a:lnTo>
                  <a:lnTo>
                    <a:pt x="19442" y="3116"/>
                  </a:lnTo>
                  <a:lnTo>
                    <a:pt x="19448" y="3111"/>
                  </a:lnTo>
                  <a:lnTo>
                    <a:pt x="19456" y="3108"/>
                  </a:lnTo>
                  <a:lnTo>
                    <a:pt x="19470" y="3112"/>
                  </a:lnTo>
                  <a:lnTo>
                    <a:pt x="19475" y="3117"/>
                  </a:lnTo>
                  <a:lnTo>
                    <a:pt x="19478" y="3124"/>
                  </a:lnTo>
                  <a:lnTo>
                    <a:pt x="19478" y="3131"/>
                  </a:lnTo>
                  <a:lnTo>
                    <a:pt x="19474" y="3140"/>
                  </a:lnTo>
                  <a:lnTo>
                    <a:pt x="19409" y="3231"/>
                  </a:lnTo>
                  <a:lnTo>
                    <a:pt x="19409" y="3413"/>
                  </a:lnTo>
                  <a:lnTo>
                    <a:pt x="19432" y="3381"/>
                  </a:lnTo>
                  <a:lnTo>
                    <a:pt x="19438" y="3374"/>
                  </a:lnTo>
                  <a:lnTo>
                    <a:pt x="19446" y="3372"/>
                  </a:lnTo>
                  <a:lnTo>
                    <a:pt x="19460" y="3375"/>
                  </a:lnTo>
                  <a:lnTo>
                    <a:pt x="19465" y="3382"/>
                  </a:lnTo>
                  <a:lnTo>
                    <a:pt x="19468" y="3388"/>
                  </a:lnTo>
                  <a:lnTo>
                    <a:pt x="19468" y="3396"/>
                  </a:lnTo>
                  <a:lnTo>
                    <a:pt x="19464" y="3404"/>
                  </a:lnTo>
                  <a:lnTo>
                    <a:pt x="19409" y="3480"/>
                  </a:lnTo>
                  <a:lnTo>
                    <a:pt x="19409" y="3491"/>
                  </a:lnTo>
                  <a:lnTo>
                    <a:pt x="19409" y="3498"/>
                  </a:lnTo>
                  <a:lnTo>
                    <a:pt x="19409" y="3608"/>
                  </a:lnTo>
                  <a:lnTo>
                    <a:pt x="19425" y="3613"/>
                  </a:lnTo>
                  <a:lnTo>
                    <a:pt x="19441" y="3620"/>
                  </a:lnTo>
                  <a:lnTo>
                    <a:pt x="19455" y="3627"/>
                  </a:lnTo>
                  <a:lnTo>
                    <a:pt x="19468" y="3632"/>
                  </a:lnTo>
                  <a:lnTo>
                    <a:pt x="19480" y="3635"/>
                  </a:lnTo>
                  <a:lnTo>
                    <a:pt x="19488" y="3635"/>
                  </a:lnTo>
                  <a:lnTo>
                    <a:pt x="19494" y="3632"/>
                  </a:lnTo>
                  <a:lnTo>
                    <a:pt x="19501" y="3630"/>
                  </a:lnTo>
                  <a:lnTo>
                    <a:pt x="19509" y="3625"/>
                  </a:lnTo>
                  <a:lnTo>
                    <a:pt x="19525" y="3608"/>
                  </a:lnTo>
                  <a:lnTo>
                    <a:pt x="19547" y="3585"/>
                  </a:lnTo>
                  <a:lnTo>
                    <a:pt x="19562" y="3570"/>
                  </a:lnTo>
                  <a:lnTo>
                    <a:pt x="19577" y="3562"/>
                  </a:lnTo>
                  <a:lnTo>
                    <a:pt x="19591" y="3558"/>
                  </a:lnTo>
                  <a:lnTo>
                    <a:pt x="19620" y="3556"/>
                  </a:lnTo>
                  <a:lnTo>
                    <a:pt x="19639" y="3554"/>
                  </a:lnTo>
                  <a:lnTo>
                    <a:pt x="19664" y="3552"/>
                  </a:lnTo>
                  <a:lnTo>
                    <a:pt x="19679" y="3544"/>
                  </a:lnTo>
                  <a:lnTo>
                    <a:pt x="19684" y="3539"/>
                  </a:lnTo>
                  <a:lnTo>
                    <a:pt x="19688" y="3533"/>
                  </a:lnTo>
                  <a:lnTo>
                    <a:pt x="19695" y="3517"/>
                  </a:lnTo>
                  <a:lnTo>
                    <a:pt x="19700" y="3499"/>
                  </a:lnTo>
                  <a:lnTo>
                    <a:pt x="19705" y="3479"/>
                  </a:lnTo>
                  <a:lnTo>
                    <a:pt x="19714" y="3460"/>
                  </a:lnTo>
                  <a:lnTo>
                    <a:pt x="19728" y="3441"/>
                  </a:lnTo>
                  <a:lnTo>
                    <a:pt x="19737" y="3432"/>
                  </a:lnTo>
                  <a:lnTo>
                    <a:pt x="19748" y="3424"/>
                  </a:lnTo>
                  <a:lnTo>
                    <a:pt x="19792" y="3398"/>
                  </a:lnTo>
                  <a:lnTo>
                    <a:pt x="19804" y="3391"/>
                  </a:lnTo>
                  <a:lnTo>
                    <a:pt x="19810" y="3383"/>
                  </a:lnTo>
                  <a:lnTo>
                    <a:pt x="19813" y="3373"/>
                  </a:lnTo>
                  <a:lnTo>
                    <a:pt x="19811" y="3360"/>
                  </a:lnTo>
                  <a:lnTo>
                    <a:pt x="19804" y="3310"/>
                  </a:lnTo>
                  <a:lnTo>
                    <a:pt x="19804" y="3286"/>
                  </a:lnTo>
                  <a:lnTo>
                    <a:pt x="19807" y="3265"/>
                  </a:lnTo>
                  <a:lnTo>
                    <a:pt x="19816" y="3248"/>
                  </a:lnTo>
                  <a:lnTo>
                    <a:pt x="19827" y="3232"/>
                  </a:lnTo>
                  <a:lnTo>
                    <a:pt x="19847" y="3207"/>
                  </a:lnTo>
                  <a:lnTo>
                    <a:pt x="19854" y="3194"/>
                  </a:lnTo>
                  <a:lnTo>
                    <a:pt x="19856" y="3181"/>
                  </a:lnTo>
                  <a:lnTo>
                    <a:pt x="19854" y="3164"/>
                  </a:lnTo>
                  <a:lnTo>
                    <a:pt x="19850" y="3158"/>
                  </a:lnTo>
                  <a:lnTo>
                    <a:pt x="19846" y="3152"/>
                  </a:lnTo>
                  <a:lnTo>
                    <a:pt x="19824" y="3126"/>
                  </a:lnTo>
                  <a:lnTo>
                    <a:pt x="19814" y="3109"/>
                  </a:lnTo>
                  <a:lnTo>
                    <a:pt x="19806" y="3088"/>
                  </a:lnTo>
                  <a:lnTo>
                    <a:pt x="19805" y="3060"/>
                  </a:lnTo>
                  <a:lnTo>
                    <a:pt x="19806" y="3042"/>
                  </a:lnTo>
                  <a:lnTo>
                    <a:pt x="19809" y="3020"/>
                  </a:lnTo>
                  <a:lnTo>
                    <a:pt x="19811" y="3005"/>
                  </a:lnTo>
                  <a:lnTo>
                    <a:pt x="19811" y="2992"/>
                  </a:lnTo>
                  <a:lnTo>
                    <a:pt x="19809" y="2982"/>
                  </a:lnTo>
                  <a:lnTo>
                    <a:pt x="19805" y="2973"/>
                  </a:lnTo>
                  <a:lnTo>
                    <a:pt x="19792" y="2960"/>
                  </a:lnTo>
                  <a:lnTo>
                    <a:pt x="19775" y="2951"/>
                  </a:lnTo>
                  <a:lnTo>
                    <a:pt x="19757" y="2942"/>
                  </a:lnTo>
                  <a:lnTo>
                    <a:pt x="19738" y="2930"/>
                  </a:lnTo>
                  <a:lnTo>
                    <a:pt x="19720" y="2913"/>
                  </a:lnTo>
                  <a:lnTo>
                    <a:pt x="19712" y="2900"/>
                  </a:lnTo>
                  <a:lnTo>
                    <a:pt x="19706" y="2884"/>
                  </a:lnTo>
                  <a:lnTo>
                    <a:pt x="19691" y="2837"/>
                  </a:lnTo>
                  <a:lnTo>
                    <a:pt x="19686" y="2824"/>
                  </a:lnTo>
                  <a:lnTo>
                    <a:pt x="19683" y="2819"/>
                  </a:lnTo>
                  <a:lnTo>
                    <a:pt x="19680" y="2815"/>
                  </a:lnTo>
                  <a:lnTo>
                    <a:pt x="19671" y="2812"/>
                  </a:lnTo>
                  <a:lnTo>
                    <a:pt x="19657" y="2810"/>
                  </a:lnTo>
                  <a:lnTo>
                    <a:pt x="19607" y="2806"/>
                  </a:lnTo>
                  <a:lnTo>
                    <a:pt x="19591" y="2803"/>
                  </a:lnTo>
                  <a:lnTo>
                    <a:pt x="19577" y="2799"/>
                  </a:lnTo>
                  <a:lnTo>
                    <a:pt x="19555" y="2786"/>
                  </a:lnTo>
                  <a:lnTo>
                    <a:pt x="19547" y="2778"/>
                  </a:lnTo>
                  <a:lnTo>
                    <a:pt x="19539" y="2769"/>
                  </a:lnTo>
                  <a:lnTo>
                    <a:pt x="19527" y="2753"/>
                  </a:lnTo>
                  <a:lnTo>
                    <a:pt x="19514" y="2739"/>
                  </a:lnTo>
                  <a:lnTo>
                    <a:pt x="19507" y="2734"/>
                  </a:lnTo>
                  <a:lnTo>
                    <a:pt x="19500" y="2730"/>
                  </a:lnTo>
                  <a:lnTo>
                    <a:pt x="19491" y="2727"/>
                  </a:lnTo>
                  <a:lnTo>
                    <a:pt x="19479" y="2728"/>
                  </a:lnTo>
                  <a:lnTo>
                    <a:pt x="19452" y="2736"/>
                  </a:lnTo>
                  <a:lnTo>
                    <a:pt x="19421" y="2749"/>
                  </a:lnTo>
                  <a:lnTo>
                    <a:pt x="19405" y="2754"/>
                  </a:lnTo>
                  <a:lnTo>
                    <a:pt x="19388" y="2755"/>
                  </a:lnTo>
                  <a:lnTo>
                    <a:pt x="19366" y="2753"/>
                  </a:lnTo>
                  <a:lnTo>
                    <a:pt x="19347" y="2746"/>
                  </a:lnTo>
                  <a:lnTo>
                    <a:pt x="19316" y="2731"/>
                  </a:lnTo>
                  <a:lnTo>
                    <a:pt x="19301" y="2727"/>
                  </a:lnTo>
                  <a:lnTo>
                    <a:pt x="19293" y="2726"/>
                  </a:lnTo>
                  <a:lnTo>
                    <a:pt x="19287" y="2727"/>
                  </a:lnTo>
                  <a:lnTo>
                    <a:pt x="19270" y="2736"/>
                  </a:lnTo>
                  <a:lnTo>
                    <a:pt x="19251" y="2753"/>
                  </a:lnTo>
                  <a:lnTo>
                    <a:pt x="19230" y="2776"/>
                  </a:lnTo>
                  <a:lnTo>
                    <a:pt x="19214" y="2791"/>
                  </a:lnTo>
                  <a:lnTo>
                    <a:pt x="19200" y="2799"/>
                  </a:lnTo>
                  <a:lnTo>
                    <a:pt x="19187" y="2804"/>
                  </a:lnTo>
                  <a:lnTo>
                    <a:pt x="19157" y="2805"/>
                  </a:lnTo>
                  <a:lnTo>
                    <a:pt x="19138" y="2806"/>
                  </a:lnTo>
                  <a:lnTo>
                    <a:pt x="19112" y="2810"/>
                  </a:lnTo>
                  <a:lnTo>
                    <a:pt x="19098" y="2817"/>
                  </a:lnTo>
                  <a:lnTo>
                    <a:pt x="19093" y="2822"/>
                  </a:lnTo>
                  <a:lnTo>
                    <a:pt x="19088" y="2828"/>
                  </a:lnTo>
                  <a:lnTo>
                    <a:pt x="19082" y="2844"/>
                  </a:lnTo>
                  <a:lnTo>
                    <a:pt x="19078" y="2863"/>
                  </a:lnTo>
                  <a:lnTo>
                    <a:pt x="19071" y="2882"/>
                  </a:lnTo>
                  <a:lnTo>
                    <a:pt x="19064" y="2902"/>
                  </a:lnTo>
                  <a:lnTo>
                    <a:pt x="19050" y="2920"/>
                  </a:lnTo>
                  <a:lnTo>
                    <a:pt x="19041" y="2929"/>
                  </a:lnTo>
                  <a:lnTo>
                    <a:pt x="19029" y="2937"/>
                  </a:lnTo>
                  <a:lnTo>
                    <a:pt x="18985" y="2962"/>
                  </a:lnTo>
                  <a:lnTo>
                    <a:pt x="18974" y="2970"/>
                  </a:lnTo>
                  <a:lnTo>
                    <a:pt x="18967" y="2978"/>
                  </a:lnTo>
                  <a:lnTo>
                    <a:pt x="18965" y="2988"/>
                  </a:lnTo>
                  <a:lnTo>
                    <a:pt x="18966" y="3002"/>
                  </a:lnTo>
                  <a:lnTo>
                    <a:pt x="18974" y="3052"/>
                  </a:lnTo>
                  <a:lnTo>
                    <a:pt x="18974" y="3079"/>
                  </a:lnTo>
                  <a:lnTo>
                    <a:pt x="18967" y="3101"/>
                  </a:lnTo>
                  <a:lnTo>
                    <a:pt x="18956" y="3121"/>
                  </a:lnTo>
                  <a:lnTo>
                    <a:pt x="18941" y="3143"/>
                  </a:lnTo>
                  <a:lnTo>
                    <a:pt x="18926" y="3164"/>
                  </a:lnTo>
                  <a:lnTo>
                    <a:pt x="18923" y="3172"/>
                  </a:lnTo>
                  <a:lnTo>
                    <a:pt x="18921" y="3181"/>
                  </a:lnTo>
                  <a:lnTo>
                    <a:pt x="18924" y="3196"/>
                  </a:lnTo>
                  <a:lnTo>
                    <a:pt x="18928" y="3204"/>
                  </a:lnTo>
                  <a:lnTo>
                    <a:pt x="18932" y="3211"/>
                  </a:lnTo>
                  <a:lnTo>
                    <a:pt x="18953" y="3235"/>
                  </a:lnTo>
                  <a:lnTo>
                    <a:pt x="18964" y="3251"/>
                  </a:lnTo>
                  <a:lnTo>
                    <a:pt x="18970" y="3273"/>
                  </a:lnTo>
                  <a:lnTo>
                    <a:pt x="18973" y="3303"/>
                  </a:lnTo>
                  <a:lnTo>
                    <a:pt x="18971" y="3320"/>
                  </a:lnTo>
                  <a:lnTo>
                    <a:pt x="18969" y="3341"/>
                  </a:lnTo>
                  <a:lnTo>
                    <a:pt x="18966" y="3356"/>
                  </a:lnTo>
                  <a:lnTo>
                    <a:pt x="18966" y="3369"/>
                  </a:lnTo>
                  <a:lnTo>
                    <a:pt x="18969" y="3381"/>
                  </a:lnTo>
                  <a:lnTo>
                    <a:pt x="18973" y="3388"/>
                  </a:lnTo>
                  <a:lnTo>
                    <a:pt x="18984" y="3401"/>
                  </a:lnTo>
                  <a:lnTo>
                    <a:pt x="19001" y="3410"/>
                  </a:lnTo>
                  <a:lnTo>
                    <a:pt x="19020" y="3419"/>
                  </a:lnTo>
                  <a:lnTo>
                    <a:pt x="19039" y="3430"/>
                  </a:lnTo>
                  <a:lnTo>
                    <a:pt x="19057" y="3448"/>
                  </a:lnTo>
                  <a:lnTo>
                    <a:pt x="19065" y="3461"/>
                  </a:lnTo>
                  <a:lnTo>
                    <a:pt x="19071" y="3476"/>
                  </a:lnTo>
                  <a:lnTo>
                    <a:pt x="19085" y="3524"/>
                  </a:lnTo>
                  <a:lnTo>
                    <a:pt x="19091" y="3538"/>
                  </a:lnTo>
                  <a:lnTo>
                    <a:pt x="19093" y="3542"/>
                  </a:lnTo>
                  <a:lnTo>
                    <a:pt x="19097" y="3546"/>
                  </a:lnTo>
                  <a:lnTo>
                    <a:pt x="19106" y="3549"/>
                  </a:lnTo>
                  <a:lnTo>
                    <a:pt x="19120" y="3551"/>
                  </a:lnTo>
                  <a:lnTo>
                    <a:pt x="19170" y="3556"/>
                  </a:lnTo>
                  <a:lnTo>
                    <a:pt x="19187" y="3558"/>
                  </a:lnTo>
                  <a:lnTo>
                    <a:pt x="19201" y="3562"/>
                  </a:lnTo>
                  <a:lnTo>
                    <a:pt x="19221" y="3576"/>
                  </a:lnTo>
                  <a:lnTo>
                    <a:pt x="19230" y="3584"/>
                  </a:lnTo>
                  <a:lnTo>
                    <a:pt x="19238" y="3592"/>
                  </a:lnTo>
                  <a:lnTo>
                    <a:pt x="19251" y="3608"/>
                  </a:lnTo>
                  <a:lnTo>
                    <a:pt x="19262" y="3622"/>
                  </a:lnTo>
                  <a:lnTo>
                    <a:pt x="19270" y="3627"/>
                  </a:lnTo>
                  <a:lnTo>
                    <a:pt x="19278" y="3631"/>
                  </a:lnTo>
                  <a:lnTo>
                    <a:pt x="19287" y="3634"/>
                  </a:lnTo>
                  <a:lnTo>
                    <a:pt x="19297" y="3634"/>
                  </a:lnTo>
                  <a:lnTo>
                    <a:pt x="19325" y="3625"/>
                  </a:lnTo>
                  <a:lnTo>
                    <a:pt x="19347" y="3616"/>
                  </a:lnTo>
                  <a:lnTo>
                    <a:pt x="19369" y="3608"/>
                  </a:lnTo>
                  <a:lnTo>
                    <a:pt x="19369" y="3506"/>
                  </a:lnTo>
                  <a:lnTo>
                    <a:pt x="19364" y="3502"/>
                  </a:lnTo>
                  <a:lnTo>
                    <a:pt x="19360" y="3498"/>
                  </a:lnTo>
                  <a:lnTo>
                    <a:pt x="19359" y="3487"/>
                  </a:lnTo>
                  <a:lnTo>
                    <a:pt x="19264" y="3358"/>
                  </a:lnTo>
                  <a:lnTo>
                    <a:pt x="19260" y="3349"/>
                  </a:lnTo>
                  <a:lnTo>
                    <a:pt x="19260" y="3341"/>
                  </a:lnTo>
                  <a:lnTo>
                    <a:pt x="19264" y="3335"/>
                  </a:lnTo>
                  <a:lnTo>
                    <a:pt x="19269" y="3329"/>
                  </a:lnTo>
                  <a:lnTo>
                    <a:pt x="19275" y="3326"/>
                  </a:lnTo>
                  <a:lnTo>
                    <a:pt x="19283" y="3326"/>
                  </a:lnTo>
                  <a:lnTo>
                    <a:pt x="19289" y="3328"/>
                  </a:lnTo>
                  <a:lnTo>
                    <a:pt x="19297" y="3333"/>
                  </a:lnTo>
                  <a:lnTo>
                    <a:pt x="19369" y="3433"/>
                  </a:lnTo>
                  <a:lnTo>
                    <a:pt x="19369" y="3320"/>
                  </a:lnTo>
                  <a:lnTo>
                    <a:pt x="19262" y="3176"/>
                  </a:lnTo>
                  <a:lnTo>
                    <a:pt x="19259" y="3167"/>
                  </a:lnTo>
                  <a:lnTo>
                    <a:pt x="19259" y="3159"/>
                  </a:lnTo>
                  <a:lnTo>
                    <a:pt x="19262" y="3153"/>
                  </a:lnTo>
                  <a:lnTo>
                    <a:pt x="19268" y="3148"/>
                  </a:lnTo>
                  <a:lnTo>
                    <a:pt x="19274" y="3144"/>
                  </a:lnTo>
                  <a:lnTo>
                    <a:pt x="19282" y="3144"/>
                  </a:lnTo>
                  <a:lnTo>
                    <a:pt x="19289" y="3147"/>
                  </a:lnTo>
                  <a:lnTo>
                    <a:pt x="19296" y="3152"/>
                  </a:lnTo>
                  <a:lnTo>
                    <a:pt x="19369" y="3253"/>
                  </a:lnTo>
                  <a:lnTo>
                    <a:pt x="19369" y="3227"/>
                  </a:lnTo>
                  <a:lnTo>
                    <a:pt x="19369" y="3221"/>
                  </a:lnTo>
                  <a:close/>
                  <a:moveTo>
                    <a:pt x="22962" y="2597"/>
                  </a:moveTo>
                  <a:lnTo>
                    <a:pt x="22954" y="2597"/>
                  </a:lnTo>
                  <a:lnTo>
                    <a:pt x="22962" y="2597"/>
                  </a:lnTo>
                  <a:close/>
                  <a:moveTo>
                    <a:pt x="20013" y="2597"/>
                  </a:moveTo>
                  <a:lnTo>
                    <a:pt x="20006" y="2597"/>
                  </a:lnTo>
                  <a:lnTo>
                    <a:pt x="20013" y="2597"/>
                  </a:lnTo>
                  <a:close/>
                  <a:moveTo>
                    <a:pt x="19409" y="3491"/>
                  </a:moveTo>
                  <a:lnTo>
                    <a:pt x="19409" y="3498"/>
                  </a:lnTo>
                  <a:lnTo>
                    <a:pt x="19409" y="3491"/>
                  </a:lnTo>
                  <a:close/>
                  <a:moveTo>
                    <a:pt x="19369" y="3227"/>
                  </a:moveTo>
                  <a:lnTo>
                    <a:pt x="19369" y="3221"/>
                  </a:lnTo>
                  <a:lnTo>
                    <a:pt x="19369" y="3227"/>
                  </a:lnTo>
                  <a:close/>
                  <a:moveTo>
                    <a:pt x="20708" y="1885"/>
                  </a:moveTo>
                  <a:lnTo>
                    <a:pt x="20672" y="1152"/>
                  </a:lnTo>
                  <a:lnTo>
                    <a:pt x="20636" y="420"/>
                  </a:lnTo>
                  <a:lnTo>
                    <a:pt x="20345" y="420"/>
                  </a:lnTo>
                  <a:lnTo>
                    <a:pt x="20306" y="1139"/>
                  </a:lnTo>
                  <a:lnTo>
                    <a:pt x="20269" y="1858"/>
                  </a:lnTo>
                  <a:lnTo>
                    <a:pt x="20268" y="1867"/>
                  </a:lnTo>
                  <a:lnTo>
                    <a:pt x="20263" y="1872"/>
                  </a:lnTo>
                  <a:lnTo>
                    <a:pt x="20256" y="1876"/>
                  </a:lnTo>
                  <a:lnTo>
                    <a:pt x="20248" y="1877"/>
                  </a:lnTo>
                  <a:lnTo>
                    <a:pt x="20241" y="1874"/>
                  </a:lnTo>
                  <a:lnTo>
                    <a:pt x="20234" y="1870"/>
                  </a:lnTo>
                  <a:lnTo>
                    <a:pt x="20231" y="1864"/>
                  </a:lnTo>
                  <a:lnTo>
                    <a:pt x="20229" y="1855"/>
                  </a:lnTo>
                  <a:lnTo>
                    <a:pt x="20268" y="1126"/>
                  </a:lnTo>
                  <a:lnTo>
                    <a:pt x="20306" y="399"/>
                  </a:lnTo>
                  <a:lnTo>
                    <a:pt x="20307" y="392"/>
                  </a:lnTo>
                  <a:lnTo>
                    <a:pt x="20313" y="386"/>
                  </a:lnTo>
                  <a:lnTo>
                    <a:pt x="20318" y="382"/>
                  </a:lnTo>
                  <a:lnTo>
                    <a:pt x="20325" y="381"/>
                  </a:lnTo>
                  <a:lnTo>
                    <a:pt x="20655" y="381"/>
                  </a:lnTo>
                  <a:lnTo>
                    <a:pt x="20661" y="382"/>
                  </a:lnTo>
                  <a:lnTo>
                    <a:pt x="20668" y="386"/>
                  </a:lnTo>
                  <a:lnTo>
                    <a:pt x="20673" y="392"/>
                  </a:lnTo>
                  <a:lnTo>
                    <a:pt x="20674" y="399"/>
                  </a:lnTo>
                  <a:lnTo>
                    <a:pt x="20710" y="1140"/>
                  </a:lnTo>
                  <a:lnTo>
                    <a:pt x="20747" y="1882"/>
                  </a:lnTo>
                  <a:lnTo>
                    <a:pt x="20746" y="1891"/>
                  </a:lnTo>
                  <a:lnTo>
                    <a:pt x="20742" y="1897"/>
                  </a:lnTo>
                  <a:lnTo>
                    <a:pt x="20736" y="1901"/>
                  </a:lnTo>
                  <a:lnTo>
                    <a:pt x="20728" y="1902"/>
                  </a:lnTo>
                  <a:lnTo>
                    <a:pt x="20715" y="1899"/>
                  </a:lnTo>
                  <a:lnTo>
                    <a:pt x="20710" y="1892"/>
                  </a:lnTo>
                  <a:lnTo>
                    <a:pt x="20708" y="1885"/>
                  </a:lnTo>
                  <a:close/>
                  <a:moveTo>
                    <a:pt x="2868" y="3476"/>
                  </a:moveTo>
                  <a:lnTo>
                    <a:pt x="2980" y="3323"/>
                  </a:lnTo>
                  <a:lnTo>
                    <a:pt x="2953" y="3268"/>
                  </a:lnTo>
                  <a:lnTo>
                    <a:pt x="2939" y="3245"/>
                  </a:lnTo>
                  <a:lnTo>
                    <a:pt x="2925" y="3225"/>
                  </a:lnTo>
                  <a:lnTo>
                    <a:pt x="2911" y="3207"/>
                  </a:lnTo>
                  <a:lnTo>
                    <a:pt x="2897" y="3193"/>
                  </a:lnTo>
                  <a:lnTo>
                    <a:pt x="2883" y="3181"/>
                  </a:lnTo>
                  <a:lnTo>
                    <a:pt x="2868" y="3175"/>
                  </a:lnTo>
                  <a:lnTo>
                    <a:pt x="2868" y="3476"/>
                  </a:lnTo>
                  <a:close/>
                  <a:moveTo>
                    <a:pt x="2998" y="3365"/>
                  </a:moveTo>
                  <a:lnTo>
                    <a:pt x="2868" y="3544"/>
                  </a:lnTo>
                  <a:lnTo>
                    <a:pt x="2868" y="3753"/>
                  </a:lnTo>
                  <a:lnTo>
                    <a:pt x="3045" y="3507"/>
                  </a:lnTo>
                  <a:lnTo>
                    <a:pt x="3027" y="3445"/>
                  </a:lnTo>
                  <a:lnTo>
                    <a:pt x="2998" y="3365"/>
                  </a:lnTo>
                  <a:close/>
                  <a:moveTo>
                    <a:pt x="2716" y="3324"/>
                  </a:moveTo>
                  <a:lnTo>
                    <a:pt x="2829" y="3479"/>
                  </a:lnTo>
                  <a:lnTo>
                    <a:pt x="2829" y="3173"/>
                  </a:lnTo>
                  <a:lnTo>
                    <a:pt x="2813" y="3181"/>
                  </a:lnTo>
                  <a:lnTo>
                    <a:pt x="2798" y="3193"/>
                  </a:lnTo>
                  <a:lnTo>
                    <a:pt x="2790" y="3199"/>
                  </a:lnTo>
                  <a:lnTo>
                    <a:pt x="2783" y="3207"/>
                  </a:lnTo>
                  <a:lnTo>
                    <a:pt x="2768" y="3225"/>
                  </a:lnTo>
                  <a:lnTo>
                    <a:pt x="2742" y="3269"/>
                  </a:lnTo>
                  <a:lnTo>
                    <a:pt x="2715" y="3323"/>
                  </a:lnTo>
                  <a:lnTo>
                    <a:pt x="2716" y="3324"/>
                  </a:lnTo>
                  <a:close/>
                  <a:moveTo>
                    <a:pt x="3060" y="3557"/>
                  </a:moveTo>
                  <a:lnTo>
                    <a:pt x="2868" y="3820"/>
                  </a:lnTo>
                  <a:lnTo>
                    <a:pt x="2868" y="4028"/>
                  </a:lnTo>
                  <a:lnTo>
                    <a:pt x="3089" y="3725"/>
                  </a:lnTo>
                  <a:lnTo>
                    <a:pt x="3094" y="3718"/>
                  </a:lnTo>
                  <a:lnTo>
                    <a:pt x="3080" y="3640"/>
                  </a:lnTo>
                  <a:lnTo>
                    <a:pt x="3060" y="3557"/>
                  </a:lnTo>
                  <a:close/>
                  <a:moveTo>
                    <a:pt x="2654" y="3515"/>
                  </a:moveTo>
                  <a:lnTo>
                    <a:pt x="2829" y="3754"/>
                  </a:lnTo>
                  <a:lnTo>
                    <a:pt x="2829" y="3547"/>
                  </a:lnTo>
                  <a:lnTo>
                    <a:pt x="2698" y="3367"/>
                  </a:lnTo>
                  <a:lnTo>
                    <a:pt x="2672" y="3437"/>
                  </a:lnTo>
                  <a:lnTo>
                    <a:pt x="2650" y="3511"/>
                  </a:lnTo>
                  <a:lnTo>
                    <a:pt x="2654" y="3515"/>
                  </a:lnTo>
                  <a:close/>
                  <a:moveTo>
                    <a:pt x="3103" y="3773"/>
                  </a:moveTo>
                  <a:lnTo>
                    <a:pt x="2868" y="4095"/>
                  </a:lnTo>
                  <a:lnTo>
                    <a:pt x="2868" y="4102"/>
                  </a:lnTo>
                  <a:lnTo>
                    <a:pt x="2893" y="4098"/>
                  </a:lnTo>
                  <a:lnTo>
                    <a:pt x="2917" y="4093"/>
                  </a:lnTo>
                  <a:lnTo>
                    <a:pt x="2940" y="4085"/>
                  </a:lnTo>
                  <a:lnTo>
                    <a:pt x="2962" y="4076"/>
                  </a:lnTo>
                  <a:lnTo>
                    <a:pt x="2983" y="4065"/>
                  </a:lnTo>
                  <a:lnTo>
                    <a:pt x="3003" y="4051"/>
                  </a:lnTo>
                  <a:lnTo>
                    <a:pt x="3021" y="4037"/>
                  </a:lnTo>
                  <a:lnTo>
                    <a:pt x="3038" y="4020"/>
                  </a:lnTo>
                  <a:lnTo>
                    <a:pt x="3067" y="3982"/>
                  </a:lnTo>
                  <a:lnTo>
                    <a:pt x="3079" y="3961"/>
                  </a:lnTo>
                  <a:lnTo>
                    <a:pt x="3089" y="3939"/>
                  </a:lnTo>
                  <a:lnTo>
                    <a:pt x="3097" y="3916"/>
                  </a:lnTo>
                  <a:lnTo>
                    <a:pt x="3103" y="3893"/>
                  </a:lnTo>
                  <a:lnTo>
                    <a:pt x="3107" y="3868"/>
                  </a:lnTo>
                  <a:lnTo>
                    <a:pt x="3108" y="3843"/>
                  </a:lnTo>
                  <a:lnTo>
                    <a:pt x="3107" y="3811"/>
                  </a:lnTo>
                  <a:lnTo>
                    <a:pt x="3103" y="3773"/>
                  </a:lnTo>
                  <a:close/>
                  <a:moveTo>
                    <a:pt x="2603" y="3719"/>
                  </a:moveTo>
                  <a:lnTo>
                    <a:pt x="2829" y="4012"/>
                  </a:lnTo>
                  <a:lnTo>
                    <a:pt x="2829" y="3822"/>
                  </a:lnTo>
                  <a:lnTo>
                    <a:pt x="2638" y="3560"/>
                  </a:lnTo>
                  <a:lnTo>
                    <a:pt x="2618" y="3644"/>
                  </a:lnTo>
                  <a:lnTo>
                    <a:pt x="2603" y="3719"/>
                  </a:lnTo>
                  <a:close/>
                  <a:moveTo>
                    <a:pt x="2784" y="1296"/>
                  </a:moveTo>
                  <a:lnTo>
                    <a:pt x="2784" y="1465"/>
                  </a:lnTo>
                  <a:lnTo>
                    <a:pt x="2781" y="1474"/>
                  </a:lnTo>
                  <a:lnTo>
                    <a:pt x="2777" y="1480"/>
                  </a:lnTo>
                  <a:lnTo>
                    <a:pt x="2771" y="1484"/>
                  </a:lnTo>
                  <a:lnTo>
                    <a:pt x="2763" y="1486"/>
                  </a:lnTo>
                  <a:lnTo>
                    <a:pt x="2756" y="1484"/>
                  </a:lnTo>
                  <a:lnTo>
                    <a:pt x="2749" y="1480"/>
                  </a:lnTo>
                  <a:lnTo>
                    <a:pt x="2745" y="1474"/>
                  </a:lnTo>
                  <a:lnTo>
                    <a:pt x="2743" y="1465"/>
                  </a:lnTo>
                  <a:lnTo>
                    <a:pt x="2743" y="1296"/>
                  </a:lnTo>
                  <a:lnTo>
                    <a:pt x="2650" y="1296"/>
                  </a:lnTo>
                  <a:lnTo>
                    <a:pt x="2650" y="1465"/>
                  </a:lnTo>
                  <a:lnTo>
                    <a:pt x="2649" y="1474"/>
                  </a:lnTo>
                  <a:lnTo>
                    <a:pt x="2644" y="1480"/>
                  </a:lnTo>
                  <a:lnTo>
                    <a:pt x="2638" y="1484"/>
                  </a:lnTo>
                  <a:lnTo>
                    <a:pt x="2631" y="1486"/>
                  </a:lnTo>
                  <a:lnTo>
                    <a:pt x="2624" y="1484"/>
                  </a:lnTo>
                  <a:lnTo>
                    <a:pt x="2617" y="1480"/>
                  </a:lnTo>
                  <a:lnTo>
                    <a:pt x="2612" y="1474"/>
                  </a:lnTo>
                  <a:lnTo>
                    <a:pt x="2611" y="1465"/>
                  </a:lnTo>
                  <a:lnTo>
                    <a:pt x="2611" y="1296"/>
                  </a:lnTo>
                  <a:lnTo>
                    <a:pt x="2518" y="1296"/>
                  </a:lnTo>
                  <a:lnTo>
                    <a:pt x="2518" y="1465"/>
                  </a:lnTo>
                  <a:lnTo>
                    <a:pt x="2516" y="1474"/>
                  </a:lnTo>
                  <a:lnTo>
                    <a:pt x="2512" y="1480"/>
                  </a:lnTo>
                  <a:lnTo>
                    <a:pt x="2506" y="1484"/>
                  </a:lnTo>
                  <a:lnTo>
                    <a:pt x="2498" y="1486"/>
                  </a:lnTo>
                  <a:lnTo>
                    <a:pt x="2490" y="1484"/>
                  </a:lnTo>
                  <a:lnTo>
                    <a:pt x="2484" y="1480"/>
                  </a:lnTo>
                  <a:lnTo>
                    <a:pt x="2480" y="1474"/>
                  </a:lnTo>
                  <a:lnTo>
                    <a:pt x="2477" y="1465"/>
                  </a:lnTo>
                  <a:lnTo>
                    <a:pt x="2477" y="1296"/>
                  </a:lnTo>
                  <a:lnTo>
                    <a:pt x="2385" y="1296"/>
                  </a:lnTo>
                  <a:lnTo>
                    <a:pt x="2385" y="1465"/>
                  </a:lnTo>
                  <a:lnTo>
                    <a:pt x="2384" y="1474"/>
                  </a:lnTo>
                  <a:lnTo>
                    <a:pt x="2379" y="1480"/>
                  </a:lnTo>
                  <a:lnTo>
                    <a:pt x="2372" y="1484"/>
                  </a:lnTo>
                  <a:lnTo>
                    <a:pt x="2366" y="1486"/>
                  </a:lnTo>
                  <a:lnTo>
                    <a:pt x="2358" y="1484"/>
                  </a:lnTo>
                  <a:lnTo>
                    <a:pt x="2352" y="1480"/>
                  </a:lnTo>
                  <a:lnTo>
                    <a:pt x="2347" y="1474"/>
                  </a:lnTo>
                  <a:lnTo>
                    <a:pt x="2345" y="1465"/>
                  </a:lnTo>
                  <a:lnTo>
                    <a:pt x="2345" y="1296"/>
                  </a:lnTo>
                  <a:lnTo>
                    <a:pt x="2282" y="1296"/>
                  </a:lnTo>
                  <a:lnTo>
                    <a:pt x="2282" y="1634"/>
                  </a:lnTo>
                  <a:lnTo>
                    <a:pt x="2852" y="1634"/>
                  </a:lnTo>
                  <a:lnTo>
                    <a:pt x="2852" y="1296"/>
                  </a:lnTo>
                  <a:lnTo>
                    <a:pt x="2784" y="1296"/>
                  </a:lnTo>
                  <a:close/>
                  <a:moveTo>
                    <a:pt x="332" y="4356"/>
                  </a:moveTo>
                  <a:lnTo>
                    <a:pt x="322" y="4359"/>
                  </a:lnTo>
                  <a:lnTo>
                    <a:pt x="313" y="4356"/>
                  </a:lnTo>
                  <a:lnTo>
                    <a:pt x="0" y="4356"/>
                  </a:lnTo>
                  <a:lnTo>
                    <a:pt x="0" y="4317"/>
                  </a:lnTo>
                  <a:lnTo>
                    <a:pt x="64" y="4317"/>
                  </a:lnTo>
                  <a:lnTo>
                    <a:pt x="64" y="3833"/>
                  </a:lnTo>
                  <a:lnTo>
                    <a:pt x="0" y="3833"/>
                  </a:lnTo>
                  <a:lnTo>
                    <a:pt x="0" y="3792"/>
                  </a:lnTo>
                  <a:lnTo>
                    <a:pt x="197" y="3792"/>
                  </a:lnTo>
                  <a:lnTo>
                    <a:pt x="206" y="3795"/>
                  </a:lnTo>
                  <a:lnTo>
                    <a:pt x="213" y="3799"/>
                  </a:lnTo>
                  <a:lnTo>
                    <a:pt x="217" y="3805"/>
                  </a:lnTo>
                  <a:lnTo>
                    <a:pt x="218" y="3813"/>
                  </a:lnTo>
                  <a:lnTo>
                    <a:pt x="217" y="3820"/>
                  </a:lnTo>
                  <a:lnTo>
                    <a:pt x="213" y="3827"/>
                  </a:lnTo>
                  <a:lnTo>
                    <a:pt x="206" y="3831"/>
                  </a:lnTo>
                  <a:lnTo>
                    <a:pt x="197" y="3833"/>
                  </a:lnTo>
                  <a:lnTo>
                    <a:pt x="104" y="3833"/>
                  </a:lnTo>
                  <a:lnTo>
                    <a:pt x="104" y="4317"/>
                  </a:lnTo>
                  <a:lnTo>
                    <a:pt x="303" y="4317"/>
                  </a:lnTo>
                  <a:lnTo>
                    <a:pt x="303" y="3544"/>
                  </a:lnTo>
                  <a:lnTo>
                    <a:pt x="303" y="2772"/>
                  </a:lnTo>
                  <a:lnTo>
                    <a:pt x="304" y="2764"/>
                  </a:lnTo>
                  <a:lnTo>
                    <a:pt x="308" y="2758"/>
                  </a:lnTo>
                  <a:lnTo>
                    <a:pt x="314" y="2753"/>
                  </a:lnTo>
                  <a:lnTo>
                    <a:pt x="322" y="2751"/>
                  </a:lnTo>
                  <a:lnTo>
                    <a:pt x="440" y="2751"/>
                  </a:lnTo>
                  <a:lnTo>
                    <a:pt x="440" y="2579"/>
                  </a:lnTo>
                  <a:lnTo>
                    <a:pt x="441" y="2571"/>
                  </a:lnTo>
                  <a:lnTo>
                    <a:pt x="446" y="2565"/>
                  </a:lnTo>
                  <a:lnTo>
                    <a:pt x="453" y="2560"/>
                  </a:lnTo>
                  <a:lnTo>
                    <a:pt x="460" y="2558"/>
                  </a:lnTo>
                  <a:lnTo>
                    <a:pt x="541" y="2558"/>
                  </a:lnTo>
                  <a:lnTo>
                    <a:pt x="1007" y="2558"/>
                  </a:lnTo>
                  <a:lnTo>
                    <a:pt x="1997" y="2558"/>
                  </a:lnTo>
                  <a:lnTo>
                    <a:pt x="2004" y="2560"/>
                  </a:lnTo>
                  <a:lnTo>
                    <a:pt x="2011" y="2565"/>
                  </a:lnTo>
                  <a:lnTo>
                    <a:pt x="2014" y="2571"/>
                  </a:lnTo>
                  <a:lnTo>
                    <a:pt x="2017" y="2579"/>
                  </a:lnTo>
                  <a:lnTo>
                    <a:pt x="2017" y="2751"/>
                  </a:lnTo>
                  <a:lnTo>
                    <a:pt x="2098" y="2751"/>
                  </a:lnTo>
                  <a:lnTo>
                    <a:pt x="2098" y="2203"/>
                  </a:lnTo>
                  <a:lnTo>
                    <a:pt x="2098" y="1654"/>
                  </a:lnTo>
                  <a:lnTo>
                    <a:pt x="2099" y="1647"/>
                  </a:lnTo>
                  <a:lnTo>
                    <a:pt x="2103" y="1640"/>
                  </a:lnTo>
                  <a:lnTo>
                    <a:pt x="2109" y="1635"/>
                  </a:lnTo>
                  <a:lnTo>
                    <a:pt x="2117" y="1634"/>
                  </a:lnTo>
                  <a:lnTo>
                    <a:pt x="2243" y="1634"/>
                  </a:lnTo>
                  <a:lnTo>
                    <a:pt x="2243" y="1276"/>
                  </a:lnTo>
                  <a:lnTo>
                    <a:pt x="2244" y="1268"/>
                  </a:lnTo>
                  <a:lnTo>
                    <a:pt x="2249" y="1262"/>
                  </a:lnTo>
                  <a:lnTo>
                    <a:pt x="2254" y="1258"/>
                  </a:lnTo>
                  <a:lnTo>
                    <a:pt x="2262" y="1257"/>
                  </a:lnTo>
                  <a:lnTo>
                    <a:pt x="2872" y="1257"/>
                  </a:lnTo>
                  <a:lnTo>
                    <a:pt x="2880" y="1258"/>
                  </a:lnTo>
                  <a:lnTo>
                    <a:pt x="2886" y="1262"/>
                  </a:lnTo>
                  <a:lnTo>
                    <a:pt x="2890" y="1268"/>
                  </a:lnTo>
                  <a:lnTo>
                    <a:pt x="2893" y="1276"/>
                  </a:lnTo>
                  <a:lnTo>
                    <a:pt x="2893" y="1634"/>
                  </a:lnTo>
                  <a:lnTo>
                    <a:pt x="3017" y="1634"/>
                  </a:lnTo>
                  <a:lnTo>
                    <a:pt x="3025" y="1635"/>
                  </a:lnTo>
                  <a:lnTo>
                    <a:pt x="3031" y="1640"/>
                  </a:lnTo>
                  <a:lnTo>
                    <a:pt x="3035" y="1647"/>
                  </a:lnTo>
                  <a:lnTo>
                    <a:pt x="3038" y="1654"/>
                  </a:lnTo>
                  <a:lnTo>
                    <a:pt x="3038" y="2434"/>
                  </a:lnTo>
                  <a:lnTo>
                    <a:pt x="3038" y="3214"/>
                  </a:lnTo>
                  <a:lnTo>
                    <a:pt x="3035" y="3223"/>
                  </a:lnTo>
                  <a:lnTo>
                    <a:pt x="3031" y="3230"/>
                  </a:lnTo>
                  <a:lnTo>
                    <a:pt x="3025" y="3234"/>
                  </a:lnTo>
                  <a:lnTo>
                    <a:pt x="3017" y="3235"/>
                  </a:lnTo>
                  <a:lnTo>
                    <a:pt x="3010" y="3234"/>
                  </a:lnTo>
                  <a:lnTo>
                    <a:pt x="3003" y="3230"/>
                  </a:lnTo>
                  <a:lnTo>
                    <a:pt x="2999" y="3223"/>
                  </a:lnTo>
                  <a:lnTo>
                    <a:pt x="2998" y="3214"/>
                  </a:lnTo>
                  <a:lnTo>
                    <a:pt x="2998" y="2443"/>
                  </a:lnTo>
                  <a:lnTo>
                    <a:pt x="2998" y="1674"/>
                  </a:lnTo>
                  <a:lnTo>
                    <a:pt x="2138" y="1674"/>
                  </a:lnTo>
                  <a:lnTo>
                    <a:pt x="2138" y="2333"/>
                  </a:lnTo>
                  <a:lnTo>
                    <a:pt x="2138" y="2994"/>
                  </a:lnTo>
                  <a:lnTo>
                    <a:pt x="2138" y="3655"/>
                  </a:lnTo>
                  <a:lnTo>
                    <a:pt x="2138" y="4317"/>
                  </a:lnTo>
                  <a:lnTo>
                    <a:pt x="2829" y="4317"/>
                  </a:lnTo>
                  <a:lnTo>
                    <a:pt x="2829" y="4141"/>
                  </a:lnTo>
                  <a:lnTo>
                    <a:pt x="2799" y="4138"/>
                  </a:lnTo>
                  <a:lnTo>
                    <a:pt x="2771" y="4132"/>
                  </a:lnTo>
                  <a:lnTo>
                    <a:pt x="2744" y="4123"/>
                  </a:lnTo>
                  <a:lnTo>
                    <a:pt x="2731" y="4118"/>
                  </a:lnTo>
                  <a:lnTo>
                    <a:pt x="2718" y="4113"/>
                  </a:lnTo>
                  <a:lnTo>
                    <a:pt x="2694" y="4099"/>
                  </a:lnTo>
                  <a:lnTo>
                    <a:pt x="2671" y="4084"/>
                  </a:lnTo>
                  <a:lnTo>
                    <a:pt x="2649" y="4067"/>
                  </a:lnTo>
                  <a:lnTo>
                    <a:pt x="2630" y="4048"/>
                  </a:lnTo>
                  <a:lnTo>
                    <a:pt x="2612" y="4026"/>
                  </a:lnTo>
                  <a:lnTo>
                    <a:pt x="2595" y="4005"/>
                  </a:lnTo>
                  <a:lnTo>
                    <a:pt x="2581" y="3980"/>
                  </a:lnTo>
                  <a:lnTo>
                    <a:pt x="2570" y="3955"/>
                  </a:lnTo>
                  <a:lnTo>
                    <a:pt x="2561" y="3929"/>
                  </a:lnTo>
                  <a:lnTo>
                    <a:pt x="2554" y="3901"/>
                  </a:lnTo>
                  <a:lnTo>
                    <a:pt x="2549" y="3873"/>
                  </a:lnTo>
                  <a:lnTo>
                    <a:pt x="2548" y="3843"/>
                  </a:lnTo>
                  <a:lnTo>
                    <a:pt x="2549" y="3813"/>
                  </a:lnTo>
                  <a:lnTo>
                    <a:pt x="2554" y="3773"/>
                  </a:lnTo>
                  <a:lnTo>
                    <a:pt x="2570" y="3675"/>
                  </a:lnTo>
                  <a:lnTo>
                    <a:pt x="2581" y="3617"/>
                  </a:lnTo>
                  <a:lnTo>
                    <a:pt x="2595" y="3558"/>
                  </a:lnTo>
                  <a:lnTo>
                    <a:pt x="2630" y="3436"/>
                  </a:lnTo>
                  <a:lnTo>
                    <a:pt x="2650" y="3377"/>
                  </a:lnTo>
                  <a:lnTo>
                    <a:pt x="2674" y="3320"/>
                  </a:lnTo>
                  <a:lnTo>
                    <a:pt x="2698" y="3268"/>
                  </a:lnTo>
                  <a:lnTo>
                    <a:pt x="2725" y="3222"/>
                  </a:lnTo>
                  <a:lnTo>
                    <a:pt x="2753" y="3185"/>
                  </a:lnTo>
                  <a:lnTo>
                    <a:pt x="2783" y="3156"/>
                  </a:lnTo>
                  <a:lnTo>
                    <a:pt x="2799" y="3144"/>
                  </a:lnTo>
                  <a:lnTo>
                    <a:pt x="2815" y="3136"/>
                  </a:lnTo>
                  <a:lnTo>
                    <a:pt x="2831" y="3133"/>
                  </a:lnTo>
                  <a:lnTo>
                    <a:pt x="2848" y="3130"/>
                  </a:lnTo>
                  <a:lnTo>
                    <a:pt x="2866" y="3133"/>
                  </a:lnTo>
                  <a:lnTo>
                    <a:pt x="2883" y="3138"/>
                  </a:lnTo>
                  <a:lnTo>
                    <a:pt x="2899" y="3145"/>
                  </a:lnTo>
                  <a:lnTo>
                    <a:pt x="2915" y="3157"/>
                  </a:lnTo>
                  <a:lnTo>
                    <a:pt x="2945" y="3187"/>
                  </a:lnTo>
                  <a:lnTo>
                    <a:pt x="2953" y="3196"/>
                  </a:lnTo>
                  <a:lnTo>
                    <a:pt x="2960" y="3205"/>
                  </a:lnTo>
                  <a:lnTo>
                    <a:pt x="2974" y="3226"/>
                  </a:lnTo>
                  <a:lnTo>
                    <a:pt x="3001" y="3272"/>
                  </a:lnTo>
                  <a:lnTo>
                    <a:pt x="3024" y="3323"/>
                  </a:lnTo>
                  <a:lnTo>
                    <a:pt x="3045" y="3377"/>
                  </a:lnTo>
                  <a:lnTo>
                    <a:pt x="3065" y="3433"/>
                  </a:lnTo>
                  <a:lnTo>
                    <a:pt x="3083" y="3492"/>
                  </a:lnTo>
                  <a:lnTo>
                    <a:pt x="3099" y="3551"/>
                  </a:lnTo>
                  <a:lnTo>
                    <a:pt x="3113" y="3609"/>
                  </a:lnTo>
                  <a:lnTo>
                    <a:pt x="3125" y="3666"/>
                  </a:lnTo>
                  <a:lnTo>
                    <a:pt x="3135" y="3719"/>
                  </a:lnTo>
                  <a:lnTo>
                    <a:pt x="3142" y="3767"/>
                  </a:lnTo>
                  <a:lnTo>
                    <a:pt x="3147" y="3809"/>
                  </a:lnTo>
                  <a:lnTo>
                    <a:pt x="3148" y="3843"/>
                  </a:lnTo>
                  <a:lnTo>
                    <a:pt x="3147" y="3873"/>
                  </a:lnTo>
                  <a:lnTo>
                    <a:pt x="3143" y="3901"/>
                  </a:lnTo>
                  <a:lnTo>
                    <a:pt x="3135" y="3929"/>
                  </a:lnTo>
                  <a:lnTo>
                    <a:pt x="3126" y="3955"/>
                  </a:lnTo>
                  <a:lnTo>
                    <a:pt x="3115" y="3980"/>
                  </a:lnTo>
                  <a:lnTo>
                    <a:pt x="3101" y="4005"/>
                  </a:lnTo>
                  <a:lnTo>
                    <a:pt x="3067" y="4048"/>
                  </a:lnTo>
                  <a:lnTo>
                    <a:pt x="3025" y="4084"/>
                  </a:lnTo>
                  <a:lnTo>
                    <a:pt x="3002" y="4099"/>
                  </a:lnTo>
                  <a:lnTo>
                    <a:pt x="2977" y="4113"/>
                  </a:lnTo>
                  <a:lnTo>
                    <a:pt x="2952" y="4123"/>
                  </a:lnTo>
                  <a:lnTo>
                    <a:pt x="2925" y="4132"/>
                  </a:lnTo>
                  <a:lnTo>
                    <a:pt x="2897" y="4138"/>
                  </a:lnTo>
                  <a:lnTo>
                    <a:pt x="2868" y="4141"/>
                  </a:lnTo>
                  <a:lnTo>
                    <a:pt x="2868" y="4317"/>
                  </a:lnTo>
                  <a:lnTo>
                    <a:pt x="2998" y="4317"/>
                  </a:lnTo>
                  <a:lnTo>
                    <a:pt x="2998" y="4193"/>
                  </a:lnTo>
                  <a:lnTo>
                    <a:pt x="2999" y="4184"/>
                  </a:lnTo>
                  <a:lnTo>
                    <a:pt x="3003" y="4177"/>
                  </a:lnTo>
                  <a:lnTo>
                    <a:pt x="3010" y="4173"/>
                  </a:lnTo>
                  <a:lnTo>
                    <a:pt x="3017" y="4172"/>
                  </a:lnTo>
                  <a:lnTo>
                    <a:pt x="3025" y="4173"/>
                  </a:lnTo>
                  <a:lnTo>
                    <a:pt x="3031" y="4177"/>
                  </a:lnTo>
                  <a:lnTo>
                    <a:pt x="3035" y="4184"/>
                  </a:lnTo>
                  <a:lnTo>
                    <a:pt x="3038" y="4193"/>
                  </a:lnTo>
                  <a:lnTo>
                    <a:pt x="3038" y="4332"/>
                  </a:lnTo>
                  <a:lnTo>
                    <a:pt x="3036" y="4340"/>
                  </a:lnTo>
                  <a:lnTo>
                    <a:pt x="3031" y="4346"/>
                  </a:lnTo>
                  <a:lnTo>
                    <a:pt x="3025" y="4354"/>
                  </a:lnTo>
                  <a:lnTo>
                    <a:pt x="3013" y="4356"/>
                  </a:lnTo>
                  <a:lnTo>
                    <a:pt x="2343" y="4356"/>
                  </a:lnTo>
                  <a:lnTo>
                    <a:pt x="1672" y="4356"/>
                  </a:lnTo>
                  <a:lnTo>
                    <a:pt x="1001" y="4356"/>
                  </a:lnTo>
                  <a:lnTo>
                    <a:pt x="332" y="4356"/>
                  </a:lnTo>
                  <a:close/>
                  <a:moveTo>
                    <a:pt x="1458" y="2791"/>
                  </a:moveTo>
                  <a:lnTo>
                    <a:pt x="900" y="2791"/>
                  </a:lnTo>
                  <a:lnTo>
                    <a:pt x="342" y="2791"/>
                  </a:lnTo>
                  <a:lnTo>
                    <a:pt x="342" y="3553"/>
                  </a:lnTo>
                  <a:lnTo>
                    <a:pt x="342" y="4317"/>
                  </a:lnTo>
                  <a:lnTo>
                    <a:pt x="1218" y="4317"/>
                  </a:lnTo>
                  <a:lnTo>
                    <a:pt x="2095" y="4317"/>
                  </a:lnTo>
                  <a:lnTo>
                    <a:pt x="2095" y="3553"/>
                  </a:lnTo>
                  <a:lnTo>
                    <a:pt x="2095" y="2791"/>
                  </a:lnTo>
                  <a:lnTo>
                    <a:pt x="1723" y="2791"/>
                  </a:lnTo>
                  <a:lnTo>
                    <a:pt x="1714" y="2790"/>
                  </a:lnTo>
                  <a:lnTo>
                    <a:pt x="1708" y="2786"/>
                  </a:lnTo>
                  <a:lnTo>
                    <a:pt x="1704" y="2780"/>
                  </a:lnTo>
                  <a:lnTo>
                    <a:pt x="1703" y="2772"/>
                  </a:lnTo>
                  <a:lnTo>
                    <a:pt x="1704" y="2764"/>
                  </a:lnTo>
                  <a:lnTo>
                    <a:pt x="1708" y="2758"/>
                  </a:lnTo>
                  <a:lnTo>
                    <a:pt x="1714" y="2754"/>
                  </a:lnTo>
                  <a:lnTo>
                    <a:pt x="1723" y="2751"/>
                  </a:lnTo>
                  <a:lnTo>
                    <a:pt x="1976" y="2751"/>
                  </a:lnTo>
                  <a:lnTo>
                    <a:pt x="1976" y="2598"/>
                  </a:lnTo>
                  <a:lnTo>
                    <a:pt x="1025" y="2598"/>
                  </a:lnTo>
                  <a:lnTo>
                    <a:pt x="1018" y="2602"/>
                  </a:lnTo>
                  <a:lnTo>
                    <a:pt x="1010" y="2603"/>
                  </a:lnTo>
                  <a:lnTo>
                    <a:pt x="544" y="2603"/>
                  </a:lnTo>
                  <a:lnTo>
                    <a:pt x="536" y="2602"/>
                  </a:lnTo>
                  <a:lnTo>
                    <a:pt x="531" y="2598"/>
                  </a:lnTo>
                  <a:lnTo>
                    <a:pt x="480" y="2598"/>
                  </a:lnTo>
                  <a:lnTo>
                    <a:pt x="480" y="2751"/>
                  </a:lnTo>
                  <a:lnTo>
                    <a:pt x="1458" y="2751"/>
                  </a:lnTo>
                  <a:lnTo>
                    <a:pt x="1467" y="2754"/>
                  </a:lnTo>
                  <a:lnTo>
                    <a:pt x="1473" y="2758"/>
                  </a:lnTo>
                  <a:lnTo>
                    <a:pt x="1477" y="2764"/>
                  </a:lnTo>
                  <a:lnTo>
                    <a:pt x="1478" y="2772"/>
                  </a:lnTo>
                  <a:lnTo>
                    <a:pt x="1477" y="2780"/>
                  </a:lnTo>
                  <a:lnTo>
                    <a:pt x="1473" y="2786"/>
                  </a:lnTo>
                  <a:lnTo>
                    <a:pt x="1467" y="2790"/>
                  </a:lnTo>
                  <a:lnTo>
                    <a:pt x="1458" y="2791"/>
                  </a:lnTo>
                  <a:close/>
                  <a:moveTo>
                    <a:pt x="2829" y="4085"/>
                  </a:moveTo>
                  <a:lnTo>
                    <a:pt x="2829" y="4077"/>
                  </a:lnTo>
                  <a:lnTo>
                    <a:pt x="2594" y="3774"/>
                  </a:lnTo>
                  <a:lnTo>
                    <a:pt x="2590" y="3814"/>
                  </a:lnTo>
                  <a:lnTo>
                    <a:pt x="2588" y="3843"/>
                  </a:lnTo>
                  <a:lnTo>
                    <a:pt x="2589" y="3868"/>
                  </a:lnTo>
                  <a:lnTo>
                    <a:pt x="2593" y="3893"/>
                  </a:lnTo>
                  <a:lnTo>
                    <a:pt x="2599" y="3916"/>
                  </a:lnTo>
                  <a:lnTo>
                    <a:pt x="2607" y="3939"/>
                  </a:lnTo>
                  <a:lnTo>
                    <a:pt x="2617" y="3961"/>
                  </a:lnTo>
                  <a:lnTo>
                    <a:pt x="2629" y="3982"/>
                  </a:lnTo>
                  <a:lnTo>
                    <a:pt x="2643" y="4002"/>
                  </a:lnTo>
                  <a:lnTo>
                    <a:pt x="2658" y="4020"/>
                  </a:lnTo>
                  <a:lnTo>
                    <a:pt x="2675" y="4037"/>
                  </a:lnTo>
                  <a:lnTo>
                    <a:pt x="2693" y="4051"/>
                  </a:lnTo>
                  <a:lnTo>
                    <a:pt x="2713" y="4065"/>
                  </a:lnTo>
                  <a:lnTo>
                    <a:pt x="2734" y="4076"/>
                  </a:lnTo>
                  <a:lnTo>
                    <a:pt x="2756" y="4085"/>
                  </a:lnTo>
                  <a:lnTo>
                    <a:pt x="2779" y="4093"/>
                  </a:lnTo>
                  <a:lnTo>
                    <a:pt x="2803" y="4098"/>
                  </a:lnTo>
                  <a:lnTo>
                    <a:pt x="2829" y="4102"/>
                  </a:lnTo>
                  <a:lnTo>
                    <a:pt x="2829" y="4093"/>
                  </a:lnTo>
                  <a:lnTo>
                    <a:pt x="2829" y="4085"/>
                  </a:lnTo>
                  <a:close/>
                  <a:moveTo>
                    <a:pt x="1903" y="3824"/>
                  </a:moveTo>
                  <a:lnTo>
                    <a:pt x="1903" y="3937"/>
                  </a:lnTo>
                  <a:lnTo>
                    <a:pt x="1902" y="3946"/>
                  </a:lnTo>
                  <a:lnTo>
                    <a:pt x="1896" y="3952"/>
                  </a:lnTo>
                  <a:lnTo>
                    <a:pt x="1890" y="3956"/>
                  </a:lnTo>
                  <a:lnTo>
                    <a:pt x="1882" y="3957"/>
                  </a:lnTo>
                  <a:lnTo>
                    <a:pt x="1876" y="3956"/>
                  </a:lnTo>
                  <a:lnTo>
                    <a:pt x="1870" y="3952"/>
                  </a:lnTo>
                  <a:lnTo>
                    <a:pt x="1864" y="3946"/>
                  </a:lnTo>
                  <a:lnTo>
                    <a:pt x="1863" y="3937"/>
                  </a:lnTo>
                  <a:lnTo>
                    <a:pt x="1863" y="3824"/>
                  </a:lnTo>
                  <a:lnTo>
                    <a:pt x="1864" y="3817"/>
                  </a:lnTo>
                  <a:lnTo>
                    <a:pt x="1870" y="3810"/>
                  </a:lnTo>
                  <a:lnTo>
                    <a:pt x="1876" y="3806"/>
                  </a:lnTo>
                  <a:lnTo>
                    <a:pt x="1882" y="3805"/>
                  </a:lnTo>
                  <a:lnTo>
                    <a:pt x="1890" y="3806"/>
                  </a:lnTo>
                  <a:lnTo>
                    <a:pt x="1896" y="3810"/>
                  </a:lnTo>
                  <a:lnTo>
                    <a:pt x="1902" y="3817"/>
                  </a:lnTo>
                  <a:lnTo>
                    <a:pt x="1903" y="3824"/>
                  </a:lnTo>
                  <a:close/>
                  <a:moveTo>
                    <a:pt x="587" y="3118"/>
                  </a:moveTo>
                  <a:lnTo>
                    <a:pt x="587" y="3231"/>
                  </a:lnTo>
                  <a:lnTo>
                    <a:pt x="586" y="3240"/>
                  </a:lnTo>
                  <a:lnTo>
                    <a:pt x="581" y="3246"/>
                  </a:lnTo>
                  <a:lnTo>
                    <a:pt x="574" y="3250"/>
                  </a:lnTo>
                  <a:lnTo>
                    <a:pt x="567" y="3251"/>
                  </a:lnTo>
                  <a:lnTo>
                    <a:pt x="560" y="3250"/>
                  </a:lnTo>
                  <a:lnTo>
                    <a:pt x="554" y="3246"/>
                  </a:lnTo>
                  <a:lnTo>
                    <a:pt x="549" y="3240"/>
                  </a:lnTo>
                  <a:lnTo>
                    <a:pt x="548" y="3231"/>
                  </a:lnTo>
                  <a:lnTo>
                    <a:pt x="548" y="3118"/>
                  </a:lnTo>
                  <a:lnTo>
                    <a:pt x="549" y="3111"/>
                  </a:lnTo>
                  <a:lnTo>
                    <a:pt x="554" y="3104"/>
                  </a:lnTo>
                  <a:lnTo>
                    <a:pt x="560" y="3101"/>
                  </a:lnTo>
                  <a:lnTo>
                    <a:pt x="567" y="3099"/>
                  </a:lnTo>
                  <a:lnTo>
                    <a:pt x="574" y="3101"/>
                  </a:lnTo>
                  <a:lnTo>
                    <a:pt x="581" y="3104"/>
                  </a:lnTo>
                  <a:lnTo>
                    <a:pt x="586" y="3111"/>
                  </a:lnTo>
                  <a:lnTo>
                    <a:pt x="587" y="3118"/>
                  </a:lnTo>
                  <a:close/>
                  <a:moveTo>
                    <a:pt x="850" y="3118"/>
                  </a:moveTo>
                  <a:lnTo>
                    <a:pt x="850" y="3231"/>
                  </a:lnTo>
                  <a:lnTo>
                    <a:pt x="849" y="3240"/>
                  </a:lnTo>
                  <a:lnTo>
                    <a:pt x="844" y="3246"/>
                  </a:lnTo>
                  <a:lnTo>
                    <a:pt x="837" y="3250"/>
                  </a:lnTo>
                  <a:lnTo>
                    <a:pt x="831" y="3251"/>
                  </a:lnTo>
                  <a:lnTo>
                    <a:pt x="823" y="3250"/>
                  </a:lnTo>
                  <a:lnTo>
                    <a:pt x="817" y="3246"/>
                  </a:lnTo>
                  <a:lnTo>
                    <a:pt x="812" y="3240"/>
                  </a:lnTo>
                  <a:lnTo>
                    <a:pt x="810" y="3231"/>
                  </a:lnTo>
                  <a:lnTo>
                    <a:pt x="810" y="3118"/>
                  </a:lnTo>
                  <a:lnTo>
                    <a:pt x="812" y="3111"/>
                  </a:lnTo>
                  <a:lnTo>
                    <a:pt x="817" y="3104"/>
                  </a:lnTo>
                  <a:lnTo>
                    <a:pt x="823" y="3101"/>
                  </a:lnTo>
                  <a:lnTo>
                    <a:pt x="831" y="3099"/>
                  </a:lnTo>
                  <a:lnTo>
                    <a:pt x="837" y="3101"/>
                  </a:lnTo>
                  <a:lnTo>
                    <a:pt x="844" y="3104"/>
                  </a:lnTo>
                  <a:lnTo>
                    <a:pt x="849" y="3111"/>
                  </a:lnTo>
                  <a:lnTo>
                    <a:pt x="850" y="3118"/>
                  </a:lnTo>
                  <a:close/>
                  <a:moveTo>
                    <a:pt x="1113" y="3118"/>
                  </a:moveTo>
                  <a:lnTo>
                    <a:pt x="1113" y="3231"/>
                  </a:lnTo>
                  <a:lnTo>
                    <a:pt x="1112" y="3240"/>
                  </a:lnTo>
                  <a:lnTo>
                    <a:pt x="1107" y="3246"/>
                  </a:lnTo>
                  <a:lnTo>
                    <a:pt x="1100" y="3250"/>
                  </a:lnTo>
                  <a:lnTo>
                    <a:pt x="1094" y="3251"/>
                  </a:lnTo>
                  <a:lnTo>
                    <a:pt x="1086" y="3250"/>
                  </a:lnTo>
                  <a:lnTo>
                    <a:pt x="1080" y="3246"/>
                  </a:lnTo>
                  <a:lnTo>
                    <a:pt x="1076" y="3240"/>
                  </a:lnTo>
                  <a:lnTo>
                    <a:pt x="1073" y="3231"/>
                  </a:lnTo>
                  <a:lnTo>
                    <a:pt x="1073" y="3118"/>
                  </a:lnTo>
                  <a:lnTo>
                    <a:pt x="1076" y="3111"/>
                  </a:lnTo>
                  <a:lnTo>
                    <a:pt x="1080" y="3104"/>
                  </a:lnTo>
                  <a:lnTo>
                    <a:pt x="1086" y="3101"/>
                  </a:lnTo>
                  <a:lnTo>
                    <a:pt x="1094" y="3099"/>
                  </a:lnTo>
                  <a:lnTo>
                    <a:pt x="1100" y="3101"/>
                  </a:lnTo>
                  <a:lnTo>
                    <a:pt x="1107" y="3104"/>
                  </a:lnTo>
                  <a:lnTo>
                    <a:pt x="1112" y="3111"/>
                  </a:lnTo>
                  <a:lnTo>
                    <a:pt x="1113" y="3118"/>
                  </a:lnTo>
                  <a:close/>
                  <a:moveTo>
                    <a:pt x="1377" y="3118"/>
                  </a:moveTo>
                  <a:lnTo>
                    <a:pt x="1377" y="3231"/>
                  </a:lnTo>
                  <a:lnTo>
                    <a:pt x="1375" y="3240"/>
                  </a:lnTo>
                  <a:lnTo>
                    <a:pt x="1371" y="3246"/>
                  </a:lnTo>
                  <a:lnTo>
                    <a:pt x="1364" y="3250"/>
                  </a:lnTo>
                  <a:lnTo>
                    <a:pt x="1357" y="3251"/>
                  </a:lnTo>
                  <a:lnTo>
                    <a:pt x="1349" y="3250"/>
                  </a:lnTo>
                  <a:lnTo>
                    <a:pt x="1343" y="3246"/>
                  </a:lnTo>
                  <a:lnTo>
                    <a:pt x="1339" y="3240"/>
                  </a:lnTo>
                  <a:lnTo>
                    <a:pt x="1336" y="3231"/>
                  </a:lnTo>
                  <a:lnTo>
                    <a:pt x="1336" y="3118"/>
                  </a:lnTo>
                  <a:lnTo>
                    <a:pt x="1339" y="3111"/>
                  </a:lnTo>
                  <a:lnTo>
                    <a:pt x="1343" y="3104"/>
                  </a:lnTo>
                  <a:lnTo>
                    <a:pt x="1349" y="3101"/>
                  </a:lnTo>
                  <a:lnTo>
                    <a:pt x="1357" y="3099"/>
                  </a:lnTo>
                  <a:lnTo>
                    <a:pt x="1364" y="3101"/>
                  </a:lnTo>
                  <a:lnTo>
                    <a:pt x="1371" y="3104"/>
                  </a:lnTo>
                  <a:lnTo>
                    <a:pt x="1375" y="3111"/>
                  </a:lnTo>
                  <a:lnTo>
                    <a:pt x="1377" y="3118"/>
                  </a:lnTo>
                  <a:close/>
                  <a:moveTo>
                    <a:pt x="1640" y="3118"/>
                  </a:moveTo>
                  <a:lnTo>
                    <a:pt x="1640" y="3231"/>
                  </a:lnTo>
                  <a:lnTo>
                    <a:pt x="1637" y="3240"/>
                  </a:lnTo>
                  <a:lnTo>
                    <a:pt x="1634" y="3246"/>
                  </a:lnTo>
                  <a:lnTo>
                    <a:pt x="1627" y="3250"/>
                  </a:lnTo>
                  <a:lnTo>
                    <a:pt x="1620" y="3251"/>
                  </a:lnTo>
                  <a:lnTo>
                    <a:pt x="1612" y="3250"/>
                  </a:lnTo>
                  <a:lnTo>
                    <a:pt x="1605" y="3246"/>
                  </a:lnTo>
                  <a:lnTo>
                    <a:pt x="1602" y="3240"/>
                  </a:lnTo>
                  <a:lnTo>
                    <a:pt x="1600" y="3231"/>
                  </a:lnTo>
                  <a:lnTo>
                    <a:pt x="1600" y="3118"/>
                  </a:lnTo>
                  <a:lnTo>
                    <a:pt x="1602" y="3111"/>
                  </a:lnTo>
                  <a:lnTo>
                    <a:pt x="1605" y="3104"/>
                  </a:lnTo>
                  <a:lnTo>
                    <a:pt x="1612" y="3101"/>
                  </a:lnTo>
                  <a:lnTo>
                    <a:pt x="1620" y="3099"/>
                  </a:lnTo>
                  <a:lnTo>
                    <a:pt x="1627" y="3101"/>
                  </a:lnTo>
                  <a:lnTo>
                    <a:pt x="1634" y="3104"/>
                  </a:lnTo>
                  <a:lnTo>
                    <a:pt x="1637" y="3111"/>
                  </a:lnTo>
                  <a:lnTo>
                    <a:pt x="1640" y="3118"/>
                  </a:lnTo>
                  <a:close/>
                  <a:moveTo>
                    <a:pt x="1903" y="3118"/>
                  </a:moveTo>
                  <a:lnTo>
                    <a:pt x="1903" y="3231"/>
                  </a:lnTo>
                  <a:lnTo>
                    <a:pt x="1902" y="3240"/>
                  </a:lnTo>
                  <a:lnTo>
                    <a:pt x="1896" y="3246"/>
                  </a:lnTo>
                  <a:lnTo>
                    <a:pt x="1890" y="3250"/>
                  </a:lnTo>
                  <a:lnTo>
                    <a:pt x="1882" y="3251"/>
                  </a:lnTo>
                  <a:lnTo>
                    <a:pt x="1876" y="3250"/>
                  </a:lnTo>
                  <a:lnTo>
                    <a:pt x="1870" y="3246"/>
                  </a:lnTo>
                  <a:lnTo>
                    <a:pt x="1864" y="3240"/>
                  </a:lnTo>
                  <a:lnTo>
                    <a:pt x="1863" y="3231"/>
                  </a:lnTo>
                  <a:lnTo>
                    <a:pt x="1863" y="3118"/>
                  </a:lnTo>
                  <a:lnTo>
                    <a:pt x="1864" y="3111"/>
                  </a:lnTo>
                  <a:lnTo>
                    <a:pt x="1870" y="3104"/>
                  </a:lnTo>
                  <a:lnTo>
                    <a:pt x="1876" y="3101"/>
                  </a:lnTo>
                  <a:lnTo>
                    <a:pt x="1882" y="3099"/>
                  </a:lnTo>
                  <a:lnTo>
                    <a:pt x="1890" y="3101"/>
                  </a:lnTo>
                  <a:lnTo>
                    <a:pt x="1896" y="3104"/>
                  </a:lnTo>
                  <a:lnTo>
                    <a:pt x="1902" y="3111"/>
                  </a:lnTo>
                  <a:lnTo>
                    <a:pt x="1903" y="3118"/>
                  </a:lnTo>
                  <a:close/>
                  <a:moveTo>
                    <a:pt x="587" y="3354"/>
                  </a:moveTo>
                  <a:lnTo>
                    <a:pt x="587" y="3466"/>
                  </a:lnTo>
                  <a:lnTo>
                    <a:pt x="586" y="3475"/>
                  </a:lnTo>
                  <a:lnTo>
                    <a:pt x="581" y="3482"/>
                  </a:lnTo>
                  <a:lnTo>
                    <a:pt x="574" y="3485"/>
                  </a:lnTo>
                  <a:lnTo>
                    <a:pt x="567" y="3487"/>
                  </a:lnTo>
                  <a:lnTo>
                    <a:pt x="560" y="3485"/>
                  </a:lnTo>
                  <a:lnTo>
                    <a:pt x="554" y="3482"/>
                  </a:lnTo>
                  <a:lnTo>
                    <a:pt x="549" y="3475"/>
                  </a:lnTo>
                  <a:lnTo>
                    <a:pt x="548" y="3466"/>
                  </a:lnTo>
                  <a:lnTo>
                    <a:pt x="548" y="3354"/>
                  </a:lnTo>
                  <a:lnTo>
                    <a:pt x="549" y="3346"/>
                  </a:lnTo>
                  <a:lnTo>
                    <a:pt x="554" y="3340"/>
                  </a:lnTo>
                  <a:lnTo>
                    <a:pt x="560" y="3336"/>
                  </a:lnTo>
                  <a:lnTo>
                    <a:pt x="567" y="3335"/>
                  </a:lnTo>
                  <a:lnTo>
                    <a:pt x="574" y="3336"/>
                  </a:lnTo>
                  <a:lnTo>
                    <a:pt x="581" y="3340"/>
                  </a:lnTo>
                  <a:lnTo>
                    <a:pt x="586" y="3346"/>
                  </a:lnTo>
                  <a:lnTo>
                    <a:pt x="587" y="3354"/>
                  </a:lnTo>
                  <a:close/>
                  <a:moveTo>
                    <a:pt x="850" y="3354"/>
                  </a:moveTo>
                  <a:lnTo>
                    <a:pt x="850" y="3466"/>
                  </a:lnTo>
                  <a:lnTo>
                    <a:pt x="849" y="3475"/>
                  </a:lnTo>
                  <a:lnTo>
                    <a:pt x="844" y="3482"/>
                  </a:lnTo>
                  <a:lnTo>
                    <a:pt x="837" y="3485"/>
                  </a:lnTo>
                  <a:lnTo>
                    <a:pt x="831" y="3487"/>
                  </a:lnTo>
                  <a:lnTo>
                    <a:pt x="823" y="3485"/>
                  </a:lnTo>
                  <a:lnTo>
                    <a:pt x="817" y="3482"/>
                  </a:lnTo>
                  <a:lnTo>
                    <a:pt x="812" y="3475"/>
                  </a:lnTo>
                  <a:lnTo>
                    <a:pt x="810" y="3466"/>
                  </a:lnTo>
                  <a:lnTo>
                    <a:pt x="810" y="3354"/>
                  </a:lnTo>
                  <a:lnTo>
                    <a:pt x="812" y="3346"/>
                  </a:lnTo>
                  <a:lnTo>
                    <a:pt x="817" y="3340"/>
                  </a:lnTo>
                  <a:lnTo>
                    <a:pt x="823" y="3336"/>
                  </a:lnTo>
                  <a:lnTo>
                    <a:pt x="831" y="3335"/>
                  </a:lnTo>
                  <a:lnTo>
                    <a:pt x="837" y="3336"/>
                  </a:lnTo>
                  <a:lnTo>
                    <a:pt x="844" y="3340"/>
                  </a:lnTo>
                  <a:lnTo>
                    <a:pt x="849" y="3346"/>
                  </a:lnTo>
                  <a:lnTo>
                    <a:pt x="850" y="3354"/>
                  </a:lnTo>
                  <a:close/>
                  <a:moveTo>
                    <a:pt x="1113" y="3354"/>
                  </a:moveTo>
                  <a:lnTo>
                    <a:pt x="1113" y="3466"/>
                  </a:lnTo>
                  <a:lnTo>
                    <a:pt x="1112" y="3475"/>
                  </a:lnTo>
                  <a:lnTo>
                    <a:pt x="1107" y="3482"/>
                  </a:lnTo>
                  <a:lnTo>
                    <a:pt x="1100" y="3485"/>
                  </a:lnTo>
                  <a:lnTo>
                    <a:pt x="1094" y="3487"/>
                  </a:lnTo>
                  <a:lnTo>
                    <a:pt x="1086" y="3485"/>
                  </a:lnTo>
                  <a:lnTo>
                    <a:pt x="1080" y="3482"/>
                  </a:lnTo>
                  <a:lnTo>
                    <a:pt x="1076" y="3475"/>
                  </a:lnTo>
                  <a:lnTo>
                    <a:pt x="1073" y="3466"/>
                  </a:lnTo>
                  <a:lnTo>
                    <a:pt x="1073" y="3354"/>
                  </a:lnTo>
                  <a:lnTo>
                    <a:pt x="1076" y="3346"/>
                  </a:lnTo>
                  <a:lnTo>
                    <a:pt x="1080" y="3340"/>
                  </a:lnTo>
                  <a:lnTo>
                    <a:pt x="1086" y="3336"/>
                  </a:lnTo>
                  <a:lnTo>
                    <a:pt x="1094" y="3335"/>
                  </a:lnTo>
                  <a:lnTo>
                    <a:pt x="1100" y="3336"/>
                  </a:lnTo>
                  <a:lnTo>
                    <a:pt x="1107" y="3340"/>
                  </a:lnTo>
                  <a:lnTo>
                    <a:pt x="1112" y="3346"/>
                  </a:lnTo>
                  <a:lnTo>
                    <a:pt x="1113" y="3354"/>
                  </a:lnTo>
                  <a:close/>
                  <a:moveTo>
                    <a:pt x="1377" y="3354"/>
                  </a:moveTo>
                  <a:lnTo>
                    <a:pt x="1377" y="3466"/>
                  </a:lnTo>
                  <a:lnTo>
                    <a:pt x="1375" y="3475"/>
                  </a:lnTo>
                  <a:lnTo>
                    <a:pt x="1371" y="3482"/>
                  </a:lnTo>
                  <a:lnTo>
                    <a:pt x="1364" y="3485"/>
                  </a:lnTo>
                  <a:lnTo>
                    <a:pt x="1357" y="3487"/>
                  </a:lnTo>
                  <a:lnTo>
                    <a:pt x="1349" y="3485"/>
                  </a:lnTo>
                  <a:lnTo>
                    <a:pt x="1343" y="3482"/>
                  </a:lnTo>
                  <a:lnTo>
                    <a:pt x="1339" y="3475"/>
                  </a:lnTo>
                  <a:lnTo>
                    <a:pt x="1336" y="3466"/>
                  </a:lnTo>
                  <a:lnTo>
                    <a:pt x="1336" y="3354"/>
                  </a:lnTo>
                  <a:lnTo>
                    <a:pt x="1339" y="3346"/>
                  </a:lnTo>
                  <a:lnTo>
                    <a:pt x="1343" y="3340"/>
                  </a:lnTo>
                  <a:lnTo>
                    <a:pt x="1349" y="3336"/>
                  </a:lnTo>
                  <a:lnTo>
                    <a:pt x="1357" y="3335"/>
                  </a:lnTo>
                  <a:lnTo>
                    <a:pt x="1364" y="3336"/>
                  </a:lnTo>
                  <a:lnTo>
                    <a:pt x="1371" y="3340"/>
                  </a:lnTo>
                  <a:lnTo>
                    <a:pt x="1375" y="3346"/>
                  </a:lnTo>
                  <a:lnTo>
                    <a:pt x="1377" y="3354"/>
                  </a:lnTo>
                  <a:close/>
                  <a:moveTo>
                    <a:pt x="1640" y="3354"/>
                  </a:moveTo>
                  <a:lnTo>
                    <a:pt x="1640" y="3466"/>
                  </a:lnTo>
                  <a:lnTo>
                    <a:pt x="1637" y="3475"/>
                  </a:lnTo>
                  <a:lnTo>
                    <a:pt x="1634" y="3482"/>
                  </a:lnTo>
                  <a:lnTo>
                    <a:pt x="1627" y="3485"/>
                  </a:lnTo>
                  <a:lnTo>
                    <a:pt x="1620" y="3487"/>
                  </a:lnTo>
                  <a:lnTo>
                    <a:pt x="1612" y="3485"/>
                  </a:lnTo>
                  <a:lnTo>
                    <a:pt x="1605" y="3482"/>
                  </a:lnTo>
                  <a:lnTo>
                    <a:pt x="1602" y="3475"/>
                  </a:lnTo>
                  <a:lnTo>
                    <a:pt x="1600" y="3466"/>
                  </a:lnTo>
                  <a:lnTo>
                    <a:pt x="1600" y="3354"/>
                  </a:lnTo>
                  <a:lnTo>
                    <a:pt x="1602" y="3346"/>
                  </a:lnTo>
                  <a:lnTo>
                    <a:pt x="1605" y="3340"/>
                  </a:lnTo>
                  <a:lnTo>
                    <a:pt x="1612" y="3336"/>
                  </a:lnTo>
                  <a:lnTo>
                    <a:pt x="1620" y="3335"/>
                  </a:lnTo>
                  <a:lnTo>
                    <a:pt x="1627" y="3336"/>
                  </a:lnTo>
                  <a:lnTo>
                    <a:pt x="1634" y="3340"/>
                  </a:lnTo>
                  <a:lnTo>
                    <a:pt x="1637" y="3346"/>
                  </a:lnTo>
                  <a:lnTo>
                    <a:pt x="1640" y="3354"/>
                  </a:lnTo>
                  <a:close/>
                  <a:moveTo>
                    <a:pt x="1903" y="3354"/>
                  </a:moveTo>
                  <a:lnTo>
                    <a:pt x="1903" y="3466"/>
                  </a:lnTo>
                  <a:lnTo>
                    <a:pt x="1902" y="3475"/>
                  </a:lnTo>
                  <a:lnTo>
                    <a:pt x="1896" y="3482"/>
                  </a:lnTo>
                  <a:lnTo>
                    <a:pt x="1890" y="3485"/>
                  </a:lnTo>
                  <a:lnTo>
                    <a:pt x="1882" y="3487"/>
                  </a:lnTo>
                  <a:lnTo>
                    <a:pt x="1876" y="3485"/>
                  </a:lnTo>
                  <a:lnTo>
                    <a:pt x="1870" y="3482"/>
                  </a:lnTo>
                  <a:lnTo>
                    <a:pt x="1864" y="3475"/>
                  </a:lnTo>
                  <a:lnTo>
                    <a:pt x="1863" y="3466"/>
                  </a:lnTo>
                  <a:lnTo>
                    <a:pt x="1863" y="3354"/>
                  </a:lnTo>
                  <a:lnTo>
                    <a:pt x="1864" y="3346"/>
                  </a:lnTo>
                  <a:lnTo>
                    <a:pt x="1870" y="3340"/>
                  </a:lnTo>
                  <a:lnTo>
                    <a:pt x="1876" y="3336"/>
                  </a:lnTo>
                  <a:lnTo>
                    <a:pt x="1882" y="3335"/>
                  </a:lnTo>
                  <a:lnTo>
                    <a:pt x="1890" y="3336"/>
                  </a:lnTo>
                  <a:lnTo>
                    <a:pt x="1896" y="3340"/>
                  </a:lnTo>
                  <a:lnTo>
                    <a:pt x="1902" y="3346"/>
                  </a:lnTo>
                  <a:lnTo>
                    <a:pt x="1903" y="3354"/>
                  </a:lnTo>
                  <a:close/>
                  <a:moveTo>
                    <a:pt x="587" y="3589"/>
                  </a:moveTo>
                  <a:lnTo>
                    <a:pt x="587" y="3702"/>
                  </a:lnTo>
                  <a:lnTo>
                    <a:pt x="586" y="3710"/>
                  </a:lnTo>
                  <a:lnTo>
                    <a:pt x="581" y="3717"/>
                  </a:lnTo>
                  <a:lnTo>
                    <a:pt x="574" y="3721"/>
                  </a:lnTo>
                  <a:lnTo>
                    <a:pt x="567" y="3722"/>
                  </a:lnTo>
                  <a:lnTo>
                    <a:pt x="560" y="3721"/>
                  </a:lnTo>
                  <a:lnTo>
                    <a:pt x="554" y="3717"/>
                  </a:lnTo>
                  <a:lnTo>
                    <a:pt x="549" y="3710"/>
                  </a:lnTo>
                  <a:lnTo>
                    <a:pt x="548" y="3702"/>
                  </a:lnTo>
                  <a:lnTo>
                    <a:pt x="548" y="3589"/>
                  </a:lnTo>
                  <a:lnTo>
                    <a:pt x="549" y="3581"/>
                  </a:lnTo>
                  <a:lnTo>
                    <a:pt x="554" y="3575"/>
                  </a:lnTo>
                  <a:lnTo>
                    <a:pt x="560" y="3571"/>
                  </a:lnTo>
                  <a:lnTo>
                    <a:pt x="567" y="3570"/>
                  </a:lnTo>
                  <a:lnTo>
                    <a:pt x="574" y="3571"/>
                  </a:lnTo>
                  <a:lnTo>
                    <a:pt x="581" y="3575"/>
                  </a:lnTo>
                  <a:lnTo>
                    <a:pt x="586" y="3581"/>
                  </a:lnTo>
                  <a:lnTo>
                    <a:pt x="587" y="3589"/>
                  </a:lnTo>
                  <a:close/>
                  <a:moveTo>
                    <a:pt x="850" y="3589"/>
                  </a:moveTo>
                  <a:lnTo>
                    <a:pt x="850" y="3702"/>
                  </a:lnTo>
                  <a:lnTo>
                    <a:pt x="849" y="3710"/>
                  </a:lnTo>
                  <a:lnTo>
                    <a:pt x="844" y="3717"/>
                  </a:lnTo>
                  <a:lnTo>
                    <a:pt x="837" y="3721"/>
                  </a:lnTo>
                  <a:lnTo>
                    <a:pt x="831" y="3722"/>
                  </a:lnTo>
                  <a:lnTo>
                    <a:pt x="823" y="3721"/>
                  </a:lnTo>
                  <a:lnTo>
                    <a:pt x="817" y="3717"/>
                  </a:lnTo>
                  <a:lnTo>
                    <a:pt x="812" y="3710"/>
                  </a:lnTo>
                  <a:lnTo>
                    <a:pt x="810" y="3702"/>
                  </a:lnTo>
                  <a:lnTo>
                    <a:pt x="810" y="3589"/>
                  </a:lnTo>
                  <a:lnTo>
                    <a:pt x="812" y="3581"/>
                  </a:lnTo>
                  <a:lnTo>
                    <a:pt x="817" y="3575"/>
                  </a:lnTo>
                  <a:lnTo>
                    <a:pt x="823" y="3571"/>
                  </a:lnTo>
                  <a:lnTo>
                    <a:pt x="831" y="3570"/>
                  </a:lnTo>
                  <a:lnTo>
                    <a:pt x="837" y="3571"/>
                  </a:lnTo>
                  <a:lnTo>
                    <a:pt x="844" y="3575"/>
                  </a:lnTo>
                  <a:lnTo>
                    <a:pt x="849" y="3581"/>
                  </a:lnTo>
                  <a:lnTo>
                    <a:pt x="850" y="3589"/>
                  </a:lnTo>
                  <a:close/>
                  <a:moveTo>
                    <a:pt x="1113" y="3589"/>
                  </a:moveTo>
                  <a:lnTo>
                    <a:pt x="1113" y="3702"/>
                  </a:lnTo>
                  <a:lnTo>
                    <a:pt x="1112" y="3710"/>
                  </a:lnTo>
                  <a:lnTo>
                    <a:pt x="1107" y="3717"/>
                  </a:lnTo>
                  <a:lnTo>
                    <a:pt x="1100" y="3721"/>
                  </a:lnTo>
                  <a:lnTo>
                    <a:pt x="1094" y="3722"/>
                  </a:lnTo>
                  <a:lnTo>
                    <a:pt x="1086" y="3721"/>
                  </a:lnTo>
                  <a:lnTo>
                    <a:pt x="1080" y="3717"/>
                  </a:lnTo>
                  <a:lnTo>
                    <a:pt x="1076" y="3710"/>
                  </a:lnTo>
                  <a:lnTo>
                    <a:pt x="1073" y="3702"/>
                  </a:lnTo>
                  <a:lnTo>
                    <a:pt x="1073" y="3589"/>
                  </a:lnTo>
                  <a:lnTo>
                    <a:pt x="1076" y="3581"/>
                  </a:lnTo>
                  <a:lnTo>
                    <a:pt x="1080" y="3575"/>
                  </a:lnTo>
                  <a:lnTo>
                    <a:pt x="1086" y="3571"/>
                  </a:lnTo>
                  <a:lnTo>
                    <a:pt x="1094" y="3570"/>
                  </a:lnTo>
                  <a:lnTo>
                    <a:pt x="1100" y="3571"/>
                  </a:lnTo>
                  <a:lnTo>
                    <a:pt x="1107" y="3575"/>
                  </a:lnTo>
                  <a:lnTo>
                    <a:pt x="1112" y="3581"/>
                  </a:lnTo>
                  <a:lnTo>
                    <a:pt x="1113" y="3589"/>
                  </a:lnTo>
                  <a:close/>
                  <a:moveTo>
                    <a:pt x="1377" y="3589"/>
                  </a:moveTo>
                  <a:lnTo>
                    <a:pt x="1377" y="3702"/>
                  </a:lnTo>
                  <a:lnTo>
                    <a:pt x="1375" y="3710"/>
                  </a:lnTo>
                  <a:lnTo>
                    <a:pt x="1371" y="3717"/>
                  </a:lnTo>
                  <a:lnTo>
                    <a:pt x="1364" y="3721"/>
                  </a:lnTo>
                  <a:lnTo>
                    <a:pt x="1357" y="3722"/>
                  </a:lnTo>
                  <a:lnTo>
                    <a:pt x="1349" y="3721"/>
                  </a:lnTo>
                  <a:lnTo>
                    <a:pt x="1343" y="3717"/>
                  </a:lnTo>
                  <a:lnTo>
                    <a:pt x="1339" y="3710"/>
                  </a:lnTo>
                  <a:lnTo>
                    <a:pt x="1336" y="3702"/>
                  </a:lnTo>
                  <a:lnTo>
                    <a:pt x="1336" y="3589"/>
                  </a:lnTo>
                  <a:lnTo>
                    <a:pt x="1339" y="3581"/>
                  </a:lnTo>
                  <a:lnTo>
                    <a:pt x="1343" y="3575"/>
                  </a:lnTo>
                  <a:lnTo>
                    <a:pt x="1349" y="3571"/>
                  </a:lnTo>
                  <a:lnTo>
                    <a:pt x="1357" y="3570"/>
                  </a:lnTo>
                  <a:lnTo>
                    <a:pt x="1364" y="3571"/>
                  </a:lnTo>
                  <a:lnTo>
                    <a:pt x="1371" y="3575"/>
                  </a:lnTo>
                  <a:lnTo>
                    <a:pt x="1375" y="3581"/>
                  </a:lnTo>
                  <a:lnTo>
                    <a:pt x="1377" y="3589"/>
                  </a:lnTo>
                  <a:close/>
                  <a:moveTo>
                    <a:pt x="1640" y="3589"/>
                  </a:moveTo>
                  <a:lnTo>
                    <a:pt x="1640" y="3702"/>
                  </a:lnTo>
                  <a:lnTo>
                    <a:pt x="1637" y="3710"/>
                  </a:lnTo>
                  <a:lnTo>
                    <a:pt x="1634" y="3717"/>
                  </a:lnTo>
                  <a:lnTo>
                    <a:pt x="1627" y="3721"/>
                  </a:lnTo>
                  <a:lnTo>
                    <a:pt x="1620" y="3722"/>
                  </a:lnTo>
                  <a:lnTo>
                    <a:pt x="1612" y="3721"/>
                  </a:lnTo>
                  <a:lnTo>
                    <a:pt x="1605" y="3717"/>
                  </a:lnTo>
                  <a:lnTo>
                    <a:pt x="1602" y="3710"/>
                  </a:lnTo>
                  <a:lnTo>
                    <a:pt x="1600" y="3702"/>
                  </a:lnTo>
                  <a:lnTo>
                    <a:pt x="1600" y="3589"/>
                  </a:lnTo>
                  <a:lnTo>
                    <a:pt x="1602" y="3581"/>
                  </a:lnTo>
                  <a:lnTo>
                    <a:pt x="1605" y="3575"/>
                  </a:lnTo>
                  <a:lnTo>
                    <a:pt x="1612" y="3571"/>
                  </a:lnTo>
                  <a:lnTo>
                    <a:pt x="1620" y="3570"/>
                  </a:lnTo>
                  <a:lnTo>
                    <a:pt x="1627" y="3571"/>
                  </a:lnTo>
                  <a:lnTo>
                    <a:pt x="1634" y="3575"/>
                  </a:lnTo>
                  <a:lnTo>
                    <a:pt x="1637" y="3581"/>
                  </a:lnTo>
                  <a:lnTo>
                    <a:pt x="1640" y="3589"/>
                  </a:lnTo>
                  <a:close/>
                  <a:moveTo>
                    <a:pt x="1903" y="3589"/>
                  </a:moveTo>
                  <a:lnTo>
                    <a:pt x="1903" y="3702"/>
                  </a:lnTo>
                  <a:lnTo>
                    <a:pt x="1902" y="3710"/>
                  </a:lnTo>
                  <a:lnTo>
                    <a:pt x="1896" y="3717"/>
                  </a:lnTo>
                  <a:lnTo>
                    <a:pt x="1890" y="3721"/>
                  </a:lnTo>
                  <a:lnTo>
                    <a:pt x="1882" y="3722"/>
                  </a:lnTo>
                  <a:lnTo>
                    <a:pt x="1876" y="3721"/>
                  </a:lnTo>
                  <a:lnTo>
                    <a:pt x="1870" y="3717"/>
                  </a:lnTo>
                  <a:lnTo>
                    <a:pt x="1864" y="3710"/>
                  </a:lnTo>
                  <a:lnTo>
                    <a:pt x="1863" y="3702"/>
                  </a:lnTo>
                  <a:lnTo>
                    <a:pt x="1863" y="3589"/>
                  </a:lnTo>
                  <a:lnTo>
                    <a:pt x="1864" y="3581"/>
                  </a:lnTo>
                  <a:lnTo>
                    <a:pt x="1870" y="3575"/>
                  </a:lnTo>
                  <a:lnTo>
                    <a:pt x="1876" y="3571"/>
                  </a:lnTo>
                  <a:lnTo>
                    <a:pt x="1882" y="3570"/>
                  </a:lnTo>
                  <a:lnTo>
                    <a:pt x="1890" y="3571"/>
                  </a:lnTo>
                  <a:lnTo>
                    <a:pt x="1896" y="3575"/>
                  </a:lnTo>
                  <a:lnTo>
                    <a:pt x="1902" y="3581"/>
                  </a:lnTo>
                  <a:lnTo>
                    <a:pt x="1903" y="3589"/>
                  </a:lnTo>
                  <a:close/>
                  <a:moveTo>
                    <a:pt x="587" y="3824"/>
                  </a:moveTo>
                  <a:lnTo>
                    <a:pt x="587" y="3937"/>
                  </a:lnTo>
                  <a:lnTo>
                    <a:pt x="586" y="3946"/>
                  </a:lnTo>
                  <a:lnTo>
                    <a:pt x="581" y="3952"/>
                  </a:lnTo>
                  <a:lnTo>
                    <a:pt x="574" y="3956"/>
                  </a:lnTo>
                  <a:lnTo>
                    <a:pt x="567" y="3957"/>
                  </a:lnTo>
                  <a:lnTo>
                    <a:pt x="560" y="3956"/>
                  </a:lnTo>
                  <a:lnTo>
                    <a:pt x="554" y="3952"/>
                  </a:lnTo>
                  <a:lnTo>
                    <a:pt x="549" y="3946"/>
                  </a:lnTo>
                  <a:lnTo>
                    <a:pt x="548" y="3937"/>
                  </a:lnTo>
                  <a:lnTo>
                    <a:pt x="548" y="3824"/>
                  </a:lnTo>
                  <a:lnTo>
                    <a:pt x="549" y="3817"/>
                  </a:lnTo>
                  <a:lnTo>
                    <a:pt x="554" y="3810"/>
                  </a:lnTo>
                  <a:lnTo>
                    <a:pt x="560" y="3806"/>
                  </a:lnTo>
                  <a:lnTo>
                    <a:pt x="567" y="3805"/>
                  </a:lnTo>
                  <a:lnTo>
                    <a:pt x="574" y="3806"/>
                  </a:lnTo>
                  <a:lnTo>
                    <a:pt x="581" y="3810"/>
                  </a:lnTo>
                  <a:lnTo>
                    <a:pt x="586" y="3817"/>
                  </a:lnTo>
                  <a:lnTo>
                    <a:pt x="587" y="3824"/>
                  </a:lnTo>
                  <a:close/>
                  <a:moveTo>
                    <a:pt x="850" y="3824"/>
                  </a:moveTo>
                  <a:lnTo>
                    <a:pt x="850" y="3937"/>
                  </a:lnTo>
                  <a:lnTo>
                    <a:pt x="849" y="3946"/>
                  </a:lnTo>
                  <a:lnTo>
                    <a:pt x="844" y="3952"/>
                  </a:lnTo>
                  <a:lnTo>
                    <a:pt x="837" y="3956"/>
                  </a:lnTo>
                  <a:lnTo>
                    <a:pt x="831" y="3957"/>
                  </a:lnTo>
                  <a:lnTo>
                    <a:pt x="823" y="3956"/>
                  </a:lnTo>
                  <a:lnTo>
                    <a:pt x="817" y="3952"/>
                  </a:lnTo>
                  <a:lnTo>
                    <a:pt x="812" y="3946"/>
                  </a:lnTo>
                  <a:lnTo>
                    <a:pt x="810" y="3937"/>
                  </a:lnTo>
                  <a:lnTo>
                    <a:pt x="810" y="3824"/>
                  </a:lnTo>
                  <a:lnTo>
                    <a:pt x="812" y="3817"/>
                  </a:lnTo>
                  <a:lnTo>
                    <a:pt x="817" y="3810"/>
                  </a:lnTo>
                  <a:lnTo>
                    <a:pt x="823" y="3806"/>
                  </a:lnTo>
                  <a:lnTo>
                    <a:pt x="831" y="3805"/>
                  </a:lnTo>
                  <a:lnTo>
                    <a:pt x="837" y="3806"/>
                  </a:lnTo>
                  <a:lnTo>
                    <a:pt x="844" y="3810"/>
                  </a:lnTo>
                  <a:lnTo>
                    <a:pt x="849" y="3817"/>
                  </a:lnTo>
                  <a:lnTo>
                    <a:pt x="850" y="3824"/>
                  </a:lnTo>
                  <a:close/>
                  <a:moveTo>
                    <a:pt x="1113" y="3824"/>
                  </a:moveTo>
                  <a:lnTo>
                    <a:pt x="1113" y="3937"/>
                  </a:lnTo>
                  <a:lnTo>
                    <a:pt x="1112" y="3946"/>
                  </a:lnTo>
                  <a:lnTo>
                    <a:pt x="1107" y="3952"/>
                  </a:lnTo>
                  <a:lnTo>
                    <a:pt x="1100" y="3956"/>
                  </a:lnTo>
                  <a:lnTo>
                    <a:pt x="1094" y="3957"/>
                  </a:lnTo>
                  <a:lnTo>
                    <a:pt x="1086" y="3956"/>
                  </a:lnTo>
                  <a:lnTo>
                    <a:pt x="1080" y="3952"/>
                  </a:lnTo>
                  <a:lnTo>
                    <a:pt x="1076" y="3946"/>
                  </a:lnTo>
                  <a:lnTo>
                    <a:pt x="1073" y="3937"/>
                  </a:lnTo>
                  <a:lnTo>
                    <a:pt x="1073" y="3824"/>
                  </a:lnTo>
                  <a:lnTo>
                    <a:pt x="1076" y="3817"/>
                  </a:lnTo>
                  <a:lnTo>
                    <a:pt x="1080" y="3810"/>
                  </a:lnTo>
                  <a:lnTo>
                    <a:pt x="1086" y="3806"/>
                  </a:lnTo>
                  <a:lnTo>
                    <a:pt x="1094" y="3805"/>
                  </a:lnTo>
                  <a:lnTo>
                    <a:pt x="1100" y="3806"/>
                  </a:lnTo>
                  <a:lnTo>
                    <a:pt x="1107" y="3810"/>
                  </a:lnTo>
                  <a:lnTo>
                    <a:pt x="1112" y="3817"/>
                  </a:lnTo>
                  <a:lnTo>
                    <a:pt x="1113" y="3824"/>
                  </a:lnTo>
                  <a:close/>
                  <a:moveTo>
                    <a:pt x="1377" y="3824"/>
                  </a:moveTo>
                  <a:lnTo>
                    <a:pt x="1377" y="3937"/>
                  </a:lnTo>
                  <a:lnTo>
                    <a:pt x="1375" y="3946"/>
                  </a:lnTo>
                  <a:lnTo>
                    <a:pt x="1371" y="3952"/>
                  </a:lnTo>
                  <a:lnTo>
                    <a:pt x="1364" y="3956"/>
                  </a:lnTo>
                  <a:lnTo>
                    <a:pt x="1357" y="3957"/>
                  </a:lnTo>
                  <a:lnTo>
                    <a:pt x="1349" y="3956"/>
                  </a:lnTo>
                  <a:lnTo>
                    <a:pt x="1343" y="3952"/>
                  </a:lnTo>
                  <a:lnTo>
                    <a:pt x="1339" y="3946"/>
                  </a:lnTo>
                  <a:lnTo>
                    <a:pt x="1336" y="3937"/>
                  </a:lnTo>
                  <a:lnTo>
                    <a:pt x="1336" y="3824"/>
                  </a:lnTo>
                  <a:lnTo>
                    <a:pt x="1339" y="3817"/>
                  </a:lnTo>
                  <a:lnTo>
                    <a:pt x="1343" y="3810"/>
                  </a:lnTo>
                  <a:lnTo>
                    <a:pt x="1349" y="3806"/>
                  </a:lnTo>
                  <a:lnTo>
                    <a:pt x="1357" y="3805"/>
                  </a:lnTo>
                  <a:lnTo>
                    <a:pt x="1364" y="3806"/>
                  </a:lnTo>
                  <a:lnTo>
                    <a:pt x="1371" y="3810"/>
                  </a:lnTo>
                  <a:lnTo>
                    <a:pt x="1375" y="3817"/>
                  </a:lnTo>
                  <a:lnTo>
                    <a:pt x="1377" y="3824"/>
                  </a:lnTo>
                  <a:close/>
                  <a:moveTo>
                    <a:pt x="1640" y="3824"/>
                  </a:moveTo>
                  <a:lnTo>
                    <a:pt x="1640" y="3937"/>
                  </a:lnTo>
                  <a:lnTo>
                    <a:pt x="1637" y="3946"/>
                  </a:lnTo>
                  <a:lnTo>
                    <a:pt x="1634" y="3952"/>
                  </a:lnTo>
                  <a:lnTo>
                    <a:pt x="1627" y="3956"/>
                  </a:lnTo>
                  <a:lnTo>
                    <a:pt x="1620" y="3957"/>
                  </a:lnTo>
                  <a:lnTo>
                    <a:pt x="1612" y="3956"/>
                  </a:lnTo>
                  <a:lnTo>
                    <a:pt x="1605" y="3952"/>
                  </a:lnTo>
                  <a:lnTo>
                    <a:pt x="1602" y="3946"/>
                  </a:lnTo>
                  <a:lnTo>
                    <a:pt x="1600" y="3937"/>
                  </a:lnTo>
                  <a:lnTo>
                    <a:pt x="1600" y="3824"/>
                  </a:lnTo>
                  <a:lnTo>
                    <a:pt x="1602" y="3817"/>
                  </a:lnTo>
                  <a:lnTo>
                    <a:pt x="1605" y="3810"/>
                  </a:lnTo>
                  <a:lnTo>
                    <a:pt x="1612" y="3806"/>
                  </a:lnTo>
                  <a:lnTo>
                    <a:pt x="1620" y="3805"/>
                  </a:lnTo>
                  <a:lnTo>
                    <a:pt x="1627" y="3806"/>
                  </a:lnTo>
                  <a:lnTo>
                    <a:pt x="1634" y="3810"/>
                  </a:lnTo>
                  <a:lnTo>
                    <a:pt x="1637" y="3817"/>
                  </a:lnTo>
                  <a:lnTo>
                    <a:pt x="1640" y="3824"/>
                  </a:lnTo>
                  <a:close/>
                  <a:moveTo>
                    <a:pt x="2829" y="4093"/>
                  </a:moveTo>
                  <a:lnTo>
                    <a:pt x="2829" y="4085"/>
                  </a:lnTo>
                  <a:lnTo>
                    <a:pt x="2829" y="4093"/>
                  </a:lnTo>
                  <a:close/>
                  <a:moveTo>
                    <a:pt x="0" y="915"/>
                  </a:moveTo>
                  <a:lnTo>
                    <a:pt x="492" y="915"/>
                  </a:lnTo>
                  <a:lnTo>
                    <a:pt x="500" y="917"/>
                  </a:lnTo>
                  <a:lnTo>
                    <a:pt x="507" y="922"/>
                  </a:lnTo>
                  <a:lnTo>
                    <a:pt x="512" y="928"/>
                  </a:lnTo>
                  <a:lnTo>
                    <a:pt x="513" y="936"/>
                  </a:lnTo>
                  <a:lnTo>
                    <a:pt x="513" y="1633"/>
                  </a:lnTo>
                  <a:lnTo>
                    <a:pt x="513" y="2329"/>
                  </a:lnTo>
                  <a:lnTo>
                    <a:pt x="512" y="2338"/>
                  </a:lnTo>
                  <a:lnTo>
                    <a:pt x="507" y="2345"/>
                  </a:lnTo>
                  <a:lnTo>
                    <a:pt x="500" y="2349"/>
                  </a:lnTo>
                  <a:lnTo>
                    <a:pt x="492" y="2350"/>
                  </a:lnTo>
                  <a:lnTo>
                    <a:pt x="486" y="2349"/>
                  </a:lnTo>
                  <a:lnTo>
                    <a:pt x="480" y="2345"/>
                  </a:lnTo>
                  <a:lnTo>
                    <a:pt x="474" y="2338"/>
                  </a:lnTo>
                  <a:lnTo>
                    <a:pt x="473" y="2329"/>
                  </a:lnTo>
                  <a:lnTo>
                    <a:pt x="473" y="1642"/>
                  </a:lnTo>
                  <a:lnTo>
                    <a:pt x="473" y="955"/>
                  </a:lnTo>
                  <a:lnTo>
                    <a:pt x="0" y="955"/>
                  </a:lnTo>
                  <a:lnTo>
                    <a:pt x="0" y="915"/>
                  </a:lnTo>
                  <a:close/>
                  <a:moveTo>
                    <a:pt x="190" y="1345"/>
                  </a:moveTo>
                  <a:lnTo>
                    <a:pt x="190" y="1450"/>
                  </a:lnTo>
                  <a:lnTo>
                    <a:pt x="188" y="1457"/>
                  </a:lnTo>
                  <a:lnTo>
                    <a:pt x="183" y="1464"/>
                  </a:lnTo>
                  <a:lnTo>
                    <a:pt x="177" y="1468"/>
                  </a:lnTo>
                  <a:lnTo>
                    <a:pt x="171" y="1469"/>
                  </a:lnTo>
                  <a:lnTo>
                    <a:pt x="163" y="1468"/>
                  </a:lnTo>
                  <a:lnTo>
                    <a:pt x="156" y="1464"/>
                  </a:lnTo>
                  <a:lnTo>
                    <a:pt x="151" y="1457"/>
                  </a:lnTo>
                  <a:lnTo>
                    <a:pt x="150" y="1450"/>
                  </a:lnTo>
                  <a:lnTo>
                    <a:pt x="150" y="1345"/>
                  </a:lnTo>
                  <a:lnTo>
                    <a:pt x="151" y="1337"/>
                  </a:lnTo>
                  <a:lnTo>
                    <a:pt x="156" y="1331"/>
                  </a:lnTo>
                  <a:lnTo>
                    <a:pt x="163" y="1327"/>
                  </a:lnTo>
                  <a:lnTo>
                    <a:pt x="171" y="1326"/>
                  </a:lnTo>
                  <a:lnTo>
                    <a:pt x="177" y="1327"/>
                  </a:lnTo>
                  <a:lnTo>
                    <a:pt x="183" y="1331"/>
                  </a:lnTo>
                  <a:lnTo>
                    <a:pt x="188" y="1337"/>
                  </a:lnTo>
                  <a:lnTo>
                    <a:pt x="190" y="1345"/>
                  </a:lnTo>
                  <a:close/>
                  <a:moveTo>
                    <a:pt x="190" y="1576"/>
                  </a:moveTo>
                  <a:lnTo>
                    <a:pt x="190" y="1680"/>
                  </a:lnTo>
                  <a:lnTo>
                    <a:pt x="188" y="1689"/>
                  </a:lnTo>
                  <a:lnTo>
                    <a:pt x="183" y="1695"/>
                  </a:lnTo>
                  <a:lnTo>
                    <a:pt x="177" y="1699"/>
                  </a:lnTo>
                  <a:lnTo>
                    <a:pt x="171" y="1700"/>
                  </a:lnTo>
                  <a:lnTo>
                    <a:pt x="163" y="1699"/>
                  </a:lnTo>
                  <a:lnTo>
                    <a:pt x="156" y="1695"/>
                  </a:lnTo>
                  <a:lnTo>
                    <a:pt x="151" y="1689"/>
                  </a:lnTo>
                  <a:lnTo>
                    <a:pt x="150" y="1680"/>
                  </a:lnTo>
                  <a:lnTo>
                    <a:pt x="150" y="1576"/>
                  </a:lnTo>
                  <a:lnTo>
                    <a:pt x="151" y="1567"/>
                  </a:lnTo>
                  <a:lnTo>
                    <a:pt x="156" y="1561"/>
                  </a:lnTo>
                  <a:lnTo>
                    <a:pt x="163" y="1558"/>
                  </a:lnTo>
                  <a:lnTo>
                    <a:pt x="171" y="1557"/>
                  </a:lnTo>
                  <a:lnTo>
                    <a:pt x="177" y="1558"/>
                  </a:lnTo>
                  <a:lnTo>
                    <a:pt x="183" y="1561"/>
                  </a:lnTo>
                  <a:lnTo>
                    <a:pt x="188" y="1567"/>
                  </a:lnTo>
                  <a:lnTo>
                    <a:pt x="190" y="1576"/>
                  </a:lnTo>
                  <a:close/>
                  <a:moveTo>
                    <a:pt x="190" y="1808"/>
                  </a:moveTo>
                  <a:lnTo>
                    <a:pt x="190" y="1911"/>
                  </a:lnTo>
                  <a:lnTo>
                    <a:pt x="188" y="1920"/>
                  </a:lnTo>
                  <a:lnTo>
                    <a:pt x="183" y="1927"/>
                  </a:lnTo>
                  <a:lnTo>
                    <a:pt x="177" y="1931"/>
                  </a:lnTo>
                  <a:lnTo>
                    <a:pt x="171" y="1932"/>
                  </a:lnTo>
                  <a:lnTo>
                    <a:pt x="163" y="1931"/>
                  </a:lnTo>
                  <a:lnTo>
                    <a:pt x="156" y="1927"/>
                  </a:lnTo>
                  <a:lnTo>
                    <a:pt x="151" y="1920"/>
                  </a:lnTo>
                  <a:lnTo>
                    <a:pt x="150" y="1911"/>
                  </a:lnTo>
                  <a:lnTo>
                    <a:pt x="150" y="1808"/>
                  </a:lnTo>
                  <a:lnTo>
                    <a:pt x="151" y="1799"/>
                  </a:lnTo>
                  <a:lnTo>
                    <a:pt x="156" y="1792"/>
                  </a:lnTo>
                  <a:lnTo>
                    <a:pt x="163" y="1789"/>
                  </a:lnTo>
                  <a:lnTo>
                    <a:pt x="171" y="1787"/>
                  </a:lnTo>
                  <a:lnTo>
                    <a:pt x="177" y="1789"/>
                  </a:lnTo>
                  <a:lnTo>
                    <a:pt x="183" y="1792"/>
                  </a:lnTo>
                  <a:lnTo>
                    <a:pt x="188" y="1799"/>
                  </a:lnTo>
                  <a:lnTo>
                    <a:pt x="190" y="1808"/>
                  </a:lnTo>
                  <a:close/>
                  <a:moveTo>
                    <a:pt x="190" y="2039"/>
                  </a:moveTo>
                  <a:lnTo>
                    <a:pt x="190" y="2143"/>
                  </a:lnTo>
                  <a:lnTo>
                    <a:pt x="188" y="2150"/>
                  </a:lnTo>
                  <a:lnTo>
                    <a:pt x="183" y="2157"/>
                  </a:lnTo>
                  <a:lnTo>
                    <a:pt x="177" y="2161"/>
                  </a:lnTo>
                  <a:lnTo>
                    <a:pt x="171" y="2162"/>
                  </a:lnTo>
                  <a:lnTo>
                    <a:pt x="163" y="2161"/>
                  </a:lnTo>
                  <a:lnTo>
                    <a:pt x="156" y="2157"/>
                  </a:lnTo>
                  <a:lnTo>
                    <a:pt x="151" y="2150"/>
                  </a:lnTo>
                  <a:lnTo>
                    <a:pt x="150" y="2143"/>
                  </a:lnTo>
                  <a:lnTo>
                    <a:pt x="150" y="2039"/>
                  </a:lnTo>
                  <a:lnTo>
                    <a:pt x="151" y="2030"/>
                  </a:lnTo>
                  <a:lnTo>
                    <a:pt x="156" y="2024"/>
                  </a:lnTo>
                  <a:lnTo>
                    <a:pt x="163" y="2020"/>
                  </a:lnTo>
                  <a:lnTo>
                    <a:pt x="171" y="2019"/>
                  </a:lnTo>
                  <a:lnTo>
                    <a:pt x="177" y="2020"/>
                  </a:lnTo>
                  <a:lnTo>
                    <a:pt x="183" y="2024"/>
                  </a:lnTo>
                  <a:lnTo>
                    <a:pt x="188" y="2030"/>
                  </a:lnTo>
                  <a:lnTo>
                    <a:pt x="190" y="2039"/>
                  </a:lnTo>
                  <a:close/>
                  <a:moveTo>
                    <a:pt x="190" y="2269"/>
                  </a:moveTo>
                  <a:lnTo>
                    <a:pt x="190" y="2373"/>
                  </a:lnTo>
                  <a:lnTo>
                    <a:pt x="188" y="2382"/>
                  </a:lnTo>
                  <a:lnTo>
                    <a:pt x="183" y="2388"/>
                  </a:lnTo>
                  <a:lnTo>
                    <a:pt x="177" y="2392"/>
                  </a:lnTo>
                  <a:lnTo>
                    <a:pt x="171" y="2393"/>
                  </a:lnTo>
                  <a:lnTo>
                    <a:pt x="163" y="2392"/>
                  </a:lnTo>
                  <a:lnTo>
                    <a:pt x="156" y="2388"/>
                  </a:lnTo>
                  <a:lnTo>
                    <a:pt x="151" y="2382"/>
                  </a:lnTo>
                  <a:lnTo>
                    <a:pt x="150" y="2373"/>
                  </a:lnTo>
                  <a:lnTo>
                    <a:pt x="150" y="2269"/>
                  </a:lnTo>
                  <a:lnTo>
                    <a:pt x="151" y="2260"/>
                  </a:lnTo>
                  <a:lnTo>
                    <a:pt x="156" y="2255"/>
                  </a:lnTo>
                  <a:lnTo>
                    <a:pt x="163" y="2251"/>
                  </a:lnTo>
                  <a:lnTo>
                    <a:pt x="171" y="2250"/>
                  </a:lnTo>
                  <a:lnTo>
                    <a:pt x="177" y="2251"/>
                  </a:lnTo>
                  <a:lnTo>
                    <a:pt x="183" y="2255"/>
                  </a:lnTo>
                  <a:lnTo>
                    <a:pt x="188" y="2260"/>
                  </a:lnTo>
                  <a:lnTo>
                    <a:pt x="190" y="2269"/>
                  </a:lnTo>
                  <a:close/>
                  <a:moveTo>
                    <a:pt x="190" y="2501"/>
                  </a:moveTo>
                  <a:lnTo>
                    <a:pt x="190" y="2604"/>
                  </a:lnTo>
                  <a:lnTo>
                    <a:pt x="188" y="2613"/>
                  </a:lnTo>
                  <a:lnTo>
                    <a:pt x="183" y="2620"/>
                  </a:lnTo>
                  <a:lnTo>
                    <a:pt x="177" y="2624"/>
                  </a:lnTo>
                  <a:lnTo>
                    <a:pt x="171" y="2625"/>
                  </a:lnTo>
                  <a:lnTo>
                    <a:pt x="163" y="2624"/>
                  </a:lnTo>
                  <a:lnTo>
                    <a:pt x="156" y="2620"/>
                  </a:lnTo>
                  <a:lnTo>
                    <a:pt x="151" y="2613"/>
                  </a:lnTo>
                  <a:lnTo>
                    <a:pt x="150" y="2604"/>
                  </a:lnTo>
                  <a:lnTo>
                    <a:pt x="150" y="2501"/>
                  </a:lnTo>
                  <a:lnTo>
                    <a:pt x="151" y="2492"/>
                  </a:lnTo>
                  <a:lnTo>
                    <a:pt x="156" y="2485"/>
                  </a:lnTo>
                  <a:lnTo>
                    <a:pt x="163" y="2482"/>
                  </a:lnTo>
                  <a:lnTo>
                    <a:pt x="171" y="2480"/>
                  </a:lnTo>
                  <a:lnTo>
                    <a:pt x="177" y="2482"/>
                  </a:lnTo>
                  <a:lnTo>
                    <a:pt x="183" y="2485"/>
                  </a:lnTo>
                  <a:lnTo>
                    <a:pt x="188" y="2492"/>
                  </a:lnTo>
                  <a:lnTo>
                    <a:pt x="190" y="2501"/>
                  </a:lnTo>
                  <a:close/>
                  <a:moveTo>
                    <a:pt x="190" y="2732"/>
                  </a:moveTo>
                  <a:lnTo>
                    <a:pt x="190" y="2836"/>
                  </a:lnTo>
                  <a:lnTo>
                    <a:pt x="188" y="2845"/>
                  </a:lnTo>
                  <a:lnTo>
                    <a:pt x="183" y="2850"/>
                  </a:lnTo>
                  <a:lnTo>
                    <a:pt x="177" y="2854"/>
                  </a:lnTo>
                  <a:lnTo>
                    <a:pt x="171" y="2855"/>
                  </a:lnTo>
                  <a:lnTo>
                    <a:pt x="163" y="2854"/>
                  </a:lnTo>
                  <a:lnTo>
                    <a:pt x="156" y="2850"/>
                  </a:lnTo>
                  <a:lnTo>
                    <a:pt x="151" y="2845"/>
                  </a:lnTo>
                  <a:lnTo>
                    <a:pt x="150" y="2836"/>
                  </a:lnTo>
                  <a:lnTo>
                    <a:pt x="150" y="2732"/>
                  </a:lnTo>
                  <a:lnTo>
                    <a:pt x="151" y="2723"/>
                  </a:lnTo>
                  <a:lnTo>
                    <a:pt x="156" y="2717"/>
                  </a:lnTo>
                  <a:lnTo>
                    <a:pt x="163" y="2713"/>
                  </a:lnTo>
                  <a:lnTo>
                    <a:pt x="171" y="2712"/>
                  </a:lnTo>
                  <a:lnTo>
                    <a:pt x="177" y="2713"/>
                  </a:lnTo>
                  <a:lnTo>
                    <a:pt x="183" y="2717"/>
                  </a:lnTo>
                  <a:lnTo>
                    <a:pt x="188" y="2723"/>
                  </a:lnTo>
                  <a:lnTo>
                    <a:pt x="190" y="2732"/>
                  </a:lnTo>
                  <a:close/>
                  <a:moveTo>
                    <a:pt x="190" y="2962"/>
                  </a:moveTo>
                  <a:lnTo>
                    <a:pt x="190" y="3066"/>
                  </a:lnTo>
                  <a:lnTo>
                    <a:pt x="188" y="3075"/>
                  </a:lnTo>
                  <a:lnTo>
                    <a:pt x="183" y="3081"/>
                  </a:lnTo>
                  <a:lnTo>
                    <a:pt x="177" y="3085"/>
                  </a:lnTo>
                  <a:lnTo>
                    <a:pt x="171" y="3086"/>
                  </a:lnTo>
                  <a:lnTo>
                    <a:pt x="163" y="3085"/>
                  </a:lnTo>
                  <a:lnTo>
                    <a:pt x="156" y="3081"/>
                  </a:lnTo>
                  <a:lnTo>
                    <a:pt x="151" y="3075"/>
                  </a:lnTo>
                  <a:lnTo>
                    <a:pt x="150" y="3066"/>
                  </a:lnTo>
                  <a:lnTo>
                    <a:pt x="150" y="2962"/>
                  </a:lnTo>
                  <a:lnTo>
                    <a:pt x="151" y="2953"/>
                  </a:lnTo>
                  <a:lnTo>
                    <a:pt x="156" y="2948"/>
                  </a:lnTo>
                  <a:lnTo>
                    <a:pt x="163" y="2945"/>
                  </a:lnTo>
                  <a:lnTo>
                    <a:pt x="171" y="2943"/>
                  </a:lnTo>
                  <a:lnTo>
                    <a:pt x="177" y="2945"/>
                  </a:lnTo>
                  <a:lnTo>
                    <a:pt x="183" y="2948"/>
                  </a:lnTo>
                  <a:lnTo>
                    <a:pt x="188" y="2953"/>
                  </a:lnTo>
                  <a:lnTo>
                    <a:pt x="190" y="2962"/>
                  </a:lnTo>
                  <a:close/>
                  <a:moveTo>
                    <a:pt x="2375" y="1897"/>
                  </a:moveTo>
                  <a:lnTo>
                    <a:pt x="2375" y="2001"/>
                  </a:lnTo>
                  <a:lnTo>
                    <a:pt x="2372" y="2010"/>
                  </a:lnTo>
                  <a:lnTo>
                    <a:pt x="2368" y="2016"/>
                  </a:lnTo>
                  <a:lnTo>
                    <a:pt x="2362" y="2020"/>
                  </a:lnTo>
                  <a:lnTo>
                    <a:pt x="2354" y="2021"/>
                  </a:lnTo>
                  <a:lnTo>
                    <a:pt x="2347" y="2020"/>
                  </a:lnTo>
                  <a:lnTo>
                    <a:pt x="2340" y="2016"/>
                  </a:lnTo>
                  <a:lnTo>
                    <a:pt x="2336" y="2010"/>
                  </a:lnTo>
                  <a:lnTo>
                    <a:pt x="2334" y="2001"/>
                  </a:lnTo>
                  <a:lnTo>
                    <a:pt x="2334" y="1897"/>
                  </a:lnTo>
                  <a:lnTo>
                    <a:pt x="2336" y="1888"/>
                  </a:lnTo>
                  <a:lnTo>
                    <a:pt x="2340" y="1882"/>
                  </a:lnTo>
                  <a:lnTo>
                    <a:pt x="2347" y="1878"/>
                  </a:lnTo>
                  <a:lnTo>
                    <a:pt x="2354" y="1877"/>
                  </a:lnTo>
                  <a:lnTo>
                    <a:pt x="2362" y="1878"/>
                  </a:lnTo>
                  <a:lnTo>
                    <a:pt x="2368" y="1882"/>
                  </a:lnTo>
                  <a:lnTo>
                    <a:pt x="2372" y="1888"/>
                  </a:lnTo>
                  <a:lnTo>
                    <a:pt x="2375" y="1897"/>
                  </a:lnTo>
                  <a:close/>
                  <a:moveTo>
                    <a:pt x="2589" y="1897"/>
                  </a:moveTo>
                  <a:lnTo>
                    <a:pt x="2589" y="2001"/>
                  </a:lnTo>
                  <a:lnTo>
                    <a:pt x="2588" y="2010"/>
                  </a:lnTo>
                  <a:lnTo>
                    <a:pt x="2583" y="2016"/>
                  </a:lnTo>
                  <a:lnTo>
                    <a:pt x="2576" y="2020"/>
                  </a:lnTo>
                  <a:lnTo>
                    <a:pt x="2570" y="2021"/>
                  </a:lnTo>
                  <a:lnTo>
                    <a:pt x="2562" y="2020"/>
                  </a:lnTo>
                  <a:lnTo>
                    <a:pt x="2556" y="2016"/>
                  </a:lnTo>
                  <a:lnTo>
                    <a:pt x="2550" y="2010"/>
                  </a:lnTo>
                  <a:lnTo>
                    <a:pt x="2549" y="2001"/>
                  </a:lnTo>
                  <a:lnTo>
                    <a:pt x="2549" y="1897"/>
                  </a:lnTo>
                  <a:lnTo>
                    <a:pt x="2550" y="1888"/>
                  </a:lnTo>
                  <a:lnTo>
                    <a:pt x="2556" y="1882"/>
                  </a:lnTo>
                  <a:lnTo>
                    <a:pt x="2562" y="1878"/>
                  </a:lnTo>
                  <a:lnTo>
                    <a:pt x="2570" y="1877"/>
                  </a:lnTo>
                  <a:lnTo>
                    <a:pt x="2576" y="1878"/>
                  </a:lnTo>
                  <a:lnTo>
                    <a:pt x="2583" y="1882"/>
                  </a:lnTo>
                  <a:lnTo>
                    <a:pt x="2588" y="1888"/>
                  </a:lnTo>
                  <a:lnTo>
                    <a:pt x="2589" y="1897"/>
                  </a:lnTo>
                  <a:close/>
                  <a:moveTo>
                    <a:pt x="2804" y="1897"/>
                  </a:moveTo>
                  <a:lnTo>
                    <a:pt x="2804" y="2001"/>
                  </a:lnTo>
                  <a:lnTo>
                    <a:pt x="2803" y="2010"/>
                  </a:lnTo>
                  <a:lnTo>
                    <a:pt x="2798" y="2016"/>
                  </a:lnTo>
                  <a:lnTo>
                    <a:pt x="2792" y="2020"/>
                  </a:lnTo>
                  <a:lnTo>
                    <a:pt x="2784" y="2021"/>
                  </a:lnTo>
                  <a:lnTo>
                    <a:pt x="2777" y="2020"/>
                  </a:lnTo>
                  <a:lnTo>
                    <a:pt x="2771" y="2016"/>
                  </a:lnTo>
                  <a:lnTo>
                    <a:pt x="2766" y="2010"/>
                  </a:lnTo>
                  <a:lnTo>
                    <a:pt x="2765" y="2001"/>
                  </a:lnTo>
                  <a:lnTo>
                    <a:pt x="2765" y="1897"/>
                  </a:lnTo>
                  <a:lnTo>
                    <a:pt x="2766" y="1888"/>
                  </a:lnTo>
                  <a:lnTo>
                    <a:pt x="2771" y="1882"/>
                  </a:lnTo>
                  <a:lnTo>
                    <a:pt x="2777" y="1878"/>
                  </a:lnTo>
                  <a:lnTo>
                    <a:pt x="2784" y="1877"/>
                  </a:lnTo>
                  <a:lnTo>
                    <a:pt x="2792" y="1878"/>
                  </a:lnTo>
                  <a:lnTo>
                    <a:pt x="2798" y="1882"/>
                  </a:lnTo>
                  <a:lnTo>
                    <a:pt x="2803" y="1888"/>
                  </a:lnTo>
                  <a:lnTo>
                    <a:pt x="2804" y="1897"/>
                  </a:lnTo>
                  <a:close/>
                  <a:moveTo>
                    <a:pt x="2375" y="2245"/>
                  </a:moveTo>
                  <a:lnTo>
                    <a:pt x="2375" y="2349"/>
                  </a:lnTo>
                  <a:lnTo>
                    <a:pt x="2372" y="2358"/>
                  </a:lnTo>
                  <a:lnTo>
                    <a:pt x="2368" y="2364"/>
                  </a:lnTo>
                  <a:lnTo>
                    <a:pt x="2362" y="2368"/>
                  </a:lnTo>
                  <a:lnTo>
                    <a:pt x="2354" y="2369"/>
                  </a:lnTo>
                  <a:lnTo>
                    <a:pt x="2347" y="2368"/>
                  </a:lnTo>
                  <a:lnTo>
                    <a:pt x="2340" y="2364"/>
                  </a:lnTo>
                  <a:lnTo>
                    <a:pt x="2336" y="2358"/>
                  </a:lnTo>
                  <a:lnTo>
                    <a:pt x="2334" y="2349"/>
                  </a:lnTo>
                  <a:lnTo>
                    <a:pt x="2334" y="2245"/>
                  </a:lnTo>
                  <a:lnTo>
                    <a:pt x="2336" y="2236"/>
                  </a:lnTo>
                  <a:lnTo>
                    <a:pt x="2340" y="2230"/>
                  </a:lnTo>
                  <a:lnTo>
                    <a:pt x="2347" y="2226"/>
                  </a:lnTo>
                  <a:lnTo>
                    <a:pt x="2354" y="2225"/>
                  </a:lnTo>
                  <a:lnTo>
                    <a:pt x="2362" y="2226"/>
                  </a:lnTo>
                  <a:lnTo>
                    <a:pt x="2368" y="2230"/>
                  </a:lnTo>
                  <a:lnTo>
                    <a:pt x="2372" y="2236"/>
                  </a:lnTo>
                  <a:lnTo>
                    <a:pt x="2375" y="2245"/>
                  </a:lnTo>
                  <a:close/>
                  <a:moveTo>
                    <a:pt x="2589" y="2245"/>
                  </a:moveTo>
                  <a:lnTo>
                    <a:pt x="2589" y="2349"/>
                  </a:lnTo>
                  <a:lnTo>
                    <a:pt x="2588" y="2358"/>
                  </a:lnTo>
                  <a:lnTo>
                    <a:pt x="2583" y="2364"/>
                  </a:lnTo>
                  <a:lnTo>
                    <a:pt x="2576" y="2368"/>
                  </a:lnTo>
                  <a:lnTo>
                    <a:pt x="2570" y="2369"/>
                  </a:lnTo>
                  <a:lnTo>
                    <a:pt x="2562" y="2368"/>
                  </a:lnTo>
                  <a:lnTo>
                    <a:pt x="2556" y="2364"/>
                  </a:lnTo>
                  <a:lnTo>
                    <a:pt x="2550" y="2358"/>
                  </a:lnTo>
                  <a:lnTo>
                    <a:pt x="2549" y="2349"/>
                  </a:lnTo>
                  <a:lnTo>
                    <a:pt x="2549" y="2245"/>
                  </a:lnTo>
                  <a:lnTo>
                    <a:pt x="2550" y="2236"/>
                  </a:lnTo>
                  <a:lnTo>
                    <a:pt x="2556" y="2230"/>
                  </a:lnTo>
                  <a:lnTo>
                    <a:pt x="2562" y="2226"/>
                  </a:lnTo>
                  <a:lnTo>
                    <a:pt x="2570" y="2225"/>
                  </a:lnTo>
                  <a:lnTo>
                    <a:pt x="2576" y="2226"/>
                  </a:lnTo>
                  <a:lnTo>
                    <a:pt x="2583" y="2230"/>
                  </a:lnTo>
                  <a:lnTo>
                    <a:pt x="2588" y="2236"/>
                  </a:lnTo>
                  <a:lnTo>
                    <a:pt x="2589" y="2245"/>
                  </a:lnTo>
                  <a:close/>
                  <a:moveTo>
                    <a:pt x="2804" y="2245"/>
                  </a:moveTo>
                  <a:lnTo>
                    <a:pt x="2804" y="2349"/>
                  </a:lnTo>
                  <a:lnTo>
                    <a:pt x="2803" y="2358"/>
                  </a:lnTo>
                  <a:lnTo>
                    <a:pt x="2798" y="2364"/>
                  </a:lnTo>
                  <a:lnTo>
                    <a:pt x="2792" y="2368"/>
                  </a:lnTo>
                  <a:lnTo>
                    <a:pt x="2784" y="2369"/>
                  </a:lnTo>
                  <a:lnTo>
                    <a:pt x="2777" y="2368"/>
                  </a:lnTo>
                  <a:lnTo>
                    <a:pt x="2771" y="2364"/>
                  </a:lnTo>
                  <a:lnTo>
                    <a:pt x="2766" y="2358"/>
                  </a:lnTo>
                  <a:lnTo>
                    <a:pt x="2765" y="2349"/>
                  </a:lnTo>
                  <a:lnTo>
                    <a:pt x="2765" y="2245"/>
                  </a:lnTo>
                  <a:lnTo>
                    <a:pt x="2766" y="2236"/>
                  </a:lnTo>
                  <a:lnTo>
                    <a:pt x="2771" y="2230"/>
                  </a:lnTo>
                  <a:lnTo>
                    <a:pt x="2777" y="2226"/>
                  </a:lnTo>
                  <a:lnTo>
                    <a:pt x="2784" y="2225"/>
                  </a:lnTo>
                  <a:lnTo>
                    <a:pt x="2792" y="2226"/>
                  </a:lnTo>
                  <a:lnTo>
                    <a:pt x="2798" y="2230"/>
                  </a:lnTo>
                  <a:lnTo>
                    <a:pt x="2803" y="2236"/>
                  </a:lnTo>
                  <a:lnTo>
                    <a:pt x="2804" y="2245"/>
                  </a:lnTo>
                  <a:close/>
                  <a:moveTo>
                    <a:pt x="2375" y="2593"/>
                  </a:moveTo>
                  <a:lnTo>
                    <a:pt x="2375" y="2696"/>
                  </a:lnTo>
                  <a:lnTo>
                    <a:pt x="2372" y="2705"/>
                  </a:lnTo>
                  <a:lnTo>
                    <a:pt x="2368" y="2712"/>
                  </a:lnTo>
                  <a:lnTo>
                    <a:pt x="2362" y="2716"/>
                  </a:lnTo>
                  <a:lnTo>
                    <a:pt x="2354" y="2717"/>
                  </a:lnTo>
                  <a:lnTo>
                    <a:pt x="2347" y="2716"/>
                  </a:lnTo>
                  <a:lnTo>
                    <a:pt x="2340" y="2712"/>
                  </a:lnTo>
                  <a:lnTo>
                    <a:pt x="2336" y="2705"/>
                  </a:lnTo>
                  <a:lnTo>
                    <a:pt x="2334" y="2696"/>
                  </a:lnTo>
                  <a:lnTo>
                    <a:pt x="2334" y="2593"/>
                  </a:lnTo>
                  <a:lnTo>
                    <a:pt x="2336" y="2584"/>
                  </a:lnTo>
                  <a:lnTo>
                    <a:pt x="2340" y="2578"/>
                  </a:lnTo>
                  <a:lnTo>
                    <a:pt x="2347" y="2574"/>
                  </a:lnTo>
                  <a:lnTo>
                    <a:pt x="2354" y="2572"/>
                  </a:lnTo>
                  <a:lnTo>
                    <a:pt x="2362" y="2574"/>
                  </a:lnTo>
                  <a:lnTo>
                    <a:pt x="2368" y="2578"/>
                  </a:lnTo>
                  <a:lnTo>
                    <a:pt x="2372" y="2584"/>
                  </a:lnTo>
                  <a:lnTo>
                    <a:pt x="2375" y="2593"/>
                  </a:lnTo>
                  <a:close/>
                  <a:moveTo>
                    <a:pt x="2589" y="2593"/>
                  </a:moveTo>
                  <a:lnTo>
                    <a:pt x="2589" y="2696"/>
                  </a:lnTo>
                  <a:lnTo>
                    <a:pt x="2588" y="2705"/>
                  </a:lnTo>
                  <a:lnTo>
                    <a:pt x="2583" y="2712"/>
                  </a:lnTo>
                  <a:lnTo>
                    <a:pt x="2576" y="2716"/>
                  </a:lnTo>
                  <a:lnTo>
                    <a:pt x="2570" y="2717"/>
                  </a:lnTo>
                  <a:lnTo>
                    <a:pt x="2562" y="2716"/>
                  </a:lnTo>
                  <a:lnTo>
                    <a:pt x="2556" y="2712"/>
                  </a:lnTo>
                  <a:lnTo>
                    <a:pt x="2550" y="2705"/>
                  </a:lnTo>
                  <a:lnTo>
                    <a:pt x="2549" y="2696"/>
                  </a:lnTo>
                  <a:lnTo>
                    <a:pt x="2549" y="2593"/>
                  </a:lnTo>
                  <a:lnTo>
                    <a:pt x="2550" y="2584"/>
                  </a:lnTo>
                  <a:lnTo>
                    <a:pt x="2556" y="2578"/>
                  </a:lnTo>
                  <a:lnTo>
                    <a:pt x="2562" y="2574"/>
                  </a:lnTo>
                  <a:lnTo>
                    <a:pt x="2570" y="2572"/>
                  </a:lnTo>
                  <a:lnTo>
                    <a:pt x="2576" y="2574"/>
                  </a:lnTo>
                  <a:lnTo>
                    <a:pt x="2583" y="2578"/>
                  </a:lnTo>
                  <a:lnTo>
                    <a:pt x="2588" y="2584"/>
                  </a:lnTo>
                  <a:lnTo>
                    <a:pt x="2589" y="2593"/>
                  </a:lnTo>
                  <a:close/>
                  <a:moveTo>
                    <a:pt x="2804" y="2593"/>
                  </a:moveTo>
                  <a:lnTo>
                    <a:pt x="2804" y="2696"/>
                  </a:lnTo>
                  <a:lnTo>
                    <a:pt x="2803" y="2705"/>
                  </a:lnTo>
                  <a:lnTo>
                    <a:pt x="2798" y="2712"/>
                  </a:lnTo>
                  <a:lnTo>
                    <a:pt x="2792" y="2716"/>
                  </a:lnTo>
                  <a:lnTo>
                    <a:pt x="2784" y="2717"/>
                  </a:lnTo>
                  <a:lnTo>
                    <a:pt x="2777" y="2716"/>
                  </a:lnTo>
                  <a:lnTo>
                    <a:pt x="2771" y="2712"/>
                  </a:lnTo>
                  <a:lnTo>
                    <a:pt x="2766" y="2705"/>
                  </a:lnTo>
                  <a:lnTo>
                    <a:pt x="2765" y="2696"/>
                  </a:lnTo>
                  <a:lnTo>
                    <a:pt x="2765" y="2593"/>
                  </a:lnTo>
                  <a:lnTo>
                    <a:pt x="2766" y="2584"/>
                  </a:lnTo>
                  <a:lnTo>
                    <a:pt x="2771" y="2578"/>
                  </a:lnTo>
                  <a:lnTo>
                    <a:pt x="2777" y="2574"/>
                  </a:lnTo>
                  <a:lnTo>
                    <a:pt x="2784" y="2572"/>
                  </a:lnTo>
                  <a:lnTo>
                    <a:pt x="2792" y="2574"/>
                  </a:lnTo>
                  <a:lnTo>
                    <a:pt x="2798" y="2578"/>
                  </a:lnTo>
                  <a:lnTo>
                    <a:pt x="2803" y="2584"/>
                  </a:lnTo>
                  <a:lnTo>
                    <a:pt x="2804" y="2593"/>
                  </a:lnTo>
                  <a:close/>
                  <a:moveTo>
                    <a:pt x="2375" y="2941"/>
                  </a:moveTo>
                  <a:lnTo>
                    <a:pt x="2375" y="3044"/>
                  </a:lnTo>
                  <a:lnTo>
                    <a:pt x="2372" y="3053"/>
                  </a:lnTo>
                  <a:lnTo>
                    <a:pt x="2368" y="3060"/>
                  </a:lnTo>
                  <a:lnTo>
                    <a:pt x="2362" y="3063"/>
                  </a:lnTo>
                  <a:lnTo>
                    <a:pt x="2354" y="3065"/>
                  </a:lnTo>
                  <a:lnTo>
                    <a:pt x="2347" y="3063"/>
                  </a:lnTo>
                  <a:lnTo>
                    <a:pt x="2340" y="3060"/>
                  </a:lnTo>
                  <a:lnTo>
                    <a:pt x="2336" y="3053"/>
                  </a:lnTo>
                  <a:lnTo>
                    <a:pt x="2334" y="3044"/>
                  </a:lnTo>
                  <a:lnTo>
                    <a:pt x="2334" y="2941"/>
                  </a:lnTo>
                  <a:lnTo>
                    <a:pt x="2336" y="2932"/>
                  </a:lnTo>
                  <a:lnTo>
                    <a:pt x="2340" y="2925"/>
                  </a:lnTo>
                  <a:lnTo>
                    <a:pt x="2347" y="2922"/>
                  </a:lnTo>
                  <a:lnTo>
                    <a:pt x="2354" y="2920"/>
                  </a:lnTo>
                  <a:lnTo>
                    <a:pt x="2362" y="2922"/>
                  </a:lnTo>
                  <a:lnTo>
                    <a:pt x="2368" y="2925"/>
                  </a:lnTo>
                  <a:lnTo>
                    <a:pt x="2372" y="2932"/>
                  </a:lnTo>
                  <a:lnTo>
                    <a:pt x="2375" y="2941"/>
                  </a:lnTo>
                  <a:close/>
                  <a:moveTo>
                    <a:pt x="2589" y="2941"/>
                  </a:moveTo>
                  <a:lnTo>
                    <a:pt x="2589" y="3044"/>
                  </a:lnTo>
                  <a:lnTo>
                    <a:pt x="2588" y="3053"/>
                  </a:lnTo>
                  <a:lnTo>
                    <a:pt x="2583" y="3060"/>
                  </a:lnTo>
                  <a:lnTo>
                    <a:pt x="2576" y="3063"/>
                  </a:lnTo>
                  <a:lnTo>
                    <a:pt x="2570" y="3065"/>
                  </a:lnTo>
                  <a:lnTo>
                    <a:pt x="2562" y="3063"/>
                  </a:lnTo>
                  <a:lnTo>
                    <a:pt x="2556" y="3060"/>
                  </a:lnTo>
                  <a:lnTo>
                    <a:pt x="2550" y="3053"/>
                  </a:lnTo>
                  <a:lnTo>
                    <a:pt x="2549" y="3044"/>
                  </a:lnTo>
                  <a:lnTo>
                    <a:pt x="2549" y="2941"/>
                  </a:lnTo>
                  <a:lnTo>
                    <a:pt x="2550" y="2932"/>
                  </a:lnTo>
                  <a:lnTo>
                    <a:pt x="2556" y="2925"/>
                  </a:lnTo>
                  <a:lnTo>
                    <a:pt x="2562" y="2922"/>
                  </a:lnTo>
                  <a:lnTo>
                    <a:pt x="2570" y="2920"/>
                  </a:lnTo>
                  <a:lnTo>
                    <a:pt x="2576" y="2922"/>
                  </a:lnTo>
                  <a:lnTo>
                    <a:pt x="2583" y="2925"/>
                  </a:lnTo>
                  <a:lnTo>
                    <a:pt x="2588" y="2932"/>
                  </a:lnTo>
                  <a:lnTo>
                    <a:pt x="2589" y="2941"/>
                  </a:lnTo>
                  <a:close/>
                  <a:moveTo>
                    <a:pt x="2804" y="2941"/>
                  </a:moveTo>
                  <a:lnTo>
                    <a:pt x="2804" y="3044"/>
                  </a:lnTo>
                  <a:lnTo>
                    <a:pt x="2803" y="3053"/>
                  </a:lnTo>
                  <a:lnTo>
                    <a:pt x="2798" y="3060"/>
                  </a:lnTo>
                  <a:lnTo>
                    <a:pt x="2792" y="3063"/>
                  </a:lnTo>
                  <a:lnTo>
                    <a:pt x="2784" y="3065"/>
                  </a:lnTo>
                  <a:lnTo>
                    <a:pt x="2777" y="3063"/>
                  </a:lnTo>
                  <a:lnTo>
                    <a:pt x="2771" y="3060"/>
                  </a:lnTo>
                  <a:lnTo>
                    <a:pt x="2766" y="3053"/>
                  </a:lnTo>
                  <a:lnTo>
                    <a:pt x="2765" y="3044"/>
                  </a:lnTo>
                  <a:lnTo>
                    <a:pt x="2765" y="2941"/>
                  </a:lnTo>
                  <a:lnTo>
                    <a:pt x="2766" y="2932"/>
                  </a:lnTo>
                  <a:lnTo>
                    <a:pt x="2771" y="2925"/>
                  </a:lnTo>
                  <a:lnTo>
                    <a:pt x="2777" y="2922"/>
                  </a:lnTo>
                  <a:lnTo>
                    <a:pt x="2784" y="2920"/>
                  </a:lnTo>
                  <a:lnTo>
                    <a:pt x="2792" y="2922"/>
                  </a:lnTo>
                  <a:lnTo>
                    <a:pt x="2798" y="2925"/>
                  </a:lnTo>
                  <a:lnTo>
                    <a:pt x="2803" y="2932"/>
                  </a:lnTo>
                  <a:lnTo>
                    <a:pt x="2804" y="2941"/>
                  </a:lnTo>
                  <a:close/>
                  <a:moveTo>
                    <a:pt x="6888" y="1521"/>
                  </a:moveTo>
                  <a:lnTo>
                    <a:pt x="6778" y="1521"/>
                  </a:lnTo>
                  <a:lnTo>
                    <a:pt x="6778" y="1631"/>
                  </a:lnTo>
                  <a:lnTo>
                    <a:pt x="6888" y="1631"/>
                  </a:lnTo>
                  <a:lnTo>
                    <a:pt x="6888" y="1521"/>
                  </a:lnTo>
                  <a:close/>
                  <a:moveTo>
                    <a:pt x="7276" y="2772"/>
                  </a:moveTo>
                  <a:lnTo>
                    <a:pt x="7276" y="2585"/>
                  </a:lnTo>
                  <a:lnTo>
                    <a:pt x="7276" y="2277"/>
                  </a:lnTo>
                  <a:lnTo>
                    <a:pt x="7277" y="2271"/>
                  </a:lnTo>
                  <a:lnTo>
                    <a:pt x="7277" y="1671"/>
                  </a:lnTo>
                  <a:lnTo>
                    <a:pt x="6909" y="1671"/>
                  </a:lnTo>
                  <a:lnTo>
                    <a:pt x="6758" y="1671"/>
                  </a:lnTo>
                  <a:lnTo>
                    <a:pt x="6469" y="1671"/>
                  </a:lnTo>
                  <a:lnTo>
                    <a:pt x="6460" y="1670"/>
                  </a:lnTo>
                  <a:lnTo>
                    <a:pt x="6454" y="1665"/>
                  </a:lnTo>
                  <a:lnTo>
                    <a:pt x="6450" y="1658"/>
                  </a:lnTo>
                  <a:lnTo>
                    <a:pt x="6449" y="1652"/>
                  </a:lnTo>
                  <a:lnTo>
                    <a:pt x="6450" y="1644"/>
                  </a:lnTo>
                  <a:lnTo>
                    <a:pt x="6454" y="1638"/>
                  </a:lnTo>
                  <a:lnTo>
                    <a:pt x="6460" y="1633"/>
                  </a:lnTo>
                  <a:lnTo>
                    <a:pt x="6469" y="1631"/>
                  </a:lnTo>
                  <a:lnTo>
                    <a:pt x="6574" y="1631"/>
                  </a:lnTo>
                  <a:lnTo>
                    <a:pt x="6574" y="1488"/>
                  </a:lnTo>
                  <a:lnTo>
                    <a:pt x="6172" y="1488"/>
                  </a:lnTo>
                  <a:lnTo>
                    <a:pt x="6172" y="1631"/>
                  </a:lnTo>
                  <a:lnTo>
                    <a:pt x="6204" y="1631"/>
                  </a:lnTo>
                  <a:lnTo>
                    <a:pt x="6213" y="1633"/>
                  </a:lnTo>
                  <a:lnTo>
                    <a:pt x="6219" y="1638"/>
                  </a:lnTo>
                  <a:lnTo>
                    <a:pt x="6223" y="1644"/>
                  </a:lnTo>
                  <a:lnTo>
                    <a:pt x="6224" y="1652"/>
                  </a:lnTo>
                  <a:lnTo>
                    <a:pt x="6223" y="1658"/>
                  </a:lnTo>
                  <a:lnTo>
                    <a:pt x="6219" y="1665"/>
                  </a:lnTo>
                  <a:lnTo>
                    <a:pt x="6213" y="1670"/>
                  </a:lnTo>
                  <a:lnTo>
                    <a:pt x="6204" y="1671"/>
                  </a:lnTo>
                  <a:lnTo>
                    <a:pt x="6037" y="1671"/>
                  </a:lnTo>
                  <a:lnTo>
                    <a:pt x="6037" y="2332"/>
                  </a:lnTo>
                  <a:lnTo>
                    <a:pt x="6037" y="2993"/>
                  </a:lnTo>
                  <a:lnTo>
                    <a:pt x="6037" y="3654"/>
                  </a:lnTo>
                  <a:lnTo>
                    <a:pt x="6037" y="4317"/>
                  </a:lnTo>
                  <a:lnTo>
                    <a:pt x="6656" y="4317"/>
                  </a:lnTo>
                  <a:lnTo>
                    <a:pt x="7276" y="4317"/>
                  </a:lnTo>
                  <a:lnTo>
                    <a:pt x="7276" y="3544"/>
                  </a:lnTo>
                  <a:lnTo>
                    <a:pt x="7276" y="2772"/>
                  </a:lnTo>
                  <a:close/>
                  <a:moveTo>
                    <a:pt x="9050" y="2792"/>
                  </a:moveTo>
                  <a:lnTo>
                    <a:pt x="8182" y="2792"/>
                  </a:lnTo>
                  <a:lnTo>
                    <a:pt x="7315" y="2792"/>
                  </a:lnTo>
                  <a:lnTo>
                    <a:pt x="7315" y="3554"/>
                  </a:lnTo>
                  <a:lnTo>
                    <a:pt x="7315" y="4317"/>
                  </a:lnTo>
                  <a:lnTo>
                    <a:pt x="8182" y="4317"/>
                  </a:lnTo>
                  <a:lnTo>
                    <a:pt x="9050" y="4317"/>
                  </a:lnTo>
                  <a:lnTo>
                    <a:pt x="9050" y="3554"/>
                  </a:lnTo>
                  <a:lnTo>
                    <a:pt x="9050" y="2792"/>
                  </a:lnTo>
                  <a:close/>
                  <a:moveTo>
                    <a:pt x="8412" y="2258"/>
                  </a:moveTo>
                  <a:lnTo>
                    <a:pt x="8412" y="2135"/>
                  </a:lnTo>
                  <a:lnTo>
                    <a:pt x="8413" y="2127"/>
                  </a:lnTo>
                  <a:lnTo>
                    <a:pt x="8418" y="2121"/>
                  </a:lnTo>
                  <a:lnTo>
                    <a:pt x="8425" y="2117"/>
                  </a:lnTo>
                  <a:lnTo>
                    <a:pt x="8432" y="2116"/>
                  </a:lnTo>
                  <a:lnTo>
                    <a:pt x="8677" y="2116"/>
                  </a:lnTo>
                  <a:lnTo>
                    <a:pt x="8685" y="2117"/>
                  </a:lnTo>
                  <a:lnTo>
                    <a:pt x="8691" y="2121"/>
                  </a:lnTo>
                  <a:lnTo>
                    <a:pt x="8695" y="2127"/>
                  </a:lnTo>
                  <a:lnTo>
                    <a:pt x="8698" y="2135"/>
                  </a:lnTo>
                  <a:lnTo>
                    <a:pt x="8698" y="2258"/>
                  </a:lnTo>
                  <a:lnTo>
                    <a:pt x="8853" y="2258"/>
                  </a:lnTo>
                  <a:lnTo>
                    <a:pt x="8868" y="2266"/>
                  </a:lnTo>
                  <a:lnTo>
                    <a:pt x="9089" y="2565"/>
                  </a:lnTo>
                  <a:lnTo>
                    <a:pt x="9100" y="2565"/>
                  </a:lnTo>
                  <a:lnTo>
                    <a:pt x="9108" y="2566"/>
                  </a:lnTo>
                  <a:lnTo>
                    <a:pt x="9114" y="2571"/>
                  </a:lnTo>
                  <a:lnTo>
                    <a:pt x="9120" y="2578"/>
                  </a:lnTo>
                  <a:lnTo>
                    <a:pt x="9121" y="2585"/>
                  </a:lnTo>
                  <a:lnTo>
                    <a:pt x="9121" y="2772"/>
                  </a:lnTo>
                  <a:lnTo>
                    <a:pt x="9120" y="2780"/>
                  </a:lnTo>
                  <a:lnTo>
                    <a:pt x="9114" y="2786"/>
                  </a:lnTo>
                  <a:lnTo>
                    <a:pt x="9108" y="2791"/>
                  </a:lnTo>
                  <a:lnTo>
                    <a:pt x="9100" y="2792"/>
                  </a:lnTo>
                  <a:lnTo>
                    <a:pt x="9090" y="2792"/>
                  </a:lnTo>
                  <a:lnTo>
                    <a:pt x="9090" y="3563"/>
                  </a:lnTo>
                  <a:lnTo>
                    <a:pt x="9090" y="4336"/>
                  </a:lnTo>
                  <a:lnTo>
                    <a:pt x="9089" y="4343"/>
                  </a:lnTo>
                  <a:lnTo>
                    <a:pt x="9084" y="4350"/>
                  </a:lnTo>
                  <a:lnTo>
                    <a:pt x="9077" y="4355"/>
                  </a:lnTo>
                  <a:lnTo>
                    <a:pt x="9070" y="4356"/>
                  </a:lnTo>
                  <a:lnTo>
                    <a:pt x="8184" y="4356"/>
                  </a:lnTo>
                  <a:lnTo>
                    <a:pt x="7297" y="4356"/>
                  </a:lnTo>
                  <a:lnTo>
                    <a:pt x="7295" y="4356"/>
                  </a:lnTo>
                  <a:lnTo>
                    <a:pt x="6656" y="4356"/>
                  </a:lnTo>
                  <a:lnTo>
                    <a:pt x="6018" y="4356"/>
                  </a:lnTo>
                  <a:lnTo>
                    <a:pt x="6010" y="4355"/>
                  </a:lnTo>
                  <a:lnTo>
                    <a:pt x="6004" y="4350"/>
                  </a:lnTo>
                  <a:lnTo>
                    <a:pt x="5999" y="4343"/>
                  </a:lnTo>
                  <a:lnTo>
                    <a:pt x="5997" y="4336"/>
                  </a:lnTo>
                  <a:lnTo>
                    <a:pt x="5997" y="3664"/>
                  </a:lnTo>
                  <a:lnTo>
                    <a:pt x="5997" y="2993"/>
                  </a:lnTo>
                  <a:lnTo>
                    <a:pt x="5997" y="2322"/>
                  </a:lnTo>
                  <a:lnTo>
                    <a:pt x="5997" y="1652"/>
                  </a:lnTo>
                  <a:lnTo>
                    <a:pt x="5999" y="1644"/>
                  </a:lnTo>
                  <a:lnTo>
                    <a:pt x="6004" y="1638"/>
                  </a:lnTo>
                  <a:lnTo>
                    <a:pt x="6010" y="1633"/>
                  </a:lnTo>
                  <a:lnTo>
                    <a:pt x="6018" y="1631"/>
                  </a:lnTo>
                  <a:lnTo>
                    <a:pt x="6132" y="1631"/>
                  </a:lnTo>
                  <a:lnTo>
                    <a:pt x="6132" y="1469"/>
                  </a:lnTo>
                  <a:lnTo>
                    <a:pt x="6133" y="1461"/>
                  </a:lnTo>
                  <a:lnTo>
                    <a:pt x="6138" y="1455"/>
                  </a:lnTo>
                  <a:lnTo>
                    <a:pt x="6145" y="1451"/>
                  </a:lnTo>
                  <a:lnTo>
                    <a:pt x="6152" y="1448"/>
                  </a:lnTo>
                  <a:lnTo>
                    <a:pt x="6595" y="1448"/>
                  </a:lnTo>
                  <a:lnTo>
                    <a:pt x="6602" y="1451"/>
                  </a:lnTo>
                  <a:lnTo>
                    <a:pt x="6609" y="1455"/>
                  </a:lnTo>
                  <a:lnTo>
                    <a:pt x="6613" y="1461"/>
                  </a:lnTo>
                  <a:lnTo>
                    <a:pt x="6614" y="1469"/>
                  </a:lnTo>
                  <a:lnTo>
                    <a:pt x="6614" y="1631"/>
                  </a:lnTo>
                  <a:lnTo>
                    <a:pt x="6738" y="1631"/>
                  </a:lnTo>
                  <a:lnTo>
                    <a:pt x="6738" y="1501"/>
                  </a:lnTo>
                  <a:lnTo>
                    <a:pt x="6740" y="1493"/>
                  </a:lnTo>
                  <a:lnTo>
                    <a:pt x="6744" y="1487"/>
                  </a:lnTo>
                  <a:lnTo>
                    <a:pt x="6750" y="1483"/>
                  </a:lnTo>
                  <a:lnTo>
                    <a:pt x="6758" y="1480"/>
                  </a:lnTo>
                  <a:lnTo>
                    <a:pt x="6909" y="1480"/>
                  </a:lnTo>
                  <a:lnTo>
                    <a:pt x="6917" y="1483"/>
                  </a:lnTo>
                  <a:lnTo>
                    <a:pt x="6923" y="1487"/>
                  </a:lnTo>
                  <a:lnTo>
                    <a:pt x="6927" y="1493"/>
                  </a:lnTo>
                  <a:lnTo>
                    <a:pt x="6928" y="1501"/>
                  </a:lnTo>
                  <a:lnTo>
                    <a:pt x="6928" y="1631"/>
                  </a:lnTo>
                  <a:lnTo>
                    <a:pt x="7297" y="1631"/>
                  </a:lnTo>
                  <a:lnTo>
                    <a:pt x="7305" y="1633"/>
                  </a:lnTo>
                  <a:lnTo>
                    <a:pt x="7312" y="1638"/>
                  </a:lnTo>
                  <a:lnTo>
                    <a:pt x="7315" y="1644"/>
                  </a:lnTo>
                  <a:lnTo>
                    <a:pt x="7317" y="1652"/>
                  </a:lnTo>
                  <a:lnTo>
                    <a:pt x="7317" y="2258"/>
                  </a:lnTo>
                  <a:lnTo>
                    <a:pt x="7864" y="2258"/>
                  </a:lnTo>
                  <a:lnTo>
                    <a:pt x="8412" y="2258"/>
                  </a:lnTo>
                  <a:close/>
                  <a:moveTo>
                    <a:pt x="8657" y="2258"/>
                  </a:moveTo>
                  <a:lnTo>
                    <a:pt x="8657" y="2156"/>
                  </a:lnTo>
                  <a:lnTo>
                    <a:pt x="8452" y="2156"/>
                  </a:lnTo>
                  <a:lnTo>
                    <a:pt x="8452" y="2258"/>
                  </a:lnTo>
                  <a:lnTo>
                    <a:pt x="8482" y="2258"/>
                  </a:lnTo>
                  <a:lnTo>
                    <a:pt x="8491" y="2259"/>
                  </a:lnTo>
                  <a:lnTo>
                    <a:pt x="8496" y="2264"/>
                  </a:lnTo>
                  <a:lnTo>
                    <a:pt x="8500" y="2271"/>
                  </a:lnTo>
                  <a:lnTo>
                    <a:pt x="8502" y="2277"/>
                  </a:lnTo>
                  <a:lnTo>
                    <a:pt x="8500" y="2285"/>
                  </a:lnTo>
                  <a:lnTo>
                    <a:pt x="8496" y="2291"/>
                  </a:lnTo>
                  <a:lnTo>
                    <a:pt x="8491" y="2296"/>
                  </a:lnTo>
                  <a:lnTo>
                    <a:pt x="8482" y="2298"/>
                  </a:lnTo>
                  <a:lnTo>
                    <a:pt x="7899" y="2298"/>
                  </a:lnTo>
                  <a:lnTo>
                    <a:pt x="7315" y="2298"/>
                  </a:lnTo>
                  <a:lnTo>
                    <a:pt x="7315" y="2565"/>
                  </a:lnTo>
                  <a:lnTo>
                    <a:pt x="8177" y="2565"/>
                  </a:lnTo>
                  <a:lnTo>
                    <a:pt x="9039" y="2565"/>
                  </a:lnTo>
                  <a:lnTo>
                    <a:pt x="8843" y="2298"/>
                  </a:lnTo>
                  <a:lnTo>
                    <a:pt x="8637" y="2298"/>
                  </a:lnTo>
                  <a:lnTo>
                    <a:pt x="8630" y="2296"/>
                  </a:lnTo>
                  <a:lnTo>
                    <a:pt x="8623" y="2291"/>
                  </a:lnTo>
                  <a:lnTo>
                    <a:pt x="8619" y="2285"/>
                  </a:lnTo>
                  <a:lnTo>
                    <a:pt x="8618" y="2277"/>
                  </a:lnTo>
                  <a:lnTo>
                    <a:pt x="8619" y="2271"/>
                  </a:lnTo>
                  <a:lnTo>
                    <a:pt x="8623" y="2264"/>
                  </a:lnTo>
                  <a:lnTo>
                    <a:pt x="8630" y="2259"/>
                  </a:lnTo>
                  <a:lnTo>
                    <a:pt x="8637" y="2258"/>
                  </a:lnTo>
                  <a:lnTo>
                    <a:pt x="8657" y="2258"/>
                  </a:lnTo>
                  <a:close/>
                  <a:moveTo>
                    <a:pt x="9075" y="2604"/>
                  </a:moveTo>
                  <a:lnTo>
                    <a:pt x="8195" y="2604"/>
                  </a:lnTo>
                  <a:lnTo>
                    <a:pt x="7315" y="2604"/>
                  </a:lnTo>
                  <a:lnTo>
                    <a:pt x="7315" y="2753"/>
                  </a:lnTo>
                  <a:lnTo>
                    <a:pt x="8192" y="2753"/>
                  </a:lnTo>
                  <a:lnTo>
                    <a:pt x="9070" y="2753"/>
                  </a:lnTo>
                  <a:lnTo>
                    <a:pt x="9081" y="2753"/>
                  </a:lnTo>
                  <a:lnTo>
                    <a:pt x="9081" y="2604"/>
                  </a:lnTo>
                  <a:lnTo>
                    <a:pt x="9075" y="2604"/>
                  </a:lnTo>
                  <a:close/>
                  <a:moveTo>
                    <a:pt x="6236" y="1893"/>
                  </a:moveTo>
                  <a:lnTo>
                    <a:pt x="6369" y="1893"/>
                  </a:lnTo>
                  <a:lnTo>
                    <a:pt x="6378" y="1895"/>
                  </a:lnTo>
                  <a:lnTo>
                    <a:pt x="6384" y="1900"/>
                  </a:lnTo>
                  <a:lnTo>
                    <a:pt x="6387" y="1906"/>
                  </a:lnTo>
                  <a:lnTo>
                    <a:pt x="6388" y="1913"/>
                  </a:lnTo>
                  <a:lnTo>
                    <a:pt x="6387" y="1920"/>
                  </a:lnTo>
                  <a:lnTo>
                    <a:pt x="6384" y="1927"/>
                  </a:lnTo>
                  <a:lnTo>
                    <a:pt x="6378" y="1932"/>
                  </a:lnTo>
                  <a:lnTo>
                    <a:pt x="6369" y="1933"/>
                  </a:lnTo>
                  <a:lnTo>
                    <a:pt x="6236" y="1933"/>
                  </a:lnTo>
                  <a:lnTo>
                    <a:pt x="6227" y="1932"/>
                  </a:lnTo>
                  <a:lnTo>
                    <a:pt x="6220" y="1927"/>
                  </a:lnTo>
                  <a:lnTo>
                    <a:pt x="6216" y="1920"/>
                  </a:lnTo>
                  <a:lnTo>
                    <a:pt x="6215" y="1913"/>
                  </a:lnTo>
                  <a:lnTo>
                    <a:pt x="6216" y="1906"/>
                  </a:lnTo>
                  <a:lnTo>
                    <a:pt x="6220" y="1900"/>
                  </a:lnTo>
                  <a:lnTo>
                    <a:pt x="6227" y="1895"/>
                  </a:lnTo>
                  <a:lnTo>
                    <a:pt x="6236" y="1893"/>
                  </a:lnTo>
                  <a:close/>
                  <a:moveTo>
                    <a:pt x="6472" y="1893"/>
                  </a:moveTo>
                  <a:lnTo>
                    <a:pt x="6605" y="1893"/>
                  </a:lnTo>
                  <a:lnTo>
                    <a:pt x="6614" y="1895"/>
                  </a:lnTo>
                  <a:lnTo>
                    <a:pt x="6620" y="1900"/>
                  </a:lnTo>
                  <a:lnTo>
                    <a:pt x="6624" y="1906"/>
                  </a:lnTo>
                  <a:lnTo>
                    <a:pt x="6626" y="1913"/>
                  </a:lnTo>
                  <a:lnTo>
                    <a:pt x="6624" y="1920"/>
                  </a:lnTo>
                  <a:lnTo>
                    <a:pt x="6620" y="1927"/>
                  </a:lnTo>
                  <a:lnTo>
                    <a:pt x="6614" y="1932"/>
                  </a:lnTo>
                  <a:lnTo>
                    <a:pt x="6605" y="1933"/>
                  </a:lnTo>
                  <a:lnTo>
                    <a:pt x="6472" y="1933"/>
                  </a:lnTo>
                  <a:lnTo>
                    <a:pt x="6464" y="1932"/>
                  </a:lnTo>
                  <a:lnTo>
                    <a:pt x="6458" y="1927"/>
                  </a:lnTo>
                  <a:lnTo>
                    <a:pt x="6454" y="1920"/>
                  </a:lnTo>
                  <a:lnTo>
                    <a:pt x="6452" y="1913"/>
                  </a:lnTo>
                  <a:lnTo>
                    <a:pt x="6454" y="1906"/>
                  </a:lnTo>
                  <a:lnTo>
                    <a:pt x="6458" y="1900"/>
                  </a:lnTo>
                  <a:lnTo>
                    <a:pt x="6464" y="1895"/>
                  </a:lnTo>
                  <a:lnTo>
                    <a:pt x="6472" y="1893"/>
                  </a:lnTo>
                  <a:close/>
                  <a:moveTo>
                    <a:pt x="6709" y="1893"/>
                  </a:moveTo>
                  <a:lnTo>
                    <a:pt x="6842" y="1893"/>
                  </a:lnTo>
                  <a:lnTo>
                    <a:pt x="6851" y="1895"/>
                  </a:lnTo>
                  <a:lnTo>
                    <a:pt x="6858" y="1900"/>
                  </a:lnTo>
                  <a:lnTo>
                    <a:pt x="6861" y="1906"/>
                  </a:lnTo>
                  <a:lnTo>
                    <a:pt x="6863" y="1913"/>
                  </a:lnTo>
                  <a:lnTo>
                    <a:pt x="6861" y="1920"/>
                  </a:lnTo>
                  <a:lnTo>
                    <a:pt x="6858" y="1927"/>
                  </a:lnTo>
                  <a:lnTo>
                    <a:pt x="6851" y="1932"/>
                  </a:lnTo>
                  <a:lnTo>
                    <a:pt x="6842" y="1933"/>
                  </a:lnTo>
                  <a:lnTo>
                    <a:pt x="6709" y="1933"/>
                  </a:lnTo>
                  <a:lnTo>
                    <a:pt x="6700" y="1932"/>
                  </a:lnTo>
                  <a:lnTo>
                    <a:pt x="6693" y="1927"/>
                  </a:lnTo>
                  <a:lnTo>
                    <a:pt x="6690" y="1920"/>
                  </a:lnTo>
                  <a:lnTo>
                    <a:pt x="6688" y="1913"/>
                  </a:lnTo>
                  <a:lnTo>
                    <a:pt x="6690" y="1906"/>
                  </a:lnTo>
                  <a:lnTo>
                    <a:pt x="6693" y="1900"/>
                  </a:lnTo>
                  <a:lnTo>
                    <a:pt x="6700" y="1895"/>
                  </a:lnTo>
                  <a:lnTo>
                    <a:pt x="6709" y="1893"/>
                  </a:lnTo>
                  <a:close/>
                  <a:moveTo>
                    <a:pt x="6946" y="1893"/>
                  </a:moveTo>
                  <a:lnTo>
                    <a:pt x="7078" y="1893"/>
                  </a:lnTo>
                  <a:lnTo>
                    <a:pt x="7087" y="1895"/>
                  </a:lnTo>
                  <a:lnTo>
                    <a:pt x="7094" y="1900"/>
                  </a:lnTo>
                  <a:lnTo>
                    <a:pt x="7097" y="1906"/>
                  </a:lnTo>
                  <a:lnTo>
                    <a:pt x="7099" y="1913"/>
                  </a:lnTo>
                  <a:lnTo>
                    <a:pt x="7097" y="1920"/>
                  </a:lnTo>
                  <a:lnTo>
                    <a:pt x="7094" y="1927"/>
                  </a:lnTo>
                  <a:lnTo>
                    <a:pt x="7087" y="1932"/>
                  </a:lnTo>
                  <a:lnTo>
                    <a:pt x="7078" y="1933"/>
                  </a:lnTo>
                  <a:lnTo>
                    <a:pt x="6946" y="1933"/>
                  </a:lnTo>
                  <a:lnTo>
                    <a:pt x="6937" y="1932"/>
                  </a:lnTo>
                  <a:lnTo>
                    <a:pt x="6931" y="1927"/>
                  </a:lnTo>
                  <a:lnTo>
                    <a:pt x="6927" y="1920"/>
                  </a:lnTo>
                  <a:lnTo>
                    <a:pt x="6926" y="1913"/>
                  </a:lnTo>
                  <a:lnTo>
                    <a:pt x="6927" y="1906"/>
                  </a:lnTo>
                  <a:lnTo>
                    <a:pt x="6931" y="1900"/>
                  </a:lnTo>
                  <a:lnTo>
                    <a:pt x="6937" y="1895"/>
                  </a:lnTo>
                  <a:lnTo>
                    <a:pt x="6946" y="1893"/>
                  </a:lnTo>
                  <a:close/>
                  <a:moveTo>
                    <a:pt x="6236" y="2156"/>
                  </a:moveTo>
                  <a:lnTo>
                    <a:pt x="6369" y="2156"/>
                  </a:lnTo>
                  <a:lnTo>
                    <a:pt x="6378" y="2158"/>
                  </a:lnTo>
                  <a:lnTo>
                    <a:pt x="6384" y="2162"/>
                  </a:lnTo>
                  <a:lnTo>
                    <a:pt x="6387" y="2168"/>
                  </a:lnTo>
                  <a:lnTo>
                    <a:pt x="6388" y="2176"/>
                  </a:lnTo>
                  <a:lnTo>
                    <a:pt x="6387" y="2184"/>
                  </a:lnTo>
                  <a:lnTo>
                    <a:pt x="6384" y="2190"/>
                  </a:lnTo>
                  <a:lnTo>
                    <a:pt x="6378" y="2194"/>
                  </a:lnTo>
                  <a:lnTo>
                    <a:pt x="6369" y="2197"/>
                  </a:lnTo>
                  <a:lnTo>
                    <a:pt x="6236" y="2197"/>
                  </a:lnTo>
                  <a:lnTo>
                    <a:pt x="6227" y="2194"/>
                  </a:lnTo>
                  <a:lnTo>
                    <a:pt x="6220" y="2190"/>
                  </a:lnTo>
                  <a:lnTo>
                    <a:pt x="6216" y="2184"/>
                  </a:lnTo>
                  <a:lnTo>
                    <a:pt x="6215" y="2176"/>
                  </a:lnTo>
                  <a:lnTo>
                    <a:pt x="6216" y="2168"/>
                  </a:lnTo>
                  <a:lnTo>
                    <a:pt x="6220" y="2162"/>
                  </a:lnTo>
                  <a:lnTo>
                    <a:pt x="6227" y="2158"/>
                  </a:lnTo>
                  <a:lnTo>
                    <a:pt x="6236" y="2156"/>
                  </a:lnTo>
                  <a:close/>
                  <a:moveTo>
                    <a:pt x="6472" y="2156"/>
                  </a:moveTo>
                  <a:lnTo>
                    <a:pt x="6605" y="2156"/>
                  </a:lnTo>
                  <a:lnTo>
                    <a:pt x="6614" y="2158"/>
                  </a:lnTo>
                  <a:lnTo>
                    <a:pt x="6620" y="2162"/>
                  </a:lnTo>
                  <a:lnTo>
                    <a:pt x="6624" y="2168"/>
                  </a:lnTo>
                  <a:lnTo>
                    <a:pt x="6626" y="2176"/>
                  </a:lnTo>
                  <a:lnTo>
                    <a:pt x="6624" y="2184"/>
                  </a:lnTo>
                  <a:lnTo>
                    <a:pt x="6620" y="2190"/>
                  </a:lnTo>
                  <a:lnTo>
                    <a:pt x="6614" y="2194"/>
                  </a:lnTo>
                  <a:lnTo>
                    <a:pt x="6605" y="2197"/>
                  </a:lnTo>
                  <a:lnTo>
                    <a:pt x="6472" y="2197"/>
                  </a:lnTo>
                  <a:lnTo>
                    <a:pt x="6464" y="2194"/>
                  </a:lnTo>
                  <a:lnTo>
                    <a:pt x="6458" y="2190"/>
                  </a:lnTo>
                  <a:lnTo>
                    <a:pt x="6454" y="2184"/>
                  </a:lnTo>
                  <a:lnTo>
                    <a:pt x="6452" y="2176"/>
                  </a:lnTo>
                  <a:lnTo>
                    <a:pt x="6454" y="2168"/>
                  </a:lnTo>
                  <a:lnTo>
                    <a:pt x="6458" y="2162"/>
                  </a:lnTo>
                  <a:lnTo>
                    <a:pt x="6464" y="2158"/>
                  </a:lnTo>
                  <a:lnTo>
                    <a:pt x="6472" y="2156"/>
                  </a:lnTo>
                  <a:close/>
                  <a:moveTo>
                    <a:pt x="6709" y="2156"/>
                  </a:moveTo>
                  <a:lnTo>
                    <a:pt x="6842" y="2156"/>
                  </a:lnTo>
                  <a:lnTo>
                    <a:pt x="6851" y="2158"/>
                  </a:lnTo>
                  <a:lnTo>
                    <a:pt x="6858" y="2162"/>
                  </a:lnTo>
                  <a:lnTo>
                    <a:pt x="6861" y="2168"/>
                  </a:lnTo>
                  <a:lnTo>
                    <a:pt x="6863" y="2176"/>
                  </a:lnTo>
                  <a:lnTo>
                    <a:pt x="6861" y="2184"/>
                  </a:lnTo>
                  <a:lnTo>
                    <a:pt x="6858" y="2190"/>
                  </a:lnTo>
                  <a:lnTo>
                    <a:pt x="6851" y="2194"/>
                  </a:lnTo>
                  <a:lnTo>
                    <a:pt x="6842" y="2197"/>
                  </a:lnTo>
                  <a:lnTo>
                    <a:pt x="6709" y="2197"/>
                  </a:lnTo>
                  <a:lnTo>
                    <a:pt x="6700" y="2194"/>
                  </a:lnTo>
                  <a:lnTo>
                    <a:pt x="6693" y="2190"/>
                  </a:lnTo>
                  <a:lnTo>
                    <a:pt x="6690" y="2184"/>
                  </a:lnTo>
                  <a:lnTo>
                    <a:pt x="6688" y="2176"/>
                  </a:lnTo>
                  <a:lnTo>
                    <a:pt x="6690" y="2168"/>
                  </a:lnTo>
                  <a:lnTo>
                    <a:pt x="6693" y="2162"/>
                  </a:lnTo>
                  <a:lnTo>
                    <a:pt x="6700" y="2158"/>
                  </a:lnTo>
                  <a:lnTo>
                    <a:pt x="6709" y="2156"/>
                  </a:lnTo>
                  <a:close/>
                  <a:moveTo>
                    <a:pt x="6946" y="2156"/>
                  </a:moveTo>
                  <a:lnTo>
                    <a:pt x="7078" y="2156"/>
                  </a:lnTo>
                  <a:lnTo>
                    <a:pt x="7087" y="2158"/>
                  </a:lnTo>
                  <a:lnTo>
                    <a:pt x="7094" y="2162"/>
                  </a:lnTo>
                  <a:lnTo>
                    <a:pt x="7097" y="2168"/>
                  </a:lnTo>
                  <a:lnTo>
                    <a:pt x="7099" y="2176"/>
                  </a:lnTo>
                  <a:lnTo>
                    <a:pt x="7097" y="2184"/>
                  </a:lnTo>
                  <a:lnTo>
                    <a:pt x="7094" y="2190"/>
                  </a:lnTo>
                  <a:lnTo>
                    <a:pt x="7087" y="2194"/>
                  </a:lnTo>
                  <a:lnTo>
                    <a:pt x="7078" y="2197"/>
                  </a:lnTo>
                  <a:lnTo>
                    <a:pt x="6946" y="2197"/>
                  </a:lnTo>
                  <a:lnTo>
                    <a:pt x="6937" y="2194"/>
                  </a:lnTo>
                  <a:lnTo>
                    <a:pt x="6931" y="2190"/>
                  </a:lnTo>
                  <a:lnTo>
                    <a:pt x="6927" y="2184"/>
                  </a:lnTo>
                  <a:lnTo>
                    <a:pt x="6926" y="2176"/>
                  </a:lnTo>
                  <a:lnTo>
                    <a:pt x="6927" y="2168"/>
                  </a:lnTo>
                  <a:lnTo>
                    <a:pt x="6931" y="2162"/>
                  </a:lnTo>
                  <a:lnTo>
                    <a:pt x="6937" y="2158"/>
                  </a:lnTo>
                  <a:lnTo>
                    <a:pt x="6946" y="2156"/>
                  </a:lnTo>
                  <a:close/>
                  <a:moveTo>
                    <a:pt x="6236" y="2419"/>
                  </a:moveTo>
                  <a:lnTo>
                    <a:pt x="6369" y="2419"/>
                  </a:lnTo>
                  <a:lnTo>
                    <a:pt x="6378" y="2420"/>
                  </a:lnTo>
                  <a:lnTo>
                    <a:pt x="6384" y="2425"/>
                  </a:lnTo>
                  <a:lnTo>
                    <a:pt x="6387" y="2432"/>
                  </a:lnTo>
                  <a:lnTo>
                    <a:pt x="6388" y="2439"/>
                  </a:lnTo>
                  <a:lnTo>
                    <a:pt x="6387" y="2446"/>
                  </a:lnTo>
                  <a:lnTo>
                    <a:pt x="6384" y="2452"/>
                  </a:lnTo>
                  <a:lnTo>
                    <a:pt x="6378" y="2457"/>
                  </a:lnTo>
                  <a:lnTo>
                    <a:pt x="6369" y="2459"/>
                  </a:lnTo>
                  <a:lnTo>
                    <a:pt x="6236" y="2459"/>
                  </a:lnTo>
                  <a:lnTo>
                    <a:pt x="6227" y="2457"/>
                  </a:lnTo>
                  <a:lnTo>
                    <a:pt x="6220" y="2452"/>
                  </a:lnTo>
                  <a:lnTo>
                    <a:pt x="6216" y="2446"/>
                  </a:lnTo>
                  <a:lnTo>
                    <a:pt x="6215" y="2439"/>
                  </a:lnTo>
                  <a:lnTo>
                    <a:pt x="6216" y="2432"/>
                  </a:lnTo>
                  <a:lnTo>
                    <a:pt x="6220" y="2425"/>
                  </a:lnTo>
                  <a:lnTo>
                    <a:pt x="6227" y="2420"/>
                  </a:lnTo>
                  <a:lnTo>
                    <a:pt x="6236" y="2419"/>
                  </a:lnTo>
                  <a:close/>
                  <a:moveTo>
                    <a:pt x="6472" y="2419"/>
                  </a:moveTo>
                  <a:lnTo>
                    <a:pt x="6605" y="2419"/>
                  </a:lnTo>
                  <a:lnTo>
                    <a:pt x="6614" y="2420"/>
                  </a:lnTo>
                  <a:lnTo>
                    <a:pt x="6620" y="2425"/>
                  </a:lnTo>
                  <a:lnTo>
                    <a:pt x="6624" y="2432"/>
                  </a:lnTo>
                  <a:lnTo>
                    <a:pt x="6626" y="2439"/>
                  </a:lnTo>
                  <a:lnTo>
                    <a:pt x="6624" y="2446"/>
                  </a:lnTo>
                  <a:lnTo>
                    <a:pt x="6620" y="2452"/>
                  </a:lnTo>
                  <a:lnTo>
                    <a:pt x="6614" y="2457"/>
                  </a:lnTo>
                  <a:lnTo>
                    <a:pt x="6605" y="2459"/>
                  </a:lnTo>
                  <a:lnTo>
                    <a:pt x="6472" y="2459"/>
                  </a:lnTo>
                  <a:lnTo>
                    <a:pt x="6464" y="2457"/>
                  </a:lnTo>
                  <a:lnTo>
                    <a:pt x="6458" y="2452"/>
                  </a:lnTo>
                  <a:lnTo>
                    <a:pt x="6454" y="2446"/>
                  </a:lnTo>
                  <a:lnTo>
                    <a:pt x="6452" y="2439"/>
                  </a:lnTo>
                  <a:lnTo>
                    <a:pt x="6454" y="2432"/>
                  </a:lnTo>
                  <a:lnTo>
                    <a:pt x="6458" y="2425"/>
                  </a:lnTo>
                  <a:lnTo>
                    <a:pt x="6464" y="2420"/>
                  </a:lnTo>
                  <a:lnTo>
                    <a:pt x="6472" y="2419"/>
                  </a:lnTo>
                  <a:close/>
                  <a:moveTo>
                    <a:pt x="6709" y="2419"/>
                  </a:moveTo>
                  <a:lnTo>
                    <a:pt x="6842" y="2419"/>
                  </a:lnTo>
                  <a:lnTo>
                    <a:pt x="6851" y="2420"/>
                  </a:lnTo>
                  <a:lnTo>
                    <a:pt x="6858" y="2425"/>
                  </a:lnTo>
                  <a:lnTo>
                    <a:pt x="6861" y="2432"/>
                  </a:lnTo>
                  <a:lnTo>
                    <a:pt x="6863" y="2439"/>
                  </a:lnTo>
                  <a:lnTo>
                    <a:pt x="6861" y="2446"/>
                  </a:lnTo>
                  <a:lnTo>
                    <a:pt x="6858" y="2452"/>
                  </a:lnTo>
                  <a:lnTo>
                    <a:pt x="6851" y="2457"/>
                  </a:lnTo>
                  <a:lnTo>
                    <a:pt x="6842" y="2459"/>
                  </a:lnTo>
                  <a:lnTo>
                    <a:pt x="6709" y="2459"/>
                  </a:lnTo>
                  <a:lnTo>
                    <a:pt x="6700" y="2457"/>
                  </a:lnTo>
                  <a:lnTo>
                    <a:pt x="6693" y="2452"/>
                  </a:lnTo>
                  <a:lnTo>
                    <a:pt x="6690" y="2446"/>
                  </a:lnTo>
                  <a:lnTo>
                    <a:pt x="6688" y="2439"/>
                  </a:lnTo>
                  <a:lnTo>
                    <a:pt x="6690" y="2432"/>
                  </a:lnTo>
                  <a:lnTo>
                    <a:pt x="6693" y="2425"/>
                  </a:lnTo>
                  <a:lnTo>
                    <a:pt x="6700" y="2420"/>
                  </a:lnTo>
                  <a:lnTo>
                    <a:pt x="6709" y="2419"/>
                  </a:lnTo>
                  <a:close/>
                  <a:moveTo>
                    <a:pt x="6946" y="2419"/>
                  </a:moveTo>
                  <a:lnTo>
                    <a:pt x="7078" y="2419"/>
                  </a:lnTo>
                  <a:lnTo>
                    <a:pt x="7087" y="2420"/>
                  </a:lnTo>
                  <a:lnTo>
                    <a:pt x="7094" y="2425"/>
                  </a:lnTo>
                  <a:lnTo>
                    <a:pt x="7097" y="2432"/>
                  </a:lnTo>
                  <a:lnTo>
                    <a:pt x="7099" y="2439"/>
                  </a:lnTo>
                  <a:lnTo>
                    <a:pt x="7097" y="2446"/>
                  </a:lnTo>
                  <a:lnTo>
                    <a:pt x="7094" y="2452"/>
                  </a:lnTo>
                  <a:lnTo>
                    <a:pt x="7087" y="2457"/>
                  </a:lnTo>
                  <a:lnTo>
                    <a:pt x="7078" y="2459"/>
                  </a:lnTo>
                  <a:lnTo>
                    <a:pt x="6946" y="2459"/>
                  </a:lnTo>
                  <a:lnTo>
                    <a:pt x="6937" y="2457"/>
                  </a:lnTo>
                  <a:lnTo>
                    <a:pt x="6931" y="2452"/>
                  </a:lnTo>
                  <a:lnTo>
                    <a:pt x="6927" y="2446"/>
                  </a:lnTo>
                  <a:lnTo>
                    <a:pt x="6926" y="2439"/>
                  </a:lnTo>
                  <a:lnTo>
                    <a:pt x="6927" y="2432"/>
                  </a:lnTo>
                  <a:lnTo>
                    <a:pt x="6931" y="2425"/>
                  </a:lnTo>
                  <a:lnTo>
                    <a:pt x="6937" y="2420"/>
                  </a:lnTo>
                  <a:lnTo>
                    <a:pt x="6946" y="2419"/>
                  </a:lnTo>
                  <a:close/>
                  <a:moveTo>
                    <a:pt x="6236" y="2682"/>
                  </a:moveTo>
                  <a:lnTo>
                    <a:pt x="6369" y="2682"/>
                  </a:lnTo>
                  <a:lnTo>
                    <a:pt x="6378" y="2684"/>
                  </a:lnTo>
                  <a:lnTo>
                    <a:pt x="6384" y="2689"/>
                  </a:lnTo>
                  <a:lnTo>
                    <a:pt x="6387" y="2695"/>
                  </a:lnTo>
                  <a:lnTo>
                    <a:pt x="6388" y="2702"/>
                  </a:lnTo>
                  <a:lnTo>
                    <a:pt x="6387" y="2709"/>
                  </a:lnTo>
                  <a:lnTo>
                    <a:pt x="6384" y="2716"/>
                  </a:lnTo>
                  <a:lnTo>
                    <a:pt x="6378" y="2721"/>
                  </a:lnTo>
                  <a:lnTo>
                    <a:pt x="6369" y="2722"/>
                  </a:lnTo>
                  <a:lnTo>
                    <a:pt x="6236" y="2722"/>
                  </a:lnTo>
                  <a:lnTo>
                    <a:pt x="6227" y="2721"/>
                  </a:lnTo>
                  <a:lnTo>
                    <a:pt x="6220" y="2716"/>
                  </a:lnTo>
                  <a:lnTo>
                    <a:pt x="6216" y="2709"/>
                  </a:lnTo>
                  <a:lnTo>
                    <a:pt x="6215" y="2702"/>
                  </a:lnTo>
                  <a:lnTo>
                    <a:pt x="6216" y="2695"/>
                  </a:lnTo>
                  <a:lnTo>
                    <a:pt x="6220" y="2689"/>
                  </a:lnTo>
                  <a:lnTo>
                    <a:pt x="6227" y="2684"/>
                  </a:lnTo>
                  <a:lnTo>
                    <a:pt x="6236" y="2682"/>
                  </a:lnTo>
                  <a:close/>
                  <a:moveTo>
                    <a:pt x="6472" y="2682"/>
                  </a:moveTo>
                  <a:lnTo>
                    <a:pt x="6605" y="2682"/>
                  </a:lnTo>
                  <a:lnTo>
                    <a:pt x="6614" y="2684"/>
                  </a:lnTo>
                  <a:lnTo>
                    <a:pt x="6620" y="2689"/>
                  </a:lnTo>
                  <a:lnTo>
                    <a:pt x="6624" y="2695"/>
                  </a:lnTo>
                  <a:lnTo>
                    <a:pt x="6626" y="2702"/>
                  </a:lnTo>
                  <a:lnTo>
                    <a:pt x="6624" y="2709"/>
                  </a:lnTo>
                  <a:lnTo>
                    <a:pt x="6620" y="2716"/>
                  </a:lnTo>
                  <a:lnTo>
                    <a:pt x="6614" y="2721"/>
                  </a:lnTo>
                  <a:lnTo>
                    <a:pt x="6605" y="2722"/>
                  </a:lnTo>
                  <a:lnTo>
                    <a:pt x="6472" y="2722"/>
                  </a:lnTo>
                  <a:lnTo>
                    <a:pt x="6464" y="2721"/>
                  </a:lnTo>
                  <a:lnTo>
                    <a:pt x="6458" y="2716"/>
                  </a:lnTo>
                  <a:lnTo>
                    <a:pt x="6454" y="2709"/>
                  </a:lnTo>
                  <a:lnTo>
                    <a:pt x="6452" y="2702"/>
                  </a:lnTo>
                  <a:lnTo>
                    <a:pt x="6454" y="2695"/>
                  </a:lnTo>
                  <a:lnTo>
                    <a:pt x="6458" y="2689"/>
                  </a:lnTo>
                  <a:lnTo>
                    <a:pt x="6464" y="2684"/>
                  </a:lnTo>
                  <a:lnTo>
                    <a:pt x="6472" y="2682"/>
                  </a:lnTo>
                  <a:close/>
                  <a:moveTo>
                    <a:pt x="6709" y="2682"/>
                  </a:moveTo>
                  <a:lnTo>
                    <a:pt x="6842" y="2682"/>
                  </a:lnTo>
                  <a:lnTo>
                    <a:pt x="6851" y="2684"/>
                  </a:lnTo>
                  <a:lnTo>
                    <a:pt x="6858" y="2689"/>
                  </a:lnTo>
                  <a:lnTo>
                    <a:pt x="6861" y="2695"/>
                  </a:lnTo>
                  <a:lnTo>
                    <a:pt x="6863" y="2702"/>
                  </a:lnTo>
                  <a:lnTo>
                    <a:pt x="6861" y="2709"/>
                  </a:lnTo>
                  <a:lnTo>
                    <a:pt x="6858" y="2716"/>
                  </a:lnTo>
                  <a:lnTo>
                    <a:pt x="6851" y="2721"/>
                  </a:lnTo>
                  <a:lnTo>
                    <a:pt x="6842" y="2722"/>
                  </a:lnTo>
                  <a:lnTo>
                    <a:pt x="6709" y="2722"/>
                  </a:lnTo>
                  <a:lnTo>
                    <a:pt x="6700" y="2721"/>
                  </a:lnTo>
                  <a:lnTo>
                    <a:pt x="6693" y="2716"/>
                  </a:lnTo>
                  <a:lnTo>
                    <a:pt x="6690" y="2709"/>
                  </a:lnTo>
                  <a:lnTo>
                    <a:pt x="6688" y="2702"/>
                  </a:lnTo>
                  <a:lnTo>
                    <a:pt x="6690" y="2695"/>
                  </a:lnTo>
                  <a:lnTo>
                    <a:pt x="6693" y="2689"/>
                  </a:lnTo>
                  <a:lnTo>
                    <a:pt x="6700" y="2684"/>
                  </a:lnTo>
                  <a:lnTo>
                    <a:pt x="6709" y="2682"/>
                  </a:lnTo>
                  <a:close/>
                  <a:moveTo>
                    <a:pt x="6946" y="2682"/>
                  </a:moveTo>
                  <a:lnTo>
                    <a:pt x="7078" y="2682"/>
                  </a:lnTo>
                  <a:lnTo>
                    <a:pt x="7087" y="2684"/>
                  </a:lnTo>
                  <a:lnTo>
                    <a:pt x="7094" y="2689"/>
                  </a:lnTo>
                  <a:lnTo>
                    <a:pt x="7097" y="2695"/>
                  </a:lnTo>
                  <a:lnTo>
                    <a:pt x="7099" y="2702"/>
                  </a:lnTo>
                  <a:lnTo>
                    <a:pt x="7097" y="2709"/>
                  </a:lnTo>
                  <a:lnTo>
                    <a:pt x="7094" y="2716"/>
                  </a:lnTo>
                  <a:lnTo>
                    <a:pt x="7087" y="2721"/>
                  </a:lnTo>
                  <a:lnTo>
                    <a:pt x="7078" y="2722"/>
                  </a:lnTo>
                  <a:lnTo>
                    <a:pt x="6946" y="2722"/>
                  </a:lnTo>
                  <a:lnTo>
                    <a:pt x="6937" y="2721"/>
                  </a:lnTo>
                  <a:lnTo>
                    <a:pt x="6931" y="2716"/>
                  </a:lnTo>
                  <a:lnTo>
                    <a:pt x="6927" y="2709"/>
                  </a:lnTo>
                  <a:lnTo>
                    <a:pt x="6926" y="2702"/>
                  </a:lnTo>
                  <a:lnTo>
                    <a:pt x="6927" y="2695"/>
                  </a:lnTo>
                  <a:lnTo>
                    <a:pt x="6931" y="2689"/>
                  </a:lnTo>
                  <a:lnTo>
                    <a:pt x="6937" y="2684"/>
                  </a:lnTo>
                  <a:lnTo>
                    <a:pt x="6946" y="2682"/>
                  </a:lnTo>
                  <a:close/>
                  <a:moveTo>
                    <a:pt x="6236" y="2946"/>
                  </a:moveTo>
                  <a:lnTo>
                    <a:pt x="6369" y="2946"/>
                  </a:lnTo>
                  <a:lnTo>
                    <a:pt x="6378" y="2947"/>
                  </a:lnTo>
                  <a:lnTo>
                    <a:pt x="6384" y="2951"/>
                  </a:lnTo>
                  <a:lnTo>
                    <a:pt x="6387" y="2957"/>
                  </a:lnTo>
                  <a:lnTo>
                    <a:pt x="6388" y="2965"/>
                  </a:lnTo>
                  <a:lnTo>
                    <a:pt x="6387" y="2973"/>
                  </a:lnTo>
                  <a:lnTo>
                    <a:pt x="6384" y="2979"/>
                  </a:lnTo>
                  <a:lnTo>
                    <a:pt x="6378" y="2983"/>
                  </a:lnTo>
                  <a:lnTo>
                    <a:pt x="6369" y="2985"/>
                  </a:lnTo>
                  <a:lnTo>
                    <a:pt x="6236" y="2985"/>
                  </a:lnTo>
                  <a:lnTo>
                    <a:pt x="6227" y="2983"/>
                  </a:lnTo>
                  <a:lnTo>
                    <a:pt x="6220" y="2979"/>
                  </a:lnTo>
                  <a:lnTo>
                    <a:pt x="6216" y="2973"/>
                  </a:lnTo>
                  <a:lnTo>
                    <a:pt x="6215" y="2965"/>
                  </a:lnTo>
                  <a:lnTo>
                    <a:pt x="6216" y="2957"/>
                  </a:lnTo>
                  <a:lnTo>
                    <a:pt x="6220" y="2951"/>
                  </a:lnTo>
                  <a:lnTo>
                    <a:pt x="6227" y="2947"/>
                  </a:lnTo>
                  <a:lnTo>
                    <a:pt x="6236" y="2946"/>
                  </a:lnTo>
                  <a:close/>
                  <a:moveTo>
                    <a:pt x="6472" y="2946"/>
                  </a:moveTo>
                  <a:lnTo>
                    <a:pt x="6605" y="2946"/>
                  </a:lnTo>
                  <a:lnTo>
                    <a:pt x="6614" y="2947"/>
                  </a:lnTo>
                  <a:lnTo>
                    <a:pt x="6620" y="2951"/>
                  </a:lnTo>
                  <a:lnTo>
                    <a:pt x="6624" y="2957"/>
                  </a:lnTo>
                  <a:lnTo>
                    <a:pt x="6626" y="2965"/>
                  </a:lnTo>
                  <a:lnTo>
                    <a:pt x="6624" y="2973"/>
                  </a:lnTo>
                  <a:lnTo>
                    <a:pt x="6620" y="2979"/>
                  </a:lnTo>
                  <a:lnTo>
                    <a:pt x="6614" y="2983"/>
                  </a:lnTo>
                  <a:lnTo>
                    <a:pt x="6605" y="2985"/>
                  </a:lnTo>
                  <a:lnTo>
                    <a:pt x="6472" y="2985"/>
                  </a:lnTo>
                  <a:lnTo>
                    <a:pt x="6464" y="2983"/>
                  </a:lnTo>
                  <a:lnTo>
                    <a:pt x="6458" y="2979"/>
                  </a:lnTo>
                  <a:lnTo>
                    <a:pt x="6454" y="2973"/>
                  </a:lnTo>
                  <a:lnTo>
                    <a:pt x="6452" y="2965"/>
                  </a:lnTo>
                  <a:lnTo>
                    <a:pt x="6454" y="2957"/>
                  </a:lnTo>
                  <a:lnTo>
                    <a:pt x="6458" y="2951"/>
                  </a:lnTo>
                  <a:lnTo>
                    <a:pt x="6464" y="2947"/>
                  </a:lnTo>
                  <a:lnTo>
                    <a:pt x="6472" y="2946"/>
                  </a:lnTo>
                  <a:close/>
                  <a:moveTo>
                    <a:pt x="6709" y="2946"/>
                  </a:moveTo>
                  <a:lnTo>
                    <a:pt x="6842" y="2946"/>
                  </a:lnTo>
                  <a:lnTo>
                    <a:pt x="6851" y="2947"/>
                  </a:lnTo>
                  <a:lnTo>
                    <a:pt x="6858" y="2951"/>
                  </a:lnTo>
                  <a:lnTo>
                    <a:pt x="6861" y="2957"/>
                  </a:lnTo>
                  <a:lnTo>
                    <a:pt x="6863" y="2965"/>
                  </a:lnTo>
                  <a:lnTo>
                    <a:pt x="6861" y="2973"/>
                  </a:lnTo>
                  <a:lnTo>
                    <a:pt x="6858" y="2979"/>
                  </a:lnTo>
                  <a:lnTo>
                    <a:pt x="6851" y="2983"/>
                  </a:lnTo>
                  <a:lnTo>
                    <a:pt x="6842" y="2985"/>
                  </a:lnTo>
                  <a:lnTo>
                    <a:pt x="6709" y="2985"/>
                  </a:lnTo>
                  <a:lnTo>
                    <a:pt x="6700" y="2983"/>
                  </a:lnTo>
                  <a:lnTo>
                    <a:pt x="6693" y="2979"/>
                  </a:lnTo>
                  <a:lnTo>
                    <a:pt x="6690" y="2973"/>
                  </a:lnTo>
                  <a:lnTo>
                    <a:pt x="6688" y="2965"/>
                  </a:lnTo>
                  <a:lnTo>
                    <a:pt x="6690" y="2957"/>
                  </a:lnTo>
                  <a:lnTo>
                    <a:pt x="6693" y="2951"/>
                  </a:lnTo>
                  <a:lnTo>
                    <a:pt x="6700" y="2947"/>
                  </a:lnTo>
                  <a:lnTo>
                    <a:pt x="6709" y="2946"/>
                  </a:lnTo>
                  <a:close/>
                  <a:moveTo>
                    <a:pt x="6946" y="2946"/>
                  </a:moveTo>
                  <a:lnTo>
                    <a:pt x="7078" y="2946"/>
                  </a:lnTo>
                  <a:lnTo>
                    <a:pt x="7087" y="2947"/>
                  </a:lnTo>
                  <a:lnTo>
                    <a:pt x="7094" y="2951"/>
                  </a:lnTo>
                  <a:lnTo>
                    <a:pt x="7097" y="2957"/>
                  </a:lnTo>
                  <a:lnTo>
                    <a:pt x="7099" y="2965"/>
                  </a:lnTo>
                  <a:lnTo>
                    <a:pt x="7097" y="2973"/>
                  </a:lnTo>
                  <a:lnTo>
                    <a:pt x="7094" y="2979"/>
                  </a:lnTo>
                  <a:lnTo>
                    <a:pt x="7087" y="2983"/>
                  </a:lnTo>
                  <a:lnTo>
                    <a:pt x="7078" y="2985"/>
                  </a:lnTo>
                  <a:lnTo>
                    <a:pt x="6946" y="2985"/>
                  </a:lnTo>
                  <a:lnTo>
                    <a:pt x="6937" y="2983"/>
                  </a:lnTo>
                  <a:lnTo>
                    <a:pt x="6931" y="2979"/>
                  </a:lnTo>
                  <a:lnTo>
                    <a:pt x="6927" y="2973"/>
                  </a:lnTo>
                  <a:lnTo>
                    <a:pt x="6926" y="2965"/>
                  </a:lnTo>
                  <a:lnTo>
                    <a:pt x="6927" y="2957"/>
                  </a:lnTo>
                  <a:lnTo>
                    <a:pt x="6931" y="2951"/>
                  </a:lnTo>
                  <a:lnTo>
                    <a:pt x="6937" y="2947"/>
                  </a:lnTo>
                  <a:lnTo>
                    <a:pt x="6946" y="2946"/>
                  </a:lnTo>
                  <a:close/>
                  <a:moveTo>
                    <a:pt x="6236" y="3208"/>
                  </a:moveTo>
                  <a:lnTo>
                    <a:pt x="6369" y="3208"/>
                  </a:lnTo>
                  <a:lnTo>
                    <a:pt x="6378" y="3211"/>
                  </a:lnTo>
                  <a:lnTo>
                    <a:pt x="6384" y="3214"/>
                  </a:lnTo>
                  <a:lnTo>
                    <a:pt x="6387" y="3221"/>
                  </a:lnTo>
                  <a:lnTo>
                    <a:pt x="6388" y="3228"/>
                  </a:lnTo>
                  <a:lnTo>
                    <a:pt x="6387" y="3236"/>
                  </a:lnTo>
                  <a:lnTo>
                    <a:pt x="6384" y="3242"/>
                  </a:lnTo>
                  <a:lnTo>
                    <a:pt x="6378" y="3246"/>
                  </a:lnTo>
                  <a:lnTo>
                    <a:pt x="6369" y="3248"/>
                  </a:lnTo>
                  <a:lnTo>
                    <a:pt x="6236" y="3248"/>
                  </a:lnTo>
                  <a:lnTo>
                    <a:pt x="6227" y="3246"/>
                  </a:lnTo>
                  <a:lnTo>
                    <a:pt x="6220" y="3242"/>
                  </a:lnTo>
                  <a:lnTo>
                    <a:pt x="6216" y="3236"/>
                  </a:lnTo>
                  <a:lnTo>
                    <a:pt x="6215" y="3228"/>
                  </a:lnTo>
                  <a:lnTo>
                    <a:pt x="6216" y="3221"/>
                  </a:lnTo>
                  <a:lnTo>
                    <a:pt x="6220" y="3214"/>
                  </a:lnTo>
                  <a:lnTo>
                    <a:pt x="6227" y="3211"/>
                  </a:lnTo>
                  <a:lnTo>
                    <a:pt x="6236" y="3208"/>
                  </a:lnTo>
                  <a:close/>
                  <a:moveTo>
                    <a:pt x="6472" y="3208"/>
                  </a:moveTo>
                  <a:lnTo>
                    <a:pt x="6605" y="3208"/>
                  </a:lnTo>
                  <a:lnTo>
                    <a:pt x="6614" y="3211"/>
                  </a:lnTo>
                  <a:lnTo>
                    <a:pt x="6620" y="3214"/>
                  </a:lnTo>
                  <a:lnTo>
                    <a:pt x="6624" y="3221"/>
                  </a:lnTo>
                  <a:lnTo>
                    <a:pt x="6626" y="3228"/>
                  </a:lnTo>
                  <a:lnTo>
                    <a:pt x="6624" y="3236"/>
                  </a:lnTo>
                  <a:lnTo>
                    <a:pt x="6620" y="3242"/>
                  </a:lnTo>
                  <a:lnTo>
                    <a:pt x="6614" y="3246"/>
                  </a:lnTo>
                  <a:lnTo>
                    <a:pt x="6605" y="3248"/>
                  </a:lnTo>
                  <a:lnTo>
                    <a:pt x="6472" y="3248"/>
                  </a:lnTo>
                  <a:lnTo>
                    <a:pt x="6464" y="3246"/>
                  </a:lnTo>
                  <a:lnTo>
                    <a:pt x="6458" y="3242"/>
                  </a:lnTo>
                  <a:lnTo>
                    <a:pt x="6454" y="3236"/>
                  </a:lnTo>
                  <a:lnTo>
                    <a:pt x="6452" y="3228"/>
                  </a:lnTo>
                  <a:lnTo>
                    <a:pt x="6454" y="3221"/>
                  </a:lnTo>
                  <a:lnTo>
                    <a:pt x="6458" y="3214"/>
                  </a:lnTo>
                  <a:lnTo>
                    <a:pt x="6464" y="3211"/>
                  </a:lnTo>
                  <a:lnTo>
                    <a:pt x="6472" y="3208"/>
                  </a:lnTo>
                  <a:close/>
                  <a:moveTo>
                    <a:pt x="6709" y="3208"/>
                  </a:moveTo>
                  <a:lnTo>
                    <a:pt x="6842" y="3208"/>
                  </a:lnTo>
                  <a:lnTo>
                    <a:pt x="6851" y="3211"/>
                  </a:lnTo>
                  <a:lnTo>
                    <a:pt x="6858" y="3214"/>
                  </a:lnTo>
                  <a:lnTo>
                    <a:pt x="6861" y="3221"/>
                  </a:lnTo>
                  <a:lnTo>
                    <a:pt x="6863" y="3228"/>
                  </a:lnTo>
                  <a:lnTo>
                    <a:pt x="6861" y="3236"/>
                  </a:lnTo>
                  <a:lnTo>
                    <a:pt x="6858" y="3242"/>
                  </a:lnTo>
                  <a:lnTo>
                    <a:pt x="6851" y="3246"/>
                  </a:lnTo>
                  <a:lnTo>
                    <a:pt x="6842" y="3248"/>
                  </a:lnTo>
                  <a:lnTo>
                    <a:pt x="6709" y="3248"/>
                  </a:lnTo>
                  <a:lnTo>
                    <a:pt x="6700" y="3246"/>
                  </a:lnTo>
                  <a:lnTo>
                    <a:pt x="6693" y="3242"/>
                  </a:lnTo>
                  <a:lnTo>
                    <a:pt x="6690" y="3236"/>
                  </a:lnTo>
                  <a:lnTo>
                    <a:pt x="6688" y="3228"/>
                  </a:lnTo>
                  <a:lnTo>
                    <a:pt x="6690" y="3221"/>
                  </a:lnTo>
                  <a:lnTo>
                    <a:pt x="6693" y="3214"/>
                  </a:lnTo>
                  <a:lnTo>
                    <a:pt x="6700" y="3211"/>
                  </a:lnTo>
                  <a:lnTo>
                    <a:pt x="6709" y="3208"/>
                  </a:lnTo>
                  <a:close/>
                  <a:moveTo>
                    <a:pt x="6946" y="3208"/>
                  </a:moveTo>
                  <a:lnTo>
                    <a:pt x="7078" y="3208"/>
                  </a:lnTo>
                  <a:lnTo>
                    <a:pt x="7087" y="3211"/>
                  </a:lnTo>
                  <a:lnTo>
                    <a:pt x="7094" y="3214"/>
                  </a:lnTo>
                  <a:lnTo>
                    <a:pt x="7097" y="3221"/>
                  </a:lnTo>
                  <a:lnTo>
                    <a:pt x="7099" y="3228"/>
                  </a:lnTo>
                  <a:lnTo>
                    <a:pt x="7097" y="3236"/>
                  </a:lnTo>
                  <a:lnTo>
                    <a:pt x="7094" y="3242"/>
                  </a:lnTo>
                  <a:lnTo>
                    <a:pt x="7087" y="3246"/>
                  </a:lnTo>
                  <a:lnTo>
                    <a:pt x="7078" y="3248"/>
                  </a:lnTo>
                  <a:lnTo>
                    <a:pt x="6946" y="3248"/>
                  </a:lnTo>
                  <a:lnTo>
                    <a:pt x="6937" y="3246"/>
                  </a:lnTo>
                  <a:lnTo>
                    <a:pt x="6931" y="3242"/>
                  </a:lnTo>
                  <a:lnTo>
                    <a:pt x="6927" y="3236"/>
                  </a:lnTo>
                  <a:lnTo>
                    <a:pt x="6926" y="3228"/>
                  </a:lnTo>
                  <a:lnTo>
                    <a:pt x="6927" y="3221"/>
                  </a:lnTo>
                  <a:lnTo>
                    <a:pt x="6931" y="3214"/>
                  </a:lnTo>
                  <a:lnTo>
                    <a:pt x="6937" y="3211"/>
                  </a:lnTo>
                  <a:lnTo>
                    <a:pt x="6946" y="3208"/>
                  </a:lnTo>
                  <a:close/>
                  <a:moveTo>
                    <a:pt x="6236" y="3471"/>
                  </a:moveTo>
                  <a:lnTo>
                    <a:pt x="6369" y="3471"/>
                  </a:lnTo>
                  <a:lnTo>
                    <a:pt x="6378" y="3473"/>
                  </a:lnTo>
                  <a:lnTo>
                    <a:pt x="6384" y="3478"/>
                  </a:lnTo>
                  <a:lnTo>
                    <a:pt x="6387" y="3484"/>
                  </a:lnTo>
                  <a:lnTo>
                    <a:pt x="6388" y="3492"/>
                  </a:lnTo>
                  <a:lnTo>
                    <a:pt x="6387" y="3498"/>
                  </a:lnTo>
                  <a:lnTo>
                    <a:pt x="6384" y="3505"/>
                  </a:lnTo>
                  <a:lnTo>
                    <a:pt x="6378" y="3510"/>
                  </a:lnTo>
                  <a:lnTo>
                    <a:pt x="6369" y="3511"/>
                  </a:lnTo>
                  <a:lnTo>
                    <a:pt x="6236" y="3511"/>
                  </a:lnTo>
                  <a:lnTo>
                    <a:pt x="6227" y="3510"/>
                  </a:lnTo>
                  <a:lnTo>
                    <a:pt x="6220" y="3505"/>
                  </a:lnTo>
                  <a:lnTo>
                    <a:pt x="6216" y="3498"/>
                  </a:lnTo>
                  <a:lnTo>
                    <a:pt x="6215" y="3492"/>
                  </a:lnTo>
                  <a:lnTo>
                    <a:pt x="6216" y="3484"/>
                  </a:lnTo>
                  <a:lnTo>
                    <a:pt x="6220" y="3478"/>
                  </a:lnTo>
                  <a:lnTo>
                    <a:pt x="6227" y="3473"/>
                  </a:lnTo>
                  <a:lnTo>
                    <a:pt x="6236" y="3471"/>
                  </a:lnTo>
                  <a:close/>
                  <a:moveTo>
                    <a:pt x="6472" y="3471"/>
                  </a:moveTo>
                  <a:lnTo>
                    <a:pt x="6605" y="3471"/>
                  </a:lnTo>
                  <a:lnTo>
                    <a:pt x="6614" y="3473"/>
                  </a:lnTo>
                  <a:lnTo>
                    <a:pt x="6620" y="3478"/>
                  </a:lnTo>
                  <a:lnTo>
                    <a:pt x="6624" y="3484"/>
                  </a:lnTo>
                  <a:lnTo>
                    <a:pt x="6626" y="3492"/>
                  </a:lnTo>
                  <a:lnTo>
                    <a:pt x="6624" y="3498"/>
                  </a:lnTo>
                  <a:lnTo>
                    <a:pt x="6620" y="3505"/>
                  </a:lnTo>
                  <a:lnTo>
                    <a:pt x="6614" y="3510"/>
                  </a:lnTo>
                  <a:lnTo>
                    <a:pt x="6605" y="3511"/>
                  </a:lnTo>
                  <a:lnTo>
                    <a:pt x="6472" y="3511"/>
                  </a:lnTo>
                  <a:lnTo>
                    <a:pt x="6464" y="3510"/>
                  </a:lnTo>
                  <a:lnTo>
                    <a:pt x="6458" y="3505"/>
                  </a:lnTo>
                  <a:lnTo>
                    <a:pt x="6454" y="3498"/>
                  </a:lnTo>
                  <a:lnTo>
                    <a:pt x="6452" y="3492"/>
                  </a:lnTo>
                  <a:lnTo>
                    <a:pt x="6454" y="3484"/>
                  </a:lnTo>
                  <a:lnTo>
                    <a:pt x="6458" y="3478"/>
                  </a:lnTo>
                  <a:lnTo>
                    <a:pt x="6464" y="3473"/>
                  </a:lnTo>
                  <a:lnTo>
                    <a:pt x="6472" y="3471"/>
                  </a:lnTo>
                  <a:close/>
                  <a:moveTo>
                    <a:pt x="6709" y="3471"/>
                  </a:moveTo>
                  <a:lnTo>
                    <a:pt x="6842" y="3471"/>
                  </a:lnTo>
                  <a:lnTo>
                    <a:pt x="6851" y="3473"/>
                  </a:lnTo>
                  <a:lnTo>
                    <a:pt x="6858" y="3478"/>
                  </a:lnTo>
                  <a:lnTo>
                    <a:pt x="6861" y="3484"/>
                  </a:lnTo>
                  <a:lnTo>
                    <a:pt x="6863" y="3492"/>
                  </a:lnTo>
                  <a:lnTo>
                    <a:pt x="6861" y="3498"/>
                  </a:lnTo>
                  <a:lnTo>
                    <a:pt x="6858" y="3505"/>
                  </a:lnTo>
                  <a:lnTo>
                    <a:pt x="6851" y="3510"/>
                  </a:lnTo>
                  <a:lnTo>
                    <a:pt x="6842" y="3511"/>
                  </a:lnTo>
                  <a:lnTo>
                    <a:pt x="6709" y="3511"/>
                  </a:lnTo>
                  <a:lnTo>
                    <a:pt x="6700" y="3510"/>
                  </a:lnTo>
                  <a:lnTo>
                    <a:pt x="6693" y="3505"/>
                  </a:lnTo>
                  <a:lnTo>
                    <a:pt x="6690" y="3498"/>
                  </a:lnTo>
                  <a:lnTo>
                    <a:pt x="6688" y="3492"/>
                  </a:lnTo>
                  <a:lnTo>
                    <a:pt x="6690" y="3484"/>
                  </a:lnTo>
                  <a:lnTo>
                    <a:pt x="6693" y="3478"/>
                  </a:lnTo>
                  <a:lnTo>
                    <a:pt x="6700" y="3473"/>
                  </a:lnTo>
                  <a:lnTo>
                    <a:pt x="6709" y="3471"/>
                  </a:lnTo>
                  <a:close/>
                  <a:moveTo>
                    <a:pt x="6946" y="3471"/>
                  </a:moveTo>
                  <a:lnTo>
                    <a:pt x="7078" y="3471"/>
                  </a:lnTo>
                  <a:lnTo>
                    <a:pt x="7087" y="3473"/>
                  </a:lnTo>
                  <a:lnTo>
                    <a:pt x="7094" y="3478"/>
                  </a:lnTo>
                  <a:lnTo>
                    <a:pt x="7097" y="3484"/>
                  </a:lnTo>
                  <a:lnTo>
                    <a:pt x="7099" y="3492"/>
                  </a:lnTo>
                  <a:lnTo>
                    <a:pt x="7097" y="3498"/>
                  </a:lnTo>
                  <a:lnTo>
                    <a:pt x="7094" y="3505"/>
                  </a:lnTo>
                  <a:lnTo>
                    <a:pt x="7087" y="3510"/>
                  </a:lnTo>
                  <a:lnTo>
                    <a:pt x="7078" y="3511"/>
                  </a:lnTo>
                  <a:lnTo>
                    <a:pt x="6946" y="3511"/>
                  </a:lnTo>
                  <a:lnTo>
                    <a:pt x="6937" y="3510"/>
                  </a:lnTo>
                  <a:lnTo>
                    <a:pt x="6931" y="3505"/>
                  </a:lnTo>
                  <a:lnTo>
                    <a:pt x="6927" y="3498"/>
                  </a:lnTo>
                  <a:lnTo>
                    <a:pt x="6926" y="3492"/>
                  </a:lnTo>
                  <a:lnTo>
                    <a:pt x="6927" y="3484"/>
                  </a:lnTo>
                  <a:lnTo>
                    <a:pt x="6931" y="3478"/>
                  </a:lnTo>
                  <a:lnTo>
                    <a:pt x="6937" y="3473"/>
                  </a:lnTo>
                  <a:lnTo>
                    <a:pt x="6946" y="3471"/>
                  </a:lnTo>
                  <a:close/>
                  <a:moveTo>
                    <a:pt x="6236" y="3735"/>
                  </a:moveTo>
                  <a:lnTo>
                    <a:pt x="6369" y="3735"/>
                  </a:lnTo>
                  <a:lnTo>
                    <a:pt x="6378" y="3736"/>
                  </a:lnTo>
                  <a:lnTo>
                    <a:pt x="6384" y="3741"/>
                  </a:lnTo>
                  <a:lnTo>
                    <a:pt x="6387" y="3748"/>
                  </a:lnTo>
                  <a:lnTo>
                    <a:pt x="6388" y="3754"/>
                  </a:lnTo>
                  <a:lnTo>
                    <a:pt x="6387" y="3762"/>
                  </a:lnTo>
                  <a:lnTo>
                    <a:pt x="6384" y="3768"/>
                  </a:lnTo>
                  <a:lnTo>
                    <a:pt x="6378" y="3773"/>
                  </a:lnTo>
                  <a:lnTo>
                    <a:pt x="6369" y="3774"/>
                  </a:lnTo>
                  <a:lnTo>
                    <a:pt x="6236" y="3774"/>
                  </a:lnTo>
                  <a:lnTo>
                    <a:pt x="6227" y="3773"/>
                  </a:lnTo>
                  <a:lnTo>
                    <a:pt x="6220" y="3768"/>
                  </a:lnTo>
                  <a:lnTo>
                    <a:pt x="6216" y="3762"/>
                  </a:lnTo>
                  <a:lnTo>
                    <a:pt x="6215" y="3754"/>
                  </a:lnTo>
                  <a:lnTo>
                    <a:pt x="6216" y="3748"/>
                  </a:lnTo>
                  <a:lnTo>
                    <a:pt x="6220" y="3741"/>
                  </a:lnTo>
                  <a:lnTo>
                    <a:pt x="6227" y="3736"/>
                  </a:lnTo>
                  <a:lnTo>
                    <a:pt x="6236" y="3735"/>
                  </a:lnTo>
                  <a:close/>
                  <a:moveTo>
                    <a:pt x="6472" y="3735"/>
                  </a:moveTo>
                  <a:lnTo>
                    <a:pt x="6605" y="3735"/>
                  </a:lnTo>
                  <a:lnTo>
                    <a:pt x="6614" y="3736"/>
                  </a:lnTo>
                  <a:lnTo>
                    <a:pt x="6620" y="3741"/>
                  </a:lnTo>
                  <a:lnTo>
                    <a:pt x="6624" y="3748"/>
                  </a:lnTo>
                  <a:lnTo>
                    <a:pt x="6626" y="3754"/>
                  </a:lnTo>
                  <a:lnTo>
                    <a:pt x="6624" y="3762"/>
                  </a:lnTo>
                  <a:lnTo>
                    <a:pt x="6620" y="3768"/>
                  </a:lnTo>
                  <a:lnTo>
                    <a:pt x="6614" y="3773"/>
                  </a:lnTo>
                  <a:lnTo>
                    <a:pt x="6605" y="3774"/>
                  </a:lnTo>
                  <a:lnTo>
                    <a:pt x="6472" y="3774"/>
                  </a:lnTo>
                  <a:lnTo>
                    <a:pt x="6464" y="3773"/>
                  </a:lnTo>
                  <a:lnTo>
                    <a:pt x="6458" y="3768"/>
                  </a:lnTo>
                  <a:lnTo>
                    <a:pt x="6454" y="3762"/>
                  </a:lnTo>
                  <a:lnTo>
                    <a:pt x="6452" y="3754"/>
                  </a:lnTo>
                  <a:lnTo>
                    <a:pt x="6454" y="3748"/>
                  </a:lnTo>
                  <a:lnTo>
                    <a:pt x="6458" y="3741"/>
                  </a:lnTo>
                  <a:lnTo>
                    <a:pt x="6464" y="3736"/>
                  </a:lnTo>
                  <a:lnTo>
                    <a:pt x="6472" y="3735"/>
                  </a:lnTo>
                  <a:close/>
                  <a:moveTo>
                    <a:pt x="6709" y="3735"/>
                  </a:moveTo>
                  <a:lnTo>
                    <a:pt x="6842" y="3735"/>
                  </a:lnTo>
                  <a:lnTo>
                    <a:pt x="6851" y="3736"/>
                  </a:lnTo>
                  <a:lnTo>
                    <a:pt x="6858" y="3741"/>
                  </a:lnTo>
                  <a:lnTo>
                    <a:pt x="6861" y="3748"/>
                  </a:lnTo>
                  <a:lnTo>
                    <a:pt x="6863" y="3754"/>
                  </a:lnTo>
                  <a:lnTo>
                    <a:pt x="6861" y="3762"/>
                  </a:lnTo>
                  <a:lnTo>
                    <a:pt x="6858" y="3768"/>
                  </a:lnTo>
                  <a:lnTo>
                    <a:pt x="6851" y="3773"/>
                  </a:lnTo>
                  <a:lnTo>
                    <a:pt x="6842" y="3774"/>
                  </a:lnTo>
                  <a:lnTo>
                    <a:pt x="6709" y="3774"/>
                  </a:lnTo>
                  <a:lnTo>
                    <a:pt x="6700" y="3773"/>
                  </a:lnTo>
                  <a:lnTo>
                    <a:pt x="6693" y="3768"/>
                  </a:lnTo>
                  <a:lnTo>
                    <a:pt x="6690" y="3762"/>
                  </a:lnTo>
                  <a:lnTo>
                    <a:pt x="6688" y="3754"/>
                  </a:lnTo>
                  <a:lnTo>
                    <a:pt x="6690" y="3748"/>
                  </a:lnTo>
                  <a:lnTo>
                    <a:pt x="6693" y="3741"/>
                  </a:lnTo>
                  <a:lnTo>
                    <a:pt x="6700" y="3736"/>
                  </a:lnTo>
                  <a:lnTo>
                    <a:pt x="6709" y="3735"/>
                  </a:lnTo>
                  <a:close/>
                  <a:moveTo>
                    <a:pt x="6946" y="3735"/>
                  </a:moveTo>
                  <a:lnTo>
                    <a:pt x="7078" y="3735"/>
                  </a:lnTo>
                  <a:lnTo>
                    <a:pt x="7087" y="3736"/>
                  </a:lnTo>
                  <a:lnTo>
                    <a:pt x="7094" y="3741"/>
                  </a:lnTo>
                  <a:lnTo>
                    <a:pt x="7097" y="3748"/>
                  </a:lnTo>
                  <a:lnTo>
                    <a:pt x="7099" y="3754"/>
                  </a:lnTo>
                  <a:lnTo>
                    <a:pt x="7097" y="3762"/>
                  </a:lnTo>
                  <a:lnTo>
                    <a:pt x="7094" y="3768"/>
                  </a:lnTo>
                  <a:lnTo>
                    <a:pt x="7087" y="3773"/>
                  </a:lnTo>
                  <a:lnTo>
                    <a:pt x="7078" y="3774"/>
                  </a:lnTo>
                  <a:lnTo>
                    <a:pt x="6946" y="3774"/>
                  </a:lnTo>
                  <a:lnTo>
                    <a:pt x="6937" y="3773"/>
                  </a:lnTo>
                  <a:lnTo>
                    <a:pt x="6931" y="3768"/>
                  </a:lnTo>
                  <a:lnTo>
                    <a:pt x="6927" y="3762"/>
                  </a:lnTo>
                  <a:lnTo>
                    <a:pt x="6926" y="3754"/>
                  </a:lnTo>
                  <a:lnTo>
                    <a:pt x="6927" y="3748"/>
                  </a:lnTo>
                  <a:lnTo>
                    <a:pt x="6931" y="3741"/>
                  </a:lnTo>
                  <a:lnTo>
                    <a:pt x="6937" y="3736"/>
                  </a:lnTo>
                  <a:lnTo>
                    <a:pt x="6946" y="3735"/>
                  </a:lnTo>
                  <a:close/>
                  <a:moveTo>
                    <a:pt x="6236" y="3997"/>
                  </a:moveTo>
                  <a:lnTo>
                    <a:pt x="6369" y="3997"/>
                  </a:lnTo>
                  <a:lnTo>
                    <a:pt x="6378" y="3999"/>
                  </a:lnTo>
                  <a:lnTo>
                    <a:pt x="6384" y="4003"/>
                  </a:lnTo>
                  <a:lnTo>
                    <a:pt x="6387" y="4010"/>
                  </a:lnTo>
                  <a:lnTo>
                    <a:pt x="6388" y="4017"/>
                  </a:lnTo>
                  <a:lnTo>
                    <a:pt x="6387" y="4025"/>
                  </a:lnTo>
                  <a:lnTo>
                    <a:pt x="6384" y="4031"/>
                  </a:lnTo>
                  <a:lnTo>
                    <a:pt x="6378" y="4035"/>
                  </a:lnTo>
                  <a:lnTo>
                    <a:pt x="6369" y="4038"/>
                  </a:lnTo>
                  <a:lnTo>
                    <a:pt x="6236" y="4038"/>
                  </a:lnTo>
                  <a:lnTo>
                    <a:pt x="6227" y="4035"/>
                  </a:lnTo>
                  <a:lnTo>
                    <a:pt x="6220" y="4031"/>
                  </a:lnTo>
                  <a:lnTo>
                    <a:pt x="6216" y="4025"/>
                  </a:lnTo>
                  <a:lnTo>
                    <a:pt x="6215" y="4017"/>
                  </a:lnTo>
                  <a:lnTo>
                    <a:pt x="6216" y="4010"/>
                  </a:lnTo>
                  <a:lnTo>
                    <a:pt x="6220" y="4003"/>
                  </a:lnTo>
                  <a:lnTo>
                    <a:pt x="6227" y="3999"/>
                  </a:lnTo>
                  <a:lnTo>
                    <a:pt x="6236" y="3997"/>
                  </a:lnTo>
                  <a:close/>
                  <a:moveTo>
                    <a:pt x="6472" y="3997"/>
                  </a:moveTo>
                  <a:lnTo>
                    <a:pt x="6605" y="3997"/>
                  </a:lnTo>
                  <a:lnTo>
                    <a:pt x="6614" y="3999"/>
                  </a:lnTo>
                  <a:lnTo>
                    <a:pt x="6620" y="4003"/>
                  </a:lnTo>
                  <a:lnTo>
                    <a:pt x="6624" y="4010"/>
                  </a:lnTo>
                  <a:lnTo>
                    <a:pt x="6626" y="4017"/>
                  </a:lnTo>
                  <a:lnTo>
                    <a:pt x="6624" y="4025"/>
                  </a:lnTo>
                  <a:lnTo>
                    <a:pt x="6620" y="4031"/>
                  </a:lnTo>
                  <a:lnTo>
                    <a:pt x="6614" y="4035"/>
                  </a:lnTo>
                  <a:lnTo>
                    <a:pt x="6605" y="4038"/>
                  </a:lnTo>
                  <a:lnTo>
                    <a:pt x="6472" y="4038"/>
                  </a:lnTo>
                  <a:lnTo>
                    <a:pt x="6464" y="4035"/>
                  </a:lnTo>
                  <a:lnTo>
                    <a:pt x="6458" y="4031"/>
                  </a:lnTo>
                  <a:lnTo>
                    <a:pt x="6454" y="4025"/>
                  </a:lnTo>
                  <a:lnTo>
                    <a:pt x="6452" y="4017"/>
                  </a:lnTo>
                  <a:lnTo>
                    <a:pt x="6454" y="4010"/>
                  </a:lnTo>
                  <a:lnTo>
                    <a:pt x="6458" y="4003"/>
                  </a:lnTo>
                  <a:lnTo>
                    <a:pt x="6464" y="3999"/>
                  </a:lnTo>
                  <a:lnTo>
                    <a:pt x="6472" y="3997"/>
                  </a:lnTo>
                  <a:close/>
                  <a:moveTo>
                    <a:pt x="6709" y="3997"/>
                  </a:moveTo>
                  <a:lnTo>
                    <a:pt x="6842" y="3997"/>
                  </a:lnTo>
                  <a:lnTo>
                    <a:pt x="6851" y="3999"/>
                  </a:lnTo>
                  <a:lnTo>
                    <a:pt x="6858" y="4003"/>
                  </a:lnTo>
                  <a:lnTo>
                    <a:pt x="6861" y="4010"/>
                  </a:lnTo>
                  <a:lnTo>
                    <a:pt x="6863" y="4017"/>
                  </a:lnTo>
                  <a:lnTo>
                    <a:pt x="6861" y="4025"/>
                  </a:lnTo>
                  <a:lnTo>
                    <a:pt x="6858" y="4031"/>
                  </a:lnTo>
                  <a:lnTo>
                    <a:pt x="6851" y="4035"/>
                  </a:lnTo>
                  <a:lnTo>
                    <a:pt x="6842" y="4038"/>
                  </a:lnTo>
                  <a:lnTo>
                    <a:pt x="6709" y="4038"/>
                  </a:lnTo>
                  <a:lnTo>
                    <a:pt x="6700" y="4035"/>
                  </a:lnTo>
                  <a:lnTo>
                    <a:pt x="6693" y="4031"/>
                  </a:lnTo>
                  <a:lnTo>
                    <a:pt x="6690" y="4025"/>
                  </a:lnTo>
                  <a:lnTo>
                    <a:pt x="6688" y="4017"/>
                  </a:lnTo>
                  <a:lnTo>
                    <a:pt x="6690" y="4010"/>
                  </a:lnTo>
                  <a:lnTo>
                    <a:pt x="6693" y="4003"/>
                  </a:lnTo>
                  <a:lnTo>
                    <a:pt x="6700" y="3999"/>
                  </a:lnTo>
                  <a:lnTo>
                    <a:pt x="6709" y="3997"/>
                  </a:lnTo>
                  <a:close/>
                  <a:moveTo>
                    <a:pt x="6946" y="3997"/>
                  </a:moveTo>
                  <a:lnTo>
                    <a:pt x="7078" y="3997"/>
                  </a:lnTo>
                  <a:lnTo>
                    <a:pt x="7087" y="3999"/>
                  </a:lnTo>
                  <a:lnTo>
                    <a:pt x="7094" y="4003"/>
                  </a:lnTo>
                  <a:lnTo>
                    <a:pt x="7097" y="4010"/>
                  </a:lnTo>
                  <a:lnTo>
                    <a:pt x="7099" y="4017"/>
                  </a:lnTo>
                  <a:lnTo>
                    <a:pt x="7097" y="4025"/>
                  </a:lnTo>
                  <a:lnTo>
                    <a:pt x="7094" y="4031"/>
                  </a:lnTo>
                  <a:lnTo>
                    <a:pt x="7087" y="4035"/>
                  </a:lnTo>
                  <a:lnTo>
                    <a:pt x="7078" y="4038"/>
                  </a:lnTo>
                  <a:lnTo>
                    <a:pt x="6946" y="4038"/>
                  </a:lnTo>
                  <a:lnTo>
                    <a:pt x="6937" y="4035"/>
                  </a:lnTo>
                  <a:lnTo>
                    <a:pt x="6931" y="4031"/>
                  </a:lnTo>
                  <a:lnTo>
                    <a:pt x="6927" y="4025"/>
                  </a:lnTo>
                  <a:lnTo>
                    <a:pt x="6926" y="4017"/>
                  </a:lnTo>
                  <a:lnTo>
                    <a:pt x="6927" y="4010"/>
                  </a:lnTo>
                  <a:lnTo>
                    <a:pt x="6931" y="4003"/>
                  </a:lnTo>
                  <a:lnTo>
                    <a:pt x="6937" y="3999"/>
                  </a:lnTo>
                  <a:lnTo>
                    <a:pt x="6946" y="3997"/>
                  </a:lnTo>
                  <a:close/>
                  <a:moveTo>
                    <a:pt x="7545" y="2941"/>
                  </a:moveTo>
                  <a:lnTo>
                    <a:pt x="7545" y="3052"/>
                  </a:lnTo>
                  <a:lnTo>
                    <a:pt x="7542" y="3061"/>
                  </a:lnTo>
                  <a:lnTo>
                    <a:pt x="7539" y="3067"/>
                  </a:lnTo>
                  <a:lnTo>
                    <a:pt x="7532" y="3071"/>
                  </a:lnTo>
                  <a:lnTo>
                    <a:pt x="7524" y="3072"/>
                  </a:lnTo>
                  <a:lnTo>
                    <a:pt x="7517" y="3071"/>
                  </a:lnTo>
                  <a:lnTo>
                    <a:pt x="7510" y="3067"/>
                  </a:lnTo>
                  <a:lnTo>
                    <a:pt x="7506" y="3061"/>
                  </a:lnTo>
                  <a:lnTo>
                    <a:pt x="7505" y="3052"/>
                  </a:lnTo>
                  <a:lnTo>
                    <a:pt x="7505" y="2941"/>
                  </a:lnTo>
                  <a:lnTo>
                    <a:pt x="7506" y="2932"/>
                  </a:lnTo>
                  <a:lnTo>
                    <a:pt x="7510" y="2925"/>
                  </a:lnTo>
                  <a:lnTo>
                    <a:pt x="7517" y="2922"/>
                  </a:lnTo>
                  <a:lnTo>
                    <a:pt x="7524" y="2920"/>
                  </a:lnTo>
                  <a:lnTo>
                    <a:pt x="7532" y="2922"/>
                  </a:lnTo>
                  <a:lnTo>
                    <a:pt x="7539" y="2925"/>
                  </a:lnTo>
                  <a:lnTo>
                    <a:pt x="7542" y="2932"/>
                  </a:lnTo>
                  <a:lnTo>
                    <a:pt x="7545" y="2941"/>
                  </a:lnTo>
                  <a:close/>
                  <a:moveTo>
                    <a:pt x="7808" y="2941"/>
                  </a:moveTo>
                  <a:lnTo>
                    <a:pt x="7808" y="3052"/>
                  </a:lnTo>
                  <a:lnTo>
                    <a:pt x="7807" y="3061"/>
                  </a:lnTo>
                  <a:lnTo>
                    <a:pt x="7801" y="3067"/>
                  </a:lnTo>
                  <a:lnTo>
                    <a:pt x="7795" y="3071"/>
                  </a:lnTo>
                  <a:lnTo>
                    <a:pt x="7787" y="3072"/>
                  </a:lnTo>
                  <a:lnTo>
                    <a:pt x="7781" y="3071"/>
                  </a:lnTo>
                  <a:lnTo>
                    <a:pt x="7774" y="3067"/>
                  </a:lnTo>
                  <a:lnTo>
                    <a:pt x="7769" y="3061"/>
                  </a:lnTo>
                  <a:lnTo>
                    <a:pt x="7768" y="3052"/>
                  </a:lnTo>
                  <a:lnTo>
                    <a:pt x="7768" y="2941"/>
                  </a:lnTo>
                  <a:lnTo>
                    <a:pt x="7769" y="2932"/>
                  </a:lnTo>
                  <a:lnTo>
                    <a:pt x="7774" y="2925"/>
                  </a:lnTo>
                  <a:lnTo>
                    <a:pt x="7781" y="2922"/>
                  </a:lnTo>
                  <a:lnTo>
                    <a:pt x="7787" y="2920"/>
                  </a:lnTo>
                  <a:lnTo>
                    <a:pt x="7795" y="2922"/>
                  </a:lnTo>
                  <a:lnTo>
                    <a:pt x="7801" y="2925"/>
                  </a:lnTo>
                  <a:lnTo>
                    <a:pt x="7807" y="2932"/>
                  </a:lnTo>
                  <a:lnTo>
                    <a:pt x="7808" y="2941"/>
                  </a:lnTo>
                  <a:close/>
                  <a:moveTo>
                    <a:pt x="8071" y="2941"/>
                  </a:moveTo>
                  <a:lnTo>
                    <a:pt x="8071" y="3052"/>
                  </a:lnTo>
                  <a:lnTo>
                    <a:pt x="8069" y="3061"/>
                  </a:lnTo>
                  <a:lnTo>
                    <a:pt x="8064" y="3067"/>
                  </a:lnTo>
                  <a:lnTo>
                    <a:pt x="8058" y="3071"/>
                  </a:lnTo>
                  <a:lnTo>
                    <a:pt x="8051" y="3072"/>
                  </a:lnTo>
                  <a:lnTo>
                    <a:pt x="8044" y="3071"/>
                  </a:lnTo>
                  <a:lnTo>
                    <a:pt x="8037" y="3067"/>
                  </a:lnTo>
                  <a:lnTo>
                    <a:pt x="8032" y="3061"/>
                  </a:lnTo>
                  <a:lnTo>
                    <a:pt x="8031" y="3052"/>
                  </a:lnTo>
                  <a:lnTo>
                    <a:pt x="8031" y="2941"/>
                  </a:lnTo>
                  <a:lnTo>
                    <a:pt x="8032" y="2932"/>
                  </a:lnTo>
                  <a:lnTo>
                    <a:pt x="8037" y="2925"/>
                  </a:lnTo>
                  <a:lnTo>
                    <a:pt x="8044" y="2922"/>
                  </a:lnTo>
                  <a:lnTo>
                    <a:pt x="8051" y="2920"/>
                  </a:lnTo>
                  <a:lnTo>
                    <a:pt x="8058" y="2922"/>
                  </a:lnTo>
                  <a:lnTo>
                    <a:pt x="8064" y="2925"/>
                  </a:lnTo>
                  <a:lnTo>
                    <a:pt x="8069" y="2932"/>
                  </a:lnTo>
                  <a:lnTo>
                    <a:pt x="8071" y="2941"/>
                  </a:lnTo>
                  <a:close/>
                  <a:moveTo>
                    <a:pt x="8334" y="2941"/>
                  </a:moveTo>
                  <a:lnTo>
                    <a:pt x="8334" y="3052"/>
                  </a:lnTo>
                  <a:lnTo>
                    <a:pt x="8332" y="3061"/>
                  </a:lnTo>
                  <a:lnTo>
                    <a:pt x="8327" y="3067"/>
                  </a:lnTo>
                  <a:lnTo>
                    <a:pt x="8322" y="3071"/>
                  </a:lnTo>
                  <a:lnTo>
                    <a:pt x="8314" y="3072"/>
                  </a:lnTo>
                  <a:lnTo>
                    <a:pt x="8307" y="3071"/>
                  </a:lnTo>
                  <a:lnTo>
                    <a:pt x="8300" y="3067"/>
                  </a:lnTo>
                  <a:lnTo>
                    <a:pt x="8296" y="3061"/>
                  </a:lnTo>
                  <a:lnTo>
                    <a:pt x="8294" y="3052"/>
                  </a:lnTo>
                  <a:lnTo>
                    <a:pt x="8294" y="2941"/>
                  </a:lnTo>
                  <a:lnTo>
                    <a:pt x="8296" y="2932"/>
                  </a:lnTo>
                  <a:lnTo>
                    <a:pt x="8300" y="2925"/>
                  </a:lnTo>
                  <a:lnTo>
                    <a:pt x="8307" y="2922"/>
                  </a:lnTo>
                  <a:lnTo>
                    <a:pt x="8314" y="2920"/>
                  </a:lnTo>
                  <a:lnTo>
                    <a:pt x="8322" y="2922"/>
                  </a:lnTo>
                  <a:lnTo>
                    <a:pt x="8327" y="2925"/>
                  </a:lnTo>
                  <a:lnTo>
                    <a:pt x="8332" y="2932"/>
                  </a:lnTo>
                  <a:lnTo>
                    <a:pt x="8334" y="2941"/>
                  </a:lnTo>
                  <a:close/>
                  <a:moveTo>
                    <a:pt x="8598" y="2941"/>
                  </a:moveTo>
                  <a:lnTo>
                    <a:pt x="8598" y="3052"/>
                  </a:lnTo>
                  <a:lnTo>
                    <a:pt x="8595" y="3061"/>
                  </a:lnTo>
                  <a:lnTo>
                    <a:pt x="8591" y="3067"/>
                  </a:lnTo>
                  <a:lnTo>
                    <a:pt x="8585" y="3071"/>
                  </a:lnTo>
                  <a:lnTo>
                    <a:pt x="8577" y="3072"/>
                  </a:lnTo>
                  <a:lnTo>
                    <a:pt x="8569" y="3071"/>
                  </a:lnTo>
                  <a:lnTo>
                    <a:pt x="8563" y="3067"/>
                  </a:lnTo>
                  <a:lnTo>
                    <a:pt x="8559" y="3061"/>
                  </a:lnTo>
                  <a:lnTo>
                    <a:pt x="8557" y="3052"/>
                  </a:lnTo>
                  <a:lnTo>
                    <a:pt x="8557" y="2941"/>
                  </a:lnTo>
                  <a:lnTo>
                    <a:pt x="8559" y="2932"/>
                  </a:lnTo>
                  <a:lnTo>
                    <a:pt x="8563" y="2925"/>
                  </a:lnTo>
                  <a:lnTo>
                    <a:pt x="8569" y="2922"/>
                  </a:lnTo>
                  <a:lnTo>
                    <a:pt x="8577" y="2920"/>
                  </a:lnTo>
                  <a:lnTo>
                    <a:pt x="8585" y="2922"/>
                  </a:lnTo>
                  <a:lnTo>
                    <a:pt x="8591" y="2925"/>
                  </a:lnTo>
                  <a:lnTo>
                    <a:pt x="8595" y="2932"/>
                  </a:lnTo>
                  <a:lnTo>
                    <a:pt x="8598" y="2941"/>
                  </a:lnTo>
                  <a:close/>
                  <a:moveTo>
                    <a:pt x="8861" y="2941"/>
                  </a:moveTo>
                  <a:lnTo>
                    <a:pt x="8861" y="3052"/>
                  </a:lnTo>
                  <a:lnTo>
                    <a:pt x="8858" y="3061"/>
                  </a:lnTo>
                  <a:lnTo>
                    <a:pt x="8854" y="3067"/>
                  </a:lnTo>
                  <a:lnTo>
                    <a:pt x="8848" y="3071"/>
                  </a:lnTo>
                  <a:lnTo>
                    <a:pt x="8840" y="3072"/>
                  </a:lnTo>
                  <a:lnTo>
                    <a:pt x="8832" y="3071"/>
                  </a:lnTo>
                  <a:lnTo>
                    <a:pt x="8826" y="3067"/>
                  </a:lnTo>
                  <a:lnTo>
                    <a:pt x="8822" y="3061"/>
                  </a:lnTo>
                  <a:lnTo>
                    <a:pt x="8821" y="3052"/>
                  </a:lnTo>
                  <a:lnTo>
                    <a:pt x="8821" y="2941"/>
                  </a:lnTo>
                  <a:lnTo>
                    <a:pt x="8822" y="2932"/>
                  </a:lnTo>
                  <a:lnTo>
                    <a:pt x="8826" y="2925"/>
                  </a:lnTo>
                  <a:lnTo>
                    <a:pt x="8832" y="2922"/>
                  </a:lnTo>
                  <a:lnTo>
                    <a:pt x="8840" y="2920"/>
                  </a:lnTo>
                  <a:lnTo>
                    <a:pt x="8848" y="2922"/>
                  </a:lnTo>
                  <a:lnTo>
                    <a:pt x="8854" y="2925"/>
                  </a:lnTo>
                  <a:lnTo>
                    <a:pt x="8858" y="2932"/>
                  </a:lnTo>
                  <a:lnTo>
                    <a:pt x="8861" y="2941"/>
                  </a:lnTo>
                  <a:close/>
                  <a:moveTo>
                    <a:pt x="7545" y="3186"/>
                  </a:moveTo>
                  <a:lnTo>
                    <a:pt x="7545" y="3299"/>
                  </a:lnTo>
                  <a:lnTo>
                    <a:pt x="7542" y="3308"/>
                  </a:lnTo>
                  <a:lnTo>
                    <a:pt x="7539" y="3314"/>
                  </a:lnTo>
                  <a:lnTo>
                    <a:pt x="7532" y="3318"/>
                  </a:lnTo>
                  <a:lnTo>
                    <a:pt x="7524" y="3319"/>
                  </a:lnTo>
                  <a:lnTo>
                    <a:pt x="7517" y="3318"/>
                  </a:lnTo>
                  <a:lnTo>
                    <a:pt x="7510" y="3314"/>
                  </a:lnTo>
                  <a:lnTo>
                    <a:pt x="7506" y="3308"/>
                  </a:lnTo>
                  <a:lnTo>
                    <a:pt x="7505" y="3299"/>
                  </a:lnTo>
                  <a:lnTo>
                    <a:pt x="7505" y="3186"/>
                  </a:lnTo>
                  <a:lnTo>
                    <a:pt x="7506" y="3179"/>
                  </a:lnTo>
                  <a:lnTo>
                    <a:pt x="7510" y="3172"/>
                  </a:lnTo>
                  <a:lnTo>
                    <a:pt x="7517" y="3168"/>
                  </a:lnTo>
                  <a:lnTo>
                    <a:pt x="7524" y="3167"/>
                  </a:lnTo>
                  <a:lnTo>
                    <a:pt x="7532" y="3168"/>
                  </a:lnTo>
                  <a:lnTo>
                    <a:pt x="7539" y="3172"/>
                  </a:lnTo>
                  <a:lnTo>
                    <a:pt x="7542" y="3179"/>
                  </a:lnTo>
                  <a:lnTo>
                    <a:pt x="7545" y="3186"/>
                  </a:lnTo>
                  <a:close/>
                  <a:moveTo>
                    <a:pt x="7808" y="3186"/>
                  </a:moveTo>
                  <a:lnTo>
                    <a:pt x="7808" y="3299"/>
                  </a:lnTo>
                  <a:lnTo>
                    <a:pt x="7807" y="3308"/>
                  </a:lnTo>
                  <a:lnTo>
                    <a:pt x="7801" y="3314"/>
                  </a:lnTo>
                  <a:lnTo>
                    <a:pt x="7795" y="3318"/>
                  </a:lnTo>
                  <a:lnTo>
                    <a:pt x="7787" y="3319"/>
                  </a:lnTo>
                  <a:lnTo>
                    <a:pt x="7781" y="3318"/>
                  </a:lnTo>
                  <a:lnTo>
                    <a:pt x="7774" y="3314"/>
                  </a:lnTo>
                  <a:lnTo>
                    <a:pt x="7769" y="3308"/>
                  </a:lnTo>
                  <a:lnTo>
                    <a:pt x="7768" y="3299"/>
                  </a:lnTo>
                  <a:lnTo>
                    <a:pt x="7768" y="3186"/>
                  </a:lnTo>
                  <a:lnTo>
                    <a:pt x="7769" y="3179"/>
                  </a:lnTo>
                  <a:lnTo>
                    <a:pt x="7774" y="3172"/>
                  </a:lnTo>
                  <a:lnTo>
                    <a:pt x="7781" y="3168"/>
                  </a:lnTo>
                  <a:lnTo>
                    <a:pt x="7787" y="3167"/>
                  </a:lnTo>
                  <a:lnTo>
                    <a:pt x="7795" y="3168"/>
                  </a:lnTo>
                  <a:lnTo>
                    <a:pt x="7801" y="3172"/>
                  </a:lnTo>
                  <a:lnTo>
                    <a:pt x="7807" y="3179"/>
                  </a:lnTo>
                  <a:lnTo>
                    <a:pt x="7808" y="3186"/>
                  </a:lnTo>
                  <a:close/>
                  <a:moveTo>
                    <a:pt x="8071" y="3186"/>
                  </a:moveTo>
                  <a:lnTo>
                    <a:pt x="8071" y="3299"/>
                  </a:lnTo>
                  <a:lnTo>
                    <a:pt x="8069" y="3308"/>
                  </a:lnTo>
                  <a:lnTo>
                    <a:pt x="8064" y="3314"/>
                  </a:lnTo>
                  <a:lnTo>
                    <a:pt x="8058" y="3318"/>
                  </a:lnTo>
                  <a:lnTo>
                    <a:pt x="8051" y="3319"/>
                  </a:lnTo>
                  <a:lnTo>
                    <a:pt x="8044" y="3318"/>
                  </a:lnTo>
                  <a:lnTo>
                    <a:pt x="8037" y="3314"/>
                  </a:lnTo>
                  <a:lnTo>
                    <a:pt x="8032" y="3308"/>
                  </a:lnTo>
                  <a:lnTo>
                    <a:pt x="8031" y="3299"/>
                  </a:lnTo>
                  <a:lnTo>
                    <a:pt x="8031" y="3186"/>
                  </a:lnTo>
                  <a:lnTo>
                    <a:pt x="8032" y="3179"/>
                  </a:lnTo>
                  <a:lnTo>
                    <a:pt x="8037" y="3172"/>
                  </a:lnTo>
                  <a:lnTo>
                    <a:pt x="8044" y="3168"/>
                  </a:lnTo>
                  <a:lnTo>
                    <a:pt x="8051" y="3167"/>
                  </a:lnTo>
                  <a:lnTo>
                    <a:pt x="8058" y="3168"/>
                  </a:lnTo>
                  <a:lnTo>
                    <a:pt x="8064" y="3172"/>
                  </a:lnTo>
                  <a:lnTo>
                    <a:pt x="8069" y="3179"/>
                  </a:lnTo>
                  <a:lnTo>
                    <a:pt x="8071" y="3186"/>
                  </a:lnTo>
                  <a:close/>
                  <a:moveTo>
                    <a:pt x="8334" y="3186"/>
                  </a:moveTo>
                  <a:lnTo>
                    <a:pt x="8334" y="3299"/>
                  </a:lnTo>
                  <a:lnTo>
                    <a:pt x="8332" y="3308"/>
                  </a:lnTo>
                  <a:lnTo>
                    <a:pt x="8327" y="3314"/>
                  </a:lnTo>
                  <a:lnTo>
                    <a:pt x="8322" y="3318"/>
                  </a:lnTo>
                  <a:lnTo>
                    <a:pt x="8314" y="3319"/>
                  </a:lnTo>
                  <a:lnTo>
                    <a:pt x="8307" y="3318"/>
                  </a:lnTo>
                  <a:lnTo>
                    <a:pt x="8300" y="3314"/>
                  </a:lnTo>
                  <a:lnTo>
                    <a:pt x="8296" y="3308"/>
                  </a:lnTo>
                  <a:lnTo>
                    <a:pt x="8294" y="3299"/>
                  </a:lnTo>
                  <a:lnTo>
                    <a:pt x="8294" y="3186"/>
                  </a:lnTo>
                  <a:lnTo>
                    <a:pt x="8296" y="3179"/>
                  </a:lnTo>
                  <a:lnTo>
                    <a:pt x="8300" y="3172"/>
                  </a:lnTo>
                  <a:lnTo>
                    <a:pt x="8307" y="3168"/>
                  </a:lnTo>
                  <a:lnTo>
                    <a:pt x="8314" y="3167"/>
                  </a:lnTo>
                  <a:lnTo>
                    <a:pt x="8322" y="3168"/>
                  </a:lnTo>
                  <a:lnTo>
                    <a:pt x="8327" y="3172"/>
                  </a:lnTo>
                  <a:lnTo>
                    <a:pt x="8332" y="3179"/>
                  </a:lnTo>
                  <a:lnTo>
                    <a:pt x="8334" y="3186"/>
                  </a:lnTo>
                  <a:close/>
                  <a:moveTo>
                    <a:pt x="8598" y="3186"/>
                  </a:moveTo>
                  <a:lnTo>
                    <a:pt x="8598" y="3299"/>
                  </a:lnTo>
                  <a:lnTo>
                    <a:pt x="8595" y="3308"/>
                  </a:lnTo>
                  <a:lnTo>
                    <a:pt x="8591" y="3314"/>
                  </a:lnTo>
                  <a:lnTo>
                    <a:pt x="8585" y="3318"/>
                  </a:lnTo>
                  <a:lnTo>
                    <a:pt x="8577" y="3319"/>
                  </a:lnTo>
                  <a:lnTo>
                    <a:pt x="8569" y="3318"/>
                  </a:lnTo>
                  <a:lnTo>
                    <a:pt x="8563" y="3314"/>
                  </a:lnTo>
                  <a:lnTo>
                    <a:pt x="8559" y="3308"/>
                  </a:lnTo>
                  <a:lnTo>
                    <a:pt x="8557" y="3299"/>
                  </a:lnTo>
                  <a:lnTo>
                    <a:pt x="8557" y="3186"/>
                  </a:lnTo>
                  <a:lnTo>
                    <a:pt x="8559" y="3179"/>
                  </a:lnTo>
                  <a:lnTo>
                    <a:pt x="8563" y="3172"/>
                  </a:lnTo>
                  <a:lnTo>
                    <a:pt x="8569" y="3168"/>
                  </a:lnTo>
                  <a:lnTo>
                    <a:pt x="8577" y="3167"/>
                  </a:lnTo>
                  <a:lnTo>
                    <a:pt x="8585" y="3168"/>
                  </a:lnTo>
                  <a:lnTo>
                    <a:pt x="8591" y="3172"/>
                  </a:lnTo>
                  <a:lnTo>
                    <a:pt x="8595" y="3179"/>
                  </a:lnTo>
                  <a:lnTo>
                    <a:pt x="8598" y="3186"/>
                  </a:lnTo>
                  <a:close/>
                  <a:moveTo>
                    <a:pt x="8861" y="3186"/>
                  </a:moveTo>
                  <a:lnTo>
                    <a:pt x="8861" y="3299"/>
                  </a:lnTo>
                  <a:lnTo>
                    <a:pt x="8858" y="3308"/>
                  </a:lnTo>
                  <a:lnTo>
                    <a:pt x="8854" y="3314"/>
                  </a:lnTo>
                  <a:lnTo>
                    <a:pt x="8848" y="3318"/>
                  </a:lnTo>
                  <a:lnTo>
                    <a:pt x="8840" y="3319"/>
                  </a:lnTo>
                  <a:lnTo>
                    <a:pt x="8832" y="3318"/>
                  </a:lnTo>
                  <a:lnTo>
                    <a:pt x="8826" y="3314"/>
                  </a:lnTo>
                  <a:lnTo>
                    <a:pt x="8822" y="3308"/>
                  </a:lnTo>
                  <a:lnTo>
                    <a:pt x="8821" y="3299"/>
                  </a:lnTo>
                  <a:lnTo>
                    <a:pt x="8821" y="3186"/>
                  </a:lnTo>
                  <a:lnTo>
                    <a:pt x="8822" y="3179"/>
                  </a:lnTo>
                  <a:lnTo>
                    <a:pt x="8826" y="3172"/>
                  </a:lnTo>
                  <a:lnTo>
                    <a:pt x="8832" y="3168"/>
                  </a:lnTo>
                  <a:lnTo>
                    <a:pt x="8840" y="3167"/>
                  </a:lnTo>
                  <a:lnTo>
                    <a:pt x="8848" y="3168"/>
                  </a:lnTo>
                  <a:lnTo>
                    <a:pt x="8854" y="3172"/>
                  </a:lnTo>
                  <a:lnTo>
                    <a:pt x="8858" y="3179"/>
                  </a:lnTo>
                  <a:lnTo>
                    <a:pt x="8861" y="3186"/>
                  </a:lnTo>
                  <a:close/>
                  <a:moveTo>
                    <a:pt x="7545" y="3433"/>
                  </a:moveTo>
                  <a:lnTo>
                    <a:pt x="7545" y="3546"/>
                  </a:lnTo>
                  <a:lnTo>
                    <a:pt x="7542" y="3554"/>
                  </a:lnTo>
                  <a:lnTo>
                    <a:pt x="7539" y="3561"/>
                  </a:lnTo>
                  <a:lnTo>
                    <a:pt x="7532" y="3565"/>
                  </a:lnTo>
                  <a:lnTo>
                    <a:pt x="7524" y="3565"/>
                  </a:lnTo>
                  <a:lnTo>
                    <a:pt x="7517" y="3565"/>
                  </a:lnTo>
                  <a:lnTo>
                    <a:pt x="7510" y="3561"/>
                  </a:lnTo>
                  <a:lnTo>
                    <a:pt x="7506" y="3554"/>
                  </a:lnTo>
                  <a:lnTo>
                    <a:pt x="7505" y="3546"/>
                  </a:lnTo>
                  <a:lnTo>
                    <a:pt x="7505" y="3433"/>
                  </a:lnTo>
                  <a:lnTo>
                    <a:pt x="7506" y="3424"/>
                  </a:lnTo>
                  <a:lnTo>
                    <a:pt x="7510" y="3419"/>
                  </a:lnTo>
                  <a:lnTo>
                    <a:pt x="7517" y="3415"/>
                  </a:lnTo>
                  <a:lnTo>
                    <a:pt x="7524" y="3414"/>
                  </a:lnTo>
                  <a:lnTo>
                    <a:pt x="7532" y="3415"/>
                  </a:lnTo>
                  <a:lnTo>
                    <a:pt x="7539" y="3419"/>
                  </a:lnTo>
                  <a:lnTo>
                    <a:pt x="7542" y="3424"/>
                  </a:lnTo>
                  <a:lnTo>
                    <a:pt x="7545" y="3433"/>
                  </a:lnTo>
                  <a:close/>
                  <a:moveTo>
                    <a:pt x="7808" y="3433"/>
                  </a:moveTo>
                  <a:lnTo>
                    <a:pt x="7808" y="3546"/>
                  </a:lnTo>
                  <a:lnTo>
                    <a:pt x="7807" y="3554"/>
                  </a:lnTo>
                  <a:lnTo>
                    <a:pt x="7801" y="3561"/>
                  </a:lnTo>
                  <a:lnTo>
                    <a:pt x="7795" y="3565"/>
                  </a:lnTo>
                  <a:lnTo>
                    <a:pt x="7787" y="3565"/>
                  </a:lnTo>
                  <a:lnTo>
                    <a:pt x="7781" y="3565"/>
                  </a:lnTo>
                  <a:lnTo>
                    <a:pt x="7774" y="3561"/>
                  </a:lnTo>
                  <a:lnTo>
                    <a:pt x="7769" y="3554"/>
                  </a:lnTo>
                  <a:lnTo>
                    <a:pt x="7768" y="3546"/>
                  </a:lnTo>
                  <a:lnTo>
                    <a:pt x="7768" y="3433"/>
                  </a:lnTo>
                  <a:lnTo>
                    <a:pt x="7769" y="3424"/>
                  </a:lnTo>
                  <a:lnTo>
                    <a:pt x="7774" y="3419"/>
                  </a:lnTo>
                  <a:lnTo>
                    <a:pt x="7781" y="3415"/>
                  </a:lnTo>
                  <a:lnTo>
                    <a:pt x="7787" y="3414"/>
                  </a:lnTo>
                  <a:lnTo>
                    <a:pt x="7795" y="3415"/>
                  </a:lnTo>
                  <a:lnTo>
                    <a:pt x="7801" y="3419"/>
                  </a:lnTo>
                  <a:lnTo>
                    <a:pt x="7807" y="3424"/>
                  </a:lnTo>
                  <a:lnTo>
                    <a:pt x="7808" y="3433"/>
                  </a:lnTo>
                  <a:close/>
                  <a:moveTo>
                    <a:pt x="8071" y="3433"/>
                  </a:moveTo>
                  <a:lnTo>
                    <a:pt x="8071" y="3546"/>
                  </a:lnTo>
                  <a:lnTo>
                    <a:pt x="8069" y="3554"/>
                  </a:lnTo>
                  <a:lnTo>
                    <a:pt x="8064" y="3561"/>
                  </a:lnTo>
                  <a:lnTo>
                    <a:pt x="8058" y="3565"/>
                  </a:lnTo>
                  <a:lnTo>
                    <a:pt x="8051" y="3565"/>
                  </a:lnTo>
                  <a:lnTo>
                    <a:pt x="8044" y="3565"/>
                  </a:lnTo>
                  <a:lnTo>
                    <a:pt x="8037" y="3561"/>
                  </a:lnTo>
                  <a:lnTo>
                    <a:pt x="8032" y="3554"/>
                  </a:lnTo>
                  <a:lnTo>
                    <a:pt x="8031" y="3546"/>
                  </a:lnTo>
                  <a:lnTo>
                    <a:pt x="8031" y="3433"/>
                  </a:lnTo>
                  <a:lnTo>
                    <a:pt x="8032" y="3424"/>
                  </a:lnTo>
                  <a:lnTo>
                    <a:pt x="8037" y="3419"/>
                  </a:lnTo>
                  <a:lnTo>
                    <a:pt x="8044" y="3415"/>
                  </a:lnTo>
                  <a:lnTo>
                    <a:pt x="8051" y="3414"/>
                  </a:lnTo>
                  <a:lnTo>
                    <a:pt x="8058" y="3415"/>
                  </a:lnTo>
                  <a:lnTo>
                    <a:pt x="8064" y="3419"/>
                  </a:lnTo>
                  <a:lnTo>
                    <a:pt x="8069" y="3424"/>
                  </a:lnTo>
                  <a:lnTo>
                    <a:pt x="8071" y="3433"/>
                  </a:lnTo>
                  <a:close/>
                  <a:moveTo>
                    <a:pt x="8334" y="3433"/>
                  </a:moveTo>
                  <a:lnTo>
                    <a:pt x="8334" y="3546"/>
                  </a:lnTo>
                  <a:lnTo>
                    <a:pt x="8332" y="3554"/>
                  </a:lnTo>
                  <a:lnTo>
                    <a:pt x="8327" y="3561"/>
                  </a:lnTo>
                  <a:lnTo>
                    <a:pt x="8322" y="3565"/>
                  </a:lnTo>
                  <a:lnTo>
                    <a:pt x="8314" y="3565"/>
                  </a:lnTo>
                  <a:lnTo>
                    <a:pt x="8307" y="3565"/>
                  </a:lnTo>
                  <a:lnTo>
                    <a:pt x="8300" y="3561"/>
                  </a:lnTo>
                  <a:lnTo>
                    <a:pt x="8296" y="3554"/>
                  </a:lnTo>
                  <a:lnTo>
                    <a:pt x="8294" y="3546"/>
                  </a:lnTo>
                  <a:lnTo>
                    <a:pt x="8294" y="3433"/>
                  </a:lnTo>
                  <a:lnTo>
                    <a:pt x="8296" y="3424"/>
                  </a:lnTo>
                  <a:lnTo>
                    <a:pt x="8300" y="3419"/>
                  </a:lnTo>
                  <a:lnTo>
                    <a:pt x="8307" y="3415"/>
                  </a:lnTo>
                  <a:lnTo>
                    <a:pt x="8314" y="3414"/>
                  </a:lnTo>
                  <a:lnTo>
                    <a:pt x="8322" y="3415"/>
                  </a:lnTo>
                  <a:lnTo>
                    <a:pt x="8327" y="3419"/>
                  </a:lnTo>
                  <a:lnTo>
                    <a:pt x="8332" y="3424"/>
                  </a:lnTo>
                  <a:lnTo>
                    <a:pt x="8334" y="3433"/>
                  </a:lnTo>
                  <a:close/>
                  <a:moveTo>
                    <a:pt x="8598" y="3433"/>
                  </a:moveTo>
                  <a:lnTo>
                    <a:pt x="8598" y="3546"/>
                  </a:lnTo>
                  <a:lnTo>
                    <a:pt x="8595" y="3554"/>
                  </a:lnTo>
                  <a:lnTo>
                    <a:pt x="8591" y="3561"/>
                  </a:lnTo>
                  <a:lnTo>
                    <a:pt x="8585" y="3565"/>
                  </a:lnTo>
                  <a:lnTo>
                    <a:pt x="8577" y="3565"/>
                  </a:lnTo>
                  <a:lnTo>
                    <a:pt x="8569" y="3565"/>
                  </a:lnTo>
                  <a:lnTo>
                    <a:pt x="8563" y="3561"/>
                  </a:lnTo>
                  <a:lnTo>
                    <a:pt x="8559" y="3554"/>
                  </a:lnTo>
                  <a:lnTo>
                    <a:pt x="8557" y="3546"/>
                  </a:lnTo>
                  <a:lnTo>
                    <a:pt x="8557" y="3433"/>
                  </a:lnTo>
                  <a:lnTo>
                    <a:pt x="8559" y="3424"/>
                  </a:lnTo>
                  <a:lnTo>
                    <a:pt x="8563" y="3419"/>
                  </a:lnTo>
                  <a:lnTo>
                    <a:pt x="8569" y="3415"/>
                  </a:lnTo>
                  <a:lnTo>
                    <a:pt x="8577" y="3414"/>
                  </a:lnTo>
                  <a:lnTo>
                    <a:pt x="8585" y="3415"/>
                  </a:lnTo>
                  <a:lnTo>
                    <a:pt x="8591" y="3419"/>
                  </a:lnTo>
                  <a:lnTo>
                    <a:pt x="8595" y="3424"/>
                  </a:lnTo>
                  <a:lnTo>
                    <a:pt x="8598" y="3433"/>
                  </a:lnTo>
                  <a:close/>
                  <a:moveTo>
                    <a:pt x="8861" y="3433"/>
                  </a:moveTo>
                  <a:lnTo>
                    <a:pt x="8861" y="3546"/>
                  </a:lnTo>
                  <a:lnTo>
                    <a:pt x="8858" y="3554"/>
                  </a:lnTo>
                  <a:lnTo>
                    <a:pt x="8854" y="3561"/>
                  </a:lnTo>
                  <a:lnTo>
                    <a:pt x="8848" y="3565"/>
                  </a:lnTo>
                  <a:lnTo>
                    <a:pt x="8840" y="3565"/>
                  </a:lnTo>
                  <a:lnTo>
                    <a:pt x="8832" y="3565"/>
                  </a:lnTo>
                  <a:lnTo>
                    <a:pt x="8826" y="3561"/>
                  </a:lnTo>
                  <a:lnTo>
                    <a:pt x="8822" y="3554"/>
                  </a:lnTo>
                  <a:lnTo>
                    <a:pt x="8821" y="3546"/>
                  </a:lnTo>
                  <a:lnTo>
                    <a:pt x="8821" y="3433"/>
                  </a:lnTo>
                  <a:lnTo>
                    <a:pt x="8822" y="3424"/>
                  </a:lnTo>
                  <a:lnTo>
                    <a:pt x="8826" y="3419"/>
                  </a:lnTo>
                  <a:lnTo>
                    <a:pt x="8832" y="3415"/>
                  </a:lnTo>
                  <a:lnTo>
                    <a:pt x="8840" y="3414"/>
                  </a:lnTo>
                  <a:lnTo>
                    <a:pt x="8848" y="3415"/>
                  </a:lnTo>
                  <a:lnTo>
                    <a:pt x="8854" y="3419"/>
                  </a:lnTo>
                  <a:lnTo>
                    <a:pt x="8858" y="3424"/>
                  </a:lnTo>
                  <a:lnTo>
                    <a:pt x="8861" y="3433"/>
                  </a:lnTo>
                  <a:close/>
                  <a:moveTo>
                    <a:pt x="7545" y="3680"/>
                  </a:moveTo>
                  <a:lnTo>
                    <a:pt x="7545" y="3792"/>
                  </a:lnTo>
                  <a:lnTo>
                    <a:pt x="7542" y="3801"/>
                  </a:lnTo>
                  <a:lnTo>
                    <a:pt x="7539" y="3806"/>
                  </a:lnTo>
                  <a:lnTo>
                    <a:pt x="7532" y="3810"/>
                  </a:lnTo>
                  <a:lnTo>
                    <a:pt x="7524" y="3811"/>
                  </a:lnTo>
                  <a:lnTo>
                    <a:pt x="7517" y="3810"/>
                  </a:lnTo>
                  <a:lnTo>
                    <a:pt x="7510" y="3806"/>
                  </a:lnTo>
                  <a:lnTo>
                    <a:pt x="7506" y="3801"/>
                  </a:lnTo>
                  <a:lnTo>
                    <a:pt x="7505" y="3792"/>
                  </a:lnTo>
                  <a:lnTo>
                    <a:pt x="7505" y="3680"/>
                  </a:lnTo>
                  <a:lnTo>
                    <a:pt x="7506" y="3671"/>
                  </a:lnTo>
                  <a:lnTo>
                    <a:pt x="7510" y="3664"/>
                  </a:lnTo>
                  <a:lnTo>
                    <a:pt x="7517" y="3661"/>
                  </a:lnTo>
                  <a:lnTo>
                    <a:pt x="7524" y="3659"/>
                  </a:lnTo>
                  <a:lnTo>
                    <a:pt x="7532" y="3661"/>
                  </a:lnTo>
                  <a:lnTo>
                    <a:pt x="7539" y="3664"/>
                  </a:lnTo>
                  <a:lnTo>
                    <a:pt x="7542" y="3671"/>
                  </a:lnTo>
                  <a:lnTo>
                    <a:pt x="7545" y="3680"/>
                  </a:lnTo>
                  <a:close/>
                  <a:moveTo>
                    <a:pt x="7808" y="3680"/>
                  </a:moveTo>
                  <a:lnTo>
                    <a:pt x="7808" y="3792"/>
                  </a:lnTo>
                  <a:lnTo>
                    <a:pt x="7807" y="3801"/>
                  </a:lnTo>
                  <a:lnTo>
                    <a:pt x="7801" y="3806"/>
                  </a:lnTo>
                  <a:lnTo>
                    <a:pt x="7795" y="3810"/>
                  </a:lnTo>
                  <a:lnTo>
                    <a:pt x="7787" y="3811"/>
                  </a:lnTo>
                  <a:lnTo>
                    <a:pt x="7781" y="3810"/>
                  </a:lnTo>
                  <a:lnTo>
                    <a:pt x="7774" y="3806"/>
                  </a:lnTo>
                  <a:lnTo>
                    <a:pt x="7769" y="3801"/>
                  </a:lnTo>
                  <a:lnTo>
                    <a:pt x="7768" y="3792"/>
                  </a:lnTo>
                  <a:lnTo>
                    <a:pt x="7768" y="3680"/>
                  </a:lnTo>
                  <a:lnTo>
                    <a:pt x="7769" y="3671"/>
                  </a:lnTo>
                  <a:lnTo>
                    <a:pt x="7774" y="3664"/>
                  </a:lnTo>
                  <a:lnTo>
                    <a:pt x="7781" y="3661"/>
                  </a:lnTo>
                  <a:lnTo>
                    <a:pt x="7787" y="3659"/>
                  </a:lnTo>
                  <a:lnTo>
                    <a:pt x="7795" y="3661"/>
                  </a:lnTo>
                  <a:lnTo>
                    <a:pt x="7801" y="3664"/>
                  </a:lnTo>
                  <a:lnTo>
                    <a:pt x="7807" y="3671"/>
                  </a:lnTo>
                  <a:lnTo>
                    <a:pt x="7808" y="3680"/>
                  </a:lnTo>
                  <a:close/>
                  <a:moveTo>
                    <a:pt x="8071" y="3680"/>
                  </a:moveTo>
                  <a:lnTo>
                    <a:pt x="8071" y="3792"/>
                  </a:lnTo>
                  <a:lnTo>
                    <a:pt x="8069" y="3801"/>
                  </a:lnTo>
                  <a:lnTo>
                    <a:pt x="8064" y="3806"/>
                  </a:lnTo>
                  <a:lnTo>
                    <a:pt x="8058" y="3810"/>
                  </a:lnTo>
                  <a:lnTo>
                    <a:pt x="8051" y="3811"/>
                  </a:lnTo>
                  <a:lnTo>
                    <a:pt x="8044" y="3810"/>
                  </a:lnTo>
                  <a:lnTo>
                    <a:pt x="8037" y="3806"/>
                  </a:lnTo>
                  <a:lnTo>
                    <a:pt x="8032" y="3801"/>
                  </a:lnTo>
                  <a:lnTo>
                    <a:pt x="8031" y="3792"/>
                  </a:lnTo>
                  <a:lnTo>
                    <a:pt x="8031" y="3680"/>
                  </a:lnTo>
                  <a:lnTo>
                    <a:pt x="8032" y="3671"/>
                  </a:lnTo>
                  <a:lnTo>
                    <a:pt x="8037" y="3664"/>
                  </a:lnTo>
                  <a:lnTo>
                    <a:pt x="8044" y="3661"/>
                  </a:lnTo>
                  <a:lnTo>
                    <a:pt x="8051" y="3659"/>
                  </a:lnTo>
                  <a:lnTo>
                    <a:pt x="8058" y="3661"/>
                  </a:lnTo>
                  <a:lnTo>
                    <a:pt x="8064" y="3664"/>
                  </a:lnTo>
                  <a:lnTo>
                    <a:pt x="8069" y="3671"/>
                  </a:lnTo>
                  <a:lnTo>
                    <a:pt x="8071" y="3680"/>
                  </a:lnTo>
                  <a:close/>
                  <a:moveTo>
                    <a:pt x="8334" y="3680"/>
                  </a:moveTo>
                  <a:lnTo>
                    <a:pt x="8334" y="3792"/>
                  </a:lnTo>
                  <a:lnTo>
                    <a:pt x="8332" y="3801"/>
                  </a:lnTo>
                  <a:lnTo>
                    <a:pt x="8327" y="3806"/>
                  </a:lnTo>
                  <a:lnTo>
                    <a:pt x="8322" y="3810"/>
                  </a:lnTo>
                  <a:lnTo>
                    <a:pt x="8314" y="3811"/>
                  </a:lnTo>
                  <a:lnTo>
                    <a:pt x="8307" y="3810"/>
                  </a:lnTo>
                  <a:lnTo>
                    <a:pt x="8300" y="3806"/>
                  </a:lnTo>
                  <a:lnTo>
                    <a:pt x="8296" y="3801"/>
                  </a:lnTo>
                  <a:lnTo>
                    <a:pt x="8294" y="3792"/>
                  </a:lnTo>
                  <a:lnTo>
                    <a:pt x="8294" y="3680"/>
                  </a:lnTo>
                  <a:lnTo>
                    <a:pt x="8296" y="3671"/>
                  </a:lnTo>
                  <a:lnTo>
                    <a:pt x="8300" y="3664"/>
                  </a:lnTo>
                  <a:lnTo>
                    <a:pt x="8307" y="3661"/>
                  </a:lnTo>
                  <a:lnTo>
                    <a:pt x="8314" y="3659"/>
                  </a:lnTo>
                  <a:lnTo>
                    <a:pt x="8322" y="3661"/>
                  </a:lnTo>
                  <a:lnTo>
                    <a:pt x="8327" y="3664"/>
                  </a:lnTo>
                  <a:lnTo>
                    <a:pt x="8332" y="3671"/>
                  </a:lnTo>
                  <a:lnTo>
                    <a:pt x="8334" y="3680"/>
                  </a:lnTo>
                  <a:close/>
                  <a:moveTo>
                    <a:pt x="8598" y="3680"/>
                  </a:moveTo>
                  <a:lnTo>
                    <a:pt x="8598" y="3792"/>
                  </a:lnTo>
                  <a:lnTo>
                    <a:pt x="8595" y="3801"/>
                  </a:lnTo>
                  <a:lnTo>
                    <a:pt x="8591" y="3806"/>
                  </a:lnTo>
                  <a:lnTo>
                    <a:pt x="8585" y="3810"/>
                  </a:lnTo>
                  <a:lnTo>
                    <a:pt x="8577" y="3811"/>
                  </a:lnTo>
                  <a:lnTo>
                    <a:pt x="8569" y="3810"/>
                  </a:lnTo>
                  <a:lnTo>
                    <a:pt x="8563" y="3806"/>
                  </a:lnTo>
                  <a:lnTo>
                    <a:pt x="8559" y="3801"/>
                  </a:lnTo>
                  <a:lnTo>
                    <a:pt x="8557" y="3792"/>
                  </a:lnTo>
                  <a:lnTo>
                    <a:pt x="8557" y="3680"/>
                  </a:lnTo>
                  <a:lnTo>
                    <a:pt x="8559" y="3671"/>
                  </a:lnTo>
                  <a:lnTo>
                    <a:pt x="8563" y="3664"/>
                  </a:lnTo>
                  <a:lnTo>
                    <a:pt x="8569" y="3661"/>
                  </a:lnTo>
                  <a:lnTo>
                    <a:pt x="8577" y="3659"/>
                  </a:lnTo>
                  <a:lnTo>
                    <a:pt x="8585" y="3661"/>
                  </a:lnTo>
                  <a:lnTo>
                    <a:pt x="8591" y="3664"/>
                  </a:lnTo>
                  <a:lnTo>
                    <a:pt x="8595" y="3671"/>
                  </a:lnTo>
                  <a:lnTo>
                    <a:pt x="8598" y="3680"/>
                  </a:lnTo>
                  <a:close/>
                  <a:moveTo>
                    <a:pt x="8861" y="3680"/>
                  </a:moveTo>
                  <a:lnTo>
                    <a:pt x="8861" y="3792"/>
                  </a:lnTo>
                  <a:lnTo>
                    <a:pt x="8858" y="3801"/>
                  </a:lnTo>
                  <a:lnTo>
                    <a:pt x="8854" y="3806"/>
                  </a:lnTo>
                  <a:lnTo>
                    <a:pt x="8848" y="3810"/>
                  </a:lnTo>
                  <a:lnTo>
                    <a:pt x="8840" y="3811"/>
                  </a:lnTo>
                  <a:lnTo>
                    <a:pt x="8832" y="3810"/>
                  </a:lnTo>
                  <a:lnTo>
                    <a:pt x="8826" y="3806"/>
                  </a:lnTo>
                  <a:lnTo>
                    <a:pt x="8822" y="3801"/>
                  </a:lnTo>
                  <a:lnTo>
                    <a:pt x="8821" y="3792"/>
                  </a:lnTo>
                  <a:lnTo>
                    <a:pt x="8821" y="3680"/>
                  </a:lnTo>
                  <a:lnTo>
                    <a:pt x="8822" y="3671"/>
                  </a:lnTo>
                  <a:lnTo>
                    <a:pt x="8826" y="3664"/>
                  </a:lnTo>
                  <a:lnTo>
                    <a:pt x="8832" y="3661"/>
                  </a:lnTo>
                  <a:lnTo>
                    <a:pt x="8840" y="3659"/>
                  </a:lnTo>
                  <a:lnTo>
                    <a:pt x="8848" y="3661"/>
                  </a:lnTo>
                  <a:lnTo>
                    <a:pt x="8854" y="3664"/>
                  </a:lnTo>
                  <a:lnTo>
                    <a:pt x="8858" y="3671"/>
                  </a:lnTo>
                  <a:lnTo>
                    <a:pt x="8861" y="3680"/>
                  </a:lnTo>
                  <a:close/>
                  <a:moveTo>
                    <a:pt x="9081" y="2604"/>
                  </a:moveTo>
                  <a:lnTo>
                    <a:pt x="9075" y="2604"/>
                  </a:lnTo>
                  <a:lnTo>
                    <a:pt x="9081" y="2604"/>
                  </a:lnTo>
                  <a:close/>
                  <a:moveTo>
                    <a:pt x="5536" y="1840"/>
                  </a:moveTo>
                  <a:lnTo>
                    <a:pt x="5109" y="1840"/>
                  </a:lnTo>
                  <a:lnTo>
                    <a:pt x="5109" y="1950"/>
                  </a:lnTo>
                  <a:lnTo>
                    <a:pt x="5536" y="1950"/>
                  </a:lnTo>
                  <a:lnTo>
                    <a:pt x="5536" y="1840"/>
                  </a:lnTo>
                  <a:close/>
                  <a:moveTo>
                    <a:pt x="4446" y="3790"/>
                  </a:moveTo>
                  <a:lnTo>
                    <a:pt x="5309" y="3790"/>
                  </a:lnTo>
                  <a:lnTo>
                    <a:pt x="5318" y="3791"/>
                  </a:lnTo>
                  <a:lnTo>
                    <a:pt x="5324" y="3796"/>
                  </a:lnTo>
                  <a:lnTo>
                    <a:pt x="5328" y="3803"/>
                  </a:lnTo>
                  <a:lnTo>
                    <a:pt x="5329" y="3809"/>
                  </a:lnTo>
                  <a:lnTo>
                    <a:pt x="5328" y="3817"/>
                  </a:lnTo>
                  <a:lnTo>
                    <a:pt x="5324" y="3823"/>
                  </a:lnTo>
                  <a:lnTo>
                    <a:pt x="5318" y="3828"/>
                  </a:lnTo>
                  <a:lnTo>
                    <a:pt x="5309" y="3829"/>
                  </a:lnTo>
                  <a:lnTo>
                    <a:pt x="5215" y="3829"/>
                  </a:lnTo>
                  <a:lnTo>
                    <a:pt x="5215" y="4317"/>
                  </a:lnTo>
                  <a:lnTo>
                    <a:pt x="5754" y="4317"/>
                  </a:lnTo>
                  <a:lnTo>
                    <a:pt x="5754" y="3782"/>
                  </a:lnTo>
                  <a:lnTo>
                    <a:pt x="5754" y="3249"/>
                  </a:lnTo>
                  <a:lnTo>
                    <a:pt x="5754" y="2716"/>
                  </a:lnTo>
                  <a:lnTo>
                    <a:pt x="5754" y="2182"/>
                  </a:lnTo>
                  <a:lnTo>
                    <a:pt x="5195" y="2182"/>
                  </a:lnTo>
                  <a:lnTo>
                    <a:pt x="4637" y="2182"/>
                  </a:lnTo>
                  <a:lnTo>
                    <a:pt x="4629" y="2181"/>
                  </a:lnTo>
                  <a:lnTo>
                    <a:pt x="4623" y="2176"/>
                  </a:lnTo>
                  <a:lnTo>
                    <a:pt x="4619" y="2170"/>
                  </a:lnTo>
                  <a:lnTo>
                    <a:pt x="4617" y="2163"/>
                  </a:lnTo>
                  <a:lnTo>
                    <a:pt x="4619" y="2156"/>
                  </a:lnTo>
                  <a:lnTo>
                    <a:pt x="4623" y="2149"/>
                  </a:lnTo>
                  <a:lnTo>
                    <a:pt x="4629" y="2144"/>
                  </a:lnTo>
                  <a:lnTo>
                    <a:pt x="4637" y="2143"/>
                  </a:lnTo>
                  <a:lnTo>
                    <a:pt x="5615" y="2143"/>
                  </a:lnTo>
                  <a:lnTo>
                    <a:pt x="5615" y="1989"/>
                  </a:lnTo>
                  <a:lnTo>
                    <a:pt x="5555" y="1989"/>
                  </a:lnTo>
                  <a:lnTo>
                    <a:pt x="5089" y="1989"/>
                  </a:lnTo>
                  <a:lnTo>
                    <a:pt x="4119" y="1989"/>
                  </a:lnTo>
                  <a:lnTo>
                    <a:pt x="4119" y="2143"/>
                  </a:lnTo>
                  <a:lnTo>
                    <a:pt x="4373" y="2143"/>
                  </a:lnTo>
                  <a:lnTo>
                    <a:pt x="4382" y="2144"/>
                  </a:lnTo>
                  <a:lnTo>
                    <a:pt x="4387" y="2149"/>
                  </a:lnTo>
                  <a:lnTo>
                    <a:pt x="4391" y="2156"/>
                  </a:lnTo>
                  <a:lnTo>
                    <a:pt x="4392" y="2163"/>
                  </a:lnTo>
                  <a:lnTo>
                    <a:pt x="4391" y="2170"/>
                  </a:lnTo>
                  <a:lnTo>
                    <a:pt x="4387" y="2176"/>
                  </a:lnTo>
                  <a:lnTo>
                    <a:pt x="4382" y="2181"/>
                  </a:lnTo>
                  <a:lnTo>
                    <a:pt x="4373" y="2182"/>
                  </a:lnTo>
                  <a:lnTo>
                    <a:pt x="4001" y="2182"/>
                  </a:lnTo>
                  <a:lnTo>
                    <a:pt x="4001" y="3195"/>
                  </a:lnTo>
                  <a:lnTo>
                    <a:pt x="3999" y="3204"/>
                  </a:lnTo>
                  <a:lnTo>
                    <a:pt x="3994" y="3211"/>
                  </a:lnTo>
                  <a:lnTo>
                    <a:pt x="3988" y="3214"/>
                  </a:lnTo>
                  <a:lnTo>
                    <a:pt x="3980" y="3216"/>
                  </a:lnTo>
                  <a:lnTo>
                    <a:pt x="3974" y="3214"/>
                  </a:lnTo>
                  <a:lnTo>
                    <a:pt x="3967" y="3211"/>
                  </a:lnTo>
                  <a:lnTo>
                    <a:pt x="3962" y="3204"/>
                  </a:lnTo>
                  <a:lnTo>
                    <a:pt x="3961" y="3195"/>
                  </a:lnTo>
                  <a:lnTo>
                    <a:pt x="3961" y="2679"/>
                  </a:lnTo>
                  <a:lnTo>
                    <a:pt x="3961" y="2163"/>
                  </a:lnTo>
                  <a:lnTo>
                    <a:pt x="3962" y="2156"/>
                  </a:lnTo>
                  <a:lnTo>
                    <a:pt x="3966" y="2149"/>
                  </a:lnTo>
                  <a:lnTo>
                    <a:pt x="3973" y="2144"/>
                  </a:lnTo>
                  <a:lnTo>
                    <a:pt x="3980" y="2143"/>
                  </a:lnTo>
                  <a:lnTo>
                    <a:pt x="4079" y="2143"/>
                  </a:lnTo>
                  <a:lnTo>
                    <a:pt x="4079" y="1970"/>
                  </a:lnTo>
                  <a:lnTo>
                    <a:pt x="4080" y="1963"/>
                  </a:lnTo>
                  <a:lnTo>
                    <a:pt x="4085" y="1956"/>
                  </a:lnTo>
                  <a:lnTo>
                    <a:pt x="4092" y="1951"/>
                  </a:lnTo>
                  <a:lnTo>
                    <a:pt x="4099" y="1950"/>
                  </a:lnTo>
                  <a:lnTo>
                    <a:pt x="5069" y="1950"/>
                  </a:lnTo>
                  <a:lnTo>
                    <a:pt x="5069" y="1819"/>
                  </a:lnTo>
                  <a:lnTo>
                    <a:pt x="5070" y="1812"/>
                  </a:lnTo>
                  <a:lnTo>
                    <a:pt x="5075" y="1805"/>
                  </a:lnTo>
                  <a:lnTo>
                    <a:pt x="5082" y="1801"/>
                  </a:lnTo>
                  <a:lnTo>
                    <a:pt x="5089" y="1799"/>
                  </a:lnTo>
                  <a:lnTo>
                    <a:pt x="5555" y="1799"/>
                  </a:lnTo>
                  <a:lnTo>
                    <a:pt x="5563" y="1801"/>
                  </a:lnTo>
                  <a:lnTo>
                    <a:pt x="5569" y="1805"/>
                  </a:lnTo>
                  <a:lnTo>
                    <a:pt x="5573" y="1812"/>
                  </a:lnTo>
                  <a:lnTo>
                    <a:pt x="5575" y="1819"/>
                  </a:lnTo>
                  <a:lnTo>
                    <a:pt x="5575" y="1950"/>
                  </a:lnTo>
                  <a:lnTo>
                    <a:pt x="5636" y="1950"/>
                  </a:lnTo>
                  <a:lnTo>
                    <a:pt x="5643" y="1951"/>
                  </a:lnTo>
                  <a:lnTo>
                    <a:pt x="5650" y="1956"/>
                  </a:lnTo>
                  <a:lnTo>
                    <a:pt x="5654" y="1963"/>
                  </a:lnTo>
                  <a:lnTo>
                    <a:pt x="5656" y="1970"/>
                  </a:lnTo>
                  <a:lnTo>
                    <a:pt x="5656" y="2143"/>
                  </a:lnTo>
                  <a:lnTo>
                    <a:pt x="5773" y="2143"/>
                  </a:lnTo>
                  <a:lnTo>
                    <a:pt x="5781" y="2144"/>
                  </a:lnTo>
                  <a:lnTo>
                    <a:pt x="5787" y="2149"/>
                  </a:lnTo>
                  <a:lnTo>
                    <a:pt x="5792" y="2156"/>
                  </a:lnTo>
                  <a:lnTo>
                    <a:pt x="5793" y="2163"/>
                  </a:lnTo>
                  <a:lnTo>
                    <a:pt x="5793" y="2705"/>
                  </a:lnTo>
                  <a:lnTo>
                    <a:pt x="5793" y="3249"/>
                  </a:lnTo>
                  <a:lnTo>
                    <a:pt x="5793" y="3792"/>
                  </a:lnTo>
                  <a:lnTo>
                    <a:pt x="5793" y="4336"/>
                  </a:lnTo>
                  <a:lnTo>
                    <a:pt x="5792" y="4343"/>
                  </a:lnTo>
                  <a:lnTo>
                    <a:pt x="5787" y="4350"/>
                  </a:lnTo>
                  <a:lnTo>
                    <a:pt x="5781" y="4355"/>
                  </a:lnTo>
                  <a:lnTo>
                    <a:pt x="5773" y="4356"/>
                  </a:lnTo>
                  <a:lnTo>
                    <a:pt x="5195" y="4356"/>
                  </a:lnTo>
                  <a:lnTo>
                    <a:pt x="4560" y="4356"/>
                  </a:lnTo>
                  <a:lnTo>
                    <a:pt x="3980" y="4356"/>
                  </a:lnTo>
                  <a:lnTo>
                    <a:pt x="3973" y="4355"/>
                  </a:lnTo>
                  <a:lnTo>
                    <a:pt x="3966" y="4350"/>
                  </a:lnTo>
                  <a:lnTo>
                    <a:pt x="3962" y="4343"/>
                  </a:lnTo>
                  <a:lnTo>
                    <a:pt x="3961" y="4336"/>
                  </a:lnTo>
                  <a:lnTo>
                    <a:pt x="3961" y="4037"/>
                  </a:lnTo>
                  <a:lnTo>
                    <a:pt x="3962" y="4028"/>
                  </a:lnTo>
                  <a:lnTo>
                    <a:pt x="3967" y="4021"/>
                  </a:lnTo>
                  <a:lnTo>
                    <a:pt x="3974" y="4017"/>
                  </a:lnTo>
                  <a:lnTo>
                    <a:pt x="3980" y="4016"/>
                  </a:lnTo>
                  <a:lnTo>
                    <a:pt x="3988" y="4017"/>
                  </a:lnTo>
                  <a:lnTo>
                    <a:pt x="3994" y="4021"/>
                  </a:lnTo>
                  <a:lnTo>
                    <a:pt x="3999" y="4028"/>
                  </a:lnTo>
                  <a:lnTo>
                    <a:pt x="4001" y="4037"/>
                  </a:lnTo>
                  <a:lnTo>
                    <a:pt x="4001" y="4317"/>
                  </a:lnTo>
                  <a:lnTo>
                    <a:pt x="4539" y="4317"/>
                  </a:lnTo>
                  <a:lnTo>
                    <a:pt x="4539" y="3829"/>
                  </a:lnTo>
                  <a:lnTo>
                    <a:pt x="4446" y="3829"/>
                  </a:lnTo>
                  <a:lnTo>
                    <a:pt x="4437" y="3828"/>
                  </a:lnTo>
                  <a:lnTo>
                    <a:pt x="4430" y="3823"/>
                  </a:lnTo>
                  <a:lnTo>
                    <a:pt x="4426" y="3817"/>
                  </a:lnTo>
                  <a:lnTo>
                    <a:pt x="4425" y="3809"/>
                  </a:lnTo>
                  <a:lnTo>
                    <a:pt x="4426" y="3803"/>
                  </a:lnTo>
                  <a:lnTo>
                    <a:pt x="4430" y="3796"/>
                  </a:lnTo>
                  <a:lnTo>
                    <a:pt x="4437" y="3791"/>
                  </a:lnTo>
                  <a:lnTo>
                    <a:pt x="4446" y="3790"/>
                  </a:lnTo>
                  <a:close/>
                  <a:moveTo>
                    <a:pt x="4897" y="3950"/>
                  </a:moveTo>
                  <a:lnTo>
                    <a:pt x="4897" y="4317"/>
                  </a:lnTo>
                  <a:lnTo>
                    <a:pt x="5175" y="4317"/>
                  </a:lnTo>
                  <a:lnTo>
                    <a:pt x="5175" y="3829"/>
                  </a:lnTo>
                  <a:lnTo>
                    <a:pt x="4579" y="3829"/>
                  </a:lnTo>
                  <a:lnTo>
                    <a:pt x="4579" y="4317"/>
                  </a:lnTo>
                  <a:lnTo>
                    <a:pt x="4857" y="4317"/>
                  </a:lnTo>
                  <a:lnTo>
                    <a:pt x="4857" y="3950"/>
                  </a:lnTo>
                  <a:lnTo>
                    <a:pt x="4859" y="3941"/>
                  </a:lnTo>
                  <a:lnTo>
                    <a:pt x="4864" y="3934"/>
                  </a:lnTo>
                  <a:lnTo>
                    <a:pt x="4870" y="3930"/>
                  </a:lnTo>
                  <a:lnTo>
                    <a:pt x="4877" y="3929"/>
                  </a:lnTo>
                  <a:lnTo>
                    <a:pt x="4884" y="3930"/>
                  </a:lnTo>
                  <a:lnTo>
                    <a:pt x="4891" y="3934"/>
                  </a:lnTo>
                  <a:lnTo>
                    <a:pt x="4896" y="3941"/>
                  </a:lnTo>
                  <a:lnTo>
                    <a:pt x="4897" y="3950"/>
                  </a:lnTo>
                  <a:close/>
                  <a:moveTo>
                    <a:pt x="8349" y="481"/>
                  </a:moveTo>
                  <a:lnTo>
                    <a:pt x="8337" y="483"/>
                  </a:lnTo>
                  <a:lnTo>
                    <a:pt x="8328" y="482"/>
                  </a:lnTo>
                  <a:lnTo>
                    <a:pt x="8321" y="475"/>
                  </a:lnTo>
                  <a:lnTo>
                    <a:pt x="8318" y="464"/>
                  </a:lnTo>
                  <a:lnTo>
                    <a:pt x="8316" y="446"/>
                  </a:lnTo>
                  <a:lnTo>
                    <a:pt x="8312" y="428"/>
                  </a:lnTo>
                  <a:lnTo>
                    <a:pt x="8299" y="394"/>
                  </a:lnTo>
                  <a:lnTo>
                    <a:pt x="8280" y="364"/>
                  </a:lnTo>
                  <a:lnTo>
                    <a:pt x="8255" y="337"/>
                  </a:lnTo>
                  <a:lnTo>
                    <a:pt x="8226" y="316"/>
                  </a:lnTo>
                  <a:lnTo>
                    <a:pt x="8192" y="299"/>
                  </a:lnTo>
                  <a:lnTo>
                    <a:pt x="8175" y="293"/>
                  </a:lnTo>
                  <a:lnTo>
                    <a:pt x="8157" y="289"/>
                  </a:lnTo>
                  <a:lnTo>
                    <a:pt x="8137" y="286"/>
                  </a:lnTo>
                  <a:lnTo>
                    <a:pt x="8119" y="285"/>
                  </a:lnTo>
                  <a:lnTo>
                    <a:pt x="8080" y="289"/>
                  </a:lnTo>
                  <a:lnTo>
                    <a:pt x="8060" y="294"/>
                  </a:lnTo>
                  <a:lnTo>
                    <a:pt x="8042" y="300"/>
                  </a:lnTo>
                  <a:lnTo>
                    <a:pt x="8008" y="318"/>
                  </a:lnTo>
                  <a:lnTo>
                    <a:pt x="7978" y="341"/>
                  </a:lnTo>
                  <a:lnTo>
                    <a:pt x="7966" y="355"/>
                  </a:lnTo>
                  <a:lnTo>
                    <a:pt x="7954" y="369"/>
                  </a:lnTo>
                  <a:lnTo>
                    <a:pt x="7935" y="403"/>
                  </a:lnTo>
                  <a:lnTo>
                    <a:pt x="7928" y="420"/>
                  </a:lnTo>
                  <a:lnTo>
                    <a:pt x="7923" y="438"/>
                  </a:lnTo>
                  <a:lnTo>
                    <a:pt x="7919" y="477"/>
                  </a:lnTo>
                  <a:lnTo>
                    <a:pt x="7867" y="477"/>
                  </a:lnTo>
                  <a:lnTo>
                    <a:pt x="7836" y="474"/>
                  </a:lnTo>
                  <a:lnTo>
                    <a:pt x="7815" y="477"/>
                  </a:lnTo>
                  <a:lnTo>
                    <a:pt x="7798" y="482"/>
                  </a:lnTo>
                  <a:lnTo>
                    <a:pt x="7780" y="492"/>
                  </a:lnTo>
                  <a:lnTo>
                    <a:pt x="7765" y="504"/>
                  </a:lnTo>
                  <a:lnTo>
                    <a:pt x="7754" y="519"/>
                  </a:lnTo>
                  <a:lnTo>
                    <a:pt x="7745" y="537"/>
                  </a:lnTo>
                  <a:lnTo>
                    <a:pt x="7740" y="556"/>
                  </a:lnTo>
                  <a:lnTo>
                    <a:pt x="7737" y="576"/>
                  </a:lnTo>
                  <a:lnTo>
                    <a:pt x="7740" y="598"/>
                  </a:lnTo>
                  <a:lnTo>
                    <a:pt x="8505" y="599"/>
                  </a:lnTo>
                  <a:lnTo>
                    <a:pt x="8508" y="574"/>
                  </a:lnTo>
                  <a:lnTo>
                    <a:pt x="8505" y="552"/>
                  </a:lnTo>
                  <a:lnTo>
                    <a:pt x="8499" y="532"/>
                  </a:lnTo>
                  <a:lnTo>
                    <a:pt x="8490" y="514"/>
                  </a:lnTo>
                  <a:lnTo>
                    <a:pt x="8477" y="497"/>
                  </a:lnTo>
                  <a:lnTo>
                    <a:pt x="8460" y="484"/>
                  </a:lnTo>
                  <a:lnTo>
                    <a:pt x="8443" y="474"/>
                  </a:lnTo>
                  <a:lnTo>
                    <a:pt x="8423" y="468"/>
                  </a:lnTo>
                  <a:lnTo>
                    <a:pt x="8401" y="465"/>
                  </a:lnTo>
                  <a:lnTo>
                    <a:pt x="8373" y="469"/>
                  </a:lnTo>
                  <a:lnTo>
                    <a:pt x="8349" y="481"/>
                  </a:lnTo>
                  <a:close/>
                  <a:moveTo>
                    <a:pt x="7880" y="455"/>
                  </a:moveTo>
                  <a:lnTo>
                    <a:pt x="7883" y="433"/>
                  </a:lnTo>
                  <a:lnTo>
                    <a:pt x="7889" y="411"/>
                  </a:lnTo>
                  <a:lnTo>
                    <a:pt x="7896" y="391"/>
                  </a:lnTo>
                  <a:lnTo>
                    <a:pt x="7905" y="372"/>
                  </a:lnTo>
                  <a:lnTo>
                    <a:pt x="7917" y="354"/>
                  </a:lnTo>
                  <a:lnTo>
                    <a:pt x="7930" y="336"/>
                  </a:lnTo>
                  <a:lnTo>
                    <a:pt x="7944" y="321"/>
                  </a:lnTo>
                  <a:lnTo>
                    <a:pt x="7959" y="305"/>
                  </a:lnTo>
                  <a:lnTo>
                    <a:pt x="7994" y="280"/>
                  </a:lnTo>
                  <a:lnTo>
                    <a:pt x="8032" y="261"/>
                  </a:lnTo>
                  <a:lnTo>
                    <a:pt x="8075" y="249"/>
                  </a:lnTo>
                  <a:lnTo>
                    <a:pt x="8119" y="245"/>
                  </a:lnTo>
                  <a:lnTo>
                    <a:pt x="8160" y="249"/>
                  </a:lnTo>
                  <a:lnTo>
                    <a:pt x="8200" y="259"/>
                  </a:lnTo>
                  <a:lnTo>
                    <a:pt x="8237" y="276"/>
                  </a:lnTo>
                  <a:lnTo>
                    <a:pt x="8254" y="286"/>
                  </a:lnTo>
                  <a:lnTo>
                    <a:pt x="8271" y="299"/>
                  </a:lnTo>
                  <a:lnTo>
                    <a:pt x="8300" y="326"/>
                  </a:lnTo>
                  <a:lnTo>
                    <a:pt x="8325" y="358"/>
                  </a:lnTo>
                  <a:lnTo>
                    <a:pt x="8335" y="376"/>
                  </a:lnTo>
                  <a:lnTo>
                    <a:pt x="8343" y="395"/>
                  </a:lnTo>
                  <a:lnTo>
                    <a:pt x="8350" y="414"/>
                  </a:lnTo>
                  <a:lnTo>
                    <a:pt x="8354" y="433"/>
                  </a:lnTo>
                  <a:lnTo>
                    <a:pt x="8377" y="428"/>
                  </a:lnTo>
                  <a:lnTo>
                    <a:pt x="8401" y="426"/>
                  </a:lnTo>
                  <a:lnTo>
                    <a:pt x="8431" y="428"/>
                  </a:lnTo>
                  <a:lnTo>
                    <a:pt x="8459" y="437"/>
                  </a:lnTo>
                  <a:lnTo>
                    <a:pt x="8484" y="451"/>
                  </a:lnTo>
                  <a:lnTo>
                    <a:pt x="8505" y="470"/>
                  </a:lnTo>
                  <a:lnTo>
                    <a:pt x="8523" y="492"/>
                  </a:lnTo>
                  <a:lnTo>
                    <a:pt x="8531" y="505"/>
                  </a:lnTo>
                  <a:lnTo>
                    <a:pt x="8536" y="518"/>
                  </a:lnTo>
                  <a:lnTo>
                    <a:pt x="8545" y="544"/>
                  </a:lnTo>
                  <a:lnTo>
                    <a:pt x="8548" y="560"/>
                  </a:lnTo>
                  <a:lnTo>
                    <a:pt x="8548" y="574"/>
                  </a:lnTo>
                  <a:lnTo>
                    <a:pt x="8548" y="592"/>
                  </a:lnTo>
                  <a:lnTo>
                    <a:pt x="8544" y="613"/>
                  </a:lnTo>
                  <a:lnTo>
                    <a:pt x="8540" y="624"/>
                  </a:lnTo>
                  <a:lnTo>
                    <a:pt x="8535" y="631"/>
                  </a:lnTo>
                  <a:lnTo>
                    <a:pt x="8528" y="638"/>
                  </a:lnTo>
                  <a:lnTo>
                    <a:pt x="8521" y="640"/>
                  </a:lnTo>
                  <a:lnTo>
                    <a:pt x="7724" y="638"/>
                  </a:lnTo>
                  <a:lnTo>
                    <a:pt x="7717" y="637"/>
                  </a:lnTo>
                  <a:lnTo>
                    <a:pt x="7710" y="631"/>
                  </a:lnTo>
                  <a:lnTo>
                    <a:pt x="7705" y="622"/>
                  </a:lnTo>
                  <a:lnTo>
                    <a:pt x="7701" y="613"/>
                  </a:lnTo>
                  <a:lnTo>
                    <a:pt x="7699" y="593"/>
                  </a:lnTo>
                  <a:lnTo>
                    <a:pt x="7698" y="576"/>
                  </a:lnTo>
                  <a:lnTo>
                    <a:pt x="7700" y="548"/>
                  </a:lnTo>
                  <a:lnTo>
                    <a:pt x="7708" y="521"/>
                  </a:lnTo>
                  <a:lnTo>
                    <a:pt x="7721" y="497"/>
                  </a:lnTo>
                  <a:lnTo>
                    <a:pt x="7737" y="477"/>
                  </a:lnTo>
                  <a:lnTo>
                    <a:pt x="7757" y="459"/>
                  </a:lnTo>
                  <a:lnTo>
                    <a:pt x="7781" y="446"/>
                  </a:lnTo>
                  <a:lnTo>
                    <a:pt x="7807" y="437"/>
                  </a:lnTo>
                  <a:lnTo>
                    <a:pt x="7836" y="434"/>
                  </a:lnTo>
                  <a:lnTo>
                    <a:pt x="7851" y="436"/>
                  </a:lnTo>
                  <a:lnTo>
                    <a:pt x="7864" y="440"/>
                  </a:lnTo>
                  <a:lnTo>
                    <a:pt x="7874" y="445"/>
                  </a:lnTo>
                  <a:lnTo>
                    <a:pt x="7880" y="455"/>
                  </a:lnTo>
                  <a:close/>
                  <a:moveTo>
                    <a:pt x="4157" y="902"/>
                  </a:moveTo>
                  <a:lnTo>
                    <a:pt x="4683" y="902"/>
                  </a:lnTo>
                  <a:lnTo>
                    <a:pt x="5210" y="902"/>
                  </a:lnTo>
                  <a:lnTo>
                    <a:pt x="5210" y="892"/>
                  </a:lnTo>
                  <a:lnTo>
                    <a:pt x="5207" y="865"/>
                  </a:lnTo>
                  <a:lnTo>
                    <a:pt x="5203" y="854"/>
                  </a:lnTo>
                  <a:lnTo>
                    <a:pt x="5200" y="841"/>
                  </a:lnTo>
                  <a:lnTo>
                    <a:pt x="5187" y="819"/>
                  </a:lnTo>
                  <a:lnTo>
                    <a:pt x="5179" y="809"/>
                  </a:lnTo>
                  <a:lnTo>
                    <a:pt x="5171" y="799"/>
                  </a:lnTo>
                  <a:lnTo>
                    <a:pt x="5151" y="784"/>
                  </a:lnTo>
                  <a:lnTo>
                    <a:pt x="5141" y="777"/>
                  </a:lnTo>
                  <a:lnTo>
                    <a:pt x="5129" y="771"/>
                  </a:lnTo>
                  <a:lnTo>
                    <a:pt x="5103" y="763"/>
                  </a:lnTo>
                  <a:lnTo>
                    <a:pt x="5077" y="761"/>
                  </a:lnTo>
                  <a:lnTo>
                    <a:pt x="5052" y="763"/>
                  </a:lnTo>
                  <a:lnTo>
                    <a:pt x="5042" y="767"/>
                  </a:lnTo>
                  <a:lnTo>
                    <a:pt x="5030" y="771"/>
                  </a:lnTo>
                  <a:lnTo>
                    <a:pt x="4996" y="791"/>
                  </a:lnTo>
                  <a:lnTo>
                    <a:pt x="4982" y="799"/>
                  </a:lnTo>
                  <a:lnTo>
                    <a:pt x="4970" y="801"/>
                  </a:lnTo>
                  <a:lnTo>
                    <a:pt x="4961" y="799"/>
                  </a:lnTo>
                  <a:lnTo>
                    <a:pt x="4955" y="786"/>
                  </a:lnTo>
                  <a:lnTo>
                    <a:pt x="4944" y="758"/>
                  </a:lnTo>
                  <a:lnTo>
                    <a:pt x="4938" y="745"/>
                  </a:lnTo>
                  <a:lnTo>
                    <a:pt x="4929" y="732"/>
                  </a:lnTo>
                  <a:lnTo>
                    <a:pt x="4911" y="711"/>
                  </a:lnTo>
                  <a:lnTo>
                    <a:pt x="4900" y="700"/>
                  </a:lnTo>
                  <a:lnTo>
                    <a:pt x="4888" y="690"/>
                  </a:lnTo>
                  <a:lnTo>
                    <a:pt x="4864" y="675"/>
                  </a:lnTo>
                  <a:lnTo>
                    <a:pt x="4837" y="662"/>
                  </a:lnTo>
                  <a:lnTo>
                    <a:pt x="4821" y="658"/>
                  </a:lnTo>
                  <a:lnTo>
                    <a:pt x="4807" y="656"/>
                  </a:lnTo>
                  <a:lnTo>
                    <a:pt x="4775" y="653"/>
                  </a:lnTo>
                  <a:lnTo>
                    <a:pt x="4751" y="656"/>
                  </a:lnTo>
                  <a:lnTo>
                    <a:pt x="4725" y="661"/>
                  </a:lnTo>
                  <a:lnTo>
                    <a:pt x="4702" y="665"/>
                  </a:lnTo>
                  <a:lnTo>
                    <a:pt x="4694" y="663"/>
                  </a:lnTo>
                  <a:lnTo>
                    <a:pt x="4688" y="660"/>
                  </a:lnTo>
                  <a:lnTo>
                    <a:pt x="4671" y="643"/>
                  </a:lnTo>
                  <a:lnTo>
                    <a:pt x="4653" y="628"/>
                  </a:lnTo>
                  <a:lnTo>
                    <a:pt x="4634" y="615"/>
                  </a:lnTo>
                  <a:lnTo>
                    <a:pt x="4614" y="605"/>
                  </a:lnTo>
                  <a:lnTo>
                    <a:pt x="4592" y="596"/>
                  </a:lnTo>
                  <a:lnTo>
                    <a:pt x="4570" y="589"/>
                  </a:lnTo>
                  <a:lnTo>
                    <a:pt x="4546" y="585"/>
                  </a:lnTo>
                  <a:lnTo>
                    <a:pt x="4521" y="584"/>
                  </a:lnTo>
                  <a:lnTo>
                    <a:pt x="4480" y="587"/>
                  </a:lnTo>
                  <a:lnTo>
                    <a:pt x="4462" y="590"/>
                  </a:lnTo>
                  <a:lnTo>
                    <a:pt x="4446" y="594"/>
                  </a:lnTo>
                  <a:lnTo>
                    <a:pt x="4416" y="607"/>
                  </a:lnTo>
                  <a:lnTo>
                    <a:pt x="4393" y="622"/>
                  </a:lnTo>
                  <a:lnTo>
                    <a:pt x="4373" y="640"/>
                  </a:lnTo>
                  <a:lnTo>
                    <a:pt x="4356" y="661"/>
                  </a:lnTo>
                  <a:lnTo>
                    <a:pt x="4343" y="683"/>
                  </a:lnTo>
                  <a:lnTo>
                    <a:pt x="4333" y="704"/>
                  </a:lnTo>
                  <a:lnTo>
                    <a:pt x="4317" y="749"/>
                  </a:lnTo>
                  <a:lnTo>
                    <a:pt x="4306" y="786"/>
                  </a:lnTo>
                  <a:lnTo>
                    <a:pt x="4293" y="812"/>
                  </a:lnTo>
                  <a:lnTo>
                    <a:pt x="4287" y="818"/>
                  </a:lnTo>
                  <a:lnTo>
                    <a:pt x="4276" y="819"/>
                  </a:lnTo>
                  <a:lnTo>
                    <a:pt x="4261" y="818"/>
                  </a:lnTo>
                  <a:lnTo>
                    <a:pt x="4242" y="819"/>
                  </a:lnTo>
                  <a:lnTo>
                    <a:pt x="4224" y="824"/>
                  </a:lnTo>
                  <a:lnTo>
                    <a:pt x="4207" y="832"/>
                  </a:lnTo>
                  <a:lnTo>
                    <a:pt x="4193" y="842"/>
                  </a:lnTo>
                  <a:lnTo>
                    <a:pt x="4180" y="854"/>
                  </a:lnTo>
                  <a:lnTo>
                    <a:pt x="4170" y="868"/>
                  </a:lnTo>
                  <a:lnTo>
                    <a:pt x="4162" y="885"/>
                  </a:lnTo>
                  <a:lnTo>
                    <a:pt x="4157" y="902"/>
                  </a:lnTo>
                  <a:close/>
                  <a:moveTo>
                    <a:pt x="5248" y="923"/>
                  </a:moveTo>
                  <a:lnTo>
                    <a:pt x="5243" y="933"/>
                  </a:lnTo>
                  <a:lnTo>
                    <a:pt x="5238" y="938"/>
                  </a:lnTo>
                  <a:lnTo>
                    <a:pt x="5227" y="942"/>
                  </a:lnTo>
                  <a:lnTo>
                    <a:pt x="4680" y="942"/>
                  </a:lnTo>
                  <a:lnTo>
                    <a:pt x="4135" y="942"/>
                  </a:lnTo>
                  <a:lnTo>
                    <a:pt x="4129" y="940"/>
                  </a:lnTo>
                  <a:lnTo>
                    <a:pt x="4123" y="936"/>
                  </a:lnTo>
                  <a:lnTo>
                    <a:pt x="4117" y="928"/>
                  </a:lnTo>
                  <a:lnTo>
                    <a:pt x="4116" y="920"/>
                  </a:lnTo>
                  <a:lnTo>
                    <a:pt x="4119" y="891"/>
                  </a:lnTo>
                  <a:lnTo>
                    <a:pt x="4128" y="864"/>
                  </a:lnTo>
                  <a:lnTo>
                    <a:pt x="4140" y="840"/>
                  </a:lnTo>
                  <a:lnTo>
                    <a:pt x="4158" y="819"/>
                  </a:lnTo>
                  <a:lnTo>
                    <a:pt x="4180" y="801"/>
                  </a:lnTo>
                  <a:lnTo>
                    <a:pt x="4205" y="789"/>
                  </a:lnTo>
                  <a:lnTo>
                    <a:pt x="4232" y="781"/>
                  </a:lnTo>
                  <a:lnTo>
                    <a:pt x="4261" y="777"/>
                  </a:lnTo>
                  <a:lnTo>
                    <a:pt x="4265" y="753"/>
                  </a:lnTo>
                  <a:lnTo>
                    <a:pt x="4270" y="730"/>
                  </a:lnTo>
                  <a:lnTo>
                    <a:pt x="4279" y="707"/>
                  </a:lnTo>
                  <a:lnTo>
                    <a:pt x="4288" y="686"/>
                  </a:lnTo>
                  <a:lnTo>
                    <a:pt x="4301" y="666"/>
                  </a:lnTo>
                  <a:lnTo>
                    <a:pt x="4314" y="647"/>
                  </a:lnTo>
                  <a:lnTo>
                    <a:pt x="4329" y="629"/>
                  </a:lnTo>
                  <a:lnTo>
                    <a:pt x="4346" y="612"/>
                  </a:lnTo>
                  <a:lnTo>
                    <a:pt x="4364" y="597"/>
                  </a:lnTo>
                  <a:lnTo>
                    <a:pt x="4383" y="584"/>
                  </a:lnTo>
                  <a:lnTo>
                    <a:pt x="4425" y="562"/>
                  </a:lnTo>
                  <a:lnTo>
                    <a:pt x="4448" y="555"/>
                  </a:lnTo>
                  <a:lnTo>
                    <a:pt x="4471" y="550"/>
                  </a:lnTo>
                  <a:lnTo>
                    <a:pt x="4496" y="546"/>
                  </a:lnTo>
                  <a:lnTo>
                    <a:pt x="4521" y="544"/>
                  </a:lnTo>
                  <a:lnTo>
                    <a:pt x="4548" y="546"/>
                  </a:lnTo>
                  <a:lnTo>
                    <a:pt x="4575" y="550"/>
                  </a:lnTo>
                  <a:lnTo>
                    <a:pt x="4625" y="565"/>
                  </a:lnTo>
                  <a:lnTo>
                    <a:pt x="4648" y="576"/>
                  </a:lnTo>
                  <a:lnTo>
                    <a:pt x="4670" y="590"/>
                  </a:lnTo>
                  <a:lnTo>
                    <a:pt x="4689" y="606"/>
                  </a:lnTo>
                  <a:lnTo>
                    <a:pt x="4709" y="622"/>
                  </a:lnTo>
                  <a:lnTo>
                    <a:pt x="4741" y="615"/>
                  </a:lnTo>
                  <a:lnTo>
                    <a:pt x="4775" y="612"/>
                  </a:lnTo>
                  <a:lnTo>
                    <a:pt x="4810" y="615"/>
                  </a:lnTo>
                  <a:lnTo>
                    <a:pt x="4827" y="619"/>
                  </a:lnTo>
                  <a:lnTo>
                    <a:pt x="4842" y="622"/>
                  </a:lnTo>
                  <a:lnTo>
                    <a:pt x="4873" y="635"/>
                  </a:lnTo>
                  <a:lnTo>
                    <a:pt x="4901" y="651"/>
                  </a:lnTo>
                  <a:lnTo>
                    <a:pt x="4927" y="671"/>
                  </a:lnTo>
                  <a:lnTo>
                    <a:pt x="4950" y="694"/>
                  </a:lnTo>
                  <a:lnTo>
                    <a:pt x="4969" y="720"/>
                  </a:lnTo>
                  <a:lnTo>
                    <a:pt x="4984" y="749"/>
                  </a:lnTo>
                  <a:lnTo>
                    <a:pt x="5005" y="738"/>
                  </a:lnTo>
                  <a:lnTo>
                    <a:pt x="5028" y="729"/>
                  </a:lnTo>
                  <a:lnTo>
                    <a:pt x="5052" y="722"/>
                  </a:lnTo>
                  <a:lnTo>
                    <a:pt x="5077" y="721"/>
                  </a:lnTo>
                  <a:lnTo>
                    <a:pt x="5112" y="725"/>
                  </a:lnTo>
                  <a:lnTo>
                    <a:pt x="5128" y="729"/>
                  </a:lnTo>
                  <a:lnTo>
                    <a:pt x="5145" y="734"/>
                  </a:lnTo>
                  <a:lnTo>
                    <a:pt x="5174" y="750"/>
                  </a:lnTo>
                  <a:lnTo>
                    <a:pt x="5200" y="771"/>
                  </a:lnTo>
                  <a:lnTo>
                    <a:pt x="5210" y="784"/>
                  </a:lnTo>
                  <a:lnTo>
                    <a:pt x="5220" y="796"/>
                  </a:lnTo>
                  <a:lnTo>
                    <a:pt x="5229" y="810"/>
                  </a:lnTo>
                  <a:lnTo>
                    <a:pt x="5237" y="826"/>
                  </a:lnTo>
                  <a:lnTo>
                    <a:pt x="5247" y="858"/>
                  </a:lnTo>
                  <a:lnTo>
                    <a:pt x="5250" y="892"/>
                  </a:lnTo>
                  <a:lnTo>
                    <a:pt x="5250" y="908"/>
                  </a:lnTo>
                  <a:lnTo>
                    <a:pt x="5248" y="923"/>
                  </a:lnTo>
                  <a:close/>
                  <a:moveTo>
                    <a:pt x="4239" y="2494"/>
                  </a:moveTo>
                  <a:lnTo>
                    <a:pt x="4239" y="2607"/>
                  </a:lnTo>
                  <a:lnTo>
                    <a:pt x="4238" y="2616"/>
                  </a:lnTo>
                  <a:lnTo>
                    <a:pt x="4233" y="2622"/>
                  </a:lnTo>
                  <a:lnTo>
                    <a:pt x="4226" y="2626"/>
                  </a:lnTo>
                  <a:lnTo>
                    <a:pt x="4219" y="2627"/>
                  </a:lnTo>
                  <a:lnTo>
                    <a:pt x="4212" y="2626"/>
                  </a:lnTo>
                  <a:lnTo>
                    <a:pt x="4206" y="2622"/>
                  </a:lnTo>
                  <a:lnTo>
                    <a:pt x="4201" y="2616"/>
                  </a:lnTo>
                  <a:lnTo>
                    <a:pt x="4199" y="2607"/>
                  </a:lnTo>
                  <a:lnTo>
                    <a:pt x="4199" y="2494"/>
                  </a:lnTo>
                  <a:lnTo>
                    <a:pt x="4201" y="2487"/>
                  </a:lnTo>
                  <a:lnTo>
                    <a:pt x="4206" y="2480"/>
                  </a:lnTo>
                  <a:lnTo>
                    <a:pt x="4212" y="2477"/>
                  </a:lnTo>
                  <a:lnTo>
                    <a:pt x="4219" y="2475"/>
                  </a:lnTo>
                  <a:lnTo>
                    <a:pt x="4226" y="2477"/>
                  </a:lnTo>
                  <a:lnTo>
                    <a:pt x="4233" y="2480"/>
                  </a:lnTo>
                  <a:lnTo>
                    <a:pt x="4238" y="2487"/>
                  </a:lnTo>
                  <a:lnTo>
                    <a:pt x="4239" y="2494"/>
                  </a:lnTo>
                  <a:close/>
                  <a:moveTo>
                    <a:pt x="4502" y="2494"/>
                  </a:moveTo>
                  <a:lnTo>
                    <a:pt x="4502" y="2607"/>
                  </a:lnTo>
                  <a:lnTo>
                    <a:pt x="4501" y="2616"/>
                  </a:lnTo>
                  <a:lnTo>
                    <a:pt x="4496" y="2622"/>
                  </a:lnTo>
                  <a:lnTo>
                    <a:pt x="4489" y="2626"/>
                  </a:lnTo>
                  <a:lnTo>
                    <a:pt x="4483" y="2627"/>
                  </a:lnTo>
                  <a:lnTo>
                    <a:pt x="4475" y="2626"/>
                  </a:lnTo>
                  <a:lnTo>
                    <a:pt x="4469" y="2622"/>
                  </a:lnTo>
                  <a:lnTo>
                    <a:pt x="4464" y="2616"/>
                  </a:lnTo>
                  <a:lnTo>
                    <a:pt x="4462" y="2607"/>
                  </a:lnTo>
                  <a:lnTo>
                    <a:pt x="4462" y="2494"/>
                  </a:lnTo>
                  <a:lnTo>
                    <a:pt x="4464" y="2487"/>
                  </a:lnTo>
                  <a:lnTo>
                    <a:pt x="4469" y="2480"/>
                  </a:lnTo>
                  <a:lnTo>
                    <a:pt x="4475" y="2477"/>
                  </a:lnTo>
                  <a:lnTo>
                    <a:pt x="4483" y="2475"/>
                  </a:lnTo>
                  <a:lnTo>
                    <a:pt x="4489" y="2477"/>
                  </a:lnTo>
                  <a:lnTo>
                    <a:pt x="4496" y="2480"/>
                  </a:lnTo>
                  <a:lnTo>
                    <a:pt x="4501" y="2487"/>
                  </a:lnTo>
                  <a:lnTo>
                    <a:pt x="4502" y="2494"/>
                  </a:lnTo>
                  <a:close/>
                  <a:moveTo>
                    <a:pt x="4765" y="2494"/>
                  </a:moveTo>
                  <a:lnTo>
                    <a:pt x="4765" y="2607"/>
                  </a:lnTo>
                  <a:lnTo>
                    <a:pt x="4764" y="2616"/>
                  </a:lnTo>
                  <a:lnTo>
                    <a:pt x="4759" y="2622"/>
                  </a:lnTo>
                  <a:lnTo>
                    <a:pt x="4752" y="2626"/>
                  </a:lnTo>
                  <a:lnTo>
                    <a:pt x="4746" y="2627"/>
                  </a:lnTo>
                  <a:lnTo>
                    <a:pt x="4738" y="2626"/>
                  </a:lnTo>
                  <a:lnTo>
                    <a:pt x="4732" y="2622"/>
                  </a:lnTo>
                  <a:lnTo>
                    <a:pt x="4728" y="2616"/>
                  </a:lnTo>
                  <a:lnTo>
                    <a:pt x="4725" y="2607"/>
                  </a:lnTo>
                  <a:lnTo>
                    <a:pt x="4725" y="2494"/>
                  </a:lnTo>
                  <a:lnTo>
                    <a:pt x="4728" y="2487"/>
                  </a:lnTo>
                  <a:lnTo>
                    <a:pt x="4732" y="2480"/>
                  </a:lnTo>
                  <a:lnTo>
                    <a:pt x="4738" y="2477"/>
                  </a:lnTo>
                  <a:lnTo>
                    <a:pt x="4746" y="2475"/>
                  </a:lnTo>
                  <a:lnTo>
                    <a:pt x="4752" y="2477"/>
                  </a:lnTo>
                  <a:lnTo>
                    <a:pt x="4759" y="2480"/>
                  </a:lnTo>
                  <a:lnTo>
                    <a:pt x="4764" y="2487"/>
                  </a:lnTo>
                  <a:lnTo>
                    <a:pt x="4765" y="2494"/>
                  </a:lnTo>
                  <a:close/>
                  <a:moveTo>
                    <a:pt x="5029" y="2494"/>
                  </a:moveTo>
                  <a:lnTo>
                    <a:pt x="5029" y="2607"/>
                  </a:lnTo>
                  <a:lnTo>
                    <a:pt x="5027" y="2616"/>
                  </a:lnTo>
                  <a:lnTo>
                    <a:pt x="5023" y="2622"/>
                  </a:lnTo>
                  <a:lnTo>
                    <a:pt x="5016" y="2626"/>
                  </a:lnTo>
                  <a:lnTo>
                    <a:pt x="5009" y="2627"/>
                  </a:lnTo>
                  <a:lnTo>
                    <a:pt x="5001" y="2626"/>
                  </a:lnTo>
                  <a:lnTo>
                    <a:pt x="4994" y="2622"/>
                  </a:lnTo>
                  <a:lnTo>
                    <a:pt x="4991" y="2616"/>
                  </a:lnTo>
                  <a:lnTo>
                    <a:pt x="4988" y="2607"/>
                  </a:lnTo>
                  <a:lnTo>
                    <a:pt x="4988" y="2494"/>
                  </a:lnTo>
                  <a:lnTo>
                    <a:pt x="4991" y="2487"/>
                  </a:lnTo>
                  <a:lnTo>
                    <a:pt x="4994" y="2480"/>
                  </a:lnTo>
                  <a:lnTo>
                    <a:pt x="5001" y="2477"/>
                  </a:lnTo>
                  <a:lnTo>
                    <a:pt x="5009" y="2475"/>
                  </a:lnTo>
                  <a:lnTo>
                    <a:pt x="5016" y="2477"/>
                  </a:lnTo>
                  <a:lnTo>
                    <a:pt x="5023" y="2480"/>
                  </a:lnTo>
                  <a:lnTo>
                    <a:pt x="5027" y="2487"/>
                  </a:lnTo>
                  <a:lnTo>
                    <a:pt x="5029" y="2494"/>
                  </a:lnTo>
                  <a:close/>
                  <a:moveTo>
                    <a:pt x="5292" y="2494"/>
                  </a:moveTo>
                  <a:lnTo>
                    <a:pt x="5292" y="2607"/>
                  </a:lnTo>
                  <a:lnTo>
                    <a:pt x="5289" y="2616"/>
                  </a:lnTo>
                  <a:lnTo>
                    <a:pt x="5286" y="2622"/>
                  </a:lnTo>
                  <a:lnTo>
                    <a:pt x="5279" y="2626"/>
                  </a:lnTo>
                  <a:lnTo>
                    <a:pt x="5271" y="2627"/>
                  </a:lnTo>
                  <a:lnTo>
                    <a:pt x="5264" y="2626"/>
                  </a:lnTo>
                  <a:lnTo>
                    <a:pt x="5257" y="2622"/>
                  </a:lnTo>
                  <a:lnTo>
                    <a:pt x="5253" y="2616"/>
                  </a:lnTo>
                  <a:lnTo>
                    <a:pt x="5252" y="2607"/>
                  </a:lnTo>
                  <a:lnTo>
                    <a:pt x="5252" y="2494"/>
                  </a:lnTo>
                  <a:lnTo>
                    <a:pt x="5253" y="2487"/>
                  </a:lnTo>
                  <a:lnTo>
                    <a:pt x="5257" y="2480"/>
                  </a:lnTo>
                  <a:lnTo>
                    <a:pt x="5264" y="2477"/>
                  </a:lnTo>
                  <a:lnTo>
                    <a:pt x="5271" y="2475"/>
                  </a:lnTo>
                  <a:lnTo>
                    <a:pt x="5279" y="2477"/>
                  </a:lnTo>
                  <a:lnTo>
                    <a:pt x="5286" y="2480"/>
                  </a:lnTo>
                  <a:lnTo>
                    <a:pt x="5289" y="2487"/>
                  </a:lnTo>
                  <a:lnTo>
                    <a:pt x="5292" y="2494"/>
                  </a:lnTo>
                  <a:close/>
                  <a:moveTo>
                    <a:pt x="5555" y="2494"/>
                  </a:moveTo>
                  <a:lnTo>
                    <a:pt x="5555" y="2607"/>
                  </a:lnTo>
                  <a:lnTo>
                    <a:pt x="5554" y="2616"/>
                  </a:lnTo>
                  <a:lnTo>
                    <a:pt x="5548" y="2622"/>
                  </a:lnTo>
                  <a:lnTo>
                    <a:pt x="5542" y="2626"/>
                  </a:lnTo>
                  <a:lnTo>
                    <a:pt x="5534" y="2627"/>
                  </a:lnTo>
                  <a:lnTo>
                    <a:pt x="5528" y="2626"/>
                  </a:lnTo>
                  <a:lnTo>
                    <a:pt x="5521" y="2622"/>
                  </a:lnTo>
                  <a:lnTo>
                    <a:pt x="5516" y="2616"/>
                  </a:lnTo>
                  <a:lnTo>
                    <a:pt x="5515" y="2607"/>
                  </a:lnTo>
                  <a:lnTo>
                    <a:pt x="5515" y="2494"/>
                  </a:lnTo>
                  <a:lnTo>
                    <a:pt x="5516" y="2487"/>
                  </a:lnTo>
                  <a:lnTo>
                    <a:pt x="5521" y="2480"/>
                  </a:lnTo>
                  <a:lnTo>
                    <a:pt x="5528" y="2477"/>
                  </a:lnTo>
                  <a:lnTo>
                    <a:pt x="5534" y="2475"/>
                  </a:lnTo>
                  <a:lnTo>
                    <a:pt x="5542" y="2477"/>
                  </a:lnTo>
                  <a:lnTo>
                    <a:pt x="5548" y="2480"/>
                  </a:lnTo>
                  <a:lnTo>
                    <a:pt x="5554" y="2487"/>
                  </a:lnTo>
                  <a:lnTo>
                    <a:pt x="5555" y="2494"/>
                  </a:lnTo>
                  <a:close/>
                  <a:moveTo>
                    <a:pt x="4239" y="2741"/>
                  </a:moveTo>
                  <a:lnTo>
                    <a:pt x="4239" y="2854"/>
                  </a:lnTo>
                  <a:lnTo>
                    <a:pt x="4238" y="2863"/>
                  </a:lnTo>
                  <a:lnTo>
                    <a:pt x="4233" y="2869"/>
                  </a:lnTo>
                  <a:lnTo>
                    <a:pt x="4226" y="2873"/>
                  </a:lnTo>
                  <a:lnTo>
                    <a:pt x="4219" y="2874"/>
                  </a:lnTo>
                  <a:lnTo>
                    <a:pt x="4212" y="2873"/>
                  </a:lnTo>
                  <a:lnTo>
                    <a:pt x="4206" y="2869"/>
                  </a:lnTo>
                  <a:lnTo>
                    <a:pt x="4201" y="2863"/>
                  </a:lnTo>
                  <a:lnTo>
                    <a:pt x="4199" y="2854"/>
                  </a:lnTo>
                  <a:lnTo>
                    <a:pt x="4199" y="2741"/>
                  </a:lnTo>
                  <a:lnTo>
                    <a:pt x="4201" y="2732"/>
                  </a:lnTo>
                  <a:lnTo>
                    <a:pt x="4206" y="2727"/>
                  </a:lnTo>
                  <a:lnTo>
                    <a:pt x="4212" y="2723"/>
                  </a:lnTo>
                  <a:lnTo>
                    <a:pt x="4219" y="2722"/>
                  </a:lnTo>
                  <a:lnTo>
                    <a:pt x="4226" y="2723"/>
                  </a:lnTo>
                  <a:lnTo>
                    <a:pt x="4233" y="2727"/>
                  </a:lnTo>
                  <a:lnTo>
                    <a:pt x="4238" y="2732"/>
                  </a:lnTo>
                  <a:lnTo>
                    <a:pt x="4239" y="2741"/>
                  </a:lnTo>
                  <a:close/>
                  <a:moveTo>
                    <a:pt x="4502" y="2741"/>
                  </a:moveTo>
                  <a:lnTo>
                    <a:pt x="4502" y="2854"/>
                  </a:lnTo>
                  <a:lnTo>
                    <a:pt x="4501" y="2863"/>
                  </a:lnTo>
                  <a:lnTo>
                    <a:pt x="4496" y="2869"/>
                  </a:lnTo>
                  <a:lnTo>
                    <a:pt x="4489" y="2873"/>
                  </a:lnTo>
                  <a:lnTo>
                    <a:pt x="4483" y="2874"/>
                  </a:lnTo>
                  <a:lnTo>
                    <a:pt x="4475" y="2873"/>
                  </a:lnTo>
                  <a:lnTo>
                    <a:pt x="4469" y="2869"/>
                  </a:lnTo>
                  <a:lnTo>
                    <a:pt x="4464" y="2863"/>
                  </a:lnTo>
                  <a:lnTo>
                    <a:pt x="4462" y="2854"/>
                  </a:lnTo>
                  <a:lnTo>
                    <a:pt x="4462" y="2741"/>
                  </a:lnTo>
                  <a:lnTo>
                    <a:pt x="4464" y="2732"/>
                  </a:lnTo>
                  <a:lnTo>
                    <a:pt x="4469" y="2727"/>
                  </a:lnTo>
                  <a:lnTo>
                    <a:pt x="4475" y="2723"/>
                  </a:lnTo>
                  <a:lnTo>
                    <a:pt x="4483" y="2722"/>
                  </a:lnTo>
                  <a:lnTo>
                    <a:pt x="4489" y="2723"/>
                  </a:lnTo>
                  <a:lnTo>
                    <a:pt x="4496" y="2727"/>
                  </a:lnTo>
                  <a:lnTo>
                    <a:pt x="4501" y="2732"/>
                  </a:lnTo>
                  <a:lnTo>
                    <a:pt x="4502" y="2741"/>
                  </a:lnTo>
                  <a:close/>
                  <a:moveTo>
                    <a:pt x="4765" y="2741"/>
                  </a:moveTo>
                  <a:lnTo>
                    <a:pt x="4765" y="2854"/>
                  </a:lnTo>
                  <a:lnTo>
                    <a:pt x="4764" y="2863"/>
                  </a:lnTo>
                  <a:lnTo>
                    <a:pt x="4759" y="2869"/>
                  </a:lnTo>
                  <a:lnTo>
                    <a:pt x="4752" y="2873"/>
                  </a:lnTo>
                  <a:lnTo>
                    <a:pt x="4746" y="2874"/>
                  </a:lnTo>
                  <a:lnTo>
                    <a:pt x="4738" y="2873"/>
                  </a:lnTo>
                  <a:lnTo>
                    <a:pt x="4732" y="2869"/>
                  </a:lnTo>
                  <a:lnTo>
                    <a:pt x="4728" y="2863"/>
                  </a:lnTo>
                  <a:lnTo>
                    <a:pt x="4725" y="2854"/>
                  </a:lnTo>
                  <a:lnTo>
                    <a:pt x="4725" y="2741"/>
                  </a:lnTo>
                  <a:lnTo>
                    <a:pt x="4728" y="2732"/>
                  </a:lnTo>
                  <a:lnTo>
                    <a:pt x="4732" y="2727"/>
                  </a:lnTo>
                  <a:lnTo>
                    <a:pt x="4738" y="2723"/>
                  </a:lnTo>
                  <a:lnTo>
                    <a:pt x="4746" y="2722"/>
                  </a:lnTo>
                  <a:lnTo>
                    <a:pt x="4752" y="2723"/>
                  </a:lnTo>
                  <a:lnTo>
                    <a:pt x="4759" y="2727"/>
                  </a:lnTo>
                  <a:lnTo>
                    <a:pt x="4764" y="2732"/>
                  </a:lnTo>
                  <a:lnTo>
                    <a:pt x="4765" y="2741"/>
                  </a:lnTo>
                  <a:close/>
                  <a:moveTo>
                    <a:pt x="5029" y="2741"/>
                  </a:moveTo>
                  <a:lnTo>
                    <a:pt x="5029" y="2854"/>
                  </a:lnTo>
                  <a:lnTo>
                    <a:pt x="5027" y="2863"/>
                  </a:lnTo>
                  <a:lnTo>
                    <a:pt x="5023" y="2869"/>
                  </a:lnTo>
                  <a:lnTo>
                    <a:pt x="5016" y="2873"/>
                  </a:lnTo>
                  <a:lnTo>
                    <a:pt x="5009" y="2874"/>
                  </a:lnTo>
                  <a:lnTo>
                    <a:pt x="5001" y="2873"/>
                  </a:lnTo>
                  <a:lnTo>
                    <a:pt x="4994" y="2869"/>
                  </a:lnTo>
                  <a:lnTo>
                    <a:pt x="4991" y="2863"/>
                  </a:lnTo>
                  <a:lnTo>
                    <a:pt x="4988" y="2854"/>
                  </a:lnTo>
                  <a:lnTo>
                    <a:pt x="4988" y="2741"/>
                  </a:lnTo>
                  <a:lnTo>
                    <a:pt x="4991" y="2732"/>
                  </a:lnTo>
                  <a:lnTo>
                    <a:pt x="4994" y="2727"/>
                  </a:lnTo>
                  <a:lnTo>
                    <a:pt x="5001" y="2723"/>
                  </a:lnTo>
                  <a:lnTo>
                    <a:pt x="5009" y="2722"/>
                  </a:lnTo>
                  <a:lnTo>
                    <a:pt x="5016" y="2723"/>
                  </a:lnTo>
                  <a:lnTo>
                    <a:pt x="5023" y="2727"/>
                  </a:lnTo>
                  <a:lnTo>
                    <a:pt x="5027" y="2732"/>
                  </a:lnTo>
                  <a:lnTo>
                    <a:pt x="5029" y="2741"/>
                  </a:lnTo>
                  <a:close/>
                  <a:moveTo>
                    <a:pt x="5292" y="2741"/>
                  </a:moveTo>
                  <a:lnTo>
                    <a:pt x="5292" y="2854"/>
                  </a:lnTo>
                  <a:lnTo>
                    <a:pt x="5289" y="2863"/>
                  </a:lnTo>
                  <a:lnTo>
                    <a:pt x="5286" y="2869"/>
                  </a:lnTo>
                  <a:lnTo>
                    <a:pt x="5279" y="2873"/>
                  </a:lnTo>
                  <a:lnTo>
                    <a:pt x="5271" y="2874"/>
                  </a:lnTo>
                  <a:lnTo>
                    <a:pt x="5264" y="2873"/>
                  </a:lnTo>
                  <a:lnTo>
                    <a:pt x="5257" y="2869"/>
                  </a:lnTo>
                  <a:lnTo>
                    <a:pt x="5253" y="2863"/>
                  </a:lnTo>
                  <a:lnTo>
                    <a:pt x="5252" y="2854"/>
                  </a:lnTo>
                  <a:lnTo>
                    <a:pt x="5252" y="2741"/>
                  </a:lnTo>
                  <a:lnTo>
                    <a:pt x="5253" y="2732"/>
                  </a:lnTo>
                  <a:lnTo>
                    <a:pt x="5257" y="2727"/>
                  </a:lnTo>
                  <a:lnTo>
                    <a:pt x="5264" y="2723"/>
                  </a:lnTo>
                  <a:lnTo>
                    <a:pt x="5271" y="2722"/>
                  </a:lnTo>
                  <a:lnTo>
                    <a:pt x="5279" y="2723"/>
                  </a:lnTo>
                  <a:lnTo>
                    <a:pt x="5286" y="2727"/>
                  </a:lnTo>
                  <a:lnTo>
                    <a:pt x="5289" y="2732"/>
                  </a:lnTo>
                  <a:lnTo>
                    <a:pt x="5292" y="2741"/>
                  </a:lnTo>
                  <a:close/>
                  <a:moveTo>
                    <a:pt x="5555" y="2741"/>
                  </a:moveTo>
                  <a:lnTo>
                    <a:pt x="5555" y="2854"/>
                  </a:lnTo>
                  <a:lnTo>
                    <a:pt x="5554" y="2863"/>
                  </a:lnTo>
                  <a:lnTo>
                    <a:pt x="5548" y="2869"/>
                  </a:lnTo>
                  <a:lnTo>
                    <a:pt x="5542" y="2873"/>
                  </a:lnTo>
                  <a:lnTo>
                    <a:pt x="5534" y="2874"/>
                  </a:lnTo>
                  <a:lnTo>
                    <a:pt x="5528" y="2873"/>
                  </a:lnTo>
                  <a:lnTo>
                    <a:pt x="5521" y="2869"/>
                  </a:lnTo>
                  <a:lnTo>
                    <a:pt x="5516" y="2863"/>
                  </a:lnTo>
                  <a:lnTo>
                    <a:pt x="5515" y="2854"/>
                  </a:lnTo>
                  <a:lnTo>
                    <a:pt x="5515" y="2741"/>
                  </a:lnTo>
                  <a:lnTo>
                    <a:pt x="5516" y="2732"/>
                  </a:lnTo>
                  <a:lnTo>
                    <a:pt x="5521" y="2727"/>
                  </a:lnTo>
                  <a:lnTo>
                    <a:pt x="5528" y="2723"/>
                  </a:lnTo>
                  <a:lnTo>
                    <a:pt x="5534" y="2722"/>
                  </a:lnTo>
                  <a:lnTo>
                    <a:pt x="5542" y="2723"/>
                  </a:lnTo>
                  <a:lnTo>
                    <a:pt x="5548" y="2727"/>
                  </a:lnTo>
                  <a:lnTo>
                    <a:pt x="5554" y="2732"/>
                  </a:lnTo>
                  <a:lnTo>
                    <a:pt x="5555" y="2741"/>
                  </a:lnTo>
                  <a:close/>
                  <a:moveTo>
                    <a:pt x="4239" y="2988"/>
                  </a:moveTo>
                  <a:lnTo>
                    <a:pt x="4239" y="3101"/>
                  </a:lnTo>
                  <a:lnTo>
                    <a:pt x="4238" y="3109"/>
                  </a:lnTo>
                  <a:lnTo>
                    <a:pt x="4233" y="3115"/>
                  </a:lnTo>
                  <a:lnTo>
                    <a:pt x="4226" y="3118"/>
                  </a:lnTo>
                  <a:lnTo>
                    <a:pt x="4219" y="3120"/>
                  </a:lnTo>
                  <a:lnTo>
                    <a:pt x="4212" y="3118"/>
                  </a:lnTo>
                  <a:lnTo>
                    <a:pt x="4206" y="3115"/>
                  </a:lnTo>
                  <a:lnTo>
                    <a:pt x="4201" y="3109"/>
                  </a:lnTo>
                  <a:lnTo>
                    <a:pt x="4199" y="3101"/>
                  </a:lnTo>
                  <a:lnTo>
                    <a:pt x="4199" y="2988"/>
                  </a:lnTo>
                  <a:lnTo>
                    <a:pt x="4201" y="2979"/>
                  </a:lnTo>
                  <a:lnTo>
                    <a:pt x="4206" y="2973"/>
                  </a:lnTo>
                  <a:lnTo>
                    <a:pt x="4212" y="2970"/>
                  </a:lnTo>
                  <a:lnTo>
                    <a:pt x="4219" y="2969"/>
                  </a:lnTo>
                  <a:lnTo>
                    <a:pt x="4226" y="2970"/>
                  </a:lnTo>
                  <a:lnTo>
                    <a:pt x="4233" y="2973"/>
                  </a:lnTo>
                  <a:lnTo>
                    <a:pt x="4238" y="2979"/>
                  </a:lnTo>
                  <a:lnTo>
                    <a:pt x="4239" y="2988"/>
                  </a:lnTo>
                  <a:close/>
                  <a:moveTo>
                    <a:pt x="4502" y="2988"/>
                  </a:moveTo>
                  <a:lnTo>
                    <a:pt x="4502" y="3101"/>
                  </a:lnTo>
                  <a:lnTo>
                    <a:pt x="4501" y="3109"/>
                  </a:lnTo>
                  <a:lnTo>
                    <a:pt x="4496" y="3115"/>
                  </a:lnTo>
                  <a:lnTo>
                    <a:pt x="4489" y="3118"/>
                  </a:lnTo>
                  <a:lnTo>
                    <a:pt x="4483" y="3120"/>
                  </a:lnTo>
                  <a:lnTo>
                    <a:pt x="4475" y="3118"/>
                  </a:lnTo>
                  <a:lnTo>
                    <a:pt x="4469" y="3115"/>
                  </a:lnTo>
                  <a:lnTo>
                    <a:pt x="4464" y="3109"/>
                  </a:lnTo>
                  <a:lnTo>
                    <a:pt x="4462" y="3101"/>
                  </a:lnTo>
                  <a:lnTo>
                    <a:pt x="4462" y="2988"/>
                  </a:lnTo>
                  <a:lnTo>
                    <a:pt x="4464" y="2979"/>
                  </a:lnTo>
                  <a:lnTo>
                    <a:pt x="4469" y="2973"/>
                  </a:lnTo>
                  <a:lnTo>
                    <a:pt x="4475" y="2970"/>
                  </a:lnTo>
                  <a:lnTo>
                    <a:pt x="4483" y="2969"/>
                  </a:lnTo>
                  <a:lnTo>
                    <a:pt x="4489" y="2970"/>
                  </a:lnTo>
                  <a:lnTo>
                    <a:pt x="4496" y="2973"/>
                  </a:lnTo>
                  <a:lnTo>
                    <a:pt x="4501" y="2979"/>
                  </a:lnTo>
                  <a:lnTo>
                    <a:pt x="4502" y="2988"/>
                  </a:lnTo>
                  <a:close/>
                  <a:moveTo>
                    <a:pt x="4765" y="2988"/>
                  </a:moveTo>
                  <a:lnTo>
                    <a:pt x="4765" y="3101"/>
                  </a:lnTo>
                  <a:lnTo>
                    <a:pt x="4764" y="3109"/>
                  </a:lnTo>
                  <a:lnTo>
                    <a:pt x="4759" y="3115"/>
                  </a:lnTo>
                  <a:lnTo>
                    <a:pt x="4752" y="3118"/>
                  </a:lnTo>
                  <a:lnTo>
                    <a:pt x="4746" y="3120"/>
                  </a:lnTo>
                  <a:lnTo>
                    <a:pt x="4738" y="3118"/>
                  </a:lnTo>
                  <a:lnTo>
                    <a:pt x="4732" y="3115"/>
                  </a:lnTo>
                  <a:lnTo>
                    <a:pt x="4728" y="3109"/>
                  </a:lnTo>
                  <a:lnTo>
                    <a:pt x="4725" y="3101"/>
                  </a:lnTo>
                  <a:lnTo>
                    <a:pt x="4725" y="2988"/>
                  </a:lnTo>
                  <a:lnTo>
                    <a:pt x="4728" y="2979"/>
                  </a:lnTo>
                  <a:lnTo>
                    <a:pt x="4732" y="2973"/>
                  </a:lnTo>
                  <a:lnTo>
                    <a:pt x="4738" y="2970"/>
                  </a:lnTo>
                  <a:lnTo>
                    <a:pt x="4746" y="2969"/>
                  </a:lnTo>
                  <a:lnTo>
                    <a:pt x="4752" y="2970"/>
                  </a:lnTo>
                  <a:lnTo>
                    <a:pt x="4759" y="2973"/>
                  </a:lnTo>
                  <a:lnTo>
                    <a:pt x="4764" y="2979"/>
                  </a:lnTo>
                  <a:lnTo>
                    <a:pt x="4765" y="2988"/>
                  </a:lnTo>
                  <a:close/>
                  <a:moveTo>
                    <a:pt x="5029" y="2988"/>
                  </a:moveTo>
                  <a:lnTo>
                    <a:pt x="5029" y="3101"/>
                  </a:lnTo>
                  <a:lnTo>
                    <a:pt x="5027" y="3109"/>
                  </a:lnTo>
                  <a:lnTo>
                    <a:pt x="5023" y="3115"/>
                  </a:lnTo>
                  <a:lnTo>
                    <a:pt x="5016" y="3118"/>
                  </a:lnTo>
                  <a:lnTo>
                    <a:pt x="5009" y="3120"/>
                  </a:lnTo>
                  <a:lnTo>
                    <a:pt x="5001" y="3118"/>
                  </a:lnTo>
                  <a:lnTo>
                    <a:pt x="4994" y="3115"/>
                  </a:lnTo>
                  <a:lnTo>
                    <a:pt x="4991" y="3109"/>
                  </a:lnTo>
                  <a:lnTo>
                    <a:pt x="4988" y="3101"/>
                  </a:lnTo>
                  <a:lnTo>
                    <a:pt x="4988" y="2988"/>
                  </a:lnTo>
                  <a:lnTo>
                    <a:pt x="4991" y="2979"/>
                  </a:lnTo>
                  <a:lnTo>
                    <a:pt x="4994" y="2973"/>
                  </a:lnTo>
                  <a:lnTo>
                    <a:pt x="5001" y="2970"/>
                  </a:lnTo>
                  <a:lnTo>
                    <a:pt x="5009" y="2969"/>
                  </a:lnTo>
                  <a:lnTo>
                    <a:pt x="5016" y="2970"/>
                  </a:lnTo>
                  <a:lnTo>
                    <a:pt x="5023" y="2973"/>
                  </a:lnTo>
                  <a:lnTo>
                    <a:pt x="5027" y="2979"/>
                  </a:lnTo>
                  <a:lnTo>
                    <a:pt x="5029" y="2988"/>
                  </a:lnTo>
                  <a:close/>
                  <a:moveTo>
                    <a:pt x="5292" y="2988"/>
                  </a:moveTo>
                  <a:lnTo>
                    <a:pt x="5292" y="3101"/>
                  </a:lnTo>
                  <a:lnTo>
                    <a:pt x="5289" y="3109"/>
                  </a:lnTo>
                  <a:lnTo>
                    <a:pt x="5286" y="3115"/>
                  </a:lnTo>
                  <a:lnTo>
                    <a:pt x="5279" y="3118"/>
                  </a:lnTo>
                  <a:lnTo>
                    <a:pt x="5271" y="3120"/>
                  </a:lnTo>
                  <a:lnTo>
                    <a:pt x="5264" y="3118"/>
                  </a:lnTo>
                  <a:lnTo>
                    <a:pt x="5257" y="3115"/>
                  </a:lnTo>
                  <a:lnTo>
                    <a:pt x="5253" y="3109"/>
                  </a:lnTo>
                  <a:lnTo>
                    <a:pt x="5252" y="3101"/>
                  </a:lnTo>
                  <a:lnTo>
                    <a:pt x="5252" y="2988"/>
                  </a:lnTo>
                  <a:lnTo>
                    <a:pt x="5253" y="2979"/>
                  </a:lnTo>
                  <a:lnTo>
                    <a:pt x="5257" y="2973"/>
                  </a:lnTo>
                  <a:lnTo>
                    <a:pt x="5264" y="2970"/>
                  </a:lnTo>
                  <a:lnTo>
                    <a:pt x="5271" y="2969"/>
                  </a:lnTo>
                  <a:lnTo>
                    <a:pt x="5279" y="2970"/>
                  </a:lnTo>
                  <a:lnTo>
                    <a:pt x="5286" y="2973"/>
                  </a:lnTo>
                  <a:lnTo>
                    <a:pt x="5289" y="2979"/>
                  </a:lnTo>
                  <a:lnTo>
                    <a:pt x="5292" y="2988"/>
                  </a:lnTo>
                  <a:close/>
                  <a:moveTo>
                    <a:pt x="5555" y="2988"/>
                  </a:moveTo>
                  <a:lnTo>
                    <a:pt x="5555" y="3101"/>
                  </a:lnTo>
                  <a:lnTo>
                    <a:pt x="5554" y="3109"/>
                  </a:lnTo>
                  <a:lnTo>
                    <a:pt x="5548" y="3115"/>
                  </a:lnTo>
                  <a:lnTo>
                    <a:pt x="5542" y="3118"/>
                  </a:lnTo>
                  <a:lnTo>
                    <a:pt x="5534" y="3120"/>
                  </a:lnTo>
                  <a:lnTo>
                    <a:pt x="5528" y="3118"/>
                  </a:lnTo>
                  <a:lnTo>
                    <a:pt x="5521" y="3115"/>
                  </a:lnTo>
                  <a:lnTo>
                    <a:pt x="5516" y="3109"/>
                  </a:lnTo>
                  <a:lnTo>
                    <a:pt x="5515" y="3101"/>
                  </a:lnTo>
                  <a:lnTo>
                    <a:pt x="5515" y="2988"/>
                  </a:lnTo>
                  <a:lnTo>
                    <a:pt x="5516" y="2979"/>
                  </a:lnTo>
                  <a:lnTo>
                    <a:pt x="5521" y="2973"/>
                  </a:lnTo>
                  <a:lnTo>
                    <a:pt x="5528" y="2970"/>
                  </a:lnTo>
                  <a:lnTo>
                    <a:pt x="5534" y="2969"/>
                  </a:lnTo>
                  <a:lnTo>
                    <a:pt x="5542" y="2970"/>
                  </a:lnTo>
                  <a:lnTo>
                    <a:pt x="5548" y="2973"/>
                  </a:lnTo>
                  <a:lnTo>
                    <a:pt x="5554" y="2979"/>
                  </a:lnTo>
                  <a:lnTo>
                    <a:pt x="5555" y="2988"/>
                  </a:lnTo>
                  <a:close/>
                  <a:moveTo>
                    <a:pt x="4239" y="3235"/>
                  </a:moveTo>
                  <a:lnTo>
                    <a:pt x="4239" y="3347"/>
                  </a:lnTo>
                  <a:lnTo>
                    <a:pt x="4238" y="3355"/>
                  </a:lnTo>
                  <a:lnTo>
                    <a:pt x="4233" y="3361"/>
                  </a:lnTo>
                  <a:lnTo>
                    <a:pt x="4226" y="3365"/>
                  </a:lnTo>
                  <a:lnTo>
                    <a:pt x="4219" y="3367"/>
                  </a:lnTo>
                  <a:lnTo>
                    <a:pt x="4212" y="3365"/>
                  </a:lnTo>
                  <a:lnTo>
                    <a:pt x="4206" y="3361"/>
                  </a:lnTo>
                  <a:lnTo>
                    <a:pt x="4201" y="3355"/>
                  </a:lnTo>
                  <a:lnTo>
                    <a:pt x="4199" y="3347"/>
                  </a:lnTo>
                  <a:lnTo>
                    <a:pt x="4199" y="3235"/>
                  </a:lnTo>
                  <a:lnTo>
                    <a:pt x="4201" y="3226"/>
                  </a:lnTo>
                  <a:lnTo>
                    <a:pt x="4206" y="3219"/>
                  </a:lnTo>
                  <a:lnTo>
                    <a:pt x="4212" y="3216"/>
                  </a:lnTo>
                  <a:lnTo>
                    <a:pt x="4219" y="3214"/>
                  </a:lnTo>
                  <a:lnTo>
                    <a:pt x="4226" y="3216"/>
                  </a:lnTo>
                  <a:lnTo>
                    <a:pt x="4233" y="3219"/>
                  </a:lnTo>
                  <a:lnTo>
                    <a:pt x="4238" y="3226"/>
                  </a:lnTo>
                  <a:lnTo>
                    <a:pt x="4239" y="3235"/>
                  </a:lnTo>
                  <a:close/>
                  <a:moveTo>
                    <a:pt x="4502" y="3235"/>
                  </a:moveTo>
                  <a:lnTo>
                    <a:pt x="4502" y="3347"/>
                  </a:lnTo>
                  <a:lnTo>
                    <a:pt x="4501" y="3355"/>
                  </a:lnTo>
                  <a:lnTo>
                    <a:pt x="4496" y="3361"/>
                  </a:lnTo>
                  <a:lnTo>
                    <a:pt x="4489" y="3365"/>
                  </a:lnTo>
                  <a:lnTo>
                    <a:pt x="4483" y="3367"/>
                  </a:lnTo>
                  <a:lnTo>
                    <a:pt x="4475" y="3365"/>
                  </a:lnTo>
                  <a:lnTo>
                    <a:pt x="4469" y="3361"/>
                  </a:lnTo>
                  <a:lnTo>
                    <a:pt x="4464" y="3355"/>
                  </a:lnTo>
                  <a:lnTo>
                    <a:pt x="4462" y="3347"/>
                  </a:lnTo>
                  <a:lnTo>
                    <a:pt x="4462" y="3235"/>
                  </a:lnTo>
                  <a:lnTo>
                    <a:pt x="4464" y="3226"/>
                  </a:lnTo>
                  <a:lnTo>
                    <a:pt x="4469" y="3219"/>
                  </a:lnTo>
                  <a:lnTo>
                    <a:pt x="4475" y="3216"/>
                  </a:lnTo>
                  <a:lnTo>
                    <a:pt x="4483" y="3214"/>
                  </a:lnTo>
                  <a:lnTo>
                    <a:pt x="4489" y="3216"/>
                  </a:lnTo>
                  <a:lnTo>
                    <a:pt x="4496" y="3219"/>
                  </a:lnTo>
                  <a:lnTo>
                    <a:pt x="4501" y="3226"/>
                  </a:lnTo>
                  <a:lnTo>
                    <a:pt x="4502" y="3235"/>
                  </a:lnTo>
                  <a:close/>
                  <a:moveTo>
                    <a:pt x="4765" y="3235"/>
                  </a:moveTo>
                  <a:lnTo>
                    <a:pt x="4765" y="3347"/>
                  </a:lnTo>
                  <a:lnTo>
                    <a:pt x="4764" y="3355"/>
                  </a:lnTo>
                  <a:lnTo>
                    <a:pt x="4759" y="3361"/>
                  </a:lnTo>
                  <a:lnTo>
                    <a:pt x="4752" y="3365"/>
                  </a:lnTo>
                  <a:lnTo>
                    <a:pt x="4746" y="3367"/>
                  </a:lnTo>
                  <a:lnTo>
                    <a:pt x="4738" y="3365"/>
                  </a:lnTo>
                  <a:lnTo>
                    <a:pt x="4732" y="3361"/>
                  </a:lnTo>
                  <a:lnTo>
                    <a:pt x="4728" y="3355"/>
                  </a:lnTo>
                  <a:lnTo>
                    <a:pt x="4725" y="3347"/>
                  </a:lnTo>
                  <a:lnTo>
                    <a:pt x="4725" y="3235"/>
                  </a:lnTo>
                  <a:lnTo>
                    <a:pt x="4728" y="3226"/>
                  </a:lnTo>
                  <a:lnTo>
                    <a:pt x="4732" y="3219"/>
                  </a:lnTo>
                  <a:lnTo>
                    <a:pt x="4738" y="3216"/>
                  </a:lnTo>
                  <a:lnTo>
                    <a:pt x="4746" y="3214"/>
                  </a:lnTo>
                  <a:lnTo>
                    <a:pt x="4752" y="3216"/>
                  </a:lnTo>
                  <a:lnTo>
                    <a:pt x="4759" y="3219"/>
                  </a:lnTo>
                  <a:lnTo>
                    <a:pt x="4764" y="3226"/>
                  </a:lnTo>
                  <a:lnTo>
                    <a:pt x="4765" y="3235"/>
                  </a:lnTo>
                  <a:close/>
                  <a:moveTo>
                    <a:pt x="5029" y="3235"/>
                  </a:moveTo>
                  <a:lnTo>
                    <a:pt x="5029" y="3347"/>
                  </a:lnTo>
                  <a:lnTo>
                    <a:pt x="5027" y="3355"/>
                  </a:lnTo>
                  <a:lnTo>
                    <a:pt x="5023" y="3361"/>
                  </a:lnTo>
                  <a:lnTo>
                    <a:pt x="5016" y="3365"/>
                  </a:lnTo>
                  <a:lnTo>
                    <a:pt x="5009" y="3367"/>
                  </a:lnTo>
                  <a:lnTo>
                    <a:pt x="5001" y="3365"/>
                  </a:lnTo>
                  <a:lnTo>
                    <a:pt x="4994" y="3361"/>
                  </a:lnTo>
                  <a:lnTo>
                    <a:pt x="4991" y="3355"/>
                  </a:lnTo>
                  <a:lnTo>
                    <a:pt x="4988" y="3347"/>
                  </a:lnTo>
                  <a:lnTo>
                    <a:pt x="4988" y="3235"/>
                  </a:lnTo>
                  <a:lnTo>
                    <a:pt x="4991" y="3226"/>
                  </a:lnTo>
                  <a:lnTo>
                    <a:pt x="4994" y="3219"/>
                  </a:lnTo>
                  <a:lnTo>
                    <a:pt x="5001" y="3216"/>
                  </a:lnTo>
                  <a:lnTo>
                    <a:pt x="5009" y="3214"/>
                  </a:lnTo>
                  <a:lnTo>
                    <a:pt x="5016" y="3216"/>
                  </a:lnTo>
                  <a:lnTo>
                    <a:pt x="5023" y="3219"/>
                  </a:lnTo>
                  <a:lnTo>
                    <a:pt x="5027" y="3226"/>
                  </a:lnTo>
                  <a:lnTo>
                    <a:pt x="5029" y="3235"/>
                  </a:lnTo>
                  <a:close/>
                  <a:moveTo>
                    <a:pt x="5292" y="3235"/>
                  </a:moveTo>
                  <a:lnTo>
                    <a:pt x="5292" y="3347"/>
                  </a:lnTo>
                  <a:lnTo>
                    <a:pt x="5289" y="3355"/>
                  </a:lnTo>
                  <a:lnTo>
                    <a:pt x="5286" y="3361"/>
                  </a:lnTo>
                  <a:lnTo>
                    <a:pt x="5279" y="3365"/>
                  </a:lnTo>
                  <a:lnTo>
                    <a:pt x="5271" y="3367"/>
                  </a:lnTo>
                  <a:lnTo>
                    <a:pt x="5264" y="3365"/>
                  </a:lnTo>
                  <a:lnTo>
                    <a:pt x="5257" y="3361"/>
                  </a:lnTo>
                  <a:lnTo>
                    <a:pt x="5253" y="3355"/>
                  </a:lnTo>
                  <a:lnTo>
                    <a:pt x="5252" y="3347"/>
                  </a:lnTo>
                  <a:lnTo>
                    <a:pt x="5252" y="3235"/>
                  </a:lnTo>
                  <a:lnTo>
                    <a:pt x="5253" y="3226"/>
                  </a:lnTo>
                  <a:lnTo>
                    <a:pt x="5257" y="3219"/>
                  </a:lnTo>
                  <a:lnTo>
                    <a:pt x="5264" y="3216"/>
                  </a:lnTo>
                  <a:lnTo>
                    <a:pt x="5271" y="3214"/>
                  </a:lnTo>
                  <a:lnTo>
                    <a:pt x="5279" y="3216"/>
                  </a:lnTo>
                  <a:lnTo>
                    <a:pt x="5286" y="3219"/>
                  </a:lnTo>
                  <a:lnTo>
                    <a:pt x="5289" y="3226"/>
                  </a:lnTo>
                  <a:lnTo>
                    <a:pt x="5292" y="3235"/>
                  </a:lnTo>
                  <a:close/>
                  <a:moveTo>
                    <a:pt x="5555" y="3235"/>
                  </a:moveTo>
                  <a:lnTo>
                    <a:pt x="5555" y="3347"/>
                  </a:lnTo>
                  <a:lnTo>
                    <a:pt x="5554" y="3355"/>
                  </a:lnTo>
                  <a:lnTo>
                    <a:pt x="5548" y="3361"/>
                  </a:lnTo>
                  <a:lnTo>
                    <a:pt x="5542" y="3365"/>
                  </a:lnTo>
                  <a:lnTo>
                    <a:pt x="5534" y="3367"/>
                  </a:lnTo>
                  <a:lnTo>
                    <a:pt x="5528" y="3365"/>
                  </a:lnTo>
                  <a:lnTo>
                    <a:pt x="5521" y="3361"/>
                  </a:lnTo>
                  <a:lnTo>
                    <a:pt x="5516" y="3355"/>
                  </a:lnTo>
                  <a:lnTo>
                    <a:pt x="5515" y="3347"/>
                  </a:lnTo>
                  <a:lnTo>
                    <a:pt x="5515" y="3235"/>
                  </a:lnTo>
                  <a:lnTo>
                    <a:pt x="5516" y="3226"/>
                  </a:lnTo>
                  <a:lnTo>
                    <a:pt x="5521" y="3219"/>
                  </a:lnTo>
                  <a:lnTo>
                    <a:pt x="5528" y="3216"/>
                  </a:lnTo>
                  <a:lnTo>
                    <a:pt x="5534" y="3214"/>
                  </a:lnTo>
                  <a:lnTo>
                    <a:pt x="5542" y="3216"/>
                  </a:lnTo>
                  <a:lnTo>
                    <a:pt x="5548" y="3219"/>
                  </a:lnTo>
                  <a:lnTo>
                    <a:pt x="5554" y="3226"/>
                  </a:lnTo>
                  <a:lnTo>
                    <a:pt x="5555" y="3235"/>
                  </a:lnTo>
                  <a:close/>
                  <a:moveTo>
                    <a:pt x="3624" y="4034"/>
                  </a:moveTo>
                  <a:lnTo>
                    <a:pt x="3624" y="3864"/>
                  </a:lnTo>
                  <a:lnTo>
                    <a:pt x="3625" y="3856"/>
                  </a:lnTo>
                  <a:lnTo>
                    <a:pt x="3629" y="3851"/>
                  </a:lnTo>
                  <a:lnTo>
                    <a:pt x="3634" y="3847"/>
                  </a:lnTo>
                  <a:lnTo>
                    <a:pt x="3639" y="3845"/>
                  </a:lnTo>
                  <a:lnTo>
                    <a:pt x="3646" y="3845"/>
                  </a:lnTo>
                  <a:lnTo>
                    <a:pt x="3652" y="3846"/>
                  </a:lnTo>
                  <a:lnTo>
                    <a:pt x="3657" y="3849"/>
                  </a:lnTo>
                  <a:lnTo>
                    <a:pt x="3662" y="3854"/>
                  </a:lnTo>
                  <a:lnTo>
                    <a:pt x="3666" y="3860"/>
                  </a:lnTo>
                  <a:lnTo>
                    <a:pt x="3667" y="3869"/>
                  </a:lnTo>
                  <a:lnTo>
                    <a:pt x="3667" y="4034"/>
                  </a:lnTo>
                  <a:lnTo>
                    <a:pt x="3710" y="4029"/>
                  </a:lnTo>
                  <a:lnTo>
                    <a:pt x="3751" y="4021"/>
                  </a:lnTo>
                  <a:lnTo>
                    <a:pt x="3789" y="4010"/>
                  </a:lnTo>
                  <a:lnTo>
                    <a:pt x="3828" y="3994"/>
                  </a:lnTo>
                  <a:lnTo>
                    <a:pt x="3846" y="3985"/>
                  </a:lnTo>
                  <a:lnTo>
                    <a:pt x="3864" y="3975"/>
                  </a:lnTo>
                  <a:lnTo>
                    <a:pt x="3897" y="3953"/>
                  </a:lnTo>
                  <a:lnTo>
                    <a:pt x="3928" y="3928"/>
                  </a:lnTo>
                  <a:lnTo>
                    <a:pt x="3957" y="3901"/>
                  </a:lnTo>
                  <a:lnTo>
                    <a:pt x="3970" y="3886"/>
                  </a:lnTo>
                  <a:lnTo>
                    <a:pt x="3983" y="3870"/>
                  </a:lnTo>
                  <a:lnTo>
                    <a:pt x="4006" y="3838"/>
                  </a:lnTo>
                  <a:lnTo>
                    <a:pt x="4026" y="3804"/>
                  </a:lnTo>
                  <a:lnTo>
                    <a:pt x="4043" y="3767"/>
                  </a:lnTo>
                  <a:lnTo>
                    <a:pt x="4057" y="3728"/>
                  </a:lnTo>
                  <a:lnTo>
                    <a:pt x="4067" y="3689"/>
                  </a:lnTo>
                  <a:lnTo>
                    <a:pt x="4074" y="3648"/>
                  </a:lnTo>
                  <a:lnTo>
                    <a:pt x="4075" y="3604"/>
                  </a:lnTo>
                  <a:lnTo>
                    <a:pt x="4074" y="3569"/>
                  </a:lnTo>
                  <a:lnTo>
                    <a:pt x="4069" y="3533"/>
                  </a:lnTo>
                  <a:lnTo>
                    <a:pt x="4062" y="3498"/>
                  </a:lnTo>
                  <a:lnTo>
                    <a:pt x="4052" y="3464"/>
                  </a:lnTo>
                  <a:lnTo>
                    <a:pt x="4039" y="3432"/>
                  </a:lnTo>
                  <a:lnTo>
                    <a:pt x="4024" y="3401"/>
                  </a:lnTo>
                  <a:lnTo>
                    <a:pt x="4006" y="3372"/>
                  </a:lnTo>
                  <a:lnTo>
                    <a:pt x="3987" y="3343"/>
                  </a:lnTo>
                  <a:lnTo>
                    <a:pt x="3955" y="3308"/>
                  </a:lnTo>
                  <a:lnTo>
                    <a:pt x="3919" y="3276"/>
                  </a:lnTo>
                  <a:lnTo>
                    <a:pt x="3880" y="3248"/>
                  </a:lnTo>
                  <a:lnTo>
                    <a:pt x="3860" y="3236"/>
                  </a:lnTo>
                  <a:lnTo>
                    <a:pt x="3839" y="3225"/>
                  </a:lnTo>
                  <a:lnTo>
                    <a:pt x="3817" y="3214"/>
                  </a:lnTo>
                  <a:lnTo>
                    <a:pt x="3794" y="3205"/>
                  </a:lnTo>
                  <a:lnTo>
                    <a:pt x="3748" y="3191"/>
                  </a:lnTo>
                  <a:lnTo>
                    <a:pt x="3699" y="3184"/>
                  </a:lnTo>
                  <a:lnTo>
                    <a:pt x="3674" y="3181"/>
                  </a:lnTo>
                  <a:lnTo>
                    <a:pt x="3648" y="3180"/>
                  </a:lnTo>
                  <a:lnTo>
                    <a:pt x="3604" y="3182"/>
                  </a:lnTo>
                  <a:lnTo>
                    <a:pt x="3562" y="3189"/>
                  </a:lnTo>
                  <a:lnTo>
                    <a:pt x="3521" y="3200"/>
                  </a:lnTo>
                  <a:lnTo>
                    <a:pt x="3481" y="3214"/>
                  </a:lnTo>
                  <a:lnTo>
                    <a:pt x="3443" y="3232"/>
                  </a:lnTo>
                  <a:lnTo>
                    <a:pt x="3408" y="3254"/>
                  </a:lnTo>
                  <a:lnTo>
                    <a:pt x="3375" y="3278"/>
                  </a:lnTo>
                  <a:lnTo>
                    <a:pt x="3344" y="3306"/>
                  </a:lnTo>
                  <a:lnTo>
                    <a:pt x="3316" y="3337"/>
                  </a:lnTo>
                  <a:lnTo>
                    <a:pt x="3292" y="3369"/>
                  </a:lnTo>
                  <a:lnTo>
                    <a:pt x="3270" y="3405"/>
                  </a:lnTo>
                  <a:lnTo>
                    <a:pt x="3252" y="3443"/>
                  </a:lnTo>
                  <a:lnTo>
                    <a:pt x="3238" y="3482"/>
                  </a:lnTo>
                  <a:lnTo>
                    <a:pt x="3226" y="3524"/>
                  </a:lnTo>
                  <a:lnTo>
                    <a:pt x="3220" y="3566"/>
                  </a:lnTo>
                  <a:lnTo>
                    <a:pt x="3219" y="3609"/>
                  </a:lnTo>
                  <a:lnTo>
                    <a:pt x="3220" y="3647"/>
                  </a:lnTo>
                  <a:lnTo>
                    <a:pt x="3224" y="3682"/>
                  </a:lnTo>
                  <a:lnTo>
                    <a:pt x="3231" y="3717"/>
                  </a:lnTo>
                  <a:lnTo>
                    <a:pt x="3242" y="3750"/>
                  </a:lnTo>
                  <a:lnTo>
                    <a:pt x="3254" y="3783"/>
                  </a:lnTo>
                  <a:lnTo>
                    <a:pt x="3270" y="3814"/>
                  </a:lnTo>
                  <a:lnTo>
                    <a:pt x="3288" y="3843"/>
                  </a:lnTo>
                  <a:lnTo>
                    <a:pt x="3307" y="3872"/>
                  </a:lnTo>
                  <a:lnTo>
                    <a:pt x="3336" y="3905"/>
                  </a:lnTo>
                  <a:lnTo>
                    <a:pt x="3370" y="3936"/>
                  </a:lnTo>
                  <a:lnTo>
                    <a:pt x="3388" y="3950"/>
                  </a:lnTo>
                  <a:lnTo>
                    <a:pt x="3407" y="3962"/>
                  </a:lnTo>
                  <a:lnTo>
                    <a:pt x="3445" y="3985"/>
                  </a:lnTo>
                  <a:lnTo>
                    <a:pt x="3487" y="4005"/>
                  </a:lnTo>
                  <a:lnTo>
                    <a:pt x="3531" y="4019"/>
                  </a:lnTo>
                  <a:lnTo>
                    <a:pt x="3576" y="4029"/>
                  </a:lnTo>
                  <a:lnTo>
                    <a:pt x="3624" y="4034"/>
                  </a:lnTo>
                  <a:close/>
                  <a:moveTo>
                    <a:pt x="3628" y="4333"/>
                  </a:moveTo>
                  <a:lnTo>
                    <a:pt x="3625" y="4328"/>
                  </a:lnTo>
                  <a:lnTo>
                    <a:pt x="3624" y="4320"/>
                  </a:lnTo>
                  <a:lnTo>
                    <a:pt x="3624" y="4079"/>
                  </a:lnTo>
                  <a:lnTo>
                    <a:pt x="3571" y="4072"/>
                  </a:lnTo>
                  <a:lnTo>
                    <a:pt x="3521" y="4062"/>
                  </a:lnTo>
                  <a:lnTo>
                    <a:pt x="3472" y="4045"/>
                  </a:lnTo>
                  <a:lnTo>
                    <a:pt x="3449" y="4035"/>
                  </a:lnTo>
                  <a:lnTo>
                    <a:pt x="3428" y="4024"/>
                  </a:lnTo>
                  <a:lnTo>
                    <a:pt x="3384" y="3998"/>
                  </a:lnTo>
                  <a:lnTo>
                    <a:pt x="3363" y="3984"/>
                  </a:lnTo>
                  <a:lnTo>
                    <a:pt x="3344" y="3967"/>
                  </a:lnTo>
                  <a:lnTo>
                    <a:pt x="3326" y="3951"/>
                  </a:lnTo>
                  <a:lnTo>
                    <a:pt x="3308" y="3934"/>
                  </a:lnTo>
                  <a:lnTo>
                    <a:pt x="3292" y="3915"/>
                  </a:lnTo>
                  <a:lnTo>
                    <a:pt x="3276" y="3896"/>
                  </a:lnTo>
                  <a:lnTo>
                    <a:pt x="3253" y="3865"/>
                  </a:lnTo>
                  <a:lnTo>
                    <a:pt x="3233" y="3832"/>
                  </a:lnTo>
                  <a:lnTo>
                    <a:pt x="3216" y="3797"/>
                  </a:lnTo>
                  <a:lnTo>
                    <a:pt x="3201" y="3762"/>
                  </a:lnTo>
                  <a:lnTo>
                    <a:pt x="3189" y="3725"/>
                  </a:lnTo>
                  <a:lnTo>
                    <a:pt x="3181" y="3686"/>
                  </a:lnTo>
                  <a:lnTo>
                    <a:pt x="3176" y="3645"/>
                  </a:lnTo>
                  <a:lnTo>
                    <a:pt x="3174" y="3604"/>
                  </a:lnTo>
                  <a:lnTo>
                    <a:pt x="3176" y="3557"/>
                  </a:lnTo>
                  <a:lnTo>
                    <a:pt x="3184" y="3510"/>
                  </a:lnTo>
                  <a:lnTo>
                    <a:pt x="3189" y="3488"/>
                  </a:lnTo>
                  <a:lnTo>
                    <a:pt x="3195" y="3465"/>
                  </a:lnTo>
                  <a:lnTo>
                    <a:pt x="3211" y="3423"/>
                  </a:lnTo>
                  <a:lnTo>
                    <a:pt x="3231" y="3382"/>
                  </a:lnTo>
                  <a:lnTo>
                    <a:pt x="3254" y="3342"/>
                  </a:lnTo>
                  <a:lnTo>
                    <a:pt x="3281" y="3306"/>
                  </a:lnTo>
                  <a:lnTo>
                    <a:pt x="3297" y="3290"/>
                  </a:lnTo>
                  <a:lnTo>
                    <a:pt x="3312" y="3273"/>
                  </a:lnTo>
                  <a:lnTo>
                    <a:pt x="3345" y="3242"/>
                  </a:lnTo>
                  <a:lnTo>
                    <a:pt x="3363" y="3228"/>
                  </a:lnTo>
                  <a:lnTo>
                    <a:pt x="3381" y="3216"/>
                  </a:lnTo>
                  <a:lnTo>
                    <a:pt x="3420" y="3193"/>
                  </a:lnTo>
                  <a:lnTo>
                    <a:pt x="3440" y="3182"/>
                  </a:lnTo>
                  <a:lnTo>
                    <a:pt x="3462" y="3172"/>
                  </a:lnTo>
                  <a:lnTo>
                    <a:pt x="3483" y="3164"/>
                  </a:lnTo>
                  <a:lnTo>
                    <a:pt x="3504" y="3157"/>
                  </a:lnTo>
                  <a:lnTo>
                    <a:pt x="3528" y="3150"/>
                  </a:lnTo>
                  <a:lnTo>
                    <a:pt x="3549" y="3145"/>
                  </a:lnTo>
                  <a:lnTo>
                    <a:pt x="3597" y="3138"/>
                  </a:lnTo>
                  <a:lnTo>
                    <a:pt x="3644" y="3135"/>
                  </a:lnTo>
                  <a:lnTo>
                    <a:pt x="3701" y="3139"/>
                  </a:lnTo>
                  <a:lnTo>
                    <a:pt x="3728" y="3143"/>
                  </a:lnTo>
                  <a:lnTo>
                    <a:pt x="3755" y="3149"/>
                  </a:lnTo>
                  <a:lnTo>
                    <a:pt x="3781" y="3156"/>
                  </a:lnTo>
                  <a:lnTo>
                    <a:pt x="3807" y="3164"/>
                  </a:lnTo>
                  <a:lnTo>
                    <a:pt x="3831" y="3175"/>
                  </a:lnTo>
                  <a:lnTo>
                    <a:pt x="3856" y="3185"/>
                  </a:lnTo>
                  <a:lnTo>
                    <a:pt x="3902" y="3212"/>
                  </a:lnTo>
                  <a:lnTo>
                    <a:pt x="3944" y="3242"/>
                  </a:lnTo>
                  <a:lnTo>
                    <a:pt x="3965" y="3260"/>
                  </a:lnTo>
                  <a:lnTo>
                    <a:pt x="3983" y="3278"/>
                  </a:lnTo>
                  <a:lnTo>
                    <a:pt x="4001" y="3299"/>
                  </a:lnTo>
                  <a:lnTo>
                    <a:pt x="4017" y="3318"/>
                  </a:lnTo>
                  <a:lnTo>
                    <a:pt x="4040" y="3350"/>
                  </a:lnTo>
                  <a:lnTo>
                    <a:pt x="4060" y="3382"/>
                  </a:lnTo>
                  <a:lnTo>
                    <a:pt x="4078" y="3416"/>
                  </a:lnTo>
                  <a:lnTo>
                    <a:pt x="4092" y="3453"/>
                  </a:lnTo>
                  <a:lnTo>
                    <a:pt x="4103" y="3491"/>
                  </a:lnTo>
                  <a:lnTo>
                    <a:pt x="4112" y="3529"/>
                  </a:lnTo>
                  <a:lnTo>
                    <a:pt x="4117" y="3569"/>
                  </a:lnTo>
                  <a:lnTo>
                    <a:pt x="4119" y="3609"/>
                  </a:lnTo>
                  <a:lnTo>
                    <a:pt x="4117" y="3657"/>
                  </a:lnTo>
                  <a:lnTo>
                    <a:pt x="4110" y="3702"/>
                  </a:lnTo>
                  <a:lnTo>
                    <a:pt x="4105" y="3725"/>
                  </a:lnTo>
                  <a:lnTo>
                    <a:pt x="4099" y="3746"/>
                  </a:lnTo>
                  <a:lnTo>
                    <a:pt x="4084" y="3788"/>
                  </a:lnTo>
                  <a:lnTo>
                    <a:pt x="4075" y="3809"/>
                  </a:lnTo>
                  <a:lnTo>
                    <a:pt x="4065" y="3828"/>
                  </a:lnTo>
                  <a:lnTo>
                    <a:pt x="4043" y="3866"/>
                  </a:lnTo>
                  <a:lnTo>
                    <a:pt x="4016" y="3902"/>
                  </a:lnTo>
                  <a:lnTo>
                    <a:pt x="3988" y="3936"/>
                  </a:lnTo>
                  <a:lnTo>
                    <a:pt x="3956" y="3965"/>
                  </a:lnTo>
                  <a:lnTo>
                    <a:pt x="3921" y="3993"/>
                  </a:lnTo>
                  <a:lnTo>
                    <a:pt x="3884" y="4016"/>
                  </a:lnTo>
                  <a:lnTo>
                    <a:pt x="3844" y="4037"/>
                  </a:lnTo>
                  <a:lnTo>
                    <a:pt x="3802" y="4053"/>
                  </a:lnTo>
                  <a:lnTo>
                    <a:pt x="3760" y="4066"/>
                  </a:lnTo>
                  <a:lnTo>
                    <a:pt x="3715" y="4075"/>
                  </a:lnTo>
                  <a:lnTo>
                    <a:pt x="3667" y="4079"/>
                  </a:lnTo>
                  <a:lnTo>
                    <a:pt x="3667" y="4336"/>
                  </a:lnTo>
                  <a:lnTo>
                    <a:pt x="3666" y="4345"/>
                  </a:lnTo>
                  <a:lnTo>
                    <a:pt x="3661" y="4351"/>
                  </a:lnTo>
                  <a:lnTo>
                    <a:pt x="3654" y="4355"/>
                  </a:lnTo>
                  <a:lnTo>
                    <a:pt x="3648" y="4356"/>
                  </a:lnTo>
                  <a:lnTo>
                    <a:pt x="3640" y="4355"/>
                  </a:lnTo>
                  <a:lnTo>
                    <a:pt x="3634" y="4351"/>
                  </a:lnTo>
                  <a:lnTo>
                    <a:pt x="3629" y="4345"/>
                  </a:lnTo>
                  <a:lnTo>
                    <a:pt x="3628" y="4336"/>
                  </a:lnTo>
                  <a:lnTo>
                    <a:pt x="3628" y="43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12">
              <a:extLst>
                <a:ext uri="{FF2B5EF4-FFF2-40B4-BE49-F238E27FC236}">
                  <a16:creationId xmlns:a16="http://schemas.microsoft.com/office/drawing/2014/main" id="{F84D736B-F51E-4416-B884-83179D548D47}"/>
                </a:ext>
              </a:extLst>
            </p:cNvPr>
            <p:cNvSpPr>
              <a:spLocks noChangeAspect="1" noEditPoints="1"/>
            </p:cNvSpPr>
            <p:nvPr userDrawn="1"/>
          </p:nvSpPr>
          <p:spPr bwMode="black">
            <a:xfrm>
              <a:off x="5610994" y="5177099"/>
              <a:ext cx="193514" cy="216000"/>
            </a:xfrm>
            <a:custGeom>
              <a:avLst/>
              <a:gdLst>
                <a:gd name="T0" fmla="*/ 2964 w 3578"/>
                <a:gd name="T1" fmla="*/ 3151 h 3996"/>
                <a:gd name="T2" fmla="*/ 2988 w 3578"/>
                <a:gd name="T3" fmla="*/ 3131 h 3996"/>
                <a:gd name="T4" fmla="*/ 3002 w 3578"/>
                <a:gd name="T5" fmla="*/ 3095 h 3996"/>
                <a:gd name="T6" fmla="*/ 2998 w 3578"/>
                <a:gd name="T7" fmla="*/ 3052 h 3996"/>
                <a:gd name="T8" fmla="*/ 2570 w 3578"/>
                <a:gd name="T9" fmla="*/ 2480 h 3996"/>
                <a:gd name="T10" fmla="*/ 2976 w 3578"/>
                <a:gd name="T11" fmla="*/ 956 h 3996"/>
                <a:gd name="T12" fmla="*/ 2988 w 3578"/>
                <a:gd name="T13" fmla="*/ 917 h 3996"/>
                <a:gd name="T14" fmla="*/ 2981 w 3578"/>
                <a:gd name="T15" fmla="*/ 878 h 3996"/>
                <a:gd name="T16" fmla="*/ 2961 w 3578"/>
                <a:gd name="T17" fmla="*/ 853 h 3996"/>
                <a:gd name="T18" fmla="*/ 2936 w 3578"/>
                <a:gd name="T19" fmla="*/ 840 h 3996"/>
                <a:gd name="T20" fmla="*/ 2275 w 3578"/>
                <a:gd name="T21" fmla="*/ 835 h 3996"/>
                <a:gd name="T22" fmla="*/ 2209 w 3578"/>
                <a:gd name="T23" fmla="*/ 845 h 3996"/>
                <a:gd name="T24" fmla="*/ 2160 w 3578"/>
                <a:gd name="T25" fmla="*/ 872 h 3996"/>
                <a:gd name="T26" fmla="*/ 2119 w 3578"/>
                <a:gd name="T27" fmla="*/ 915 h 3996"/>
                <a:gd name="T28" fmla="*/ 1365 w 3578"/>
                <a:gd name="T29" fmla="*/ 931 h 3996"/>
                <a:gd name="T30" fmla="*/ 1356 w 3578"/>
                <a:gd name="T31" fmla="*/ 884 h 3996"/>
                <a:gd name="T32" fmla="*/ 1325 w 3578"/>
                <a:gd name="T33" fmla="*/ 851 h 3996"/>
                <a:gd name="T34" fmla="*/ 1280 w 3578"/>
                <a:gd name="T35" fmla="*/ 835 h 3996"/>
                <a:gd name="T36" fmla="*/ 664 w 3578"/>
                <a:gd name="T37" fmla="*/ 840 h 3996"/>
                <a:gd name="T38" fmla="*/ 625 w 3578"/>
                <a:gd name="T39" fmla="*/ 862 h 3996"/>
                <a:gd name="T40" fmla="*/ 602 w 3578"/>
                <a:gd name="T41" fmla="*/ 902 h 3996"/>
                <a:gd name="T42" fmla="*/ 598 w 3578"/>
                <a:gd name="T43" fmla="*/ 1998 h 3996"/>
                <a:gd name="T44" fmla="*/ 602 w 3578"/>
                <a:gd name="T45" fmla="*/ 3094 h 3996"/>
                <a:gd name="T46" fmla="*/ 625 w 3578"/>
                <a:gd name="T47" fmla="*/ 3133 h 3996"/>
                <a:gd name="T48" fmla="*/ 664 w 3578"/>
                <a:gd name="T49" fmla="*/ 3156 h 3996"/>
                <a:gd name="T50" fmla="*/ 1280 w 3578"/>
                <a:gd name="T51" fmla="*/ 3160 h 3996"/>
                <a:gd name="T52" fmla="*/ 1325 w 3578"/>
                <a:gd name="T53" fmla="*/ 3144 h 3996"/>
                <a:gd name="T54" fmla="*/ 1356 w 3578"/>
                <a:gd name="T55" fmla="*/ 3111 h 3996"/>
                <a:gd name="T56" fmla="*/ 1365 w 3578"/>
                <a:gd name="T57" fmla="*/ 3064 h 3996"/>
                <a:gd name="T58" fmla="*/ 2119 w 3578"/>
                <a:gd name="T59" fmla="*/ 3080 h 3996"/>
                <a:gd name="T60" fmla="*/ 2160 w 3578"/>
                <a:gd name="T61" fmla="*/ 3123 h 3996"/>
                <a:gd name="T62" fmla="*/ 2209 w 3578"/>
                <a:gd name="T63" fmla="*/ 3151 h 3996"/>
                <a:gd name="T64" fmla="*/ 2275 w 3578"/>
                <a:gd name="T65" fmla="*/ 3160 h 3996"/>
                <a:gd name="T66" fmla="*/ 4 w 3578"/>
                <a:gd name="T67" fmla="*/ 3929 h 3996"/>
                <a:gd name="T68" fmla="*/ 27 w 3578"/>
                <a:gd name="T69" fmla="*/ 3968 h 3996"/>
                <a:gd name="T70" fmla="*/ 66 w 3578"/>
                <a:gd name="T71" fmla="*/ 3991 h 3996"/>
                <a:gd name="T72" fmla="*/ 1789 w 3578"/>
                <a:gd name="T73" fmla="*/ 3996 h 3996"/>
                <a:gd name="T74" fmla="*/ 3512 w 3578"/>
                <a:gd name="T75" fmla="*/ 3991 h 3996"/>
                <a:gd name="T76" fmla="*/ 3552 w 3578"/>
                <a:gd name="T77" fmla="*/ 3968 h 3996"/>
                <a:gd name="T78" fmla="*/ 3574 w 3578"/>
                <a:gd name="T79" fmla="*/ 3929 h 3996"/>
                <a:gd name="T80" fmla="*/ 3577 w 3578"/>
                <a:gd name="T81" fmla="*/ 3624 h 3996"/>
                <a:gd name="T82" fmla="*/ 3563 w 3578"/>
                <a:gd name="T83" fmla="*/ 3579 h 3996"/>
                <a:gd name="T84" fmla="*/ 3529 w 3578"/>
                <a:gd name="T85" fmla="*/ 3549 h 3996"/>
                <a:gd name="T86" fmla="*/ 3482 w 3578"/>
                <a:gd name="T87" fmla="*/ 3538 h 3996"/>
                <a:gd name="T88" fmla="*/ 85 w 3578"/>
                <a:gd name="T89" fmla="*/ 3538 h 3996"/>
                <a:gd name="T90" fmla="*/ 41 w 3578"/>
                <a:gd name="T91" fmla="*/ 3554 h 3996"/>
                <a:gd name="T92" fmla="*/ 11 w 3578"/>
                <a:gd name="T93" fmla="*/ 3587 h 3996"/>
                <a:gd name="T94" fmla="*/ 0 w 3578"/>
                <a:gd name="T95" fmla="*/ 3634 h 3996"/>
                <a:gd name="T96" fmla="*/ 4 w 3578"/>
                <a:gd name="T97" fmla="*/ 391 h 3996"/>
                <a:gd name="T98" fmla="*/ 27 w 3578"/>
                <a:gd name="T99" fmla="*/ 430 h 3996"/>
                <a:gd name="T100" fmla="*/ 66 w 3578"/>
                <a:gd name="T101" fmla="*/ 453 h 3996"/>
                <a:gd name="T102" fmla="*/ 1789 w 3578"/>
                <a:gd name="T103" fmla="*/ 456 h 3996"/>
                <a:gd name="T104" fmla="*/ 3512 w 3578"/>
                <a:gd name="T105" fmla="*/ 453 h 3996"/>
                <a:gd name="T106" fmla="*/ 3552 w 3578"/>
                <a:gd name="T107" fmla="*/ 430 h 3996"/>
                <a:gd name="T108" fmla="*/ 3574 w 3578"/>
                <a:gd name="T109" fmla="*/ 391 h 3996"/>
                <a:gd name="T110" fmla="*/ 3577 w 3578"/>
                <a:gd name="T111" fmla="*/ 85 h 3996"/>
                <a:gd name="T112" fmla="*/ 3563 w 3578"/>
                <a:gd name="T113" fmla="*/ 41 h 3996"/>
                <a:gd name="T114" fmla="*/ 3529 w 3578"/>
                <a:gd name="T115" fmla="*/ 11 h 3996"/>
                <a:gd name="T116" fmla="*/ 3482 w 3578"/>
                <a:gd name="T117" fmla="*/ 0 h 3996"/>
                <a:gd name="T118" fmla="*/ 85 w 3578"/>
                <a:gd name="T119" fmla="*/ 0 h 3996"/>
                <a:gd name="T120" fmla="*/ 41 w 3578"/>
                <a:gd name="T121" fmla="*/ 16 h 3996"/>
                <a:gd name="T122" fmla="*/ 11 w 3578"/>
                <a:gd name="T123" fmla="*/ 49 h 3996"/>
                <a:gd name="T124" fmla="*/ 0 w 3578"/>
                <a:gd name="T125" fmla="*/ 95 h 3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78" h="3996">
                  <a:moveTo>
                    <a:pt x="2924" y="3160"/>
                  </a:moveTo>
                  <a:lnTo>
                    <a:pt x="2936" y="3160"/>
                  </a:lnTo>
                  <a:lnTo>
                    <a:pt x="2947" y="3157"/>
                  </a:lnTo>
                  <a:lnTo>
                    <a:pt x="2958" y="3153"/>
                  </a:lnTo>
                  <a:lnTo>
                    <a:pt x="2964" y="3151"/>
                  </a:lnTo>
                  <a:lnTo>
                    <a:pt x="2968" y="3148"/>
                  </a:lnTo>
                  <a:lnTo>
                    <a:pt x="2977" y="3142"/>
                  </a:lnTo>
                  <a:lnTo>
                    <a:pt x="2981" y="3139"/>
                  </a:lnTo>
                  <a:lnTo>
                    <a:pt x="2985" y="3135"/>
                  </a:lnTo>
                  <a:lnTo>
                    <a:pt x="2988" y="3131"/>
                  </a:lnTo>
                  <a:lnTo>
                    <a:pt x="2991" y="3126"/>
                  </a:lnTo>
                  <a:lnTo>
                    <a:pt x="2996" y="3117"/>
                  </a:lnTo>
                  <a:lnTo>
                    <a:pt x="3000" y="3106"/>
                  </a:lnTo>
                  <a:lnTo>
                    <a:pt x="3001" y="3101"/>
                  </a:lnTo>
                  <a:lnTo>
                    <a:pt x="3002" y="3095"/>
                  </a:lnTo>
                  <a:lnTo>
                    <a:pt x="3003" y="3084"/>
                  </a:lnTo>
                  <a:lnTo>
                    <a:pt x="3002" y="3072"/>
                  </a:lnTo>
                  <a:lnTo>
                    <a:pt x="3001" y="3065"/>
                  </a:lnTo>
                  <a:lnTo>
                    <a:pt x="2999" y="3059"/>
                  </a:lnTo>
                  <a:lnTo>
                    <a:pt x="2998" y="3052"/>
                  </a:lnTo>
                  <a:lnTo>
                    <a:pt x="2995" y="3045"/>
                  </a:lnTo>
                  <a:lnTo>
                    <a:pt x="2988" y="3032"/>
                  </a:lnTo>
                  <a:lnTo>
                    <a:pt x="2985" y="3026"/>
                  </a:lnTo>
                  <a:lnTo>
                    <a:pt x="2980" y="3019"/>
                  </a:lnTo>
                  <a:lnTo>
                    <a:pt x="2570" y="2480"/>
                  </a:lnTo>
                  <a:lnTo>
                    <a:pt x="2162" y="1941"/>
                  </a:lnTo>
                  <a:lnTo>
                    <a:pt x="2562" y="1459"/>
                  </a:lnTo>
                  <a:lnTo>
                    <a:pt x="2962" y="976"/>
                  </a:lnTo>
                  <a:lnTo>
                    <a:pt x="2972" y="962"/>
                  </a:lnTo>
                  <a:lnTo>
                    <a:pt x="2976" y="956"/>
                  </a:lnTo>
                  <a:lnTo>
                    <a:pt x="2979" y="949"/>
                  </a:lnTo>
                  <a:lnTo>
                    <a:pt x="2985" y="936"/>
                  </a:lnTo>
                  <a:lnTo>
                    <a:pt x="2986" y="929"/>
                  </a:lnTo>
                  <a:lnTo>
                    <a:pt x="2988" y="923"/>
                  </a:lnTo>
                  <a:lnTo>
                    <a:pt x="2988" y="917"/>
                  </a:lnTo>
                  <a:lnTo>
                    <a:pt x="2989" y="910"/>
                  </a:lnTo>
                  <a:lnTo>
                    <a:pt x="2988" y="899"/>
                  </a:lnTo>
                  <a:lnTo>
                    <a:pt x="2987" y="894"/>
                  </a:lnTo>
                  <a:lnTo>
                    <a:pt x="2986" y="888"/>
                  </a:lnTo>
                  <a:lnTo>
                    <a:pt x="2981" y="878"/>
                  </a:lnTo>
                  <a:lnTo>
                    <a:pt x="2979" y="873"/>
                  </a:lnTo>
                  <a:lnTo>
                    <a:pt x="2976" y="868"/>
                  </a:lnTo>
                  <a:lnTo>
                    <a:pt x="2972" y="864"/>
                  </a:lnTo>
                  <a:lnTo>
                    <a:pt x="2969" y="861"/>
                  </a:lnTo>
                  <a:lnTo>
                    <a:pt x="2961" y="853"/>
                  </a:lnTo>
                  <a:lnTo>
                    <a:pt x="2957" y="849"/>
                  </a:lnTo>
                  <a:lnTo>
                    <a:pt x="2951" y="846"/>
                  </a:lnTo>
                  <a:lnTo>
                    <a:pt x="2947" y="844"/>
                  </a:lnTo>
                  <a:lnTo>
                    <a:pt x="2941" y="842"/>
                  </a:lnTo>
                  <a:lnTo>
                    <a:pt x="2936" y="840"/>
                  </a:lnTo>
                  <a:lnTo>
                    <a:pt x="2930" y="838"/>
                  </a:lnTo>
                  <a:lnTo>
                    <a:pt x="2925" y="836"/>
                  </a:lnTo>
                  <a:lnTo>
                    <a:pt x="2919" y="836"/>
                  </a:lnTo>
                  <a:lnTo>
                    <a:pt x="2907" y="835"/>
                  </a:lnTo>
                  <a:lnTo>
                    <a:pt x="2275" y="835"/>
                  </a:lnTo>
                  <a:lnTo>
                    <a:pt x="2260" y="835"/>
                  </a:lnTo>
                  <a:lnTo>
                    <a:pt x="2246" y="836"/>
                  </a:lnTo>
                  <a:lnTo>
                    <a:pt x="2234" y="838"/>
                  </a:lnTo>
                  <a:lnTo>
                    <a:pt x="2222" y="841"/>
                  </a:lnTo>
                  <a:lnTo>
                    <a:pt x="2209" y="845"/>
                  </a:lnTo>
                  <a:lnTo>
                    <a:pt x="2198" y="848"/>
                  </a:lnTo>
                  <a:lnTo>
                    <a:pt x="2188" y="854"/>
                  </a:lnTo>
                  <a:lnTo>
                    <a:pt x="2178" y="859"/>
                  </a:lnTo>
                  <a:lnTo>
                    <a:pt x="2168" y="865"/>
                  </a:lnTo>
                  <a:lnTo>
                    <a:pt x="2160" y="872"/>
                  </a:lnTo>
                  <a:lnTo>
                    <a:pt x="2151" y="879"/>
                  </a:lnTo>
                  <a:lnTo>
                    <a:pt x="2142" y="887"/>
                  </a:lnTo>
                  <a:lnTo>
                    <a:pt x="2134" y="896"/>
                  </a:lnTo>
                  <a:lnTo>
                    <a:pt x="2126" y="905"/>
                  </a:lnTo>
                  <a:lnTo>
                    <a:pt x="2119" y="915"/>
                  </a:lnTo>
                  <a:lnTo>
                    <a:pt x="2111" y="925"/>
                  </a:lnTo>
                  <a:lnTo>
                    <a:pt x="1738" y="1404"/>
                  </a:lnTo>
                  <a:lnTo>
                    <a:pt x="1365" y="1885"/>
                  </a:lnTo>
                  <a:lnTo>
                    <a:pt x="1365" y="1408"/>
                  </a:lnTo>
                  <a:lnTo>
                    <a:pt x="1365" y="931"/>
                  </a:lnTo>
                  <a:lnTo>
                    <a:pt x="1365" y="920"/>
                  </a:lnTo>
                  <a:lnTo>
                    <a:pt x="1364" y="910"/>
                  </a:lnTo>
                  <a:lnTo>
                    <a:pt x="1362" y="902"/>
                  </a:lnTo>
                  <a:lnTo>
                    <a:pt x="1359" y="892"/>
                  </a:lnTo>
                  <a:lnTo>
                    <a:pt x="1356" y="884"/>
                  </a:lnTo>
                  <a:lnTo>
                    <a:pt x="1350" y="876"/>
                  </a:lnTo>
                  <a:lnTo>
                    <a:pt x="1346" y="868"/>
                  </a:lnTo>
                  <a:lnTo>
                    <a:pt x="1339" y="862"/>
                  </a:lnTo>
                  <a:lnTo>
                    <a:pt x="1332" y="856"/>
                  </a:lnTo>
                  <a:lnTo>
                    <a:pt x="1325" y="851"/>
                  </a:lnTo>
                  <a:lnTo>
                    <a:pt x="1317" y="846"/>
                  </a:lnTo>
                  <a:lnTo>
                    <a:pt x="1309" y="842"/>
                  </a:lnTo>
                  <a:lnTo>
                    <a:pt x="1300" y="840"/>
                  </a:lnTo>
                  <a:lnTo>
                    <a:pt x="1290" y="837"/>
                  </a:lnTo>
                  <a:lnTo>
                    <a:pt x="1280" y="835"/>
                  </a:lnTo>
                  <a:lnTo>
                    <a:pt x="1270" y="835"/>
                  </a:lnTo>
                  <a:lnTo>
                    <a:pt x="694" y="835"/>
                  </a:lnTo>
                  <a:lnTo>
                    <a:pt x="684" y="835"/>
                  </a:lnTo>
                  <a:lnTo>
                    <a:pt x="674" y="837"/>
                  </a:lnTo>
                  <a:lnTo>
                    <a:pt x="664" y="840"/>
                  </a:lnTo>
                  <a:lnTo>
                    <a:pt x="656" y="842"/>
                  </a:lnTo>
                  <a:lnTo>
                    <a:pt x="647" y="846"/>
                  </a:lnTo>
                  <a:lnTo>
                    <a:pt x="639" y="851"/>
                  </a:lnTo>
                  <a:lnTo>
                    <a:pt x="632" y="856"/>
                  </a:lnTo>
                  <a:lnTo>
                    <a:pt x="625" y="862"/>
                  </a:lnTo>
                  <a:lnTo>
                    <a:pt x="619" y="868"/>
                  </a:lnTo>
                  <a:lnTo>
                    <a:pt x="614" y="876"/>
                  </a:lnTo>
                  <a:lnTo>
                    <a:pt x="609" y="884"/>
                  </a:lnTo>
                  <a:lnTo>
                    <a:pt x="606" y="892"/>
                  </a:lnTo>
                  <a:lnTo>
                    <a:pt x="602" y="902"/>
                  </a:lnTo>
                  <a:lnTo>
                    <a:pt x="600" y="910"/>
                  </a:lnTo>
                  <a:lnTo>
                    <a:pt x="599" y="920"/>
                  </a:lnTo>
                  <a:lnTo>
                    <a:pt x="598" y="931"/>
                  </a:lnTo>
                  <a:lnTo>
                    <a:pt x="598" y="1464"/>
                  </a:lnTo>
                  <a:lnTo>
                    <a:pt x="598" y="1998"/>
                  </a:lnTo>
                  <a:lnTo>
                    <a:pt x="598" y="2531"/>
                  </a:lnTo>
                  <a:lnTo>
                    <a:pt x="598" y="3064"/>
                  </a:lnTo>
                  <a:lnTo>
                    <a:pt x="599" y="3074"/>
                  </a:lnTo>
                  <a:lnTo>
                    <a:pt x="600" y="3084"/>
                  </a:lnTo>
                  <a:lnTo>
                    <a:pt x="602" y="3094"/>
                  </a:lnTo>
                  <a:lnTo>
                    <a:pt x="606" y="3103"/>
                  </a:lnTo>
                  <a:lnTo>
                    <a:pt x="609" y="3111"/>
                  </a:lnTo>
                  <a:lnTo>
                    <a:pt x="614" y="3120"/>
                  </a:lnTo>
                  <a:lnTo>
                    <a:pt x="619" y="3126"/>
                  </a:lnTo>
                  <a:lnTo>
                    <a:pt x="625" y="3133"/>
                  </a:lnTo>
                  <a:lnTo>
                    <a:pt x="632" y="3140"/>
                  </a:lnTo>
                  <a:lnTo>
                    <a:pt x="639" y="3144"/>
                  </a:lnTo>
                  <a:lnTo>
                    <a:pt x="647" y="3150"/>
                  </a:lnTo>
                  <a:lnTo>
                    <a:pt x="656" y="3153"/>
                  </a:lnTo>
                  <a:lnTo>
                    <a:pt x="664" y="3156"/>
                  </a:lnTo>
                  <a:lnTo>
                    <a:pt x="674" y="3158"/>
                  </a:lnTo>
                  <a:lnTo>
                    <a:pt x="684" y="3160"/>
                  </a:lnTo>
                  <a:lnTo>
                    <a:pt x="694" y="3160"/>
                  </a:lnTo>
                  <a:lnTo>
                    <a:pt x="1270" y="3160"/>
                  </a:lnTo>
                  <a:lnTo>
                    <a:pt x="1280" y="3160"/>
                  </a:lnTo>
                  <a:lnTo>
                    <a:pt x="1290" y="3158"/>
                  </a:lnTo>
                  <a:lnTo>
                    <a:pt x="1300" y="3156"/>
                  </a:lnTo>
                  <a:lnTo>
                    <a:pt x="1309" y="3153"/>
                  </a:lnTo>
                  <a:lnTo>
                    <a:pt x="1317" y="3150"/>
                  </a:lnTo>
                  <a:lnTo>
                    <a:pt x="1325" y="3144"/>
                  </a:lnTo>
                  <a:lnTo>
                    <a:pt x="1332" y="3140"/>
                  </a:lnTo>
                  <a:lnTo>
                    <a:pt x="1339" y="3133"/>
                  </a:lnTo>
                  <a:lnTo>
                    <a:pt x="1346" y="3126"/>
                  </a:lnTo>
                  <a:lnTo>
                    <a:pt x="1350" y="3120"/>
                  </a:lnTo>
                  <a:lnTo>
                    <a:pt x="1356" y="3111"/>
                  </a:lnTo>
                  <a:lnTo>
                    <a:pt x="1359" y="3103"/>
                  </a:lnTo>
                  <a:lnTo>
                    <a:pt x="1362" y="3094"/>
                  </a:lnTo>
                  <a:lnTo>
                    <a:pt x="1364" y="3084"/>
                  </a:lnTo>
                  <a:lnTo>
                    <a:pt x="1365" y="3074"/>
                  </a:lnTo>
                  <a:lnTo>
                    <a:pt x="1365" y="3064"/>
                  </a:lnTo>
                  <a:lnTo>
                    <a:pt x="1365" y="2539"/>
                  </a:lnTo>
                  <a:lnTo>
                    <a:pt x="1365" y="2014"/>
                  </a:lnTo>
                  <a:lnTo>
                    <a:pt x="1738" y="2542"/>
                  </a:lnTo>
                  <a:lnTo>
                    <a:pt x="2111" y="3070"/>
                  </a:lnTo>
                  <a:lnTo>
                    <a:pt x="2119" y="3080"/>
                  </a:lnTo>
                  <a:lnTo>
                    <a:pt x="2126" y="3090"/>
                  </a:lnTo>
                  <a:lnTo>
                    <a:pt x="2134" y="3099"/>
                  </a:lnTo>
                  <a:lnTo>
                    <a:pt x="2142" y="3108"/>
                  </a:lnTo>
                  <a:lnTo>
                    <a:pt x="2151" y="3115"/>
                  </a:lnTo>
                  <a:lnTo>
                    <a:pt x="2160" y="3123"/>
                  </a:lnTo>
                  <a:lnTo>
                    <a:pt x="2168" y="3130"/>
                  </a:lnTo>
                  <a:lnTo>
                    <a:pt x="2178" y="3136"/>
                  </a:lnTo>
                  <a:lnTo>
                    <a:pt x="2188" y="3142"/>
                  </a:lnTo>
                  <a:lnTo>
                    <a:pt x="2198" y="3146"/>
                  </a:lnTo>
                  <a:lnTo>
                    <a:pt x="2209" y="3151"/>
                  </a:lnTo>
                  <a:lnTo>
                    <a:pt x="2222" y="3154"/>
                  </a:lnTo>
                  <a:lnTo>
                    <a:pt x="2234" y="3156"/>
                  </a:lnTo>
                  <a:lnTo>
                    <a:pt x="2246" y="3158"/>
                  </a:lnTo>
                  <a:lnTo>
                    <a:pt x="2260" y="3160"/>
                  </a:lnTo>
                  <a:lnTo>
                    <a:pt x="2275" y="3160"/>
                  </a:lnTo>
                  <a:lnTo>
                    <a:pt x="2924" y="3160"/>
                  </a:lnTo>
                  <a:close/>
                  <a:moveTo>
                    <a:pt x="0" y="3899"/>
                  </a:moveTo>
                  <a:lnTo>
                    <a:pt x="1" y="3909"/>
                  </a:lnTo>
                  <a:lnTo>
                    <a:pt x="2" y="3919"/>
                  </a:lnTo>
                  <a:lnTo>
                    <a:pt x="4" y="3929"/>
                  </a:lnTo>
                  <a:lnTo>
                    <a:pt x="8" y="3938"/>
                  </a:lnTo>
                  <a:lnTo>
                    <a:pt x="11" y="3947"/>
                  </a:lnTo>
                  <a:lnTo>
                    <a:pt x="16" y="3955"/>
                  </a:lnTo>
                  <a:lnTo>
                    <a:pt x="21" y="3961"/>
                  </a:lnTo>
                  <a:lnTo>
                    <a:pt x="27" y="3968"/>
                  </a:lnTo>
                  <a:lnTo>
                    <a:pt x="33" y="3975"/>
                  </a:lnTo>
                  <a:lnTo>
                    <a:pt x="41" y="3980"/>
                  </a:lnTo>
                  <a:lnTo>
                    <a:pt x="49" y="3985"/>
                  </a:lnTo>
                  <a:lnTo>
                    <a:pt x="58" y="3988"/>
                  </a:lnTo>
                  <a:lnTo>
                    <a:pt x="66" y="3991"/>
                  </a:lnTo>
                  <a:lnTo>
                    <a:pt x="75" y="3993"/>
                  </a:lnTo>
                  <a:lnTo>
                    <a:pt x="85" y="3995"/>
                  </a:lnTo>
                  <a:lnTo>
                    <a:pt x="96" y="3996"/>
                  </a:lnTo>
                  <a:lnTo>
                    <a:pt x="942" y="3996"/>
                  </a:lnTo>
                  <a:lnTo>
                    <a:pt x="1789" y="3996"/>
                  </a:lnTo>
                  <a:lnTo>
                    <a:pt x="2635" y="3996"/>
                  </a:lnTo>
                  <a:lnTo>
                    <a:pt x="3482" y="3996"/>
                  </a:lnTo>
                  <a:lnTo>
                    <a:pt x="3493" y="3995"/>
                  </a:lnTo>
                  <a:lnTo>
                    <a:pt x="3503" y="3993"/>
                  </a:lnTo>
                  <a:lnTo>
                    <a:pt x="3512" y="3991"/>
                  </a:lnTo>
                  <a:lnTo>
                    <a:pt x="3521" y="3988"/>
                  </a:lnTo>
                  <a:lnTo>
                    <a:pt x="3529" y="3985"/>
                  </a:lnTo>
                  <a:lnTo>
                    <a:pt x="3537" y="3980"/>
                  </a:lnTo>
                  <a:lnTo>
                    <a:pt x="3545" y="3975"/>
                  </a:lnTo>
                  <a:lnTo>
                    <a:pt x="3552" y="3968"/>
                  </a:lnTo>
                  <a:lnTo>
                    <a:pt x="3557" y="3961"/>
                  </a:lnTo>
                  <a:lnTo>
                    <a:pt x="3563" y="3955"/>
                  </a:lnTo>
                  <a:lnTo>
                    <a:pt x="3567" y="3947"/>
                  </a:lnTo>
                  <a:lnTo>
                    <a:pt x="3572" y="3938"/>
                  </a:lnTo>
                  <a:lnTo>
                    <a:pt x="3574" y="3929"/>
                  </a:lnTo>
                  <a:lnTo>
                    <a:pt x="3576" y="3919"/>
                  </a:lnTo>
                  <a:lnTo>
                    <a:pt x="3577" y="3909"/>
                  </a:lnTo>
                  <a:lnTo>
                    <a:pt x="3578" y="3899"/>
                  </a:lnTo>
                  <a:lnTo>
                    <a:pt x="3578" y="3634"/>
                  </a:lnTo>
                  <a:lnTo>
                    <a:pt x="3577" y="3624"/>
                  </a:lnTo>
                  <a:lnTo>
                    <a:pt x="3576" y="3614"/>
                  </a:lnTo>
                  <a:lnTo>
                    <a:pt x="3574" y="3605"/>
                  </a:lnTo>
                  <a:lnTo>
                    <a:pt x="3572" y="3595"/>
                  </a:lnTo>
                  <a:lnTo>
                    <a:pt x="3567" y="3587"/>
                  </a:lnTo>
                  <a:lnTo>
                    <a:pt x="3563" y="3579"/>
                  </a:lnTo>
                  <a:lnTo>
                    <a:pt x="3557" y="3572"/>
                  </a:lnTo>
                  <a:lnTo>
                    <a:pt x="3552" y="3565"/>
                  </a:lnTo>
                  <a:lnTo>
                    <a:pt x="3545" y="3559"/>
                  </a:lnTo>
                  <a:lnTo>
                    <a:pt x="3537" y="3554"/>
                  </a:lnTo>
                  <a:lnTo>
                    <a:pt x="3529" y="3549"/>
                  </a:lnTo>
                  <a:lnTo>
                    <a:pt x="3521" y="3545"/>
                  </a:lnTo>
                  <a:lnTo>
                    <a:pt x="3512" y="3542"/>
                  </a:lnTo>
                  <a:lnTo>
                    <a:pt x="3503" y="3539"/>
                  </a:lnTo>
                  <a:lnTo>
                    <a:pt x="3493" y="3538"/>
                  </a:lnTo>
                  <a:lnTo>
                    <a:pt x="3482" y="3538"/>
                  </a:lnTo>
                  <a:lnTo>
                    <a:pt x="2635" y="3538"/>
                  </a:lnTo>
                  <a:lnTo>
                    <a:pt x="1789" y="3538"/>
                  </a:lnTo>
                  <a:lnTo>
                    <a:pt x="942" y="3538"/>
                  </a:lnTo>
                  <a:lnTo>
                    <a:pt x="96" y="3538"/>
                  </a:lnTo>
                  <a:lnTo>
                    <a:pt x="85" y="3538"/>
                  </a:lnTo>
                  <a:lnTo>
                    <a:pt x="75" y="3539"/>
                  </a:lnTo>
                  <a:lnTo>
                    <a:pt x="66" y="3542"/>
                  </a:lnTo>
                  <a:lnTo>
                    <a:pt x="58" y="3545"/>
                  </a:lnTo>
                  <a:lnTo>
                    <a:pt x="49" y="3549"/>
                  </a:lnTo>
                  <a:lnTo>
                    <a:pt x="41" y="3554"/>
                  </a:lnTo>
                  <a:lnTo>
                    <a:pt x="33" y="3559"/>
                  </a:lnTo>
                  <a:lnTo>
                    <a:pt x="27" y="3565"/>
                  </a:lnTo>
                  <a:lnTo>
                    <a:pt x="21" y="3572"/>
                  </a:lnTo>
                  <a:lnTo>
                    <a:pt x="16" y="3579"/>
                  </a:lnTo>
                  <a:lnTo>
                    <a:pt x="11" y="3587"/>
                  </a:lnTo>
                  <a:lnTo>
                    <a:pt x="8" y="3595"/>
                  </a:lnTo>
                  <a:lnTo>
                    <a:pt x="4" y="3605"/>
                  </a:lnTo>
                  <a:lnTo>
                    <a:pt x="2" y="3614"/>
                  </a:lnTo>
                  <a:lnTo>
                    <a:pt x="1" y="3624"/>
                  </a:lnTo>
                  <a:lnTo>
                    <a:pt x="0" y="3634"/>
                  </a:lnTo>
                  <a:lnTo>
                    <a:pt x="0" y="3899"/>
                  </a:lnTo>
                  <a:close/>
                  <a:moveTo>
                    <a:pt x="0" y="361"/>
                  </a:moveTo>
                  <a:lnTo>
                    <a:pt x="1" y="371"/>
                  </a:lnTo>
                  <a:lnTo>
                    <a:pt x="2" y="381"/>
                  </a:lnTo>
                  <a:lnTo>
                    <a:pt x="4" y="391"/>
                  </a:lnTo>
                  <a:lnTo>
                    <a:pt x="8" y="400"/>
                  </a:lnTo>
                  <a:lnTo>
                    <a:pt x="11" y="409"/>
                  </a:lnTo>
                  <a:lnTo>
                    <a:pt x="16" y="416"/>
                  </a:lnTo>
                  <a:lnTo>
                    <a:pt x="21" y="423"/>
                  </a:lnTo>
                  <a:lnTo>
                    <a:pt x="27" y="430"/>
                  </a:lnTo>
                  <a:lnTo>
                    <a:pt x="33" y="436"/>
                  </a:lnTo>
                  <a:lnTo>
                    <a:pt x="41" y="441"/>
                  </a:lnTo>
                  <a:lnTo>
                    <a:pt x="49" y="446"/>
                  </a:lnTo>
                  <a:lnTo>
                    <a:pt x="58" y="450"/>
                  </a:lnTo>
                  <a:lnTo>
                    <a:pt x="66" y="453"/>
                  </a:lnTo>
                  <a:lnTo>
                    <a:pt x="75" y="455"/>
                  </a:lnTo>
                  <a:lnTo>
                    <a:pt x="85" y="456"/>
                  </a:lnTo>
                  <a:lnTo>
                    <a:pt x="96" y="456"/>
                  </a:lnTo>
                  <a:lnTo>
                    <a:pt x="942" y="456"/>
                  </a:lnTo>
                  <a:lnTo>
                    <a:pt x="1789" y="456"/>
                  </a:lnTo>
                  <a:lnTo>
                    <a:pt x="2635" y="456"/>
                  </a:lnTo>
                  <a:lnTo>
                    <a:pt x="3482" y="456"/>
                  </a:lnTo>
                  <a:lnTo>
                    <a:pt x="3493" y="456"/>
                  </a:lnTo>
                  <a:lnTo>
                    <a:pt x="3503" y="455"/>
                  </a:lnTo>
                  <a:lnTo>
                    <a:pt x="3512" y="453"/>
                  </a:lnTo>
                  <a:lnTo>
                    <a:pt x="3521" y="450"/>
                  </a:lnTo>
                  <a:lnTo>
                    <a:pt x="3529" y="446"/>
                  </a:lnTo>
                  <a:lnTo>
                    <a:pt x="3537" y="441"/>
                  </a:lnTo>
                  <a:lnTo>
                    <a:pt x="3545" y="436"/>
                  </a:lnTo>
                  <a:lnTo>
                    <a:pt x="3552" y="430"/>
                  </a:lnTo>
                  <a:lnTo>
                    <a:pt x="3557" y="423"/>
                  </a:lnTo>
                  <a:lnTo>
                    <a:pt x="3563" y="416"/>
                  </a:lnTo>
                  <a:lnTo>
                    <a:pt x="3567" y="409"/>
                  </a:lnTo>
                  <a:lnTo>
                    <a:pt x="3572" y="400"/>
                  </a:lnTo>
                  <a:lnTo>
                    <a:pt x="3574" y="391"/>
                  </a:lnTo>
                  <a:lnTo>
                    <a:pt x="3576" y="381"/>
                  </a:lnTo>
                  <a:lnTo>
                    <a:pt x="3577" y="371"/>
                  </a:lnTo>
                  <a:lnTo>
                    <a:pt x="3578" y="361"/>
                  </a:lnTo>
                  <a:lnTo>
                    <a:pt x="3578" y="95"/>
                  </a:lnTo>
                  <a:lnTo>
                    <a:pt x="3577" y="85"/>
                  </a:lnTo>
                  <a:lnTo>
                    <a:pt x="3576" y="75"/>
                  </a:lnTo>
                  <a:lnTo>
                    <a:pt x="3574" y="65"/>
                  </a:lnTo>
                  <a:lnTo>
                    <a:pt x="3572" y="57"/>
                  </a:lnTo>
                  <a:lnTo>
                    <a:pt x="3567" y="49"/>
                  </a:lnTo>
                  <a:lnTo>
                    <a:pt x="3563" y="41"/>
                  </a:lnTo>
                  <a:lnTo>
                    <a:pt x="3557" y="33"/>
                  </a:lnTo>
                  <a:lnTo>
                    <a:pt x="3552" y="27"/>
                  </a:lnTo>
                  <a:lnTo>
                    <a:pt x="3545" y="20"/>
                  </a:lnTo>
                  <a:lnTo>
                    <a:pt x="3537" y="16"/>
                  </a:lnTo>
                  <a:lnTo>
                    <a:pt x="3529" y="11"/>
                  </a:lnTo>
                  <a:lnTo>
                    <a:pt x="3521" y="7"/>
                  </a:lnTo>
                  <a:lnTo>
                    <a:pt x="3512" y="3"/>
                  </a:lnTo>
                  <a:lnTo>
                    <a:pt x="3503" y="1"/>
                  </a:lnTo>
                  <a:lnTo>
                    <a:pt x="3493" y="0"/>
                  </a:lnTo>
                  <a:lnTo>
                    <a:pt x="3482" y="0"/>
                  </a:lnTo>
                  <a:lnTo>
                    <a:pt x="2635" y="0"/>
                  </a:lnTo>
                  <a:lnTo>
                    <a:pt x="1789" y="0"/>
                  </a:lnTo>
                  <a:lnTo>
                    <a:pt x="942" y="0"/>
                  </a:lnTo>
                  <a:lnTo>
                    <a:pt x="96" y="0"/>
                  </a:lnTo>
                  <a:lnTo>
                    <a:pt x="85" y="0"/>
                  </a:lnTo>
                  <a:lnTo>
                    <a:pt x="75" y="1"/>
                  </a:lnTo>
                  <a:lnTo>
                    <a:pt x="66" y="3"/>
                  </a:lnTo>
                  <a:lnTo>
                    <a:pt x="58" y="7"/>
                  </a:lnTo>
                  <a:lnTo>
                    <a:pt x="49" y="11"/>
                  </a:lnTo>
                  <a:lnTo>
                    <a:pt x="41" y="16"/>
                  </a:lnTo>
                  <a:lnTo>
                    <a:pt x="33" y="20"/>
                  </a:lnTo>
                  <a:lnTo>
                    <a:pt x="27" y="27"/>
                  </a:lnTo>
                  <a:lnTo>
                    <a:pt x="21" y="33"/>
                  </a:lnTo>
                  <a:lnTo>
                    <a:pt x="16" y="41"/>
                  </a:lnTo>
                  <a:lnTo>
                    <a:pt x="11" y="49"/>
                  </a:lnTo>
                  <a:lnTo>
                    <a:pt x="8" y="57"/>
                  </a:lnTo>
                  <a:lnTo>
                    <a:pt x="4" y="65"/>
                  </a:lnTo>
                  <a:lnTo>
                    <a:pt x="2" y="75"/>
                  </a:lnTo>
                  <a:lnTo>
                    <a:pt x="1" y="85"/>
                  </a:lnTo>
                  <a:lnTo>
                    <a:pt x="0" y="95"/>
                  </a:lnTo>
                  <a:lnTo>
                    <a:pt x="0" y="36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Skatta Sans Regular" pitchFamily="50" charset="0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3790142-A411-4EF3-AD57-5A1BAFBAC433}"/>
              </a:ext>
            </a:extLst>
          </p:cNvPr>
          <p:cNvGrpSpPr/>
          <p:nvPr userDrawn="1"/>
        </p:nvGrpSpPr>
        <p:grpSpPr>
          <a:xfrm>
            <a:off x="10344472" y="692696"/>
            <a:ext cx="1260000" cy="2520280"/>
            <a:chOff x="10579338" y="620688"/>
            <a:chExt cx="1260000" cy="2520280"/>
          </a:xfrm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2A5F7983-1E47-4B30-9F99-AD29B1ADFA76}"/>
                </a:ext>
              </a:extLst>
            </p:cNvPr>
            <p:cNvSpPr>
              <a:spLocks noChangeAspect="1" noEditPoints="1"/>
            </p:cNvSpPr>
            <p:nvPr/>
          </p:nvSpPr>
          <p:spPr bwMode="black">
            <a:xfrm>
              <a:off x="10705591" y="620688"/>
              <a:ext cx="1007493" cy="1124563"/>
            </a:xfrm>
            <a:custGeom>
              <a:avLst/>
              <a:gdLst>
                <a:gd name="T0" fmla="*/ 2964 w 3578"/>
                <a:gd name="T1" fmla="*/ 3151 h 3996"/>
                <a:gd name="T2" fmla="*/ 2988 w 3578"/>
                <a:gd name="T3" fmla="*/ 3131 h 3996"/>
                <a:gd name="T4" fmla="*/ 3002 w 3578"/>
                <a:gd name="T5" fmla="*/ 3095 h 3996"/>
                <a:gd name="T6" fmla="*/ 2998 w 3578"/>
                <a:gd name="T7" fmla="*/ 3052 h 3996"/>
                <a:gd name="T8" fmla="*/ 2570 w 3578"/>
                <a:gd name="T9" fmla="*/ 2480 h 3996"/>
                <a:gd name="T10" fmla="*/ 2976 w 3578"/>
                <a:gd name="T11" fmla="*/ 956 h 3996"/>
                <a:gd name="T12" fmla="*/ 2988 w 3578"/>
                <a:gd name="T13" fmla="*/ 917 h 3996"/>
                <a:gd name="T14" fmla="*/ 2981 w 3578"/>
                <a:gd name="T15" fmla="*/ 878 h 3996"/>
                <a:gd name="T16" fmla="*/ 2961 w 3578"/>
                <a:gd name="T17" fmla="*/ 853 h 3996"/>
                <a:gd name="T18" fmla="*/ 2936 w 3578"/>
                <a:gd name="T19" fmla="*/ 840 h 3996"/>
                <a:gd name="T20" fmla="*/ 2275 w 3578"/>
                <a:gd name="T21" fmla="*/ 835 h 3996"/>
                <a:gd name="T22" fmla="*/ 2209 w 3578"/>
                <a:gd name="T23" fmla="*/ 845 h 3996"/>
                <a:gd name="T24" fmla="*/ 2160 w 3578"/>
                <a:gd name="T25" fmla="*/ 872 h 3996"/>
                <a:gd name="T26" fmla="*/ 2119 w 3578"/>
                <a:gd name="T27" fmla="*/ 915 h 3996"/>
                <a:gd name="T28" fmla="*/ 1365 w 3578"/>
                <a:gd name="T29" fmla="*/ 931 h 3996"/>
                <a:gd name="T30" fmla="*/ 1356 w 3578"/>
                <a:gd name="T31" fmla="*/ 884 h 3996"/>
                <a:gd name="T32" fmla="*/ 1325 w 3578"/>
                <a:gd name="T33" fmla="*/ 851 h 3996"/>
                <a:gd name="T34" fmla="*/ 1280 w 3578"/>
                <a:gd name="T35" fmla="*/ 835 h 3996"/>
                <a:gd name="T36" fmla="*/ 664 w 3578"/>
                <a:gd name="T37" fmla="*/ 840 h 3996"/>
                <a:gd name="T38" fmla="*/ 625 w 3578"/>
                <a:gd name="T39" fmla="*/ 862 h 3996"/>
                <a:gd name="T40" fmla="*/ 602 w 3578"/>
                <a:gd name="T41" fmla="*/ 902 h 3996"/>
                <a:gd name="T42" fmla="*/ 598 w 3578"/>
                <a:gd name="T43" fmla="*/ 1998 h 3996"/>
                <a:gd name="T44" fmla="*/ 602 w 3578"/>
                <a:gd name="T45" fmla="*/ 3094 h 3996"/>
                <a:gd name="T46" fmla="*/ 625 w 3578"/>
                <a:gd name="T47" fmla="*/ 3133 h 3996"/>
                <a:gd name="T48" fmla="*/ 664 w 3578"/>
                <a:gd name="T49" fmla="*/ 3156 h 3996"/>
                <a:gd name="T50" fmla="*/ 1280 w 3578"/>
                <a:gd name="T51" fmla="*/ 3160 h 3996"/>
                <a:gd name="T52" fmla="*/ 1325 w 3578"/>
                <a:gd name="T53" fmla="*/ 3144 h 3996"/>
                <a:gd name="T54" fmla="*/ 1356 w 3578"/>
                <a:gd name="T55" fmla="*/ 3111 h 3996"/>
                <a:gd name="T56" fmla="*/ 1365 w 3578"/>
                <a:gd name="T57" fmla="*/ 3064 h 3996"/>
                <a:gd name="T58" fmla="*/ 2119 w 3578"/>
                <a:gd name="T59" fmla="*/ 3080 h 3996"/>
                <a:gd name="T60" fmla="*/ 2160 w 3578"/>
                <a:gd name="T61" fmla="*/ 3123 h 3996"/>
                <a:gd name="T62" fmla="*/ 2209 w 3578"/>
                <a:gd name="T63" fmla="*/ 3151 h 3996"/>
                <a:gd name="T64" fmla="*/ 2275 w 3578"/>
                <a:gd name="T65" fmla="*/ 3160 h 3996"/>
                <a:gd name="T66" fmla="*/ 4 w 3578"/>
                <a:gd name="T67" fmla="*/ 3929 h 3996"/>
                <a:gd name="T68" fmla="*/ 27 w 3578"/>
                <a:gd name="T69" fmla="*/ 3968 h 3996"/>
                <a:gd name="T70" fmla="*/ 66 w 3578"/>
                <a:gd name="T71" fmla="*/ 3991 h 3996"/>
                <a:gd name="T72" fmla="*/ 1789 w 3578"/>
                <a:gd name="T73" fmla="*/ 3996 h 3996"/>
                <a:gd name="T74" fmla="*/ 3512 w 3578"/>
                <a:gd name="T75" fmla="*/ 3991 h 3996"/>
                <a:gd name="T76" fmla="*/ 3552 w 3578"/>
                <a:gd name="T77" fmla="*/ 3968 h 3996"/>
                <a:gd name="T78" fmla="*/ 3574 w 3578"/>
                <a:gd name="T79" fmla="*/ 3929 h 3996"/>
                <a:gd name="T80" fmla="*/ 3577 w 3578"/>
                <a:gd name="T81" fmla="*/ 3624 h 3996"/>
                <a:gd name="T82" fmla="*/ 3563 w 3578"/>
                <a:gd name="T83" fmla="*/ 3579 h 3996"/>
                <a:gd name="T84" fmla="*/ 3529 w 3578"/>
                <a:gd name="T85" fmla="*/ 3549 h 3996"/>
                <a:gd name="T86" fmla="*/ 3482 w 3578"/>
                <a:gd name="T87" fmla="*/ 3538 h 3996"/>
                <a:gd name="T88" fmla="*/ 85 w 3578"/>
                <a:gd name="T89" fmla="*/ 3538 h 3996"/>
                <a:gd name="T90" fmla="*/ 41 w 3578"/>
                <a:gd name="T91" fmla="*/ 3554 h 3996"/>
                <a:gd name="T92" fmla="*/ 11 w 3578"/>
                <a:gd name="T93" fmla="*/ 3587 h 3996"/>
                <a:gd name="T94" fmla="*/ 0 w 3578"/>
                <a:gd name="T95" fmla="*/ 3634 h 3996"/>
                <a:gd name="T96" fmla="*/ 4 w 3578"/>
                <a:gd name="T97" fmla="*/ 391 h 3996"/>
                <a:gd name="T98" fmla="*/ 27 w 3578"/>
                <a:gd name="T99" fmla="*/ 430 h 3996"/>
                <a:gd name="T100" fmla="*/ 66 w 3578"/>
                <a:gd name="T101" fmla="*/ 453 h 3996"/>
                <a:gd name="T102" fmla="*/ 1789 w 3578"/>
                <a:gd name="T103" fmla="*/ 456 h 3996"/>
                <a:gd name="T104" fmla="*/ 3512 w 3578"/>
                <a:gd name="T105" fmla="*/ 453 h 3996"/>
                <a:gd name="T106" fmla="*/ 3552 w 3578"/>
                <a:gd name="T107" fmla="*/ 430 h 3996"/>
                <a:gd name="T108" fmla="*/ 3574 w 3578"/>
                <a:gd name="T109" fmla="*/ 391 h 3996"/>
                <a:gd name="T110" fmla="*/ 3577 w 3578"/>
                <a:gd name="T111" fmla="*/ 85 h 3996"/>
                <a:gd name="T112" fmla="*/ 3563 w 3578"/>
                <a:gd name="T113" fmla="*/ 41 h 3996"/>
                <a:gd name="T114" fmla="*/ 3529 w 3578"/>
                <a:gd name="T115" fmla="*/ 11 h 3996"/>
                <a:gd name="T116" fmla="*/ 3482 w 3578"/>
                <a:gd name="T117" fmla="*/ 0 h 3996"/>
                <a:gd name="T118" fmla="*/ 85 w 3578"/>
                <a:gd name="T119" fmla="*/ 0 h 3996"/>
                <a:gd name="T120" fmla="*/ 41 w 3578"/>
                <a:gd name="T121" fmla="*/ 16 h 3996"/>
                <a:gd name="T122" fmla="*/ 11 w 3578"/>
                <a:gd name="T123" fmla="*/ 49 h 3996"/>
                <a:gd name="T124" fmla="*/ 0 w 3578"/>
                <a:gd name="T125" fmla="*/ 95 h 3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78" h="3996">
                  <a:moveTo>
                    <a:pt x="2924" y="3160"/>
                  </a:moveTo>
                  <a:lnTo>
                    <a:pt x="2936" y="3160"/>
                  </a:lnTo>
                  <a:lnTo>
                    <a:pt x="2947" y="3157"/>
                  </a:lnTo>
                  <a:lnTo>
                    <a:pt x="2958" y="3153"/>
                  </a:lnTo>
                  <a:lnTo>
                    <a:pt x="2964" y="3151"/>
                  </a:lnTo>
                  <a:lnTo>
                    <a:pt x="2968" y="3148"/>
                  </a:lnTo>
                  <a:lnTo>
                    <a:pt x="2977" y="3142"/>
                  </a:lnTo>
                  <a:lnTo>
                    <a:pt x="2981" y="3139"/>
                  </a:lnTo>
                  <a:lnTo>
                    <a:pt x="2985" y="3135"/>
                  </a:lnTo>
                  <a:lnTo>
                    <a:pt x="2988" y="3131"/>
                  </a:lnTo>
                  <a:lnTo>
                    <a:pt x="2991" y="3126"/>
                  </a:lnTo>
                  <a:lnTo>
                    <a:pt x="2996" y="3117"/>
                  </a:lnTo>
                  <a:lnTo>
                    <a:pt x="3000" y="3106"/>
                  </a:lnTo>
                  <a:lnTo>
                    <a:pt x="3001" y="3101"/>
                  </a:lnTo>
                  <a:lnTo>
                    <a:pt x="3002" y="3095"/>
                  </a:lnTo>
                  <a:lnTo>
                    <a:pt x="3003" y="3084"/>
                  </a:lnTo>
                  <a:lnTo>
                    <a:pt x="3002" y="3072"/>
                  </a:lnTo>
                  <a:lnTo>
                    <a:pt x="3001" y="3065"/>
                  </a:lnTo>
                  <a:lnTo>
                    <a:pt x="2999" y="3059"/>
                  </a:lnTo>
                  <a:lnTo>
                    <a:pt x="2998" y="3052"/>
                  </a:lnTo>
                  <a:lnTo>
                    <a:pt x="2995" y="3045"/>
                  </a:lnTo>
                  <a:lnTo>
                    <a:pt x="2988" y="3032"/>
                  </a:lnTo>
                  <a:lnTo>
                    <a:pt x="2985" y="3026"/>
                  </a:lnTo>
                  <a:lnTo>
                    <a:pt x="2980" y="3019"/>
                  </a:lnTo>
                  <a:lnTo>
                    <a:pt x="2570" y="2480"/>
                  </a:lnTo>
                  <a:lnTo>
                    <a:pt x="2162" y="1941"/>
                  </a:lnTo>
                  <a:lnTo>
                    <a:pt x="2562" y="1459"/>
                  </a:lnTo>
                  <a:lnTo>
                    <a:pt x="2962" y="976"/>
                  </a:lnTo>
                  <a:lnTo>
                    <a:pt x="2972" y="962"/>
                  </a:lnTo>
                  <a:lnTo>
                    <a:pt x="2976" y="956"/>
                  </a:lnTo>
                  <a:lnTo>
                    <a:pt x="2979" y="949"/>
                  </a:lnTo>
                  <a:lnTo>
                    <a:pt x="2985" y="936"/>
                  </a:lnTo>
                  <a:lnTo>
                    <a:pt x="2986" y="929"/>
                  </a:lnTo>
                  <a:lnTo>
                    <a:pt x="2988" y="923"/>
                  </a:lnTo>
                  <a:lnTo>
                    <a:pt x="2988" y="917"/>
                  </a:lnTo>
                  <a:lnTo>
                    <a:pt x="2989" y="910"/>
                  </a:lnTo>
                  <a:lnTo>
                    <a:pt x="2988" y="899"/>
                  </a:lnTo>
                  <a:lnTo>
                    <a:pt x="2987" y="894"/>
                  </a:lnTo>
                  <a:lnTo>
                    <a:pt x="2986" y="888"/>
                  </a:lnTo>
                  <a:lnTo>
                    <a:pt x="2981" y="878"/>
                  </a:lnTo>
                  <a:lnTo>
                    <a:pt x="2979" y="873"/>
                  </a:lnTo>
                  <a:lnTo>
                    <a:pt x="2976" y="868"/>
                  </a:lnTo>
                  <a:lnTo>
                    <a:pt x="2972" y="864"/>
                  </a:lnTo>
                  <a:lnTo>
                    <a:pt x="2969" y="861"/>
                  </a:lnTo>
                  <a:lnTo>
                    <a:pt x="2961" y="853"/>
                  </a:lnTo>
                  <a:lnTo>
                    <a:pt x="2957" y="849"/>
                  </a:lnTo>
                  <a:lnTo>
                    <a:pt x="2951" y="846"/>
                  </a:lnTo>
                  <a:lnTo>
                    <a:pt x="2947" y="844"/>
                  </a:lnTo>
                  <a:lnTo>
                    <a:pt x="2941" y="842"/>
                  </a:lnTo>
                  <a:lnTo>
                    <a:pt x="2936" y="840"/>
                  </a:lnTo>
                  <a:lnTo>
                    <a:pt x="2930" y="838"/>
                  </a:lnTo>
                  <a:lnTo>
                    <a:pt x="2925" y="836"/>
                  </a:lnTo>
                  <a:lnTo>
                    <a:pt x="2919" y="836"/>
                  </a:lnTo>
                  <a:lnTo>
                    <a:pt x="2907" y="835"/>
                  </a:lnTo>
                  <a:lnTo>
                    <a:pt x="2275" y="835"/>
                  </a:lnTo>
                  <a:lnTo>
                    <a:pt x="2260" y="835"/>
                  </a:lnTo>
                  <a:lnTo>
                    <a:pt x="2246" y="836"/>
                  </a:lnTo>
                  <a:lnTo>
                    <a:pt x="2234" y="838"/>
                  </a:lnTo>
                  <a:lnTo>
                    <a:pt x="2222" y="841"/>
                  </a:lnTo>
                  <a:lnTo>
                    <a:pt x="2209" y="845"/>
                  </a:lnTo>
                  <a:lnTo>
                    <a:pt x="2198" y="848"/>
                  </a:lnTo>
                  <a:lnTo>
                    <a:pt x="2188" y="854"/>
                  </a:lnTo>
                  <a:lnTo>
                    <a:pt x="2178" y="859"/>
                  </a:lnTo>
                  <a:lnTo>
                    <a:pt x="2168" y="865"/>
                  </a:lnTo>
                  <a:lnTo>
                    <a:pt x="2160" y="872"/>
                  </a:lnTo>
                  <a:lnTo>
                    <a:pt x="2151" y="879"/>
                  </a:lnTo>
                  <a:lnTo>
                    <a:pt x="2142" y="887"/>
                  </a:lnTo>
                  <a:lnTo>
                    <a:pt x="2134" y="896"/>
                  </a:lnTo>
                  <a:lnTo>
                    <a:pt x="2126" y="905"/>
                  </a:lnTo>
                  <a:lnTo>
                    <a:pt x="2119" y="915"/>
                  </a:lnTo>
                  <a:lnTo>
                    <a:pt x="2111" y="925"/>
                  </a:lnTo>
                  <a:lnTo>
                    <a:pt x="1738" y="1404"/>
                  </a:lnTo>
                  <a:lnTo>
                    <a:pt x="1365" y="1885"/>
                  </a:lnTo>
                  <a:lnTo>
                    <a:pt x="1365" y="1408"/>
                  </a:lnTo>
                  <a:lnTo>
                    <a:pt x="1365" y="931"/>
                  </a:lnTo>
                  <a:lnTo>
                    <a:pt x="1365" y="920"/>
                  </a:lnTo>
                  <a:lnTo>
                    <a:pt x="1364" y="910"/>
                  </a:lnTo>
                  <a:lnTo>
                    <a:pt x="1362" y="902"/>
                  </a:lnTo>
                  <a:lnTo>
                    <a:pt x="1359" y="892"/>
                  </a:lnTo>
                  <a:lnTo>
                    <a:pt x="1356" y="884"/>
                  </a:lnTo>
                  <a:lnTo>
                    <a:pt x="1350" y="876"/>
                  </a:lnTo>
                  <a:lnTo>
                    <a:pt x="1346" y="868"/>
                  </a:lnTo>
                  <a:lnTo>
                    <a:pt x="1339" y="862"/>
                  </a:lnTo>
                  <a:lnTo>
                    <a:pt x="1332" y="856"/>
                  </a:lnTo>
                  <a:lnTo>
                    <a:pt x="1325" y="851"/>
                  </a:lnTo>
                  <a:lnTo>
                    <a:pt x="1317" y="846"/>
                  </a:lnTo>
                  <a:lnTo>
                    <a:pt x="1309" y="842"/>
                  </a:lnTo>
                  <a:lnTo>
                    <a:pt x="1300" y="840"/>
                  </a:lnTo>
                  <a:lnTo>
                    <a:pt x="1290" y="837"/>
                  </a:lnTo>
                  <a:lnTo>
                    <a:pt x="1280" y="835"/>
                  </a:lnTo>
                  <a:lnTo>
                    <a:pt x="1270" y="835"/>
                  </a:lnTo>
                  <a:lnTo>
                    <a:pt x="694" y="835"/>
                  </a:lnTo>
                  <a:lnTo>
                    <a:pt x="684" y="835"/>
                  </a:lnTo>
                  <a:lnTo>
                    <a:pt x="674" y="837"/>
                  </a:lnTo>
                  <a:lnTo>
                    <a:pt x="664" y="840"/>
                  </a:lnTo>
                  <a:lnTo>
                    <a:pt x="656" y="842"/>
                  </a:lnTo>
                  <a:lnTo>
                    <a:pt x="647" y="846"/>
                  </a:lnTo>
                  <a:lnTo>
                    <a:pt x="639" y="851"/>
                  </a:lnTo>
                  <a:lnTo>
                    <a:pt x="632" y="856"/>
                  </a:lnTo>
                  <a:lnTo>
                    <a:pt x="625" y="862"/>
                  </a:lnTo>
                  <a:lnTo>
                    <a:pt x="619" y="868"/>
                  </a:lnTo>
                  <a:lnTo>
                    <a:pt x="614" y="876"/>
                  </a:lnTo>
                  <a:lnTo>
                    <a:pt x="609" y="884"/>
                  </a:lnTo>
                  <a:lnTo>
                    <a:pt x="606" y="892"/>
                  </a:lnTo>
                  <a:lnTo>
                    <a:pt x="602" y="902"/>
                  </a:lnTo>
                  <a:lnTo>
                    <a:pt x="600" y="910"/>
                  </a:lnTo>
                  <a:lnTo>
                    <a:pt x="599" y="920"/>
                  </a:lnTo>
                  <a:lnTo>
                    <a:pt x="598" y="931"/>
                  </a:lnTo>
                  <a:lnTo>
                    <a:pt x="598" y="1464"/>
                  </a:lnTo>
                  <a:lnTo>
                    <a:pt x="598" y="1998"/>
                  </a:lnTo>
                  <a:lnTo>
                    <a:pt x="598" y="2531"/>
                  </a:lnTo>
                  <a:lnTo>
                    <a:pt x="598" y="3064"/>
                  </a:lnTo>
                  <a:lnTo>
                    <a:pt x="599" y="3074"/>
                  </a:lnTo>
                  <a:lnTo>
                    <a:pt x="600" y="3084"/>
                  </a:lnTo>
                  <a:lnTo>
                    <a:pt x="602" y="3094"/>
                  </a:lnTo>
                  <a:lnTo>
                    <a:pt x="606" y="3103"/>
                  </a:lnTo>
                  <a:lnTo>
                    <a:pt x="609" y="3111"/>
                  </a:lnTo>
                  <a:lnTo>
                    <a:pt x="614" y="3120"/>
                  </a:lnTo>
                  <a:lnTo>
                    <a:pt x="619" y="3126"/>
                  </a:lnTo>
                  <a:lnTo>
                    <a:pt x="625" y="3133"/>
                  </a:lnTo>
                  <a:lnTo>
                    <a:pt x="632" y="3140"/>
                  </a:lnTo>
                  <a:lnTo>
                    <a:pt x="639" y="3144"/>
                  </a:lnTo>
                  <a:lnTo>
                    <a:pt x="647" y="3150"/>
                  </a:lnTo>
                  <a:lnTo>
                    <a:pt x="656" y="3153"/>
                  </a:lnTo>
                  <a:lnTo>
                    <a:pt x="664" y="3156"/>
                  </a:lnTo>
                  <a:lnTo>
                    <a:pt x="674" y="3158"/>
                  </a:lnTo>
                  <a:lnTo>
                    <a:pt x="684" y="3160"/>
                  </a:lnTo>
                  <a:lnTo>
                    <a:pt x="694" y="3160"/>
                  </a:lnTo>
                  <a:lnTo>
                    <a:pt x="1270" y="3160"/>
                  </a:lnTo>
                  <a:lnTo>
                    <a:pt x="1280" y="3160"/>
                  </a:lnTo>
                  <a:lnTo>
                    <a:pt x="1290" y="3158"/>
                  </a:lnTo>
                  <a:lnTo>
                    <a:pt x="1300" y="3156"/>
                  </a:lnTo>
                  <a:lnTo>
                    <a:pt x="1309" y="3153"/>
                  </a:lnTo>
                  <a:lnTo>
                    <a:pt x="1317" y="3150"/>
                  </a:lnTo>
                  <a:lnTo>
                    <a:pt x="1325" y="3144"/>
                  </a:lnTo>
                  <a:lnTo>
                    <a:pt x="1332" y="3140"/>
                  </a:lnTo>
                  <a:lnTo>
                    <a:pt x="1339" y="3133"/>
                  </a:lnTo>
                  <a:lnTo>
                    <a:pt x="1346" y="3126"/>
                  </a:lnTo>
                  <a:lnTo>
                    <a:pt x="1350" y="3120"/>
                  </a:lnTo>
                  <a:lnTo>
                    <a:pt x="1356" y="3111"/>
                  </a:lnTo>
                  <a:lnTo>
                    <a:pt x="1359" y="3103"/>
                  </a:lnTo>
                  <a:lnTo>
                    <a:pt x="1362" y="3094"/>
                  </a:lnTo>
                  <a:lnTo>
                    <a:pt x="1364" y="3084"/>
                  </a:lnTo>
                  <a:lnTo>
                    <a:pt x="1365" y="3074"/>
                  </a:lnTo>
                  <a:lnTo>
                    <a:pt x="1365" y="3064"/>
                  </a:lnTo>
                  <a:lnTo>
                    <a:pt x="1365" y="2539"/>
                  </a:lnTo>
                  <a:lnTo>
                    <a:pt x="1365" y="2014"/>
                  </a:lnTo>
                  <a:lnTo>
                    <a:pt x="1738" y="2542"/>
                  </a:lnTo>
                  <a:lnTo>
                    <a:pt x="2111" y="3070"/>
                  </a:lnTo>
                  <a:lnTo>
                    <a:pt x="2119" y="3080"/>
                  </a:lnTo>
                  <a:lnTo>
                    <a:pt x="2126" y="3090"/>
                  </a:lnTo>
                  <a:lnTo>
                    <a:pt x="2134" y="3099"/>
                  </a:lnTo>
                  <a:lnTo>
                    <a:pt x="2142" y="3108"/>
                  </a:lnTo>
                  <a:lnTo>
                    <a:pt x="2151" y="3115"/>
                  </a:lnTo>
                  <a:lnTo>
                    <a:pt x="2160" y="3123"/>
                  </a:lnTo>
                  <a:lnTo>
                    <a:pt x="2168" y="3130"/>
                  </a:lnTo>
                  <a:lnTo>
                    <a:pt x="2178" y="3136"/>
                  </a:lnTo>
                  <a:lnTo>
                    <a:pt x="2188" y="3142"/>
                  </a:lnTo>
                  <a:lnTo>
                    <a:pt x="2198" y="3146"/>
                  </a:lnTo>
                  <a:lnTo>
                    <a:pt x="2209" y="3151"/>
                  </a:lnTo>
                  <a:lnTo>
                    <a:pt x="2222" y="3154"/>
                  </a:lnTo>
                  <a:lnTo>
                    <a:pt x="2234" y="3156"/>
                  </a:lnTo>
                  <a:lnTo>
                    <a:pt x="2246" y="3158"/>
                  </a:lnTo>
                  <a:lnTo>
                    <a:pt x="2260" y="3160"/>
                  </a:lnTo>
                  <a:lnTo>
                    <a:pt x="2275" y="3160"/>
                  </a:lnTo>
                  <a:lnTo>
                    <a:pt x="2924" y="3160"/>
                  </a:lnTo>
                  <a:close/>
                  <a:moveTo>
                    <a:pt x="0" y="3899"/>
                  </a:moveTo>
                  <a:lnTo>
                    <a:pt x="1" y="3909"/>
                  </a:lnTo>
                  <a:lnTo>
                    <a:pt x="2" y="3919"/>
                  </a:lnTo>
                  <a:lnTo>
                    <a:pt x="4" y="3929"/>
                  </a:lnTo>
                  <a:lnTo>
                    <a:pt x="8" y="3938"/>
                  </a:lnTo>
                  <a:lnTo>
                    <a:pt x="11" y="3947"/>
                  </a:lnTo>
                  <a:lnTo>
                    <a:pt x="16" y="3955"/>
                  </a:lnTo>
                  <a:lnTo>
                    <a:pt x="21" y="3961"/>
                  </a:lnTo>
                  <a:lnTo>
                    <a:pt x="27" y="3968"/>
                  </a:lnTo>
                  <a:lnTo>
                    <a:pt x="33" y="3975"/>
                  </a:lnTo>
                  <a:lnTo>
                    <a:pt x="41" y="3980"/>
                  </a:lnTo>
                  <a:lnTo>
                    <a:pt x="49" y="3985"/>
                  </a:lnTo>
                  <a:lnTo>
                    <a:pt x="58" y="3988"/>
                  </a:lnTo>
                  <a:lnTo>
                    <a:pt x="66" y="3991"/>
                  </a:lnTo>
                  <a:lnTo>
                    <a:pt x="75" y="3993"/>
                  </a:lnTo>
                  <a:lnTo>
                    <a:pt x="85" y="3995"/>
                  </a:lnTo>
                  <a:lnTo>
                    <a:pt x="96" y="3996"/>
                  </a:lnTo>
                  <a:lnTo>
                    <a:pt x="942" y="3996"/>
                  </a:lnTo>
                  <a:lnTo>
                    <a:pt x="1789" y="3996"/>
                  </a:lnTo>
                  <a:lnTo>
                    <a:pt x="2635" y="3996"/>
                  </a:lnTo>
                  <a:lnTo>
                    <a:pt x="3482" y="3996"/>
                  </a:lnTo>
                  <a:lnTo>
                    <a:pt x="3493" y="3995"/>
                  </a:lnTo>
                  <a:lnTo>
                    <a:pt x="3503" y="3993"/>
                  </a:lnTo>
                  <a:lnTo>
                    <a:pt x="3512" y="3991"/>
                  </a:lnTo>
                  <a:lnTo>
                    <a:pt x="3521" y="3988"/>
                  </a:lnTo>
                  <a:lnTo>
                    <a:pt x="3529" y="3985"/>
                  </a:lnTo>
                  <a:lnTo>
                    <a:pt x="3537" y="3980"/>
                  </a:lnTo>
                  <a:lnTo>
                    <a:pt x="3545" y="3975"/>
                  </a:lnTo>
                  <a:lnTo>
                    <a:pt x="3552" y="3968"/>
                  </a:lnTo>
                  <a:lnTo>
                    <a:pt x="3557" y="3961"/>
                  </a:lnTo>
                  <a:lnTo>
                    <a:pt x="3563" y="3955"/>
                  </a:lnTo>
                  <a:lnTo>
                    <a:pt x="3567" y="3947"/>
                  </a:lnTo>
                  <a:lnTo>
                    <a:pt x="3572" y="3938"/>
                  </a:lnTo>
                  <a:lnTo>
                    <a:pt x="3574" y="3929"/>
                  </a:lnTo>
                  <a:lnTo>
                    <a:pt x="3576" y="3919"/>
                  </a:lnTo>
                  <a:lnTo>
                    <a:pt x="3577" y="3909"/>
                  </a:lnTo>
                  <a:lnTo>
                    <a:pt x="3578" y="3899"/>
                  </a:lnTo>
                  <a:lnTo>
                    <a:pt x="3578" y="3634"/>
                  </a:lnTo>
                  <a:lnTo>
                    <a:pt x="3577" y="3624"/>
                  </a:lnTo>
                  <a:lnTo>
                    <a:pt x="3576" y="3614"/>
                  </a:lnTo>
                  <a:lnTo>
                    <a:pt x="3574" y="3605"/>
                  </a:lnTo>
                  <a:lnTo>
                    <a:pt x="3572" y="3595"/>
                  </a:lnTo>
                  <a:lnTo>
                    <a:pt x="3567" y="3587"/>
                  </a:lnTo>
                  <a:lnTo>
                    <a:pt x="3563" y="3579"/>
                  </a:lnTo>
                  <a:lnTo>
                    <a:pt x="3557" y="3572"/>
                  </a:lnTo>
                  <a:lnTo>
                    <a:pt x="3552" y="3565"/>
                  </a:lnTo>
                  <a:lnTo>
                    <a:pt x="3545" y="3559"/>
                  </a:lnTo>
                  <a:lnTo>
                    <a:pt x="3537" y="3554"/>
                  </a:lnTo>
                  <a:lnTo>
                    <a:pt x="3529" y="3549"/>
                  </a:lnTo>
                  <a:lnTo>
                    <a:pt x="3521" y="3545"/>
                  </a:lnTo>
                  <a:lnTo>
                    <a:pt x="3512" y="3542"/>
                  </a:lnTo>
                  <a:lnTo>
                    <a:pt x="3503" y="3539"/>
                  </a:lnTo>
                  <a:lnTo>
                    <a:pt x="3493" y="3538"/>
                  </a:lnTo>
                  <a:lnTo>
                    <a:pt x="3482" y="3538"/>
                  </a:lnTo>
                  <a:lnTo>
                    <a:pt x="2635" y="3538"/>
                  </a:lnTo>
                  <a:lnTo>
                    <a:pt x="1789" y="3538"/>
                  </a:lnTo>
                  <a:lnTo>
                    <a:pt x="942" y="3538"/>
                  </a:lnTo>
                  <a:lnTo>
                    <a:pt x="96" y="3538"/>
                  </a:lnTo>
                  <a:lnTo>
                    <a:pt x="85" y="3538"/>
                  </a:lnTo>
                  <a:lnTo>
                    <a:pt x="75" y="3539"/>
                  </a:lnTo>
                  <a:lnTo>
                    <a:pt x="66" y="3542"/>
                  </a:lnTo>
                  <a:lnTo>
                    <a:pt x="58" y="3545"/>
                  </a:lnTo>
                  <a:lnTo>
                    <a:pt x="49" y="3549"/>
                  </a:lnTo>
                  <a:lnTo>
                    <a:pt x="41" y="3554"/>
                  </a:lnTo>
                  <a:lnTo>
                    <a:pt x="33" y="3559"/>
                  </a:lnTo>
                  <a:lnTo>
                    <a:pt x="27" y="3565"/>
                  </a:lnTo>
                  <a:lnTo>
                    <a:pt x="21" y="3572"/>
                  </a:lnTo>
                  <a:lnTo>
                    <a:pt x="16" y="3579"/>
                  </a:lnTo>
                  <a:lnTo>
                    <a:pt x="11" y="3587"/>
                  </a:lnTo>
                  <a:lnTo>
                    <a:pt x="8" y="3595"/>
                  </a:lnTo>
                  <a:lnTo>
                    <a:pt x="4" y="3605"/>
                  </a:lnTo>
                  <a:lnTo>
                    <a:pt x="2" y="3614"/>
                  </a:lnTo>
                  <a:lnTo>
                    <a:pt x="1" y="3624"/>
                  </a:lnTo>
                  <a:lnTo>
                    <a:pt x="0" y="3634"/>
                  </a:lnTo>
                  <a:lnTo>
                    <a:pt x="0" y="3899"/>
                  </a:lnTo>
                  <a:close/>
                  <a:moveTo>
                    <a:pt x="0" y="361"/>
                  </a:moveTo>
                  <a:lnTo>
                    <a:pt x="1" y="371"/>
                  </a:lnTo>
                  <a:lnTo>
                    <a:pt x="2" y="381"/>
                  </a:lnTo>
                  <a:lnTo>
                    <a:pt x="4" y="391"/>
                  </a:lnTo>
                  <a:lnTo>
                    <a:pt x="8" y="400"/>
                  </a:lnTo>
                  <a:lnTo>
                    <a:pt x="11" y="409"/>
                  </a:lnTo>
                  <a:lnTo>
                    <a:pt x="16" y="416"/>
                  </a:lnTo>
                  <a:lnTo>
                    <a:pt x="21" y="423"/>
                  </a:lnTo>
                  <a:lnTo>
                    <a:pt x="27" y="430"/>
                  </a:lnTo>
                  <a:lnTo>
                    <a:pt x="33" y="436"/>
                  </a:lnTo>
                  <a:lnTo>
                    <a:pt x="41" y="441"/>
                  </a:lnTo>
                  <a:lnTo>
                    <a:pt x="49" y="446"/>
                  </a:lnTo>
                  <a:lnTo>
                    <a:pt x="58" y="450"/>
                  </a:lnTo>
                  <a:lnTo>
                    <a:pt x="66" y="453"/>
                  </a:lnTo>
                  <a:lnTo>
                    <a:pt x="75" y="455"/>
                  </a:lnTo>
                  <a:lnTo>
                    <a:pt x="85" y="456"/>
                  </a:lnTo>
                  <a:lnTo>
                    <a:pt x="96" y="456"/>
                  </a:lnTo>
                  <a:lnTo>
                    <a:pt x="942" y="456"/>
                  </a:lnTo>
                  <a:lnTo>
                    <a:pt x="1789" y="456"/>
                  </a:lnTo>
                  <a:lnTo>
                    <a:pt x="2635" y="456"/>
                  </a:lnTo>
                  <a:lnTo>
                    <a:pt x="3482" y="456"/>
                  </a:lnTo>
                  <a:lnTo>
                    <a:pt x="3493" y="456"/>
                  </a:lnTo>
                  <a:lnTo>
                    <a:pt x="3503" y="455"/>
                  </a:lnTo>
                  <a:lnTo>
                    <a:pt x="3512" y="453"/>
                  </a:lnTo>
                  <a:lnTo>
                    <a:pt x="3521" y="450"/>
                  </a:lnTo>
                  <a:lnTo>
                    <a:pt x="3529" y="446"/>
                  </a:lnTo>
                  <a:lnTo>
                    <a:pt x="3537" y="441"/>
                  </a:lnTo>
                  <a:lnTo>
                    <a:pt x="3545" y="436"/>
                  </a:lnTo>
                  <a:lnTo>
                    <a:pt x="3552" y="430"/>
                  </a:lnTo>
                  <a:lnTo>
                    <a:pt x="3557" y="423"/>
                  </a:lnTo>
                  <a:lnTo>
                    <a:pt x="3563" y="416"/>
                  </a:lnTo>
                  <a:lnTo>
                    <a:pt x="3567" y="409"/>
                  </a:lnTo>
                  <a:lnTo>
                    <a:pt x="3572" y="400"/>
                  </a:lnTo>
                  <a:lnTo>
                    <a:pt x="3574" y="391"/>
                  </a:lnTo>
                  <a:lnTo>
                    <a:pt x="3576" y="381"/>
                  </a:lnTo>
                  <a:lnTo>
                    <a:pt x="3577" y="371"/>
                  </a:lnTo>
                  <a:lnTo>
                    <a:pt x="3578" y="361"/>
                  </a:lnTo>
                  <a:lnTo>
                    <a:pt x="3578" y="95"/>
                  </a:lnTo>
                  <a:lnTo>
                    <a:pt x="3577" y="85"/>
                  </a:lnTo>
                  <a:lnTo>
                    <a:pt x="3576" y="75"/>
                  </a:lnTo>
                  <a:lnTo>
                    <a:pt x="3574" y="65"/>
                  </a:lnTo>
                  <a:lnTo>
                    <a:pt x="3572" y="57"/>
                  </a:lnTo>
                  <a:lnTo>
                    <a:pt x="3567" y="49"/>
                  </a:lnTo>
                  <a:lnTo>
                    <a:pt x="3563" y="41"/>
                  </a:lnTo>
                  <a:lnTo>
                    <a:pt x="3557" y="33"/>
                  </a:lnTo>
                  <a:lnTo>
                    <a:pt x="3552" y="27"/>
                  </a:lnTo>
                  <a:lnTo>
                    <a:pt x="3545" y="20"/>
                  </a:lnTo>
                  <a:lnTo>
                    <a:pt x="3537" y="16"/>
                  </a:lnTo>
                  <a:lnTo>
                    <a:pt x="3529" y="11"/>
                  </a:lnTo>
                  <a:lnTo>
                    <a:pt x="3521" y="7"/>
                  </a:lnTo>
                  <a:lnTo>
                    <a:pt x="3512" y="3"/>
                  </a:lnTo>
                  <a:lnTo>
                    <a:pt x="3503" y="1"/>
                  </a:lnTo>
                  <a:lnTo>
                    <a:pt x="3493" y="0"/>
                  </a:lnTo>
                  <a:lnTo>
                    <a:pt x="3482" y="0"/>
                  </a:lnTo>
                  <a:lnTo>
                    <a:pt x="2635" y="0"/>
                  </a:lnTo>
                  <a:lnTo>
                    <a:pt x="1789" y="0"/>
                  </a:lnTo>
                  <a:lnTo>
                    <a:pt x="942" y="0"/>
                  </a:lnTo>
                  <a:lnTo>
                    <a:pt x="96" y="0"/>
                  </a:lnTo>
                  <a:lnTo>
                    <a:pt x="85" y="0"/>
                  </a:lnTo>
                  <a:lnTo>
                    <a:pt x="75" y="1"/>
                  </a:lnTo>
                  <a:lnTo>
                    <a:pt x="66" y="3"/>
                  </a:lnTo>
                  <a:lnTo>
                    <a:pt x="58" y="7"/>
                  </a:lnTo>
                  <a:lnTo>
                    <a:pt x="49" y="11"/>
                  </a:lnTo>
                  <a:lnTo>
                    <a:pt x="41" y="16"/>
                  </a:lnTo>
                  <a:lnTo>
                    <a:pt x="33" y="20"/>
                  </a:lnTo>
                  <a:lnTo>
                    <a:pt x="27" y="27"/>
                  </a:lnTo>
                  <a:lnTo>
                    <a:pt x="21" y="33"/>
                  </a:lnTo>
                  <a:lnTo>
                    <a:pt x="16" y="41"/>
                  </a:lnTo>
                  <a:lnTo>
                    <a:pt x="11" y="49"/>
                  </a:lnTo>
                  <a:lnTo>
                    <a:pt x="8" y="57"/>
                  </a:lnTo>
                  <a:lnTo>
                    <a:pt x="4" y="65"/>
                  </a:lnTo>
                  <a:lnTo>
                    <a:pt x="2" y="75"/>
                  </a:lnTo>
                  <a:lnTo>
                    <a:pt x="1" y="85"/>
                  </a:lnTo>
                  <a:lnTo>
                    <a:pt x="0" y="95"/>
                  </a:lnTo>
                  <a:lnTo>
                    <a:pt x="0" y="36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Skatta Sans Regular" pitchFamily="50" charset="0"/>
              </a:endParaRPr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C27B8C88-3890-4287-B883-574EB349BA7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579338" y="2067802"/>
              <a:ext cx="1260000" cy="1073166"/>
            </a:xfrm>
            <a:custGeom>
              <a:avLst/>
              <a:gdLst>
                <a:gd name="T0" fmla="*/ 2264 w 3082"/>
                <a:gd name="T1" fmla="*/ 744 h 2625"/>
                <a:gd name="T2" fmla="*/ 2266 w 3082"/>
                <a:gd name="T3" fmla="*/ 977 h 2625"/>
                <a:gd name="T4" fmla="*/ 2059 w 3082"/>
                <a:gd name="T5" fmla="*/ 1141 h 2625"/>
                <a:gd name="T6" fmla="*/ 2128 w 3082"/>
                <a:gd name="T7" fmla="*/ 961 h 2625"/>
                <a:gd name="T8" fmla="*/ 2534 w 3082"/>
                <a:gd name="T9" fmla="*/ 737 h 2625"/>
                <a:gd name="T10" fmla="*/ 2516 w 3082"/>
                <a:gd name="T11" fmla="*/ 927 h 2625"/>
                <a:gd name="T12" fmla="*/ 2383 w 3082"/>
                <a:gd name="T13" fmla="*/ 1154 h 2625"/>
                <a:gd name="T14" fmla="*/ 2470 w 3082"/>
                <a:gd name="T15" fmla="*/ 1025 h 2625"/>
                <a:gd name="T16" fmla="*/ 733 w 3082"/>
                <a:gd name="T17" fmla="*/ 1006 h 2625"/>
                <a:gd name="T18" fmla="*/ 885 w 3082"/>
                <a:gd name="T19" fmla="*/ 1154 h 2625"/>
                <a:gd name="T20" fmla="*/ 60 w 3082"/>
                <a:gd name="T21" fmla="*/ 1150 h 2625"/>
                <a:gd name="T22" fmla="*/ 1819 w 3082"/>
                <a:gd name="T23" fmla="*/ 1010 h 2625"/>
                <a:gd name="T24" fmla="*/ 1910 w 3082"/>
                <a:gd name="T25" fmla="*/ 1155 h 2625"/>
                <a:gd name="T26" fmla="*/ 1110 w 3082"/>
                <a:gd name="T27" fmla="*/ 1070 h 2625"/>
                <a:gd name="T28" fmla="*/ 1273 w 3082"/>
                <a:gd name="T29" fmla="*/ 1060 h 2625"/>
                <a:gd name="T30" fmla="*/ 962 w 3082"/>
                <a:gd name="T31" fmla="*/ 1091 h 2625"/>
                <a:gd name="T32" fmla="*/ 1547 w 3082"/>
                <a:gd name="T33" fmla="*/ 832 h 2625"/>
                <a:gd name="T34" fmla="*/ 1673 w 3082"/>
                <a:gd name="T35" fmla="*/ 911 h 2625"/>
                <a:gd name="T36" fmla="*/ 1380 w 3082"/>
                <a:gd name="T37" fmla="*/ 739 h 2625"/>
                <a:gd name="T38" fmla="*/ 3022 w 3082"/>
                <a:gd name="T39" fmla="*/ 1141 h 2625"/>
                <a:gd name="T40" fmla="*/ 706 w 3082"/>
                <a:gd name="T41" fmla="*/ 2392 h 2625"/>
                <a:gd name="T42" fmla="*/ 702 w 3082"/>
                <a:gd name="T43" fmla="*/ 2624 h 2625"/>
                <a:gd name="T44" fmla="*/ 1320 w 3082"/>
                <a:gd name="T45" fmla="*/ 2090 h 2625"/>
                <a:gd name="T46" fmla="*/ 1026 w 3082"/>
                <a:gd name="T47" fmla="*/ 2625 h 2625"/>
                <a:gd name="T48" fmla="*/ 1151 w 3082"/>
                <a:gd name="T49" fmla="*/ 2177 h 2625"/>
                <a:gd name="T50" fmla="*/ 1200 w 3082"/>
                <a:gd name="T51" fmla="*/ 2104 h 2625"/>
                <a:gd name="T52" fmla="*/ 1429 w 3082"/>
                <a:gd name="T53" fmla="*/ 2214 h 2625"/>
                <a:gd name="T54" fmla="*/ 1980 w 3082"/>
                <a:gd name="T55" fmla="*/ 2526 h 2625"/>
                <a:gd name="T56" fmla="*/ 1928 w 3082"/>
                <a:gd name="T57" fmla="*/ 2207 h 2625"/>
                <a:gd name="T58" fmla="*/ 2141 w 3082"/>
                <a:gd name="T59" fmla="*/ 2491 h 2625"/>
                <a:gd name="T60" fmla="*/ 1928 w 3082"/>
                <a:gd name="T61" fmla="*/ 2207 h 2625"/>
                <a:gd name="T62" fmla="*/ 2436 w 3082"/>
                <a:gd name="T63" fmla="*/ 2096 h 2625"/>
                <a:gd name="T64" fmla="*/ 2188 w 3082"/>
                <a:gd name="T65" fmla="*/ 2624 h 2625"/>
                <a:gd name="T66" fmla="*/ 2236 w 3082"/>
                <a:gd name="T67" fmla="*/ 2169 h 2625"/>
                <a:gd name="T68" fmla="*/ 2314 w 3082"/>
                <a:gd name="T69" fmla="*/ 2123 h 2625"/>
                <a:gd name="T70" fmla="*/ 1320 w 3082"/>
                <a:gd name="T71" fmla="*/ 177 h 2625"/>
                <a:gd name="T72" fmla="*/ 1094 w 3082"/>
                <a:gd name="T73" fmla="*/ 230 h 2625"/>
                <a:gd name="T74" fmla="*/ 1361 w 3082"/>
                <a:gd name="T75" fmla="*/ 54 h 2625"/>
                <a:gd name="T76" fmla="*/ 1345 w 3082"/>
                <a:gd name="T77" fmla="*/ 391 h 2625"/>
                <a:gd name="T78" fmla="*/ 1007 w 3082"/>
                <a:gd name="T79" fmla="*/ 313 h 2625"/>
                <a:gd name="T80" fmla="*/ 1174 w 3082"/>
                <a:gd name="T81" fmla="*/ 2 h 2625"/>
                <a:gd name="T82" fmla="*/ 1786 w 3082"/>
                <a:gd name="T83" fmla="*/ 89 h 2625"/>
                <a:gd name="T84" fmla="*/ 1490 w 3082"/>
                <a:gd name="T85" fmla="*/ 99 h 2625"/>
                <a:gd name="T86" fmla="*/ 2149 w 3082"/>
                <a:gd name="T87" fmla="*/ 9 h 2625"/>
                <a:gd name="T88" fmla="*/ 908 w 3082"/>
                <a:gd name="T89" fmla="*/ 365 h 2625"/>
                <a:gd name="T90" fmla="*/ 816 w 3082"/>
                <a:gd name="T91" fmla="*/ 336 h 2625"/>
                <a:gd name="T92" fmla="*/ 2672 w 3082"/>
                <a:gd name="T93" fmla="*/ 1878 h 2625"/>
                <a:gd name="T94" fmla="*/ 1737 w 3082"/>
                <a:gd name="T95" fmla="*/ 1879 h 2625"/>
                <a:gd name="T96" fmla="*/ 2104 w 3082"/>
                <a:gd name="T97" fmla="*/ 1888 h 2625"/>
                <a:gd name="T98" fmla="*/ 2174 w 3082"/>
                <a:gd name="T99" fmla="*/ 1888 h 2625"/>
                <a:gd name="T100" fmla="*/ 2719 w 3082"/>
                <a:gd name="T101" fmla="*/ 1481 h 2625"/>
                <a:gd name="T102" fmla="*/ 333 w 3082"/>
                <a:gd name="T103" fmla="*/ 1634 h 2625"/>
                <a:gd name="T104" fmla="*/ 110 w 3082"/>
                <a:gd name="T105" fmla="*/ 1707 h 2625"/>
                <a:gd name="T106" fmla="*/ 383 w 3082"/>
                <a:gd name="T107" fmla="*/ 1524 h 2625"/>
                <a:gd name="T108" fmla="*/ 351 w 3082"/>
                <a:gd name="T109" fmla="*/ 1860 h 2625"/>
                <a:gd name="T110" fmla="*/ 17 w 3082"/>
                <a:gd name="T111" fmla="*/ 1766 h 2625"/>
                <a:gd name="T112" fmla="*/ 200 w 3082"/>
                <a:gd name="T113" fmla="*/ 1464 h 2625"/>
                <a:gd name="T114" fmla="*/ 974 w 3082"/>
                <a:gd name="T115" fmla="*/ 1638 h 2625"/>
                <a:gd name="T116" fmla="*/ 1221 w 3082"/>
                <a:gd name="T117" fmla="*/ 1494 h 2625"/>
                <a:gd name="T118" fmla="*/ 1083 w 3082"/>
                <a:gd name="T119" fmla="*/ 1612 h 2625"/>
                <a:gd name="T120" fmla="*/ 1173 w 3082"/>
                <a:gd name="T121" fmla="*/ 1878 h 2625"/>
                <a:gd name="T122" fmla="*/ 1067 w 3082"/>
                <a:gd name="T123" fmla="*/ 1808 h 2625"/>
                <a:gd name="T124" fmla="*/ 777 w 3082"/>
                <a:gd name="T125" fmla="*/ 1480 h 26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082" h="2625">
                  <a:moveTo>
                    <a:pt x="1319" y="1480"/>
                  </a:moveTo>
                  <a:lnTo>
                    <a:pt x="1319" y="1478"/>
                  </a:lnTo>
                  <a:lnTo>
                    <a:pt x="1320" y="1476"/>
                  </a:lnTo>
                  <a:lnTo>
                    <a:pt x="1322" y="1473"/>
                  </a:lnTo>
                  <a:lnTo>
                    <a:pt x="1323" y="1472"/>
                  </a:lnTo>
                  <a:lnTo>
                    <a:pt x="1325" y="1471"/>
                  </a:lnTo>
                  <a:lnTo>
                    <a:pt x="1329" y="1470"/>
                  </a:lnTo>
                  <a:lnTo>
                    <a:pt x="1411" y="1470"/>
                  </a:lnTo>
                  <a:lnTo>
                    <a:pt x="1415" y="1471"/>
                  </a:lnTo>
                  <a:lnTo>
                    <a:pt x="1419" y="1473"/>
                  </a:lnTo>
                  <a:lnTo>
                    <a:pt x="1420" y="1474"/>
                  </a:lnTo>
                  <a:lnTo>
                    <a:pt x="1421" y="1476"/>
                  </a:lnTo>
                  <a:lnTo>
                    <a:pt x="1421" y="1478"/>
                  </a:lnTo>
                  <a:lnTo>
                    <a:pt x="1421" y="1480"/>
                  </a:lnTo>
                  <a:lnTo>
                    <a:pt x="1421" y="1879"/>
                  </a:lnTo>
                  <a:lnTo>
                    <a:pt x="1421" y="1881"/>
                  </a:lnTo>
                  <a:lnTo>
                    <a:pt x="1421" y="1883"/>
                  </a:lnTo>
                  <a:lnTo>
                    <a:pt x="1419" y="1886"/>
                  </a:lnTo>
                  <a:lnTo>
                    <a:pt x="1417" y="1887"/>
                  </a:lnTo>
                  <a:lnTo>
                    <a:pt x="1415" y="1888"/>
                  </a:lnTo>
                  <a:lnTo>
                    <a:pt x="1411" y="1889"/>
                  </a:lnTo>
                  <a:lnTo>
                    <a:pt x="1329" y="1889"/>
                  </a:lnTo>
                  <a:lnTo>
                    <a:pt x="1325" y="1888"/>
                  </a:lnTo>
                  <a:lnTo>
                    <a:pt x="1322" y="1886"/>
                  </a:lnTo>
                  <a:lnTo>
                    <a:pt x="1321" y="1885"/>
                  </a:lnTo>
                  <a:lnTo>
                    <a:pt x="1320" y="1883"/>
                  </a:lnTo>
                  <a:lnTo>
                    <a:pt x="1319" y="1881"/>
                  </a:lnTo>
                  <a:lnTo>
                    <a:pt x="1319" y="1879"/>
                  </a:lnTo>
                  <a:lnTo>
                    <a:pt x="1319" y="1480"/>
                  </a:lnTo>
                  <a:close/>
                  <a:moveTo>
                    <a:pt x="2184" y="729"/>
                  </a:moveTo>
                  <a:lnTo>
                    <a:pt x="2195" y="729"/>
                  </a:lnTo>
                  <a:lnTo>
                    <a:pt x="2206" y="730"/>
                  </a:lnTo>
                  <a:lnTo>
                    <a:pt x="2217" y="731"/>
                  </a:lnTo>
                  <a:lnTo>
                    <a:pt x="2227" y="733"/>
                  </a:lnTo>
                  <a:lnTo>
                    <a:pt x="2237" y="735"/>
                  </a:lnTo>
                  <a:lnTo>
                    <a:pt x="2246" y="737"/>
                  </a:lnTo>
                  <a:lnTo>
                    <a:pt x="2253" y="739"/>
                  </a:lnTo>
                  <a:lnTo>
                    <a:pt x="2259" y="741"/>
                  </a:lnTo>
                  <a:lnTo>
                    <a:pt x="2262" y="742"/>
                  </a:lnTo>
                  <a:lnTo>
                    <a:pt x="2264" y="744"/>
                  </a:lnTo>
                  <a:lnTo>
                    <a:pt x="2265" y="745"/>
                  </a:lnTo>
                  <a:lnTo>
                    <a:pt x="2266" y="747"/>
                  </a:lnTo>
                  <a:lnTo>
                    <a:pt x="2267" y="749"/>
                  </a:lnTo>
                  <a:lnTo>
                    <a:pt x="2267" y="752"/>
                  </a:lnTo>
                  <a:lnTo>
                    <a:pt x="2267" y="757"/>
                  </a:lnTo>
                  <a:lnTo>
                    <a:pt x="2248" y="818"/>
                  </a:lnTo>
                  <a:lnTo>
                    <a:pt x="2247" y="821"/>
                  </a:lnTo>
                  <a:lnTo>
                    <a:pt x="2246" y="823"/>
                  </a:lnTo>
                  <a:lnTo>
                    <a:pt x="2245" y="825"/>
                  </a:lnTo>
                  <a:lnTo>
                    <a:pt x="2243" y="826"/>
                  </a:lnTo>
                  <a:lnTo>
                    <a:pt x="2241" y="827"/>
                  </a:lnTo>
                  <a:lnTo>
                    <a:pt x="2239" y="827"/>
                  </a:lnTo>
                  <a:lnTo>
                    <a:pt x="2233" y="827"/>
                  </a:lnTo>
                  <a:lnTo>
                    <a:pt x="2223" y="823"/>
                  </a:lnTo>
                  <a:lnTo>
                    <a:pt x="2213" y="821"/>
                  </a:lnTo>
                  <a:lnTo>
                    <a:pt x="2204" y="819"/>
                  </a:lnTo>
                  <a:lnTo>
                    <a:pt x="2194" y="818"/>
                  </a:lnTo>
                  <a:lnTo>
                    <a:pt x="2188" y="819"/>
                  </a:lnTo>
                  <a:lnTo>
                    <a:pt x="2185" y="819"/>
                  </a:lnTo>
                  <a:lnTo>
                    <a:pt x="2182" y="820"/>
                  </a:lnTo>
                  <a:lnTo>
                    <a:pt x="2180" y="821"/>
                  </a:lnTo>
                  <a:lnTo>
                    <a:pt x="2177" y="823"/>
                  </a:lnTo>
                  <a:lnTo>
                    <a:pt x="2173" y="826"/>
                  </a:lnTo>
                  <a:lnTo>
                    <a:pt x="2170" y="829"/>
                  </a:lnTo>
                  <a:lnTo>
                    <a:pt x="2169" y="831"/>
                  </a:lnTo>
                  <a:lnTo>
                    <a:pt x="2168" y="834"/>
                  </a:lnTo>
                  <a:lnTo>
                    <a:pt x="2166" y="839"/>
                  </a:lnTo>
                  <a:lnTo>
                    <a:pt x="2166" y="844"/>
                  </a:lnTo>
                  <a:lnTo>
                    <a:pt x="2167" y="850"/>
                  </a:lnTo>
                  <a:lnTo>
                    <a:pt x="2168" y="856"/>
                  </a:lnTo>
                  <a:lnTo>
                    <a:pt x="2171" y="862"/>
                  </a:lnTo>
                  <a:lnTo>
                    <a:pt x="2175" y="867"/>
                  </a:lnTo>
                  <a:lnTo>
                    <a:pt x="2179" y="872"/>
                  </a:lnTo>
                  <a:lnTo>
                    <a:pt x="2184" y="878"/>
                  </a:lnTo>
                  <a:lnTo>
                    <a:pt x="2195" y="890"/>
                  </a:lnTo>
                  <a:lnTo>
                    <a:pt x="2228" y="927"/>
                  </a:lnTo>
                  <a:lnTo>
                    <a:pt x="2238" y="938"/>
                  </a:lnTo>
                  <a:lnTo>
                    <a:pt x="2248" y="950"/>
                  </a:lnTo>
                  <a:lnTo>
                    <a:pt x="2257" y="963"/>
                  </a:lnTo>
                  <a:lnTo>
                    <a:pt x="2266" y="977"/>
                  </a:lnTo>
                  <a:lnTo>
                    <a:pt x="2270" y="985"/>
                  </a:lnTo>
                  <a:lnTo>
                    <a:pt x="2273" y="992"/>
                  </a:lnTo>
                  <a:lnTo>
                    <a:pt x="2276" y="1000"/>
                  </a:lnTo>
                  <a:lnTo>
                    <a:pt x="2279" y="1007"/>
                  </a:lnTo>
                  <a:lnTo>
                    <a:pt x="2281" y="1015"/>
                  </a:lnTo>
                  <a:lnTo>
                    <a:pt x="2282" y="1023"/>
                  </a:lnTo>
                  <a:lnTo>
                    <a:pt x="2283" y="1031"/>
                  </a:lnTo>
                  <a:lnTo>
                    <a:pt x="2284" y="1039"/>
                  </a:lnTo>
                  <a:lnTo>
                    <a:pt x="2284" y="1047"/>
                  </a:lnTo>
                  <a:lnTo>
                    <a:pt x="2283" y="1054"/>
                  </a:lnTo>
                  <a:lnTo>
                    <a:pt x="2282" y="1061"/>
                  </a:lnTo>
                  <a:lnTo>
                    <a:pt x="2281" y="1068"/>
                  </a:lnTo>
                  <a:lnTo>
                    <a:pt x="2280" y="1075"/>
                  </a:lnTo>
                  <a:lnTo>
                    <a:pt x="2278" y="1081"/>
                  </a:lnTo>
                  <a:lnTo>
                    <a:pt x="2274" y="1093"/>
                  </a:lnTo>
                  <a:lnTo>
                    <a:pt x="2268" y="1104"/>
                  </a:lnTo>
                  <a:lnTo>
                    <a:pt x="2265" y="1109"/>
                  </a:lnTo>
                  <a:lnTo>
                    <a:pt x="2262" y="1114"/>
                  </a:lnTo>
                  <a:lnTo>
                    <a:pt x="2258" y="1119"/>
                  </a:lnTo>
                  <a:lnTo>
                    <a:pt x="2255" y="1123"/>
                  </a:lnTo>
                  <a:lnTo>
                    <a:pt x="2246" y="1131"/>
                  </a:lnTo>
                  <a:lnTo>
                    <a:pt x="2237" y="1139"/>
                  </a:lnTo>
                  <a:lnTo>
                    <a:pt x="2227" y="1145"/>
                  </a:lnTo>
                  <a:lnTo>
                    <a:pt x="2217" y="1150"/>
                  </a:lnTo>
                  <a:lnTo>
                    <a:pt x="2205" y="1154"/>
                  </a:lnTo>
                  <a:lnTo>
                    <a:pt x="2193" y="1158"/>
                  </a:lnTo>
                  <a:lnTo>
                    <a:pt x="2187" y="1159"/>
                  </a:lnTo>
                  <a:lnTo>
                    <a:pt x="2181" y="1160"/>
                  </a:lnTo>
                  <a:lnTo>
                    <a:pt x="2168" y="1161"/>
                  </a:lnTo>
                  <a:lnTo>
                    <a:pt x="2155" y="1162"/>
                  </a:lnTo>
                  <a:lnTo>
                    <a:pt x="2143" y="1162"/>
                  </a:lnTo>
                  <a:lnTo>
                    <a:pt x="2131" y="1161"/>
                  </a:lnTo>
                  <a:lnTo>
                    <a:pt x="2118" y="1159"/>
                  </a:lnTo>
                  <a:lnTo>
                    <a:pt x="2106" y="1157"/>
                  </a:lnTo>
                  <a:lnTo>
                    <a:pt x="2094" y="1154"/>
                  </a:lnTo>
                  <a:lnTo>
                    <a:pt x="2083" y="1151"/>
                  </a:lnTo>
                  <a:lnTo>
                    <a:pt x="2073" y="1148"/>
                  </a:lnTo>
                  <a:lnTo>
                    <a:pt x="2064" y="1144"/>
                  </a:lnTo>
                  <a:lnTo>
                    <a:pt x="2062" y="1143"/>
                  </a:lnTo>
                  <a:lnTo>
                    <a:pt x="2059" y="1141"/>
                  </a:lnTo>
                  <a:lnTo>
                    <a:pt x="2058" y="1140"/>
                  </a:lnTo>
                  <a:lnTo>
                    <a:pt x="2057" y="1138"/>
                  </a:lnTo>
                  <a:lnTo>
                    <a:pt x="2057" y="1136"/>
                  </a:lnTo>
                  <a:lnTo>
                    <a:pt x="2056" y="1134"/>
                  </a:lnTo>
                  <a:lnTo>
                    <a:pt x="2057" y="1131"/>
                  </a:lnTo>
                  <a:lnTo>
                    <a:pt x="2077" y="1065"/>
                  </a:lnTo>
                  <a:lnTo>
                    <a:pt x="2078" y="1062"/>
                  </a:lnTo>
                  <a:lnTo>
                    <a:pt x="2079" y="1060"/>
                  </a:lnTo>
                  <a:lnTo>
                    <a:pt x="2080" y="1058"/>
                  </a:lnTo>
                  <a:lnTo>
                    <a:pt x="2082" y="1057"/>
                  </a:lnTo>
                  <a:lnTo>
                    <a:pt x="2084" y="1057"/>
                  </a:lnTo>
                  <a:lnTo>
                    <a:pt x="2086" y="1057"/>
                  </a:lnTo>
                  <a:lnTo>
                    <a:pt x="2088" y="1057"/>
                  </a:lnTo>
                  <a:lnTo>
                    <a:pt x="2091" y="1058"/>
                  </a:lnTo>
                  <a:lnTo>
                    <a:pt x="2098" y="1062"/>
                  </a:lnTo>
                  <a:lnTo>
                    <a:pt x="2106" y="1064"/>
                  </a:lnTo>
                  <a:lnTo>
                    <a:pt x="2113" y="1067"/>
                  </a:lnTo>
                  <a:lnTo>
                    <a:pt x="2120" y="1069"/>
                  </a:lnTo>
                  <a:lnTo>
                    <a:pt x="2128" y="1070"/>
                  </a:lnTo>
                  <a:lnTo>
                    <a:pt x="2135" y="1071"/>
                  </a:lnTo>
                  <a:lnTo>
                    <a:pt x="2142" y="1072"/>
                  </a:lnTo>
                  <a:lnTo>
                    <a:pt x="2148" y="1072"/>
                  </a:lnTo>
                  <a:lnTo>
                    <a:pt x="2157" y="1071"/>
                  </a:lnTo>
                  <a:lnTo>
                    <a:pt x="2161" y="1071"/>
                  </a:lnTo>
                  <a:lnTo>
                    <a:pt x="2165" y="1070"/>
                  </a:lnTo>
                  <a:lnTo>
                    <a:pt x="2171" y="1067"/>
                  </a:lnTo>
                  <a:lnTo>
                    <a:pt x="2176" y="1064"/>
                  </a:lnTo>
                  <a:lnTo>
                    <a:pt x="2180" y="1060"/>
                  </a:lnTo>
                  <a:lnTo>
                    <a:pt x="2182" y="1057"/>
                  </a:lnTo>
                  <a:lnTo>
                    <a:pt x="2183" y="1055"/>
                  </a:lnTo>
                  <a:lnTo>
                    <a:pt x="2185" y="1049"/>
                  </a:lnTo>
                  <a:lnTo>
                    <a:pt x="2186" y="1042"/>
                  </a:lnTo>
                  <a:lnTo>
                    <a:pt x="2185" y="1037"/>
                  </a:lnTo>
                  <a:lnTo>
                    <a:pt x="2184" y="1031"/>
                  </a:lnTo>
                  <a:lnTo>
                    <a:pt x="2181" y="1025"/>
                  </a:lnTo>
                  <a:lnTo>
                    <a:pt x="2178" y="1020"/>
                  </a:lnTo>
                  <a:lnTo>
                    <a:pt x="2175" y="1014"/>
                  </a:lnTo>
                  <a:lnTo>
                    <a:pt x="2170" y="1008"/>
                  </a:lnTo>
                  <a:lnTo>
                    <a:pt x="2161" y="997"/>
                  </a:lnTo>
                  <a:lnTo>
                    <a:pt x="2128" y="961"/>
                  </a:lnTo>
                  <a:lnTo>
                    <a:pt x="2116" y="948"/>
                  </a:lnTo>
                  <a:lnTo>
                    <a:pt x="2106" y="935"/>
                  </a:lnTo>
                  <a:lnTo>
                    <a:pt x="2095" y="922"/>
                  </a:lnTo>
                  <a:lnTo>
                    <a:pt x="2091" y="915"/>
                  </a:lnTo>
                  <a:lnTo>
                    <a:pt x="2086" y="908"/>
                  </a:lnTo>
                  <a:lnTo>
                    <a:pt x="2082" y="900"/>
                  </a:lnTo>
                  <a:lnTo>
                    <a:pt x="2079" y="893"/>
                  </a:lnTo>
                  <a:lnTo>
                    <a:pt x="2076" y="885"/>
                  </a:lnTo>
                  <a:lnTo>
                    <a:pt x="2073" y="877"/>
                  </a:lnTo>
                  <a:lnTo>
                    <a:pt x="2071" y="868"/>
                  </a:lnTo>
                  <a:lnTo>
                    <a:pt x="2070" y="864"/>
                  </a:lnTo>
                  <a:lnTo>
                    <a:pt x="2069" y="859"/>
                  </a:lnTo>
                  <a:lnTo>
                    <a:pt x="2068" y="850"/>
                  </a:lnTo>
                  <a:lnTo>
                    <a:pt x="2068" y="841"/>
                  </a:lnTo>
                  <a:lnTo>
                    <a:pt x="2068" y="829"/>
                  </a:lnTo>
                  <a:lnTo>
                    <a:pt x="2070" y="817"/>
                  </a:lnTo>
                  <a:lnTo>
                    <a:pt x="2073" y="806"/>
                  </a:lnTo>
                  <a:lnTo>
                    <a:pt x="2077" y="795"/>
                  </a:lnTo>
                  <a:lnTo>
                    <a:pt x="2081" y="785"/>
                  </a:lnTo>
                  <a:lnTo>
                    <a:pt x="2087" y="776"/>
                  </a:lnTo>
                  <a:lnTo>
                    <a:pt x="2094" y="768"/>
                  </a:lnTo>
                  <a:lnTo>
                    <a:pt x="2101" y="760"/>
                  </a:lnTo>
                  <a:lnTo>
                    <a:pt x="2105" y="756"/>
                  </a:lnTo>
                  <a:lnTo>
                    <a:pt x="2109" y="753"/>
                  </a:lnTo>
                  <a:lnTo>
                    <a:pt x="2118" y="747"/>
                  </a:lnTo>
                  <a:lnTo>
                    <a:pt x="2123" y="744"/>
                  </a:lnTo>
                  <a:lnTo>
                    <a:pt x="2128" y="741"/>
                  </a:lnTo>
                  <a:lnTo>
                    <a:pt x="2138" y="737"/>
                  </a:lnTo>
                  <a:lnTo>
                    <a:pt x="2148" y="734"/>
                  </a:lnTo>
                  <a:lnTo>
                    <a:pt x="2160" y="731"/>
                  </a:lnTo>
                  <a:lnTo>
                    <a:pt x="2166" y="730"/>
                  </a:lnTo>
                  <a:lnTo>
                    <a:pt x="2172" y="730"/>
                  </a:lnTo>
                  <a:lnTo>
                    <a:pt x="2184" y="729"/>
                  </a:lnTo>
                  <a:close/>
                  <a:moveTo>
                    <a:pt x="2472" y="729"/>
                  </a:moveTo>
                  <a:lnTo>
                    <a:pt x="2483" y="729"/>
                  </a:lnTo>
                  <a:lnTo>
                    <a:pt x="2495" y="730"/>
                  </a:lnTo>
                  <a:lnTo>
                    <a:pt x="2505" y="731"/>
                  </a:lnTo>
                  <a:lnTo>
                    <a:pt x="2516" y="733"/>
                  </a:lnTo>
                  <a:lnTo>
                    <a:pt x="2525" y="735"/>
                  </a:lnTo>
                  <a:lnTo>
                    <a:pt x="2534" y="737"/>
                  </a:lnTo>
                  <a:lnTo>
                    <a:pt x="2542" y="739"/>
                  </a:lnTo>
                  <a:lnTo>
                    <a:pt x="2548" y="741"/>
                  </a:lnTo>
                  <a:lnTo>
                    <a:pt x="2550" y="742"/>
                  </a:lnTo>
                  <a:lnTo>
                    <a:pt x="2552" y="744"/>
                  </a:lnTo>
                  <a:lnTo>
                    <a:pt x="2554" y="745"/>
                  </a:lnTo>
                  <a:lnTo>
                    <a:pt x="2555" y="747"/>
                  </a:lnTo>
                  <a:lnTo>
                    <a:pt x="2555" y="749"/>
                  </a:lnTo>
                  <a:lnTo>
                    <a:pt x="2556" y="752"/>
                  </a:lnTo>
                  <a:lnTo>
                    <a:pt x="2555" y="757"/>
                  </a:lnTo>
                  <a:lnTo>
                    <a:pt x="2537" y="818"/>
                  </a:lnTo>
                  <a:lnTo>
                    <a:pt x="2536" y="821"/>
                  </a:lnTo>
                  <a:lnTo>
                    <a:pt x="2534" y="823"/>
                  </a:lnTo>
                  <a:lnTo>
                    <a:pt x="2533" y="825"/>
                  </a:lnTo>
                  <a:lnTo>
                    <a:pt x="2531" y="826"/>
                  </a:lnTo>
                  <a:lnTo>
                    <a:pt x="2529" y="827"/>
                  </a:lnTo>
                  <a:lnTo>
                    <a:pt x="2527" y="827"/>
                  </a:lnTo>
                  <a:lnTo>
                    <a:pt x="2522" y="827"/>
                  </a:lnTo>
                  <a:lnTo>
                    <a:pt x="2511" y="823"/>
                  </a:lnTo>
                  <a:lnTo>
                    <a:pt x="2501" y="821"/>
                  </a:lnTo>
                  <a:lnTo>
                    <a:pt x="2492" y="819"/>
                  </a:lnTo>
                  <a:lnTo>
                    <a:pt x="2483" y="818"/>
                  </a:lnTo>
                  <a:lnTo>
                    <a:pt x="2476" y="819"/>
                  </a:lnTo>
                  <a:lnTo>
                    <a:pt x="2473" y="819"/>
                  </a:lnTo>
                  <a:lnTo>
                    <a:pt x="2471" y="820"/>
                  </a:lnTo>
                  <a:lnTo>
                    <a:pt x="2468" y="821"/>
                  </a:lnTo>
                  <a:lnTo>
                    <a:pt x="2466" y="823"/>
                  </a:lnTo>
                  <a:lnTo>
                    <a:pt x="2462" y="826"/>
                  </a:lnTo>
                  <a:lnTo>
                    <a:pt x="2459" y="829"/>
                  </a:lnTo>
                  <a:lnTo>
                    <a:pt x="2457" y="831"/>
                  </a:lnTo>
                  <a:lnTo>
                    <a:pt x="2456" y="834"/>
                  </a:lnTo>
                  <a:lnTo>
                    <a:pt x="2455" y="839"/>
                  </a:lnTo>
                  <a:lnTo>
                    <a:pt x="2454" y="844"/>
                  </a:lnTo>
                  <a:lnTo>
                    <a:pt x="2455" y="850"/>
                  </a:lnTo>
                  <a:lnTo>
                    <a:pt x="2457" y="856"/>
                  </a:lnTo>
                  <a:lnTo>
                    <a:pt x="2459" y="862"/>
                  </a:lnTo>
                  <a:lnTo>
                    <a:pt x="2463" y="867"/>
                  </a:lnTo>
                  <a:lnTo>
                    <a:pt x="2467" y="872"/>
                  </a:lnTo>
                  <a:lnTo>
                    <a:pt x="2472" y="878"/>
                  </a:lnTo>
                  <a:lnTo>
                    <a:pt x="2483" y="890"/>
                  </a:lnTo>
                  <a:lnTo>
                    <a:pt x="2516" y="927"/>
                  </a:lnTo>
                  <a:lnTo>
                    <a:pt x="2526" y="938"/>
                  </a:lnTo>
                  <a:lnTo>
                    <a:pt x="2536" y="950"/>
                  </a:lnTo>
                  <a:lnTo>
                    <a:pt x="2546" y="963"/>
                  </a:lnTo>
                  <a:lnTo>
                    <a:pt x="2554" y="977"/>
                  </a:lnTo>
                  <a:lnTo>
                    <a:pt x="2558" y="985"/>
                  </a:lnTo>
                  <a:lnTo>
                    <a:pt x="2561" y="992"/>
                  </a:lnTo>
                  <a:lnTo>
                    <a:pt x="2564" y="1000"/>
                  </a:lnTo>
                  <a:lnTo>
                    <a:pt x="2567" y="1007"/>
                  </a:lnTo>
                  <a:lnTo>
                    <a:pt x="2569" y="1015"/>
                  </a:lnTo>
                  <a:lnTo>
                    <a:pt x="2571" y="1023"/>
                  </a:lnTo>
                  <a:lnTo>
                    <a:pt x="2572" y="1031"/>
                  </a:lnTo>
                  <a:lnTo>
                    <a:pt x="2572" y="1039"/>
                  </a:lnTo>
                  <a:lnTo>
                    <a:pt x="2572" y="1047"/>
                  </a:lnTo>
                  <a:lnTo>
                    <a:pt x="2571" y="1054"/>
                  </a:lnTo>
                  <a:lnTo>
                    <a:pt x="2571" y="1061"/>
                  </a:lnTo>
                  <a:lnTo>
                    <a:pt x="2569" y="1068"/>
                  </a:lnTo>
                  <a:lnTo>
                    <a:pt x="2568" y="1075"/>
                  </a:lnTo>
                  <a:lnTo>
                    <a:pt x="2566" y="1081"/>
                  </a:lnTo>
                  <a:lnTo>
                    <a:pt x="2562" y="1093"/>
                  </a:lnTo>
                  <a:lnTo>
                    <a:pt x="2557" y="1104"/>
                  </a:lnTo>
                  <a:lnTo>
                    <a:pt x="2554" y="1109"/>
                  </a:lnTo>
                  <a:lnTo>
                    <a:pt x="2550" y="1114"/>
                  </a:lnTo>
                  <a:lnTo>
                    <a:pt x="2547" y="1119"/>
                  </a:lnTo>
                  <a:lnTo>
                    <a:pt x="2543" y="1123"/>
                  </a:lnTo>
                  <a:lnTo>
                    <a:pt x="2535" y="1131"/>
                  </a:lnTo>
                  <a:lnTo>
                    <a:pt x="2526" y="1139"/>
                  </a:lnTo>
                  <a:lnTo>
                    <a:pt x="2516" y="1145"/>
                  </a:lnTo>
                  <a:lnTo>
                    <a:pt x="2510" y="1148"/>
                  </a:lnTo>
                  <a:lnTo>
                    <a:pt x="2505" y="1150"/>
                  </a:lnTo>
                  <a:lnTo>
                    <a:pt x="2494" y="1154"/>
                  </a:lnTo>
                  <a:lnTo>
                    <a:pt x="2482" y="1158"/>
                  </a:lnTo>
                  <a:lnTo>
                    <a:pt x="2476" y="1159"/>
                  </a:lnTo>
                  <a:lnTo>
                    <a:pt x="2469" y="1160"/>
                  </a:lnTo>
                  <a:lnTo>
                    <a:pt x="2456" y="1161"/>
                  </a:lnTo>
                  <a:lnTo>
                    <a:pt x="2443" y="1162"/>
                  </a:lnTo>
                  <a:lnTo>
                    <a:pt x="2431" y="1162"/>
                  </a:lnTo>
                  <a:lnTo>
                    <a:pt x="2419" y="1161"/>
                  </a:lnTo>
                  <a:lnTo>
                    <a:pt x="2407" y="1159"/>
                  </a:lnTo>
                  <a:lnTo>
                    <a:pt x="2395" y="1157"/>
                  </a:lnTo>
                  <a:lnTo>
                    <a:pt x="2383" y="1154"/>
                  </a:lnTo>
                  <a:lnTo>
                    <a:pt x="2372" y="1151"/>
                  </a:lnTo>
                  <a:lnTo>
                    <a:pt x="2362" y="1148"/>
                  </a:lnTo>
                  <a:lnTo>
                    <a:pt x="2353" y="1144"/>
                  </a:lnTo>
                  <a:lnTo>
                    <a:pt x="2350" y="1143"/>
                  </a:lnTo>
                  <a:lnTo>
                    <a:pt x="2348" y="1141"/>
                  </a:lnTo>
                  <a:lnTo>
                    <a:pt x="2346" y="1140"/>
                  </a:lnTo>
                  <a:lnTo>
                    <a:pt x="2345" y="1138"/>
                  </a:lnTo>
                  <a:lnTo>
                    <a:pt x="2345" y="1136"/>
                  </a:lnTo>
                  <a:lnTo>
                    <a:pt x="2345" y="1134"/>
                  </a:lnTo>
                  <a:lnTo>
                    <a:pt x="2346" y="1131"/>
                  </a:lnTo>
                  <a:lnTo>
                    <a:pt x="2365" y="1065"/>
                  </a:lnTo>
                  <a:lnTo>
                    <a:pt x="2366" y="1062"/>
                  </a:lnTo>
                  <a:lnTo>
                    <a:pt x="2367" y="1060"/>
                  </a:lnTo>
                  <a:lnTo>
                    <a:pt x="2369" y="1058"/>
                  </a:lnTo>
                  <a:lnTo>
                    <a:pt x="2370" y="1057"/>
                  </a:lnTo>
                  <a:lnTo>
                    <a:pt x="2372" y="1057"/>
                  </a:lnTo>
                  <a:lnTo>
                    <a:pt x="2374" y="1057"/>
                  </a:lnTo>
                  <a:lnTo>
                    <a:pt x="2377" y="1057"/>
                  </a:lnTo>
                  <a:lnTo>
                    <a:pt x="2379" y="1058"/>
                  </a:lnTo>
                  <a:lnTo>
                    <a:pt x="2387" y="1062"/>
                  </a:lnTo>
                  <a:lnTo>
                    <a:pt x="2394" y="1064"/>
                  </a:lnTo>
                  <a:lnTo>
                    <a:pt x="2401" y="1067"/>
                  </a:lnTo>
                  <a:lnTo>
                    <a:pt x="2409" y="1069"/>
                  </a:lnTo>
                  <a:lnTo>
                    <a:pt x="2416" y="1070"/>
                  </a:lnTo>
                  <a:lnTo>
                    <a:pt x="2423" y="1071"/>
                  </a:lnTo>
                  <a:lnTo>
                    <a:pt x="2430" y="1072"/>
                  </a:lnTo>
                  <a:lnTo>
                    <a:pt x="2437" y="1072"/>
                  </a:lnTo>
                  <a:lnTo>
                    <a:pt x="2446" y="1071"/>
                  </a:lnTo>
                  <a:lnTo>
                    <a:pt x="2449" y="1071"/>
                  </a:lnTo>
                  <a:lnTo>
                    <a:pt x="2453" y="1070"/>
                  </a:lnTo>
                  <a:lnTo>
                    <a:pt x="2460" y="1067"/>
                  </a:lnTo>
                  <a:lnTo>
                    <a:pt x="2465" y="1064"/>
                  </a:lnTo>
                  <a:lnTo>
                    <a:pt x="2469" y="1060"/>
                  </a:lnTo>
                  <a:lnTo>
                    <a:pt x="2470" y="1057"/>
                  </a:lnTo>
                  <a:lnTo>
                    <a:pt x="2472" y="1055"/>
                  </a:lnTo>
                  <a:lnTo>
                    <a:pt x="2473" y="1049"/>
                  </a:lnTo>
                  <a:lnTo>
                    <a:pt x="2474" y="1042"/>
                  </a:lnTo>
                  <a:lnTo>
                    <a:pt x="2473" y="1037"/>
                  </a:lnTo>
                  <a:lnTo>
                    <a:pt x="2472" y="1031"/>
                  </a:lnTo>
                  <a:lnTo>
                    <a:pt x="2470" y="1025"/>
                  </a:lnTo>
                  <a:lnTo>
                    <a:pt x="2467" y="1020"/>
                  </a:lnTo>
                  <a:lnTo>
                    <a:pt x="2463" y="1014"/>
                  </a:lnTo>
                  <a:lnTo>
                    <a:pt x="2459" y="1008"/>
                  </a:lnTo>
                  <a:lnTo>
                    <a:pt x="2449" y="997"/>
                  </a:lnTo>
                  <a:lnTo>
                    <a:pt x="2416" y="961"/>
                  </a:lnTo>
                  <a:lnTo>
                    <a:pt x="2405" y="948"/>
                  </a:lnTo>
                  <a:lnTo>
                    <a:pt x="2394" y="935"/>
                  </a:lnTo>
                  <a:lnTo>
                    <a:pt x="2384" y="922"/>
                  </a:lnTo>
                  <a:lnTo>
                    <a:pt x="2379" y="915"/>
                  </a:lnTo>
                  <a:lnTo>
                    <a:pt x="2375" y="908"/>
                  </a:lnTo>
                  <a:lnTo>
                    <a:pt x="2371" y="900"/>
                  </a:lnTo>
                  <a:lnTo>
                    <a:pt x="2367" y="893"/>
                  </a:lnTo>
                  <a:lnTo>
                    <a:pt x="2364" y="885"/>
                  </a:lnTo>
                  <a:lnTo>
                    <a:pt x="2361" y="877"/>
                  </a:lnTo>
                  <a:lnTo>
                    <a:pt x="2359" y="868"/>
                  </a:lnTo>
                  <a:lnTo>
                    <a:pt x="2358" y="864"/>
                  </a:lnTo>
                  <a:lnTo>
                    <a:pt x="2358" y="859"/>
                  </a:lnTo>
                  <a:lnTo>
                    <a:pt x="2357" y="850"/>
                  </a:lnTo>
                  <a:lnTo>
                    <a:pt x="2356" y="841"/>
                  </a:lnTo>
                  <a:lnTo>
                    <a:pt x="2357" y="829"/>
                  </a:lnTo>
                  <a:lnTo>
                    <a:pt x="2358" y="817"/>
                  </a:lnTo>
                  <a:lnTo>
                    <a:pt x="2361" y="806"/>
                  </a:lnTo>
                  <a:lnTo>
                    <a:pt x="2365" y="795"/>
                  </a:lnTo>
                  <a:lnTo>
                    <a:pt x="2370" y="785"/>
                  </a:lnTo>
                  <a:lnTo>
                    <a:pt x="2375" y="776"/>
                  </a:lnTo>
                  <a:lnTo>
                    <a:pt x="2382" y="768"/>
                  </a:lnTo>
                  <a:lnTo>
                    <a:pt x="2389" y="760"/>
                  </a:lnTo>
                  <a:lnTo>
                    <a:pt x="2393" y="756"/>
                  </a:lnTo>
                  <a:lnTo>
                    <a:pt x="2397" y="753"/>
                  </a:lnTo>
                  <a:lnTo>
                    <a:pt x="2406" y="747"/>
                  </a:lnTo>
                  <a:lnTo>
                    <a:pt x="2411" y="744"/>
                  </a:lnTo>
                  <a:lnTo>
                    <a:pt x="2416" y="741"/>
                  </a:lnTo>
                  <a:lnTo>
                    <a:pt x="2426" y="737"/>
                  </a:lnTo>
                  <a:lnTo>
                    <a:pt x="2437" y="734"/>
                  </a:lnTo>
                  <a:lnTo>
                    <a:pt x="2448" y="731"/>
                  </a:lnTo>
                  <a:lnTo>
                    <a:pt x="2454" y="730"/>
                  </a:lnTo>
                  <a:lnTo>
                    <a:pt x="2460" y="730"/>
                  </a:lnTo>
                  <a:lnTo>
                    <a:pt x="2472" y="729"/>
                  </a:lnTo>
                  <a:close/>
                  <a:moveTo>
                    <a:pt x="633" y="1006"/>
                  </a:moveTo>
                  <a:lnTo>
                    <a:pt x="733" y="1006"/>
                  </a:lnTo>
                  <a:lnTo>
                    <a:pt x="683" y="875"/>
                  </a:lnTo>
                  <a:lnTo>
                    <a:pt x="633" y="1006"/>
                  </a:lnTo>
                  <a:close/>
                  <a:moveTo>
                    <a:pt x="763" y="1088"/>
                  </a:moveTo>
                  <a:lnTo>
                    <a:pt x="603" y="1088"/>
                  </a:lnTo>
                  <a:lnTo>
                    <a:pt x="581" y="1145"/>
                  </a:lnTo>
                  <a:lnTo>
                    <a:pt x="580" y="1148"/>
                  </a:lnTo>
                  <a:lnTo>
                    <a:pt x="579" y="1150"/>
                  </a:lnTo>
                  <a:lnTo>
                    <a:pt x="577" y="1151"/>
                  </a:lnTo>
                  <a:lnTo>
                    <a:pt x="576" y="1153"/>
                  </a:lnTo>
                  <a:lnTo>
                    <a:pt x="572" y="1154"/>
                  </a:lnTo>
                  <a:lnTo>
                    <a:pt x="568" y="1155"/>
                  </a:lnTo>
                  <a:lnTo>
                    <a:pt x="489" y="1155"/>
                  </a:lnTo>
                  <a:lnTo>
                    <a:pt x="486" y="1155"/>
                  </a:lnTo>
                  <a:lnTo>
                    <a:pt x="484" y="1154"/>
                  </a:lnTo>
                  <a:lnTo>
                    <a:pt x="482" y="1153"/>
                  </a:lnTo>
                  <a:lnTo>
                    <a:pt x="481" y="1151"/>
                  </a:lnTo>
                  <a:lnTo>
                    <a:pt x="479" y="1149"/>
                  </a:lnTo>
                  <a:lnTo>
                    <a:pt x="479" y="1147"/>
                  </a:lnTo>
                  <a:lnTo>
                    <a:pt x="479" y="1144"/>
                  </a:lnTo>
                  <a:lnTo>
                    <a:pt x="480" y="1141"/>
                  </a:lnTo>
                  <a:lnTo>
                    <a:pt x="636" y="746"/>
                  </a:lnTo>
                  <a:lnTo>
                    <a:pt x="637" y="743"/>
                  </a:lnTo>
                  <a:lnTo>
                    <a:pt x="638" y="741"/>
                  </a:lnTo>
                  <a:lnTo>
                    <a:pt x="641" y="738"/>
                  </a:lnTo>
                  <a:lnTo>
                    <a:pt x="645" y="737"/>
                  </a:lnTo>
                  <a:lnTo>
                    <a:pt x="647" y="736"/>
                  </a:lnTo>
                  <a:lnTo>
                    <a:pt x="649" y="736"/>
                  </a:lnTo>
                  <a:lnTo>
                    <a:pt x="719" y="736"/>
                  </a:lnTo>
                  <a:lnTo>
                    <a:pt x="724" y="737"/>
                  </a:lnTo>
                  <a:lnTo>
                    <a:pt x="728" y="738"/>
                  </a:lnTo>
                  <a:lnTo>
                    <a:pt x="730" y="741"/>
                  </a:lnTo>
                  <a:lnTo>
                    <a:pt x="732" y="743"/>
                  </a:lnTo>
                  <a:lnTo>
                    <a:pt x="733" y="746"/>
                  </a:lnTo>
                  <a:lnTo>
                    <a:pt x="889" y="1141"/>
                  </a:lnTo>
                  <a:lnTo>
                    <a:pt x="890" y="1144"/>
                  </a:lnTo>
                  <a:lnTo>
                    <a:pt x="890" y="1147"/>
                  </a:lnTo>
                  <a:lnTo>
                    <a:pt x="890" y="1149"/>
                  </a:lnTo>
                  <a:lnTo>
                    <a:pt x="889" y="1151"/>
                  </a:lnTo>
                  <a:lnTo>
                    <a:pt x="887" y="1153"/>
                  </a:lnTo>
                  <a:lnTo>
                    <a:pt x="885" y="1154"/>
                  </a:lnTo>
                  <a:lnTo>
                    <a:pt x="883" y="1155"/>
                  </a:lnTo>
                  <a:lnTo>
                    <a:pt x="880" y="1155"/>
                  </a:lnTo>
                  <a:lnTo>
                    <a:pt x="800" y="1155"/>
                  </a:lnTo>
                  <a:lnTo>
                    <a:pt x="796" y="1154"/>
                  </a:lnTo>
                  <a:lnTo>
                    <a:pt x="794" y="1154"/>
                  </a:lnTo>
                  <a:lnTo>
                    <a:pt x="792" y="1153"/>
                  </a:lnTo>
                  <a:lnTo>
                    <a:pt x="790" y="1151"/>
                  </a:lnTo>
                  <a:lnTo>
                    <a:pt x="788" y="1150"/>
                  </a:lnTo>
                  <a:lnTo>
                    <a:pt x="787" y="1148"/>
                  </a:lnTo>
                  <a:lnTo>
                    <a:pt x="786" y="1145"/>
                  </a:lnTo>
                  <a:lnTo>
                    <a:pt x="763" y="1088"/>
                  </a:lnTo>
                  <a:close/>
                  <a:moveTo>
                    <a:pt x="292" y="912"/>
                  </a:moveTo>
                  <a:lnTo>
                    <a:pt x="428" y="1142"/>
                  </a:lnTo>
                  <a:lnTo>
                    <a:pt x="429" y="1144"/>
                  </a:lnTo>
                  <a:lnTo>
                    <a:pt x="429" y="1146"/>
                  </a:lnTo>
                  <a:lnTo>
                    <a:pt x="429" y="1148"/>
                  </a:lnTo>
                  <a:lnTo>
                    <a:pt x="429" y="1150"/>
                  </a:lnTo>
                  <a:lnTo>
                    <a:pt x="428" y="1152"/>
                  </a:lnTo>
                  <a:lnTo>
                    <a:pt x="426" y="1154"/>
                  </a:lnTo>
                  <a:lnTo>
                    <a:pt x="424" y="1154"/>
                  </a:lnTo>
                  <a:lnTo>
                    <a:pt x="421" y="1155"/>
                  </a:lnTo>
                  <a:lnTo>
                    <a:pt x="325" y="1155"/>
                  </a:lnTo>
                  <a:lnTo>
                    <a:pt x="321" y="1154"/>
                  </a:lnTo>
                  <a:lnTo>
                    <a:pt x="316" y="1152"/>
                  </a:lnTo>
                  <a:lnTo>
                    <a:pt x="315" y="1151"/>
                  </a:lnTo>
                  <a:lnTo>
                    <a:pt x="313" y="1150"/>
                  </a:lnTo>
                  <a:lnTo>
                    <a:pt x="310" y="1145"/>
                  </a:lnTo>
                  <a:lnTo>
                    <a:pt x="214" y="979"/>
                  </a:lnTo>
                  <a:lnTo>
                    <a:pt x="161" y="1044"/>
                  </a:lnTo>
                  <a:lnTo>
                    <a:pt x="161" y="1145"/>
                  </a:lnTo>
                  <a:lnTo>
                    <a:pt x="161" y="1147"/>
                  </a:lnTo>
                  <a:lnTo>
                    <a:pt x="160" y="1149"/>
                  </a:lnTo>
                  <a:lnTo>
                    <a:pt x="158" y="1152"/>
                  </a:lnTo>
                  <a:lnTo>
                    <a:pt x="157" y="1153"/>
                  </a:lnTo>
                  <a:lnTo>
                    <a:pt x="155" y="1154"/>
                  </a:lnTo>
                  <a:lnTo>
                    <a:pt x="151" y="1155"/>
                  </a:lnTo>
                  <a:lnTo>
                    <a:pt x="69" y="1155"/>
                  </a:lnTo>
                  <a:lnTo>
                    <a:pt x="65" y="1154"/>
                  </a:lnTo>
                  <a:lnTo>
                    <a:pt x="62" y="1152"/>
                  </a:lnTo>
                  <a:lnTo>
                    <a:pt x="60" y="1150"/>
                  </a:lnTo>
                  <a:lnTo>
                    <a:pt x="60" y="1149"/>
                  </a:lnTo>
                  <a:lnTo>
                    <a:pt x="59" y="1147"/>
                  </a:lnTo>
                  <a:lnTo>
                    <a:pt x="59" y="1145"/>
                  </a:lnTo>
                  <a:lnTo>
                    <a:pt x="59" y="746"/>
                  </a:lnTo>
                  <a:lnTo>
                    <a:pt x="59" y="744"/>
                  </a:lnTo>
                  <a:lnTo>
                    <a:pt x="60" y="742"/>
                  </a:lnTo>
                  <a:lnTo>
                    <a:pt x="62" y="739"/>
                  </a:lnTo>
                  <a:lnTo>
                    <a:pt x="63" y="738"/>
                  </a:lnTo>
                  <a:lnTo>
                    <a:pt x="65" y="737"/>
                  </a:lnTo>
                  <a:lnTo>
                    <a:pt x="69" y="736"/>
                  </a:lnTo>
                  <a:lnTo>
                    <a:pt x="151" y="736"/>
                  </a:lnTo>
                  <a:lnTo>
                    <a:pt x="155" y="737"/>
                  </a:lnTo>
                  <a:lnTo>
                    <a:pt x="158" y="739"/>
                  </a:lnTo>
                  <a:lnTo>
                    <a:pt x="159" y="740"/>
                  </a:lnTo>
                  <a:lnTo>
                    <a:pt x="160" y="742"/>
                  </a:lnTo>
                  <a:lnTo>
                    <a:pt x="161" y="744"/>
                  </a:lnTo>
                  <a:lnTo>
                    <a:pt x="161" y="746"/>
                  </a:lnTo>
                  <a:lnTo>
                    <a:pt x="161" y="921"/>
                  </a:lnTo>
                  <a:lnTo>
                    <a:pt x="304" y="746"/>
                  </a:lnTo>
                  <a:lnTo>
                    <a:pt x="308" y="742"/>
                  </a:lnTo>
                  <a:lnTo>
                    <a:pt x="310" y="740"/>
                  </a:lnTo>
                  <a:lnTo>
                    <a:pt x="312" y="739"/>
                  </a:lnTo>
                  <a:lnTo>
                    <a:pt x="314" y="738"/>
                  </a:lnTo>
                  <a:lnTo>
                    <a:pt x="317" y="737"/>
                  </a:lnTo>
                  <a:lnTo>
                    <a:pt x="319" y="736"/>
                  </a:lnTo>
                  <a:lnTo>
                    <a:pt x="322" y="736"/>
                  </a:lnTo>
                  <a:lnTo>
                    <a:pt x="418" y="736"/>
                  </a:lnTo>
                  <a:lnTo>
                    <a:pt x="421" y="737"/>
                  </a:lnTo>
                  <a:lnTo>
                    <a:pt x="423" y="738"/>
                  </a:lnTo>
                  <a:lnTo>
                    <a:pt x="425" y="739"/>
                  </a:lnTo>
                  <a:lnTo>
                    <a:pt x="426" y="741"/>
                  </a:lnTo>
                  <a:lnTo>
                    <a:pt x="426" y="744"/>
                  </a:lnTo>
                  <a:lnTo>
                    <a:pt x="426" y="746"/>
                  </a:lnTo>
                  <a:lnTo>
                    <a:pt x="425" y="749"/>
                  </a:lnTo>
                  <a:lnTo>
                    <a:pt x="424" y="751"/>
                  </a:lnTo>
                  <a:lnTo>
                    <a:pt x="292" y="912"/>
                  </a:lnTo>
                  <a:close/>
                  <a:moveTo>
                    <a:pt x="1819" y="1010"/>
                  </a:moveTo>
                  <a:lnTo>
                    <a:pt x="1872" y="1010"/>
                  </a:lnTo>
                  <a:lnTo>
                    <a:pt x="1845" y="883"/>
                  </a:lnTo>
                  <a:lnTo>
                    <a:pt x="1819" y="1010"/>
                  </a:lnTo>
                  <a:close/>
                  <a:moveTo>
                    <a:pt x="1887" y="1088"/>
                  </a:moveTo>
                  <a:lnTo>
                    <a:pt x="1805" y="1088"/>
                  </a:lnTo>
                  <a:lnTo>
                    <a:pt x="1793" y="1145"/>
                  </a:lnTo>
                  <a:lnTo>
                    <a:pt x="1792" y="1147"/>
                  </a:lnTo>
                  <a:lnTo>
                    <a:pt x="1791" y="1149"/>
                  </a:lnTo>
                  <a:lnTo>
                    <a:pt x="1788" y="1152"/>
                  </a:lnTo>
                  <a:lnTo>
                    <a:pt x="1787" y="1153"/>
                  </a:lnTo>
                  <a:lnTo>
                    <a:pt x="1785" y="1154"/>
                  </a:lnTo>
                  <a:lnTo>
                    <a:pt x="1783" y="1155"/>
                  </a:lnTo>
                  <a:lnTo>
                    <a:pt x="1781" y="1155"/>
                  </a:lnTo>
                  <a:lnTo>
                    <a:pt x="1708" y="1155"/>
                  </a:lnTo>
                  <a:lnTo>
                    <a:pt x="1706" y="1155"/>
                  </a:lnTo>
                  <a:lnTo>
                    <a:pt x="1704" y="1154"/>
                  </a:lnTo>
                  <a:lnTo>
                    <a:pt x="1702" y="1153"/>
                  </a:lnTo>
                  <a:lnTo>
                    <a:pt x="1701" y="1152"/>
                  </a:lnTo>
                  <a:lnTo>
                    <a:pt x="1700" y="1150"/>
                  </a:lnTo>
                  <a:lnTo>
                    <a:pt x="1700" y="1147"/>
                  </a:lnTo>
                  <a:lnTo>
                    <a:pt x="1701" y="1141"/>
                  </a:lnTo>
                  <a:lnTo>
                    <a:pt x="1793" y="746"/>
                  </a:lnTo>
                  <a:lnTo>
                    <a:pt x="1793" y="744"/>
                  </a:lnTo>
                  <a:lnTo>
                    <a:pt x="1794" y="742"/>
                  </a:lnTo>
                  <a:lnTo>
                    <a:pt x="1797" y="739"/>
                  </a:lnTo>
                  <a:lnTo>
                    <a:pt x="1799" y="738"/>
                  </a:lnTo>
                  <a:lnTo>
                    <a:pt x="1801" y="737"/>
                  </a:lnTo>
                  <a:lnTo>
                    <a:pt x="1806" y="736"/>
                  </a:lnTo>
                  <a:lnTo>
                    <a:pt x="1887" y="736"/>
                  </a:lnTo>
                  <a:lnTo>
                    <a:pt x="1889" y="736"/>
                  </a:lnTo>
                  <a:lnTo>
                    <a:pt x="1892" y="737"/>
                  </a:lnTo>
                  <a:lnTo>
                    <a:pt x="1896" y="739"/>
                  </a:lnTo>
                  <a:lnTo>
                    <a:pt x="1898" y="742"/>
                  </a:lnTo>
                  <a:lnTo>
                    <a:pt x="1899" y="744"/>
                  </a:lnTo>
                  <a:lnTo>
                    <a:pt x="1900" y="746"/>
                  </a:lnTo>
                  <a:lnTo>
                    <a:pt x="1992" y="1141"/>
                  </a:lnTo>
                  <a:lnTo>
                    <a:pt x="1993" y="1147"/>
                  </a:lnTo>
                  <a:lnTo>
                    <a:pt x="1992" y="1150"/>
                  </a:lnTo>
                  <a:lnTo>
                    <a:pt x="1992" y="1152"/>
                  </a:lnTo>
                  <a:lnTo>
                    <a:pt x="1990" y="1153"/>
                  </a:lnTo>
                  <a:lnTo>
                    <a:pt x="1989" y="1154"/>
                  </a:lnTo>
                  <a:lnTo>
                    <a:pt x="1984" y="1155"/>
                  </a:lnTo>
                  <a:lnTo>
                    <a:pt x="1910" y="1155"/>
                  </a:lnTo>
                  <a:lnTo>
                    <a:pt x="1906" y="1154"/>
                  </a:lnTo>
                  <a:lnTo>
                    <a:pt x="1902" y="1152"/>
                  </a:lnTo>
                  <a:lnTo>
                    <a:pt x="1901" y="1151"/>
                  </a:lnTo>
                  <a:lnTo>
                    <a:pt x="1900" y="1149"/>
                  </a:lnTo>
                  <a:lnTo>
                    <a:pt x="1899" y="1147"/>
                  </a:lnTo>
                  <a:lnTo>
                    <a:pt x="1898" y="1145"/>
                  </a:lnTo>
                  <a:lnTo>
                    <a:pt x="1887" y="1088"/>
                  </a:lnTo>
                  <a:close/>
                  <a:moveTo>
                    <a:pt x="937" y="991"/>
                  </a:moveTo>
                  <a:lnTo>
                    <a:pt x="937" y="746"/>
                  </a:lnTo>
                  <a:lnTo>
                    <a:pt x="937" y="744"/>
                  </a:lnTo>
                  <a:lnTo>
                    <a:pt x="938" y="742"/>
                  </a:lnTo>
                  <a:lnTo>
                    <a:pt x="940" y="739"/>
                  </a:lnTo>
                  <a:lnTo>
                    <a:pt x="941" y="738"/>
                  </a:lnTo>
                  <a:lnTo>
                    <a:pt x="943" y="737"/>
                  </a:lnTo>
                  <a:lnTo>
                    <a:pt x="947" y="736"/>
                  </a:lnTo>
                  <a:lnTo>
                    <a:pt x="1029" y="736"/>
                  </a:lnTo>
                  <a:lnTo>
                    <a:pt x="1033" y="737"/>
                  </a:lnTo>
                  <a:lnTo>
                    <a:pt x="1037" y="739"/>
                  </a:lnTo>
                  <a:lnTo>
                    <a:pt x="1038" y="740"/>
                  </a:lnTo>
                  <a:lnTo>
                    <a:pt x="1039" y="742"/>
                  </a:lnTo>
                  <a:lnTo>
                    <a:pt x="1039" y="744"/>
                  </a:lnTo>
                  <a:lnTo>
                    <a:pt x="1039" y="746"/>
                  </a:lnTo>
                  <a:lnTo>
                    <a:pt x="1039" y="986"/>
                  </a:lnTo>
                  <a:lnTo>
                    <a:pt x="1040" y="996"/>
                  </a:lnTo>
                  <a:lnTo>
                    <a:pt x="1041" y="1005"/>
                  </a:lnTo>
                  <a:lnTo>
                    <a:pt x="1042" y="1014"/>
                  </a:lnTo>
                  <a:lnTo>
                    <a:pt x="1044" y="1022"/>
                  </a:lnTo>
                  <a:lnTo>
                    <a:pt x="1047" y="1030"/>
                  </a:lnTo>
                  <a:lnTo>
                    <a:pt x="1050" y="1037"/>
                  </a:lnTo>
                  <a:lnTo>
                    <a:pt x="1054" y="1043"/>
                  </a:lnTo>
                  <a:lnTo>
                    <a:pt x="1058" y="1049"/>
                  </a:lnTo>
                  <a:lnTo>
                    <a:pt x="1063" y="1054"/>
                  </a:lnTo>
                  <a:lnTo>
                    <a:pt x="1068" y="1058"/>
                  </a:lnTo>
                  <a:lnTo>
                    <a:pt x="1074" y="1062"/>
                  </a:lnTo>
                  <a:lnTo>
                    <a:pt x="1077" y="1063"/>
                  </a:lnTo>
                  <a:lnTo>
                    <a:pt x="1080" y="1065"/>
                  </a:lnTo>
                  <a:lnTo>
                    <a:pt x="1087" y="1067"/>
                  </a:lnTo>
                  <a:lnTo>
                    <a:pt x="1094" y="1069"/>
                  </a:lnTo>
                  <a:lnTo>
                    <a:pt x="1102" y="1070"/>
                  </a:lnTo>
                  <a:lnTo>
                    <a:pt x="1110" y="1070"/>
                  </a:lnTo>
                  <a:lnTo>
                    <a:pt x="1118" y="1070"/>
                  </a:lnTo>
                  <a:lnTo>
                    <a:pt x="1126" y="1069"/>
                  </a:lnTo>
                  <a:lnTo>
                    <a:pt x="1133" y="1067"/>
                  </a:lnTo>
                  <a:lnTo>
                    <a:pt x="1140" y="1065"/>
                  </a:lnTo>
                  <a:lnTo>
                    <a:pt x="1146" y="1062"/>
                  </a:lnTo>
                  <a:lnTo>
                    <a:pt x="1149" y="1060"/>
                  </a:lnTo>
                  <a:lnTo>
                    <a:pt x="1152" y="1058"/>
                  </a:lnTo>
                  <a:lnTo>
                    <a:pt x="1157" y="1054"/>
                  </a:lnTo>
                  <a:lnTo>
                    <a:pt x="1162" y="1049"/>
                  </a:lnTo>
                  <a:lnTo>
                    <a:pt x="1166" y="1043"/>
                  </a:lnTo>
                  <a:lnTo>
                    <a:pt x="1170" y="1037"/>
                  </a:lnTo>
                  <a:lnTo>
                    <a:pt x="1173" y="1030"/>
                  </a:lnTo>
                  <a:lnTo>
                    <a:pt x="1176" y="1022"/>
                  </a:lnTo>
                  <a:lnTo>
                    <a:pt x="1178" y="1014"/>
                  </a:lnTo>
                  <a:lnTo>
                    <a:pt x="1180" y="1005"/>
                  </a:lnTo>
                  <a:lnTo>
                    <a:pt x="1180" y="996"/>
                  </a:lnTo>
                  <a:lnTo>
                    <a:pt x="1181" y="986"/>
                  </a:lnTo>
                  <a:lnTo>
                    <a:pt x="1181" y="746"/>
                  </a:lnTo>
                  <a:lnTo>
                    <a:pt x="1181" y="744"/>
                  </a:lnTo>
                  <a:lnTo>
                    <a:pt x="1182" y="742"/>
                  </a:lnTo>
                  <a:lnTo>
                    <a:pt x="1184" y="739"/>
                  </a:lnTo>
                  <a:lnTo>
                    <a:pt x="1185" y="738"/>
                  </a:lnTo>
                  <a:lnTo>
                    <a:pt x="1187" y="737"/>
                  </a:lnTo>
                  <a:lnTo>
                    <a:pt x="1191" y="736"/>
                  </a:lnTo>
                  <a:lnTo>
                    <a:pt x="1273" y="736"/>
                  </a:lnTo>
                  <a:lnTo>
                    <a:pt x="1277" y="737"/>
                  </a:lnTo>
                  <a:lnTo>
                    <a:pt x="1280" y="739"/>
                  </a:lnTo>
                  <a:lnTo>
                    <a:pt x="1281" y="740"/>
                  </a:lnTo>
                  <a:lnTo>
                    <a:pt x="1282" y="742"/>
                  </a:lnTo>
                  <a:lnTo>
                    <a:pt x="1283" y="744"/>
                  </a:lnTo>
                  <a:lnTo>
                    <a:pt x="1283" y="746"/>
                  </a:lnTo>
                  <a:lnTo>
                    <a:pt x="1283" y="991"/>
                  </a:lnTo>
                  <a:lnTo>
                    <a:pt x="1283" y="1002"/>
                  </a:lnTo>
                  <a:lnTo>
                    <a:pt x="1283" y="1007"/>
                  </a:lnTo>
                  <a:lnTo>
                    <a:pt x="1282" y="1013"/>
                  </a:lnTo>
                  <a:lnTo>
                    <a:pt x="1281" y="1023"/>
                  </a:lnTo>
                  <a:lnTo>
                    <a:pt x="1280" y="1033"/>
                  </a:lnTo>
                  <a:lnTo>
                    <a:pt x="1278" y="1042"/>
                  </a:lnTo>
                  <a:lnTo>
                    <a:pt x="1275" y="1051"/>
                  </a:lnTo>
                  <a:lnTo>
                    <a:pt x="1273" y="1060"/>
                  </a:lnTo>
                  <a:lnTo>
                    <a:pt x="1270" y="1068"/>
                  </a:lnTo>
                  <a:lnTo>
                    <a:pt x="1266" y="1076"/>
                  </a:lnTo>
                  <a:lnTo>
                    <a:pt x="1262" y="1084"/>
                  </a:lnTo>
                  <a:lnTo>
                    <a:pt x="1254" y="1098"/>
                  </a:lnTo>
                  <a:lnTo>
                    <a:pt x="1249" y="1104"/>
                  </a:lnTo>
                  <a:lnTo>
                    <a:pt x="1244" y="1110"/>
                  </a:lnTo>
                  <a:lnTo>
                    <a:pt x="1239" y="1116"/>
                  </a:lnTo>
                  <a:lnTo>
                    <a:pt x="1233" y="1121"/>
                  </a:lnTo>
                  <a:lnTo>
                    <a:pt x="1227" y="1126"/>
                  </a:lnTo>
                  <a:lnTo>
                    <a:pt x="1221" y="1131"/>
                  </a:lnTo>
                  <a:lnTo>
                    <a:pt x="1214" y="1135"/>
                  </a:lnTo>
                  <a:lnTo>
                    <a:pt x="1207" y="1139"/>
                  </a:lnTo>
                  <a:lnTo>
                    <a:pt x="1200" y="1143"/>
                  </a:lnTo>
                  <a:lnTo>
                    <a:pt x="1193" y="1146"/>
                  </a:lnTo>
                  <a:lnTo>
                    <a:pt x="1178" y="1152"/>
                  </a:lnTo>
                  <a:lnTo>
                    <a:pt x="1170" y="1154"/>
                  </a:lnTo>
                  <a:lnTo>
                    <a:pt x="1162" y="1156"/>
                  </a:lnTo>
                  <a:lnTo>
                    <a:pt x="1154" y="1158"/>
                  </a:lnTo>
                  <a:lnTo>
                    <a:pt x="1145" y="1159"/>
                  </a:lnTo>
                  <a:lnTo>
                    <a:pt x="1137" y="1160"/>
                  </a:lnTo>
                  <a:lnTo>
                    <a:pt x="1128" y="1161"/>
                  </a:lnTo>
                  <a:lnTo>
                    <a:pt x="1119" y="1162"/>
                  </a:lnTo>
                  <a:lnTo>
                    <a:pt x="1110" y="1162"/>
                  </a:lnTo>
                  <a:lnTo>
                    <a:pt x="1092" y="1161"/>
                  </a:lnTo>
                  <a:lnTo>
                    <a:pt x="1075" y="1159"/>
                  </a:lnTo>
                  <a:lnTo>
                    <a:pt x="1066" y="1158"/>
                  </a:lnTo>
                  <a:lnTo>
                    <a:pt x="1058" y="1156"/>
                  </a:lnTo>
                  <a:lnTo>
                    <a:pt x="1042" y="1152"/>
                  </a:lnTo>
                  <a:lnTo>
                    <a:pt x="1035" y="1149"/>
                  </a:lnTo>
                  <a:lnTo>
                    <a:pt x="1027" y="1146"/>
                  </a:lnTo>
                  <a:lnTo>
                    <a:pt x="1020" y="1143"/>
                  </a:lnTo>
                  <a:lnTo>
                    <a:pt x="1013" y="1139"/>
                  </a:lnTo>
                  <a:lnTo>
                    <a:pt x="1006" y="1135"/>
                  </a:lnTo>
                  <a:lnTo>
                    <a:pt x="1000" y="1131"/>
                  </a:lnTo>
                  <a:lnTo>
                    <a:pt x="993" y="1126"/>
                  </a:lnTo>
                  <a:lnTo>
                    <a:pt x="987" y="1121"/>
                  </a:lnTo>
                  <a:lnTo>
                    <a:pt x="982" y="1116"/>
                  </a:lnTo>
                  <a:lnTo>
                    <a:pt x="976" y="1110"/>
                  </a:lnTo>
                  <a:lnTo>
                    <a:pt x="966" y="1098"/>
                  </a:lnTo>
                  <a:lnTo>
                    <a:pt x="962" y="1091"/>
                  </a:lnTo>
                  <a:lnTo>
                    <a:pt x="958" y="1084"/>
                  </a:lnTo>
                  <a:lnTo>
                    <a:pt x="954" y="1076"/>
                  </a:lnTo>
                  <a:lnTo>
                    <a:pt x="951" y="1068"/>
                  </a:lnTo>
                  <a:lnTo>
                    <a:pt x="948" y="1060"/>
                  </a:lnTo>
                  <a:lnTo>
                    <a:pt x="945" y="1051"/>
                  </a:lnTo>
                  <a:lnTo>
                    <a:pt x="943" y="1042"/>
                  </a:lnTo>
                  <a:lnTo>
                    <a:pt x="941" y="1033"/>
                  </a:lnTo>
                  <a:lnTo>
                    <a:pt x="939" y="1023"/>
                  </a:lnTo>
                  <a:lnTo>
                    <a:pt x="938" y="1013"/>
                  </a:lnTo>
                  <a:lnTo>
                    <a:pt x="937" y="1002"/>
                  </a:lnTo>
                  <a:lnTo>
                    <a:pt x="937" y="991"/>
                  </a:lnTo>
                  <a:close/>
                  <a:moveTo>
                    <a:pt x="1479" y="824"/>
                  </a:moveTo>
                  <a:lnTo>
                    <a:pt x="1479" y="934"/>
                  </a:lnTo>
                  <a:lnTo>
                    <a:pt x="1514" y="934"/>
                  </a:lnTo>
                  <a:lnTo>
                    <a:pt x="1520" y="933"/>
                  </a:lnTo>
                  <a:lnTo>
                    <a:pt x="1526" y="933"/>
                  </a:lnTo>
                  <a:lnTo>
                    <a:pt x="1532" y="932"/>
                  </a:lnTo>
                  <a:lnTo>
                    <a:pt x="1538" y="930"/>
                  </a:lnTo>
                  <a:lnTo>
                    <a:pt x="1543" y="928"/>
                  </a:lnTo>
                  <a:lnTo>
                    <a:pt x="1547" y="926"/>
                  </a:lnTo>
                  <a:lnTo>
                    <a:pt x="1551" y="923"/>
                  </a:lnTo>
                  <a:lnTo>
                    <a:pt x="1555" y="919"/>
                  </a:lnTo>
                  <a:lnTo>
                    <a:pt x="1559" y="916"/>
                  </a:lnTo>
                  <a:lnTo>
                    <a:pt x="1562" y="912"/>
                  </a:lnTo>
                  <a:lnTo>
                    <a:pt x="1564" y="907"/>
                  </a:lnTo>
                  <a:lnTo>
                    <a:pt x="1566" y="902"/>
                  </a:lnTo>
                  <a:lnTo>
                    <a:pt x="1568" y="897"/>
                  </a:lnTo>
                  <a:lnTo>
                    <a:pt x="1569" y="891"/>
                  </a:lnTo>
                  <a:lnTo>
                    <a:pt x="1570" y="885"/>
                  </a:lnTo>
                  <a:lnTo>
                    <a:pt x="1570" y="879"/>
                  </a:lnTo>
                  <a:lnTo>
                    <a:pt x="1570" y="872"/>
                  </a:lnTo>
                  <a:lnTo>
                    <a:pt x="1569" y="866"/>
                  </a:lnTo>
                  <a:lnTo>
                    <a:pt x="1568" y="861"/>
                  </a:lnTo>
                  <a:lnTo>
                    <a:pt x="1566" y="855"/>
                  </a:lnTo>
                  <a:lnTo>
                    <a:pt x="1564" y="850"/>
                  </a:lnTo>
                  <a:lnTo>
                    <a:pt x="1562" y="846"/>
                  </a:lnTo>
                  <a:lnTo>
                    <a:pt x="1559" y="842"/>
                  </a:lnTo>
                  <a:lnTo>
                    <a:pt x="1555" y="838"/>
                  </a:lnTo>
                  <a:lnTo>
                    <a:pt x="1551" y="835"/>
                  </a:lnTo>
                  <a:lnTo>
                    <a:pt x="1547" y="832"/>
                  </a:lnTo>
                  <a:lnTo>
                    <a:pt x="1543" y="829"/>
                  </a:lnTo>
                  <a:lnTo>
                    <a:pt x="1538" y="827"/>
                  </a:lnTo>
                  <a:lnTo>
                    <a:pt x="1535" y="826"/>
                  </a:lnTo>
                  <a:lnTo>
                    <a:pt x="1532" y="826"/>
                  </a:lnTo>
                  <a:lnTo>
                    <a:pt x="1526" y="825"/>
                  </a:lnTo>
                  <a:lnTo>
                    <a:pt x="1520" y="824"/>
                  </a:lnTo>
                  <a:lnTo>
                    <a:pt x="1514" y="824"/>
                  </a:lnTo>
                  <a:lnTo>
                    <a:pt x="1479" y="824"/>
                  </a:lnTo>
                  <a:close/>
                  <a:moveTo>
                    <a:pt x="1514" y="736"/>
                  </a:moveTo>
                  <a:lnTo>
                    <a:pt x="1532" y="737"/>
                  </a:lnTo>
                  <a:lnTo>
                    <a:pt x="1549" y="738"/>
                  </a:lnTo>
                  <a:lnTo>
                    <a:pt x="1557" y="740"/>
                  </a:lnTo>
                  <a:lnTo>
                    <a:pt x="1565" y="741"/>
                  </a:lnTo>
                  <a:lnTo>
                    <a:pt x="1580" y="745"/>
                  </a:lnTo>
                  <a:lnTo>
                    <a:pt x="1588" y="748"/>
                  </a:lnTo>
                  <a:lnTo>
                    <a:pt x="1595" y="750"/>
                  </a:lnTo>
                  <a:lnTo>
                    <a:pt x="1608" y="757"/>
                  </a:lnTo>
                  <a:lnTo>
                    <a:pt x="1620" y="764"/>
                  </a:lnTo>
                  <a:lnTo>
                    <a:pt x="1626" y="768"/>
                  </a:lnTo>
                  <a:lnTo>
                    <a:pt x="1631" y="773"/>
                  </a:lnTo>
                  <a:lnTo>
                    <a:pt x="1637" y="777"/>
                  </a:lnTo>
                  <a:lnTo>
                    <a:pt x="1641" y="782"/>
                  </a:lnTo>
                  <a:lnTo>
                    <a:pt x="1646" y="787"/>
                  </a:lnTo>
                  <a:lnTo>
                    <a:pt x="1650" y="793"/>
                  </a:lnTo>
                  <a:lnTo>
                    <a:pt x="1654" y="798"/>
                  </a:lnTo>
                  <a:lnTo>
                    <a:pt x="1658" y="804"/>
                  </a:lnTo>
                  <a:lnTo>
                    <a:pt x="1661" y="811"/>
                  </a:lnTo>
                  <a:lnTo>
                    <a:pt x="1664" y="817"/>
                  </a:lnTo>
                  <a:lnTo>
                    <a:pt x="1667" y="824"/>
                  </a:lnTo>
                  <a:lnTo>
                    <a:pt x="1669" y="831"/>
                  </a:lnTo>
                  <a:lnTo>
                    <a:pt x="1671" y="838"/>
                  </a:lnTo>
                  <a:lnTo>
                    <a:pt x="1673" y="846"/>
                  </a:lnTo>
                  <a:lnTo>
                    <a:pt x="1674" y="854"/>
                  </a:lnTo>
                  <a:lnTo>
                    <a:pt x="1675" y="862"/>
                  </a:lnTo>
                  <a:lnTo>
                    <a:pt x="1676" y="870"/>
                  </a:lnTo>
                  <a:lnTo>
                    <a:pt x="1676" y="879"/>
                  </a:lnTo>
                  <a:lnTo>
                    <a:pt x="1676" y="887"/>
                  </a:lnTo>
                  <a:lnTo>
                    <a:pt x="1675" y="896"/>
                  </a:lnTo>
                  <a:lnTo>
                    <a:pt x="1674" y="904"/>
                  </a:lnTo>
                  <a:lnTo>
                    <a:pt x="1673" y="911"/>
                  </a:lnTo>
                  <a:lnTo>
                    <a:pt x="1669" y="926"/>
                  </a:lnTo>
                  <a:lnTo>
                    <a:pt x="1667" y="933"/>
                  </a:lnTo>
                  <a:lnTo>
                    <a:pt x="1664" y="940"/>
                  </a:lnTo>
                  <a:lnTo>
                    <a:pt x="1658" y="953"/>
                  </a:lnTo>
                  <a:lnTo>
                    <a:pt x="1654" y="959"/>
                  </a:lnTo>
                  <a:lnTo>
                    <a:pt x="1650" y="965"/>
                  </a:lnTo>
                  <a:lnTo>
                    <a:pt x="1642" y="975"/>
                  </a:lnTo>
                  <a:lnTo>
                    <a:pt x="1632" y="985"/>
                  </a:lnTo>
                  <a:lnTo>
                    <a:pt x="1626" y="989"/>
                  </a:lnTo>
                  <a:lnTo>
                    <a:pt x="1620" y="993"/>
                  </a:lnTo>
                  <a:lnTo>
                    <a:pt x="1614" y="997"/>
                  </a:lnTo>
                  <a:lnTo>
                    <a:pt x="1608" y="1001"/>
                  </a:lnTo>
                  <a:lnTo>
                    <a:pt x="1595" y="1007"/>
                  </a:lnTo>
                  <a:lnTo>
                    <a:pt x="1588" y="1009"/>
                  </a:lnTo>
                  <a:lnTo>
                    <a:pt x="1580" y="1012"/>
                  </a:lnTo>
                  <a:lnTo>
                    <a:pt x="1565" y="1016"/>
                  </a:lnTo>
                  <a:lnTo>
                    <a:pt x="1557" y="1018"/>
                  </a:lnTo>
                  <a:lnTo>
                    <a:pt x="1549" y="1019"/>
                  </a:lnTo>
                  <a:lnTo>
                    <a:pt x="1532" y="1021"/>
                  </a:lnTo>
                  <a:lnTo>
                    <a:pt x="1523" y="1021"/>
                  </a:lnTo>
                  <a:lnTo>
                    <a:pt x="1514" y="1021"/>
                  </a:lnTo>
                  <a:lnTo>
                    <a:pt x="1479" y="1021"/>
                  </a:lnTo>
                  <a:lnTo>
                    <a:pt x="1479" y="1145"/>
                  </a:lnTo>
                  <a:lnTo>
                    <a:pt x="1479" y="1147"/>
                  </a:lnTo>
                  <a:lnTo>
                    <a:pt x="1479" y="1149"/>
                  </a:lnTo>
                  <a:lnTo>
                    <a:pt x="1477" y="1152"/>
                  </a:lnTo>
                  <a:lnTo>
                    <a:pt x="1475" y="1153"/>
                  </a:lnTo>
                  <a:lnTo>
                    <a:pt x="1473" y="1154"/>
                  </a:lnTo>
                  <a:lnTo>
                    <a:pt x="1469" y="1155"/>
                  </a:lnTo>
                  <a:lnTo>
                    <a:pt x="1387" y="1155"/>
                  </a:lnTo>
                  <a:lnTo>
                    <a:pt x="1383" y="1154"/>
                  </a:lnTo>
                  <a:lnTo>
                    <a:pt x="1380" y="1152"/>
                  </a:lnTo>
                  <a:lnTo>
                    <a:pt x="1379" y="1150"/>
                  </a:lnTo>
                  <a:lnTo>
                    <a:pt x="1378" y="1149"/>
                  </a:lnTo>
                  <a:lnTo>
                    <a:pt x="1377" y="1147"/>
                  </a:lnTo>
                  <a:lnTo>
                    <a:pt x="1377" y="1145"/>
                  </a:lnTo>
                  <a:lnTo>
                    <a:pt x="1377" y="746"/>
                  </a:lnTo>
                  <a:lnTo>
                    <a:pt x="1377" y="744"/>
                  </a:lnTo>
                  <a:lnTo>
                    <a:pt x="1378" y="742"/>
                  </a:lnTo>
                  <a:lnTo>
                    <a:pt x="1380" y="739"/>
                  </a:lnTo>
                  <a:lnTo>
                    <a:pt x="1381" y="738"/>
                  </a:lnTo>
                  <a:lnTo>
                    <a:pt x="1383" y="737"/>
                  </a:lnTo>
                  <a:lnTo>
                    <a:pt x="1387" y="736"/>
                  </a:lnTo>
                  <a:lnTo>
                    <a:pt x="1514" y="736"/>
                  </a:lnTo>
                  <a:close/>
                  <a:moveTo>
                    <a:pt x="2767" y="1006"/>
                  </a:moveTo>
                  <a:lnTo>
                    <a:pt x="2866" y="1006"/>
                  </a:lnTo>
                  <a:lnTo>
                    <a:pt x="2817" y="875"/>
                  </a:lnTo>
                  <a:lnTo>
                    <a:pt x="2767" y="1006"/>
                  </a:lnTo>
                  <a:close/>
                  <a:moveTo>
                    <a:pt x="2897" y="1088"/>
                  </a:moveTo>
                  <a:lnTo>
                    <a:pt x="2737" y="1088"/>
                  </a:lnTo>
                  <a:lnTo>
                    <a:pt x="2715" y="1145"/>
                  </a:lnTo>
                  <a:lnTo>
                    <a:pt x="2714" y="1148"/>
                  </a:lnTo>
                  <a:lnTo>
                    <a:pt x="2713" y="1150"/>
                  </a:lnTo>
                  <a:lnTo>
                    <a:pt x="2711" y="1151"/>
                  </a:lnTo>
                  <a:lnTo>
                    <a:pt x="2710" y="1153"/>
                  </a:lnTo>
                  <a:lnTo>
                    <a:pt x="2706" y="1154"/>
                  </a:lnTo>
                  <a:lnTo>
                    <a:pt x="2701" y="1155"/>
                  </a:lnTo>
                  <a:lnTo>
                    <a:pt x="2623" y="1155"/>
                  </a:lnTo>
                  <a:lnTo>
                    <a:pt x="2620" y="1155"/>
                  </a:lnTo>
                  <a:lnTo>
                    <a:pt x="2618" y="1154"/>
                  </a:lnTo>
                  <a:lnTo>
                    <a:pt x="2616" y="1153"/>
                  </a:lnTo>
                  <a:lnTo>
                    <a:pt x="2614" y="1151"/>
                  </a:lnTo>
                  <a:lnTo>
                    <a:pt x="2613" y="1149"/>
                  </a:lnTo>
                  <a:lnTo>
                    <a:pt x="2613" y="1147"/>
                  </a:lnTo>
                  <a:lnTo>
                    <a:pt x="2613" y="1144"/>
                  </a:lnTo>
                  <a:lnTo>
                    <a:pt x="2614" y="1141"/>
                  </a:lnTo>
                  <a:lnTo>
                    <a:pt x="2769" y="746"/>
                  </a:lnTo>
                  <a:lnTo>
                    <a:pt x="2770" y="743"/>
                  </a:lnTo>
                  <a:lnTo>
                    <a:pt x="2772" y="741"/>
                  </a:lnTo>
                  <a:lnTo>
                    <a:pt x="2775" y="738"/>
                  </a:lnTo>
                  <a:lnTo>
                    <a:pt x="2779" y="737"/>
                  </a:lnTo>
                  <a:lnTo>
                    <a:pt x="2781" y="736"/>
                  </a:lnTo>
                  <a:lnTo>
                    <a:pt x="2783" y="736"/>
                  </a:lnTo>
                  <a:lnTo>
                    <a:pt x="2853" y="736"/>
                  </a:lnTo>
                  <a:lnTo>
                    <a:pt x="2858" y="737"/>
                  </a:lnTo>
                  <a:lnTo>
                    <a:pt x="2861" y="738"/>
                  </a:lnTo>
                  <a:lnTo>
                    <a:pt x="2864" y="741"/>
                  </a:lnTo>
                  <a:lnTo>
                    <a:pt x="2865" y="743"/>
                  </a:lnTo>
                  <a:lnTo>
                    <a:pt x="2866" y="746"/>
                  </a:lnTo>
                  <a:lnTo>
                    <a:pt x="3022" y="1141"/>
                  </a:lnTo>
                  <a:lnTo>
                    <a:pt x="3023" y="1144"/>
                  </a:lnTo>
                  <a:lnTo>
                    <a:pt x="3023" y="1147"/>
                  </a:lnTo>
                  <a:lnTo>
                    <a:pt x="3023" y="1149"/>
                  </a:lnTo>
                  <a:lnTo>
                    <a:pt x="3021" y="1151"/>
                  </a:lnTo>
                  <a:lnTo>
                    <a:pt x="3020" y="1153"/>
                  </a:lnTo>
                  <a:lnTo>
                    <a:pt x="3018" y="1154"/>
                  </a:lnTo>
                  <a:lnTo>
                    <a:pt x="3016" y="1155"/>
                  </a:lnTo>
                  <a:lnTo>
                    <a:pt x="3013" y="1155"/>
                  </a:lnTo>
                  <a:lnTo>
                    <a:pt x="2933" y="1155"/>
                  </a:lnTo>
                  <a:lnTo>
                    <a:pt x="2928" y="1154"/>
                  </a:lnTo>
                  <a:lnTo>
                    <a:pt x="2926" y="1154"/>
                  </a:lnTo>
                  <a:lnTo>
                    <a:pt x="2925" y="1153"/>
                  </a:lnTo>
                  <a:lnTo>
                    <a:pt x="2923" y="1151"/>
                  </a:lnTo>
                  <a:lnTo>
                    <a:pt x="2921" y="1150"/>
                  </a:lnTo>
                  <a:lnTo>
                    <a:pt x="2920" y="1148"/>
                  </a:lnTo>
                  <a:lnTo>
                    <a:pt x="2919" y="1145"/>
                  </a:lnTo>
                  <a:lnTo>
                    <a:pt x="2897" y="1088"/>
                  </a:lnTo>
                  <a:close/>
                  <a:moveTo>
                    <a:pt x="696" y="2625"/>
                  </a:moveTo>
                  <a:lnTo>
                    <a:pt x="614" y="2625"/>
                  </a:lnTo>
                  <a:lnTo>
                    <a:pt x="610" y="2624"/>
                  </a:lnTo>
                  <a:lnTo>
                    <a:pt x="607" y="2622"/>
                  </a:lnTo>
                  <a:lnTo>
                    <a:pt x="605" y="2621"/>
                  </a:lnTo>
                  <a:lnTo>
                    <a:pt x="605" y="2619"/>
                  </a:lnTo>
                  <a:lnTo>
                    <a:pt x="604" y="2617"/>
                  </a:lnTo>
                  <a:lnTo>
                    <a:pt x="604" y="2615"/>
                  </a:lnTo>
                  <a:lnTo>
                    <a:pt x="604" y="2217"/>
                  </a:lnTo>
                  <a:lnTo>
                    <a:pt x="604" y="2214"/>
                  </a:lnTo>
                  <a:lnTo>
                    <a:pt x="605" y="2212"/>
                  </a:lnTo>
                  <a:lnTo>
                    <a:pt x="607" y="2209"/>
                  </a:lnTo>
                  <a:lnTo>
                    <a:pt x="608" y="2208"/>
                  </a:lnTo>
                  <a:lnTo>
                    <a:pt x="610" y="2207"/>
                  </a:lnTo>
                  <a:lnTo>
                    <a:pt x="614" y="2207"/>
                  </a:lnTo>
                  <a:lnTo>
                    <a:pt x="696" y="2207"/>
                  </a:lnTo>
                  <a:lnTo>
                    <a:pt x="700" y="2207"/>
                  </a:lnTo>
                  <a:lnTo>
                    <a:pt x="703" y="2209"/>
                  </a:lnTo>
                  <a:lnTo>
                    <a:pt x="704" y="2211"/>
                  </a:lnTo>
                  <a:lnTo>
                    <a:pt x="705" y="2212"/>
                  </a:lnTo>
                  <a:lnTo>
                    <a:pt x="706" y="2214"/>
                  </a:lnTo>
                  <a:lnTo>
                    <a:pt x="706" y="2217"/>
                  </a:lnTo>
                  <a:lnTo>
                    <a:pt x="706" y="2392"/>
                  </a:lnTo>
                  <a:lnTo>
                    <a:pt x="850" y="2216"/>
                  </a:lnTo>
                  <a:lnTo>
                    <a:pt x="854" y="2212"/>
                  </a:lnTo>
                  <a:lnTo>
                    <a:pt x="856" y="2210"/>
                  </a:lnTo>
                  <a:lnTo>
                    <a:pt x="858" y="2209"/>
                  </a:lnTo>
                  <a:lnTo>
                    <a:pt x="860" y="2208"/>
                  </a:lnTo>
                  <a:lnTo>
                    <a:pt x="863" y="2207"/>
                  </a:lnTo>
                  <a:lnTo>
                    <a:pt x="865" y="2207"/>
                  </a:lnTo>
                  <a:lnTo>
                    <a:pt x="868" y="2207"/>
                  </a:lnTo>
                  <a:lnTo>
                    <a:pt x="964" y="2207"/>
                  </a:lnTo>
                  <a:lnTo>
                    <a:pt x="967" y="2207"/>
                  </a:lnTo>
                  <a:lnTo>
                    <a:pt x="969" y="2208"/>
                  </a:lnTo>
                  <a:lnTo>
                    <a:pt x="971" y="2210"/>
                  </a:lnTo>
                  <a:lnTo>
                    <a:pt x="972" y="2212"/>
                  </a:lnTo>
                  <a:lnTo>
                    <a:pt x="972" y="2214"/>
                  </a:lnTo>
                  <a:lnTo>
                    <a:pt x="972" y="2216"/>
                  </a:lnTo>
                  <a:lnTo>
                    <a:pt x="971" y="2219"/>
                  </a:lnTo>
                  <a:lnTo>
                    <a:pt x="970" y="2221"/>
                  </a:lnTo>
                  <a:lnTo>
                    <a:pt x="838" y="2382"/>
                  </a:lnTo>
                  <a:lnTo>
                    <a:pt x="974" y="2612"/>
                  </a:lnTo>
                  <a:lnTo>
                    <a:pt x="975" y="2614"/>
                  </a:lnTo>
                  <a:lnTo>
                    <a:pt x="975" y="2617"/>
                  </a:lnTo>
                  <a:lnTo>
                    <a:pt x="975" y="2619"/>
                  </a:lnTo>
                  <a:lnTo>
                    <a:pt x="975" y="2621"/>
                  </a:lnTo>
                  <a:lnTo>
                    <a:pt x="974" y="2623"/>
                  </a:lnTo>
                  <a:lnTo>
                    <a:pt x="972" y="2624"/>
                  </a:lnTo>
                  <a:lnTo>
                    <a:pt x="970" y="2625"/>
                  </a:lnTo>
                  <a:lnTo>
                    <a:pt x="967" y="2625"/>
                  </a:lnTo>
                  <a:lnTo>
                    <a:pt x="871" y="2625"/>
                  </a:lnTo>
                  <a:lnTo>
                    <a:pt x="867" y="2625"/>
                  </a:lnTo>
                  <a:lnTo>
                    <a:pt x="862" y="2623"/>
                  </a:lnTo>
                  <a:lnTo>
                    <a:pt x="861" y="2622"/>
                  </a:lnTo>
                  <a:lnTo>
                    <a:pt x="859" y="2620"/>
                  </a:lnTo>
                  <a:lnTo>
                    <a:pt x="856" y="2616"/>
                  </a:lnTo>
                  <a:lnTo>
                    <a:pt x="759" y="2450"/>
                  </a:lnTo>
                  <a:lnTo>
                    <a:pt x="706" y="2514"/>
                  </a:lnTo>
                  <a:lnTo>
                    <a:pt x="706" y="2615"/>
                  </a:lnTo>
                  <a:lnTo>
                    <a:pt x="706" y="2617"/>
                  </a:lnTo>
                  <a:lnTo>
                    <a:pt x="705" y="2619"/>
                  </a:lnTo>
                  <a:lnTo>
                    <a:pt x="703" y="2622"/>
                  </a:lnTo>
                  <a:lnTo>
                    <a:pt x="702" y="2624"/>
                  </a:lnTo>
                  <a:lnTo>
                    <a:pt x="700" y="2624"/>
                  </a:lnTo>
                  <a:lnTo>
                    <a:pt x="696" y="2625"/>
                  </a:lnTo>
                  <a:close/>
                  <a:moveTo>
                    <a:pt x="1288" y="2177"/>
                  </a:moveTo>
                  <a:lnTo>
                    <a:pt x="1283" y="2177"/>
                  </a:lnTo>
                  <a:lnTo>
                    <a:pt x="1278" y="2176"/>
                  </a:lnTo>
                  <a:lnTo>
                    <a:pt x="1273" y="2175"/>
                  </a:lnTo>
                  <a:lnTo>
                    <a:pt x="1268" y="2173"/>
                  </a:lnTo>
                  <a:lnTo>
                    <a:pt x="1260" y="2169"/>
                  </a:lnTo>
                  <a:lnTo>
                    <a:pt x="1256" y="2166"/>
                  </a:lnTo>
                  <a:lnTo>
                    <a:pt x="1253" y="2163"/>
                  </a:lnTo>
                  <a:lnTo>
                    <a:pt x="1249" y="2160"/>
                  </a:lnTo>
                  <a:lnTo>
                    <a:pt x="1247" y="2156"/>
                  </a:lnTo>
                  <a:lnTo>
                    <a:pt x="1244" y="2152"/>
                  </a:lnTo>
                  <a:lnTo>
                    <a:pt x="1242" y="2148"/>
                  </a:lnTo>
                  <a:lnTo>
                    <a:pt x="1241" y="2143"/>
                  </a:lnTo>
                  <a:lnTo>
                    <a:pt x="1240" y="2138"/>
                  </a:lnTo>
                  <a:lnTo>
                    <a:pt x="1239" y="2133"/>
                  </a:lnTo>
                  <a:lnTo>
                    <a:pt x="1239" y="2128"/>
                  </a:lnTo>
                  <a:lnTo>
                    <a:pt x="1239" y="2123"/>
                  </a:lnTo>
                  <a:lnTo>
                    <a:pt x="1240" y="2118"/>
                  </a:lnTo>
                  <a:lnTo>
                    <a:pt x="1241" y="2113"/>
                  </a:lnTo>
                  <a:lnTo>
                    <a:pt x="1242" y="2108"/>
                  </a:lnTo>
                  <a:lnTo>
                    <a:pt x="1244" y="2104"/>
                  </a:lnTo>
                  <a:lnTo>
                    <a:pt x="1247" y="2100"/>
                  </a:lnTo>
                  <a:lnTo>
                    <a:pt x="1249" y="2096"/>
                  </a:lnTo>
                  <a:lnTo>
                    <a:pt x="1253" y="2093"/>
                  </a:lnTo>
                  <a:lnTo>
                    <a:pt x="1256" y="2090"/>
                  </a:lnTo>
                  <a:lnTo>
                    <a:pt x="1260" y="2087"/>
                  </a:lnTo>
                  <a:lnTo>
                    <a:pt x="1264" y="2084"/>
                  </a:lnTo>
                  <a:lnTo>
                    <a:pt x="1268" y="2082"/>
                  </a:lnTo>
                  <a:lnTo>
                    <a:pt x="1273" y="2081"/>
                  </a:lnTo>
                  <a:lnTo>
                    <a:pt x="1278" y="2080"/>
                  </a:lnTo>
                  <a:lnTo>
                    <a:pt x="1283" y="2079"/>
                  </a:lnTo>
                  <a:lnTo>
                    <a:pt x="1288" y="2079"/>
                  </a:lnTo>
                  <a:lnTo>
                    <a:pt x="1294" y="2079"/>
                  </a:lnTo>
                  <a:lnTo>
                    <a:pt x="1299" y="2080"/>
                  </a:lnTo>
                  <a:lnTo>
                    <a:pt x="1304" y="2081"/>
                  </a:lnTo>
                  <a:lnTo>
                    <a:pt x="1308" y="2082"/>
                  </a:lnTo>
                  <a:lnTo>
                    <a:pt x="1317" y="2087"/>
                  </a:lnTo>
                  <a:lnTo>
                    <a:pt x="1320" y="2090"/>
                  </a:lnTo>
                  <a:lnTo>
                    <a:pt x="1324" y="2093"/>
                  </a:lnTo>
                  <a:lnTo>
                    <a:pt x="1327" y="2096"/>
                  </a:lnTo>
                  <a:lnTo>
                    <a:pt x="1330" y="2100"/>
                  </a:lnTo>
                  <a:lnTo>
                    <a:pt x="1332" y="2104"/>
                  </a:lnTo>
                  <a:lnTo>
                    <a:pt x="1334" y="2108"/>
                  </a:lnTo>
                  <a:lnTo>
                    <a:pt x="1336" y="2113"/>
                  </a:lnTo>
                  <a:lnTo>
                    <a:pt x="1337" y="2118"/>
                  </a:lnTo>
                  <a:lnTo>
                    <a:pt x="1338" y="2123"/>
                  </a:lnTo>
                  <a:lnTo>
                    <a:pt x="1338" y="2128"/>
                  </a:lnTo>
                  <a:lnTo>
                    <a:pt x="1338" y="2133"/>
                  </a:lnTo>
                  <a:lnTo>
                    <a:pt x="1337" y="2138"/>
                  </a:lnTo>
                  <a:lnTo>
                    <a:pt x="1336" y="2143"/>
                  </a:lnTo>
                  <a:lnTo>
                    <a:pt x="1334" y="2148"/>
                  </a:lnTo>
                  <a:lnTo>
                    <a:pt x="1332" y="2152"/>
                  </a:lnTo>
                  <a:lnTo>
                    <a:pt x="1330" y="2156"/>
                  </a:lnTo>
                  <a:lnTo>
                    <a:pt x="1327" y="2160"/>
                  </a:lnTo>
                  <a:lnTo>
                    <a:pt x="1324" y="2163"/>
                  </a:lnTo>
                  <a:lnTo>
                    <a:pt x="1320" y="2166"/>
                  </a:lnTo>
                  <a:lnTo>
                    <a:pt x="1317" y="2169"/>
                  </a:lnTo>
                  <a:lnTo>
                    <a:pt x="1313" y="2171"/>
                  </a:lnTo>
                  <a:lnTo>
                    <a:pt x="1308" y="2173"/>
                  </a:lnTo>
                  <a:lnTo>
                    <a:pt x="1304" y="2175"/>
                  </a:lnTo>
                  <a:lnTo>
                    <a:pt x="1299" y="2176"/>
                  </a:lnTo>
                  <a:lnTo>
                    <a:pt x="1294" y="2177"/>
                  </a:lnTo>
                  <a:lnTo>
                    <a:pt x="1288" y="2177"/>
                  </a:lnTo>
                  <a:close/>
                  <a:moveTo>
                    <a:pt x="1173" y="2477"/>
                  </a:moveTo>
                  <a:lnTo>
                    <a:pt x="1272" y="2477"/>
                  </a:lnTo>
                  <a:lnTo>
                    <a:pt x="1223" y="2345"/>
                  </a:lnTo>
                  <a:lnTo>
                    <a:pt x="1173" y="2477"/>
                  </a:lnTo>
                  <a:close/>
                  <a:moveTo>
                    <a:pt x="1303" y="2558"/>
                  </a:moveTo>
                  <a:lnTo>
                    <a:pt x="1143" y="2558"/>
                  </a:lnTo>
                  <a:lnTo>
                    <a:pt x="1121" y="2616"/>
                  </a:lnTo>
                  <a:lnTo>
                    <a:pt x="1120" y="2618"/>
                  </a:lnTo>
                  <a:lnTo>
                    <a:pt x="1119" y="2620"/>
                  </a:lnTo>
                  <a:lnTo>
                    <a:pt x="1117" y="2622"/>
                  </a:lnTo>
                  <a:lnTo>
                    <a:pt x="1115" y="2623"/>
                  </a:lnTo>
                  <a:lnTo>
                    <a:pt x="1112" y="2625"/>
                  </a:lnTo>
                  <a:lnTo>
                    <a:pt x="1107" y="2625"/>
                  </a:lnTo>
                  <a:lnTo>
                    <a:pt x="1029" y="2625"/>
                  </a:lnTo>
                  <a:lnTo>
                    <a:pt x="1026" y="2625"/>
                  </a:lnTo>
                  <a:lnTo>
                    <a:pt x="1024" y="2624"/>
                  </a:lnTo>
                  <a:lnTo>
                    <a:pt x="1022" y="2623"/>
                  </a:lnTo>
                  <a:lnTo>
                    <a:pt x="1020" y="2622"/>
                  </a:lnTo>
                  <a:lnTo>
                    <a:pt x="1019" y="2620"/>
                  </a:lnTo>
                  <a:lnTo>
                    <a:pt x="1019" y="2617"/>
                  </a:lnTo>
                  <a:lnTo>
                    <a:pt x="1019" y="2615"/>
                  </a:lnTo>
                  <a:lnTo>
                    <a:pt x="1020" y="2612"/>
                  </a:lnTo>
                  <a:lnTo>
                    <a:pt x="1175" y="2216"/>
                  </a:lnTo>
                  <a:lnTo>
                    <a:pt x="1176" y="2214"/>
                  </a:lnTo>
                  <a:lnTo>
                    <a:pt x="1178" y="2212"/>
                  </a:lnTo>
                  <a:lnTo>
                    <a:pt x="1181" y="2209"/>
                  </a:lnTo>
                  <a:lnTo>
                    <a:pt x="1184" y="2207"/>
                  </a:lnTo>
                  <a:lnTo>
                    <a:pt x="1187" y="2207"/>
                  </a:lnTo>
                  <a:lnTo>
                    <a:pt x="1189" y="2207"/>
                  </a:lnTo>
                  <a:lnTo>
                    <a:pt x="1259" y="2207"/>
                  </a:lnTo>
                  <a:lnTo>
                    <a:pt x="1263" y="2207"/>
                  </a:lnTo>
                  <a:lnTo>
                    <a:pt x="1267" y="2209"/>
                  </a:lnTo>
                  <a:lnTo>
                    <a:pt x="1270" y="2212"/>
                  </a:lnTo>
                  <a:lnTo>
                    <a:pt x="1271" y="2214"/>
                  </a:lnTo>
                  <a:lnTo>
                    <a:pt x="1272" y="2216"/>
                  </a:lnTo>
                  <a:lnTo>
                    <a:pt x="1428" y="2612"/>
                  </a:lnTo>
                  <a:lnTo>
                    <a:pt x="1429" y="2615"/>
                  </a:lnTo>
                  <a:lnTo>
                    <a:pt x="1429" y="2617"/>
                  </a:lnTo>
                  <a:lnTo>
                    <a:pt x="1428" y="2620"/>
                  </a:lnTo>
                  <a:lnTo>
                    <a:pt x="1427" y="2622"/>
                  </a:lnTo>
                  <a:lnTo>
                    <a:pt x="1426" y="2623"/>
                  </a:lnTo>
                  <a:lnTo>
                    <a:pt x="1424" y="2624"/>
                  </a:lnTo>
                  <a:lnTo>
                    <a:pt x="1421" y="2625"/>
                  </a:lnTo>
                  <a:lnTo>
                    <a:pt x="1419" y="2625"/>
                  </a:lnTo>
                  <a:lnTo>
                    <a:pt x="1339" y="2625"/>
                  </a:lnTo>
                  <a:lnTo>
                    <a:pt x="1334" y="2625"/>
                  </a:lnTo>
                  <a:lnTo>
                    <a:pt x="1332" y="2624"/>
                  </a:lnTo>
                  <a:lnTo>
                    <a:pt x="1330" y="2623"/>
                  </a:lnTo>
                  <a:lnTo>
                    <a:pt x="1329" y="2622"/>
                  </a:lnTo>
                  <a:lnTo>
                    <a:pt x="1327" y="2620"/>
                  </a:lnTo>
                  <a:lnTo>
                    <a:pt x="1326" y="2618"/>
                  </a:lnTo>
                  <a:lnTo>
                    <a:pt x="1325" y="2616"/>
                  </a:lnTo>
                  <a:lnTo>
                    <a:pt x="1303" y="2558"/>
                  </a:lnTo>
                  <a:close/>
                  <a:moveTo>
                    <a:pt x="1156" y="2177"/>
                  </a:moveTo>
                  <a:lnTo>
                    <a:pt x="1151" y="2177"/>
                  </a:lnTo>
                  <a:lnTo>
                    <a:pt x="1146" y="2176"/>
                  </a:lnTo>
                  <a:lnTo>
                    <a:pt x="1141" y="2175"/>
                  </a:lnTo>
                  <a:lnTo>
                    <a:pt x="1136" y="2173"/>
                  </a:lnTo>
                  <a:lnTo>
                    <a:pt x="1128" y="2169"/>
                  </a:lnTo>
                  <a:lnTo>
                    <a:pt x="1124" y="2166"/>
                  </a:lnTo>
                  <a:lnTo>
                    <a:pt x="1121" y="2163"/>
                  </a:lnTo>
                  <a:lnTo>
                    <a:pt x="1118" y="2160"/>
                  </a:lnTo>
                  <a:lnTo>
                    <a:pt x="1115" y="2156"/>
                  </a:lnTo>
                  <a:lnTo>
                    <a:pt x="1112" y="2152"/>
                  </a:lnTo>
                  <a:lnTo>
                    <a:pt x="1110" y="2148"/>
                  </a:lnTo>
                  <a:lnTo>
                    <a:pt x="1109" y="2143"/>
                  </a:lnTo>
                  <a:lnTo>
                    <a:pt x="1108" y="2138"/>
                  </a:lnTo>
                  <a:lnTo>
                    <a:pt x="1107" y="2133"/>
                  </a:lnTo>
                  <a:lnTo>
                    <a:pt x="1107" y="2128"/>
                  </a:lnTo>
                  <a:lnTo>
                    <a:pt x="1107" y="2123"/>
                  </a:lnTo>
                  <a:lnTo>
                    <a:pt x="1108" y="2118"/>
                  </a:lnTo>
                  <a:lnTo>
                    <a:pt x="1109" y="2113"/>
                  </a:lnTo>
                  <a:lnTo>
                    <a:pt x="1110" y="2108"/>
                  </a:lnTo>
                  <a:lnTo>
                    <a:pt x="1112" y="2104"/>
                  </a:lnTo>
                  <a:lnTo>
                    <a:pt x="1115" y="2100"/>
                  </a:lnTo>
                  <a:lnTo>
                    <a:pt x="1118" y="2096"/>
                  </a:lnTo>
                  <a:lnTo>
                    <a:pt x="1121" y="2093"/>
                  </a:lnTo>
                  <a:lnTo>
                    <a:pt x="1124" y="2090"/>
                  </a:lnTo>
                  <a:lnTo>
                    <a:pt x="1128" y="2087"/>
                  </a:lnTo>
                  <a:lnTo>
                    <a:pt x="1132" y="2084"/>
                  </a:lnTo>
                  <a:lnTo>
                    <a:pt x="1136" y="2082"/>
                  </a:lnTo>
                  <a:lnTo>
                    <a:pt x="1141" y="2081"/>
                  </a:lnTo>
                  <a:lnTo>
                    <a:pt x="1146" y="2080"/>
                  </a:lnTo>
                  <a:lnTo>
                    <a:pt x="1151" y="2079"/>
                  </a:lnTo>
                  <a:lnTo>
                    <a:pt x="1156" y="2079"/>
                  </a:lnTo>
                  <a:lnTo>
                    <a:pt x="1162" y="2079"/>
                  </a:lnTo>
                  <a:lnTo>
                    <a:pt x="1167" y="2080"/>
                  </a:lnTo>
                  <a:lnTo>
                    <a:pt x="1172" y="2081"/>
                  </a:lnTo>
                  <a:lnTo>
                    <a:pt x="1176" y="2082"/>
                  </a:lnTo>
                  <a:lnTo>
                    <a:pt x="1185" y="2087"/>
                  </a:lnTo>
                  <a:lnTo>
                    <a:pt x="1189" y="2090"/>
                  </a:lnTo>
                  <a:lnTo>
                    <a:pt x="1192" y="2093"/>
                  </a:lnTo>
                  <a:lnTo>
                    <a:pt x="1195" y="2096"/>
                  </a:lnTo>
                  <a:lnTo>
                    <a:pt x="1198" y="2100"/>
                  </a:lnTo>
                  <a:lnTo>
                    <a:pt x="1200" y="2104"/>
                  </a:lnTo>
                  <a:lnTo>
                    <a:pt x="1202" y="2108"/>
                  </a:lnTo>
                  <a:lnTo>
                    <a:pt x="1204" y="2113"/>
                  </a:lnTo>
                  <a:lnTo>
                    <a:pt x="1205" y="2118"/>
                  </a:lnTo>
                  <a:lnTo>
                    <a:pt x="1206" y="2123"/>
                  </a:lnTo>
                  <a:lnTo>
                    <a:pt x="1206" y="2128"/>
                  </a:lnTo>
                  <a:lnTo>
                    <a:pt x="1206" y="2133"/>
                  </a:lnTo>
                  <a:lnTo>
                    <a:pt x="1205" y="2138"/>
                  </a:lnTo>
                  <a:lnTo>
                    <a:pt x="1204" y="2143"/>
                  </a:lnTo>
                  <a:lnTo>
                    <a:pt x="1202" y="2148"/>
                  </a:lnTo>
                  <a:lnTo>
                    <a:pt x="1200" y="2152"/>
                  </a:lnTo>
                  <a:lnTo>
                    <a:pt x="1198" y="2156"/>
                  </a:lnTo>
                  <a:lnTo>
                    <a:pt x="1195" y="2160"/>
                  </a:lnTo>
                  <a:lnTo>
                    <a:pt x="1192" y="2163"/>
                  </a:lnTo>
                  <a:lnTo>
                    <a:pt x="1189" y="2166"/>
                  </a:lnTo>
                  <a:lnTo>
                    <a:pt x="1185" y="2169"/>
                  </a:lnTo>
                  <a:lnTo>
                    <a:pt x="1181" y="2171"/>
                  </a:lnTo>
                  <a:lnTo>
                    <a:pt x="1176" y="2173"/>
                  </a:lnTo>
                  <a:lnTo>
                    <a:pt x="1172" y="2175"/>
                  </a:lnTo>
                  <a:lnTo>
                    <a:pt x="1167" y="2176"/>
                  </a:lnTo>
                  <a:lnTo>
                    <a:pt x="1162" y="2177"/>
                  </a:lnTo>
                  <a:lnTo>
                    <a:pt x="1156" y="2177"/>
                  </a:lnTo>
                  <a:close/>
                  <a:moveTo>
                    <a:pt x="1624" y="2446"/>
                  </a:moveTo>
                  <a:lnTo>
                    <a:pt x="1624" y="2615"/>
                  </a:lnTo>
                  <a:lnTo>
                    <a:pt x="1624" y="2617"/>
                  </a:lnTo>
                  <a:lnTo>
                    <a:pt x="1623" y="2619"/>
                  </a:lnTo>
                  <a:lnTo>
                    <a:pt x="1622" y="2622"/>
                  </a:lnTo>
                  <a:lnTo>
                    <a:pt x="1620" y="2623"/>
                  </a:lnTo>
                  <a:lnTo>
                    <a:pt x="1619" y="2624"/>
                  </a:lnTo>
                  <a:lnTo>
                    <a:pt x="1617" y="2625"/>
                  </a:lnTo>
                  <a:lnTo>
                    <a:pt x="1615" y="2625"/>
                  </a:lnTo>
                  <a:lnTo>
                    <a:pt x="1536" y="2625"/>
                  </a:lnTo>
                  <a:lnTo>
                    <a:pt x="1532" y="2624"/>
                  </a:lnTo>
                  <a:lnTo>
                    <a:pt x="1529" y="2622"/>
                  </a:lnTo>
                  <a:lnTo>
                    <a:pt x="1527" y="2619"/>
                  </a:lnTo>
                  <a:lnTo>
                    <a:pt x="1527" y="2617"/>
                  </a:lnTo>
                  <a:lnTo>
                    <a:pt x="1526" y="2615"/>
                  </a:lnTo>
                  <a:lnTo>
                    <a:pt x="1526" y="2446"/>
                  </a:lnTo>
                  <a:lnTo>
                    <a:pt x="1430" y="2220"/>
                  </a:lnTo>
                  <a:lnTo>
                    <a:pt x="1429" y="2217"/>
                  </a:lnTo>
                  <a:lnTo>
                    <a:pt x="1429" y="2214"/>
                  </a:lnTo>
                  <a:lnTo>
                    <a:pt x="1429" y="2212"/>
                  </a:lnTo>
                  <a:lnTo>
                    <a:pt x="1430" y="2210"/>
                  </a:lnTo>
                  <a:lnTo>
                    <a:pt x="1431" y="2209"/>
                  </a:lnTo>
                  <a:lnTo>
                    <a:pt x="1432" y="2208"/>
                  </a:lnTo>
                  <a:lnTo>
                    <a:pt x="1434" y="2207"/>
                  </a:lnTo>
                  <a:lnTo>
                    <a:pt x="1437" y="2207"/>
                  </a:lnTo>
                  <a:lnTo>
                    <a:pt x="1516" y="2207"/>
                  </a:lnTo>
                  <a:lnTo>
                    <a:pt x="1520" y="2207"/>
                  </a:lnTo>
                  <a:lnTo>
                    <a:pt x="1523" y="2208"/>
                  </a:lnTo>
                  <a:lnTo>
                    <a:pt x="1524" y="2209"/>
                  </a:lnTo>
                  <a:lnTo>
                    <a:pt x="1526" y="2210"/>
                  </a:lnTo>
                  <a:lnTo>
                    <a:pt x="1528" y="2211"/>
                  </a:lnTo>
                  <a:lnTo>
                    <a:pt x="1529" y="2213"/>
                  </a:lnTo>
                  <a:lnTo>
                    <a:pt x="1530" y="2215"/>
                  </a:lnTo>
                  <a:lnTo>
                    <a:pt x="1577" y="2342"/>
                  </a:lnTo>
                  <a:lnTo>
                    <a:pt x="1621" y="2215"/>
                  </a:lnTo>
                  <a:lnTo>
                    <a:pt x="1622" y="2213"/>
                  </a:lnTo>
                  <a:lnTo>
                    <a:pt x="1623" y="2211"/>
                  </a:lnTo>
                  <a:lnTo>
                    <a:pt x="1625" y="2210"/>
                  </a:lnTo>
                  <a:lnTo>
                    <a:pt x="1627" y="2209"/>
                  </a:lnTo>
                  <a:lnTo>
                    <a:pt x="1629" y="2208"/>
                  </a:lnTo>
                  <a:lnTo>
                    <a:pt x="1631" y="2207"/>
                  </a:lnTo>
                  <a:lnTo>
                    <a:pt x="1635" y="2207"/>
                  </a:lnTo>
                  <a:lnTo>
                    <a:pt x="1712" y="2207"/>
                  </a:lnTo>
                  <a:lnTo>
                    <a:pt x="1714" y="2207"/>
                  </a:lnTo>
                  <a:lnTo>
                    <a:pt x="1716" y="2208"/>
                  </a:lnTo>
                  <a:lnTo>
                    <a:pt x="1717" y="2209"/>
                  </a:lnTo>
                  <a:lnTo>
                    <a:pt x="1718" y="2210"/>
                  </a:lnTo>
                  <a:lnTo>
                    <a:pt x="1719" y="2212"/>
                  </a:lnTo>
                  <a:lnTo>
                    <a:pt x="1719" y="2214"/>
                  </a:lnTo>
                  <a:lnTo>
                    <a:pt x="1719" y="2217"/>
                  </a:lnTo>
                  <a:lnTo>
                    <a:pt x="1718" y="2220"/>
                  </a:lnTo>
                  <a:lnTo>
                    <a:pt x="1624" y="2446"/>
                  </a:lnTo>
                  <a:close/>
                  <a:moveTo>
                    <a:pt x="1929" y="2536"/>
                  </a:moveTo>
                  <a:lnTo>
                    <a:pt x="1941" y="2536"/>
                  </a:lnTo>
                  <a:lnTo>
                    <a:pt x="1947" y="2535"/>
                  </a:lnTo>
                  <a:lnTo>
                    <a:pt x="1953" y="2534"/>
                  </a:lnTo>
                  <a:lnTo>
                    <a:pt x="1964" y="2532"/>
                  </a:lnTo>
                  <a:lnTo>
                    <a:pt x="1975" y="2528"/>
                  </a:lnTo>
                  <a:lnTo>
                    <a:pt x="1980" y="2526"/>
                  </a:lnTo>
                  <a:lnTo>
                    <a:pt x="1985" y="2524"/>
                  </a:lnTo>
                  <a:lnTo>
                    <a:pt x="1995" y="2519"/>
                  </a:lnTo>
                  <a:lnTo>
                    <a:pt x="2004" y="2512"/>
                  </a:lnTo>
                  <a:lnTo>
                    <a:pt x="2012" y="2505"/>
                  </a:lnTo>
                  <a:lnTo>
                    <a:pt x="2019" y="2497"/>
                  </a:lnTo>
                  <a:lnTo>
                    <a:pt x="2026" y="2488"/>
                  </a:lnTo>
                  <a:lnTo>
                    <a:pt x="2032" y="2478"/>
                  </a:lnTo>
                  <a:lnTo>
                    <a:pt x="2034" y="2473"/>
                  </a:lnTo>
                  <a:lnTo>
                    <a:pt x="2036" y="2467"/>
                  </a:lnTo>
                  <a:lnTo>
                    <a:pt x="2038" y="2461"/>
                  </a:lnTo>
                  <a:lnTo>
                    <a:pt x="2040" y="2455"/>
                  </a:lnTo>
                  <a:lnTo>
                    <a:pt x="2043" y="2443"/>
                  </a:lnTo>
                  <a:lnTo>
                    <a:pt x="2045" y="2430"/>
                  </a:lnTo>
                  <a:lnTo>
                    <a:pt x="2045" y="2423"/>
                  </a:lnTo>
                  <a:lnTo>
                    <a:pt x="2045" y="2416"/>
                  </a:lnTo>
                  <a:lnTo>
                    <a:pt x="2045" y="2402"/>
                  </a:lnTo>
                  <a:lnTo>
                    <a:pt x="2043" y="2388"/>
                  </a:lnTo>
                  <a:lnTo>
                    <a:pt x="2040" y="2376"/>
                  </a:lnTo>
                  <a:lnTo>
                    <a:pt x="2036" y="2364"/>
                  </a:lnTo>
                  <a:lnTo>
                    <a:pt x="2032" y="2354"/>
                  </a:lnTo>
                  <a:lnTo>
                    <a:pt x="2026" y="2344"/>
                  </a:lnTo>
                  <a:lnTo>
                    <a:pt x="2023" y="2339"/>
                  </a:lnTo>
                  <a:lnTo>
                    <a:pt x="2019" y="2335"/>
                  </a:lnTo>
                  <a:lnTo>
                    <a:pt x="2012" y="2326"/>
                  </a:lnTo>
                  <a:lnTo>
                    <a:pt x="2008" y="2323"/>
                  </a:lnTo>
                  <a:lnTo>
                    <a:pt x="2004" y="2319"/>
                  </a:lnTo>
                  <a:lnTo>
                    <a:pt x="1995" y="2313"/>
                  </a:lnTo>
                  <a:lnTo>
                    <a:pt x="1990" y="2310"/>
                  </a:lnTo>
                  <a:lnTo>
                    <a:pt x="1985" y="2308"/>
                  </a:lnTo>
                  <a:lnTo>
                    <a:pt x="1980" y="2305"/>
                  </a:lnTo>
                  <a:lnTo>
                    <a:pt x="1975" y="2303"/>
                  </a:lnTo>
                  <a:lnTo>
                    <a:pt x="1964" y="2300"/>
                  </a:lnTo>
                  <a:lnTo>
                    <a:pt x="1953" y="2297"/>
                  </a:lnTo>
                  <a:lnTo>
                    <a:pt x="1947" y="2296"/>
                  </a:lnTo>
                  <a:lnTo>
                    <a:pt x="1941" y="2296"/>
                  </a:lnTo>
                  <a:lnTo>
                    <a:pt x="1929" y="2295"/>
                  </a:lnTo>
                  <a:lnTo>
                    <a:pt x="1888" y="2295"/>
                  </a:lnTo>
                  <a:lnTo>
                    <a:pt x="1888" y="2536"/>
                  </a:lnTo>
                  <a:lnTo>
                    <a:pt x="1929" y="2536"/>
                  </a:lnTo>
                  <a:close/>
                  <a:moveTo>
                    <a:pt x="1928" y="2207"/>
                  </a:moveTo>
                  <a:lnTo>
                    <a:pt x="1941" y="2207"/>
                  </a:lnTo>
                  <a:lnTo>
                    <a:pt x="1953" y="2207"/>
                  </a:lnTo>
                  <a:lnTo>
                    <a:pt x="1966" y="2209"/>
                  </a:lnTo>
                  <a:lnTo>
                    <a:pt x="1978" y="2210"/>
                  </a:lnTo>
                  <a:lnTo>
                    <a:pt x="1989" y="2212"/>
                  </a:lnTo>
                  <a:lnTo>
                    <a:pt x="2001" y="2215"/>
                  </a:lnTo>
                  <a:lnTo>
                    <a:pt x="2011" y="2218"/>
                  </a:lnTo>
                  <a:lnTo>
                    <a:pt x="2022" y="2222"/>
                  </a:lnTo>
                  <a:lnTo>
                    <a:pt x="2032" y="2225"/>
                  </a:lnTo>
                  <a:lnTo>
                    <a:pt x="2042" y="2230"/>
                  </a:lnTo>
                  <a:lnTo>
                    <a:pt x="2051" y="2235"/>
                  </a:lnTo>
                  <a:lnTo>
                    <a:pt x="2061" y="2240"/>
                  </a:lnTo>
                  <a:lnTo>
                    <a:pt x="2069" y="2245"/>
                  </a:lnTo>
                  <a:lnTo>
                    <a:pt x="2078" y="2251"/>
                  </a:lnTo>
                  <a:lnTo>
                    <a:pt x="2085" y="2257"/>
                  </a:lnTo>
                  <a:lnTo>
                    <a:pt x="2093" y="2264"/>
                  </a:lnTo>
                  <a:lnTo>
                    <a:pt x="2100" y="2271"/>
                  </a:lnTo>
                  <a:lnTo>
                    <a:pt x="2107" y="2279"/>
                  </a:lnTo>
                  <a:lnTo>
                    <a:pt x="2113" y="2286"/>
                  </a:lnTo>
                  <a:lnTo>
                    <a:pt x="2119" y="2294"/>
                  </a:lnTo>
                  <a:lnTo>
                    <a:pt x="2121" y="2299"/>
                  </a:lnTo>
                  <a:lnTo>
                    <a:pt x="2124" y="2303"/>
                  </a:lnTo>
                  <a:lnTo>
                    <a:pt x="2129" y="2312"/>
                  </a:lnTo>
                  <a:lnTo>
                    <a:pt x="2133" y="2321"/>
                  </a:lnTo>
                  <a:lnTo>
                    <a:pt x="2137" y="2330"/>
                  </a:lnTo>
                  <a:lnTo>
                    <a:pt x="2141" y="2340"/>
                  </a:lnTo>
                  <a:lnTo>
                    <a:pt x="2144" y="2350"/>
                  </a:lnTo>
                  <a:lnTo>
                    <a:pt x="2147" y="2360"/>
                  </a:lnTo>
                  <a:lnTo>
                    <a:pt x="2149" y="2371"/>
                  </a:lnTo>
                  <a:lnTo>
                    <a:pt x="2151" y="2382"/>
                  </a:lnTo>
                  <a:lnTo>
                    <a:pt x="2152" y="2393"/>
                  </a:lnTo>
                  <a:lnTo>
                    <a:pt x="2153" y="2404"/>
                  </a:lnTo>
                  <a:lnTo>
                    <a:pt x="2153" y="2416"/>
                  </a:lnTo>
                  <a:lnTo>
                    <a:pt x="2153" y="2427"/>
                  </a:lnTo>
                  <a:lnTo>
                    <a:pt x="2152" y="2439"/>
                  </a:lnTo>
                  <a:lnTo>
                    <a:pt x="2151" y="2450"/>
                  </a:lnTo>
                  <a:lnTo>
                    <a:pt x="2149" y="2461"/>
                  </a:lnTo>
                  <a:lnTo>
                    <a:pt x="2147" y="2471"/>
                  </a:lnTo>
                  <a:lnTo>
                    <a:pt x="2144" y="2481"/>
                  </a:lnTo>
                  <a:lnTo>
                    <a:pt x="2141" y="2491"/>
                  </a:lnTo>
                  <a:lnTo>
                    <a:pt x="2137" y="2501"/>
                  </a:lnTo>
                  <a:lnTo>
                    <a:pt x="2133" y="2511"/>
                  </a:lnTo>
                  <a:lnTo>
                    <a:pt x="2129" y="2520"/>
                  </a:lnTo>
                  <a:lnTo>
                    <a:pt x="2124" y="2528"/>
                  </a:lnTo>
                  <a:lnTo>
                    <a:pt x="2119" y="2537"/>
                  </a:lnTo>
                  <a:lnTo>
                    <a:pt x="2113" y="2545"/>
                  </a:lnTo>
                  <a:lnTo>
                    <a:pt x="2107" y="2553"/>
                  </a:lnTo>
                  <a:lnTo>
                    <a:pt x="2100" y="2560"/>
                  </a:lnTo>
                  <a:lnTo>
                    <a:pt x="2093" y="2567"/>
                  </a:lnTo>
                  <a:lnTo>
                    <a:pt x="2085" y="2574"/>
                  </a:lnTo>
                  <a:lnTo>
                    <a:pt x="2078" y="2580"/>
                  </a:lnTo>
                  <a:lnTo>
                    <a:pt x="2069" y="2586"/>
                  </a:lnTo>
                  <a:lnTo>
                    <a:pt x="2061" y="2592"/>
                  </a:lnTo>
                  <a:lnTo>
                    <a:pt x="2051" y="2597"/>
                  </a:lnTo>
                  <a:lnTo>
                    <a:pt x="2042" y="2602"/>
                  </a:lnTo>
                  <a:lnTo>
                    <a:pt x="2032" y="2606"/>
                  </a:lnTo>
                  <a:lnTo>
                    <a:pt x="2022" y="2610"/>
                  </a:lnTo>
                  <a:lnTo>
                    <a:pt x="2011" y="2613"/>
                  </a:lnTo>
                  <a:lnTo>
                    <a:pt x="2001" y="2616"/>
                  </a:lnTo>
                  <a:lnTo>
                    <a:pt x="1989" y="2619"/>
                  </a:lnTo>
                  <a:lnTo>
                    <a:pt x="1978" y="2621"/>
                  </a:lnTo>
                  <a:lnTo>
                    <a:pt x="1966" y="2623"/>
                  </a:lnTo>
                  <a:lnTo>
                    <a:pt x="1953" y="2624"/>
                  </a:lnTo>
                  <a:lnTo>
                    <a:pt x="1941" y="2625"/>
                  </a:lnTo>
                  <a:lnTo>
                    <a:pt x="1928" y="2625"/>
                  </a:lnTo>
                  <a:lnTo>
                    <a:pt x="1795" y="2625"/>
                  </a:lnTo>
                  <a:lnTo>
                    <a:pt x="1791" y="2624"/>
                  </a:lnTo>
                  <a:lnTo>
                    <a:pt x="1788" y="2622"/>
                  </a:lnTo>
                  <a:lnTo>
                    <a:pt x="1787" y="2621"/>
                  </a:lnTo>
                  <a:lnTo>
                    <a:pt x="1786" y="2619"/>
                  </a:lnTo>
                  <a:lnTo>
                    <a:pt x="1785" y="2617"/>
                  </a:lnTo>
                  <a:lnTo>
                    <a:pt x="1785" y="2615"/>
                  </a:lnTo>
                  <a:lnTo>
                    <a:pt x="1785" y="2217"/>
                  </a:lnTo>
                  <a:lnTo>
                    <a:pt x="1785" y="2214"/>
                  </a:lnTo>
                  <a:lnTo>
                    <a:pt x="1786" y="2212"/>
                  </a:lnTo>
                  <a:lnTo>
                    <a:pt x="1788" y="2209"/>
                  </a:lnTo>
                  <a:lnTo>
                    <a:pt x="1789" y="2208"/>
                  </a:lnTo>
                  <a:lnTo>
                    <a:pt x="1791" y="2207"/>
                  </a:lnTo>
                  <a:lnTo>
                    <a:pt x="1795" y="2207"/>
                  </a:lnTo>
                  <a:lnTo>
                    <a:pt x="1928" y="2207"/>
                  </a:lnTo>
                  <a:close/>
                  <a:moveTo>
                    <a:pt x="2397" y="2177"/>
                  </a:moveTo>
                  <a:lnTo>
                    <a:pt x="2392" y="2177"/>
                  </a:lnTo>
                  <a:lnTo>
                    <a:pt x="2386" y="2176"/>
                  </a:lnTo>
                  <a:lnTo>
                    <a:pt x="2382" y="2175"/>
                  </a:lnTo>
                  <a:lnTo>
                    <a:pt x="2377" y="2173"/>
                  </a:lnTo>
                  <a:lnTo>
                    <a:pt x="2368" y="2169"/>
                  </a:lnTo>
                  <a:lnTo>
                    <a:pt x="2365" y="2166"/>
                  </a:lnTo>
                  <a:lnTo>
                    <a:pt x="2361" y="2163"/>
                  </a:lnTo>
                  <a:lnTo>
                    <a:pt x="2358" y="2160"/>
                  </a:lnTo>
                  <a:lnTo>
                    <a:pt x="2355" y="2156"/>
                  </a:lnTo>
                  <a:lnTo>
                    <a:pt x="2353" y="2152"/>
                  </a:lnTo>
                  <a:lnTo>
                    <a:pt x="2351" y="2148"/>
                  </a:lnTo>
                  <a:lnTo>
                    <a:pt x="2349" y="2143"/>
                  </a:lnTo>
                  <a:lnTo>
                    <a:pt x="2348" y="2138"/>
                  </a:lnTo>
                  <a:lnTo>
                    <a:pt x="2347" y="2133"/>
                  </a:lnTo>
                  <a:lnTo>
                    <a:pt x="2347" y="2128"/>
                  </a:lnTo>
                  <a:lnTo>
                    <a:pt x="2347" y="2123"/>
                  </a:lnTo>
                  <a:lnTo>
                    <a:pt x="2348" y="2118"/>
                  </a:lnTo>
                  <a:lnTo>
                    <a:pt x="2349" y="2113"/>
                  </a:lnTo>
                  <a:lnTo>
                    <a:pt x="2351" y="2108"/>
                  </a:lnTo>
                  <a:lnTo>
                    <a:pt x="2353" y="2104"/>
                  </a:lnTo>
                  <a:lnTo>
                    <a:pt x="2355" y="2100"/>
                  </a:lnTo>
                  <a:lnTo>
                    <a:pt x="2358" y="2096"/>
                  </a:lnTo>
                  <a:lnTo>
                    <a:pt x="2361" y="2093"/>
                  </a:lnTo>
                  <a:lnTo>
                    <a:pt x="2365" y="2090"/>
                  </a:lnTo>
                  <a:lnTo>
                    <a:pt x="2368" y="2087"/>
                  </a:lnTo>
                  <a:lnTo>
                    <a:pt x="2373" y="2084"/>
                  </a:lnTo>
                  <a:lnTo>
                    <a:pt x="2377" y="2082"/>
                  </a:lnTo>
                  <a:lnTo>
                    <a:pt x="2382" y="2081"/>
                  </a:lnTo>
                  <a:lnTo>
                    <a:pt x="2386" y="2080"/>
                  </a:lnTo>
                  <a:lnTo>
                    <a:pt x="2392" y="2079"/>
                  </a:lnTo>
                  <a:lnTo>
                    <a:pt x="2397" y="2079"/>
                  </a:lnTo>
                  <a:lnTo>
                    <a:pt x="2402" y="2079"/>
                  </a:lnTo>
                  <a:lnTo>
                    <a:pt x="2407" y="2080"/>
                  </a:lnTo>
                  <a:lnTo>
                    <a:pt x="2412" y="2081"/>
                  </a:lnTo>
                  <a:lnTo>
                    <a:pt x="2417" y="2082"/>
                  </a:lnTo>
                  <a:lnTo>
                    <a:pt x="2425" y="2087"/>
                  </a:lnTo>
                  <a:lnTo>
                    <a:pt x="2429" y="2090"/>
                  </a:lnTo>
                  <a:lnTo>
                    <a:pt x="2433" y="2093"/>
                  </a:lnTo>
                  <a:lnTo>
                    <a:pt x="2436" y="2096"/>
                  </a:lnTo>
                  <a:lnTo>
                    <a:pt x="2438" y="2100"/>
                  </a:lnTo>
                  <a:lnTo>
                    <a:pt x="2441" y="2104"/>
                  </a:lnTo>
                  <a:lnTo>
                    <a:pt x="2443" y="2108"/>
                  </a:lnTo>
                  <a:lnTo>
                    <a:pt x="2444" y="2113"/>
                  </a:lnTo>
                  <a:lnTo>
                    <a:pt x="2446" y="2118"/>
                  </a:lnTo>
                  <a:lnTo>
                    <a:pt x="2446" y="2123"/>
                  </a:lnTo>
                  <a:lnTo>
                    <a:pt x="2447" y="2128"/>
                  </a:lnTo>
                  <a:lnTo>
                    <a:pt x="2446" y="2133"/>
                  </a:lnTo>
                  <a:lnTo>
                    <a:pt x="2446" y="2138"/>
                  </a:lnTo>
                  <a:lnTo>
                    <a:pt x="2444" y="2143"/>
                  </a:lnTo>
                  <a:lnTo>
                    <a:pt x="2443" y="2148"/>
                  </a:lnTo>
                  <a:lnTo>
                    <a:pt x="2441" y="2152"/>
                  </a:lnTo>
                  <a:lnTo>
                    <a:pt x="2438" y="2156"/>
                  </a:lnTo>
                  <a:lnTo>
                    <a:pt x="2436" y="2160"/>
                  </a:lnTo>
                  <a:lnTo>
                    <a:pt x="2433" y="2163"/>
                  </a:lnTo>
                  <a:lnTo>
                    <a:pt x="2429" y="2166"/>
                  </a:lnTo>
                  <a:lnTo>
                    <a:pt x="2425" y="2169"/>
                  </a:lnTo>
                  <a:lnTo>
                    <a:pt x="2421" y="2171"/>
                  </a:lnTo>
                  <a:lnTo>
                    <a:pt x="2417" y="2173"/>
                  </a:lnTo>
                  <a:lnTo>
                    <a:pt x="2412" y="2175"/>
                  </a:lnTo>
                  <a:lnTo>
                    <a:pt x="2407" y="2176"/>
                  </a:lnTo>
                  <a:lnTo>
                    <a:pt x="2402" y="2177"/>
                  </a:lnTo>
                  <a:lnTo>
                    <a:pt x="2397" y="2177"/>
                  </a:lnTo>
                  <a:close/>
                  <a:moveTo>
                    <a:pt x="2303" y="2480"/>
                  </a:moveTo>
                  <a:lnTo>
                    <a:pt x="2357" y="2480"/>
                  </a:lnTo>
                  <a:lnTo>
                    <a:pt x="2331" y="2354"/>
                  </a:lnTo>
                  <a:lnTo>
                    <a:pt x="2303" y="2480"/>
                  </a:lnTo>
                  <a:close/>
                  <a:moveTo>
                    <a:pt x="2372" y="2558"/>
                  </a:moveTo>
                  <a:lnTo>
                    <a:pt x="2289" y="2558"/>
                  </a:lnTo>
                  <a:lnTo>
                    <a:pt x="2277" y="2615"/>
                  </a:lnTo>
                  <a:lnTo>
                    <a:pt x="2276" y="2618"/>
                  </a:lnTo>
                  <a:lnTo>
                    <a:pt x="2275" y="2620"/>
                  </a:lnTo>
                  <a:lnTo>
                    <a:pt x="2273" y="2623"/>
                  </a:lnTo>
                  <a:lnTo>
                    <a:pt x="2271" y="2624"/>
                  </a:lnTo>
                  <a:lnTo>
                    <a:pt x="2269" y="2625"/>
                  </a:lnTo>
                  <a:lnTo>
                    <a:pt x="2267" y="2625"/>
                  </a:lnTo>
                  <a:lnTo>
                    <a:pt x="2265" y="2625"/>
                  </a:lnTo>
                  <a:lnTo>
                    <a:pt x="2192" y="2625"/>
                  </a:lnTo>
                  <a:lnTo>
                    <a:pt x="2190" y="2625"/>
                  </a:lnTo>
                  <a:lnTo>
                    <a:pt x="2188" y="2624"/>
                  </a:lnTo>
                  <a:lnTo>
                    <a:pt x="2187" y="2623"/>
                  </a:lnTo>
                  <a:lnTo>
                    <a:pt x="2185" y="2622"/>
                  </a:lnTo>
                  <a:lnTo>
                    <a:pt x="2184" y="2620"/>
                  </a:lnTo>
                  <a:lnTo>
                    <a:pt x="2184" y="2618"/>
                  </a:lnTo>
                  <a:lnTo>
                    <a:pt x="2185" y="2612"/>
                  </a:lnTo>
                  <a:lnTo>
                    <a:pt x="2277" y="2217"/>
                  </a:lnTo>
                  <a:lnTo>
                    <a:pt x="2278" y="2214"/>
                  </a:lnTo>
                  <a:lnTo>
                    <a:pt x="2279" y="2212"/>
                  </a:lnTo>
                  <a:lnTo>
                    <a:pt x="2281" y="2209"/>
                  </a:lnTo>
                  <a:lnTo>
                    <a:pt x="2283" y="2208"/>
                  </a:lnTo>
                  <a:lnTo>
                    <a:pt x="2285" y="2207"/>
                  </a:lnTo>
                  <a:lnTo>
                    <a:pt x="2290" y="2207"/>
                  </a:lnTo>
                  <a:lnTo>
                    <a:pt x="2372" y="2207"/>
                  </a:lnTo>
                  <a:lnTo>
                    <a:pt x="2375" y="2207"/>
                  </a:lnTo>
                  <a:lnTo>
                    <a:pt x="2377" y="2207"/>
                  </a:lnTo>
                  <a:lnTo>
                    <a:pt x="2381" y="2209"/>
                  </a:lnTo>
                  <a:lnTo>
                    <a:pt x="2384" y="2212"/>
                  </a:lnTo>
                  <a:lnTo>
                    <a:pt x="2384" y="2214"/>
                  </a:lnTo>
                  <a:lnTo>
                    <a:pt x="2385" y="2217"/>
                  </a:lnTo>
                  <a:lnTo>
                    <a:pt x="2477" y="2612"/>
                  </a:lnTo>
                  <a:lnTo>
                    <a:pt x="2478" y="2618"/>
                  </a:lnTo>
                  <a:lnTo>
                    <a:pt x="2478" y="2620"/>
                  </a:lnTo>
                  <a:lnTo>
                    <a:pt x="2477" y="2622"/>
                  </a:lnTo>
                  <a:lnTo>
                    <a:pt x="2476" y="2623"/>
                  </a:lnTo>
                  <a:lnTo>
                    <a:pt x="2474" y="2624"/>
                  </a:lnTo>
                  <a:lnTo>
                    <a:pt x="2470" y="2625"/>
                  </a:lnTo>
                  <a:lnTo>
                    <a:pt x="2395" y="2625"/>
                  </a:lnTo>
                  <a:lnTo>
                    <a:pt x="2391" y="2625"/>
                  </a:lnTo>
                  <a:lnTo>
                    <a:pt x="2388" y="2623"/>
                  </a:lnTo>
                  <a:lnTo>
                    <a:pt x="2386" y="2621"/>
                  </a:lnTo>
                  <a:lnTo>
                    <a:pt x="2385" y="2620"/>
                  </a:lnTo>
                  <a:lnTo>
                    <a:pt x="2384" y="2618"/>
                  </a:lnTo>
                  <a:lnTo>
                    <a:pt x="2383" y="2615"/>
                  </a:lnTo>
                  <a:lnTo>
                    <a:pt x="2372" y="2558"/>
                  </a:lnTo>
                  <a:close/>
                  <a:moveTo>
                    <a:pt x="2264" y="2177"/>
                  </a:moveTo>
                  <a:lnTo>
                    <a:pt x="2259" y="2177"/>
                  </a:lnTo>
                  <a:lnTo>
                    <a:pt x="2254" y="2176"/>
                  </a:lnTo>
                  <a:lnTo>
                    <a:pt x="2249" y="2175"/>
                  </a:lnTo>
                  <a:lnTo>
                    <a:pt x="2244" y="2173"/>
                  </a:lnTo>
                  <a:lnTo>
                    <a:pt x="2236" y="2169"/>
                  </a:lnTo>
                  <a:lnTo>
                    <a:pt x="2232" y="2166"/>
                  </a:lnTo>
                  <a:lnTo>
                    <a:pt x="2228" y="2163"/>
                  </a:lnTo>
                  <a:lnTo>
                    <a:pt x="2225" y="2160"/>
                  </a:lnTo>
                  <a:lnTo>
                    <a:pt x="2222" y="2156"/>
                  </a:lnTo>
                  <a:lnTo>
                    <a:pt x="2220" y="2152"/>
                  </a:lnTo>
                  <a:lnTo>
                    <a:pt x="2218" y="2148"/>
                  </a:lnTo>
                  <a:lnTo>
                    <a:pt x="2216" y="2143"/>
                  </a:lnTo>
                  <a:lnTo>
                    <a:pt x="2215" y="2138"/>
                  </a:lnTo>
                  <a:lnTo>
                    <a:pt x="2215" y="2133"/>
                  </a:lnTo>
                  <a:lnTo>
                    <a:pt x="2214" y="2128"/>
                  </a:lnTo>
                  <a:lnTo>
                    <a:pt x="2215" y="2123"/>
                  </a:lnTo>
                  <a:lnTo>
                    <a:pt x="2215" y="2118"/>
                  </a:lnTo>
                  <a:lnTo>
                    <a:pt x="2216" y="2113"/>
                  </a:lnTo>
                  <a:lnTo>
                    <a:pt x="2218" y="2108"/>
                  </a:lnTo>
                  <a:lnTo>
                    <a:pt x="2220" y="2104"/>
                  </a:lnTo>
                  <a:lnTo>
                    <a:pt x="2222" y="2100"/>
                  </a:lnTo>
                  <a:lnTo>
                    <a:pt x="2225" y="2096"/>
                  </a:lnTo>
                  <a:lnTo>
                    <a:pt x="2228" y="2093"/>
                  </a:lnTo>
                  <a:lnTo>
                    <a:pt x="2232" y="2090"/>
                  </a:lnTo>
                  <a:lnTo>
                    <a:pt x="2236" y="2087"/>
                  </a:lnTo>
                  <a:lnTo>
                    <a:pt x="2240" y="2084"/>
                  </a:lnTo>
                  <a:lnTo>
                    <a:pt x="2244" y="2082"/>
                  </a:lnTo>
                  <a:lnTo>
                    <a:pt x="2249" y="2081"/>
                  </a:lnTo>
                  <a:lnTo>
                    <a:pt x="2254" y="2080"/>
                  </a:lnTo>
                  <a:lnTo>
                    <a:pt x="2259" y="2079"/>
                  </a:lnTo>
                  <a:lnTo>
                    <a:pt x="2264" y="2079"/>
                  </a:lnTo>
                  <a:lnTo>
                    <a:pt x="2269" y="2079"/>
                  </a:lnTo>
                  <a:lnTo>
                    <a:pt x="2274" y="2080"/>
                  </a:lnTo>
                  <a:lnTo>
                    <a:pt x="2279" y="2081"/>
                  </a:lnTo>
                  <a:lnTo>
                    <a:pt x="2284" y="2082"/>
                  </a:lnTo>
                  <a:lnTo>
                    <a:pt x="2292" y="2087"/>
                  </a:lnTo>
                  <a:lnTo>
                    <a:pt x="2296" y="2090"/>
                  </a:lnTo>
                  <a:lnTo>
                    <a:pt x="2300" y="2093"/>
                  </a:lnTo>
                  <a:lnTo>
                    <a:pt x="2303" y="2096"/>
                  </a:lnTo>
                  <a:lnTo>
                    <a:pt x="2306" y="2100"/>
                  </a:lnTo>
                  <a:lnTo>
                    <a:pt x="2308" y="2104"/>
                  </a:lnTo>
                  <a:lnTo>
                    <a:pt x="2310" y="2108"/>
                  </a:lnTo>
                  <a:lnTo>
                    <a:pt x="2313" y="2113"/>
                  </a:lnTo>
                  <a:lnTo>
                    <a:pt x="2314" y="2118"/>
                  </a:lnTo>
                  <a:lnTo>
                    <a:pt x="2314" y="2123"/>
                  </a:lnTo>
                  <a:lnTo>
                    <a:pt x="2315" y="2128"/>
                  </a:lnTo>
                  <a:lnTo>
                    <a:pt x="2314" y="2133"/>
                  </a:lnTo>
                  <a:lnTo>
                    <a:pt x="2314" y="2138"/>
                  </a:lnTo>
                  <a:lnTo>
                    <a:pt x="2313" y="2143"/>
                  </a:lnTo>
                  <a:lnTo>
                    <a:pt x="2310" y="2148"/>
                  </a:lnTo>
                  <a:lnTo>
                    <a:pt x="2308" y="2152"/>
                  </a:lnTo>
                  <a:lnTo>
                    <a:pt x="2306" y="2156"/>
                  </a:lnTo>
                  <a:lnTo>
                    <a:pt x="2303" y="2160"/>
                  </a:lnTo>
                  <a:lnTo>
                    <a:pt x="2300" y="2163"/>
                  </a:lnTo>
                  <a:lnTo>
                    <a:pt x="2296" y="2166"/>
                  </a:lnTo>
                  <a:lnTo>
                    <a:pt x="2292" y="2169"/>
                  </a:lnTo>
                  <a:lnTo>
                    <a:pt x="2288" y="2171"/>
                  </a:lnTo>
                  <a:lnTo>
                    <a:pt x="2284" y="2173"/>
                  </a:lnTo>
                  <a:lnTo>
                    <a:pt x="2279" y="2175"/>
                  </a:lnTo>
                  <a:lnTo>
                    <a:pt x="2274" y="2176"/>
                  </a:lnTo>
                  <a:lnTo>
                    <a:pt x="2269" y="2177"/>
                  </a:lnTo>
                  <a:lnTo>
                    <a:pt x="2264" y="2177"/>
                  </a:lnTo>
                  <a:close/>
                  <a:moveTo>
                    <a:pt x="1209" y="341"/>
                  </a:moveTo>
                  <a:lnTo>
                    <a:pt x="1221" y="341"/>
                  </a:lnTo>
                  <a:lnTo>
                    <a:pt x="1233" y="339"/>
                  </a:lnTo>
                  <a:lnTo>
                    <a:pt x="1244" y="336"/>
                  </a:lnTo>
                  <a:lnTo>
                    <a:pt x="1250" y="334"/>
                  </a:lnTo>
                  <a:lnTo>
                    <a:pt x="1255" y="332"/>
                  </a:lnTo>
                  <a:lnTo>
                    <a:pt x="1265" y="327"/>
                  </a:lnTo>
                  <a:lnTo>
                    <a:pt x="1275" y="322"/>
                  </a:lnTo>
                  <a:lnTo>
                    <a:pt x="1284" y="315"/>
                  </a:lnTo>
                  <a:lnTo>
                    <a:pt x="1292" y="307"/>
                  </a:lnTo>
                  <a:lnTo>
                    <a:pt x="1299" y="299"/>
                  </a:lnTo>
                  <a:lnTo>
                    <a:pt x="1306" y="289"/>
                  </a:lnTo>
                  <a:lnTo>
                    <a:pt x="1311" y="279"/>
                  </a:lnTo>
                  <a:lnTo>
                    <a:pt x="1316" y="268"/>
                  </a:lnTo>
                  <a:lnTo>
                    <a:pt x="1318" y="262"/>
                  </a:lnTo>
                  <a:lnTo>
                    <a:pt x="1320" y="256"/>
                  </a:lnTo>
                  <a:lnTo>
                    <a:pt x="1323" y="243"/>
                  </a:lnTo>
                  <a:lnTo>
                    <a:pt x="1324" y="230"/>
                  </a:lnTo>
                  <a:lnTo>
                    <a:pt x="1325" y="223"/>
                  </a:lnTo>
                  <a:lnTo>
                    <a:pt x="1325" y="216"/>
                  </a:lnTo>
                  <a:lnTo>
                    <a:pt x="1324" y="202"/>
                  </a:lnTo>
                  <a:lnTo>
                    <a:pt x="1323" y="189"/>
                  </a:lnTo>
                  <a:lnTo>
                    <a:pt x="1320" y="177"/>
                  </a:lnTo>
                  <a:lnTo>
                    <a:pt x="1318" y="171"/>
                  </a:lnTo>
                  <a:lnTo>
                    <a:pt x="1316" y="165"/>
                  </a:lnTo>
                  <a:lnTo>
                    <a:pt x="1311" y="154"/>
                  </a:lnTo>
                  <a:lnTo>
                    <a:pt x="1306" y="144"/>
                  </a:lnTo>
                  <a:lnTo>
                    <a:pt x="1299" y="134"/>
                  </a:lnTo>
                  <a:lnTo>
                    <a:pt x="1296" y="130"/>
                  </a:lnTo>
                  <a:lnTo>
                    <a:pt x="1292" y="126"/>
                  </a:lnTo>
                  <a:lnTo>
                    <a:pt x="1288" y="122"/>
                  </a:lnTo>
                  <a:lnTo>
                    <a:pt x="1284" y="118"/>
                  </a:lnTo>
                  <a:lnTo>
                    <a:pt x="1279" y="114"/>
                  </a:lnTo>
                  <a:lnTo>
                    <a:pt x="1275" y="111"/>
                  </a:lnTo>
                  <a:lnTo>
                    <a:pt x="1265" y="105"/>
                  </a:lnTo>
                  <a:lnTo>
                    <a:pt x="1260" y="103"/>
                  </a:lnTo>
                  <a:lnTo>
                    <a:pt x="1255" y="100"/>
                  </a:lnTo>
                  <a:lnTo>
                    <a:pt x="1250" y="98"/>
                  </a:lnTo>
                  <a:lnTo>
                    <a:pt x="1244" y="97"/>
                  </a:lnTo>
                  <a:lnTo>
                    <a:pt x="1233" y="94"/>
                  </a:lnTo>
                  <a:lnTo>
                    <a:pt x="1221" y="92"/>
                  </a:lnTo>
                  <a:lnTo>
                    <a:pt x="1215" y="92"/>
                  </a:lnTo>
                  <a:lnTo>
                    <a:pt x="1209" y="92"/>
                  </a:lnTo>
                  <a:lnTo>
                    <a:pt x="1197" y="92"/>
                  </a:lnTo>
                  <a:lnTo>
                    <a:pt x="1185" y="94"/>
                  </a:lnTo>
                  <a:lnTo>
                    <a:pt x="1174" y="97"/>
                  </a:lnTo>
                  <a:lnTo>
                    <a:pt x="1169" y="98"/>
                  </a:lnTo>
                  <a:lnTo>
                    <a:pt x="1163" y="100"/>
                  </a:lnTo>
                  <a:lnTo>
                    <a:pt x="1153" y="105"/>
                  </a:lnTo>
                  <a:lnTo>
                    <a:pt x="1144" y="111"/>
                  </a:lnTo>
                  <a:lnTo>
                    <a:pt x="1135" y="118"/>
                  </a:lnTo>
                  <a:lnTo>
                    <a:pt x="1127" y="126"/>
                  </a:lnTo>
                  <a:lnTo>
                    <a:pt x="1119" y="134"/>
                  </a:lnTo>
                  <a:lnTo>
                    <a:pt x="1113" y="144"/>
                  </a:lnTo>
                  <a:lnTo>
                    <a:pt x="1107" y="154"/>
                  </a:lnTo>
                  <a:lnTo>
                    <a:pt x="1102" y="165"/>
                  </a:lnTo>
                  <a:lnTo>
                    <a:pt x="1100" y="171"/>
                  </a:lnTo>
                  <a:lnTo>
                    <a:pt x="1098" y="177"/>
                  </a:lnTo>
                  <a:lnTo>
                    <a:pt x="1096" y="189"/>
                  </a:lnTo>
                  <a:lnTo>
                    <a:pt x="1094" y="202"/>
                  </a:lnTo>
                  <a:lnTo>
                    <a:pt x="1093" y="209"/>
                  </a:lnTo>
                  <a:lnTo>
                    <a:pt x="1093" y="216"/>
                  </a:lnTo>
                  <a:lnTo>
                    <a:pt x="1094" y="230"/>
                  </a:lnTo>
                  <a:lnTo>
                    <a:pt x="1096" y="243"/>
                  </a:lnTo>
                  <a:lnTo>
                    <a:pt x="1098" y="256"/>
                  </a:lnTo>
                  <a:lnTo>
                    <a:pt x="1100" y="262"/>
                  </a:lnTo>
                  <a:lnTo>
                    <a:pt x="1102" y="268"/>
                  </a:lnTo>
                  <a:lnTo>
                    <a:pt x="1107" y="279"/>
                  </a:lnTo>
                  <a:lnTo>
                    <a:pt x="1113" y="289"/>
                  </a:lnTo>
                  <a:lnTo>
                    <a:pt x="1119" y="299"/>
                  </a:lnTo>
                  <a:lnTo>
                    <a:pt x="1123" y="303"/>
                  </a:lnTo>
                  <a:lnTo>
                    <a:pt x="1127" y="307"/>
                  </a:lnTo>
                  <a:lnTo>
                    <a:pt x="1131" y="311"/>
                  </a:lnTo>
                  <a:lnTo>
                    <a:pt x="1135" y="315"/>
                  </a:lnTo>
                  <a:lnTo>
                    <a:pt x="1139" y="318"/>
                  </a:lnTo>
                  <a:lnTo>
                    <a:pt x="1144" y="322"/>
                  </a:lnTo>
                  <a:lnTo>
                    <a:pt x="1153" y="327"/>
                  </a:lnTo>
                  <a:lnTo>
                    <a:pt x="1158" y="330"/>
                  </a:lnTo>
                  <a:lnTo>
                    <a:pt x="1163" y="332"/>
                  </a:lnTo>
                  <a:lnTo>
                    <a:pt x="1169" y="334"/>
                  </a:lnTo>
                  <a:lnTo>
                    <a:pt x="1174" y="336"/>
                  </a:lnTo>
                  <a:lnTo>
                    <a:pt x="1185" y="339"/>
                  </a:lnTo>
                  <a:lnTo>
                    <a:pt x="1197" y="341"/>
                  </a:lnTo>
                  <a:lnTo>
                    <a:pt x="1203" y="341"/>
                  </a:lnTo>
                  <a:lnTo>
                    <a:pt x="1209" y="341"/>
                  </a:lnTo>
                  <a:close/>
                  <a:moveTo>
                    <a:pt x="1209" y="0"/>
                  </a:moveTo>
                  <a:lnTo>
                    <a:pt x="1221" y="0"/>
                  </a:lnTo>
                  <a:lnTo>
                    <a:pt x="1233" y="1"/>
                  </a:lnTo>
                  <a:lnTo>
                    <a:pt x="1244" y="2"/>
                  </a:lnTo>
                  <a:lnTo>
                    <a:pt x="1256" y="4"/>
                  </a:lnTo>
                  <a:lnTo>
                    <a:pt x="1267" y="6"/>
                  </a:lnTo>
                  <a:lnTo>
                    <a:pt x="1277" y="9"/>
                  </a:lnTo>
                  <a:lnTo>
                    <a:pt x="1288" y="12"/>
                  </a:lnTo>
                  <a:lnTo>
                    <a:pt x="1298" y="16"/>
                  </a:lnTo>
                  <a:lnTo>
                    <a:pt x="1308" y="20"/>
                  </a:lnTo>
                  <a:lnTo>
                    <a:pt x="1318" y="25"/>
                  </a:lnTo>
                  <a:lnTo>
                    <a:pt x="1327" y="30"/>
                  </a:lnTo>
                  <a:lnTo>
                    <a:pt x="1336" y="35"/>
                  </a:lnTo>
                  <a:lnTo>
                    <a:pt x="1345" y="41"/>
                  </a:lnTo>
                  <a:lnTo>
                    <a:pt x="1349" y="44"/>
                  </a:lnTo>
                  <a:lnTo>
                    <a:pt x="1353" y="47"/>
                  </a:lnTo>
                  <a:lnTo>
                    <a:pt x="1357" y="51"/>
                  </a:lnTo>
                  <a:lnTo>
                    <a:pt x="1361" y="54"/>
                  </a:lnTo>
                  <a:lnTo>
                    <a:pt x="1369" y="61"/>
                  </a:lnTo>
                  <a:lnTo>
                    <a:pt x="1373" y="65"/>
                  </a:lnTo>
                  <a:lnTo>
                    <a:pt x="1376" y="69"/>
                  </a:lnTo>
                  <a:lnTo>
                    <a:pt x="1383" y="76"/>
                  </a:lnTo>
                  <a:lnTo>
                    <a:pt x="1390" y="84"/>
                  </a:lnTo>
                  <a:lnTo>
                    <a:pt x="1393" y="89"/>
                  </a:lnTo>
                  <a:lnTo>
                    <a:pt x="1396" y="93"/>
                  </a:lnTo>
                  <a:lnTo>
                    <a:pt x="1401" y="102"/>
                  </a:lnTo>
                  <a:lnTo>
                    <a:pt x="1407" y="111"/>
                  </a:lnTo>
                  <a:lnTo>
                    <a:pt x="1411" y="120"/>
                  </a:lnTo>
                  <a:lnTo>
                    <a:pt x="1416" y="130"/>
                  </a:lnTo>
                  <a:lnTo>
                    <a:pt x="1418" y="135"/>
                  </a:lnTo>
                  <a:lnTo>
                    <a:pt x="1420" y="140"/>
                  </a:lnTo>
                  <a:lnTo>
                    <a:pt x="1423" y="150"/>
                  </a:lnTo>
                  <a:lnTo>
                    <a:pt x="1426" y="160"/>
                  </a:lnTo>
                  <a:lnTo>
                    <a:pt x="1428" y="171"/>
                  </a:lnTo>
                  <a:lnTo>
                    <a:pt x="1430" y="182"/>
                  </a:lnTo>
                  <a:lnTo>
                    <a:pt x="1432" y="193"/>
                  </a:lnTo>
                  <a:lnTo>
                    <a:pt x="1432" y="199"/>
                  </a:lnTo>
                  <a:lnTo>
                    <a:pt x="1432" y="205"/>
                  </a:lnTo>
                  <a:lnTo>
                    <a:pt x="1433" y="216"/>
                  </a:lnTo>
                  <a:lnTo>
                    <a:pt x="1432" y="228"/>
                  </a:lnTo>
                  <a:lnTo>
                    <a:pt x="1432" y="239"/>
                  </a:lnTo>
                  <a:lnTo>
                    <a:pt x="1430" y="251"/>
                  </a:lnTo>
                  <a:lnTo>
                    <a:pt x="1428" y="262"/>
                  </a:lnTo>
                  <a:lnTo>
                    <a:pt x="1426" y="272"/>
                  </a:lnTo>
                  <a:lnTo>
                    <a:pt x="1423" y="283"/>
                  </a:lnTo>
                  <a:lnTo>
                    <a:pt x="1420" y="293"/>
                  </a:lnTo>
                  <a:lnTo>
                    <a:pt x="1416" y="303"/>
                  </a:lnTo>
                  <a:lnTo>
                    <a:pt x="1411" y="313"/>
                  </a:lnTo>
                  <a:lnTo>
                    <a:pt x="1407" y="322"/>
                  </a:lnTo>
                  <a:lnTo>
                    <a:pt x="1401" y="331"/>
                  </a:lnTo>
                  <a:lnTo>
                    <a:pt x="1396" y="340"/>
                  </a:lnTo>
                  <a:lnTo>
                    <a:pt x="1390" y="348"/>
                  </a:lnTo>
                  <a:lnTo>
                    <a:pt x="1383" y="356"/>
                  </a:lnTo>
                  <a:lnTo>
                    <a:pt x="1376" y="364"/>
                  </a:lnTo>
                  <a:lnTo>
                    <a:pt x="1369" y="372"/>
                  </a:lnTo>
                  <a:lnTo>
                    <a:pt x="1361" y="379"/>
                  </a:lnTo>
                  <a:lnTo>
                    <a:pt x="1353" y="385"/>
                  </a:lnTo>
                  <a:lnTo>
                    <a:pt x="1345" y="391"/>
                  </a:lnTo>
                  <a:lnTo>
                    <a:pt x="1336" y="397"/>
                  </a:lnTo>
                  <a:lnTo>
                    <a:pt x="1327" y="403"/>
                  </a:lnTo>
                  <a:lnTo>
                    <a:pt x="1318" y="408"/>
                  </a:lnTo>
                  <a:lnTo>
                    <a:pt x="1308" y="412"/>
                  </a:lnTo>
                  <a:lnTo>
                    <a:pt x="1298" y="417"/>
                  </a:lnTo>
                  <a:lnTo>
                    <a:pt x="1288" y="420"/>
                  </a:lnTo>
                  <a:lnTo>
                    <a:pt x="1277" y="424"/>
                  </a:lnTo>
                  <a:lnTo>
                    <a:pt x="1267" y="426"/>
                  </a:lnTo>
                  <a:lnTo>
                    <a:pt x="1256" y="429"/>
                  </a:lnTo>
                  <a:lnTo>
                    <a:pt x="1244" y="430"/>
                  </a:lnTo>
                  <a:lnTo>
                    <a:pt x="1233" y="432"/>
                  </a:lnTo>
                  <a:lnTo>
                    <a:pt x="1221" y="433"/>
                  </a:lnTo>
                  <a:lnTo>
                    <a:pt x="1209" y="433"/>
                  </a:lnTo>
                  <a:lnTo>
                    <a:pt x="1197" y="433"/>
                  </a:lnTo>
                  <a:lnTo>
                    <a:pt x="1186" y="432"/>
                  </a:lnTo>
                  <a:lnTo>
                    <a:pt x="1174" y="430"/>
                  </a:lnTo>
                  <a:lnTo>
                    <a:pt x="1163" y="429"/>
                  </a:lnTo>
                  <a:lnTo>
                    <a:pt x="1152" y="426"/>
                  </a:lnTo>
                  <a:lnTo>
                    <a:pt x="1141" y="424"/>
                  </a:lnTo>
                  <a:lnTo>
                    <a:pt x="1130" y="420"/>
                  </a:lnTo>
                  <a:lnTo>
                    <a:pt x="1120" y="417"/>
                  </a:lnTo>
                  <a:lnTo>
                    <a:pt x="1110" y="412"/>
                  </a:lnTo>
                  <a:lnTo>
                    <a:pt x="1100" y="408"/>
                  </a:lnTo>
                  <a:lnTo>
                    <a:pt x="1091" y="403"/>
                  </a:lnTo>
                  <a:lnTo>
                    <a:pt x="1082" y="397"/>
                  </a:lnTo>
                  <a:lnTo>
                    <a:pt x="1073" y="391"/>
                  </a:lnTo>
                  <a:lnTo>
                    <a:pt x="1069" y="388"/>
                  </a:lnTo>
                  <a:lnTo>
                    <a:pt x="1065" y="385"/>
                  </a:lnTo>
                  <a:lnTo>
                    <a:pt x="1061" y="382"/>
                  </a:lnTo>
                  <a:lnTo>
                    <a:pt x="1057" y="379"/>
                  </a:lnTo>
                  <a:lnTo>
                    <a:pt x="1049" y="372"/>
                  </a:lnTo>
                  <a:lnTo>
                    <a:pt x="1046" y="368"/>
                  </a:lnTo>
                  <a:lnTo>
                    <a:pt x="1042" y="364"/>
                  </a:lnTo>
                  <a:lnTo>
                    <a:pt x="1035" y="356"/>
                  </a:lnTo>
                  <a:lnTo>
                    <a:pt x="1029" y="348"/>
                  </a:lnTo>
                  <a:lnTo>
                    <a:pt x="1026" y="344"/>
                  </a:lnTo>
                  <a:lnTo>
                    <a:pt x="1023" y="340"/>
                  </a:lnTo>
                  <a:lnTo>
                    <a:pt x="1017" y="331"/>
                  </a:lnTo>
                  <a:lnTo>
                    <a:pt x="1012" y="322"/>
                  </a:lnTo>
                  <a:lnTo>
                    <a:pt x="1007" y="313"/>
                  </a:lnTo>
                  <a:lnTo>
                    <a:pt x="1003" y="303"/>
                  </a:lnTo>
                  <a:lnTo>
                    <a:pt x="1001" y="298"/>
                  </a:lnTo>
                  <a:lnTo>
                    <a:pt x="999" y="293"/>
                  </a:lnTo>
                  <a:lnTo>
                    <a:pt x="995" y="283"/>
                  </a:lnTo>
                  <a:lnTo>
                    <a:pt x="992" y="272"/>
                  </a:lnTo>
                  <a:lnTo>
                    <a:pt x="990" y="262"/>
                  </a:lnTo>
                  <a:lnTo>
                    <a:pt x="988" y="251"/>
                  </a:lnTo>
                  <a:lnTo>
                    <a:pt x="987" y="239"/>
                  </a:lnTo>
                  <a:lnTo>
                    <a:pt x="986" y="234"/>
                  </a:lnTo>
                  <a:lnTo>
                    <a:pt x="986" y="228"/>
                  </a:lnTo>
                  <a:lnTo>
                    <a:pt x="986" y="216"/>
                  </a:lnTo>
                  <a:lnTo>
                    <a:pt x="986" y="205"/>
                  </a:lnTo>
                  <a:lnTo>
                    <a:pt x="987" y="193"/>
                  </a:lnTo>
                  <a:lnTo>
                    <a:pt x="988" y="182"/>
                  </a:lnTo>
                  <a:lnTo>
                    <a:pt x="990" y="171"/>
                  </a:lnTo>
                  <a:lnTo>
                    <a:pt x="992" y="160"/>
                  </a:lnTo>
                  <a:lnTo>
                    <a:pt x="995" y="150"/>
                  </a:lnTo>
                  <a:lnTo>
                    <a:pt x="999" y="140"/>
                  </a:lnTo>
                  <a:lnTo>
                    <a:pt x="1003" y="130"/>
                  </a:lnTo>
                  <a:lnTo>
                    <a:pt x="1007" y="120"/>
                  </a:lnTo>
                  <a:lnTo>
                    <a:pt x="1012" y="111"/>
                  </a:lnTo>
                  <a:lnTo>
                    <a:pt x="1017" y="102"/>
                  </a:lnTo>
                  <a:lnTo>
                    <a:pt x="1023" y="93"/>
                  </a:lnTo>
                  <a:lnTo>
                    <a:pt x="1029" y="84"/>
                  </a:lnTo>
                  <a:lnTo>
                    <a:pt x="1035" y="76"/>
                  </a:lnTo>
                  <a:lnTo>
                    <a:pt x="1042" y="69"/>
                  </a:lnTo>
                  <a:lnTo>
                    <a:pt x="1049" y="61"/>
                  </a:lnTo>
                  <a:lnTo>
                    <a:pt x="1057" y="54"/>
                  </a:lnTo>
                  <a:lnTo>
                    <a:pt x="1065" y="47"/>
                  </a:lnTo>
                  <a:lnTo>
                    <a:pt x="1073" y="41"/>
                  </a:lnTo>
                  <a:lnTo>
                    <a:pt x="1082" y="35"/>
                  </a:lnTo>
                  <a:lnTo>
                    <a:pt x="1091" y="30"/>
                  </a:lnTo>
                  <a:lnTo>
                    <a:pt x="1100" y="25"/>
                  </a:lnTo>
                  <a:lnTo>
                    <a:pt x="1110" y="20"/>
                  </a:lnTo>
                  <a:lnTo>
                    <a:pt x="1120" y="16"/>
                  </a:lnTo>
                  <a:lnTo>
                    <a:pt x="1130" y="12"/>
                  </a:lnTo>
                  <a:lnTo>
                    <a:pt x="1141" y="9"/>
                  </a:lnTo>
                  <a:lnTo>
                    <a:pt x="1152" y="6"/>
                  </a:lnTo>
                  <a:lnTo>
                    <a:pt x="1163" y="4"/>
                  </a:lnTo>
                  <a:lnTo>
                    <a:pt x="1174" y="2"/>
                  </a:lnTo>
                  <a:lnTo>
                    <a:pt x="1186" y="1"/>
                  </a:lnTo>
                  <a:lnTo>
                    <a:pt x="1197" y="0"/>
                  </a:lnTo>
                  <a:lnTo>
                    <a:pt x="1209" y="0"/>
                  </a:lnTo>
                  <a:close/>
                  <a:moveTo>
                    <a:pt x="2022" y="7"/>
                  </a:moveTo>
                  <a:lnTo>
                    <a:pt x="2026" y="8"/>
                  </a:lnTo>
                  <a:lnTo>
                    <a:pt x="2028" y="8"/>
                  </a:lnTo>
                  <a:lnTo>
                    <a:pt x="2029" y="10"/>
                  </a:lnTo>
                  <a:lnTo>
                    <a:pt x="2030" y="11"/>
                  </a:lnTo>
                  <a:lnTo>
                    <a:pt x="2031" y="13"/>
                  </a:lnTo>
                  <a:lnTo>
                    <a:pt x="2031" y="16"/>
                  </a:lnTo>
                  <a:lnTo>
                    <a:pt x="2031" y="19"/>
                  </a:lnTo>
                  <a:lnTo>
                    <a:pt x="2017" y="88"/>
                  </a:lnTo>
                  <a:lnTo>
                    <a:pt x="2015" y="93"/>
                  </a:lnTo>
                  <a:lnTo>
                    <a:pt x="2013" y="96"/>
                  </a:lnTo>
                  <a:lnTo>
                    <a:pt x="2012" y="97"/>
                  </a:lnTo>
                  <a:lnTo>
                    <a:pt x="2010" y="98"/>
                  </a:lnTo>
                  <a:lnTo>
                    <a:pt x="2008" y="99"/>
                  </a:lnTo>
                  <a:lnTo>
                    <a:pt x="2005" y="99"/>
                  </a:lnTo>
                  <a:lnTo>
                    <a:pt x="1950" y="99"/>
                  </a:lnTo>
                  <a:lnTo>
                    <a:pt x="1950" y="416"/>
                  </a:lnTo>
                  <a:lnTo>
                    <a:pt x="1949" y="418"/>
                  </a:lnTo>
                  <a:lnTo>
                    <a:pt x="1949" y="420"/>
                  </a:lnTo>
                  <a:lnTo>
                    <a:pt x="1947" y="423"/>
                  </a:lnTo>
                  <a:lnTo>
                    <a:pt x="1945" y="424"/>
                  </a:lnTo>
                  <a:lnTo>
                    <a:pt x="1944" y="425"/>
                  </a:lnTo>
                  <a:lnTo>
                    <a:pt x="1940" y="426"/>
                  </a:lnTo>
                  <a:lnTo>
                    <a:pt x="1861" y="426"/>
                  </a:lnTo>
                  <a:lnTo>
                    <a:pt x="1858" y="425"/>
                  </a:lnTo>
                  <a:lnTo>
                    <a:pt x="1855" y="423"/>
                  </a:lnTo>
                  <a:lnTo>
                    <a:pt x="1854" y="421"/>
                  </a:lnTo>
                  <a:lnTo>
                    <a:pt x="1853" y="420"/>
                  </a:lnTo>
                  <a:lnTo>
                    <a:pt x="1853" y="418"/>
                  </a:lnTo>
                  <a:lnTo>
                    <a:pt x="1853" y="416"/>
                  </a:lnTo>
                  <a:lnTo>
                    <a:pt x="1853" y="99"/>
                  </a:lnTo>
                  <a:lnTo>
                    <a:pt x="1796" y="99"/>
                  </a:lnTo>
                  <a:lnTo>
                    <a:pt x="1792" y="98"/>
                  </a:lnTo>
                  <a:lnTo>
                    <a:pt x="1789" y="96"/>
                  </a:lnTo>
                  <a:lnTo>
                    <a:pt x="1787" y="93"/>
                  </a:lnTo>
                  <a:lnTo>
                    <a:pt x="1786" y="91"/>
                  </a:lnTo>
                  <a:lnTo>
                    <a:pt x="1786" y="89"/>
                  </a:lnTo>
                  <a:lnTo>
                    <a:pt x="1786" y="17"/>
                  </a:lnTo>
                  <a:lnTo>
                    <a:pt x="1786" y="15"/>
                  </a:lnTo>
                  <a:lnTo>
                    <a:pt x="1787" y="13"/>
                  </a:lnTo>
                  <a:lnTo>
                    <a:pt x="1789" y="10"/>
                  </a:lnTo>
                  <a:lnTo>
                    <a:pt x="1790" y="9"/>
                  </a:lnTo>
                  <a:lnTo>
                    <a:pt x="1792" y="8"/>
                  </a:lnTo>
                  <a:lnTo>
                    <a:pt x="1796" y="7"/>
                  </a:lnTo>
                  <a:lnTo>
                    <a:pt x="2022" y="7"/>
                  </a:lnTo>
                  <a:close/>
                  <a:moveTo>
                    <a:pt x="1716" y="7"/>
                  </a:moveTo>
                  <a:lnTo>
                    <a:pt x="1720" y="8"/>
                  </a:lnTo>
                  <a:lnTo>
                    <a:pt x="1722" y="8"/>
                  </a:lnTo>
                  <a:lnTo>
                    <a:pt x="1723" y="10"/>
                  </a:lnTo>
                  <a:lnTo>
                    <a:pt x="1724" y="11"/>
                  </a:lnTo>
                  <a:lnTo>
                    <a:pt x="1725" y="13"/>
                  </a:lnTo>
                  <a:lnTo>
                    <a:pt x="1725" y="16"/>
                  </a:lnTo>
                  <a:lnTo>
                    <a:pt x="1725" y="19"/>
                  </a:lnTo>
                  <a:lnTo>
                    <a:pt x="1711" y="88"/>
                  </a:lnTo>
                  <a:lnTo>
                    <a:pt x="1710" y="93"/>
                  </a:lnTo>
                  <a:lnTo>
                    <a:pt x="1707" y="96"/>
                  </a:lnTo>
                  <a:lnTo>
                    <a:pt x="1706" y="97"/>
                  </a:lnTo>
                  <a:lnTo>
                    <a:pt x="1704" y="98"/>
                  </a:lnTo>
                  <a:lnTo>
                    <a:pt x="1702" y="99"/>
                  </a:lnTo>
                  <a:lnTo>
                    <a:pt x="1699" y="99"/>
                  </a:lnTo>
                  <a:lnTo>
                    <a:pt x="1653" y="99"/>
                  </a:lnTo>
                  <a:lnTo>
                    <a:pt x="1653" y="416"/>
                  </a:lnTo>
                  <a:lnTo>
                    <a:pt x="1653" y="418"/>
                  </a:lnTo>
                  <a:lnTo>
                    <a:pt x="1652" y="420"/>
                  </a:lnTo>
                  <a:lnTo>
                    <a:pt x="1650" y="423"/>
                  </a:lnTo>
                  <a:lnTo>
                    <a:pt x="1649" y="424"/>
                  </a:lnTo>
                  <a:lnTo>
                    <a:pt x="1647" y="425"/>
                  </a:lnTo>
                  <a:lnTo>
                    <a:pt x="1644" y="426"/>
                  </a:lnTo>
                  <a:lnTo>
                    <a:pt x="1565" y="426"/>
                  </a:lnTo>
                  <a:lnTo>
                    <a:pt x="1561" y="425"/>
                  </a:lnTo>
                  <a:lnTo>
                    <a:pt x="1558" y="423"/>
                  </a:lnTo>
                  <a:lnTo>
                    <a:pt x="1557" y="421"/>
                  </a:lnTo>
                  <a:lnTo>
                    <a:pt x="1557" y="420"/>
                  </a:lnTo>
                  <a:lnTo>
                    <a:pt x="1556" y="418"/>
                  </a:lnTo>
                  <a:lnTo>
                    <a:pt x="1556" y="416"/>
                  </a:lnTo>
                  <a:lnTo>
                    <a:pt x="1556" y="99"/>
                  </a:lnTo>
                  <a:lnTo>
                    <a:pt x="1490" y="99"/>
                  </a:lnTo>
                  <a:lnTo>
                    <a:pt x="1486" y="98"/>
                  </a:lnTo>
                  <a:lnTo>
                    <a:pt x="1483" y="96"/>
                  </a:lnTo>
                  <a:lnTo>
                    <a:pt x="1481" y="93"/>
                  </a:lnTo>
                  <a:lnTo>
                    <a:pt x="1481" y="91"/>
                  </a:lnTo>
                  <a:lnTo>
                    <a:pt x="1480" y="89"/>
                  </a:lnTo>
                  <a:lnTo>
                    <a:pt x="1480" y="17"/>
                  </a:lnTo>
                  <a:lnTo>
                    <a:pt x="1481" y="15"/>
                  </a:lnTo>
                  <a:lnTo>
                    <a:pt x="1481" y="13"/>
                  </a:lnTo>
                  <a:lnTo>
                    <a:pt x="1483" y="10"/>
                  </a:lnTo>
                  <a:lnTo>
                    <a:pt x="1484" y="9"/>
                  </a:lnTo>
                  <a:lnTo>
                    <a:pt x="1486" y="8"/>
                  </a:lnTo>
                  <a:lnTo>
                    <a:pt x="1490" y="7"/>
                  </a:lnTo>
                  <a:lnTo>
                    <a:pt x="1716" y="7"/>
                  </a:lnTo>
                  <a:close/>
                  <a:moveTo>
                    <a:pt x="2168" y="281"/>
                  </a:moveTo>
                  <a:lnTo>
                    <a:pt x="2222" y="281"/>
                  </a:lnTo>
                  <a:lnTo>
                    <a:pt x="2195" y="154"/>
                  </a:lnTo>
                  <a:lnTo>
                    <a:pt x="2168" y="281"/>
                  </a:lnTo>
                  <a:close/>
                  <a:moveTo>
                    <a:pt x="2236" y="359"/>
                  </a:moveTo>
                  <a:lnTo>
                    <a:pt x="2154" y="359"/>
                  </a:lnTo>
                  <a:lnTo>
                    <a:pt x="2142" y="416"/>
                  </a:lnTo>
                  <a:lnTo>
                    <a:pt x="2142" y="418"/>
                  </a:lnTo>
                  <a:lnTo>
                    <a:pt x="2141" y="420"/>
                  </a:lnTo>
                  <a:lnTo>
                    <a:pt x="2138" y="423"/>
                  </a:lnTo>
                  <a:lnTo>
                    <a:pt x="2136" y="424"/>
                  </a:lnTo>
                  <a:lnTo>
                    <a:pt x="2135" y="425"/>
                  </a:lnTo>
                  <a:lnTo>
                    <a:pt x="2133" y="426"/>
                  </a:lnTo>
                  <a:lnTo>
                    <a:pt x="2131" y="426"/>
                  </a:lnTo>
                  <a:lnTo>
                    <a:pt x="2058" y="426"/>
                  </a:lnTo>
                  <a:lnTo>
                    <a:pt x="2056" y="425"/>
                  </a:lnTo>
                  <a:lnTo>
                    <a:pt x="2054" y="425"/>
                  </a:lnTo>
                  <a:lnTo>
                    <a:pt x="2052" y="424"/>
                  </a:lnTo>
                  <a:lnTo>
                    <a:pt x="2051" y="422"/>
                  </a:lnTo>
                  <a:lnTo>
                    <a:pt x="2050" y="421"/>
                  </a:lnTo>
                  <a:lnTo>
                    <a:pt x="2049" y="418"/>
                  </a:lnTo>
                  <a:lnTo>
                    <a:pt x="2050" y="412"/>
                  </a:lnTo>
                  <a:lnTo>
                    <a:pt x="2142" y="17"/>
                  </a:lnTo>
                  <a:lnTo>
                    <a:pt x="2143" y="15"/>
                  </a:lnTo>
                  <a:lnTo>
                    <a:pt x="2144" y="13"/>
                  </a:lnTo>
                  <a:lnTo>
                    <a:pt x="2147" y="10"/>
                  </a:lnTo>
                  <a:lnTo>
                    <a:pt x="2149" y="9"/>
                  </a:lnTo>
                  <a:lnTo>
                    <a:pt x="2151" y="8"/>
                  </a:lnTo>
                  <a:lnTo>
                    <a:pt x="2155" y="7"/>
                  </a:lnTo>
                  <a:lnTo>
                    <a:pt x="2236" y="7"/>
                  </a:lnTo>
                  <a:lnTo>
                    <a:pt x="2239" y="7"/>
                  </a:lnTo>
                  <a:lnTo>
                    <a:pt x="2241" y="8"/>
                  </a:lnTo>
                  <a:lnTo>
                    <a:pt x="2245" y="10"/>
                  </a:lnTo>
                  <a:lnTo>
                    <a:pt x="2248" y="13"/>
                  </a:lnTo>
                  <a:lnTo>
                    <a:pt x="2249" y="15"/>
                  </a:lnTo>
                  <a:lnTo>
                    <a:pt x="2249" y="17"/>
                  </a:lnTo>
                  <a:lnTo>
                    <a:pt x="2343" y="412"/>
                  </a:lnTo>
                  <a:lnTo>
                    <a:pt x="2343" y="418"/>
                  </a:lnTo>
                  <a:lnTo>
                    <a:pt x="2343" y="421"/>
                  </a:lnTo>
                  <a:lnTo>
                    <a:pt x="2342" y="422"/>
                  </a:lnTo>
                  <a:lnTo>
                    <a:pt x="2341" y="424"/>
                  </a:lnTo>
                  <a:lnTo>
                    <a:pt x="2339" y="425"/>
                  </a:lnTo>
                  <a:lnTo>
                    <a:pt x="2335" y="426"/>
                  </a:lnTo>
                  <a:lnTo>
                    <a:pt x="2260" y="426"/>
                  </a:lnTo>
                  <a:lnTo>
                    <a:pt x="2256" y="425"/>
                  </a:lnTo>
                  <a:lnTo>
                    <a:pt x="2252" y="423"/>
                  </a:lnTo>
                  <a:lnTo>
                    <a:pt x="2251" y="422"/>
                  </a:lnTo>
                  <a:lnTo>
                    <a:pt x="2249" y="420"/>
                  </a:lnTo>
                  <a:lnTo>
                    <a:pt x="2248" y="418"/>
                  </a:lnTo>
                  <a:lnTo>
                    <a:pt x="2248" y="416"/>
                  </a:lnTo>
                  <a:lnTo>
                    <a:pt x="2236" y="359"/>
                  </a:lnTo>
                  <a:close/>
                  <a:moveTo>
                    <a:pt x="912" y="4"/>
                  </a:moveTo>
                  <a:lnTo>
                    <a:pt x="915" y="5"/>
                  </a:lnTo>
                  <a:lnTo>
                    <a:pt x="918" y="7"/>
                  </a:lnTo>
                  <a:lnTo>
                    <a:pt x="919" y="9"/>
                  </a:lnTo>
                  <a:lnTo>
                    <a:pt x="920" y="10"/>
                  </a:lnTo>
                  <a:lnTo>
                    <a:pt x="921" y="12"/>
                  </a:lnTo>
                  <a:lnTo>
                    <a:pt x="921" y="14"/>
                  </a:lnTo>
                  <a:lnTo>
                    <a:pt x="921" y="291"/>
                  </a:lnTo>
                  <a:lnTo>
                    <a:pt x="921" y="301"/>
                  </a:lnTo>
                  <a:lnTo>
                    <a:pt x="920" y="310"/>
                  </a:lnTo>
                  <a:lnTo>
                    <a:pt x="919" y="320"/>
                  </a:lnTo>
                  <a:lnTo>
                    <a:pt x="918" y="328"/>
                  </a:lnTo>
                  <a:lnTo>
                    <a:pt x="917" y="336"/>
                  </a:lnTo>
                  <a:lnTo>
                    <a:pt x="915" y="344"/>
                  </a:lnTo>
                  <a:lnTo>
                    <a:pt x="911" y="359"/>
                  </a:lnTo>
                  <a:lnTo>
                    <a:pt x="908" y="365"/>
                  </a:lnTo>
                  <a:lnTo>
                    <a:pt x="906" y="372"/>
                  </a:lnTo>
                  <a:lnTo>
                    <a:pt x="899" y="383"/>
                  </a:lnTo>
                  <a:lnTo>
                    <a:pt x="896" y="388"/>
                  </a:lnTo>
                  <a:lnTo>
                    <a:pt x="893" y="393"/>
                  </a:lnTo>
                  <a:lnTo>
                    <a:pt x="885" y="401"/>
                  </a:lnTo>
                  <a:lnTo>
                    <a:pt x="877" y="408"/>
                  </a:lnTo>
                  <a:lnTo>
                    <a:pt x="872" y="411"/>
                  </a:lnTo>
                  <a:lnTo>
                    <a:pt x="868" y="414"/>
                  </a:lnTo>
                  <a:lnTo>
                    <a:pt x="858" y="419"/>
                  </a:lnTo>
                  <a:lnTo>
                    <a:pt x="849" y="422"/>
                  </a:lnTo>
                  <a:lnTo>
                    <a:pt x="839" y="425"/>
                  </a:lnTo>
                  <a:lnTo>
                    <a:pt x="829" y="427"/>
                  </a:lnTo>
                  <a:lnTo>
                    <a:pt x="819" y="428"/>
                  </a:lnTo>
                  <a:lnTo>
                    <a:pt x="808" y="428"/>
                  </a:lnTo>
                  <a:lnTo>
                    <a:pt x="796" y="428"/>
                  </a:lnTo>
                  <a:lnTo>
                    <a:pt x="784" y="427"/>
                  </a:lnTo>
                  <a:lnTo>
                    <a:pt x="774" y="425"/>
                  </a:lnTo>
                  <a:lnTo>
                    <a:pt x="764" y="423"/>
                  </a:lnTo>
                  <a:lnTo>
                    <a:pt x="759" y="421"/>
                  </a:lnTo>
                  <a:lnTo>
                    <a:pt x="756" y="419"/>
                  </a:lnTo>
                  <a:lnTo>
                    <a:pt x="753" y="415"/>
                  </a:lnTo>
                  <a:lnTo>
                    <a:pt x="752" y="411"/>
                  </a:lnTo>
                  <a:lnTo>
                    <a:pt x="739" y="353"/>
                  </a:lnTo>
                  <a:lnTo>
                    <a:pt x="738" y="350"/>
                  </a:lnTo>
                  <a:lnTo>
                    <a:pt x="739" y="347"/>
                  </a:lnTo>
                  <a:lnTo>
                    <a:pt x="739" y="345"/>
                  </a:lnTo>
                  <a:lnTo>
                    <a:pt x="741" y="344"/>
                  </a:lnTo>
                  <a:lnTo>
                    <a:pt x="742" y="342"/>
                  </a:lnTo>
                  <a:lnTo>
                    <a:pt x="744" y="341"/>
                  </a:lnTo>
                  <a:lnTo>
                    <a:pt x="746" y="341"/>
                  </a:lnTo>
                  <a:lnTo>
                    <a:pt x="749" y="341"/>
                  </a:lnTo>
                  <a:lnTo>
                    <a:pt x="763" y="344"/>
                  </a:lnTo>
                  <a:lnTo>
                    <a:pt x="773" y="346"/>
                  </a:lnTo>
                  <a:lnTo>
                    <a:pt x="785" y="346"/>
                  </a:lnTo>
                  <a:lnTo>
                    <a:pt x="791" y="346"/>
                  </a:lnTo>
                  <a:lnTo>
                    <a:pt x="797" y="345"/>
                  </a:lnTo>
                  <a:lnTo>
                    <a:pt x="803" y="344"/>
                  </a:lnTo>
                  <a:lnTo>
                    <a:pt x="808" y="342"/>
                  </a:lnTo>
                  <a:lnTo>
                    <a:pt x="812" y="339"/>
                  </a:lnTo>
                  <a:lnTo>
                    <a:pt x="816" y="336"/>
                  </a:lnTo>
                  <a:lnTo>
                    <a:pt x="817" y="335"/>
                  </a:lnTo>
                  <a:lnTo>
                    <a:pt x="819" y="333"/>
                  </a:lnTo>
                  <a:lnTo>
                    <a:pt x="821" y="328"/>
                  </a:lnTo>
                  <a:lnTo>
                    <a:pt x="824" y="323"/>
                  </a:lnTo>
                  <a:lnTo>
                    <a:pt x="825" y="318"/>
                  </a:lnTo>
                  <a:lnTo>
                    <a:pt x="827" y="311"/>
                  </a:lnTo>
                  <a:lnTo>
                    <a:pt x="828" y="304"/>
                  </a:lnTo>
                  <a:lnTo>
                    <a:pt x="829" y="297"/>
                  </a:lnTo>
                  <a:lnTo>
                    <a:pt x="829" y="288"/>
                  </a:lnTo>
                  <a:lnTo>
                    <a:pt x="830" y="269"/>
                  </a:lnTo>
                  <a:lnTo>
                    <a:pt x="830" y="14"/>
                  </a:lnTo>
                  <a:lnTo>
                    <a:pt x="830" y="12"/>
                  </a:lnTo>
                  <a:lnTo>
                    <a:pt x="830" y="10"/>
                  </a:lnTo>
                  <a:lnTo>
                    <a:pt x="832" y="7"/>
                  </a:lnTo>
                  <a:lnTo>
                    <a:pt x="833" y="6"/>
                  </a:lnTo>
                  <a:lnTo>
                    <a:pt x="835" y="5"/>
                  </a:lnTo>
                  <a:lnTo>
                    <a:pt x="837" y="5"/>
                  </a:lnTo>
                  <a:lnTo>
                    <a:pt x="838" y="4"/>
                  </a:lnTo>
                  <a:lnTo>
                    <a:pt x="912" y="4"/>
                  </a:lnTo>
                  <a:close/>
                  <a:moveTo>
                    <a:pt x="2826" y="1740"/>
                  </a:moveTo>
                  <a:lnTo>
                    <a:pt x="2925" y="1740"/>
                  </a:lnTo>
                  <a:lnTo>
                    <a:pt x="2875" y="1609"/>
                  </a:lnTo>
                  <a:lnTo>
                    <a:pt x="2826" y="1740"/>
                  </a:lnTo>
                  <a:close/>
                  <a:moveTo>
                    <a:pt x="2956" y="1822"/>
                  </a:moveTo>
                  <a:lnTo>
                    <a:pt x="2796" y="1822"/>
                  </a:lnTo>
                  <a:lnTo>
                    <a:pt x="2774" y="1879"/>
                  </a:lnTo>
                  <a:lnTo>
                    <a:pt x="2773" y="1882"/>
                  </a:lnTo>
                  <a:lnTo>
                    <a:pt x="2771" y="1884"/>
                  </a:lnTo>
                  <a:lnTo>
                    <a:pt x="2770" y="1885"/>
                  </a:lnTo>
                  <a:lnTo>
                    <a:pt x="2768" y="1887"/>
                  </a:lnTo>
                  <a:lnTo>
                    <a:pt x="2764" y="1888"/>
                  </a:lnTo>
                  <a:lnTo>
                    <a:pt x="2760" y="1889"/>
                  </a:lnTo>
                  <a:lnTo>
                    <a:pt x="2681" y="1889"/>
                  </a:lnTo>
                  <a:lnTo>
                    <a:pt x="2679" y="1889"/>
                  </a:lnTo>
                  <a:lnTo>
                    <a:pt x="2677" y="1888"/>
                  </a:lnTo>
                  <a:lnTo>
                    <a:pt x="2675" y="1887"/>
                  </a:lnTo>
                  <a:lnTo>
                    <a:pt x="2673" y="1885"/>
                  </a:lnTo>
                  <a:lnTo>
                    <a:pt x="2672" y="1883"/>
                  </a:lnTo>
                  <a:lnTo>
                    <a:pt x="2671" y="1881"/>
                  </a:lnTo>
                  <a:lnTo>
                    <a:pt x="2672" y="1878"/>
                  </a:lnTo>
                  <a:lnTo>
                    <a:pt x="2673" y="1875"/>
                  </a:lnTo>
                  <a:lnTo>
                    <a:pt x="2828" y="1480"/>
                  </a:lnTo>
                  <a:lnTo>
                    <a:pt x="2829" y="1477"/>
                  </a:lnTo>
                  <a:lnTo>
                    <a:pt x="2830" y="1475"/>
                  </a:lnTo>
                  <a:lnTo>
                    <a:pt x="2833" y="1472"/>
                  </a:lnTo>
                  <a:lnTo>
                    <a:pt x="2837" y="1471"/>
                  </a:lnTo>
                  <a:lnTo>
                    <a:pt x="2839" y="1470"/>
                  </a:lnTo>
                  <a:lnTo>
                    <a:pt x="2842" y="1470"/>
                  </a:lnTo>
                  <a:lnTo>
                    <a:pt x="2911" y="1470"/>
                  </a:lnTo>
                  <a:lnTo>
                    <a:pt x="2916" y="1471"/>
                  </a:lnTo>
                  <a:lnTo>
                    <a:pt x="2920" y="1472"/>
                  </a:lnTo>
                  <a:lnTo>
                    <a:pt x="2923" y="1475"/>
                  </a:lnTo>
                  <a:lnTo>
                    <a:pt x="2924" y="1477"/>
                  </a:lnTo>
                  <a:lnTo>
                    <a:pt x="2925" y="1480"/>
                  </a:lnTo>
                  <a:lnTo>
                    <a:pt x="3081" y="1875"/>
                  </a:lnTo>
                  <a:lnTo>
                    <a:pt x="3082" y="1878"/>
                  </a:lnTo>
                  <a:lnTo>
                    <a:pt x="3082" y="1881"/>
                  </a:lnTo>
                  <a:lnTo>
                    <a:pt x="3081" y="1883"/>
                  </a:lnTo>
                  <a:lnTo>
                    <a:pt x="3080" y="1885"/>
                  </a:lnTo>
                  <a:lnTo>
                    <a:pt x="3079" y="1887"/>
                  </a:lnTo>
                  <a:lnTo>
                    <a:pt x="3077" y="1888"/>
                  </a:lnTo>
                  <a:lnTo>
                    <a:pt x="3074" y="1889"/>
                  </a:lnTo>
                  <a:lnTo>
                    <a:pt x="3072" y="1889"/>
                  </a:lnTo>
                  <a:lnTo>
                    <a:pt x="2991" y="1889"/>
                  </a:lnTo>
                  <a:lnTo>
                    <a:pt x="2987" y="1888"/>
                  </a:lnTo>
                  <a:lnTo>
                    <a:pt x="2985" y="1888"/>
                  </a:lnTo>
                  <a:lnTo>
                    <a:pt x="2983" y="1887"/>
                  </a:lnTo>
                  <a:lnTo>
                    <a:pt x="2981" y="1885"/>
                  </a:lnTo>
                  <a:lnTo>
                    <a:pt x="2980" y="1884"/>
                  </a:lnTo>
                  <a:lnTo>
                    <a:pt x="2979" y="1882"/>
                  </a:lnTo>
                  <a:lnTo>
                    <a:pt x="2978" y="1879"/>
                  </a:lnTo>
                  <a:lnTo>
                    <a:pt x="2956" y="1822"/>
                  </a:lnTo>
                  <a:close/>
                  <a:moveTo>
                    <a:pt x="1829" y="1889"/>
                  </a:moveTo>
                  <a:lnTo>
                    <a:pt x="1747" y="1889"/>
                  </a:lnTo>
                  <a:lnTo>
                    <a:pt x="1743" y="1888"/>
                  </a:lnTo>
                  <a:lnTo>
                    <a:pt x="1739" y="1886"/>
                  </a:lnTo>
                  <a:lnTo>
                    <a:pt x="1738" y="1885"/>
                  </a:lnTo>
                  <a:lnTo>
                    <a:pt x="1737" y="1883"/>
                  </a:lnTo>
                  <a:lnTo>
                    <a:pt x="1737" y="1881"/>
                  </a:lnTo>
                  <a:lnTo>
                    <a:pt x="1737" y="1879"/>
                  </a:lnTo>
                  <a:lnTo>
                    <a:pt x="1737" y="1480"/>
                  </a:lnTo>
                  <a:lnTo>
                    <a:pt x="1737" y="1478"/>
                  </a:lnTo>
                  <a:lnTo>
                    <a:pt x="1737" y="1476"/>
                  </a:lnTo>
                  <a:lnTo>
                    <a:pt x="1739" y="1473"/>
                  </a:lnTo>
                  <a:lnTo>
                    <a:pt x="1741" y="1472"/>
                  </a:lnTo>
                  <a:lnTo>
                    <a:pt x="1743" y="1471"/>
                  </a:lnTo>
                  <a:lnTo>
                    <a:pt x="1747" y="1470"/>
                  </a:lnTo>
                  <a:lnTo>
                    <a:pt x="1829" y="1470"/>
                  </a:lnTo>
                  <a:lnTo>
                    <a:pt x="1833" y="1471"/>
                  </a:lnTo>
                  <a:lnTo>
                    <a:pt x="1836" y="1473"/>
                  </a:lnTo>
                  <a:lnTo>
                    <a:pt x="1837" y="1474"/>
                  </a:lnTo>
                  <a:lnTo>
                    <a:pt x="1838" y="1476"/>
                  </a:lnTo>
                  <a:lnTo>
                    <a:pt x="1839" y="1478"/>
                  </a:lnTo>
                  <a:lnTo>
                    <a:pt x="1839" y="1480"/>
                  </a:lnTo>
                  <a:lnTo>
                    <a:pt x="1839" y="1655"/>
                  </a:lnTo>
                  <a:lnTo>
                    <a:pt x="1982" y="1480"/>
                  </a:lnTo>
                  <a:lnTo>
                    <a:pt x="1986" y="1476"/>
                  </a:lnTo>
                  <a:lnTo>
                    <a:pt x="1987" y="1474"/>
                  </a:lnTo>
                  <a:lnTo>
                    <a:pt x="1990" y="1473"/>
                  </a:lnTo>
                  <a:lnTo>
                    <a:pt x="1992" y="1472"/>
                  </a:lnTo>
                  <a:lnTo>
                    <a:pt x="1994" y="1471"/>
                  </a:lnTo>
                  <a:lnTo>
                    <a:pt x="1997" y="1470"/>
                  </a:lnTo>
                  <a:lnTo>
                    <a:pt x="2000" y="1470"/>
                  </a:lnTo>
                  <a:lnTo>
                    <a:pt x="2095" y="1470"/>
                  </a:lnTo>
                  <a:lnTo>
                    <a:pt x="2098" y="1471"/>
                  </a:lnTo>
                  <a:lnTo>
                    <a:pt x="2101" y="1472"/>
                  </a:lnTo>
                  <a:lnTo>
                    <a:pt x="2102" y="1473"/>
                  </a:lnTo>
                  <a:lnTo>
                    <a:pt x="2103" y="1475"/>
                  </a:lnTo>
                  <a:lnTo>
                    <a:pt x="2104" y="1478"/>
                  </a:lnTo>
                  <a:lnTo>
                    <a:pt x="2104" y="1480"/>
                  </a:lnTo>
                  <a:lnTo>
                    <a:pt x="2103" y="1483"/>
                  </a:lnTo>
                  <a:lnTo>
                    <a:pt x="2101" y="1485"/>
                  </a:lnTo>
                  <a:lnTo>
                    <a:pt x="1970" y="1646"/>
                  </a:lnTo>
                  <a:lnTo>
                    <a:pt x="2105" y="1876"/>
                  </a:lnTo>
                  <a:lnTo>
                    <a:pt x="2107" y="1878"/>
                  </a:lnTo>
                  <a:lnTo>
                    <a:pt x="2107" y="1880"/>
                  </a:lnTo>
                  <a:lnTo>
                    <a:pt x="2107" y="1883"/>
                  </a:lnTo>
                  <a:lnTo>
                    <a:pt x="2106" y="1885"/>
                  </a:lnTo>
                  <a:lnTo>
                    <a:pt x="2105" y="1886"/>
                  </a:lnTo>
                  <a:lnTo>
                    <a:pt x="2104" y="1888"/>
                  </a:lnTo>
                  <a:lnTo>
                    <a:pt x="2102" y="1888"/>
                  </a:lnTo>
                  <a:lnTo>
                    <a:pt x="2099" y="1889"/>
                  </a:lnTo>
                  <a:lnTo>
                    <a:pt x="2003" y="1889"/>
                  </a:lnTo>
                  <a:lnTo>
                    <a:pt x="1998" y="1888"/>
                  </a:lnTo>
                  <a:lnTo>
                    <a:pt x="1994" y="1887"/>
                  </a:lnTo>
                  <a:lnTo>
                    <a:pt x="1992" y="1885"/>
                  </a:lnTo>
                  <a:lnTo>
                    <a:pt x="1991" y="1884"/>
                  </a:lnTo>
                  <a:lnTo>
                    <a:pt x="1988" y="1879"/>
                  </a:lnTo>
                  <a:lnTo>
                    <a:pt x="1892" y="1713"/>
                  </a:lnTo>
                  <a:lnTo>
                    <a:pt x="1839" y="1778"/>
                  </a:lnTo>
                  <a:lnTo>
                    <a:pt x="1839" y="1879"/>
                  </a:lnTo>
                  <a:lnTo>
                    <a:pt x="1839" y="1881"/>
                  </a:lnTo>
                  <a:lnTo>
                    <a:pt x="1838" y="1883"/>
                  </a:lnTo>
                  <a:lnTo>
                    <a:pt x="1836" y="1886"/>
                  </a:lnTo>
                  <a:lnTo>
                    <a:pt x="1835" y="1887"/>
                  </a:lnTo>
                  <a:lnTo>
                    <a:pt x="1833" y="1888"/>
                  </a:lnTo>
                  <a:lnTo>
                    <a:pt x="1829" y="1889"/>
                  </a:lnTo>
                  <a:close/>
                  <a:moveTo>
                    <a:pt x="2168" y="1480"/>
                  </a:moveTo>
                  <a:lnTo>
                    <a:pt x="2168" y="1478"/>
                  </a:lnTo>
                  <a:lnTo>
                    <a:pt x="2168" y="1476"/>
                  </a:lnTo>
                  <a:lnTo>
                    <a:pt x="2171" y="1473"/>
                  </a:lnTo>
                  <a:lnTo>
                    <a:pt x="2172" y="1472"/>
                  </a:lnTo>
                  <a:lnTo>
                    <a:pt x="2174" y="1471"/>
                  </a:lnTo>
                  <a:lnTo>
                    <a:pt x="2178" y="1470"/>
                  </a:lnTo>
                  <a:lnTo>
                    <a:pt x="2260" y="1470"/>
                  </a:lnTo>
                  <a:lnTo>
                    <a:pt x="2264" y="1471"/>
                  </a:lnTo>
                  <a:lnTo>
                    <a:pt x="2267" y="1473"/>
                  </a:lnTo>
                  <a:lnTo>
                    <a:pt x="2268" y="1474"/>
                  </a:lnTo>
                  <a:lnTo>
                    <a:pt x="2269" y="1476"/>
                  </a:lnTo>
                  <a:lnTo>
                    <a:pt x="2270" y="1478"/>
                  </a:lnTo>
                  <a:lnTo>
                    <a:pt x="2270" y="1480"/>
                  </a:lnTo>
                  <a:lnTo>
                    <a:pt x="2270" y="1879"/>
                  </a:lnTo>
                  <a:lnTo>
                    <a:pt x="2270" y="1881"/>
                  </a:lnTo>
                  <a:lnTo>
                    <a:pt x="2269" y="1883"/>
                  </a:lnTo>
                  <a:lnTo>
                    <a:pt x="2267" y="1886"/>
                  </a:lnTo>
                  <a:lnTo>
                    <a:pt x="2266" y="1887"/>
                  </a:lnTo>
                  <a:lnTo>
                    <a:pt x="2264" y="1888"/>
                  </a:lnTo>
                  <a:lnTo>
                    <a:pt x="2260" y="1889"/>
                  </a:lnTo>
                  <a:lnTo>
                    <a:pt x="2178" y="1889"/>
                  </a:lnTo>
                  <a:lnTo>
                    <a:pt x="2174" y="1888"/>
                  </a:lnTo>
                  <a:lnTo>
                    <a:pt x="2171" y="1886"/>
                  </a:lnTo>
                  <a:lnTo>
                    <a:pt x="2169" y="1885"/>
                  </a:lnTo>
                  <a:lnTo>
                    <a:pt x="2168" y="1883"/>
                  </a:lnTo>
                  <a:lnTo>
                    <a:pt x="2168" y="1881"/>
                  </a:lnTo>
                  <a:lnTo>
                    <a:pt x="2168" y="1879"/>
                  </a:lnTo>
                  <a:lnTo>
                    <a:pt x="2168" y="1480"/>
                  </a:lnTo>
                  <a:close/>
                  <a:moveTo>
                    <a:pt x="2470" y="1879"/>
                  </a:moveTo>
                  <a:lnTo>
                    <a:pt x="2323" y="1484"/>
                  </a:lnTo>
                  <a:lnTo>
                    <a:pt x="2322" y="1481"/>
                  </a:lnTo>
                  <a:lnTo>
                    <a:pt x="2322" y="1478"/>
                  </a:lnTo>
                  <a:lnTo>
                    <a:pt x="2322" y="1476"/>
                  </a:lnTo>
                  <a:lnTo>
                    <a:pt x="2323" y="1474"/>
                  </a:lnTo>
                  <a:lnTo>
                    <a:pt x="2325" y="1472"/>
                  </a:lnTo>
                  <a:lnTo>
                    <a:pt x="2327" y="1471"/>
                  </a:lnTo>
                  <a:lnTo>
                    <a:pt x="2329" y="1470"/>
                  </a:lnTo>
                  <a:lnTo>
                    <a:pt x="2332" y="1470"/>
                  </a:lnTo>
                  <a:lnTo>
                    <a:pt x="2415" y="1470"/>
                  </a:lnTo>
                  <a:lnTo>
                    <a:pt x="2419" y="1471"/>
                  </a:lnTo>
                  <a:lnTo>
                    <a:pt x="2421" y="1471"/>
                  </a:lnTo>
                  <a:lnTo>
                    <a:pt x="2423" y="1472"/>
                  </a:lnTo>
                  <a:lnTo>
                    <a:pt x="2425" y="1474"/>
                  </a:lnTo>
                  <a:lnTo>
                    <a:pt x="2426" y="1475"/>
                  </a:lnTo>
                  <a:lnTo>
                    <a:pt x="2428" y="1477"/>
                  </a:lnTo>
                  <a:lnTo>
                    <a:pt x="2429" y="1480"/>
                  </a:lnTo>
                  <a:lnTo>
                    <a:pt x="2521" y="1734"/>
                  </a:lnTo>
                  <a:lnTo>
                    <a:pt x="2614" y="1480"/>
                  </a:lnTo>
                  <a:lnTo>
                    <a:pt x="2615" y="1477"/>
                  </a:lnTo>
                  <a:lnTo>
                    <a:pt x="2616" y="1475"/>
                  </a:lnTo>
                  <a:lnTo>
                    <a:pt x="2618" y="1474"/>
                  </a:lnTo>
                  <a:lnTo>
                    <a:pt x="2619" y="1472"/>
                  </a:lnTo>
                  <a:lnTo>
                    <a:pt x="2623" y="1471"/>
                  </a:lnTo>
                  <a:lnTo>
                    <a:pt x="2627" y="1470"/>
                  </a:lnTo>
                  <a:lnTo>
                    <a:pt x="2709" y="1470"/>
                  </a:lnTo>
                  <a:lnTo>
                    <a:pt x="2711" y="1470"/>
                  </a:lnTo>
                  <a:lnTo>
                    <a:pt x="2714" y="1471"/>
                  </a:lnTo>
                  <a:lnTo>
                    <a:pt x="2716" y="1472"/>
                  </a:lnTo>
                  <a:lnTo>
                    <a:pt x="2717" y="1474"/>
                  </a:lnTo>
                  <a:lnTo>
                    <a:pt x="2718" y="1476"/>
                  </a:lnTo>
                  <a:lnTo>
                    <a:pt x="2719" y="1478"/>
                  </a:lnTo>
                  <a:lnTo>
                    <a:pt x="2719" y="1481"/>
                  </a:lnTo>
                  <a:lnTo>
                    <a:pt x="2718" y="1484"/>
                  </a:lnTo>
                  <a:lnTo>
                    <a:pt x="2571" y="1879"/>
                  </a:lnTo>
                  <a:lnTo>
                    <a:pt x="2569" y="1883"/>
                  </a:lnTo>
                  <a:lnTo>
                    <a:pt x="2567" y="1885"/>
                  </a:lnTo>
                  <a:lnTo>
                    <a:pt x="2566" y="1886"/>
                  </a:lnTo>
                  <a:lnTo>
                    <a:pt x="2564" y="1887"/>
                  </a:lnTo>
                  <a:lnTo>
                    <a:pt x="2562" y="1888"/>
                  </a:lnTo>
                  <a:lnTo>
                    <a:pt x="2560" y="1889"/>
                  </a:lnTo>
                  <a:lnTo>
                    <a:pt x="2557" y="1889"/>
                  </a:lnTo>
                  <a:lnTo>
                    <a:pt x="2484" y="1889"/>
                  </a:lnTo>
                  <a:lnTo>
                    <a:pt x="2481" y="1889"/>
                  </a:lnTo>
                  <a:lnTo>
                    <a:pt x="2479" y="1888"/>
                  </a:lnTo>
                  <a:lnTo>
                    <a:pt x="2475" y="1886"/>
                  </a:lnTo>
                  <a:lnTo>
                    <a:pt x="2473" y="1885"/>
                  </a:lnTo>
                  <a:lnTo>
                    <a:pt x="2472" y="1883"/>
                  </a:lnTo>
                  <a:lnTo>
                    <a:pt x="2470" y="1879"/>
                  </a:lnTo>
                  <a:close/>
                  <a:moveTo>
                    <a:pt x="224" y="1804"/>
                  </a:moveTo>
                  <a:lnTo>
                    <a:pt x="236" y="1804"/>
                  </a:lnTo>
                  <a:lnTo>
                    <a:pt x="247" y="1802"/>
                  </a:lnTo>
                  <a:lnTo>
                    <a:pt x="259" y="1799"/>
                  </a:lnTo>
                  <a:lnTo>
                    <a:pt x="264" y="1797"/>
                  </a:lnTo>
                  <a:lnTo>
                    <a:pt x="269" y="1795"/>
                  </a:lnTo>
                  <a:lnTo>
                    <a:pt x="280" y="1791"/>
                  </a:lnTo>
                  <a:lnTo>
                    <a:pt x="289" y="1785"/>
                  </a:lnTo>
                  <a:lnTo>
                    <a:pt x="298" y="1778"/>
                  </a:lnTo>
                  <a:lnTo>
                    <a:pt x="306" y="1770"/>
                  </a:lnTo>
                  <a:lnTo>
                    <a:pt x="314" y="1762"/>
                  </a:lnTo>
                  <a:lnTo>
                    <a:pt x="320" y="1752"/>
                  </a:lnTo>
                  <a:lnTo>
                    <a:pt x="326" y="1742"/>
                  </a:lnTo>
                  <a:lnTo>
                    <a:pt x="331" y="1731"/>
                  </a:lnTo>
                  <a:lnTo>
                    <a:pt x="333" y="1725"/>
                  </a:lnTo>
                  <a:lnTo>
                    <a:pt x="334" y="1719"/>
                  </a:lnTo>
                  <a:lnTo>
                    <a:pt x="337" y="1707"/>
                  </a:lnTo>
                  <a:lnTo>
                    <a:pt x="339" y="1693"/>
                  </a:lnTo>
                  <a:lnTo>
                    <a:pt x="339" y="1687"/>
                  </a:lnTo>
                  <a:lnTo>
                    <a:pt x="340" y="1680"/>
                  </a:lnTo>
                  <a:lnTo>
                    <a:pt x="339" y="1666"/>
                  </a:lnTo>
                  <a:lnTo>
                    <a:pt x="337" y="1652"/>
                  </a:lnTo>
                  <a:lnTo>
                    <a:pt x="334" y="1640"/>
                  </a:lnTo>
                  <a:lnTo>
                    <a:pt x="333" y="1634"/>
                  </a:lnTo>
                  <a:lnTo>
                    <a:pt x="331" y="1628"/>
                  </a:lnTo>
                  <a:lnTo>
                    <a:pt x="326" y="1617"/>
                  </a:lnTo>
                  <a:lnTo>
                    <a:pt x="320" y="1607"/>
                  </a:lnTo>
                  <a:lnTo>
                    <a:pt x="314" y="1597"/>
                  </a:lnTo>
                  <a:lnTo>
                    <a:pt x="310" y="1593"/>
                  </a:lnTo>
                  <a:lnTo>
                    <a:pt x="306" y="1589"/>
                  </a:lnTo>
                  <a:lnTo>
                    <a:pt x="302" y="1585"/>
                  </a:lnTo>
                  <a:lnTo>
                    <a:pt x="298" y="1581"/>
                  </a:lnTo>
                  <a:lnTo>
                    <a:pt x="294" y="1578"/>
                  </a:lnTo>
                  <a:lnTo>
                    <a:pt x="289" y="1574"/>
                  </a:lnTo>
                  <a:lnTo>
                    <a:pt x="280" y="1568"/>
                  </a:lnTo>
                  <a:lnTo>
                    <a:pt x="275" y="1566"/>
                  </a:lnTo>
                  <a:lnTo>
                    <a:pt x="269" y="1564"/>
                  </a:lnTo>
                  <a:lnTo>
                    <a:pt x="264" y="1562"/>
                  </a:lnTo>
                  <a:lnTo>
                    <a:pt x="259" y="1560"/>
                  </a:lnTo>
                  <a:lnTo>
                    <a:pt x="247" y="1557"/>
                  </a:lnTo>
                  <a:lnTo>
                    <a:pt x="236" y="1555"/>
                  </a:lnTo>
                  <a:lnTo>
                    <a:pt x="230" y="1555"/>
                  </a:lnTo>
                  <a:lnTo>
                    <a:pt x="224" y="1555"/>
                  </a:lnTo>
                  <a:lnTo>
                    <a:pt x="212" y="1555"/>
                  </a:lnTo>
                  <a:lnTo>
                    <a:pt x="200" y="1557"/>
                  </a:lnTo>
                  <a:lnTo>
                    <a:pt x="189" y="1560"/>
                  </a:lnTo>
                  <a:lnTo>
                    <a:pt x="183" y="1562"/>
                  </a:lnTo>
                  <a:lnTo>
                    <a:pt x="178" y="1564"/>
                  </a:lnTo>
                  <a:lnTo>
                    <a:pt x="168" y="1568"/>
                  </a:lnTo>
                  <a:lnTo>
                    <a:pt x="158" y="1574"/>
                  </a:lnTo>
                  <a:lnTo>
                    <a:pt x="149" y="1581"/>
                  </a:lnTo>
                  <a:lnTo>
                    <a:pt x="141" y="1589"/>
                  </a:lnTo>
                  <a:lnTo>
                    <a:pt x="134" y="1597"/>
                  </a:lnTo>
                  <a:lnTo>
                    <a:pt x="127" y="1607"/>
                  </a:lnTo>
                  <a:lnTo>
                    <a:pt x="121" y="1617"/>
                  </a:lnTo>
                  <a:lnTo>
                    <a:pt x="117" y="1628"/>
                  </a:lnTo>
                  <a:lnTo>
                    <a:pt x="115" y="1634"/>
                  </a:lnTo>
                  <a:lnTo>
                    <a:pt x="113" y="1640"/>
                  </a:lnTo>
                  <a:lnTo>
                    <a:pt x="110" y="1652"/>
                  </a:lnTo>
                  <a:lnTo>
                    <a:pt x="108" y="1666"/>
                  </a:lnTo>
                  <a:lnTo>
                    <a:pt x="108" y="1672"/>
                  </a:lnTo>
                  <a:lnTo>
                    <a:pt x="108" y="1680"/>
                  </a:lnTo>
                  <a:lnTo>
                    <a:pt x="108" y="1693"/>
                  </a:lnTo>
                  <a:lnTo>
                    <a:pt x="110" y="1707"/>
                  </a:lnTo>
                  <a:lnTo>
                    <a:pt x="113" y="1719"/>
                  </a:lnTo>
                  <a:lnTo>
                    <a:pt x="115" y="1725"/>
                  </a:lnTo>
                  <a:lnTo>
                    <a:pt x="117" y="1731"/>
                  </a:lnTo>
                  <a:lnTo>
                    <a:pt x="121" y="1742"/>
                  </a:lnTo>
                  <a:lnTo>
                    <a:pt x="127" y="1752"/>
                  </a:lnTo>
                  <a:lnTo>
                    <a:pt x="134" y="1762"/>
                  </a:lnTo>
                  <a:lnTo>
                    <a:pt x="137" y="1766"/>
                  </a:lnTo>
                  <a:lnTo>
                    <a:pt x="141" y="1770"/>
                  </a:lnTo>
                  <a:lnTo>
                    <a:pt x="145" y="1774"/>
                  </a:lnTo>
                  <a:lnTo>
                    <a:pt x="149" y="1778"/>
                  </a:lnTo>
                  <a:lnTo>
                    <a:pt x="154" y="1781"/>
                  </a:lnTo>
                  <a:lnTo>
                    <a:pt x="158" y="1785"/>
                  </a:lnTo>
                  <a:lnTo>
                    <a:pt x="168" y="1791"/>
                  </a:lnTo>
                  <a:lnTo>
                    <a:pt x="173" y="1793"/>
                  </a:lnTo>
                  <a:lnTo>
                    <a:pt x="178" y="1795"/>
                  </a:lnTo>
                  <a:lnTo>
                    <a:pt x="183" y="1797"/>
                  </a:lnTo>
                  <a:lnTo>
                    <a:pt x="189" y="1799"/>
                  </a:lnTo>
                  <a:lnTo>
                    <a:pt x="200" y="1802"/>
                  </a:lnTo>
                  <a:lnTo>
                    <a:pt x="212" y="1804"/>
                  </a:lnTo>
                  <a:lnTo>
                    <a:pt x="218" y="1804"/>
                  </a:lnTo>
                  <a:lnTo>
                    <a:pt x="224" y="1804"/>
                  </a:lnTo>
                  <a:close/>
                  <a:moveTo>
                    <a:pt x="224" y="1463"/>
                  </a:moveTo>
                  <a:lnTo>
                    <a:pt x="236" y="1463"/>
                  </a:lnTo>
                  <a:lnTo>
                    <a:pt x="247" y="1464"/>
                  </a:lnTo>
                  <a:lnTo>
                    <a:pt x="259" y="1465"/>
                  </a:lnTo>
                  <a:lnTo>
                    <a:pt x="270" y="1467"/>
                  </a:lnTo>
                  <a:lnTo>
                    <a:pt x="281" y="1470"/>
                  </a:lnTo>
                  <a:lnTo>
                    <a:pt x="292" y="1472"/>
                  </a:lnTo>
                  <a:lnTo>
                    <a:pt x="302" y="1476"/>
                  </a:lnTo>
                  <a:lnTo>
                    <a:pt x="313" y="1479"/>
                  </a:lnTo>
                  <a:lnTo>
                    <a:pt x="323" y="1483"/>
                  </a:lnTo>
                  <a:lnTo>
                    <a:pt x="332" y="1488"/>
                  </a:lnTo>
                  <a:lnTo>
                    <a:pt x="342" y="1493"/>
                  </a:lnTo>
                  <a:lnTo>
                    <a:pt x="351" y="1499"/>
                  </a:lnTo>
                  <a:lnTo>
                    <a:pt x="359" y="1504"/>
                  </a:lnTo>
                  <a:lnTo>
                    <a:pt x="364" y="1507"/>
                  </a:lnTo>
                  <a:lnTo>
                    <a:pt x="368" y="1511"/>
                  </a:lnTo>
                  <a:lnTo>
                    <a:pt x="372" y="1514"/>
                  </a:lnTo>
                  <a:lnTo>
                    <a:pt x="376" y="1517"/>
                  </a:lnTo>
                  <a:lnTo>
                    <a:pt x="383" y="1524"/>
                  </a:lnTo>
                  <a:lnTo>
                    <a:pt x="387" y="1528"/>
                  </a:lnTo>
                  <a:lnTo>
                    <a:pt x="391" y="1532"/>
                  </a:lnTo>
                  <a:lnTo>
                    <a:pt x="398" y="1539"/>
                  </a:lnTo>
                  <a:lnTo>
                    <a:pt x="404" y="1548"/>
                  </a:lnTo>
                  <a:lnTo>
                    <a:pt x="407" y="1552"/>
                  </a:lnTo>
                  <a:lnTo>
                    <a:pt x="410" y="1556"/>
                  </a:lnTo>
                  <a:lnTo>
                    <a:pt x="416" y="1565"/>
                  </a:lnTo>
                  <a:lnTo>
                    <a:pt x="421" y="1574"/>
                  </a:lnTo>
                  <a:lnTo>
                    <a:pt x="426" y="1583"/>
                  </a:lnTo>
                  <a:lnTo>
                    <a:pt x="430" y="1593"/>
                  </a:lnTo>
                  <a:lnTo>
                    <a:pt x="432" y="1598"/>
                  </a:lnTo>
                  <a:lnTo>
                    <a:pt x="434" y="1603"/>
                  </a:lnTo>
                  <a:lnTo>
                    <a:pt x="437" y="1613"/>
                  </a:lnTo>
                  <a:lnTo>
                    <a:pt x="440" y="1623"/>
                  </a:lnTo>
                  <a:lnTo>
                    <a:pt x="443" y="1634"/>
                  </a:lnTo>
                  <a:lnTo>
                    <a:pt x="445" y="1645"/>
                  </a:lnTo>
                  <a:lnTo>
                    <a:pt x="446" y="1656"/>
                  </a:lnTo>
                  <a:lnTo>
                    <a:pt x="446" y="1662"/>
                  </a:lnTo>
                  <a:lnTo>
                    <a:pt x="447" y="1668"/>
                  </a:lnTo>
                  <a:lnTo>
                    <a:pt x="447" y="1680"/>
                  </a:lnTo>
                  <a:lnTo>
                    <a:pt x="447" y="1691"/>
                  </a:lnTo>
                  <a:lnTo>
                    <a:pt x="446" y="1703"/>
                  </a:lnTo>
                  <a:lnTo>
                    <a:pt x="445" y="1714"/>
                  </a:lnTo>
                  <a:lnTo>
                    <a:pt x="443" y="1725"/>
                  </a:lnTo>
                  <a:lnTo>
                    <a:pt x="440" y="1736"/>
                  </a:lnTo>
                  <a:lnTo>
                    <a:pt x="437" y="1746"/>
                  </a:lnTo>
                  <a:lnTo>
                    <a:pt x="434" y="1756"/>
                  </a:lnTo>
                  <a:lnTo>
                    <a:pt x="430" y="1766"/>
                  </a:lnTo>
                  <a:lnTo>
                    <a:pt x="426" y="1776"/>
                  </a:lnTo>
                  <a:lnTo>
                    <a:pt x="421" y="1785"/>
                  </a:lnTo>
                  <a:lnTo>
                    <a:pt x="416" y="1794"/>
                  </a:lnTo>
                  <a:lnTo>
                    <a:pt x="410" y="1803"/>
                  </a:lnTo>
                  <a:lnTo>
                    <a:pt x="404" y="1811"/>
                  </a:lnTo>
                  <a:lnTo>
                    <a:pt x="398" y="1820"/>
                  </a:lnTo>
                  <a:lnTo>
                    <a:pt x="391" y="1827"/>
                  </a:lnTo>
                  <a:lnTo>
                    <a:pt x="383" y="1835"/>
                  </a:lnTo>
                  <a:lnTo>
                    <a:pt x="376" y="1842"/>
                  </a:lnTo>
                  <a:lnTo>
                    <a:pt x="368" y="1848"/>
                  </a:lnTo>
                  <a:lnTo>
                    <a:pt x="359" y="1855"/>
                  </a:lnTo>
                  <a:lnTo>
                    <a:pt x="351" y="1860"/>
                  </a:lnTo>
                  <a:lnTo>
                    <a:pt x="342" y="1866"/>
                  </a:lnTo>
                  <a:lnTo>
                    <a:pt x="332" y="1871"/>
                  </a:lnTo>
                  <a:lnTo>
                    <a:pt x="323" y="1876"/>
                  </a:lnTo>
                  <a:lnTo>
                    <a:pt x="313" y="1880"/>
                  </a:lnTo>
                  <a:lnTo>
                    <a:pt x="302" y="1883"/>
                  </a:lnTo>
                  <a:lnTo>
                    <a:pt x="292" y="1887"/>
                  </a:lnTo>
                  <a:lnTo>
                    <a:pt x="281" y="1889"/>
                  </a:lnTo>
                  <a:lnTo>
                    <a:pt x="270" y="1892"/>
                  </a:lnTo>
                  <a:lnTo>
                    <a:pt x="259" y="1894"/>
                  </a:lnTo>
                  <a:lnTo>
                    <a:pt x="247" y="1895"/>
                  </a:lnTo>
                  <a:lnTo>
                    <a:pt x="236" y="1896"/>
                  </a:lnTo>
                  <a:lnTo>
                    <a:pt x="224" y="1896"/>
                  </a:lnTo>
                  <a:lnTo>
                    <a:pt x="212" y="1896"/>
                  </a:lnTo>
                  <a:lnTo>
                    <a:pt x="200" y="1895"/>
                  </a:lnTo>
                  <a:lnTo>
                    <a:pt x="188" y="1894"/>
                  </a:lnTo>
                  <a:lnTo>
                    <a:pt x="177" y="1892"/>
                  </a:lnTo>
                  <a:lnTo>
                    <a:pt x="166" y="1889"/>
                  </a:lnTo>
                  <a:lnTo>
                    <a:pt x="155" y="1887"/>
                  </a:lnTo>
                  <a:lnTo>
                    <a:pt x="145" y="1883"/>
                  </a:lnTo>
                  <a:lnTo>
                    <a:pt x="135" y="1880"/>
                  </a:lnTo>
                  <a:lnTo>
                    <a:pt x="125" y="1876"/>
                  </a:lnTo>
                  <a:lnTo>
                    <a:pt x="115" y="1871"/>
                  </a:lnTo>
                  <a:lnTo>
                    <a:pt x="106" y="1866"/>
                  </a:lnTo>
                  <a:lnTo>
                    <a:pt x="97" y="1860"/>
                  </a:lnTo>
                  <a:lnTo>
                    <a:pt x="88" y="1855"/>
                  </a:lnTo>
                  <a:lnTo>
                    <a:pt x="84" y="1852"/>
                  </a:lnTo>
                  <a:lnTo>
                    <a:pt x="79" y="1848"/>
                  </a:lnTo>
                  <a:lnTo>
                    <a:pt x="75" y="1845"/>
                  </a:lnTo>
                  <a:lnTo>
                    <a:pt x="71" y="1842"/>
                  </a:lnTo>
                  <a:lnTo>
                    <a:pt x="64" y="1835"/>
                  </a:lnTo>
                  <a:lnTo>
                    <a:pt x="60" y="1831"/>
                  </a:lnTo>
                  <a:lnTo>
                    <a:pt x="56" y="1827"/>
                  </a:lnTo>
                  <a:lnTo>
                    <a:pt x="50" y="1820"/>
                  </a:lnTo>
                  <a:lnTo>
                    <a:pt x="43" y="1811"/>
                  </a:lnTo>
                  <a:lnTo>
                    <a:pt x="40" y="1807"/>
                  </a:lnTo>
                  <a:lnTo>
                    <a:pt x="37" y="1803"/>
                  </a:lnTo>
                  <a:lnTo>
                    <a:pt x="31" y="1794"/>
                  </a:lnTo>
                  <a:lnTo>
                    <a:pt x="26" y="1785"/>
                  </a:lnTo>
                  <a:lnTo>
                    <a:pt x="21" y="1776"/>
                  </a:lnTo>
                  <a:lnTo>
                    <a:pt x="17" y="1766"/>
                  </a:lnTo>
                  <a:lnTo>
                    <a:pt x="15" y="1761"/>
                  </a:lnTo>
                  <a:lnTo>
                    <a:pt x="13" y="1756"/>
                  </a:lnTo>
                  <a:lnTo>
                    <a:pt x="10" y="1746"/>
                  </a:lnTo>
                  <a:lnTo>
                    <a:pt x="7" y="1736"/>
                  </a:lnTo>
                  <a:lnTo>
                    <a:pt x="4" y="1725"/>
                  </a:lnTo>
                  <a:lnTo>
                    <a:pt x="3" y="1714"/>
                  </a:lnTo>
                  <a:lnTo>
                    <a:pt x="1" y="1703"/>
                  </a:lnTo>
                  <a:lnTo>
                    <a:pt x="1" y="1697"/>
                  </a:lnTo>
                  <a:lnTo>
                    <a:pt x="0" y="1691"/>
                  </a:lnTo>
                  <a:lnTo>
                    <a:pt x="0" y="1680"/>
                  </a:lnTo>
                  <a:lnTo>
                    <a:pt x="0" y="1668"/>
                  </a:lnTo>
                  <a:lnTo>
                    <a:pt x="1" y="1656"/>
                  </a:lnTo>
                  <a:lnTo>
                    <a:pt x="3" y="1645"/>
                  </a:lnTo>
                  <a:lnTo>
                    <a:pt x="4" y="1634"/>
                  </a:lnTo>
                  <a:lnTo>
                    <a:pt x="7" y="1623"/>
                  </a:lnTo>
                  <a:lnTo>
                    <a:pt x="10" y="1613"/>
                  </a:lnTo>
                  <a:lnTo>
                    <a:pt x="13" y="1603"/>
                  </a:lnTo>
                  <a:lnTo>
                    <a:pt x="17" y="1593"/>
                  </a:lnTo>
                  <a:lnTo>
                    <a:pt x="21" y="1583"/>
                  </a:lnTo>
                  <a:lnTo>
                    <a:pt x="26" y="1574"/>
                  </a:lnTo>
                  <a:lnTo>
                    <a:pt x="31" y="1565"/>
                  </a:lnTo>
                  <a:lnTo>
                    <a:pt x="37" y="1556"/>
                  </a:lnTo>
                  <a:lnTo>
                    <a:pt x="43" y="1548"/>
                  </a:lnTo>
                  <a:lnTo>
                    <a:pt x="50" y="1539"/>
                  </a:lnTo>
                  <a:lnTo>
                    <a:pt x="56" y="1532"/>
                  </a:lnTo>
                  <a:lnTo>
                    <a:pt x="64" y="1524"/>
                  </a:lnTo>
                  <a:lnTo>
                    <a:pt x="71" y="1517"/>
                  </a:lnTo>
                  <a:lnTo>
                    <a:pt x="79" y="1511"/>
                  </a:lnTo>
                  <a:lnTo>
                    <a:pt x="88" y="1504"/>
                  </a:lnTo>
                  <a:lnTo>
                    <a:pt x="97" y="1499"/>
                  </a:lnTo>
                  <a:lnTo>
                    <a:pt x="106" y="1493"/>
                  </a:lnTo>
                  <a:lnTo>
                    <a:pt x="115" y="1488"/>
                  </a:lnTo>
                  <a:lnTo>
                    <a:pt x="125" y="1483"/>
                  </a:lnTo>
                  <a:lnTo>
                    <a:pt x="135" y="1479"/>
                  </a:lnTo>
                  <a:lnTo>
                    <a:pt x="145" y="1476"/>
                  </a:lnTo>
                  <a:lnTo>
                    <a:pt x="155" y="1472"/>
                  </a:lnTo>
                  <a:lnTo>
                    <a:pt x="166" y="1470"/>
                  </a:lnTo>
                  <a:lnTo>
                    <a:pt x="177" y="1467"/>
                  </a:lnTo>
                  <a:lnTo>
                    <a:pt x="188" y="1465"/>
                  </a:lnTo>
                  <a:lnTo>
                    <a:pt x="200" y="1464"/>
                  </a:lnTo>
                  <a:lnTo>
                    <a:pt x="212" y="1463"/>
                  </a:lnTo>
                  <a:lnTo>
                    <a:pt x="224" y="1463"/>
                  </a:lnTo>
                  <a:close/>
                  <a:moveTo>
                    <a:pt x="1090" y="1810"/>
                  </a:moveTo>
                  <a:lnTo>
                    <a:pt x="1096" y="1809"/>
                  </a:lnTo>
                  <a:lnTo>
                    <a:pt x="1102" y="1809"/>
                  </a:lnTo>
                  <a:lnTo>
                    <a:pt x="1112" y="1807"/>
                  </a:lnTo>
                  <a:lnTo>
                    <a:pt x="1116" y="1806"/>
                  </a:lnTo>
                  <a:lnTo>
                    <a:pt x="1120" y="1804"/>
                  </a:lnTo>
                  <a:lnTo>
                    <a:pt x="1128" y="1800"/>
                  </a:lnTo>
                  <a:lnTo>
                    <a:pt x="1131" y="1798"/>
                  </a:lnTo>
                  <a:lnTo>
                    <a:pt x="1133" y="1795"/>
                  </a:lnTo>
                  <a:lnTo>
                    <a:pt x="1136" y="1792"/>
                  </a:lnTo>
                  <a:lnTo>
                    <a:pt x="1138" y="1789"/>
                  </a:lnTo>
                  <a:lnTo>
                    <a:pt x="1139" y="1786"/>
                  </a:lnTo>
                  <a:lnTo>
                    <a:pt x="1140" y="1782"/>
                  </a:lnTo>
                  <a:lnTo>
                    <a:pt x="1141" y="1779"/>
                  </a:lnTo>
                  <a:lnTo>
                    <a:pt x="1141" y="1775"/>
                  </a:lnTo>
                  <a:lnTo>
                    <a:pt x="1141" y="1771"/>
                  </a:lnTo>
                  <a:lnTo>
                    <a:pt x="1140" y="1767"/>
                  </a:lnTo>
                  <a:lnTo>
                    <a:pt x="1139" y="1763"/>
                  </a:lnTo>
                  <a:lnTo>
                    <a:pt x="1138" y="1760"/>
                  </a:lnTo>
                  <a:lnTo>
                    <a:pt x="1134" y="1754"/>
                  </a:lnTo>
                  <a:lnTo>
                    <a:pt x="1130" y="1749"/>
                  </a:lnTo>
                  <a:lnTo>
                    <a:pt x="1127" y="1747"/>
                  </a:lnTo>
                  <a:lnTo>
                    <a:pt x="1124" y="1744"/>
                  </a:lnTo>
                  <a:lnTo>
                    <a:pt x="1120" y="1742"/>
                  </a:lnTo>
                  <a:lnTo>
                    <a:pt x="1116" y="1740"/>
                  </a:lnTo>
                  <a:lnTo>
                    <a:pt x="1099" y="1732"/>
                  </a:lnTo>
                  <a:lnTo>
                    <a:pt x="1038" y="1703"/>
                  </a:lnTo>
                  <a:lnTo>
                    <a:pt x="1031" y="1699"/>
                  </a:lnTo>
                  <a:lnTo>
                    <a:pt x="1023" y="1695"/>
                  </a:lnTo>
                  <a:lnTo>
                    <a:pt x="1016" y="1691"/>
                  </a:lnTo>
                  <a:lnTo>
                    <a:pt x="1010" y="1686"/>
                  </a:lnTo>
                  <a:lnTo>
                    <a:pt x="1003" y="1680"/>
                  </a:lnTo>
                  <a:lnTo>
                    <a:pt x="997" y="1674"/>
                  </a:lnTo>
                  <a:lnTo>
                    <a:pt x="992" y="1668"/>
                  </a:lnTo>
                  <a:lnTo>
                    <a:pt x="986" y="1661"/>
                  </a:lnTo>
                  <a:lnTo>
                    <a:pt x="982" y="1654"/>
                  </a:lnTo>
                  <a:lnTo>
                    <a:pt x="978" y="1646"/>
                  </a:lnTo>
                  <a:lnTo>
                    <a:pt x="974" y="1638"/>
                  </a:lnTo>
                  <a:lnTo>
                    <a:pt x="971" y="1629"/>
                  </a:lnTo>
                  <a:lnTo>
                    <a:pt x="969" y="1620"/>
                  </a:lnTo>
                  <a:lnTo>
                    <a:pt x="967" y="1610"/>
                  </a:lnTo>
                  <a:lnTo>
                    <a:pt x="966" y="1600"/>
                  </a:lnTo>
                  <a:lnTo>
                    <a:pt x="965" y="1590"/>
                  </a:lnTo>
                  <a:lnTo>
                    <a:pt x="966" y="1583"/>
                  </a:lnTo>
                  <a:lnTo>
                    <a:pt x="966" y="1576"/>
                  </a:lnTo>
                  <a:lnTo>
                    <a:pt x="967" y="1570"/>
                  </a:lnTo>
                  <a:lnTo>
                    <a:pt x="968" y="1563"/>
                  </a:lnTo>
                  <a:lnTo>
                    <a:pt x="971" y="1551"/>
                  </a:lnTo>
                  <a:lnTo>
                    <a:pt x="973" y="1545"/>
                  </a:lnTo>
                  <a:lnTo>
                    <a:pt x="976" y="1539"/>
                  </a:lnTo>
                  <a:lnTo>
                    <a:pt x="979" y="1534"/>
                  </a:lnTo>
                  <a:lnTo>
                    <a:pt x="982" y="1528"/>
                  </a:lnTo>
                  <a:lnTo>
                    <a:pt x="988" y="1518"/>
                  </a:lnTo>
                  <a:lnTo>
                    <a:pt x="996" y="1508"/>
                  </a:lnTo>
                  <a:lnTo>
                    <a:pt x="1005" y="1499"/>
                  </a:lnTo>
                  <a:lnTo>
                    <a:pt x="1015" y="1491"/>
                  </a:lnTo>
                  <a:lnTo>
                    <a:pt x="1026" y="1484"/>
                  </a:lnTo>
                  <a:lnTo>
                    <a:pt x="1037" y="1478"/>
                  </a:lnTo>
                  <a:lnTo>
                    <a:pt x="1044" y="1475"/>
                  </a:lnTo>
                  <a:lnTo>
                    <a:pt x="1050" y="1473"/>
                  </a:lnTo>
                  <a:lnTo>
                    <a:pt x="1063" y="1469"/>
                  </a:lnTo>
                  <a:lnTo>
                    <a:pt x="1070" y="1467"/>
                  </a:lnTo>
                  <a:lnTo>
                    <a:pt x="1077" y="1466"/>
                  </a:lnTo>
                  <a:lnTo>
                    <a:pt x="1085" y="1464"/>
                  </a:lnTo>
                  <a:lnTo>
                    <a:pt x="1092" y="1464"/>
                  </a:lnTo>
                  <a:lnTo>
                    <a:pt x="1107" y="1463"/>
                  </a:lnTo>
                  <a:lnTo>
                    <a:pt x="1122" y="1464"/>
                  </a:lnTo>
                  <a:lnTo>
                    <a:pt x="1137" y="1465"/>
                  </a:lnTo>
                  <a:lnTo>
                    <a:pt x="1145" y="1466"/>
                  </a:lnTo>
                  <a:lnTo>
                    <a:pt x="1152" y="1467"/>
                  </a:lnTo>
                  <a:lnTo>
                    <a:pt x="1159" y="1468"/>
                  </a:lnTo>
                  <a:lnTo>
                    <a:pt x="1166" y="1470"/>
                  </a:lnTo>
                  <a:lnTo>
                    <a:pt x="1180" y="1474"/>
                  </a:lnTo>
                  <a:lnTo>
                    <a:pt x="1193" y="1479"/>
                  </a:lnTo>
                  <a:lnTo>
                    <a:pt x="1206" y="1484"/>
                  </a:lnTo>
                  <a:lnTo>
                    <a:pt x="1217" y="1490"/>
                  </a:lnTo>
                  <a:lnTo>
                    <a:pt x="1219" y="1492"/>
                  </a:lnTo>
                  <a:lnTo>
                    <a:pt x="1221" y="1494"/>
                  </a:lnTo>
                  <a:lnTo>
                    <a:pt x="1222" y="1496"/>
                  </a:lnTo>
                  <a:lnTo>
                    <a:pt x="1223" y="1498"/>
                  </a:lnTo>
                  <a:lnTo>
                    <a:pt x="1223" y="1502"/>
                  </a:lnTo>
                  <a:lnTo>
                    <a:pt x="1221" y="1507"/>
                  </a:lnTo>
                  <a:lnTo>
                    <a:pt x="1197" y="1562"/>
                  </a:lnTo>
                  <a:lnTo>
                    <a:pt x="1194" y="1567"/>
                  </a:lnTo>
                  <a:lnTo>
                    <a:pt x="1192" y="1569"/>
                  </a:lnTo>
                  <a:lnTo>
                    <a:pt x="1191" y="1570"/>
                  </a:lnTo>
                  <a:lnTo>
                    <a:pt x="1186" y="1570"/>
                  </a:lnTo>
                  <a:lnTo>
                    <a:pt x="1184" y="1570"/>
                  </a:lnTo>
                  <a:lnTo>
                    <a:pt x="1181" y="1569"/>
                  </a:lnTo>
                  <a:lnTo>
                    <a:pt x="1172" y="1565"/>
                  </a:lnTo>
                  <a:lnTo>
                    <a:pt x="1164" y="1561"/>
                  </a:lnTo>
                  <a:lnTo>
                    <a:pt x="1156" y="1558"/>
                  </a:lnTo>
                  <a:lnTo>
                    <a:pt x="1147" y="1555"/>
                  </a:lnTo>
                  <a:lnTo>
                    <a:pt x="1139" y="1552"/>
                  </a:lnTo>
                  <a:lnTo>
                    <a:pt x="1130" y="1551"/>
                  </a:lnTo>
                  <a:lnTo>
                    <a:pt x="1121" y="1550"/>
                  </a:lnTo>
                  <a:lnTo>
                    <a:pt x="1111" y="1549"/>
                  </a:lnTo>
                  <a:lnTo>
                    <a:pt x="1101" y="1550"/>
                  </a:lnTo>
                  <a:lnTo>
                    <a:pt x="1092" y="1552"/>
                  </a:lnTo>
                  <a:lnTo>
                    <a:pt x="1088" y="1553"/>
                  </a:lnTo>
                  <a:lnTo>
                    <a:pt x="1085" y="1555"/>
                  </a:lnTo>
                  <a:lnTo>
                    <a:pt x="1078" y="1559"/>
                  </a:lnTo>
                  <a:lnTo>
                    <a:pt x="1075" y="1561"/>
                  </a:lnTo>
                  <a:lnTo>
                    <a:pt x="1073" y="1564"/>
                  </a:lnTo>
                  <a:lnTo>
                    <a:pt x="1071" y="1567"/>
                  </a:lnTo>
                  <a:lnTo>
                    <a:pt x="1069" y="1570"/>
                  </a:lnTo>
                  <a:lnTo>
                    <a:pt x="1068" y="1573"/>
                  </a:lnTo>
                  <a:lnTo>
                    <a:pt x="1067" y="1576"/>
                  </a:lnTo>
                  <a:lnTo>
                    <a:pt x="1067" y="1580"/>
                  </a:lnTo>
                  <a:lnTo>
                    <a:pt x="1067" y="1583"/>
                  </a:lnTo>
                  <a:lnTo>
                    <a:pt x="1067" y="1587"/>
                  </a:lnTo>
                  <a:lnTo>
                    <a:pt x="1067" y="1590"/>
                  </a:lnTo>
                  <a:lnTo>
                    <a:pt x="1069" y="1597"/>
                  </a:lnTo>
                  <a:lnTo>
                    <a:pt x="1073" y="1602"/>
                  </a:lnTo>
                  <a:lnTo>
                    <a:pt x="1075" y="1605"/>
                  </a:lnTo>
                  <a:lnTo>
                    <a:pt x="1077" y="1608"/>
                  </a:lnTo>
                  <a:lnTo>
                    <a:pt x="1080" y="1610"/>
                  </a:lnTo>
                  <a:lnTo>
                    <a:pt x="1083" y="1612"/>
                  </a:lnTo>
                  <a:lnTo>
                    <a:pt x="1090" y="1617"/>
                  </a:lnTo>
                  <a:lnTo>
                    <a:pt x="1098" y="1621"/>
                  </a:lnTo>
                  <a:lnTo>
                    <a:pt x="1108" y="1626"/>
                  </a:lnTo>
                  <a:lnTo>
                    <a:pt x="1170" y="1655"/>
                  </a:lnTo>
                  <a:lnTo>
                    <a:pt x="1178" y="1659"/>
                  </a:lnTo>
                  <a:lnTo>
                    <a:pt x="1185" y="1663"/>
                  </a:lnTo>
                  <a:lnTo>
                    <a:pt x="1193" y="1667"/>
                  </a:lnTo>
                  <a:lnTo>
                    <a:pt x="1199" y="1672"/>
                  </a:lnTo>
                  <a:lnTo>
                    <a:pt x="1206" y="1678"/>
                  </a:lnTo>
                  <a:lnTo>
                    <a:pt x="1212" y="1684"/>
                  </a:lnTo>
                  <a:lnTo>
                    <a:pt x="1217" y="1690"/>
                  </a:lnTo>
                  <a:lnTo>
                    <a:pt x="1222" y="1696"/>
                  </a:lnTo>
                  <a:lnTo>
                    <a:pt x="1225" y="1700"/>
                  </a:lnTo>
                  <a:lnTo>
                    <a:pt x="1227" y="1703"/>
                  </a:lnTo>
                  <a:lnTo>
                    <a:pt x="1231" y="1711"/>
                  </a:lnTo>
                  <a:lnTo>
                    <a:pt x="1234" y="1719"/>
                  </a:lnTo>
                  <a:lnTo>
                    <a:pt x="1237" y="1727"/>
                  </a:lnTo>
                  <a:lnTo>
                    <a:pt x="1239" y="1731"/>
                  </a:lnTo>
                  <a:lnTo>
                    <a:pt x="1240" y="1736"/>
                  </a:lnTo>
                  <a:lnTo>
                    <a:pt x="1241" y="1745"/>
                  </a:lnTo>
                  <a:lnTo>
                    <a:pt x="1242" y="1755"/>
                  </a:lnTo>
                  <a:lnTo>
                    <a:pt x="1243" y="1766"/>
                  </a:lnTo>
                  <a:lnTo>
                    <a:pt x="1243" y="1773"/>
                  </a:lnTo>
                  <a:lnTo>
                    <a:pt x="1242" y="1780"/>
                  </a:lnTo>
                  <a:lnTo>
                    <a:pt x="1240" y="1793"/>
                  </a:lnTo>
                  <a:lnTo>
                    <a:pt x="1238" y="1799"/>
                  </a:lnTo>
                  <a:lnTo>
                    <a:pt x="1236" y="1806"/>
                  </a:lnTo>
                  <a:lnTo>
                    <a:pt x="1232" y="1818"/>
                  </a:lnTo>
                  <a:lnTo>
                    <a:pt x="1229" y="1824"/>
                  </a:lnTo>
                  <a:lnTo>
                    <a:pt x="1226" y="1829"/>
                  </a:lnTo>
                  <a:lnTo>
                    <a:pt x="1222" y="1835"/>
                  </a:lnTo>
                  <a:lnTo>
                    <a:pt x="1218" y="1840"/>
                  </a:lnTo>
                  <a:lnTo>
                    <a:pt x="1214" y="1845"/>
                  </a:lnTo>
                  <a:lnTo>
                    <a:pt x="1210" y="1850"/>
                  </a:lnTo>
                  <a:lnTo>
                    <a:pt x="1206" y="1855"/>
                  </a:lnTo>
                  <a:lnTo>
                    <a:pt x="1201" y="1859"/>
                  </a:lnTo>
                  <a:lnTo>
                    <a:pt x="1196" y="1863"/>
                  </a:lnTo>
                  <a:lnTo>
                    <a:pt x="1190" y="1867"/>
                  </a:lnTo>
                  <a:lnTo>
                    <a:pt x="1179" y="1875"/>
                  </a:lnTo>
                  <a:lnTo>
                    <a:pt x="1173" y="1878"/>
                  </a:lnTo>
                  <a:lnTo>
                    <a:pt x="1166" y="1881"/>
                  </a:lnTo>
                  <a:lnTo>
                    <a:pt x="1160" y="1884"/>
                  </a:lnTo>
                  <a:lnTo>
                    <a:pt x="1153" y="1886"/>
                  </a:lnTo>
                  <a:lnTo>
                    <a:pt x="1139" y="1890"/>
                  </a:lnTo>
                  <a:lnTo>
                    <a:pt x="1132" y="1892"/>
                  </a:lnTo>
                  <a:lnTo>
                    <a:pt x="1124" y="1893"/>
                  </a:lnTo>
                  <a:lnTo>
                    <a:pt x="1117" y="1895"/>
                  </a:lnTo>
                  <a:lnTo>
                    <a:pt x="1109" y="1895"/>
                  </a:lnTo>
                  <a:lnTo>
                    <a:pt x="1093" y="1896"/>
                  </a:lnTo>
                  <a:lnTo>
                    <a:pt x="1075" y="1895"/>
                  </a:lnTo>
                  <a:lnTo>
                    <a:pt x="1066" y="1894"/>
                  </a:lnTo>
                  <a:lnTo>
                    <a:pt x="1057" y="1893"/>
                  </a:lnTo>
                  <a:lnTo>
                    <a:pt x="1048" y="1891"/>
                  </a:lnTo>
                  <a:lnTo>
                    <a:pt x="1040" y="1890"/>
                  </a:lnTo>
                  <a:lnTo>
                    <a:pt x="1031" y="1887"/>
                  </a:lnTo>
                  <a:lnTo>
                    <a:pt x="1023" y="1885"/>
                  </a:lnTo>
                  <a:lnTo>
                    <a:pt x="1007" y="1880"/>
                  </a:lnTo>
                  <a:lnTo>
                    <a:pt x="992" y="1873"/>
                  </a:lnTo>
                  <a:lnTo>
                    <a:pt x="977" y="1866"/>
                  </a:lnTo>
                  <a:lnTo>
                    <a:pt x="964" y="1859"/>
                  </a:lnTo>
                  <a:lnTo>
                    <a:pt x="961" y="1857"/>
                  </a:lnTo>
                  <a:lnTo>
                    <a:pt x="959" y="1854"/>
                  </a:lnTo>
                  <a:lnTo>
                    <a:pt x="958" y="1852"/>
                  </a:lnTo>
                  <a:lnTo>
                    <a:pt x="957" y="1850"/>
                  </a:lnTo>
                  <a:lnTo>
                    <a:pt x="958" y="1846"/>
                  </a:lnTo>
                  <a:lnTo>
                    <a:pt x="960" y="1842"/>
                  </a:lnTo>
                  <a:lnTo>
                    <a:pt x="984" y="1787"/>
                  </a:lnTo>
                  <a:lnTo>
                    <a:pt x="987" y="1782"/>
                  </a:lnTo>
                  <a:lnTo>
                    <a:pt x="989" y="1780"/>
                  </a:lnTo>
                  <a:lnTo>
                    <a:pt x="990" y="1779"/>
                  </a:lnTo>
                  <a:lnTo>
                    <a:pt x="993" y="1778"/>
                  </a:lnTo>
                  <a:lnTo>
                    <a:pt x="995" y="1778"/>
                  </a:lnTo>
                  <a:lnTo>
                    <a:pt x="997" y="1779"/>
                  </a:lnTo>
                  <a:lnTo>
                    <a:pt x="1000" y="1780"/>
                  </a:lnTo>
                  <a:lnTo>
                    <a:pt x="1012" y="1787"/>
                  </a:lnTo>
                  <a:lnTo>
                    <a:pt x="1023" y="1792"/>
                  </a:lnTo>
                  <a:lnTo>
                    <a:pt x="1034" y="1797"/>
                  </a:lnTo>
                  <a:lnTo>
                    <a:pt x="1045" y="1802"/>
                  </a:lnTo>
                  <a:lnTo>
                    <a:pt x="1056" y="1805"/>
                  </a:lnTo>
                  <a:lnTo>
                    <a:pt x="1067" y="1808"/>
                  </a:lnTo>
                  <a:lnTo>
                    <a:pt x="1079" y="1809"/>
                  </a:lnTo>
                  <a:lnTo>
                    <a:pt x="1090" y="1810"/>
                  </a:lnTo>
                  <a:close/>
                  <a:moveTo>
                    <a:pt x="512" y="1480"/>
                  </a:moveTo>
                  <a:lnTo>
                    <a:pt x="512" y="1478"/>
                  </a:lnTo>
                  <a:lnTo>
                    <a:pt x="513" y="1476"/>
                  </a:lnTo>
                  <a:lnTo>
                    <a:pt x="515" y="1473"/>
                  </a:lnTo>
                  <a:lnTo>
                    <a:pt x="516" y="1472"/>
                  </a:lnTo>
                  <a:lnTo>
                    <a:pt x="518" y="1471"/>
                  </a:lnTo>
                  <a:lnTo>
                    <a:pt x="522" y="1470"/>
                  </a:lnTo>
                  <a:lnTo>
                    <a:pt x="606" y="1470"/>
                  </a:lnTo>
                  <a:lnTo>
                    <a:pt x="609" y="1471"/>
                  </a:lnTo>
                  <a:lnTo>
                    <a:pt x="612" y="1473"/>
                  </a:lnTo>
                  <a:lnTo>
                    <a:pt x="613" y="1474"/>
                  </a:lnTo>
                  <a:lnTo>
                    <a:pt x="614" y="1476"/>
                  </a:lnTo>
                  <a:lnTo>
                    <a:pt x="614" y="1478"/>
                  </a:lnTo>
                  <a:lnTo>
                    <a:pt x="615" y="1480"/>
                  </a:lnTo>
                  <a:lnTo>
                    <a:pt x="615" y="1797"/>
                  </a:lnTo>
                  <a:lnTo>
                    <a:pt x="689" y="1797"/>
                  </a:lnTo>
                  <a:lnTo>
                    <a:pt x="693" y="1797"/>
                  </a:lnTo>
                  <a:lnTo>
                    <a:pt x="696" y="1799"/>
                  </a:lnTo>
                  <a:lnTo>
                    <a:pt x="697" y="1801"/>
                  </a:lnTo>
                  <a:lnTo>
                    <a:pt x="697" y="1803"/>
                  </a:lnTo>
                  <a:lnTo>
                    <a:pt x="698" y="1804"/>
                  </a:lnTo>
                  <a:lnTo>
                    <a:pt x="698" y="1807"/>
                  </a:lnTo>
                  <a:lnTo>
                    <a:pt x="698" y="1879"/>
                  </a:lnTo>
                  <a:lnTo>
                    <a:pt x="698" y="1881"/>
                  </a:lnTo>
                  <a:lnTo>
                    <a:pt x="697" y="1883"/>
                  </a:lnTo>
                  <a:lnTo>
                    <a:pt x="696" y="1886"/>
                  </a:lnTo>
                  <a:lnTo>
                    <a:pt x="694" y="1887"/>
                  </a:lnTo>
                  <a:lnTo>
                    <a:pt x="693" y="1888"/>
                  </a:lnTo>
                  <a:lnTo>
                    <a:pt x="691" y="1889"/>
                  </a:lnTo>
                  <a:lnTo>
                    <a:pt x="689" y="1889"/>
                  </a:lnTo>
                  <a:lnTo>
                    <a:pt x="522" y="1889"/>
                  </a:lnTo>
                  <a:lnTo>
                    <a:pt x="518" y="1888"/>
                  </a:lnTo>
                  <a:lnTo>
                    <a:pt x="515" y="1886"/>
                  </a:lnTo>
                  <a:lnTo>
                    <a:pt x="513" y="1883"/>
                  </a:lnTo>
                  <a:lnTo>
                    <a:pt x="512" y="1881"/>
                  </a:lnTo>
                  <a:lnTo>
                    <a:pt x="512" y="1879"/>
                  </a:lnTo>
                  <a:lnTo>
                    <a:pt x="512" y="1480"/>
                  </a:lnTo>
                  <a:close/>
                  <a:moveTo>
                    <a:pt x="777" y="1480"/>
                  </a:moveTo>
                  <a:lnTo>
                    <a:pt x="777" y="1478"/>
                  </a:lnTo>
                  <a:lnTo>
                    <a:pt x="778" y="1476"/>
                  </a:lnTo>
                  <a:lnTo>
                    <a:pt x="780" y="1473"/>
                  </a:lnTo>
                  <a:lnTo>
                    <a:pt x="781" y="1472"/>
                  </a:lnTo>
                  <a:lnTo>
                    <a:pt x="783" y="1471"/>
                  </a:lnTo>
                  <a:lnTo>
                    <a:pt x="787" y="1470"/>
                  </a:lnTo>
                  <a:lnTo>
                    <a:pt x="869" y="1470"/>
                  </a:lnTo>
                  <a:lnTo>
                    <a:pt x="873" y="1471"/>
                  </a:lnTo>
                  <a:lnTo>
                    <a:pt x="876" y="1473"/>
                  </a:lnTo>
                  <a:lnTo>
                    <a:pt x="878" y="1474"/>
                  </a:lnTo>
                  <a:lnTo>
                    <a:pt x="879" y="1476"/>
                  </a:lnTo>
                  <a:lnTo>
                    <a:pt x="879" y="1478"/>
                  </a:lnTo>
                  <a:lnTo>
                    <a:pt x="879" y="1480"/>
                  </a:lnTo>
                  <a:lnTo>
                    <a:pt x="879" y="1879"/>
                  </a:lnTo>
                  <a:lnTo>
                    <a:pt x="879" y="1881"/>
                  </a:lnTo>
                  <a:lnTo>
                    <a:pt x="879" y="1883"/>
                  </a:lnTo>
                  <a:lnTo>
                    <a:pt x="876" y="1886"/>
                  </a:lnTo>
                  <a:lnTo>
                    <a:pt x="875" y="1887"/>
                  </a:lnTo>
                  <a:lnTo>
                    <a:pt x="873" y="1888"/>
                  </a:lnTo>
                  <a:lnTo>
                    <a:pt x="869" y="1889"/>
                  </a:lnTo>
                  <a:lnTo>
                    <a:pt x="787" y="1889"/>
                  </a:lnTo>
                  <a:lnTo>
                    <a:pt x="783" y="1888"/>
                  </a:lnTo>
                  <a:lnTo>
                    <a:pt x="780" y="1886"/>
                  </a:lnTo>
                  <a:lnTo>
                    <a:pt x="779" y="1885"/>
                  </a:lnTo>
                  <a:lnTo>
                    <a:pt x="778" y="1883"/>
                  </a:lnTo>
                  <a:lnTo>
                    <a:pt x="777" y="1881"/>
                  </a:lnTo>
                  <a:lnTo>
                    <a:pt x="777" y="1879"/>
                  </a:lnTo>
                  <a:lnTo>
                    <a:pt x="777" y="148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737646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lhuet Bei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013BE56-CE05-4C77-9891-C74A4BDF6F1B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RIA - RKL yrittäjäpäivä 1.11.202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7946855-F0F5-4EE8-AF71-94DDEE0D089F}"/>
              </a:ext>
            </a:extLst>
          </p:cNvPr>
          <p:cNvGrpSpPr/>
          <p:nvPr userDrawn="1"/>
        </p:nvGrpSpPr>
        <p:grpSpPr>
          <a:xfrm>
            <a:off x="0" y="4077072"/>
            <a:ext cx="9874285" cy="1872000"/>
            <a:chOff x="0" y="4077072"/>
            <a:chExt cx="9874285" cy="1872000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1DC6FC56-D6F1-41FA-81BE-FAB57953F580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0" y="4077072"/>
              <a:ext cx="9874285" cy="1872000"/>
            </a:xfrm>
            <a:custGeom>
              <a:avLst/>
              <a:gdLst>
                <a:gd name="T0" fmla="*/ 10894 w 23040"/>
                <a:gd name="T1" fmla="*/ 3037 h 4369"/>
                <a:gd name="T2" fmla="*/ 10931 w 23040"/>
                <a:gd name="T3" fmla="*/ 2661 h 4369"/>
                <a:gd name="T4" fmla="*/ 13479 w 23040"/>
                <a:gd name="T5" fmla="*/ 2241 h 4369"/>
                <a:gd name="T6" fmla="*/ 12981 w 23040"/>
                <a:gd name="T7" fmla="*/ 1865 h 4369"/>
                <a:gd name="T8" fmla="*/ 13222 w 23040"/>
                <a:gd name="T9" fmla="*/ 1543 h 4369"/>
                <a:gd name="T10" fmla="*/ 13525 w 23040"/>
                <a:gd name="T11" fmla="*/ 3907 h 4369"/>
                <a:gd name="T12" fmla="*/ 12729 w 23040"/>
                <a:gd name="T13" fmla="*/ 3813 h 4369"/>
                <a:gd name="T14" fmla="*/ 10912 w 23040"/>
                <a:gd name="T15" fmla="*/ 2402 h 4369"/>
                <a:gd name="T16" fmla="*/ 16652 w 23040"/>
                <a:gd name="T17" fmla="*/ 970 h 4369"/>
                <a:gd name="T18" fmla="*/ 16232 w 23040"/>
                <a:gd name="T19" fmla="*/ 332 h 4369"/>
                <a:gd name="T20" fmla="*/ 15103 w 23040"/>
                <a:gd name="T21" fmla="*/ 2262 h 4369"/>
                <a:gd name="T22" fmla="*/ 12814 w 23040"/>
                <a:gd name="T23" fmla="*/ 2991 h 4369"/>
                <a:gd name="T24" fmla="*/ 11678 w 23040"/>
                <a:gd name="T25" fmla="*/ 3172 h 4369"/>
                <a:gd name="T26" fmla="*/ 12355 w 23040"/>
                <a:gd name="T27" fmla="*/ 2838 h 4369"/>
                <a:gd name="T28" fmla="*/ 12184 w 23040"/>
                <a:gd name="T29" fmla="*/ 4304 h 4369"/>
                <a:gd name="T30" fmla="*/ 11739 w 23040"/>
                <a:gd name="T31" fmla="*/ 2627 h 4369"/>
                <a:gd name="T32" fmla="*/ 11666 w 23040"/>
                <a:gd name="T33" fmla="*/ 2291 h 4369"/>
                <a:gd name="T34" fmla="*/ 11184 w 23040"/>
                <a:gd name="T35" fmla="*/ 3107 h 4369"/>
                <a:gd name="T36" fmla="*/ 11469 w 23040"/>
                <a:gd name="T37" fmla="*/ 1044 h 4369"/>
                <a:gd name="T38" fmla="*/ 13150 w 23040"/>
                <a:gd name="T39" fmla="*/ 754 h 4369"/>
                <a:gd name="T40" fmla="*/ 16863 w 23040"/>
                <a:gd name="T41" fmla="*/ 4331 h 4369"/>
                <a:gd name="T42" fmla="*/ 14362 w 23040"/>
                <a:gd name="T43" fmla="*/ 3771 h 4369"/>
                <a:gd name="T44" fmla="*/ 14362 w 23040"/>
                <a:gd name="T45" fmla="*/ 3373 h 4369"/>
                <a:gd name="T46" fmla="*/ 14105 w 23040"/>
                <a:gd name="T47" fmla="*/ 3277 h 4369"/>
                <a:gd name="T48" fmla="*/ 14091 w 23040"/>
                <a:gd name="T49" fmla="*/ 2881 h 4369"/>
                <a:gd name="T50" fmla="*/ 20731 w 23040"/>
                <a:gd name="T51" fmla="*/ 4008 h 4369"/>
                <a:gd name="T52" fmla="*/ 19002 w 23040"/>
                <a:gd name="T53" fmla="*/ 3795 h 4369"/>
                <a:gd name="T54" fmla="*/ 19052 w 23040"/>
                <a:gd name="T55" fmla="*/ 3549 h 4369"/>
                <a:gd name="T56" fmla="*/ 19727 w 23040"/>
                <a:gd name="T57" fmla="*/ 3547 h 4369"/>
                <a:gd name="T58" fmla="*/ 21772 w 23040"/>
                <a:gd name="T59" fmla="*/ 1759 h 4369"/>
                <a:gd name="T60" fmla="*/ 20169 w 23040"/>
                <a:gd name="T61" fmla="*/ 1874 h 4369"/>
                <a:gd name="T62" fmla="*/ 18388 w 23040"/>
                <a:gd name="T63" fmla="*/ 2546 h 4369"/>
                <a:gd name="T64" fmla="*/ 19509 w 23040"/>
                <a:gd name="T65" fmla="*/ 3625 h 4369"/>
                <a:gd name="T66" fmla="*/ 18969 w 23040"/>
                <a:gd name="T67" fmla="*/ 3381 h 4369"/>
                <a:gd name="T68" fmla="*/ 2798 w 23040"/>
                <a:gd name="T69" fmla="*/ 3193 h 4369"/>
                <a:gd name="T70" fmla="*/ 440 w 23040"/>
                <a:gd name="T71" fmla="*/ 2751 h 4369"/>
                <a:gd name="T72" fmla="*/ 2868 w 23040"/>
                <a:gd name="T73" fmla="*/ 4141 h 4369"/>
                <a:gd name="T74" fmla="*/ 837 w 23040"/>
                <a:gd name="T75" fmla="*/ 3250 h 4369"/>
                <a:gd name="T76" fmla="*/ 823 w 23040"/>
                <a:gd name="T77" fmla="*/ 3336 h 4369"/>
                <a:gd name="T78" fmla="*/ 1107 w 23040"/>
                <a:gd name="T79" fmla="*/ 3717 h 4369"/>
                <a:gd name="T80" fmla="*/ 1080 w 23040"/>
                <a:gd name="T81" fmla="*/ 3810 h 4369"/>
                <a:gd name="T82" fmla="*/ 188 w 23040"/>
                <a:gd name="T83" fmla="*/ 1799 h 4369"/>
                <a:gd name="T84" fmla="*/ 2556 w 23040"/>
                <a:gd name="T85" fmla="*/ 2016 h 4369"/>
                <a:gd name="T86" fmla="*/ 2583 w 23040"/>
                <a:gd name="T87" fmla="*/ 2578 h 4369"/>
                <a:gd name="T88" fmla="*/ 8182 w 23040"/>
                <a:gd name="T89" fmla="*/ 2792 h 4369"/>
                <a:gd name="T90" fmla="*/ 9070 w 23040"/>
                <a:gd name="T91" fmla="*/ 2753 h 4369"/>
                <a:gd name="T92" fmla="*/ 6863 w 23040"/>
                <a:gd name="T93" fmla="*/ 2176 h 4369"/>
                <a:gd name="T94" fmla="*/ 6215 w 23040"/>
                <a:gd name="T95" fmla="*/ 2702 h 4369"/>
                <a:gd name="T96" fmla="*/ 7097 w 23040"/>
                <a:gd name="T97" fmla="*/ 2957 h 4369"/>
                <a:gd name="T98" fmla="*/ 6454 w 23040"/>
                <a:gd name="T99" fmla="*/ 3498 h 4369"/>
                <a:gd name="T100" fmla="*/ 6384 w 23040"/>
                <a:gd name="T101" fmla="*/ 4003 h 4369"/>
                <a:gd name="T102" fmla="*/ 8037 w 23040"/>
                <a:gd name="T103" fmla="*/ 2925 h 4369"/>
                <a:gd name="T104" fmla="*/ 8332 w 23040"/>
                <a:gd name="T105" fmla="*/ 3308 h 4369"/>
                <a:gd name="T106" fmla="*/ 8296 w 23040"/>
                <a:gd name="T107" fmla="*/ 3424 h 4369"/>
                <a:gd name="T108" fmla="*/ 8598 w 23040"/>
                <a:gd name="T109" fmla="*/ 3792 h 4369"/>
                <a:gd name="T110" fmla="*/ 5650 w 23040"/>
                <a:gd name="T111" fmla="*/ 1956 h 4369"/>
                <a:gd name="T112" fmla="*/ 8119 w 23040"/>
                <a:gd name="T113" fmla="*/ 245 h 4369"/>
                <a:gd name="T114" fmla="*/ 4680 w 23040"/>
                <a:gd name="T115" fmla="*/ 942 h 4369"/>
                <a:gd name="T116" fmla="*/ 5027 w 23040"/>
                <a:gd name="T117" fmla="*/ 2616 h 4369"/>
                <a:gd name="T118" fmla="*/ 4991 w 23040"/>
                <a:gd name="T119" fmla="*/ 2732 h 4369"/>
                <a:gd name="T120" fmla="*/ 5292 w 23040"/>
                <a:gd name="T121" fmla="*/ 3101 h 4369"/>
                <a:gd name="T122" fmla="*/ 5252 w 23040"/>
                <a:gd name="T123" fmla="*/ 3235 h 4369"/>
                <a:gd name="T124" fmla="*/ 3326 w 23040"/>
                <a:gd name="T125" fmla="*/ 3951 h 4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040" h="4369">
                  <a:moveTo>
                    <a:pt x="10933" y="3163"/>
                  </a:moveTo>
                  <a:lnTo>
                    <a:pt x="10933" y="3274"/>
                  </a:lnTo>
                  <a:lnTo>
                    <a:pt x="10931" y="3283"/>
                  </a:lnTo>
                  <a:lnTo>
                    <a:pt x="10926" y="3290"/>
                  </a:lnTo>
                  <a:lnTo>
                    <a:pt x="10920" y="3294"/>
                  </a:lnTo>
                  <a:lnTo>
                    <a:pt x="10912" y="3295"/>
                  </a:lnTo>
                  <a:lnTo>
                    <a:pt x="10906" y="3294"/>
                  </a:lnTo>
                  <a:lnTo>
                    <a:pt x="10899" y="3290"/>
                  </a:lnTo>
                  <a:lnTo>
                    <a:pt x="10894" y="3283"/>
                  </a:lnTo>
                  <a:lnTo>
                    <a:pt x="10893" y="3274"/>
                  </a:lnTo>
                  <a:lnTo>
                    <a:pt x="10893" y="3163"/>
                  </a:lnTo>
                  <a:lnTo>
                    <a:pt x="10894" y="3154"/>
                  </a:lnTo>
                  <a:lnTo>
                    <a:pt x="10899" y="3148"/>
                  </a:lnTo>
                  <a:lnTo>
                    <a:pt x="10906" y="3144"/>
                  </a:lnTo>
                  <a:lnTo>
                    <a:pt x="10912" y="3143"/>
                  </a:lnTo>
                  <a:lnTo>
                    <a:pt x="10920" y="3144"/>
                  </a:lnTo>
                  <a:lnTo>
                    <a:pt x="10926" y="3148"/>
                  </a:lnTo>
                  <a:lnTo>
                    <a:pt x="10931" y="3154"/>
                  </a:lnTo>
                  <a:lnTo>
                    <a:pt x="10933" y="3163"/>
                  </a:lnTo>
                  <a:close/>
                  <a:moveTo>
                    <a:pt x="10670" y="3163"/>
                  </a:moveTo>
                  <a:lnTo>
                    <a:pt x="10670" y="3274"/>
                  </a:lnTo>
                  <a:lnTo>
                    <a:pt x="10669" y="3283"/>
                  </a:lnTo>
                  <a:lnTo>
                    <a:pt x="10663" y="3290"/>
                  </a:lnTo>
                  <a:lnTo>
                    <a:pt x="10657" y="3294"/>
                  </a:lnTo>
                  <a:lnTo>
                    <a:pt x="10649" y="3295"/>
                  </a:lnTo>
                  <a:lnTo>
                    <a:pt x="10643" y="3294"/>
                  </a:lnTo>
                  <a:lnTo>
                    <a:pt x="10637" y="3290"/>
                  </a:lnTo>
                  <a:lnTo>
                    <a:pt x="10631" y="3283"/>
                  </a:lnTo>
                  <a:lnTo>
                    <a:pt x="10630" y="3274"/>
                  </a:lnTo>
                  <a:lnTo>
                    <a:pt x="10630" y="3163"/>
                  </a:lnTo>
                  <a:lnTo>
                    <a:pt x="10631" y="3154"/>
                  </a:lnTo>
                  <a:lnTo>
                    <a:pt x="10637" y="3148"/>
                  </a:lnTo>
                  <a:lnTo>
                    <a:pt x="10643" y="3144"/>
                  </a:lnTo>
                  <a:lnTo>
                    <a:pt x="10649" y="3143"/>
                  </a:lnTo>
                  <a:lnTo>
                    <a:pt x="10657" y="3144"/>
                  </a:lnTo>
                  <a:lnTo>
                    <a:pt x="10663" y="3148"/>
                  </a:lnTo>
                  <a:lnTo>
                    <a:pt x="10669" y="3154"/>
                  </a:lnTo>
                  <a:lnTo>
                    <a:pt x="10670" y="3163"/>
                  </a:lnTo>
                  <a:close/>
                  <a:moveTo>
                    <a:pt x="10407" y="3163"/>
                  </a:moveTo>
                  <a:lnTo>
                    <a:pt x="10407" y="3274"/>
                  </a:lnTo>
                  <a:lnTo>
                    <a:pt x="10404" y="3283"/>
                  </a:lnTo>
                  <a:lnTo>
                    <a:pt x="10401" y="3290"/>
                  </a:lnTo>
                  <a:lnTo>
                    <a:pt x="10394" y="3294"/>
                  </a:lnTo>
                  <a:lnTo>
                    <a:pt x="10386" y="3295"/>
                  </a:lnTo>
                  <a:lnTo>
                    <a:pt x="10379" y="3294"/>
                  </a:lnTo>
                  <a:lnTo>
                    <a:pt x="10372" y="3290"/>
                  </a:lnTo>
                  <a:lnTo>
                    <a:pt x="10369" y="3283"/>
                  </a:lnTo>
                  <a:lnTo>
                    <a:pt x="10366" y="3274"/>
                  </a:lnTo>
                  <a:lnTo>
                    <a:pt x="10366" y="3163"/>
                  </a:lnTo>
                  <a:lnTo>
                    <a:pt x="10369" y="3154"/>
                  </a:lnTo>
                  <a:lnTo>
                    <a:pt x="10372" y="3148"/>
                  </a:lnTo>
                  <a:lnTo>
                    <a:pt x="10379" y="3144"/>
                  </a:lnTo>
                  <a:lnTo>
                    <a:pt x="10386" y="3143"/>
                  </a:lnTo>
                  <a:lnTo>
                    <a:pt x="10394" y="3144"/>
                  </a:lnTo>
                  <a:lnTo>
                    <a:pt x="10401" y="3148"/>
                  </a:lnTo>
                  <a:lnTo>
                    <a:pt x="10404" y="3154"/>
                  </a:lnTo>
                  <a:lnTo>
                    <a:pt x="10407" y="3163"/>
                  </a:lnTo>
                  <a:close/>
                  <a:moveTo>
                    <a:pt x="10143" y="3163"/>
                  </a:moveTo>
                  <a:lnTo>
                    <a:pt x="10143" y="3274"/>
                  </a:lnTo>
                  <a:lnTo>
                    <a:pt x="10142" y="3283"/>
                  </a:lnTo>
                  <a:lnTo>
                    <a:pt x="10138" y="3290"/>
                  </a:lnTo>
                  <a:lnTo>
                    <a:pt x="10131" y="3294"/>
                  </a:lnTo>
                  <a:lnTo>
                    <a:pt x="10124" y="3295"/>
                  </a:lnTo>
                  <a:lnTo>
                    <a:pt x="10116" y="3294"/>
                  </a:lnTo>
                  <a:lnTo>
                    <a:pt x="10109" y="3290"/>
                  </a:lnTo>
                  <a:lnTo>
                    <a:pt x="10106" y="3283"/>
                  </a:lnTo>
                  <a:lnTo>
                    <a:pt x="10103" y="3274"/>
                  </a:lnTo>
                  <a:lnTo>
                    <a:pt x="10103" y="3163"/>
                  </a:lnTo>
                  <a:lnTo>
                    <a:pt x="10106" y="3154"/>
                  </a:lnTo>
                  <a:lnTo>
                    <a:pt x="10109" y="3148"/>
                  </a:lnTo>
                  <a:lnTo>
                    <a:pt x="10116" y="3144"/>
                  </a:lnTo>
                  <a:lnTo>
                    <a:pt x="10124" y="3143"/>
                  </a:lnTo>
                  <a:lnTo>
                    <a:pt x="10131" y="3144"/>
                  </a:lnTo>
                  <a:lnTo>
                    <a:pt x="10138" y="3148"/>
                  </a:lnTo>
                  <a:lnTo>
                    <a:pt x="10142" y="3154"/>
                  </a:lnTo>
                  <a:lnTo>
                    <a:pt x="10143" y="3163"/>
                  </a:lnTo>
                  <a:close/>
                  <a:moveTo>
                    <a:pt x="9880" y="3163"/>
                  </a:moveTo>
                  <a:lnTo>
                    <a:pt x="9880" y="3274"/>
                  </a:lnTo>
                  <a:lnTo>
                    <a:pt x="9879" y="3283"/>
                  </a:lnTo>
                  <a:lnTo>
                    <a:pt x="9874" y="3290"/>
                  </a:lnTo>
                  <a:lnTo>
                    <a:pt x="9867" y="3294"/>
                  </a:lnTo>
                  <a:lnTo>
                    <a:pt x="9861" y="3295"/>
                  </a:lnTo>
                  <a:lnTo>
                    <a:pt x="9853" y="3294"/>
                  </a:lnTo>
                  <a:lnTo>
                    <a:pt x="9847" y="3290"/>
                  </a:lnTo>
                  <a:lnTo>
                    <a:pt x="9841" y="3283"/>
                  </a:lnTo>
                  <a:lnTo>
                    <a:pt x="9840" y="3274"/>
                  </a:lnTo>
                  <a:lnTo>
                    <a:pt x="9840" y="3163"/>
                  </a:lnTo>
                  <a:lnTo>
                    <a:pt x="9841" y="3154"/>
                  </a:lnTo>
                  <a:lnTo>
                    <a:pt x="9847" y="3148"/>
                  </a:lnTo>
                  <a:lnTo>
                    <a:pt x="9853" y="3144"/>
                  </a:lnTo>
                  <a:lnTo>
                    <a:pt x="9861" y="3143"/>
                  </a:lnTo>
                  <a:lnTo>
                    <a:pt x="9867" y="3144"/>
                  </a:lnTo>
                  <a:lnTo>
                    <a:pt x="9874" y="3148"/>
                  </a:lnTo>
                  <a:lnTo>
                    <a:pt x="9879" y="3154"/>
                  </a:lnTo>
                  <a:lnTo>
                    <a:pt x="9880" y="3163"/>
                  </a:lnTo>
                  <a:close/>
                  <a:moveTo>
                    <a:pt x="9617" y="3163"/>
                  </a:moveTo>
                  <a:lnTo>
                    <a:pt x="9617" y="3274"/>
                  </a:lnTo>
                  <a:lnTo>
                    <a:pt x="9616" y="3283"/>
                  </a:lnTo>
                  <a:lnTo>
                    <a:pt x="9611" y="3290"/>
                  </a:lnTo>
                  <a:lnTo>
                    <a:pt x="9604" y="3294"/>
                  </a:lnTo>
                  <a:lnTo>
                    <a:pt x="9598" y="3295"/>
                  </a:lnTo>
                  <a:lnTo>
                    <a:pt x="9590" y="3294"/>
                  </a:lnTo>
                  <a:lnTo>
                    <a:pt x="9584" y="3290"/>
                  </a:lnTo>
                  <a:lnTo>
                    <a:pt x="9579" y="3283"/>
                  </a:lnTo>
                  <a:lnTo>
                    <a:pt x="9577" y="3274"/>
                  </a:lnTo>
                  <a:lnTo>
                    <a:pt x="9577" y="3163"/>
                  </a:lnTo>
                  <a:lnTo>
                    <a:pt x="9579" y="3154"/>
                  </a:lnTo>
                  <a:lnTo>
                    <a:pt x="9584" y="3148"/>
                  </a:lnTo>
                  <a:lnTo>
                    <a:pt x="9590" y="3144"/>
                  </a:lnTo>
                  <a:lnTo>
                    <a:pt x="9598" y="3143"/>
                  </a:lnTo>
                  <a:lnTo>
                    <a:pt x="9604" y="3144"/>
                  </a:lnTo>
                  <a:lnTo>
                    <a:pt x="9611" y="3148"/>
                  </a:lnTo>
                  <a:lnTo>
                    <a:pt x="9616" y="3154"/>
                  </a:lnTo>
                  <a:lnTo>
                    <a:pt x="9617" y="3163"/>
                  </a:lnTo>
                  <a:close/>
                  <a:moveTo>
                    <a:pt x="10933" y="2916"/>
                  </a:moveTo>
                  <a:lnTo>
                    <a:pt x="10933" y="3028"/>
                  </a:lnTo>
                  <a:lnTo>
                    <a:pt x="10931" y="3037"/>
                  </a:lnTo>
                  <a:lnTo>
                    <a:pt x="10926" y="3043"/>
                  </a:lnTo>
                  <a:lnTo>
                    <a:pt x="10920" y="3047"/>
                  </a:lnTo>
                  <a:lnTo>
                    <a:pt x="10912" y="3048"/>
                  </a:lnTo>
                  <a:lnTo>
                    <a:pt x="10906" y="3047"/>
                  </a:lnTo>
                  <a:lnTo>
                    <a:pt x="10899" y="3043"/>
                  </a:lnTo>
                  <a:lnTo>
                    <a:pt x="10894" y="3037"/>
                  </a:lnTo>
                  <a:lnTo>
                    <a:pt x="10893" y="3028"/>
                  </a:lnTo>
                  <a:lnTo>
                    <a:pt x="10893" y="2916"/>
                  </a:lnTo>
                  <a:lnTo>
                    <a:pt x="10894" y="2907"/>
                  </a:lnTo>
                  <a:lnTo>
                    <a:pt x="10899" y="2901"/>
                  </a:lnTo>
                  <a:lnTo>
                    <a:pt x="10906" y="2897"/>
                  </a:lnTo>
                  <a:lnTo>
                    <a:pt x="10912" y="2896"/>
                  </a:lnTo>
                  <a:lnTo>
                    <a:pt x="10920" y="2897"/>
                  </a:lnTo>
                  <a:lnTo>
                    <a:pt x="10926" y="2901"/>
                  </a:lnTo>
                  <a:lnTo>
                    <a:pt x="10931" y="2907"/>
                  </a:lnTo>
                  <a:lnTo>
                    <a:pt x="10933" y="2916"/>
                  </a:lnTo>
                  <a:close/>
                  <a:moveTo>
                    <a:pt x="10670" y="2916"/>
                  </a:moveTo>
                  <a:lnTo>
                    <a:pt x="10670" y="3028"/>
                  </a:lnTo>
                  <a:lnTo>
                    <a:pt x="10669" y="3037"/>
                  </a:lnTo>
                  <a:lnTo>
                    <a:pt x="10663" y="3043"/>
                  </a:lnTo>
                  <a:lnTo>
                    <a:pt x="10657" y="3047"/>
                  </a:lnTo>
                  <a:lnTo>
                    <a:pt x="10649" y="3048"/>
                  </a:lnTo>
                  <a:lnTo>
                    <a:pt x="10643" y="3047"/>
                  </a:lnTo>
                  <a:lnTo>
                    <a:pt x="10637" y="3043"/>
                  </a:lnTo>
                  <a:lnTo>
                    <a:pt x="10631" y="3037"/>
                  </a:lnTo>
                  <a:lnTo>
                    <a:pt x="10630" y="3028"/>
                  </a:lnTo>
                  <a:lnTo>
                    <a:pt x="10630" y="2916"/>
                  </a:lnTo>
                  <a:lnTo>
                    <a:pt x="10631" y="2907"/>
                  </a:lnTo>
                  <a:lnTo>
                    <a:pt x="10637" y="2901"/>
                  </a:lnTo>
                  <a:lnTo>
                    <a:pt x="10643" y="2897"/>
                  </a:lnTo>
                  <a:lnTo>
                    <a:pt x="10649" y="2896"/>
                  </a:lnTo>
                  <a:lnTo>
                    <a:pt x="10657" y="2897"/>
                  </a:lnTo>
                  <a:lnTo>
                    <a:pt x="10663" y="2901"/>
                  </a:lnTo>
                  <a:lnTo>
                    <a:pt x="10669" y="2907"/>
                  </a:lnTo>
                  <a:lnTo>
                    <a:pt x="10670" y="2916"/>
                  </a:lnTo>
                  <a:close/>
                  <a:moveTo>
                    <a:pt x="10407" y="2916"/>
                  </a:moveTo>
                  <a:lnTo>
                    <a:pt x="10407" y="3028"/>
                  </a:lnTo>
                  <a:lnTo>
                    <a:pt x="10404" y="3037"/>
                  </a:lnTo>
                  <a:lnTo>
                    <a:pt x="10401" y="3043"/>
                  </a:lnTo>
                  <a:lnTo>
                    <a:pt x="10394" y="3047"/>
                  </a:lnTo>
                  <a:lnTo>
                    <a:pt x="10386" y="3048"/>
                  </a:lnTo>
                  <a:lnTo>
                    <a:pt x="10379" y="3047"/>
                  </a:lnTo>
                  <a:lnTo>
                    <a:pt x="10372" y="3043"/>
                  </a:lnTo>
                  <a:lnTo>
                    <a:pt x="10369" y="3037"/>
                  </a:lnTo>
                  <a:lnTo>
                    <a:pt x="10366" y="3028"/>
                  </a:lnTo>
                  <a:lnTo>
                    <a:pt x="10366" y="2916"/>
                  </a:lnTo>
                  <a:lnTo>
                    <a:pt x="10369" y="2907"/>
                  </a:lnTo>
                  <a:lnTo>
                    <a:pt x="10372" y="2901"/>
                  </a:lnTo>
                  <a:lnTo>
                    <a:pt x="10379" y="2897"/>
                  </a:lnTo>
                  <a:lnTo>
                    <a:pt x="10386" y="2896"/>
                  </a:lnTo>
                  <a:lnTo>
                    <a:pt x="10394" y="2897"/>
                  </a:lnTo>
                  <a:lnTo>
                    <a:pt x="10401" y="2901"/>
                  </a:lnTo>
                  <a:lnTo>
                    <a:pt x="10404" y="2907"/>
                  </a:lnTo>
                  <a:lnTo>
                    <a:pt x="10407" y="2916"/>
                  </a:lnTo>
                  <a:close/>
                  <a:moveTo>
                    <a:pt x="10143" y="2916"/>
                  </a:moveTo>
                  <a:lnTo>
                    <a:pt x="10143" y="3028"/>
                  </a:lnTo>
                  <a:lnTo>
                    <a:pt x="10142" y="3037"/>
                  </a:lnTo>
                  <a:lnTo>
                    <a:pt x="10138" y="3043"/>
                  </a:lnTo>
                  <a:lnTo>
                    <a:pt x="10131" y="3047"/>
                  </a:lnTo>
                  <a:lnTo>
                    <a:pt x="10124" y="3048"/>
                  </a:lnTo>
                  <a:lnTo>
                    <a:pt x="10116" y="3047"/>
                  </a:lnTo>
                  <a:lnTo>
                    <a:pt x="10109" y="3043"/>
                  </a:lnTo>
                  <a:lnTo>
                    <a:pt x="10106" y="3037"/>
                  </a:lnTo>
                  <a:lnTo>
                    <a:pt x="10103" y="3028"/>
                  </a:lnTo>
                  <a:lnTo>
                    <a:pt x="10103" y="2916"/>
                  </a:lnTo>
                  <a:lnTo>
                    <a:pt x="10106" y="2907"/>
                  </a:lnTo>
                  <a:lnTo>
                    <a:pt x="10109" y="2901"/>
                  </a:lnTo>
                  <a:lnTo>
                    <a:pt x="10116" y="2897"/>
                  </a:lnTo>
                  <a:lnTo>
                    <a:pt x="10124" y="2896"/>
                  </a:lnTo>
                  <a:lnTo>
                    <a:pt x="10131" y="2897"/>
                  </a:lnTo>
                  <a:lnTo>
                    <a:pt x="10138" y="2901"/>
                  </a:lnTo>
                  <a:lnTo>
                    <a:pt x="10142" y="2907"/>
                  </a:lnTo>
                  <a:lnTo>
                    <a:pt x="10143" y="2916"/>
                  </a:lnTo>
                  <a:close/>
                  <a:moveTo>
                    <a:pt x="9880" y="2916"/>
                  </a:moveTo>
                  <a:lnTo>
                    <a:pt x="9880" y="3028"/>
                  </a:lnTo>
                  <a:lnTo>
                    <a:pt x="9879" y="3037"/>
                  </a:lnTo>
                  <a:lnTo>
                    <a:pt x="9874" y="3043"/>
                  </a:lnTo>
                  <a:lnTo>
                    <a:pt x="9867" y="3047"/>
                  </a:lnTo>
                  <a:lnTo>
                    <a:pt x="9861" y="3048"/>
                  </a:lnTo>
                  <a:lnTo>
                    <a:pt x="9853" y="3047"/>
                  </a:lnTo>
                  <a:lnTo>
                    <a:pt x="9847" y="3043"/>
                  </a:lnTo>
                  <a:lnTo>
                    <a:pt x="9841" y="3037"/>
                  </a:lnTo>
                  <a:lnTo>
                    <a:pt x="9840" y="3028"/>
                  </a:lnTo>
                  <a:lnTo>
                    <a:pt x="9840" y="2916"/>
                  </a:lnTo>
                  <a:lnTo>
                    <a:pt x="9841" y="2907"/>
                  </a:lnTo>
                  <a:lnTo>
                    <a:pt x="9847" y="2901"/>
                  </a:lnTo>
                  <a:lnTo>
                    <a:pt x="9853" y="2897"/>
                  </a:lnTo>
                  <a:lnTo>
                    <a:pt x="9861" y="2896"/>
                  </a:lnTo>
                  <a:lnTo>
                    <a:pt x="9867" y="2897"/>
                  </a:lnTo>
                  <a:lnTo>
                    <a:pt x="9874" y="2901"/>
                  </a:lnTo>
                  <a:lnTo>
                    <a:pt x="9879" y="2907"/>
                  </a:lnTo>
                  <a:lnTo>
                    <a:pt x="9880" y="2916"/>
                  </a:lnTo>
                  <a:close/>
                  <a:moveTo>
                    <a:pt x="9617" y="2916"/>
                  </a:moveTo>
                  <a:lnTo>
                    <a:pt x="9617" y="3028"/>
                  </a:lnTo>
                  <a:lnTo>
                    <a:pt x="9616" y="3037"/>
                  </a:lnTo>
                  <a:lnTo>
                    <a:pt x="9611" y="3043"/>
                  </a:lnTo>
                  <a:lnTo>
                    <a:pt x="9604" y="3047"/>
                  </a:lnTo>
                  <a:lnTo>
                    <a:pt x="9598" y="3048"/>
                  </a:lnTo>
                  <a:lnTo>
                    <a:pt x="9590" y="3047"/>
                  </a:lnTo>
                  <a:lnTo>
                    <a:pt x="9584" y="3043"/>
                  </a:lnTo>
                  <a:lnTo>
                    <a:pt x="9579" y="3037"/>
                  </a:lnTo>
                  <a:lnTo>
                    <a:pt x="9577" y="3028"/>
                  </a:lnTo>
                  <a:lnTo>
                    <a:pt x="9577" y="2916"/>
                  </a:lnTo>
                  <a:lnTo>
                    <a:pt x="9579" y="2907"/>
                  </a:lnTo>
                  <a:lnTo>
                    <a:pt x="9584" y="2901"/>
                  </a:lnTo>
                  <a:lnTo>
                    <a:pt x="9590" y="2897"/>
                  </a:lnTo>
                  <a:lnTo>
                    <a:pt x="9598" y="2896"/>
                  </a:lnTo>
                  <a:lnTo>
                    <a:pt x="9604" y="2897"/>
                  </a:lnTo>
                  <a:lnTo>
                    <a:pt x="9611" y="2901"/>
                  </a:lnTo>
                  <a:lnTo>
                    <a:pt x="9616" y="2907"/>
                  </a:lnTo>
                  <a:lnTo>
                    <a:pt x="9617" y="2916"/>
                  </a:lnTo>
                  <a:close/>
                  <a:moveTo>
                    <a:pt x="10933" y="2670"/>
                  </a:moveTo>
                  <a:lnTo>
                    <a:pt x="10933" y="2782"/>
                  </a:lnTo>
                  <a:lnTo>
                    <a:pt x="10931" y="2790"/>
                  </a:lnTo>
                  <a:lnTo>
                    <a:pt x="10926" y="2796"/>
                  </a:lnTo>
                  <a:lnTo>
                    <a:pt x="10920" y="2800"/>
                  </a:lnTo>
                  <a:lnTo>
                    <a:pt x="10912" y="2801"/>
                  </a:lnTo>
                  <a:lnTo>
                    <a:pt x="10906" y="2800"/>
                  </a:lnTo>
                  <a:lnTo>
                    <a:pt x="10899" y="2796"/>
                  </a:lnTo>
                  <a:lnTo>
                    <a:pt x="10894" y="2790"/>
                  </a:lnTo>
                  <a:lnTo>
                    <a:pt x="10893" y="2782"/>
                  </a:lnTo>
                  <a:lnTo>
                    <a:pt x="10893" y="2670"/>
                  </a:lnTo>
                  <a:lnTo>
                    <a:pt x="10894" y="2661"/>
                  </a:lnTo>
                  <a:lnTo>
                    <a:pt x="10899" y="2654"/>
                  </a:lnTo>
                  <a:lnTo>
                    <a:pt x="10906" y="2650"/>
                  </a:lnTo>
                  <a:lnTo>
                    <a:pt x="10912" y="2649"/>
                  </a:lnTo>
                  <a:lnTo>
                    <a:pt x="10920" y="2650"/>
                  </a:lnTo>
                  <a:lnTo>
                    <a:pt x="10926" y="2654"/>
                  </a:lnTo>
                  <a:lnTo>
                    <a:pt x="10931" y="2661"/>
                  </a:lnTo>
                  <a:lnTo>
                    <a:pt x="10933" y="2670"/>
                  </a:lnTo>
                  <a:close/>
                  <a:moveTo>
                    <a:pt x="10670" y="2670"/>
                  </a:moveTo>
                  <a:lnTo>
                    <a:pt x="10670" y="2782"/>
                  </a:lnTo>
                  <a:lnTo>
                    <a:pt x="10669" y="2790"/>
                  </a:lnTo>
                  <a:lnTo>
                    <a:pt x="10663" y="2796"/>
                  </a:lnTo>
                  <a:lnTo>
                    <a:pt x="10657" y="2800"/>
                  </a:lnTo>
                  <a:lnTo>
                    <a:pt x="10649" y="2801"/>
                  </a:lnTo>
                  <a:lnTo>
                    <a:pt x="10643" y="2800"/>
                  </a:lnTo>
                  <a:lnTo>
                    <a:pt x="10637" y="2796"/>
                  </a:lnTo>
                  <a:lnTo>
                    <a:pt x="10631" y="2790"/>
                  </a:lnTo>
                  <a:lnTo>
                    <a:pt x="10630" y="2782"/>
                  </a:lnTo>
                  <a:lnTo>
                    <a:pt x="10630" y="2670"/>
                  </a:lnTo>
                  <a:lnTo>
                    <a:pt x="10631" y="2661"/>
                  </a:lnTo>
                  <a:lnTo>
                    <a:pt x="10637" y="2654"/>
                  </a:lnTo>
                  <a:lnTo>
                    <a:pt x="10643" y="2650"/>
                  </a:lnTo>
                  <a:lnTo>
                    <a:pt x="10649" y="2649"/>
                  </a:lnTo>
                  <a:lnTo>
                    <a:pt x="10657" y="2650"/>
                  </a:lnTo>
                  <a:lnTo>
                    <a:pt x="10663" y="2654"/>
                  </a:lnTo>
                  <a:lnTo>
                    <a:pt x="10669" y="2661"/>
                  </a:lnTo>
                  <a:lnTo>
                    <a:pt x="10670" y="2670"/>
                  </a:lnTo>
                  <a:close/>
                  <a:moveTo>
                    <a:pt x="10407" y="2670"/>
                  </a:moveTo>
                  <a:lnTo>
                    <a:pt x="10407" y="2782"/>
                  </a:lnTo>
                  <a:lnTo>
                    <a:pt x="10404" y="2790"/>
                  </a:lnTo>
                  <a:lnTo>
                    <a:pt x="10401" y="2796"/>
                  </a:lnTo>
                  <a:lnTo>
                    <a:pt x="10394" y="2800"/>
                  </a:lnTo>
                  <a:lnTo>
                    <a:pt x="10386" y="2801"/>
                  </a:lnTo>
                  <a:lnTo>
                    <a:pt x="10379" y="2800"/>
                  </a:lnTo>
                  <a:lnTo>
                    <a:pt x="10372" y="2796"/>
                  </a:lnTo>
                  <a:lnTo>
                    <a:pt x="10369" y="2790"/>
                  </a:lnTo>
                  <a:lnTo>
                    <a:pt x="10366" y="2782"/>
                  </a:lnTo>
                  <a:lnTo>
                    <a:pt x="10366" y="2670"/>
                  </a:lnTo>
                  <a:lnTo>
                    <a:pt x="10369" y="2661"/>
                  </a:lnTo>
                  <a:lnTo>
                    <a:pt x="10372" y="2654"/>
                  </a:lnTo>
                  <a:lnTo>
                    <a:pt x="10379" y="2650"/>
                  </a:lnTo>
                  <a:lnTo>
                    <a:pt x="10386" y="2649"/>
                  </a:lnTo>
                  <a:lnTo>
                    <a:pt x="10394" y="2650"/>
                  </a:lnTo>
                  <a:lnTo>
                    <a:pt x="10401" y="2654"/>
                  </a:lnTo>
                  <a:lnTo>
                    <a:pt x="10404" y="2661"/>
                  </a:lnTo>
                  <a:lnTo>
                    <a:pt x="10407" y="2670"/>
                  </a:lnTo>
                  <a:close/>
                  <a:moveTo>
                    <a:pt x="10143" y="2670"/>
                  </a:moveTo>
                  <a:lnTo>
                    <a:pt x="10143" y="2782"/>
                  </a:lnTo>
                  <a:lnTo>
                    <a:pt x="10142" y="2790"/>
                  </a:lnTo>
                  <a:lnTo>
                    <a:pt x="10138" y="2796"/>
                  </a:lnTo>
                  <a:lnTo>
                    <a:pt x="10131" y="2800"/>
                  </a:lnTo>
                  <a:lnTo>
                    <a:pt x="10124" y="2801"/>
                  </a:lnTo>
                  <a:lnTo>
                    <a:pt x="10116" y="2800"/>
                  </a:lnTo>
                  <a:lnTo>
                    <a:pt x="10109" y="2796"/>
                  </a:lnTo>
                  <a:lnTo>
                    <a:pt x="10106" y="2790"/>
                  </a:lnTo>
                  <a:lnTo>
                    <a:pt x="10103" y="2782"/>
                  </a:lnTo>
                  <a:lnTo>
                    <a:pt x="10103" y="2670"/>
                  </a:lnTo>
                  <a:lnTo>
                    <a:pt x="10106" y="2661"/>
                  </a:lnTo>
                  <a:lnTo>
                    <a:pt x="10109" y="2654"/>
                  </a:lnTo>
                  <a:lnTo>
                    <a:pt x="10116" y="2650"/>
                  </a:lnTo>
                  <a:lnTo>
                    <a:pt x="10124" y="2649"/>
                  </a:lnTo>
                  <a:lnTo>
                    <a:pt x="10131" y="2650"/>
                  </a:lnTo>
                  <a:lnTo>
                    <a:pt x="10138" y="2654"/>
                  </a:lnTo>
                  <a:lnTo>
                    <a:pt x="10142" y="2661"/>
                  </a:lnTo>
                  <a:lnTo>
                    <a:pt x="10143" y="2670"/>
                  </a:lnTo>
                  <a:close/>
                  <a:moveTo>
                    <a:pt x="9880" y="2670"/>
                  </a:moveTo>
                  <a:lnTo>
                    <a:pt x="9880" y="2782"/>
                  </a:lnTo>
                  <a:lnTo>
                    <a:pt x="9879" y="2790"/>
                  </a:lnTo>
                  <a:lnTo>
                    <a:pt x="9874" y="2796"/>
                  </a:lnTo>
                  <a:lnTo>
                    <a:pt x="9867" y="2800"/>
                  </a:lnTo>
                  <a:lnTo>
                    <a:pt x="9861" y="2801"/>
                  </a:lnTo>
                  <a:lnTo>
                    <a:pt x="9853" y="2800"/>
                  </a:lnTo>
                  <a:lnTo>
                    <a:pt x="9847" y="2796"/>
                  </a:lnTo>
                  <a:lnTo>
                    <a:pt x="9841" y="2790"/>
                  </a:lnTo>
                  <a:lnTo>
                    <a:pt x="9840" y="2782"/>
                  </a:lnTo>
                  <a:lnTo>
                    <a:pt x="9840" y="2670"/>
                  </a:lnTo>
                  <a:lnTo>
                    <a:pt x="9841" y="2661"/>
                  </a:lnTo>
                  <a:lnTo>
                    <a:pt x="9847" y="2654"/>
                  </a:lnTo>
                  <a:lnTo>
                    <a:pt x="9853" y="2650"/>
                  </a:lnTo>
                  <a:lnTo>
                    <a:pt x="9861" y="2649"/>
                  </a:lnTo>
                  <a:lnTo>
                    <a:pt x="9867" y="2650"/>
                  </a:lnTo>
                  <a:lnTo>
                    <a:pt x="9874" y="2654"/>
                  </a:lnTo>
                  <a:lnTo>
                    <a:pt x="9879" y="2661"/>
                  </a:lnTo>
                  <a:lnTo>
                    <a:pt x="9880" y="2670"/>
                  </a:lnTo>
                  <a:close/>
                  <a:moveTo>
                    <a:pt x="9617" y="2670"/>
                  </a:moveTo>
                  <a:lnTo>
                    <a:pt x="9617" y="2782"/>
                  </a:lnTo>
                  <a:lnTo>
                    <a:pt x="9616" y="2790"/>
                  </a:lnTo>
                  <a:lnTo>
                    <a:pt x="9611" y="2796"/>
                  </a:lnTo>
                  <a:lnTo>
                    <a:pt x="9604" y="2800"/>
                  </a:lnTo>
                  <a:lnTo>
                    <a:pt x="9598" y="2801"/>
                  </a:lnTo>
                  <a:lnTo>
                    <a:pt x="9590" y="2800"/>
                  </a:lnTo>
                  <a:lnTo>
                    <a:pt x="9584" y="2796"/>
                  </a:lnTo>
                  <a:lnTo>
                    <a:pt x="9579" y="2790"/>
                  </a:lnTo>
                  <a:lnTo>
                    <a:pt x="9577" y="2782"/>
                  </a:lnTo>
                  <a:lnTo>
                    <a:pt x="9577" y="2670"/>
                  </a:lnTo>
                  <a:lnTo>
                    <a:pt x="9579" y="2661"/>
                  </a:lnTo>
                  <a:lnTo>
                    <a:pt x="9584" y="2654"/>
                  </a:lnTo>
                  <a:lnTo>
                    <a:pt x="9590" y="2650"/>
                  </a:lnTo>
                  <a:lnTo>
                    <a:pt x="9598" y="2649"/>
                  </a:lnTo>
                  <a:lnTo>
                    <a:pt x="9604" y="2650"/>
                  </a:lnTo>
                  <a:lnTo>
                    <a:pt x="9611" y="2654"/>
                  </a:lnTo>
                  <a:lnTo>
                    <a:pt x="9616" y="2661"/>
                  </a:lnTo>
                  <a:lnTo>
                    <a:pt x="9617" y="2670"/>
                  </a:lnTo>
                  <a:close/>
                  <a:moveTo>
                    <a:pt x="13776" y="2113"/>
                  </a:moveTo>
                  <a:lnTo>
                    <a:pt x="13776" y="2226"/>
                  </a:lnTo>
                  <a:lnTo>
                    <a:pt x="13774" y="2235"/>
                  </a:lnTo>
                  <a:lnTo>
                    <a:pt x="13769" y="2241"/>
                  </a:lnTo>
                  <a:lnTo>
                    <a:pt x="13763" y="2245"/>
                  </a:lnTo>
                  <a:lnTo>
                    <a:pt x="13756" y="2246"/>
                  </a:lnTo>
                  <a:lnTo>
                    <a:pt x="13749" y="2245"/>
                  </a:lnTo>
                  <a:lnTo>
                    <a:pt x="13742" y="2241"/>
                  </a:lnTo>
                  <a:lnTo>
                    <a:pt x="13737" y="2235"/>
                  </a:lnTo>
                  <a:lnTo>
                    <a:pt x="13736" y="2226"/>
                  </a:lnTo>
                  <a:lnTo>
                    <a:pt x="13736" y="2113"/>
                  </a:lnTo>
                  <a:lnTo>
                    <a:pt x="13737" y="2106"/>
                  </a:lnTo>
                  <a:lnTo>
                    <a:pt x="13742" y="2099"/>
                  </a:lnTo>
                  <a:lnTo>
                    <a:pt x="13749" y="2095"/>
                  </a:lnTo>
                  <a:lnTo>
                    <a:pt x="13756" y="2094"/>
                  </a:lnTo>
                  <a:lnTo>
                    <a:pt x="13763" y="2095"/>
                  </a:lnTo>
                  <a:lnTo>
                    <a:pt x="13769" y="2099"/>
                  </a:lnTo>
                  <a:lnTo>
                    <a:pt x="13774" y="2106"/>
                  </a:lnTo>
                  <a:lnTo>
                    <a:pt x="13776" y="2113"/>
                  </a:lnTo>
                  <a:close/>
                  <a:moveTo>
                    <a:pt x="13513" y="2113"/>
                  </a:moveTo>
                  <a:lnTo>
                    <a:pt x="13513" y="2226"/>
                  </a:lnTo>
                  <a:lnTo>
                    <a:pt x="13511" y="2235"/>
                  </a:lnTo>
                  <a:lnTo>
                    <a:pt x="13506" y="2241"/>
                  </a:lnTo>
                  <a:lnTo>
                    <a:pt x="13500" y="2245"/>
                  </a:lnTo>
                  <a:lnTo>
                    <a:pt x="13492" y="2246"/>
                  </a:lnTo>
                  <a:lnTo>
                    <a:pt x="13486" y="2245"/>
                  </a:lnTo>
                  <a:lnTo>
                    <a:pt x="13479" y="2241"/>
                  </a:lnTo>
                  <a:lnTo>
                    <a:pt x="13474" y="2235"/>
                  </a:lnTo>
                  <a:lnTo>
                    <a:pt x="13473" y="2226"/>
                  </a:lnTo>
                  <a:lnTo>
                    <a:pt x="13473" y="2113"/>
                  </a:lnTo>
                  <a:lnTo>
                    <a:pt x="13474" y="2106"/>
                  </a:lnTo>
                  <a:lnTo>
                    <a:pt x="13479" y="2099"/>
                  </a:lnTo>
                  <a:lnTo>
                    <a:pt x="13486" y="2095"/>
                  </a:lnTo>
                  <a:lnTo>
                    <a:pt x="13492" y="2094"/>
                  </a:lnTo>
                  <a:lnTo>
                    <a:pt x="13500" y="2095"/>
                  </a:lnTo>
                  <a:lnTo>
                    <a:pt x="13506" y="2099"/>
                  </a:lnTo>
                  <a:lnTo>
                    <a:pt x="13511" y="2106"/>
                  </a:lnTo>
                  <a:lnTo>
                    <a:pt x="13513" y="2113"/>
                  </a:lnTo>
                  <a:close/>
                  <a:moveTo>
                    <a:pt x="13250" y="2113"/>
                  </a:moveTo>
                  <a:lnTo>
                    <a:pt x="13250" y="2226"/>
                  </a:lnTo>
                  <a:lnTo>
                    <a:pt x="13247" y="2235"/>
                  </a:lnTo>
                  <a:lnTo>
                    <a:pt x="13243" y="2241"/>
                  </a:lnTo>
                  <a:lnTo>
                    <a:pt x="13237" y="2245"/>
                  </a:lnTo>
                  <a:lnTo>
                    <a:pt x="13229" y="2246"/>
                  </a:lnTo>
                  <a:lnTo>
                    <a:pt x="13222" y="2245"/>
                  </a:lnTo>
                  <a:lnTo>
                    <a:pt x="13215" y="2241"/>
                  </a:lnTo>
                  <a:lnTo>
                    <a:pt x="13211" y="2235"/>
                  </a:lnTo>
                  <a:lnTo>
                    <a:pt x="13210" y="2226"/>
                  </a:lnTo>
                  <a:lnTo>
                    <a:pt x="13210" y="2113"/>
                  </a:lnTo>
                  <a:lnTo>
                    <a:pt x="13211" y="2106"/>
                  </a:lnTo>
                  <a:lnTo>
                    <a:pt x="13215" y="2099"/>
                  </a:lnTo>
                  <a:lnTo>
                    <a:pt x="13222" y="2095"/>
                  </a:lnTo>
                  <a:lnTo>
                    <a:pt x="13229" y="2094"/>
                  </a:lnTo>
                  <a:lnTo>
                    <a:pt x="13237" y="2095"/>
                  </a:lnTo>
                  <a:lnTo>
                    <a:pt x="13243" y="2099"/>
                  </a:lnTo>
                  <a:lnTo>
                    <a:pt x="13247" y="2106"/>
                  </a:lnTo>
                  <a:lnTo>
                    <a:pt x="13250" y="2113"/>
                  </a:lnTo>
                  <a:close/>
                  <a:moveTo>
                    <a:pt x="12987" y="2113"/>
                  </a:moveTo>
                  <a:lnTo>
                    <a:pt x="12987" y="2226"/>
                  </a:lnTo>
                  <a:lnTo>
                    <a:pt x="12984" y="2235"/>
                  </a:lnTo>
                  <a:lnTo>
                    <a:pt x="12981" y="2241"/>
                  </a:lnTo>
                  <a:lnTo>
                    <a:pt x="12974" y="2245"/>
                  </a:lnTo>
                  <a:lnTo>
                    <a:pt x="12966" y="2246"/>
                  </a:lnTo>
                  <a:lnTo>
                    <a:pt x="12959" y="2245"/>
                  </a:lnTo>
                  <a:lnTo>
                    <a:pt x="12952" y="2241"/>
                  </a:lnTo>
                  <a:lnTo>
                    <a:pt x="12948" y="2235"/>
                  </a:lnTo>
                  <a:lnTo>
                    <a:pt x="12946" y="2226"/>
                  </a:lnTo>
                  <a:lnTo>
                    <a:pt x="12946" y="2113"/>
                  </a:lnTo>
                  <a:lnTo>
                    <a:pt x="12948" y="2106"/>
                  </a:lnTo>
                  <a:lnTo>
                    <a:pt x="12952" y="2099"/>
                  </a:lnTo>
                  <a:lnTo>
                    <a:pt x="12959" y="2095"/>
                  </a:lnTo>
                  <a:lnTo>
                    <a:pt x="12966" y="2094"/>
                  </a:lnTo>
                  <a:lnTo>
                    <a:pt x="12974" y="2095"/>
                  </a:lnTo>
                  <a:lnTo>
                    <a:pt x="12981" y="2099"/>
                  </a:lnTo>
                  <a:lnTo>
                    <a:pt x="12984" y="2106"/>
                  </a:lnTo>
                  <a:lnTo>
                    <a:pt x="12987" y="2113"/>
                  </a:lnTo>
                  <a:close/>
                  <a:moveTo>
                    <a:pt x="13776" y="1879"/>
                  </a:moveTo>
                  <a:lnTo>
                    <a:pt x="13776" y="1992"/>
                  </a:lnTo>
                  <a:lnTo>
                    <a:pt x="13774" y="2001"/>
                  </a:lnTo>
                  <a:lnTo>
                    <a:pt x="13769" y="2007"/>
                  </a:lnTo>
                  <a:lnTo>
                    <a:pt x="13763" y="2011"/>
                  </a:lnTo>
                  <a:lnTo>
                    <a:pt x="13756" y="2012"/>
                  </a:lnTo>
                  <a:lnTo>
                    <a:pt x="13749" y="2011"/>
                  </a:lnTo>
                  <a:lnTo>
                    <a:pt x="13742" y="2007"/>
                  </a:lnTo>
                  <a:lnTo>
                    <a:pt x="13737" y="2001"/>
                  </a:lnTo>
                  <a:lnTo>
                    <a:pt x="13736" y="1992"/>
                  </a:lnTo>
                  <a:lnTo>
                    <a:pt x="13736" y="1879"/>
                  </a:lnTo>
                  <a:lnTo>
                    <a:pt x="13737" y="1872"/>
                  </a:lnTo>
                  <a:lnTo>
                    <a:pt x="13742" y="1865"/>
                  </a:lnTo>
                  <a:lnTo>
                    <a:pt x="13749" y="1861"/>
                  </a:lnTo>
                  <a:lnTo>
                    <a:pt x="13756" y="1860"/>
                  </a:lnTo>
                  <a:lnTo>
                    <a:pt x="13763" y="1861"/>
                  </a:lnTo>
                  <a:lnTo>
                    <a:pt x="13769" y="1865"/>
                  </a:lnTo>
                  <a:lnTo>
                    <a:pt x="13774" y="1872"/>
                  </a:lnTo>
                  <a:lnTo>
                    <a:pt x="13776" y="1879"/>
                  </a:lnTo>
                  <a:close/>
                  <a:moveTo>
                    <a:pt x="13513" y="1879"/>
                  </a:moveTo>
                  <a:lnTo>
                    <a:pt x="13513" y="1992"/>
                  </a:lnTo>
                  <a:lnTo>
                    <a:pt x="13511" y="2001"/>
                  </a:lnTo>
                  <a:lnTo>
                    <a:pt x="13506" y="2007"/>
                  </a:lnTo>
                  <a:lnTo>
                    <a:pt x="13500" y="2011"/>
                  </a:lnTo>
                  <a:lnTo>
                    <a:pt x="13492" y="2012"/>
                  </a:lnTo>
                  <a:lnTo>
                    <a:pt x="13486" y="2011"/>
                  </a:lnTo>
                  <a:lnTo>
                    <a:pt x="13479" y="2007"/>
                  </a:lnTo>
                  <a:lnTo>
                    <a:pt x="13474" y="2001"/>
                  </a:lnTo>
                  <a:lnTo>
                    <a:pt x="13473" y="1992"/>
                  </a:lnTo>
                  <a:lnTo>
                    <a:pt x="13473" y="1879"/>
                  </a:lnTo>
                  <a:lnTo>
                    <a:pt x="13474" y="1872"/>
                  </a:lnTo>
                  <a:lnTo>
                    <a:pt x="13479" y="1865"/>
                  </a:lnTo>
                  <a:lnTo>
                    <a:pt x="13486" y="1861"/>
                  </a:lnTo>
                  <a:lnTo>
                    <a:pt x="13492" y="1860"/>
                  </a:lnTo>
                  <a:lnTo>
                    <a:pt x="13500" y="1861"/>
                  </a:lnTo>
                  <a:lnTo>
                    <a:pt x="13506" y="1865"/>
                  </a:lnTo>
                  <a:lnTo>
                    <a:pt x="13511" y="1872"/>
                  </a:lnTo>
                  <a:lnTo>
                    <a:pt x="13513" y="1879"/>
                  </a:lnTo>
                  <a:close/>
                  <a:moveTo>
                    <a:pt x="13250" y="1879"/>
                  </a:moveTo>
                  <a:lnTo>
                    <a:pt x="13250" y="1992"/>
                  </a:lnTo>
                  <a:lnTo>
                    <a:pt x="13247" y="2001"/>
                  </a:lnTo>
                  <a:lnTo>
                    <a:pt x="13243" y="2007"/>
                  </a:lnTo>
                  <a:lnTo>
                    <a:pt x="13237" y="2011"/>
                  </a:lnTo>
                  <a:lnTo>
                    <a:pt x="13229" y="2012"/>
                  </a:lnTo>
                  <a:lnTo>
                    <a:pt x="13222" y="2011"/>
                  </a:lnTo>
                  <a:lnTo>
                    <a:pt x="13215" y="2007"/>
                  </a:lnTo>
                  <a:lnTo>
                    <a:pt x="13211" y="2001"/>
                  </a:lnTo>
                  <a:lnTo>
                    <a:pt x="13210" y="1992"/>
                  </a:lnTo>
                  <a:lnTo>
                    <a:pt x="13210" y="1879"/>
                  </a:lnTo>
                  <a:lnTo>
                    <a:pt x="13211" y="1872"/>
                  </a:lnTo>
                  <a:lnTo>
                    <a:pt x="13215" y="1865"/>
                  </a:lnTo>
                  <a:lnTo>
                    <a:pt x="13222" y="1861"/>
                  </a:lnTo>
                  <a:lnTo>
                    <a:pt x="13229" y="1860"/>
                  </a:lnTo>
                  <a:lnTo>
                    <a:pt x="13237" y="1861"/>
                  </a:lnTo>
                  <a:lnTo>
                    <a:pt x="13243" y="1865"/>
                  </a:lnTo>
                  <a:lnTo>
                    <a:pt x="13247" y="1872"/>
                  </a:lnTo>
                  <a:lnTo>
                    <a:pt x="13250" y="1879"/>
                  </a:lnTo>
                  <a:close/>
                  <a:moveTo>
                    <a:pt x="12987" y="1879"/>
                  </a:moveTo>
                  <a:lnTo>
                    <a:pt x="12987" y="1992"/>
                  </a:lnTo>
                  <a:lnTo>
                    <a:pt x="12984" y="2001"/>
                  </a:lnTo>
                  <a:lnTo>
                    <a:pt x="12981" y="2007"/>
                  </a:lnTo>
                  <a:lnTo>
                    <a:pt x="12974" y="2011"/>
                  </a:lnTo>
                  <a:lnTo>
                    <a:pt x="12966" y="2012"/>
                  </a:lnTo>
                  <a:lnTo>
                    <a:pt x="12959" y="2011"/>
                  </a:lnTo>
                  <a:lnTo>
                    <a:pt x="12952" y="2007"/>
                  </a:lnTo>
                  <a:lnTo>
                    <a:pt x="12948" y="2001"/>
                  </a:lnTo>
                  <a:lnTo>
                    <a:pt x="12946" y="1992"/>
                  </a:lnTo>
                  <a:lnTo>
                    <a:pt x="12946" y="1879"/>
                  </a:lnTo>
                  <a:lnTo>
                    <a:pt x="12948" y="1872"/>
                  </a:lnTo>
                  <a:lnTo>
                    <a:pt x="12952" y="1865"/>
                  </a:lnTo>
                  <a:lnTo>
                    <a:pt x="12959" y="1861"/>
                  </a:lnTo>
                  <a:lnTo>
                    <a:pt x="12966" y="1860"/>
                  </a:lnTo>
                  <a:lnTo>
                    <a:pt x="12974" y="1861"/>
                  </a:lnTo>
                  <a:lnTo>
                    <a:pt x="12981" y="1865"/>
                  </a:lnTo>
                  <a:lnTo>
                    <a:pt x="12984" y="1872"/>
                  </a:lnTo>
                  <a:lnTo>
                    <a:pt x="12987" y="1879"/>
                  </a:lnTo>
                  <a:close/>
                  <a:moveTo>
                    <a:pt x="13776" y="1645"/>
                  </a:moveTo>
                  <a:lnTo>
                    <a:pt x="13776" y="1758"/>
                  </a:lnTo>
                  <a:lnTo>
                    <a:pt x="13774" y="1767"/>
                  </a:lnTo>
                  <a:lnTo>
                    <a:pt x="13769" y="1773"/>
                  </a:lnTo>
                  <a:lnTo>
                    <a:pt x="13763" y="1777"/>
                  </a:lnTo>
                  <a:lnTo>
                    <a:pt x="13756" y="1778"/>
                  </a:lnTo>
                  <a:lnTo>
                    <a:pt x="13749" y="1777"/>
                  </a:lnTo>
                  <a:lnTo>
                    <a:pt x="13742" y="1773"/>
                  </a:lnTo>
                  <a:lnTo>
                    <a:pt x="13737" y="1767"/>
                  </a:lnTo>
                  <a:lnTo>
                    <a:pt x="13736" y="1758"/>
                  </a:lnTo>
                  <a:lnTo>
                    <a:pt x="13736" y="1645"/>
                  </a:lnTo>
                  <a:lnTo>
                    <a:pt x="13737" y="1636"/>
                  </a:lnTo>
                  <a:lnTo>
                    <a:pt x="13742" y="1631"/>
                  </a:lnTo>
                  <a:lnTo>
                    <a:pt x="13749" y="1627"/>
                  </a:lnTo>
                  <a:lnTo>
                    <a:pt x="13756" y="1626"/>
                  </a:lnTo>
                  <a:lnTo>
                    <a:pt x="13763" y="1627"/>
                  </a:lnTo>
                  <a:lnTo>
                    <a:pt x="13769" y="1631"/>
                  </a:lnTo>
                  <a:lnTo>
                    <a:pt x="13774" y="1636"/>
                  </a:lnTo>
                  <a:lnTo>
                    <a:pt x="13776" y="1645"/>
                  </a:lnTo>
                  <a:close/>
                  <a:moveTo>
                    <a:pt x="13513" y="1645"/>
                  </a:moveTo>
                  <a:lnTo>
                    <a:pt x="13513" y="1758"/>
                  </a:lnTo>
                  <a:lnTo>
                    <a:pt x="13511" y="1767"/>
                  </a:lnTo>
                  <a:lnTo>
                    <a:pt x="13506" y="1773"/>
                  </a:lnTo>
                  <a:lnTo>
                    <a:pt x="13500" y="1777"/>
                  </a:lnTo>
                  <a:lnTo>
                    <a:pt x="13492" y="1778"/>
                  </a:lnTo>
                  <a:lnTo>
                    <a:pt x="13486" y="1777"/>
                  </a:lnTo>
                  <a:lnTo>
                    <a:pt x="13479" y="1773"/>
                  </a:lnTo>
                  <a:lnTo>
                    <a:pt x="13474" y="1767"/>
                  </a:lnTo>
                  <a:lnTo>
                    <a:pt x="13473" y="1758"/>
                  </a:lnTo>
                  <a:lnTo>
                    <a:pt x="13473" y="1645"/>
                  </a:lnTo>
                  <a:lnTo>
                    <a:pt x="13474" y="1636"/>
                  </a:lnTo>
                  <a:lnTo>
                    <a:pt x="13479" y="1631"/>
                  </a:lnTo>
                  <a:lnTo>
                    <a:pt x="13486" y="1627"/>
                  </a:lnTo>
                  <a:lnTo>
                    <a:pt x="13492" y="1626"/>
                  </a:lnTo>
                  <a:lnTo>
                    <a:pt x="13500" y="1627"/>
                  </a:lnTo>
                  <a:lnTo>
                    <a:pt x="13506" y="1631"/>
                  </a:lnTo>
                  <a:lnTo>
                    <a:pt x="13511" y="1636"/>
                  </a:lnTo>
                  <a:lnTo>
                    <a:pt x="13513" y="1645"/>
                  </a:lnTo>
                  <a:close/>
                  <a:moveTo>
                    <a:pt x="13250" y="1645"/>
                  </a:moveTo>
                  <a:lnTo>
                    <a:pt x="13250" y="1758"/>
                  </a:lnTo>
                  <a:lnTo>
                    <a:pt x="13247" y="1767"/>
                  </a:lnTo>
                  <a:lnTo>
                    <a:pt x="13243" y="1773"/>
                  </a:lnTo>
                  <a:lnTo>
                    <a:pt x="13237" y="1777"/>
                  </a:lnTo>
                  <a:lnTo>
                    <a:pt x="13229" y="1778"/>
                  </a:lnTo>
                  <a:lnTo>
                    <a:pt x="13222" y="1777"/>
                  </a:lnTo>
                  <a:lnTo>
                    <a:pt x="13215" y="1773"/>
                  </a:lnTo>
                  <a:lnTo>
                    <a:pt x="13211" y="1767"/>
                  </a:lnTo>
                  <a:lnTo>
                    <a:pt x="13210" y="1758"/>
                  </a:lnTo>
                  <a:lnTo>
                    <a:pt x="13210" y="1645"/>
                  </a:lnTo>
                  <a:lnTo>
                    <a:pt x="13211" y="1636"/>
                  </a:lnTo>
                  <a:lnTo>
                    <a:pt x="13215" y="1631"/>
                  </a:lnTo>
                  <a:lnTo>
                    <a:pt x="13222" y="1627"/>
                  </a:lnTo>
                  <a:lnTo>
                    <a:pt x="13229" y="1626"/>
                  </a:lnTo>
                  <a:lnTo>
                    <a:pt x="13237" y="1627"/>
                  </a:lnTo>
                  <a:lnTo>
                    <a:pt x="13243" y="1631"/>
                  </a:lnTo>
                  <a:lnTo>
                    <a:pt x="13247" y="1636"/>
                  </a:lnTo>
                  <a:lnTo>
                    <a:pt x="13250" y="1645"/>
                  </a:lnTo>
                  <a:close/>
                  <a:moveTo>
                    <a:pt x="12987" y="1645"/>
                  </a:moveTo>
                  <a:lnTo>
                    <a:pt x="12987" y="1758"/>
                  </a:lnTo>
                  <a:lnTo>
                    <a:pt x="12984" y="1767"/>
                  </a:lnTo>
                  <a:lnTo>
                    <a:pt x="12981" y="1773"/>
                  </a:lnTo>
                  <a:lnTo>
                    <a:pt x="12974" y="1777"/>
                  </a:lnTo>
                  <a:lnTo>
                    <a:pt x="12966" y="1778"/>
                  </a:lnTo>
                  <a:lnTo>
                    <a:pt x="12959" y="1777"/>
                  </a:lnTo>
                  <a:lnTo>
                    <a:pt x="12952" y="1773"/>
                  </a:lnTo>
                  <a:lnTo>
                    <a:pt x="12948" y="1767"/>
                  </a:lnTo>
                  <a:lnTo>
                    <a:pt x="12946" y="1758"/>
                  </a:lnTo>
                  <a:lnTo>
                    <a:pt x="12946" y="1645"/>
                  </a:lnTo>
                  <a:lnTo>
                    <a:pt x="12948" y="1636"/>
                  </a:lnTo>
                  <a:lnTo>
                    <a:pt x="12952" y="1631"/>
                  </a:lnTo>
                  <a:lnTo>
                    <a:pt x="12959" y="1627"/>
                  </a:lnTo>
                  <a:lnTo>
                    <a:pt x="12966" y="1626"/>
                  </a:lnTo>
                  <a:lnTo>
                    <a:pt x="12974" y="1627"/>
                  </a:lnTo>
                  <a:lnTo>
                    <a:pt x="12981" y="1631"/>
                  </a:lnTo>
                  <a:lnTo>
                    <a:pt x="12984" y="1636"/>
                  </a:lnTo>
                  <a:lnTo>
                    <a:pt x="12987" y="1645"/>
                  </a:lnTo>
                  <a:close/>
                  <a:moveTo>
                    <a:pt x="13776" y="1411"/>
                  </a:moveTo>
                  <a:lnTo>
                    <a:pt x="13776" y="1524"/>
                  </a:lnTo>
                  <a:lnTo>
                    <a:pt x="13774" y="1533"/>
                  </a:lnTo>
                  <a:lnTo>
                    <a:pt x="13769" y="1539"/>
                  </a:lnTo>
                  <a:lnTo>
                    <a:pt x="13763" y="1543"/>
                  </a:lnTo>
                  <a:lnTo>
                    <a:pt x="13756" y="1544"/>
                  </a:lnTo>
                  <a:lnTo>
                    <a:pt x="13749" y="1543"/>
                  </a:lnTo>
                  <a:lnTo>
                    <a:pt x="13742" y="1539"/>
                  </a:lnTo>
                  <a:lnTo>
                    <a:pt x="13737" y="1533"/>
                  </a:lnTo>
                  <a:lnTo>
                    <a:pt x="13736" y="1524"/>
                  </a:lnTo>
                  <a:lnTo>
                    <a:pt x="13736" y="1411"/>
                  </a:lnTo>
                  <a:lnTo>
                    <a:pt x="13737" y="1402"/>
                  </a:lnTo>
                  <a:lnTo>
                    <a:pt x="13742" y="1397"/>
                  </a:lnTo>
                  <a:lnTo>
                    <a:pt x="13749" y="1393"/>
                  </a:lnTo>
                  <a:lnTo>
                    <a:pt x="13756" y="1392"/>
                  </a:lnTo>
                  <a:lnTo>
                    <a:pt x="13763" y="1393"/>
                  </a:lnTo>
                  <a:lnTo>
                    <a:pt x="13769" y="1397"/>
                  </a:lnTo>
                  <a:lnTo>
                    <a:pt x="13774" y="1402"/>
                  </a:lnTo>
                  <a:lnTo>
                    <a:pt x="13776" y="1411"/>
                  </a:lnTo>
                  <a:close/>
                  <a:moveTo>
                    <a:pt x="13513" y="1411"/>
                  </a:moveTo>
                  <a:lnTo>
                    <a:pt x="13513" y="1524"/>
                  </a:lnTo>
                  <a:lnTo>
                    <a:pt x="13511" y="1533"/>
                  </a:lnTo>
                  <a:lnTo>
                    <a:pt x="13506" y="1539"/>
                  </a:lnTo>
                  <a:lnTo>
                    <a:pt x="13500" y="1543"/>
                  </a:lnTo>
                  <a:lnTo>
                    <a:pt x="13492" y="1544"/>
                  </a:lnTo>
                  <a:lnTo>
                    <a:pt x="13486" y="1543"/>
                  </a:lnTo>
                  <a:lnTo>
                    <a:pt x="13479" y="1539"/>
                  </a:lnTo>
                  <a:lnTo>
                    <a:pt x="13474" y="1533"/>
                  </a:lnTo>
                  <a:lnTo>
                    <a:pt x="13473" y="1524"/>
                  </a:lnTo>
                  <a:lnTo>
                    <a:pt x="13473" y="1411"/>
                  </a:lnTo>
                  <a:lnTo>
                    <a:pt x="13474" y="1402"/>
                  </a:lnTo>
                  <a:lnTo>
                    <a:pt x="13479" y="1397"/>
                  </a:lnTo>
                  <a:lnTo>
                    <a:pt x="13486" y="1393"/>
                  </a:lnTo>
                  <a:lnTo>
                    <a:pt x="13492" y="1392"/>
                  </a:lnTo>
                  <a:lnTo>
                    <a:pt x="13500" y="1393"/>
                  </a:lnTo>
                  <a:lnTo>
                    <a:pt x="13506" y="1397"/>
                  </a:lnTo>
                  <a:lnTo>
                    <a:pt x="13511" y="1402"/>
                  </a:lnTo>
                  <a:lnTo>
                    <a:pt x="13513" y="1411"/>
                  </a:lnTo>
                  <a:close/>
                  <a:moveTo>
                    <a:pt x="13250" y="1411"/>
                  </a:moveTo>
                  <a:lnTo>
                    <a:pt x="13250" y="1524"/>
                  </a:lnTo>
                  <a:lnTo>
                    <a:pt x="13247" y="1533"/>
                  </a:lnTo>
                  <a:lnTo>
                    <a:pt x="13243" y="1539"/>
                  </a:lnTo>
                  <a:lnTo>
                    <a:pt x="13237" y="1543"/>
                  </a:lnTo>
                  <a:lnTo>
                    <a:pt x="13229" y="1544"/>
                  </a:lnTo>
                  <a:lnTo>
                    <a:pt x="13222" y="1543"/>
                  </a:lnTo>
                  <a:lnTo>
                    <a:pt x="13215" y="1539"/>
                  </a:lnTo>
                  <a:lnTo>
                    <a:pt x="13211" y="1533"/>
                  </a:lnTo>
                  <a:lnTo>
                    <a:pt x="13210" y="1524"/>
                  </a:lnTo>
                  <a:lnTo>
                    <a:pt x="13210" y="1411"/>
                  </a:lnTo>
                  <a:lnTo>
                    <a:pt x="13211" y="1402"/>
                  </a:lnTo>
                  <a:lnTo>
                    <a:pt x="13215" y="1397"/>
                  </a:lnTo>
                  <a:lnTo>
                    <a:pt x="13222" y="1393"/>
                  </a:lnTo>
                  <a:lnTo>
                    <a:pt x="13229" y="1392"/>
                  </a:lnTo>
                  <a:lnTo>
                    <a:pt x="13237" y="1393"/>
                  </a:lnTo>
                  <a:lnTo>
                    <a:pt x="13243" y="1397"/>
                  </a:lnTo>
                  <a:lnTo>
                    <a:pt x="13247" y="1402"/>
                  </a:lnTo>
                  <a:lnTo>
                    <a:pt x="13250" y="1411"/>
                  </a:lnTo>
                  <a:close/>
                  <a:moveTo>
                    <a:pt x="12987" y="1411"/>
                  </a:moveTo>
                  <a:lnTo>
                    <a:pt x="12987" y="1524"/>
                  </a:lnTo>
                  <a:lnTo>
                    <a:pt x="12984" y="1533"/>
                  </a:lnTo>
                  <a:lnTo>
                    <a:pt x="12981" y="1539"/>
                  </a:lnTo>
                  <a:lnTo>
                    <a:pt x="12974" y="1543"/>
                  </a:lnTo>
                  <a:lnTo>
                    <a:pt x="12966" y="1544"/>
                  </a:lnTo>
                  <a:lnTo>
                    <a:pt x="12959" y="1543"/>
                  </a:lnTo>
                  <a:lnTo>
                    <a:pt x="12952" y="1539"/>
                  </a:lnTo>
                  <a:lnTo>
                    <a:pt x="12948" y="1533"/>
                  </a:lnTo>
                  <a:lnTo>
                    <a:pt x="12946" y="1524"/>
                  </a:lnTo>
                  <a:lnTo>
                    <a:pt x="12946" y="1411"/>
                  </a:lnTo>
                  <a:lnTo>
                    <a:pt x="12948" y="1402"/>
                  </a:lnTo>
                  <a:lnTo>
                    <a:pt x="12952" y="1397"/>
                  </a:lnTo>
                  <a:lnTo>
                    <a:pt x="12959" y="1393"/>
                  </a:lnTo>
                  <a:lnTo>
                    <a:pt x="12966" y="1392"/>
                  </a:lnTo>
                  <a:lnTo>
                    <a:pt x="12974" y="1393"/>
                  </a:lnTo>
                  <a:lnTo>
                    <a:pt x="12981" y="1397"/>
                  </a:lnTo>
                  <a:lnTo>
                    <a:pt x="12984" y="1402"/>
                  </a:lnTo>
                  <a:lnTo>
                    <a:pt x="12987" y="1411"/>
                  </a:lnTo>
                  <a:close/>
                  <a:moveTo>
                    <a:pt x="13776" y="1177"/>
                  </a:moveTo>
                  <a:lnTo>
                    <a:pt x="13776" y="1290"/>
                  </a:lnTo>
                  <a:lnTo>
                    <a:pt x="13774" y="1299"/>
                  </a:lnTo>
                  <a:lnTo>
                    <a:pt x="13769" y="1305"/>
                  </a:lnTo>
                  <a:lnTo>
                    <a:pt x="13763" y="1309"/>
                  </a:lnTo>
                  <a:lnTo>
                    <a:pt x="13756" y="1309"/>
                  </a:lnTo>
                  <a:lnTo>
                    <a:pt x="13749" y="1309"/>
                  </a:lnTo>
                  <a:lnTo>
                    <a:pt x="13742" y="1305"/>
                  </a:lnTo>
                  <a:lnTo>
                    <a:pt x="13737" y="1299"/>
                  </a:lnTo>
                  <a:lnTo>
                    <a:pt x="13736" y="1290"/>
                  </a:lnTo>
                  <a:lnTo>
                    <a:pt x="13736" y="1177"/>
                  </a:lnTo>
                  <a:lnTo>
                    <a:pt x="13737" y="1168"/>
                  </a:lnTo>
                  <a:lnTo>
                    <a:pt x="13742" y="1163"/>
                  </a:lnTo>
                  <a:lnTo>
                    <a:pt x="13749" y="1159"/>
                  </a:lnTo>
                  <a:lnTo>
                    <a:pt x="13756" y="1158"/>
                  </a:lnTo>
                  <a:lnTo>
                    <a:pt x="13763" y="1159"/>
                  </a:lnTo>
                  <a:lnTo>
                    <a:pt x="13769" y="1163"/>
                  </a:lnTo>
                  <a:lnTo>
                    <a:pt x="13774" y="1168"/>
                  </a:lnTo>
                  <a:lnTo>
                    <a:pt x="13776" y="1177"/>
                  </a:lnTo>
                  <a:close/>
                  <a:moveTo>
                    <a:pt x="13513" y="1177"/>
                  </a:moveTo>
                  <a:lnTo>
                    <a:pt x="13513" y="1290"/>
                  </a:lnTo>
                  <a:lnTo>
                    <a:pt x="13511" y="1299"/>
                  </a:lnTo>
                  <a:lnTo>
                    <a:pt x="13506" y="1305"/>
                  </a:lnTo>
                  <a:lnTo>
                    <a:pt x="13500" y="1309"/>
                  </a:lnTo>
                  <a:lnTo>
                    <a:pt x="13492" y="1309"/>
                  </a:lnTo>
                  <a:lnTo>
                    <a:pt x="13486" y="1309"/>
                  </a:lnTo>
                  <a:lnTo>
                    <a:pt x="13479" y="1305"/>
                  </a:lnTo>
                  <a:lnTo>
                    <a:pt x="13474" y="1299"/>
                  </a:lnTo>
                  <a:lnTo>
                    <a:pt x="13473" y="1290"/>
                  </a:lnTo>
                  <a:lnTo>
                    <a:pt x="13473" y="1177"/>
                  </a:lnTo>
                  <a:lnTo>
                    <a:pt x="13474" y="1168"/>
                  </a:lnTo>
                  <a:lnTo>
                    <a:pt x="13479" y="1163"/>
                  </a:lnTo>
                  <a:lnTo>
                    <a:pt x="13486" y="1159"/>
                  </a:lnTo>
                  <a:lnTo>
                    <a:pt x="13492" y="1158"/>
                  </a:lnTo>
                  <a:lnTo>
                    <a:pt x="13500" y="1159"/>
                  </a:lnTo>
                  <a:lnTo>
                    <a:pt x="13506" y="1163"/>
                  </a:lnTo>
                  <a:lnTo>
                    <a:pt x="13511" y="1168"/>
                  </a:lnTo>
                  <a:lnTo>
                    <a:pt x="13513" y="1177"/>
                  </a:lnTo>
                  <a:close/>
                  <a:moveTo>
                    <a:pt x="13250" y="1177"/>
                  </a:moveTo>
                  <a:lnTo>
                    <a:pt x="13250" y="1290"/>
                  </a:lnTo>
                  <a:lnTo>
                    <a:pt x="13247" y="1299"/>
                  </a:lnTo>
                  <a:lnTo>
                    <a:pt x="13243" y="1305"/>
                  </a:lnTo>
                  <a:lnTo>
                    <a:pt x="13237" y="1309"/>
                  </a:lnTo>
                  <a:lnTo>
                    <a:pt x="13229" y="1309"/>
                  </a:lnTo>
                  <a:lnTo>
                    <a:pt x="13222" y="1309"/>
                  </a:lnTo>
                  <a:lnTo>
                    <a:pt x="13215" y="1305"/>
                  </a:lnTo>
                  <a:lnTo>
                    <a:pt x="13211" y="1299"/>
                  </a:lnTo>
                  <a:lnTo>
                    <a:pt x="13210" y="1290"/>
                  </a:lnTo>
                  <a:lnTo>
                    <a:pt x="13210" y="1177"/>
                  </a:lnTo>
                  <a:lnTo>
                    <a:pt x="13211" y="1168"/>
                  </a:lnTo>
                  <a:lnTo>
                    <a:pt x="13215" y="1163"/>
                  </a:lnTo>
                  <a:lnTo>
                    <a:pt x="13222" y="1159"/>
                  </a:lnTo>
                  <a:lnTo>
                    <a:pt x="13229" y="1158"/>
                  </a:lnTo>
                  <a:lnTo>
                    <a:pt x="13237" y="1159"/>
                  </a:lnTo>
                  <a:lnTo>
                    <a:pt x="13243" y="1163"/>
                  </a:lnTo>
                  <a:lnTo>
                    <a:pt x="13247" y="1168"/>
                  </a:lnTo>
                  <a:lnTo>
                    <a:pt x="13250" y="1177"/>
                  </a:lnTo>
                  <a:close/>
                  <a:moveTo>
                    <a:pt x="12987" y="1177"/>
                  </a:moveTo>
                  <a:lnTo>
                    <a:pt x="12987" y="1290"/>
                  </a:lnTo>
                  <a:lnTo>
                    <a:pt x="12984" y="1299"/>
                  </a:lnTo>
                  <a:lnTo>
                    <a:pt x="12981" y="1305"/>
                  </a:lnTo>
                  <a:lnTo>
                    <a:pt x="12974" y="1309"/>
                  </a:lnTo>
                  <a:lnTo>
                    <a:pt x="12966" y="1309"/>
                  </a:lnTo>
                  <a:lnTo>
                    <a:pt x="12959" y="1309"/>
                  </a:lnTo>
                  <a:lnTo>
                    <a:pt x="12952" y="1305"/>
                  </a:lnTo>
                  <a:lnTo>
                    <a:pt x="12948" y="1299"/>
                  </a:lnTo>
                  <a:lnTo>
                    <a:pt x="12946" y="1290"/>
                  </a:lnTo>
                  <a:lnTo>
                    <a:pt x="12946" y="1177"/>
                  </a:lnTo>
                  <a:lnTo>
                    <a:pt x="12948" y="1168"/>
                  </a:lnTo>
                  <a:lnTo>
                    <a:pt x="12952" y="1163"/>
                  </a:lnTo>
                  <a:lnTo>
                    <a:pt x="12959" y="1159"/>
                  </a:lnTo>
                  <a:lnTo>
                    <a:pt x="12966" y="1158"/>
                  </a:lnTo>
                  <a:lnTo>
                    <a:pt x="12974" y="1159"/>
                  </a:lnTo>
                  <a:lnTo>
                    <a:pt x="12981" y="1163"/>
                  </a:lnTo>
                  <a:lnTo>
                    <a:pt x="12984" y="1168"/>
                  </a:lnTo>
                  <a:lnTo>
                    <a:pt x="12987" y="1177"/>
                  </a:lnTo>
                  <a:close/>
                  <a:moveTo>
                    <a:pt x="13538" y="3927"/>
                  </a:moveTo>
                  <a:lnTo>
                    <a:pt x="13538" y="4038"/>
                  </a:lnTo>
                  <a:lnTo>
                    <a:pt x="13536" y="4047"/>
                  </a:lnTo>
                  <a:lnTo>
                    <a:pt x="13532" y="4053"/>
                  </a:lnTo>
                  <a:lnTo>
                    <a:pt x="13525" y="4057"/>
                  </a:lnTo>
                  <a:lnTo>
                    <a:pt x="13518" y="4058"/>
                  </a:lnTo>
                  <a:lnTo>
                    <a:pt x="13510" y="4057"/>
                  </a:lnTo>
                  <a:lnTo>
                    <a:pt x="13504" y="4053"/>
                  </a:lnTo>
                  <a:lnTo>
                    <a:pt x="13500" y="4047"/>
                  </a:lnTo>
                  <a:lnTo>
                    <a:pt x="13497" y="4038"/>
                  </a:lnTo>
                  <a:lnTo>
                    <a:pt x="13497" y="3927"/>
                  </a:lnTo>
                  <a:lnTo>
                    <a:pt x="13500" y="3918"/>
                  </a:lnTo>
                  <a:lnTo>
                    <a:pt x="13504" y="3911"/>
                  </a:lnTo>
                  <a:lnTo>
                    <a:pt x="13510" y="3907"/>
                  </a:lnTo>
                  <a:lnTo>
                    <a:pt x="13518" y="3906"/>
                  </a:lnTo>
                  <a:lnTo>
                    <a:pt x="13525" y="3907"/>
                  </a:lnTo>
                  <a:lnTo>
                    <a:pt x="13532" y="3911"/>
                  </a:lnTo>
                  <a:lnTo>
                    <a:pt x="13536" y="3918"/>
                  </a:lnTo>
                  <a:lnTo>
                    <a:pt x="13538" y="3927"/>
                  </a:lnTo>
                  <a:close/>
                  <a:moveTo>
                    <a:pt x="13274" y="3927"/>
                  </a:moveTo>
                  <a:lnTo>
                    <a:pt x="13274" y="4038"/>
                  </a:lnTo>
                  <a:lnTo>
                    <a:pt x="13273" y="4047"/>
                  </a:lnTo>
                  <a:lnTo>
                    <a:pt x="13269" y="4053"/>
                  </a:lnTo>
                  <a:lnTo>
                    <a:pt x="13263" y="4057"/>
                  </a:lnTo>
                  <a:lnTo>
                    <a:pt x="13255" y="4058"/>
                  </a:lnTo>
                  <a:lnTo>
                    <a:pt x="13247" y="4057"/>
                  </a:lnTo>
                  <a:lnTo>
                    <a:pt x="13241" y="4053"/>
                  </a:lnTo>
                  <a:lnTo>
                    <a:pt x="13237" y="4047"/>
                  </a:lnTo>
                  <a:lnTo>
                    <a:pt x="13234" y="4038"/>
                  </a:lnTo>
                  <a:lnTo>
                    <a:pt x="13234" y="3927"/>
                  </a:lnTo>
                  <a:lnTo>
                    <a:pt x="13237" y="3918"/>
                  </a:lnTo>
                  <a:lnTo>
                    <a:pt x="13241" y="3911"/>
                  </a:lnTo>
                  <a:lnTo>
                    <a:pt x="13247" y="3907"/>
                  </a:lnTo>
                  <a:lnTo>
                    <a:pt x="13255" y="3906"/>
                  </a:lnTo>
                  <a:lnTo>
                    <a:pt x="13263" y="3907"/>
                  </a:lnTo>
                  <a:lnTo>
                    <a:pt x="13269" y="3911"/>
                  </a:lnTo>
                  <a:lnTo>
                    <a:pt x="13273" y="3918"/>
                  </a:lnTo>
                  <a:lnTo>
                    <a:pt x="13274" y="3927"/>
                  </a:lnTo>
                  <a:close/>
                  <a:moveTo>
                    <a:pt x="13011" y="3927"/>
                  </a:moveTo>
                  <a:lnTo>
                    <a:pt x="13011" y="4038"/>
                  </a:lnTo>
                  <a:lnTo>
                    <a:pt x="13010" y="4047"/>
                  </a:lnTo>
                  <a:lnTo>
                    <a:pt x="13005" y="4053"/>
                  </a:lnTo>
                  <a:lnTo>
                    <a:pt x="12998" y="4057"/>
                  </a:lnTo>
                  <a:lnTo>
                    <a:pt x="12992" y="4058"/>
                  </a:lnTo>
                  <a:lnTo>
                    <a:pt x="12984" y="4057"/>
                  </a:lnTo>
                  <a:lnTo>
                    <a:pt x="12978" y="4053"/>
                  </a:lnTo>
                  <a:lnTo>
                    <a:pt x="12973" y="4047"/>
                  </a:lnTo>
                  <a:lnTo>
                    <a:pt x="12972" y="4038"/>
                  </a:lnTo>
                  <a:lnTo>
                    <a:pt x="12972" y="3927"/>
                  </a:lnTo>
                  <a:lnTo>
                    <a:pt x="12973" y="3918"/>
                  </a:lnTo>
                  <a:lnTo>
                    <a:pt x="12978" y="3911"/>
                  </a:lnTo>
                  <a:lnTo>
                    <a:pt x="12984" y="3907"/>
                  </a:lnTo>
                  <a:lnTo>
                    <a:pt x="12992" y="3906"/>
                  </a:lnTo>
                  <a:lnTo>
                    <a:pt x="12998" y="3907"/>
                  </a:lnTo>
                  <a:lnTo>
                    <a:pt x="13005" y="3911"/>
                  </a:lnTo>
                  <a:lnTo>
                    <a:pt x="13010" y="3918"/>
                  </a:lnTo>
                  <a:lnTo>
                    <a:pt x="13011" y="3927"/>
                  </a:lnTo>
                  <a:close/>
                  <a:moveTo>
                    <a:pt x="12748" y="3927"/>
                  </a:moveTo>
                  <a:lnTo>
                    <a:pt x="12748" y="4038"/>
                  </a:lnTo>
                  <a:lnTo>
                    <a:pt x="12747" y="4047"/>
                  </a:lnTo>
                  <a:lnTo>
                    <a:pt x="12742" y="4053"/>
                  </a:lnTo>
                  <a:lnTo>
                    <a:pt x="12736" y="4057"/>
                  </a:lnTo>
                  <a:lnTo>
                    <a:pt x="12729" y="4058"/>
                  </a:lnTo>
                  <a:lnTo>
                    <a:pt x="12721" y="4057"/>
                  </a:lnTo>
                  <a:lnTo>
                    <a:pt x="12715" y="4053"/>
                  </a:lnTo>
                  <a:lnTo>
                    <a:pt x="12710" y="4047"/>
                  </a:lnTo>
                  <a:lnTo>
                    <a:pt x="12709" y="4038"/>
                  </a:lnTo>
                  <a:lnTo>
                    <a:pt x="12709" y="3927"/>
                  </a:lnTo>
                  <a:lnTo>
                    <a:pt x="12710" y="3918"/>
                  </a:lnTo>
                  <a:lnTo>
                    <a:pt x="12715" y="3911"/>
                  </a:lnTo>
                  <a:lnTo>
                    <a:pt x="12721" y="3907"/>
                  </a:lnTo>
                  <a:lnTo>
                    <a:pt x="12729" y="3906"/>
                  </a:lnTo>
                  <a:lnTo>
                    <a:pt x="12736" y="3907"/>
                  </a:lnTo>
                  <a:lnTo>
                    <a:pt x="12742" y="3911"/>
                  </a:lnTo>
                  <a:lnTo>
                    <a:pt x="12747" y="3918"/>
                  </a:lnTo>
                  <a:lnTo>
                    <a:pt x="12748" y="3927"/>
                  </a:lnTo>
                  <a:close/>
                  <a:moveTo>
                    <a:pt x="13538" y="3681"/>
                  </a:moveTo>
                  <a:lnTo>
                    <a:pt x="13538" y="3792"/>
                  </a:lnTo>
                  <a:lnTo>
                    <a:pt x="13536" y="3801"/>
                  </a:lnTo>
                  <a:lnTo>
                    <a:pt x="13532" y="3808"/>
                  </a:lnTo>
                  <a:lnTo>
                    <a:pt x="13525" y="3811"/>
                  </a:lnTo>
                  <a:lnTo>
                    <a:pt x="13518" y="3813"/>
                  </a:lnTo>
                  <a:lnTo>
                    <a:pt x="13510" y="3811"/>
                  </a:lnTo>
                  <a:lnTo>
                    <a:pt x="13504" y="3808"/>
                  </a:lnTo>
                  <a:lnTo>
                    <a:pt x="13500" y="3801"/>
                  </a:lnTo>
                  <a:lnTo>
                    <a:pt x="13497" y="3792"/>
                  </a:lnTo>
                  <a:lnTo>
                    <a:pt x="13497" y="3681"/>
                  </a:lnTo>
                  <a:lnTo>
                    <a:pt x="13500" y="3672"/>
                  </a:lnTo>
                  <a:lnTo>
                    <a:pt x="13504" y="3666"/>
                  </a:lnTo>
                  <a:lnTo>
                    <a:pt x="13510" y="3662"/>
                  </a:lnTo>
                  <a:lnTo>
                    <a:pt x="13518" y="3661"/>
                  </a:lnTo>
                  <a:lnTo>
                    <a:pt x="13525" y="3662"/>
                  </a:lnTo>
                  <a:lnTo>
                    <a:pt x="13532" y="3666"/>
                  </a:lnTo>
                  <a:lnTo>
                    <a:pt x="13536" y="3672"/>
                  </a:lnTo>
                  <a:lnTo>
                    <a:pt x="13538" y="3681"/>
                  </a:lnTo>
                  <a:close/>
                  <a:moveTo>
                    <a:pt x="13274" y="3681"/>
                  </a:moveTo>
                  <a:lnTo>
                    <a:pt x="13274" y="3792"/>
                  </a:lnTo>
                  <a:lnTo>
                    <a:pt x="13273" y="3801"/>
                  </a:lnTo>
                  <a:lnTo>
                    <a:pt x="13269" y="3808"/>
                  </a:lnTo>
                  <a:lnTo>
                    <a:pt x="13263" y="3811"/>
                  </a:lnTo>
                  <a:lnTo>
                    <a:pt x="13255" y="3813"/>
                  </a:lnTo>
                  <a:lnTo>
                    <a:pt x="13247" y="3811"/>
                  </a:lnTo>
                  <a:lnTo>
                    <a:pt x="13241" y="3808"/>
                  </a:lnTo>
                  <a:lnTo>
                    <a:pt x="13237" y="3801"/>
                  </a:lnTo>
                  <a:lnTo>
                    <a:pt x="13234" y="3792"/>
                  </a:lnTo>
                  <a:lnTo>
                    <a:pt x="13234" y="3681"/>
                  </a:lnTo>
                  <a:lnTo>
                    <a:pt x="13237" y="3672"/>
                  </a:lnTo>
                  <a:lnTo>
                    <a:pt x="13241" y="3666"/>
                  </a:lnTo>
                  <a:lnTo>
                    <a:pt x="13247" y="3662"/>
                  </a:lnTo>
                  <a:lnTo>
                    <a:pt x="13255" y="3661"/>
                  </a:lnTo>
                  <a:lnTo>
                    <a:pt x="13263" y="3662"/>
                  </a:lnTo>
                  <a:lnTo>
                    <a:pt x="13269" y="3666"/>
                  </a:lnTo>
                  <a:lnTo>
                    <a:pt x="13273" y="3672"/>
                  </a:lnTo>
                  <a:lnTo>
                    <a:pt x="13274" y="3681"/>
                  </a:lnTo>
                  <a:close/>
                  <a:moveTo>
                    <a:pt x="13011" y="3681"/>
                  </a:moveTo>
                  <a:lnTo>
                    <a:pt x="13011" y="3792"/>
                  </a:lnTo>
                  <a:lnTo>
                    <a:pt x="13010" y="3801"/>
                  </a:lnTo>
                  <a:lnTo>
                    <a:pt x="13005" y="3808"/>
                  </a:lnTo>
                  <a:lnTo>
                    <a:pt x="12998" y="3811"/>
                  </a:lnTo>
                  <a:lnTo>
                    <a:pt x="12992" y="3813"/>
                  </a:lnTo>
                  <a:lnTo>
                    <a:pt x="12984" y="3811"/>
                  </a:lnTo>
                  <a:lnTo>
                    <a:pt x="12978" y="3808"/>
                  </a:lnTo>
                  <a:lnTo>
                    <a:pt x="12973" y="3801"/>
                  </a:lnTo>
                  <a:lnTo>
                    <a:pt x="12972" y="3792"/>
                  </a:lnTo>
                  <a:lnTo>
                    <a:pt x="12972" y="3681"/>
                  </a:lnTo>
                  <a:lnTo>
                    <a:pt x="12973" y="3672"/>
                  </a:lnTo>
                  <a:lnTo>
                    <a:pt x="12978" y="3666"/>
                  </a:lnTo>
                  <a:lnTo>
                    <a:pt x="12984" y="3662"/>
                  </a:lnTo>
                  <a:lnTo>
                    <a:pt x="12992" y="3661"/>
                  </a:lnTo>
                  <a:lnTo>
                    <a:pt x="12998" y="3662"/>
                  </a:lnTo>
                  <a:lnTo>
                    <a:pt x="13005" y="3666"/>
                  </a:lnTo>
                  <a:lnTo>
                    <a:pt x="13010" y="3672"/>
                  </a:lnTo>
                  <a:lnTo>
                    <a:pt x="13011" y="3681"/>
                  </a:lnTo>
                  <a:close/>
                  <a:moveTo>
                    <a:pt x="12748" y="3681"/>
                  </a:moveTo>
                  <a:lnTo>
                    <a:pt x="12748" y="3792"/>
                  </a:lnTo>
                  <a:lnTo>
                    <a:pt x="12747" y="3801"/>
                  </a:lnTo>
                  <a:lnTo>
                    <a:pt x="12742" y="3808"/>
                  </a:lnTo>
                  <a:lnTo>
                    <a:pt x="12736" y="3811"/>
                  </a:lnTo>
                  <a:lnTo>
                    <a:pt x="12729" y="3813"/>
                  </a:lnTo>
                  <a:lnTo>
                    <a:pt x="12721" y="3811"/>
                  </a:lnTo>
                  <a:lnTo>
                    <a:pt x="12715" y="3808"/>
                  </a:lnTo>
                  <a:lnTo>
                    <a:pt x="12710" y="3801"/>
                  </a:lnTo>
                  <a:lnTo>
                    <a:pt x="12709" y="3792"/>
                  </a:lnTo>
                  <a:lnTo>
                    <a:pt x="12709" y="3681"/>
                  </a:lnTo>
                  <a:lnTo>
                    <a:pt x="12710" y="3672"/>
                  </a:lnTo>
                  <a:lnTo>
                    <a:pt x="12715" y="3666"/>
                  </a:lnTo>
                  <a:lnTo>
                    <a:pt x="12721" y="3662"/>
                  </a:lnTo>
                  <a:lnTo>
                    <a:pt x="12729" y="3661"/>
                  </a:lnTo>
                  <a:lnTo>
                    <a:pt x="12736" y="3662"/>
                  </a:lnTo>
                  <a:lnTo>
                    <a:pt x="12742" y="3666"/>
                  </a:lnTo>
                  <a:lnTo>
                    <a:pt x="12747" y="3672"/>
                  </a:lnTo>
                  <a:lnTo>
                    <a:pt x="12748" y="3681"/>
                  </a:lnTo>
                  <a:close/>
                  <a:moveTo>
                    <a:pt x="13538" y="3436"/>
                  </a:moveTo>
                  <a:lnTo>
                    <a:pt x="13538" y="3547"/>
                  </a:lnTo>
                  <a:lnTo>
                    <a:pt x="13536" y="3556"/>
                  </a:lnTo>
                  <a:lnTo>
                    <a:pt x="13532" y="3562"/>
                  </a:lnTo>
                  <a:lnTo>
                    <a:pt x="13525" y="3566"/>
                  </a:lnTo>
                  <a:lnTo>
                    <a:pt x="13518" y="3567"/>
                  </a:lnTo>
                  <a:lnTo>
                    <a:pt x="13510" y="3566"/>
                  </a:lnTo>
                  <a:lnTo>
                    <a:pt x="13504" y="3562"/>
                  </a:lnTo>
                  <a:lnTo>
                    <a:pt x="13500" y="3556"/>
                  </a:lnTo>
                  <a:lnTo>
                    <a:pt x="13497" y="3547"/>
                  </a:lnTo>
                  <a:lnTo>
                    <a:pt x="13497" y="3436"/>
                  </a:lnTo>
                  <a:lnTo>
                    <a:pt x="13500" y="3427"/>
                  </a:lnTo>
                  <a:lnTo>
                    <a:pt x="13504" y="3420"/>
                  </a:lnTo>
                  <a:lnTo>
                    <a:pt x="13510" y="3416"/>
                  </a:lnTo>
                  <a:lnTo>
                    <a:pt x="13518" y="3415"/>
                  </a:lnTo>
                  <a:lnTo>
                    <a:pt x="13525" y="3416"/>
                  </a:lnTo>
                  <a:lnTo>
                    <a:pt x="13532" y="3420"/>
                  </a:lnTo>
                  <a:lnTo>
                    <a:pt x="13536" y="3427"/>
                  </a:lnTo>
                  <a:lnTo>
                    <a:pt x="13538" y="3436"/>
                  </a:lnTo>
                  <a:close/>
                  <a:moveTo>
                    <a:pt x="13274" y="3436"/>
                  </a:moveTo>
                  <a:lnTo>
                    <a:pt x="13274" y="3547"/>
                  </a:lnTo>
                  <a:lnTo>
                    <a:pt x="13273" y="3556"/>
                  </a:lnTo>
                  <a:lnTo>
                    <a:pt x="13269" y="3562"/>
                  </a:lnTo>
                  <a:lnTo>
                    <a:pt x="13263" y="3566"/>
                  </a:lnTo>
                  <a:lnTo>
                    <a:pt x="13255" y="3567"/>
                  </a:lnTo>
                  <a:lnTo>
                    <a:pt x="13247" y="3566"/>
                  </a:lnTo>
                  <a:lnTo>
                    <a:pt x="13241" y="3562"/>
                  </a:lnTo>
                  <a:lnTo>
                    <a:pt x="13237" y="3556"/>
                  </a:lnTo>
                  <a:lnTo>
                    <a:pt x="13234" y="3547"/>
                  </a:lnTo>
                  <a:lnTo>
                    <a:pt x="13234" y="3436"/>
                  </a:lnTo>
                  <a:lnTo>
                    <a:pt x="13237" y="3427"/>
                  </a:lnTo>
                  <a:lnTo>
                    <a:pt x="13241" y="3420"/>
                  </a:lnTo>
                  <a:lnTo>
                    <a:pt x="13247" y="3416"/>
                  </a:lnTo>
                  <a:lnTo>
                    <a:pt x="13255" y="3415"/>
                  </a:lnTo>
                  <a:lnTo>
                    <a:pt x="13263" y="3416"/>
                  </a:lnTo>
                  <a:lnTo>
                    <a:pt x="13269" y="3420"/>
                  </a:lnTo>
                  <a:lnTo>
                    <a:pt x="13273" y="3427"/>
                  </a:lnTo>
                  <a:lnTo>
                    <a:pt x="13274" y="3436"/>
                  </a:lnTo>
                  <a:close/>
                  <a:moveTo>
                    <a:pt x="13011" y="3436"/>
                  </a:moveTo>
                  <a:lnTo>
                    <a:pt x="13011" y="3547"/>
                  </a:lnTo>
                  <a:lnTo>
                    <a:pt x="13010" y="3556"/>
                  </a:lnTo>
                  <a:lnTo>
                    <a:pt x="13005" y="3562"/>
                  </a:lnTo>
                  <a:lnTo>
                    <a:pt x="12998" y="3566"/>
                  </a:lnTo>
                  <a:lnTo>
                    <a:pt x="12992" y="3567"/>
                  </a:lnTo>
                  <a:lnTo>
                    <a:pt x="12984" y="3566"/>
                  </a:lnTo>
                  <a:lnTo>
                    <a:pt x="12978" y="3562"/>
                  </a:lnTo>
                  <a:lnTo>
                    <a:pt x="12973" y="3556"/>
                  </a:lnTo>
                  <a:lnTo>
                    <a:pt x="12972" y="3547"/>
                  </a:lnTo>
                  <a:lnTo>
                    <a:pt x="12972" y="3436"/>
                  </a:lnTo>
                  <a:lnTo>
                    <a:pt x="12973" y="3427"/>
                  </a:lnTo>
                  <a:lnTo>
                    <a:pt x="12978" y="3420"/>
                  </a:lnTo>
                  <a:lnTo>
                    <a:pt x="12984" y="3416"/>
                  </a:lnTo>
                  <a:lnTo>
                    <a:pt x="12992" y="3415"/>
                  </a:lnTo>
                  <a:lnTo>
                    <a:pt x="12998" y="3416"/>
                  </a:lnTo>
                  <a:lnTo>
                    <a:pt x="13005" y="3420"/>
                  </a:lnTo>
                  <a:lnTo>
                    <a:pt x="13010" y="3427"/>
                  </a:lnTo>
                  <a:lnTo>
                    <a:pt x="13011" y="3436"/>
                  </a:lnTo>
                  <a:close/>
                  <a:moveTo>
                    <a:pt x="12748" y="3436"/>
                  </a:moveTo>
                  <a:lnTo>
                    <a:pt x="12748" y="3547"/>
                  </a:lnTo>
                  <a:lnTo>
                    <a:pt x="12747" y="3556"/>
                  </a:lnTo>
                  <a:lnTo>
                    <a:pt x="12742" y="3562"/>
                  </a:lnTo>
                  <a:lnTo>
                    <a:pt x="12736" y="3566"/>
                  </a:lnTo>
                  <a:lnTo>
                    <a:pt x="12729" y="3567"/>
                  </a:lnTo>
                  <a:lnTo>
                    <a:pt x="12721" y="3566"/>
                  </a:lnTo>
                  <a:lnTo>
                    <a:pt x="12715" y="3562"/>
                  </a:lnTo>
                  <a:lnTo>
                    <a:pt x="12710" y="3556"/>
                  </a:lnTo>
                  <a:lnTo>
                    <a:pt x="12709" y="3547"/>
                  </a:lnTo>
                  <a:lnTo>
                    <a:pt x="12709" y="3436"/>
                  </a:lnTo>
                  <a:lnTo>
                    <a:pt x="12710" y="3427"/>
                  </a:lnTo>
                  <a:lnTo>
                    <a:pt x="12715" y="3420"/>
                  </a:lnTo>
                  <a:lnTo>
                    <a:pt x="12721" y="3416"/>
                  </a:lnTo>
                  <a:lnTo>
                    <a:pt x="12729" y="3415"/>
                  </a:lnTo>
                  <a:lnTo>
                    <a:pt x="12736" y="3416"/>
                  </a:lnTo>
                  <a:lnTo>
                    <a:pt x="12742" y="3420"/>
                  </a:lnTo>
                  <a:lnTo>
                    <a:pt x="12747" y="3427"/>
                  </a:lnTo>
                  <a:lnTo>
                    <a:pt x="12748" y="3436"/>
                  </a:lnTo>
                  <a:close/>
                  <a:moveTo>
                    <a:pt x="12486" y="3436"/>
                  </a:moveTo>
                  <a:lnTo>
                    <a:pt x="12486" y="3547"/>
                  </a:lnTo>
                  <a:lnTo>
                    <a:pt x="12484" y="3556"/>
                  </a:lnTo>
                  <a:lnTo>
                    <a:pt x="12479" y="3562"/>
                  </a:lnTo>
                  <a:lnTo>
                    <a:pt x="12473" y="3566"/>
                  </a:lnTo>
                  <a:lnTo>
                    <a:pt x="12465" y="3567"/>
                  </a:lnTo>
                  <a:lnTo>
                    <a:pt x="12459" y="3566"/>
                  </a:lnTo>
                  <a:lnTo>
                    <a:pt x="12452" y="3562"/>
                  </a:lnTo>
                  <a:lnTo>
                    <a:pt x="12447" y="3556"/>
                  </a:lnTo>
                  <a:lnTo>
                    <a:pt x="12446" y="3547"/>
                  </a:lnTo>
                  <a:lnTo>
                    <a:pt x="12446" y="3436"/>
                  </a:lnTo>
                  <a:lnTo>
                    <a:pt x="12447" y="3427"/>
                  </a:lnTo>
                  <a:lnTo>
                    <a:pt x="12452" y="3420"/>
                  </a:lnTo>
                  <a:lnTo>
                    <a:pt x="12459" y="3416"/>
                  </a:lnTo>
                  <a:lnTo>
                    <a:pt x="12465" y="3415"/>
                  </a:lnTo>
                  <a:lnTo>
                    <a:pt x="12473" y="3416"/>
                  </a:lnTo>
                  <a:lnTo>
                    <a:pt x="12479" y="3420"/>
                  </a:lnTo>
                  <a:lnTo>
                    <a:pt x="12484" y="3427"/>
                  </a:lnTo>
                  <a:lnTo>
                    <a:pt x="12486" y="3436"/>
                  </a:lnTo>
                  <a:close/>
                  <a:moveTo>
                    <a:pt x="10933" y="2423"/>
                  </a:moveTo>
                  <a:lnTo>
                    <a:pt x="10933" y="2535"/>
                  </a:lnTo>
                  <a:lnTo>
                    <a:pt x="10931" y="2543"/>
                  </a:lnTo>
                  <a:lnTo>
                    <a:pt x="10926" y="2549"/>
                  </a:lnTo>
                  <a:lnTo>
                    <a:pt x="10920" y="2553"/>
                  </a:lnTo>
                  <a:lnTo>
                    <a:pt x="10912" y="2555"/>
                  </a:lnTo>
                  <a:lnTo>
                    <a:pt x="10906" y="2553"/>
                  </a:lnTo>
                  <a:lnTo>
                    <a:pt x="10899" y="2549"/>
                  </a:lnTo>
                  <a:lnTo>
                    <a:pt x="10894" y="2543"/>
                  </a:lnTo>
                  <a:lnTo>
                    <a:pt x="10893" y="2535"/>
                  </a:lnTo>
                  <a:lnTo>
                    <a:pt x="10893" y="2423"/>
                  </a:lnTo>
                  <a:lnTo>
                    <a:pt x="10894" y="2414"/>
                  </a:lnTo>
                  <a:lnTo>
                    <a:pt x="10899" y="2407"/>
                  </a:lnTo>
                  <a:lnTo>
                    <a:pt x="10906" y="2404"/>
                  </a:lnTo>
                  <a:lnTo>
                    <a:pt x="10912" y="2402"/>
                  </a:lnTo>
                  <a:lnTo>
                    <a:pt x="10920" y="2404"/>
                  </a:lnTo>
                  <a:lnTo>
                    <a:pt x="10926" y="2407"/>
                  </a:lnTo>
                  <a:lnTo>
                    <a:pt x="10931" y="2414"/>
                  </a:lnTo>
                  <a:lnTo>
                    <a:pt x="10933" y="2423"/>
                  </a:lnTo>
                  <a:close/>
                  <a:moveTo>
                    <a:pt x="10670" y="2423"/>
                  </a:moveTo>
                  <a:lnTo>
                    <a:pt x="10670" y="2535"/>
                  </a:lnTo>
                  <a:lnTo>
                    <a:pt x="10669" y="2543"/>
                  </a:lnTo>
                  <a:lnTo>
                    <a:pt x="10663" y="2549"/>
                  </a:lnTo>
                  <a:lnTo>
                    <a:pt x="10657" y="2553"/>
                  </a:lnTo>
                  <a:lnTo>
                    <a:pt x="10649" y="2555"/>
                  </a:lnTo>
                  <a:lnTo>
                    <a:pt x="10643" y="2553"/>
                  </a:lnTo>
                  <a:lnTo>
                    <a:pt x="10637" y="2549"/>
                  </a:lnTo>
                  <a:lnTo>
                    <a:pt x="10631" y="2543"/>
                  </a:lnTo>
                  <a:lnTo>
                    <a:pt x="10630" y="2535"/>
                  </a:lnTo>
                  <a:lnTo>
                    <a:pt x="10630" y="2423"/>
                  </a:lnTo>
                  <a:lnTo>
                    <a:pt x="10631" y="2414"/>
                  </a:lnTo>
                  <a:lnTo>
                    <a:pt x="10637" y="2407"/>
                  </a:lnTo>
                  <a:lnTo>
                    <a:pt x="10643" y="2404"/>
                  </a:lnTo>
                  <a:lnTo>
                    <a:pt x="10649" y="2402"/>
                  </a:lnTo>
                  <a:lnTo>
                    <a:pt x="10657" y="2404"/>
                  </a:lnTo>
                  <a:lnTo>
                    <a:pt x="10663" y="2407"/>
                  </a:lnTo>
                  <a:lnTo>
                    <a:pt x="10669" y="2414"/>
                  </a:lnTo>
                  <a:lnTo>
                    <a:pt x="10670" y="2423"/>
                  </a:lnTo>
                  <a:close/>
                  <a:moveTo>
                    <a:pt x="10407" y="2423"/>
                  </a:moveTo>
                  <a:lnTo>
                    <a:pt x="10407" y="2535"/>
                  </a:lnTo>
                  <a:lnTo>
                    <a:pt x="10404" y="2543"/>
                  </a:lnTo>
                  <a:lnTo>
                    <a:pt x="10401" y="2549"/>
                  </a:lnTo>
                  <a:lnTo>
                    <a:pt x="10394" y="2553"/>
                  </a:lnTo>
                  <a:lnTo>
                    <a:pt x="10386" y="2555"/>
                  </a:lnTo>
                  <a:lnTo>
                    <a:pt x="10379" y="2553"/>
                  </a:lnTo>
                  <a:lnTo>
                    <a:pt x="10372" y="2549"/>
                  </a:lnTo>
                  <a:lnTo>
                    <a:pt x="10369" y="2543"/>
                  </a:lnTo>
                  <a:lnTo>
                    <a:pt x="10366" y="2535"/>
                  </a:lnTo>
                  <a:lnTo>
                    <a:pt x="10366" y="2423"/>
                  </a:lnTo>
                  <a:lnTo>
                    <a:pt x="10369" y="2414"/>
                  </a:lnTo>
                  <a:lnTo>
                    <a:pt x="10372" y="2407"/>
                  </a:lnTo>
                  <a:lnTo>
                    <a:pt x="10379" y="2404"/>
                  </a:lnTo>
                  <a:lnTo>
                    <a:pt x="10386" y="2402"/>
                  </a:lnTo>
                  <a:lnTo>
                    <a:pt x="10394" y="2404"/>
                  </a:lnTo>
                  <a:lnTo>
                    <a:pt x="10401" y="2407"/>
                  </a:lnTo>
                  <a:lnTo>
                    <a:pt x="10404" y="2414"/>
                  </a:lnTo>
                  <a:lnTo>
                    <a:pt x="10407" y="2423"/>
                  </a:lnTo>
                  <a:close/>
                  <a:moveTo>
                    <a:pt x="10143" y="2423"/>
                  </a:moveTo>
                  <a:lnTo>
                    <a:pt x="10143" y="2535"/>
                  </a:lnTo>
                  <a:lnTo>
                    <a:pt x="10142" y="2543"/>
                  </a:lnTo>
                  <a:lnTo>
                    <a:pt x="10138" y="2549"/>
                  </a:lnTo>
                  <a:lnTo>
                    <a:pt x="10131" y="2553"/>
                  </a:lnTo>
                  <a:lnTo>
                    <a:pt x="10124" y="2555"/>
                  </a:lnTo>
                  <a:lnTo>
                    <a:pt x="10116" y="2553"/>
                  </a:lnTo>
                  <a:lnTo>
                    <a:pt x="10109" y="2549"/>
                  </a:lnTo>
                  <a:lnTo>
                    <a:pt x="10106" y="2543"/>
                  </a:lnTo>
                  <a:lnTo>
                    <a:pt x="10103" y="2535"/>
                  </a:lnTo>
                  <a:lnTo>
                    <a:pt x="10103" y="2423"/>
                  </a:lnTo>
                  <a:lnTo>
                    <a:pt x="10106" y="2414"/>
                  </a:lnTo>
                  <a:lnTo>
                    <a:pt x="10109" y="2407"/>
                  </a:lnTo>
                  <a:lnTo>
                    <a:pt x="10116" y="2404"/>
                  </a:lnTo>
                  <a:lnTo>
                    <a:pt x="10124" y="2402"/>
                  </a:lnTo>
                  <a:lnTo>
                    <a:pt x="10131" y="2404"/>
                  </a:lnTo>
                  <a:lnTo>
                    <a:pt x="10138" y="2407"/>
                  </a:lnTo>
                  <a:lnTo>
                    <a:pt x="10142" y="2414"/>
                  </a:lnTo>
                  <a:lnTo>
                    <a:pt x="10143" y="2423"/>
                  </a:lnTo>
                  <a:close/>
                  <a:moveTo>
                    <a:pt x="9880" y="2423"/>
                  </a:moveTo>
                  <a:lnTo>
                    <a:pt x="9880" y="2535"/>
                  </a:lnTo>
                  <a:lnTo>
                    <a:pt x="9879" y="2543"/>
                  </a:lnTo>
                  <a:lnTo>
                    <a:pt x="9874" y="2549"/>
                  </a:lnTo>
                  <a:lnTo>
                    <a:pt x="9867" y="2553"/>
                  </a:lnTo>
                  <a:lnTo>
                    <a:pt x="9861" y="2555"/>
                  </a:lnTo>
                  <a:lnTo>
                    <a:pt x="9853" y="2553"/>
                  </a:lnTo>
                  <a:lnTo>
                    <a:pt x="9847" y="2549"/>
                  </a:lnTo>
                  <a:lnTo>
                    <a:pt x="9841" y="2543"/>
                  </a:lnTo>
                  <a:lnTo>
                    <a:pt x="9840" y="2535"/>
                  </a:lnTo>
                  <a:lnTo>
                    <a:pt x="9840" y="2423"/>
                  </a:lnTo>
                  <a:lnTo>
                    <a:pt x="9841" y="2414"/>
                  </a:lnTo>
                  <a:lnTo>
                    <a:pt x="9847" y="2407"/>
                  </a:lnTo>
                  <a:lnTo>
                    <a:pt x="9853" y="2404"/>
                  </a:lnTo>
                  <a:lnTo>
                    <a:pt x="9861" y="2402"/>
                  </a:lnTo>
                  <a:lnTo>
                    <a:pt x="9867" y="2404"/>
                  </a:lnTo>
                  <a:lnTo>
                    <a:pt x="9874" y="2407"/>
                  </a:lnTo>
                  <a:lnTo>
                    <a:pt x="9879" y="2414"/>
                  </a:lnTo>
                  <a:lnTo>
                    <a:pt x="9880" y="2423"/>
                  </a:lnTo>
                  <a:close/>
                  <a:moveTo>
                    <a:pt x="9617" y="2423"/>
                  </a:moveTo>
                  <a:lnTo>
                    <a:pt x="9617" y="2535"/>
                  </a:lnTo>
                  <a:lnTo>
                    <a:pt x="9616" y="2543"/>
                  </a:lnTo>
                  <a:lnTo>
                    <a:pt x="9611" y="2549"/>
                  </a:lnTo>
                  <a:lnTo>
                    <a:pt x="9604" y="2553"/>
                  </a:lnTo>
                  <a:lnTo>
                    <a:pt x="9598" y="2555"/>
                  </a:lnTo>
                  <a:lnTo>
                    <a:pt x="9590" y="2553"/>
                  </a:lnTo>
                  <a:lnTo>
                    <a:pt x="9584" y="2549"/>
                  </a:lnTo>
                  <a:lnTo>
                    <a:pt x="9579" y="2543"/>
                  </a:lnTo>
                  <a:lnTo>
                    <a:pt x="9577" y="2535"/>
                  </a:lnTo>
                  <a:lnTo>
                    <a:pt x="9577" y="2423"/>
                  </a:lnTo>
                  <a:lnTo>
                    <a:pt x="9579" y="2414"/>
                  </a:lnTo>
                  <a:lnTo>
                    <a:pt x="9584" y="2407"/>
                  </a:lnTo>
                  <a:lnTo>
                    <a:pt x="9590" y="2404"/>
                  </a:lnTo>
                  <a:lnTo>
                    <a:pt x="9598" y="2402"/>
                  </a:lnTo>
                  <a:lnTo>
                    <a:pt x="9604" y="2404"/>
                  </a:lnTo>
                  <a:lnTo>
                    <a:pt x="9611" y="2407"/>
                  </a:lnTo>
                  <a:lnTo>
                    <a:pt x="9616" y="2414"/>
                  </a:lnTo>
                  <a:lnTo>
                    <a:pt x="9617" y="2423"/>
                  </a:lnTo>
                  <a:close/>
                  <a:moveTo>
                    <a:pt x="16589" y="796"/>
                  </a:moveTo>
                  <a:lnTo>
                    <a:pt x="16589" y="847"/>
                  </a:lnTo>
                  <a:lnTo>
                    <a:pt x="16588" y="859"/>
                  </a:lnTo>
                  <a:lnTo>
                    <a:pt x="16584" y="869"/>
                  </a:lnTo>
                  <a:lnTo>
                    <a:pt x="16576" y="878"/>
                  </a:lnTo>
                  <a:lnTo>
                    <a:pt x="16566" y="883"/>
                  </a:lnTo>
                  <a:lnTo>
                    <a:pt x="16556" y="890"/>
                  </a:lnTo>
                  <a:lnTo>
                    <a:pt x="16547" y="896"/>
                  </a:lnTo>
                  <a:lnTo>
                    <a:pt x="16534" y="913"/>
                  </a:lnTo>
                  <a:lnTo>
                    <a:pt x="16529" y="923"/>
                  </a:lnTo>
                  <a:lnTo>
                    <a:pt x="16526" y="934"/>
                  </a:lnTo>
                  <a:lnTo>
                    <a:pt x="16526" y="956"/>
                  </a:lnTo>
                  <a:lnTo>
                    <a:pt x="16530" y="968"/>
                  </a:lnTo>
                  <a:lnTo>
                    <a:pt x="16535" y="978"/>
                  </a:lnTo>
                  <a:lnTo>
                    <a:pt x="16541" y="987"/>
                  </a:lnTo>
                  <a:lnTo>
                    <a:pt x="16549" y="996"/>
                  </a:lnTo>
                  <a:lnTo>
                    <a:pt x="16568" y="1006"/>
                  </a:lnTo>
                  <a:lnTo>
                    <a:pt x="16591" y="1011"/>
                  </a:lnTo>
                  <a:lnTo>
                    <a:pt x="16604" y="1009"/>
                  </a:lnTo>
                  <a:lnTo>
                    <a:pt x="16617" y="1005"/>
                  </a:lnTo>
                  <a:lnTo>
                    <a:pt x="16629" y="1000"/>
                  </a:lnTo>
                  <a:lnTo>
                    <a:pt x="16638" y="991"/>
                  </a:lnTo>
                  <a:lnTo>
                    <a:pt x="16647" y="982"/>
                  </a:lnTo>
                  <a:lnTo>
                    <a:pt x="16652" y="970"/>
                  </a:lnTo>
                  <a:lnTo>
                    <a:pt x="16656" y="957"/>
                  </a:lnTo>
                  <a:lnTo>
                    <a:pt x="16657" y="945"/>
                  </a:lnTo>
                  <a:lnTo>
                    <a:pt x="16659" y="936"/>
                  </a:lnTo>
                  <a:lnTo>
                    <a:pt x="16663" y="929"/>
                  </a:lnTo>
                  <a:lnTo>
                    <a:pt x="16670" y="925"/>
                  </a:lnTo>
                  <a:lnTo>
                    <a:pt x="16677" y="924"/>
                  </a:lnTo>
                  <a:lnTo>
                    <a:pt x="16685" y="925"/>
                  </a:lnTo>
                  <a:lnTo>
                    <a:pt x="16691" y="929"/>
                  </a:lnTo>
                  <a:lnTo>
                    <a:pt x="16695" y="936"/>
                  </a:lnTo>
                  <a:lnTo>
                    <a:pt x="16698" y="945"/>
                  </a:lnTo>
                  <a:lnTo>
                    <a:pt x="16695" y="966"/>
                  </a:lnTo>
                  <a:lnTo>
                    <a:pt x="16689" y="986"/>
                  </a:lnTo>
                  <a:lnTo>
                    <a:pt x="16679" y="1003"/>
                  </a:lnTo>
                  <a:lnTo>
                    <a:pt x="16666" y="1020"/>
                  </a:lnTo>
                  <a:lnTo>
                    <a:pt x="16650" y="1033"/>
                  </a:lnTo>
                  <a:lnTo>
                    <a:pt x="16632" y="1042"/>
                  </a:lnTo>
                  <a:lnTo>
                    <a:pt x="16612" y="1048"/>
                  </a:lnTo>
                  <a:lnTo>
                    <a:pt x="16591" y="1051"/>
                  </a:lnTo>
                  <a:lnTo>
                    <a:pt x="16572" y="1048"/>
                  </a:lnTo>
                  <a:lnTo>
                    <a:pt x="16556" y="1044"/>
                  </a:lnTo>
                  <a:lnTo>
                    <a:pt x="16539" y="1037"/>
                  </a:lnTo>
                  <a:lnTo>
                    <a:pt x="16523" y="1025"/>
                  </a:lnTo>
                  <a:lnTo>
                    <a:pt x="16511" y="1014"/>
                  </a:lnTo>
                  <a:lnTo>
                    <a:pt x="16500" y="998"/>
                  </a:lnTo>
                  <a:lnTo>
                    <a:pt x="16495" y="991"/>
                  </a:lnTo>
                  <a:lnTo>
                    <a:pt x="16491" y="982"/>
                  </a:lnTo>
                  <a:lnTo>
                    <a:pt x="16488" y="964"/>
                  </a:lnTo>
                  <a:lnTo>
                    <a:pt x="16485" y="945"/>
                  </a:lnTo>
                  <a:lnTo>
                    <a:pt x="16486" y="928"/>
                  </a:lnTo>
                  <a:lnTo>
                    <a:pt x="16490" y="910"/>
                  </a:lnTo>
                  <a:lnTo>
                    <a:pt x="16498" y="895"/>
                  </a:lnTo>
                  <a:lnTo>
                    <a:pt x="16507" y="879"/>
                  </a:lnTo>
                  <a:lnTo>
                    <a:pt x="16518" y="867"/>
                  </a:lnTo>
                  <a:lnTo>
                    <a:pt x="16532" y="856"/>
                  </a:lnTo>
                  <a:lnTo>
                    <a:pt x="16549" y="847"/>
                  </a:lnTo>
                  <a:lnTo>
                    <a:pt x="16549" y="796"/>
                  </a:lnTo>
                  <a:lnTo>
                    <a:pt x="16550" y="787"/>
                  </a:lnTo>
                  <a:lnTo>
                    <a:pt x="16556" y="782"/>
                  </a:lnTo>
                  <a:lnTo>
                    <a:pt x="16562" y="778"/>
                  </a:lnTo>
                  <a:lnTo>
                    <a:pt x="16568" y="777"/>
                  </a:lnTo>
                  <a:lnTo>
                    <a:pt x="16576" y="778"/>
                  </a:lnTo>
                  <a:lnTo>
                    <a:pt x="16582" y="782"/>
                  </a:lnTo>
                  <a:lnTo>
                    <a:pt x="16588" y="787"/>
                  </a:lnTo>
                  <a:lnTo>
                    <a:pt x="16589" y="796"/>
                  </a:lnTo>
                  <a:close/>
                  <a:moveTo>
                    <a:pt x="17183" y="112"/>
                  </a:moveTo>
                  <a:lnTo>
                    <a:pt x="17100" y="225"/>
                  </a:lnTo>
                  <a:lnTo>
                    <a:pt x="17100" y="309"/>
                  </a:lnTo>
                  <a:lnTo>
                    <a:pt x="17183" y="309"/>
                  </a:lnTo>
                  <a:lnTo>
                    <a:pt x="17183" y="112"/>
                  </a:lnTo>
                  <a:close/>
                  <a:moveTo>
                    <a:pt x="17059" y="309"/>
                  </a:moveTo>
                  <a:lnTo>
                    <a:pt x="17059" y="218"/>
                  </a:lnTo>
                  <a:lnTo>
                    <a:pt x="17063" y="207"/>
                  </a:lnTo>
                  <a:lnTo>
                    <a:pt x="17175" y="55"/>
                  </a:lnTo>
                  <a:lnTo>
                    <a:pt x="16382" y="309"/>
                  </a:lnTo>
                  <a:lnTo>
                    <a:pt x="16906" y="309"/>
                  </a:lnTo>
                  <a:lnTo>
                    <a:pt x="17015" y="309"/>
                  </a:lnTo>
                  <a:lnTo>
                    <a:pt x="17059" y="309"/>
                  </a:lnTo>
                  <a:close/>
                  <a:moveTo>
                    <a:pt x="17222" y="309"/>
                  </a:moveTo>
                  <a:lnTo>
                    <a:pt x="17388" y="309"/>
                  </a:lnTo>
                  <a:lnTo>
                    <a:pt x="17222" y="80"/>
                  </a:lnTo>
                  <a:lnTo>
                    <a:pt x="17222" y="309"/>
                  </a:lnTo>
                  <a:close/>
                  <a:moveTo>
                    <a:pt x="17183" y="481"/>
                  </a:moveTo>
                  <a:lnTo>
                    <a:pt x="17015" y="481"/>
                  </a:lnTo>
                  <a:lnTo>
                    <a:pt x="17007" y="478"/>
                  </a:lnTo>
                  <a:lnTo>
                    <a:pt x="17000" y="474"/>
                  </a:lnTo>
                  <a:lnTo>
                    <a:pt x="16995" y="468"/>
                  </a:lnTo>
                  <a:lnTo>
                    <a:pt x="16994" y="460"/>
                  </a:lnTo>
                  <a:lnTo>
                    <a:pt x="16994" y="349"/>
                  </a:lnTo>
                  <a:lnTo>
                    <a:pt x="16926" y="349"/>
                  </a:lnTo>
                  <a:lnTo>
                    <a:pt x="16926" y="552"/>
                  </a:lnTo>
                  <a:lnTo>
                    <a:pt x="17067" y="552"/>
                  </a:lnTo>
                  <a:lnTo>
                    <a:pt x="17183" y="552"/>
                  </a:lnTo>
                  <a:lnTo>
                    <a:pt x="17183" y="481"/>
                  </a:lnTo>
                  <a:close/>
                  <a:moveTo>
                    <a:pt x="17222" y="349"/>
                  </a:moveTo>
                  <a:lnTo>
                    <a:pt x="17222" y="460"/>
                  </a:lnTo>
                  <a:lnTo>
                    <a:pt x="17222" y="573"/>
                  </a:lnTo>
                  <a:lnTo>
                    <a:pt x="17222" y="1413"/>
                  </a:lnTo>
                  <a:lnTo>
                    <a:pt x="17222" y="2253"/>
                  </a:lnTo>
                  <a:lnTo>
                    <a:pt x="17220" y="2262"/>
                  </a:lnTo>
                  <a:lnTo>
                    <a:pt x="17216" y="2268"/>
                  </a:lnTo>
                  <a:lnTo>
                    <a:pt x="17209" y="2272"/>
                  </a:lnTo>
                  <a:lnTo>
                    <a:pt x="17202" y="2273"/>
                  </a:lnTo>
                  <a:lnTo>
                    <a:pt x="17194" y="2272"/>
                  </a:lnTo>
                  <a:lnTo>
                    <a:pt x="17188" y="2268"/>
                  </a:lnTo>
                  <a:lnTo>
                    <a:pt x="17184" y="2262"/>
                  </a:lnTo>
                  <a:lnTo>
                    <a:pt x="17183" y="2253"/>
                  </a:lnTo>
                  <a:lnTo>
                    <a:pt x="17183" y="1422"/>
                  </a:lnTo>
                  <a:lnTo>
                    <a:pt x="17183" y="592"/>
                  </a:lnTo>
                  <a:lnTo>
                    <a:pt x="17088" y="592"/>
                  </a:lnTo>
                  <a:lnTo>
                    <a:pt x="17088" y="1422"/>
                  </a:lnTo>
                  <a:lnTo>
                    <a:pt x="17088" y="2253"/>
                  </a:lnTo>
                  <a:lnTo>
                    <a:pt x="17085" y="2262"/>
                  </a:lnTo>
                  <a:lnTo>
                    <a:pt x="17081" y="2268"/>
                  </a:lnTo>
                  <a:lnTo>
                    <a:pt x="17075" y="2272"/>
                  </a:lnTo>
                  <a:lnTo>
                    <a:pt x="17067" y="2273"/>
                  </a:lnTo>
                  <a:lnTo>
                    <a:pt x="17059" y="2272"/>
                  </a:lnTo>
                  <a:lnTo>
                    <a:pt x="17053" y="2268"/>
                  </a:lnTo>
                  <a:lnTo>
                    <a:pt x="17049" y="2262"/>
                  </a:lnTo>
                  <a:lnTo>
                    <a:pt x="17047" y="2253"/>
                  </a:lnTo>
                  <a:lnTo>
                    <a:pt x="17047" y="1422"/>
                  </a:lnTo>
                  <a:lnTo>
                    <a:pt x="17047" y="592"/>
                  </a:lnTo>
                  <a:lnTo>
                    <a:pt x="16906" y="592"/>
                  </a:lnTo>
                  <a:lnTo>
                    <a:pt x="16898" y="590"/>
                  </a:lnTo>
                  <a:lnTo>
                    <a:pt x="16891" y="587"/>
                  </a:lnTo>
                  <a:lnTo>
                    <a:pt x="16888" y="580"/>
                  </a:lnTo>
                  <a:lnTo>
                    <a:pt x="16886" y="573"/>
                  </a:lnTo>
                  <a:lnTo>
                    <a:pt x="16886" y="349"/>
                  </a:lnTo>
                  <a:lnTo>
                    <a:pt x="16584" y="349"/>
                  </a:lnTo>
                  <a:lnTo>
                    <a:pt x="16584" y="740"/>
                  </a:lnTo>
                  <a:lnTo>
                    <a:pt x="16581" y="749"/>
                  </a:lnTo>
                  <a:lnTo>
                    <a:pt x="16577" y="755"/>
                  </a:lnTo>
                  <a:lnTo>
                    <a:pt x="16571" y="759"/>
                  </a:lnTo>
                  <a:lnTo>
                    <a:pt x="16563" y="761"/>
                  </a:lnTo>
                  <a:lnTo>
                    <a:pt x="16556" y="759"/>
                  </a:lnTo>
                  <a:lnTo>
                    <a:pt x="16549" y="755"/>
                  </a:lnTo>
                  <a:lnTo>
                    <a:pt x="16545" y="749"/>
                  </a:lnTo>
                  <a:lnTo>
                    <a:pt x="16544" y="740"/>
                  </a:lnTo>
                  <a:lnTo>
                    <a:pt x="16544" y="349"/>
                  </a:lnTo>
                  <a:lnTo>
                    <a:pt x="16255" y="349"/>
                  </a:lnTo>
                  <a:lnTo>
                    <a:pt x="16246" y="348"/>
                  </a:lnTo>
                  <a:lnTo>
                    <a:pt x="16239" y="344"/>
                  </a:lnTo>
                  <a:lnTo>
                    <a:pt x="16235" y="339"/>
                  </a:lnTo>
                  <a:lnTo>
                    <a:pt x="16232" y="332"/>
                  </a:lnTo>
                  <a:lnTo>
                    <a:pt x="16232" y="326"/>
                  </a:lnTo>
                  <a:lnTo>
                    <a:pt x="16235" y="319"/>
                  </a:lnTo>
                  <a:lnTo>
                    <a:pt x="16241" y="314"/>
                  </a:lnTo>
                  <a:lnTo>
                    <a:pt x="16249" y="310"/>
                  </a:lnTo>
                  <a:lnTo>
                    <a:pt x="17184" y="9"/>
                  </a:lnTo>
                  <a:lnTo>
                    <a:pt x="17188" y="5"/>
                  </a:lnTo>
                  <a:lnTo>
                    <a:pt x="17192" y="2"/>
                  </a:lnTo>
                  <a:lnTo>
                    <a:pt x="17203" y="0"/>
                  </a:lnTo>
                  <a:lnTo>
                    <a:pt x="17213" y="2"/>
                  </a:lnTo>
                  <a:lnTo>
                    <a:pt x="17220" y="10"/>
                  </a:lnTo>
                  <a:lnTo>
                    <a:pt x="17443" y="317"/>
                  </a:lnTo>
                  <a:lnTo>
                    <a:pt x="17447" y="323"/>
                  </a:lnTo>
                  <a:lnTo>
                    <a:pt x="17449" y="328"/>
                  </a:lnTo>
                  <a:lnTo>
                    <a:pt x="17447" y="339"/>
                  </a:lnTo>
                  <a:lnTo>
                    <a:pt x="17440" y="346"/>
                  </a:lnTo>
                  <a:lnTo>
                    <a:pt x="17427" y="349"/>
                  </a:lnTo>
                  <a:lnTo>
                    <a:pt x="17222" y="349"/>
                  </a:lnTo>
                  <a:close/>
                  <a:moveTo>
                    <a:pt x="17183" y="349"/>
                  </a:moveTo>
                  <a:lnTo>
                    <a:pt x="17034" y="349"/>
                  </a:lnTo>
                  <a:lnTo>
                    <a:pt x="17034" y="440"/>
                  </a:lnTo>
                  <a:lnTo>
                    <a:pt x="17183" y="440"/>
                  </a:lnTo>
                  <a:lnTo>
                    <a:pt x="17183" y="349"/>
                  </a:lnTo>
                  <a:close/>
                  <a:moveTo>
                    <a:pt x="15662" y="1363"/>
                  </a:moveTo>
                  <a:lnTo>
                    <a:pt x="15676" y="1370"/>
                  </a:lnTo>
                  <a:lnTo>
                    <a:pt x="15687" y="1379"/>
                  </a:lnTo>
                  <a:lnTo>
                    <a:pt x="15696" y="1391"/>
                  </a:lnTo>
                  <a:lnTo>
                    <a:pt x="15704" y="1404"/>
                  </a:lnTo>
                  <a:lnTo>
                    <a:pt x="15709" y="1417"/>
                  </a:lnTo>
                  <a:lnTo>
                    <a:pt x="15713" y="1431"/>
                  </a:lnTo>
                  <a:lnTo>
                    <a:pt x="15713" y="1461"/>
                  </a:lnTo>
                  <a:lnTo>
                    <a:pt x="15709" y="1477"/>
                  </a:lnTo>
                  <a:lnTo>
                    <a:pt x="15702" y="1491"/>
                  </a:lnTo>
                  <a:lnTo>
                    <a:pt x="15693" y="1503"/>
                  </a:lnTo>
                  <a:lnTo>
                    <a:pt x="15681" y="1515"/>
                  </a:lnTo>
                  <a:lnTo>
                    <a:pt x="15668" y="1524"/>
                  </a:lnTo>
                  <a:lnTo>
                    <a:pt x="15654" y="1530"/>
                  </a:lnTo>
                  <a:lnTo>
                    <a:pt x="15640" y="1534"/>
                  </a:lnTo>
                  <a:lnTo>
                    <a:pt x="15623" y="1535"/>
                  </a:lnTo>
                  <a:lnTo>
                    <a:pt x="15605" y="1534"/>
                  </a:lnTo>
                  <a:lnTo>
                    <a:pt x="15589" y="1529"/>
                  </a:lnTo>
                  <a:lnTo>
                    <a:pt x="15573" y="1520"/>
                  </a:lnTo>
                  <a:lnTo>
                    <a:pt x="15559" y="1509"/>
                  </a:lnTo>
                  <a:lnTo>
                    <a:pt x="15549" y="1496"/>
                  </a:lnTo>
                  <a:lnTo>
                    <a:pt x="15540" y="1480"/>
                  </a:lnTo>
                  <a:lnTo>
                    <a:pt x="15535" y="1464"/>
                  </a:lnTo>
                  <a:lnTo>
                    <a:pt x="15532" y="1445"/>
                  </a:lnTo>
                  <a:lnTo>
                    <a:pt x="15535" y="1437"/>
                  </a:lnTo>
                  <a:lnTo>
                    <a:pt x="15539" y="1431"/>
                  </a:lnTo>
                  <a:lnTo>
                    <a:pt x="15545" y="1427"/>
                  </a:lnTo>
                  <a:lnTo>
                    <a:pt x="15553" y="1425"/>
                  </a:lnTo>
                  <a:lnTo>
                    <a:pt x="15560" y="1427"/>
                  </a:lnTo>
                  <a:lnTo>
                    <a:pt x="15567" y="1431"/>
                  </a:lnTo>
                  <a:lnTo>
                    <a:pt x="15571" y="1437"/>
                  </a:lnTo>
                  <a:lnTo>
                    <a:pt x="15573" y="1445"/>
                  </a:lnTo>
                  <a:lnTo>
                    <a:pt x="15573" y="1455"/>
                  </a:lnTo>
                  <a:lnTo>
                    <a:pt x="15577" y="1465"/>
                  </a:lnTo>
                  <a:lnTo>
                    <a:pt x="15581" y="1474"/>
                  </a:lnTo>
                  <a:lnTo>
                    <a:pt x="15587" y="1480"/>
                  </a:lnTo>
                  <a:lnTo>
                    <a:pt x="15595" y="1487"/>
                  </a:lnTo>
                  <a:lnTo>
                    <a:pt x="15604" y="1492"/>
                  </a:lnTo>
                  <a:lnTo>
                    <a:pt x="15623" y="1496"/>
                  </a:lnTo>
                  <a:lnTo>
                    <a:pt x="15641" y="1492"/>
                  </a:lnTo>
                  <a:lnTo>
                    <a:pt x="15655" y="1484"/>
                  </a:lnTo>
                  <a:lnTo>
                    <a:pt x="15662" y="1478"/>
                  </a:lnTo>
                  <a:lnTo>
                    <a:pt x="15667" y="1470"/>
                  </a:lnTo>
                  <a:lnTo>
                    <a:pt x="15673" y="1455"/>
                  </a:lnTo>
                  <a:lnTo>
                    <a:pt x="15675" y="1436"/>
                  </a:lnTo>
                  <a:lnTo>
                    <a:pt x="15669" y="1423"/>
                  </a:lnTo>
                  <a:lnTo>
                    <a:pt x="15662" y="1413"/>
                  </a:lnTo>
                  <a:lnTo>
                    <a:pt x="15652" y="1405"/>
                  </a:lnTo>
                  <a:lnTo>
                    <a:pt x="15631" y="1390"/>
                  </a:lnTo>
                  <a:lnTo>
                    <a:pt x="15625" y="1379"/>
                  </a:lnTo>
                  <a:lnTo>
                    <a:pt x="15622" y="1365"/>
                  </a:lnTo>
                  <a:lnTo>
                    <a:pt x="15622" y="1323"/>
                  </a:lnTo>
                  <a:lnTo>
                    <a:pt x="15623" y="1314"/>
                  </a:lnTo>
                  <a:lnTo>
                    <a:pt x="15628" y="1308"/>
                  </a:lnTo>
                  <a:lnTo>
                    <a:pt x="15635" y="1305"/>
                  </a:lnTo>
                  <a:lnTo>
                    <a:pt x="15643" y="1304"/>
                  </a:lnTo>
                  <a:lnTo>
                    <a:pt x="15649" y="1305"/>
                  </a:lnTo>
                  <a:lnTo>
                    <a:pt x="15655" y="1308"/>
                  </a:lnTo>
                  <a:lnTo>
                    <a:pt x="15660" y="1314"/>
                  </a:lnTo>
                  <a:lnTo>
                    <a:pt x="15662" y="1323"/>
                  </a:lnTo>
                  <a:lnTo>
                    <a:pt x="15662" y="1363"/>
                  </a:lnTo>
                  <a:close/>
                  <a:moveTo>
                    <a:pt x="15667" y="963"/>
                  </a:moveTo>
                  <a:lnTo>
                    <a:pt x="15667" y="1277"/>
                  </a:lnTo>
                  <a:lnTo>
                    <a:pt x="15664" y="1286"/>
                  </a:lnTo>
                  <a:lnTo>
                    <a:pt x="15660" y="1292"/>
                  </a:lnTo>
                  <a:lnTo>
                    <a:pt x="15654" y="1296"/>
                  </a:lnTo>
                  <a:lnTo>
                    <a:pt x="15646" y="1298"/>
                  </a:lnTo>
                  <a:lnTo>
                    <a:pt x="15639" y="1296"/>
                  </a:lnTo>
                  <a:lnTo>
                    <a:pt x="15632" y="1292"/>
                  </a:lnTo>
                  <a:lnTo>
                    <a:pt x="15628" y="1286"/>
                  </a:lnTo>
                  <a:lnTo>
                    <a:pt x="15627" y="1277"/>
                  </a:lnTo>
                  <a:lnTo>
                    <a:pt x="15627" y="963"/>
                  </a:lnTo>
                  <a:lnTo>
                    <a:pt x="15385" y="963"/>
                  </a:lnTo>
                  <a:lnTo>
                    <a:pt x="15385" y="1139"/>
                  </a:lnTo>
                  <a:lnTo>
                    <a:pt x="15384" y="1147"/>
                  </a:lnTo>
                  <a:lnTo>
                    <a:pt x="15378" y="1153"/>
                  </a:lnTo>
                  <a:lnTo>
                    <a:pt x="15372" y="1157"/>
                  </a:lnTo>
                  <a:lnTo>
                    <a:pt x="15366" y="1158"/>
                  </a:lnTo>
                  <a:lnTo>
                    <a:pt x="15253" y="1158"/>
                  </a:lnTo>
                  <a:lnTo>
                    <a:pt x="15253" y="1705"/>
                  </a:lnTo>
                  <a:lnTo>
                    <a:pt x="15253" y="2253"/>
                  </a:lnTo>
                  <a:lnTo>
                    <a:pt x="15250" y="2262"/>
                  </a:lnTo>
                  <a:lnTo>
                    <a:pt x="15246" y="2268"/>
                  </a:lnTo>
                  <a:lnTo>
                    <a:pt x="15240" y="2272"/>
                  </a:lnTo>
                  <a:lnTo>
                    <a:pt x="15232" y="2273"/>
                  </a:lnTo>
                  <a:lnTo>
                    <a:pt x="15225" y="2272"/>
                  </a:lnTo>
                  <a:lnTo>
                    <a:pt x="15218" y="2268"/>
                  </a:lnTo>
                  <a:lnTo>
                    <a:pt x="15214" y="2262"/>
                  </a:lnTo>
                  <a:lnTo>
                    <a:pt x="15213" y="2253"/>
                  </a:lnTo>
                  <a:lnTo>
                    <a:pt x="15213" y="1705"/>
                  </a:lnTo>
                  <a:lnTo>
                    <a:pt x="15213" y="1158"/>
                  </a:lnTo>
                  <a:lnTo>
                    <a:pt x="15141" y="1158"/>
                  </a:lnTo>
                  <a:lnTo>
                    <a:pt x="15141" y="1705"/>
                  </a:lnTo>
                  <a:lnTo>
                    <a:pt x="15141" y="2253"/>
                  </a:lnTo>
                  <a:lnTo>
                    <a:pt x="15140" y="2262"/>
                  </a:lnTo>
                  <a:lnTo>
                    <a:pt x="15135" y="2268"/>
                  </a:lnTo>
                  <a:lnTo>
                    <a:pt x="15128" y="2272"/>
                  </a:lnTo>
                  <a:lnTo>
                    <a:pt x="15122" y="2273"/>
                  </a:lnTo>
                  <a:lnTo>
                    <a:pt x="15114" y="2272"/>
                  </a:lnTo>
                  <a:lnTo>
                    <a:pt x="15108" y="2268"/>
                  </a:lnTo>
                  <a:lnTo>
                    <a:pt x="15103" y="2262"/>
                  </a:lnTo>
                  <a:lnTo>
                    <a:pt x="15101" y="2253"/>
                  </a:lnTo>
                  <a:lnTo>
                    <a:pt x="15101" y="1695"/>
                  </a:lnTo>
                  <a:lnTo>
                    <a:pt x="15101" y="1139"/>
                  </a:lnTo>
                  <a:lnTo>
                    <a:pt x="15101" y="1047"/>
                  </a:lnTo>
                  <a:lnTo>
                    <a:pt x="15101" y="963"/>
                  </a:lnTo>
                  <a:lnTo>
                    <a:pt x="14931" y="963"/>
                  </a:lnTo>
                  <a:lnTo>
                    <a:pt x="14918" y="960"/>
                  </a:lnTo>
                  <a:lnTo>
                    <a:pt x="14913" y="956"/>
                  </a:lnTo>
                  <a:lnTo>
                    <a:pt x="14910" y="952"/>
                  </a:lnTo>
                  <a:lnTo>
                    <a:pt x="14909" y="947"/>
                  </a:lnTo>
                  <a:lnTo>
                    <a:pt x="14909" y="942"/>
                  </a:lnTo>
                  <a:lnTo>
                    <a:pt x="14914" y="931"/>
                  </a:lnTo>
                  <a:lnTo>
                    <a:pt x="15105" y="680"/>
                  </a:lnTo>
                  <a:lnTo>
                    <a:pt x="15116" y="675"/>
                  </a:lnTo>
                  <a:lnTo>
                    <a:pt x="15127" y="674"/>
                  </a:lnTo>
                  <a:lnTo>
                    <a:pt x="15907" y="924"/>
                  </a:lnTo>
                  <a:lnTo>
                    <a:pt x="15920" y="933"/>
                  </a:lnTo>
                  <a:lnTo>
                    <a:pt x="15922" y="940"/>
                  </a:lnTo>
                  <a:lnTo>
                    <a:pt x="15923" y="946"/>
                  </a:lnTo>
                  <a:lnTo>
                    <a:pt x="15921" y="952"/>
                  </a:lnTo>
                  <a:lnTo>
                    <a:pt x="15916" y="957"/>
                  </a:lnTo>
                  <a:lnTo>
                    <a:pt x="15909" y="961"/>
                  </a:lnTo>
                  <a:lnTo>
                    <a:pt x="15900" y="963"/>
                  </a:lnTo>
                  <a:lnTo>
                    <a:pt x="15667" y="963"/>
                  </a:lnTo>
                  <a:close/>
                  <a:moveTo>
                    <a:pt x="15167" y="727"/>
                  </a:moveTo>
                  <a:lnTo>
                    <a:pt x="15240" y="828"/>
                  </a:lnTo>
                  <a:lnTo>
                    <a:pt x="15244" y="840"/>
                  </a:lnTo>
                  <a:lnTo>
                    <a:pt x="15244" y="923"/>
                  </a:lnTo>
                  <a:lnTo>
                    <a:pt x="15276" y="923"/>
                  </a:lnTo>
                  <a:lnTo>
                    <a:pt x="15366" y="923"/>
                  </a:lnTo>
                  <a:lnTo>
                    <a:pt x="15773" y="923"/>
                  </a:lnTo>
                  <a:lnTo>
                    <a:pt x="15167" y="727"/>
                  </a:lnTo>
                  <a:close/>
                  <a:moveTo>
                    <a:pt x="15203" y="923"/>
                  </a:moveTo>
                  <a:lnTo>
                    <a:pt x="15203" y="846"/>
                  </a:lnTo>
                  <a:lnTo>
                    <a:pt x="15141" y="762"/>
                  </a:lnTo>
                  <a:lnTo>
                    <a:pt x="15141" y="923"/>
                  </a:lnTo>
                  <a:lnTo>
                    <a:pt x="15203" y="923"/>
                  </a:lnTo>
                  <a:close/>
                  <a:moveTo>
                    <a:pt x="15101" y="752"/>
                  </a:moveTo>
                  <a:lnTo>
                    <a:pt x="14971" y="923"/>
                  </a:lnTo>
                  <a:lnTo>
                    <a:pt x="15101" y="923"/>
                  </a:lnTo>
                  <a:lnTo>
                    <a:pt x="15101" y="752"/>
                  </a:lnTo>
                  <a:close/>
                  <a:moveTo>
                    <a:pt x="15296" y="963"/>
                  </a:moveTo>
                  <a:lnTo>
                    <a:pt x="15296" y="1047"/>
                  </a:lnTo>
                  <a:lnTo>
                    <a:pt x="15295" y="1055"/>
                  </a:lnTo>
                  <a:lnTo>
                    <a:pt x="15290" y="1061"/>
                  </a:lnTo>
                  <a:lnTo>
                    <a:pt x="15283" y="1065"/>
                  </a:lnTo>
                  <a:lnTo>
                    <a:pt x="15276" y="1066"/>
                  </a:lnTo>
                  <a:lnTo>
                    <a:pt x="15141" y="1066"/>
                  </a:lnTo>
                  <a:lnTo>
                    <a:pt x="15141" y="1119"/>
                  </a:lnTo>
                  <a:lnTo>
                    <a:pt x="15232" y="1119"/>
                  </a:lnTo>
                  <a:lnTo>
                    <a:pt x="15345" y="1119"/>
                  </a:lnTo>
                  <a:lnTo>
                    <a:pt x="15345" y="963"/>
                  </a:lnTo>
                  <a:lnTo>
                    <a:pt x="15296" y="963"/>
                  </a:lnTo>
                  <a:close/>
                  <a:moveTo>
                    <a:pt x="15257" y="963"/>
                  </a:moveTo>
                  <a:lnTo>
                    <a:pt x="15141" y="963"/>
                  </a:lnTo>
                  <a:lnTo>
                    <a:pt x="15141" y="1027"/>
                  </a:lnTo>
                  <a:lnTo>
                    <a:pt x="15257" y="1027"/>
                  </a:lnTo>
                  <a:lnTo>
                    <a:pt x="15257" y="963"/>
                  </a:lnTo>
                  <a:close/>
                  <a:moveTo>
                    <a:pt x="12486" y="3681"/>
                  </a:moveTo>
                  <a:lnTo>
                    <a:pt x="12486" y="3792"/>
                  </a:lnTo>
                  <a:lnTo>
                    <a:pt x="12484" y="3800"/>
                  </a:lnTo>
                  <a:lnTo>
                    <a:pt x="12482" y="3805"/>
                  </a:lnTo>
                  <a:lnTo>
                    <a:pt x="12523" y="3838"/>
                  </a:lnTo>
                  <a:lnTo>
                    <a:pt x="12559" y="3875"/>
                  </a:lnTo>
                  <a:lnTo>
                    <a:pt x="12592" y="3918"/>
                  </a:lnTo>
                  <a:lnTo>
                    <a:pt x="12606" y="3939"/>
                  </a:lnTo>
                  <a:lnTo>
                    <a:pt x="12619" y="3962"/>
                  </a:lnTo>
                  <a:lnTo>
                    <a:pt x="12641" y="4011"/>
                  </a:lnTo>
                  <a:lnTo>
                    <a:pt x="12657" y="4062"/>
                  </a:lnTo>
                  <a:lnTo>
                    <a:pt x="12666" y="4116"/>
                  </a:lnTo>
                  <a:lnTo>
                    <a:pt x="12670" y="4171"/>
                  </a:lnTo>
                  <a:lnTo>
                    <a:pt x="12666" y="4226"/>
                  </a:lnTo>
                  <a:lnTo>
                    <a:pt x="12661" y="4265"/>
                  </a:lnTo>
                  <a:lnTo>
                    <a:pt x="12654" y="4304"/>
                  </a:lnTo>
                  <a:lnTo>
                    <a:pt x="13197" y="4304"/>
                  </a:lnTo>
                  <a:lnTo>
                    <a:pt x="13741" y="4304"/>
                  </a:lnTo>
                  <a:lnTo>
                    <a:pt x="13741" y="3764"/>
                  </a:lnTo>
                  <a:lnTo>
                    <a:pt x="13741" y="3225"/>
                  </a:lnTo>
                  <a:lnTo>
                    <a:pt x="13183" y="3225"/>
                  </a:lnTo>
                  <a:lnTo>
                    <a:pt x="12625" y="3225"/>
                  </a:lnTo>
                  <a:lnTo>
                    <a:pt x="12616" y="3222"/>
                  </a:lnTo>
                  <a:lnTo>
                    <a:pt x="12610" y="3218"/>
                  </a:lnTo>
                  <a:lnTo>
                    <a:pt x="12606" y="3212"/>
                  </a:lnTo>
                  <a:lnTo>
                    <a:pt x="12606" y="3204"/>
                  </a:lnTo>
                  <a:lnTo>
                    <a:pt x="12606" y="3196"/>
                  </a:lnTo>
                  <a:lnTo>
                    <a:pt x="12610" y="3190"/>
                  </a:lnTo>
                  <a:lnTo>
                    <a:pt x="12616" y="3186"/>
                  </a:lnTo>
                  <a:lnTo>
                    <a:pt x="12625" y="3184"/>
                  </a:lnTo>
                  <a:lnTo>
                    <a:pt x="12793" y="3184"/>
                  </a:lnTo>
                  <a:lnTo>
                    <a:pt x="12793" y="3031"/>
                  </a:lnTo>
                  <a:lnTo>
                    <a:pt x="12353" y="3031"/>
                  </a:lnTo>
                  <a:lnTo>
                    <a:pt x="12353" y="3184"/>
                  </a:lnTo>
                  <a:lnTo>
                    <a:pt x="12493" y="3184"/>
                  </a:lnTo>
                  <a:lnTo>
                    <a:pt x="12502" y="3186"/>
                  </a:lnTo>
                  <a:lnTo>
                    <a:pt x="12509" y="3190"/>
                  </a:lnTo>
                  <a:lnTo>
                    <a:pt x="12512" y="3196"/>
                  </a:lnTo>
                  <a:lnTo>
                    <a:pt x="12514" y="3204"/>
                  </a:lnTo>
                  <a:lnTo>
                    <a:pt x="12512" y="3212"/>
                  </a:lnTo>
                  <a:lnTo>
                    <a:pt x="12509" y="3218"/>
                  </a:lnTo>
                  <a:lnTo>
                    <a:pt x="12502" y="3222"/>
                  </a:lnTo>
                  <a:lnTo>
                    <a:pt x="12493" y="3225"/>
                  </a:lnTo>
                  <a:lnTo>
                    <a:pt x="12236" y="3225"/>
                  </a:lnTo>
                  <a:lnTo>
                    <a:pt x="12236" y="3670"/>
                  </a:lnTo>
                  <a:lnTo>
                    <a:pt x="12233" y="3679"/>
                  </a:lnTo>
                  <a:lnTo>
                    <a:pt x="12229" y="3685"/>
                  </a:lnTo>
                  <a:lnTo>
                    <a:pt x="12223" y="3689"/>
                  </a:lnTo>
                  <a:lnTo>
                    <a:pt x="12215" y="3690"/>
                  </a:lnTo>
                  <a:lnTo>
                    <a:pt x="12207" y="3689"/>
                  </a:lnTo>
                  <a:lnTo>
                    <a:pt x="12201" y="3685"/>
                  </a:lnTo>
                  <a:lnTo>
                    <a:pt x="12197" y="3679"/>
                  </a:lnTo>
                  <a:lnTo>
                    <a:pt x="12194" y="3670"/>
                  </a:lnTo>
                  <a:lnTo>
                    <a:pt x="12194" y="3204"/>
                  </a:lnTo>
                  <a:lnTo>
                    <a:pt x="12197" y="3196"/>
                  </a:lnTo>
                  <a:lnTo>
                    <a:pt x="12201" y="3190"/>
                  </a:lnTo>
                  <a:lnTo>
                    <a:pt x="12207" y="3186"/>
                  </a:lnTo>
                  <a:lnTo>
                    <a:pt x="12215" y="3184"/>
                  </a:lnTo>
                  <a:lnTo>
                    <a:pt x="12314" y="3184"/>
                  </a:lnTo>
                  <a:lnTo>
                    <a:pt x="12314" y="3011"/>
                  </a:lnTo>
                  <a:lnTo>
                    <a:pt x="12315" y="3003"/>
                  </a:lnTo>
                  <a:lnTo>
                    <a:pt x="12319" y="2997"/>
                  </a:lnTo>
                  <a:lnTo>
                    <a:pt x="12325" y="2993"/>
                  </a:lnTo>
                  <a:lnTo>
                    <a:pt x="12333" y="2991"/>
                  </a:lnTo>
                  <a:lnTo>
                    <a:pt x="12814" y="2991"/>
                  </a:lnTo>
                  <a:lnTo>
                    <a:pt x="12822" y="2993"/>
                  </a:lnTo>
                  <a:lnTo>
                    <a:pt x="12828" y="2997"/>
                  </a:lnTo>
                  <a:lnTo>
                    <a:pt x="12832" y="3003"/>
                  </a:lnTo>
                  <a:lnTo>
                    <a:pt x="12833" y="3011"/>
                  </a:lnTo>
                  <a:lnTo>
                    <a:pt x="12833" y="3184"/>
                  </a:lnTo>
                  <a:lnTo>
                    <a:pt x="13761" y="3184"/>
                  </a:lnTo>
                  <a:lnTo>
                    <a:pt x="13769" y="3186"/>
                  </a:lnTo>
                  <a:lnTo>
                    <a:pt x="13776" y="3190"/>
                  </a:lnTo>
                  <a:lnTo>
                    <a:pt x="13779" y="3196"/>
                  </a:lnTo>
                  <a:lnTo>
                    <a:pt x="13782" y="3204"/>
                  </a:lnTo>
                  <a:lnTo>
                    <a:pt x="13782" y="3764"/>
                  </a:lnTo>
                  <a:lnTo>
                    <a:pt x="13782" y="4324"/>
                  </a:lnTo>
                  <a:lnTo>
                    <a:pt x="13779" y="4332"/>
                  </a:lnTo>
                  <a:lnTo>
                    <a:pt x="13776" y="4338"/>
                  </a:lnTo>
                  <a:lnTo>
                    <a:pt x="13769" y="4342"/>
                  </a:lnTo>
                  <a:lnTo>
                    <a:pt x="13761" y="4343"/>
                  </a:lnTo>
                  <a:lnTo>
                    <a:pt x="13197" y="4343"/>
                  </a:lnTo>
                  <a:lnTo>
                    <a:pt x="12633" y="4343"/>
                  </a:lnTo>
                  <a:lnTo>
                    <a:pt x="12628" y="4347"/>
                  </a:lnTo>
                  <a:lnTo>
                    <a:pt x="12621" y="4349"/>
                  </a:lnTo>
                  <a:lnTo>
                    <a:pt x="12016" y="4349"/>
                  </a:lnTo>
                  <a:lnTo>
                    <a:pt x="11412" y="4349"/>
                  </a:lnTo>
                  <a:lnTo>
                    <a:pt x="11403" y="4346"/>
                  </a:lnTo>
                  <a:lnTo>
                    <a:pt x="11397" y="4341"/>
                  </a:lnTo>
                  <a:lnTo>
                    <a:pt x="11388" y="4334"/>
                  </a:lnTo>
                  <a:lnTo>
                    <a:pt x="11385" y="4329"/>
                  </a:lnTo>
                  <a:lnTo>
                    <a:pt x="11385" y="4323"/>
                  </a:lnTo>
                  <a:lnTo>
                    <a:pt x="11385" y="3936"/>
                  </a:lnTo>
                  <a:lnTo>
                    <a:pt x="11346" y="3930"/>
                  </a:lnTo>
                  <a:lnTo>
                    <a:pt x="11307" y="3924"/>
                  </a:lnTo>
                  <a:lnTo>
                    <a:pt x="11271" y="3913"/>
                  </a:lnTo>
                  <a:lnTo>
                    <a:pt x="11235" y="3898"/>
                  </a:lnTo>
                  <a:lnTo>
                    <a:pt x="11202" y="3881"/>
                  </a:lnTo>
                  <a:lnTo>
                    <a:pt x="11171" y="3860"/>
                  </a:lnTo>
                  <a:lnTo>
                    <a:pt x="11142" y="3837"/>
                  </a:lnTo>
                  <a:lnTo>
                    <a:pt x="11115" y="3811"/>
                  </a:lnTo>
                  <a:lnTo>
                    <a:pt x="11090" y="3783"/>
                  </a:lnTo>
                  <a:lnTo>
                    <a:pt x="11069" y="3753"/>
                  </a:lnTo>
                  <a:lnTo>
                    <a:pt x="11049" y="3721"/>
                  </a:lnTo>
                  <a:lnTo>
                    <a:pt x="11034" y="3686"/>
                  </a:lnTo>
                  <a:lnTo>
                    <a:pt x="11021" y="3650"/>
                  </a:lnTo>
                  <a:lnTo>
                    <a:pt x="11011" y="3613"/>
                  </a:lnTo>
                  <a:lnTo>
                    <a:pt x="11006" y="3575"/>
                  </a:lnTo>
                  <a:lnTo>
                    <a:pt x="11005" y="3535"/>
                  </a:lnTo>
                  <a:lnTo>
                    <a:pt x="11006" y="3494"/>
                  </a:lnTo>
                  <a:lnTo>
                    <a:pt x="11012" y="3453"/>
                  </a:lnTo>
                  <a:lnTo>
                    <a:pt x="11022" y="3415"/>
                  </a:lnTo>
                  <a:lnTo>
                    <a:pt x="11035" y="3379"/>
                  </a:lnTo>
                  <a:lnTo>
                    <a:pt x="11052" y="3343"/>
                  </a:lnTo>
                  <a:lnTo>
                    <a:pt x="11072" y="3310"/>
                  </a:lnTo>
                  <a:lnTo>
                    <a:pt x="11096" y="3280"/>
                  </a:lnTo>
                  <a:lnTo>
                    <a:pt x="11121" y="3251"/>
                  </a:lnTo>
                  <a:lnTo>
                    <a:pt x="11151" y="3226"/>
                  </a:lnTo>
                  <a:lnTo>
                    <a:pt x="11181" y="3203"/>
                  </a:lnTo>
                  <a:lnTo>
                    <a:pt x="11214" y="3182"/>
                  </a:lnTo>
                  <a:lnTo>
                    <a:pt x="11249" y="3166"/>
                  </a:lnTo>
                  <a:lnTo>
                    <a:pt x="11287" y="3152"/>
                  </a:lnTo>
                  <a:lnTo>
                    <a:pt x="11325" y="3143"/>
                  </a:lnTo>
                  <a:lnTo>
                    <a:pt x="11365" y="3136"/>
                  </a:lnTo>
                  <a:lnTo>
                    <a:pt x="11406" y="3134"/>
                  </a:lnTo>
                  <a:lnTo>
                    <a:pt x="11447" y="3136"/>
                  </a:lnTo>
                  <a:lnTo>
                    <a:pt x="11487" y="3143"/>
                  </a:lnTo>
                  <a:lnTo>
                    <a:pt x="11525" y="3152"/>
                  </a:lnTo>
                  <a:lnTo>
                    <a:pt x="11562" y="3166"/>
                  </a:lnTo>
                  <a:lnTo>
                    <a:pt x="11597" y="3182"/>
                  </a:lnTo>
                  <a:lnTo>
                    <a:pt x="11630" y="3203"/>
                  </a:lnTo>
                  <a:lnTo>
                    <a:pt x="11661" y="3226"/>
                  </a:lnTo>
                  <a:lnTo>
                    <a:pt x="11689" y="3251"/>
                  </a:lnTo>
                  <a:lnTo>
                    <a:pt x="11716" y="3280"/>
                  </a:lnTo>
                  <a:lnTo>
                    <a:pt x="11739" y="3310"/>
                  </a:lnTo>
                  <a:lnTo>
                    <a:pt x="11759" y="3343"/>
                  </a:lnTo>
                  <a:lnTo>
                    <a:pt x="11775" y="3379"/>
                  </a:lnTo>
                  <a:lnTo>
                    <a:pt x="11789" y="3415"/>
                  </a:lnTo>
                  <a:lnTo>
                    <a:pt x="11800" y="3453"/>
                  </a:lnTo>
                  <a:lnTo>
                    <a:pt x="11805" y="3494"/>
                  </a:lnTo>
                  <a:lnTo>
                    <a:pt x="11807" y="3535"/>
                  </a:lnTo>
                  <a:lnTo>
                    <a:pt x="11806" y="3575"/>
                  </a:lnTo>
                  <a:lnTo>
                    <a:pt x="11800" y="3613"/>
                  </a:lnTo>
                  <a:lnTo>
                    <a:pt x="11791" y="3650"/>
                  </a:lnTo>
                  <a:lnTo>
                    <a:pt x="11778" y="3686"/>
                  </a:lnTo>
                  <a:lnTo>
                    <a:pt x="11761" y="3721"/>
                  </a:lnTo>
                  <a:lnTo>
                    <a:pt x="11743" y="3753"/>
                  </a:lnTo>
                  <a:lnTo>
                    <a:pt x="11720" y="3783"/>
                  </a:lnTo>
                  <a:lnTo>
                    <a:pt x="11696" y="3811"/>
                  </a:lnTo>
                  <a:lnTo>
                    <a:pt x="11669" y="3837"/>
                  </a:lnTo>
                  <a:lnTo>
                    <a:pt x="11639" y="3860"/>
                  </a:lnTo>
                  <a:lnTo>
                    <a:pt x="11608" y="3881"/>
                  </a:lnTo>
                  <a:lnTo>
                    <a:pt x="11575" y="3898"/>
                  </a:lnTo>
                  <a:lnTo>
                    <a:pt x="11539" y="3913"/>
                  </a:lnTo>
                  <a:lnTo>
                    <a:pt x="11502" y="3924"/>
                  </a:lnTo>
                  <a:lnTo>
                    <a:pt x="11465" y="3932"/>
                  </a:lnTo>
                  <a:lnTo>
                    <a:pt x="11425" y="3936"/>
                  </a:lnTo>
                  <a:lnTo>
                    <a:pt x="11425" y="4205"/>
                  </a:lnTo>
                  <a:lnTo>
                    <a:pt x="11443" y="4178"/>
                  </a:lnTo>
                  <a:lnTo>
                    <a:pt x="11464" y="4153"/>
                  </a:lnTo>
                  <a:lnTo>
                    <a:pt x="11488" y="4130"/>
                  </a:lnTo>
                  <a:lnTo>
                    <a:pt x="11516" y="4108"/>
                  </a:lnTo>
                  <a:lnTo>
                    <a:pt x="11549" y="4090"/>
                  </a:lnTo>
                  <a:lnTo>
                    <a:pt x="11585" y="4076"/>
                  </a:lnTo>
                  <a:lnTo>
                    <a:pt x="11625" y="4067"/>
                  </a:lnTo>
                  <a:lnTo>
                    <a:pt x="11646" y="4065"/>
                  </a:lnTo>
                  <a:lnTo>
                    <a:pt x="11669" y="4065"/>
                  </a:lnTo>
                  <a:lnTo>
                    <a:pt x="11685" y="4066"/>
                  </a:lnTo>
                  <a:lnTo>
                    <a:pt x="11702" y="4069"/>
                  </a:lnTo>
                  <a:lnTo>
                    <a:pt x="11719" y="4074"/>
                  </a:lnTo>
                  <a:lnTo>
                    <a:pt x="11734" y="4080"/>
                  </a:lnTo>
                  <a:lnTo>
                    <a:pt x="11766" y="4092"/>
                  </a:lnTo>
                  <a:lnTo>
                    <a:pt x="11783" y="4095"/>
                  </a:lnTo>
                  <a:lnTo>
                    <a:pt x="11800" y="4097"/>
                  </a:lnTo>
                  <a:lnTo>
                    <a:pt x="11814" y="4095"/>
                  </a:lnTo>
                  <a:lnTo>
                    <a:pt x="11825" y="4090"/>
                  </a:lnTo>
                  <a:lnTo>
                    <a:pt x="11837" y="4084"/>
                  </a:lnTo>
                  <a:lnTo>
                    <a:pt x="11847" y="4076"/>
                  </a:lnTo>
                  <a:lnTo>
                    <a:pt x="11847" y="3213"/>
                  </a:lnTo>
                  <a:lnTo>
                    <a:pt x="11833" y="3208"/>
                  </a:lnTo>
                  <a:lnTo>
                    <a:pt x="11820" y="3199"/>
                  </a:lnTo>
                  <a:lnTo>
                    <a:pt x="11796" y="3182"/>
                  </a:lnTo>
                  <a:lnTo>
                    <a:pt x="11784" y="3173"/>
                  </a:lnTo>
                  <a:lnTo>
                    <a:pt x="11771" y="3167"/>
                  </a:lnTo>
                  <a:lnTo>
                    <a:pt x="11757" y="3163"/>
                  </a:lnTo>
                  <a:lnTo>
                    <a:pt x="11742" y="3163"/>
                  </a:lnTo>
                  <a:lnTo>
                    <a:pt x="11696" y="3170"/>
                  </a:lnTo>
                  <a:lnTo>
                    <a:pt x="11678" y="3172"/>
                  </a:lnTo>
                  <a:lnTo>
                    <a:pt x="11661" y="3171"/>
                  </a:lnTo>
                  <a:lnTo>
                    <a:pt x="11646" y="3166"/>
                  </a:lnTo>
                  <a:lnTo>
                    <a:pt x="11632" y="3156"/>
                  </a:lnTo>
                  <a:lnTo>
                    <a:pt x="11624" y="3148"/>
                  </a:lnTo>
                  <a:lnTo>
                    <a:pt x="11617" y="3139"/>
                  </a:lnTo>
                  <a:lnTo>
                    <a:pt x="11602" y="3115"/>
                  </a:lnTo>
                  <a:lnTo>
                    <a:pt x="11591" y="3093"/>
                  </a:lnTo>
                  <a:lnTo>
                    <a:pt x="11580" y="3079"/>
                  </a:lnTo>
                  <a:lnTo>
                    <a:pt x="11570" y="3070"/>
                  </a:lnTo>
                  <a:lnTo>
                    <a:pt x="11561" y="3065"/>
                  </a:lnTo>
                  <a:lnTo>
                    <a:pt x="11537" y="3060"/>
                  </a:lnTo>
                  <a:lnTo>
                    <a:pt x="11520" y="3055"/>
                  </a:lnTo>
                  <a:lnTo>
                    <a:pt x="11498" y="3047"/>
                  </a:lnTo>
                  <a:lnTo>
                    <a:pt x="11475" y="3033"/>
                  </a:lnTo>
                  <a:lnTo>
                    <a:pt x="11467" y="3024"/>
                  </a:lnTo>
                  <a:lnTo>
                    <a:pt x="11462" y="3015"/>
                  </a:lnTo>
                  <a:lnTo>
                    <a:pt x="11456" y="2996"/>
                  </a:lnTo>
                  <a:lnTo>
                    <a:pt x="11453" y="2974"/>
                  </a:lnTo>
                  <a:lnTo>
                    <a:pt x="11453" y="2953"/>
                  </a:lnTo>
                  <a:lnTo>
                    <a:pt x="11451" y="2933"/>
                  </a:lnTo>
                  <a:lnTo>
                    <a:pt x="11446" y="2913"/>
                  </a:lnTo>
                  <a:lnTo>
                    <a:pt x="11440" y="2904"/>
                  </a:lnTo>
                  <a:lnTo>
                    <a:pt x="11434" y="2896"/>
                  </a:lnTo>
                  <a:lnTo>
                    <a:pt x="11399" y="2864"/>
                  </a:lnTo>
                  <a:lnTo>
                    <a:pt x="11387" y="2851"/>
                  </a:lnTo>
                  <a:lnTo>
                    <a:pt x="11376" y="2837"/>
                  </a:lnTo>
                  <a:lnTo>
                    <a:pt x="11371" y="2823"/>
                  </a:lnTo>
                  <a:lnTo>
                    <a:pt x="11370" y="2805"/>
                  </a:lnTo>
                  <a:lnTo>
                    <a:pt x="11375" y="2783"/>
                  </a:lnTo>
                  <a:lnTo>
                    <a:pt x="11384" y="2757"/>
                  </a:lnTo>
                  <a:lnTo>
                    <a:pt x="11394" y="2734"/>
                  </a:lnTo>
                  <a:lnTo>
                    <a:pt x="11398" y="2722"/>
                  </a:lnTo>
                  <a:lnTo>
                    <a:pt x="11401" y="2711"/>
                  </a:lnTo>
                  <a:lnTo>
                    <a:pt x="11397" y="2689"/>
                  </a:lnTo>
                  <a:lnTo>
                    <a:pt x="11389" y="2670"/>
                  </a:lnTo>
                  <a:lnTo>
                    <a:pt x="11380" y="2650"/>
                  </a:lnTo>
                  <a:lnTo>
                    <a:pt x="11373" y="2633"/>
                  </a:lnTo>
                  <a:lnTo>
                    <a:pt x="11369" y="2613"/>
                  </a:lnTo>
                  <a:lnTo>
                    <a:pt x="11373" y="2593"/>
                  </a:lnTo>
                  <a:lnTo>
                    <a:pt x="11378" y="2581"/>
                  </a:lnTo>
                  <a:lnTo>
                    <a:pt x="11387" y="2570"/>
                  </a:lnTo>
                  <a:lnTo>
                    <a:pt x="11412" y="2543"/>
                  </a:lnTo>
                  <a:lnTo>
                    <a:pt x="11430" y="2526"/>
                  </a:lnTo>
                  <a:lnTo>
                    <a:pt x="11442" y="2512"/>
                  </a:lnTo>
                  <a:lnTo>
                    <a:pt x="11448" y="2502"/>
                  </a:lnTo>
                  <a:lnTo>
                    <a:pt x="11451" y="2492"/>
                  </a:lnTo>
                  <a:lnTo>
                    <a:pt x="11452" y="2466"/>
                  </a:lnTo>
                  <a:lnTo>
                    <a:pt x="11456" y="2427"/>
                  </a:lnTo>
                  <a:lnTo>
                    <a:pt x="11460" y="2413"/>
                  </a:lnTo>
                  <a:lnTo>
                    <a:pt x="11465" y="2401"/>
                  </a:lnTo>
                  <a:lnTo>
                    <a:pt x="11471" y="2392"/>
                  </a:lnTo>
                  <a:lnTo>
                    <a:pt x="11479" y="2384"/>
                  </a:lnTo>
                  <a:lnTo>
                    <a:pt x="11497" y="2374"/>
                  </a:lnTo>
                  <a:lnTo>
                    <a:pt x="11516" y="2368"/>
                  </a:lnTo>
                  <a:lnTo>
                    <a:pt x="11537" y="2363"/>
                  </a:lnTo>
                  <a:lnTo>
                    <a:pt x="11557" y="2356"/>
                  </a:lnTo>
                  <a:lnTo>
                    <a:pt x="11566" y="2351"/>
                  </a:lnTo>
                  <a:lnTo>
                    <a:pt x="11575" y="2346"/>
                  </a:lnTo>
                  <a:lnTo>
                    <a:pt x="11582" y="2340"/>
                  </a:lnTo>
                  <a:lnTo>
                    <a:pt x="11589" y="2331"/>
                  </a:lnTo>
                  <a:lnTo>
                    <a:pt x="11612" y="2291"/>
                  </a:lnTo>
                  <a:lnTo>
                    <a:pt x="11623" y="2275"/>
                  </a:lnTo>
                  <a:lnTo>
                    <a:pt x="11633" y="2263"/>
                  </a:lnTo>
                  <a:lnTo>
                    <a:pt x="11647" y="2254"/>
                  </a:lnTo>
                  <a:lnTo>
                    <a:pt x="11664" y="2249"/>
                  </a:lnTo>
                  <a:lnTo>
                    <a:pt x="11685" y="2248"/>
                  </a:lnTo>
                  <a:lnTo>
                    <a:pt x="11714" y="2251"/>
                  </a:lnTo>
                  <a:lnTo>
                    <a:pt x="11743" y="2257"/>
                  </a:lnTo>
                  <a:lnTo>
                    <a:pt x="11762" y="2257"/>
                  </a:lnTo>
                  <a:lnTo>
                    <a:pt x="11780" y="2249"/>
                  </a:lnTo>
                  <a:lnTo>
                    <a:pt x="11805" y="2231"/>
                  </a:lnTo>
                  <a:lnTo>
                    <a:pt x="11832" y="2213"/>
                  </a:lnTo>
                  <a:lnTo>
                    <a:pt x="11848" y="2207"/>
                  </a:lnTo>
                  <a:lnTo>
                    <a:pt x="11866" y="2204"/>
                  </a:lnTo>
                  <a:lnTo>
                    <a:pt x="11885" y="2207"/>
                  </a:lnTo>
                  <a:lnTo>
                    <a:pt x="11901" y="2213"/>
                  </a:lnTo>
                  <a:lnTo>
                    <a:pt x="11916" y="2222"/>
                  </a:lnTo>
                  <a:lnTo>
                    <a:pt x="11930" y="2232"/>
                  </a:lnTo>
                  <a:lnTo>
                    <a:pt x="11943" y="2243"/>
                  </a:lnTo>
                  <a:lnTo>
                    <a:pt x="11959" y="2251"/>
                  </a:lnTo>
                  <a:lnTo>
                    <a:pt x="11974" y="2257"/>
                  </a:lnTo>
                  <a:lnTo>
                    <a:pt x="11992" y="2257"/>
                  </a:lnTo>
                  <a:lnTo>
                    <a:pt x="12037" y="2250"/>
                  </a:lnTo>
                  <a:lnTo>
                    <a:pt x="12056" y="2248"/>
                  </a:lnTo>
                  <a:lnTo>
                    <a:pt x="12073" y="2249"/>
                  </a:lnTo>
                  <a:lnTo>
                    <a:pt x="12088" y="2254"/>
                  </a:lnTo>
                  <a:lnTo>
                    <a:pt x="12102" y="2264"/>
                  </a:lnTo>
                  <a:lnTo>
                    <a:pt x="12109" y="2272"/>
                  </a:lnTo>
                  <a:lnTo>
                    <a:pt x="12116" y="2281"/>
                  </a:lnTo>
                  <a:lnTo>
                    <a:pt x="12130" y="2305"/>
                  </a:lnTo>
                  <a:lnTo>
                    <a:pt x="12143" y="2327"/>
                  </a:lnTo>
                  <a:lnTo>
                    <a:pt x="12153" y="2341"/>
                  </a:lnTo>
                  <a:lnTo>
                    <a:pt x="12162" y="2350"/>
                  </a:lnTo>
                  <a:lnTo>
                    <a:pt x="12173" y="2355"/>
                  </a:lnTo>
                  <a:lnTo>
                    <a:pt x="12197" y="2360"/>
                  </a:lnTo>
                  <a:lnTo>
                    <a:pt x="12214" y="2365"/>
                  </a:lnTo>
                  <a:lnTo>
                    <a:pt x="12234" y="2373"/>
                  </a:lnTo>
                  <a:lnTo>
                    <a:pt x="12257" y="2388"/>
                  </a:lnTo>
                  <a:lnTo>
                    <a:pt x="12265" y="2396"/>
                  </a:lnTo>
                  <a:lnTo>
                    <a:pt x="12271" y="2405"/>
                  </a:lnTo>
                  <a:lnTo>
                    <a:pt x="12278" y="2425"/>
                  </a:lnTo>
                  <a:lnTo>
                    <a:pt x="12279" y="2446"/>
                  </a:lnTo>
                  <a:lnTo>
                    <a:pt x="12280" y="2466"/>
                  </a:lnTo>
                  <a:lnTo>
                    <a:pt x="12282" y="2488"/>
                  </a:lnTo>
                  <a:lnTo>
                    <a:pt x="12287" y="2507"/>
                  </a:lnTo>
                  <a:lnTo>
                    <a:pt x="12292" y="2516"/>
                  </a:lnTo>
                  <a:lnTo>
                    <a:pt x="12300" y="2524"/>
                  </a:lnTo>
                  <a:lnTo>
                    <a:pt x="12333" y="2556"/>
                  </a:lnTo>
                  <a:lnTo>
                    <a:pt x="12347" y="2569"/>
                  </a:lnTo>
                  <a:lnTo>
                    <a:pt x="12356" y="2583"/>
                  </a:lnTo>
                  <a:lnTo>
                    <a:pt x="12361" y="2598"/>
                  </a:lnTo>
                  <a:lnTo>
                    <a:pt x="12362" y="2615"/>
                  </a:lnTo>
                  <a:lnTo>
                    <a:pt x="12359" y="2636"/>
                  </a:lnTo>
                  <a:lnTo>
                    <a:pt x="12348" y="2663"/>
                  </a:lnTo>
                  <a:lnTo>
                    <a:pt x="12337" y="2690"/>
                  </a:lnTo>
                  <a:lnTo>
                    <a:pt x="12333" y="2711"/>
                  </a:lnTo>
                  <a:lnTo>
                    <a:pt x="12336" y="2731"/>
                  </a:lnTo>
                  <a:lnTo>
                    <a:pt x="12343" y="2750"/>
                  </a:lnTo>
                  <a:lnTo>
                    <a:pt x="12352" y="2769"/>
                  </a:lnTo>
                  <a:lnTo>
                    <a:pt x="12360" y="2787"/>
                  </a:lnTo>
                  <a:lnTo>
                    <a:pt x="12364" y="2806"/>
                  </a:lnTo>
                  <a:lnTo>
                    <a:pt x="12360" y="2828"/>
                  </a:lnTo>
                  <a:lnTo>
                    <a:pt x="12355" y="2838"/>
                  </a:lnTo>
                  <a:lnTo>
                    <a:pt x="12347" y="2851"/>
                  </a:lnTo>
                  <a:lnTo>
                    <a:pt x="12321" y="2877"/>
                  </a:lnTo>
                  <a:lnTo>
                    <a:pt x="12302" y="2893"/>
                  </a:lnTo>
                  <a:lnTo>
                    <a:pt x="12291" y="2907"/>
                  </a:lnTo>
                  <a:lnTo>
                    <a:pt x="12284" y="2918"/>
                  </a:lnTo>
                  <a:lnTo>
                    <a:pt x="12282" y="2929"/>
                  </a:lnTo>
                  <a:lnTo>
                    <a:pt x="12282" y="2953"/>
                  </a:lnTo>
                  <a:lnTo>
                    <a:pt x="12278" y="2993"/>
                  </a:lnTo>
                  <a:lnTo>
                    <a:pt x="12274" y="3007"/>
                  </a:lnTo>
                  <a:lnTo>
                    <a:pt x="12269" y="3019"/>
                  </a:lnTo>
                  <a:lnTo>
                    <a:pt x="12262" y="3028"/>
                  </a:lnTo>
                  <a:lnTo>
                    <a:pt x="12255" y="3035"/>
                  </a:lnTo>
                  <a:lnTo>
                    <a:pt x="12237" y="3046"/>
                  </a:lnTo>
                  <a:lnTo>
                    <a:pt x="12216" y="3053"/>
                  </a:lnTo>
                  <a:lnTo>
                    <a:pt x="12196" y="3058"/>
                  </a:lnTo>
                  <a:lnTo>
                    <a:pt x="12177" y="3065"/>
                  </a:lnTo>
                  <a:lnTo>
                    <a:pt x="12168" y="3069"/>
                  </a:lnTo>
                  <a:lnTo>
                    <a:pt x="12159" y="3074"/>
                  </a:lnTo>
                  <a:lnTo>
                    <a:pt x="12151" y="3081"/>
                  </a:lnTo>
                  <a:lnTo>
                    <a:pt x="12144" y="3089"/>
                  </a:lnTo>
                  <a:lnTo>
                    <a:pt x="12121" y="3130"/>
                  </a:lnTo>
                  <a:lnTo>
                    <a:pt x="12111" y="3145"/>
                  </a:lnTo>
                  <a:lnTo>
                    <a:pt x="12100" y="3158"/>
                  </a:lnTo>
                  <a:lnTo>
                    <a:pt x="12087" y="3167"/>
                  </a:lnTo>
                  <a:lnTo>
                    <a:pt x="12070" y="3171"/>
                  </a:lnTo>
                  <a:lnTo>
                    <a:pt x="12048" y="3172"/>
                  </a:lnTo>
                  <a:lnTo>
                    <a:pt x="12020" y="3168"/>
                  </a:lnTo>
                  <a:lnTo>
                    <a:pt x="11989" y="3163"/>
                  </a:lnTo>
                  <a:lnTo>
                    <a:pt x="11971" y="3163"/>
                  </a:lnTo>
                  <a:lnTo>
                    <a:pt x="11953" y="3172"/>
                  </a:lnTo>
                  <a:lnTo>
                    <a:pt x="11929" y="3189"/>
                  </a:lnTo>
                  <a:lnTo>
                    <a:pt x="11910" y="3202"/>
                  </a:lnTo>
                  <a:lnTo>
                    <a:pt x="11887" y="3213"/>
                  </a:lnTo>
                  <a:lnTo>
                    <a:pt x="11887" y="4017"/>
                  </a:lnTo>
                  <a:lnTo>
                    <a:pt x="11933" y="3925"/>
                  </a:lnTo>
                  <a:lnTo>
                    <a:pt x="11961" y="3877"/>
                  </a:lnTo>
                  <a:lnTo>
                    <a:pt x="11994" y="3829"/>
                  </a:lnTo>
                  <a:lnTo>
                    <a:pt x="12014" y="3808"/>
                  </a:lnTo>
                  <a:lnTo>
                    <a:pt x="12035" y="3787"/>
                  </a:lnTo>
                  <a:lnTo>
                    <a:pt x="12060" y="3769"/>
                  </a:lnTo>
                  <a:lnTo>
                    <a:pt x="12073" y="3762"/>
                  </a:lnTo>
                  <a:lnTo>
                    <a:pt x="12085" y="3754"/>
                  </a:lnTo>
                  <a:lnTo>
                    <a:pt x="12115" y="3741"/>
                  </a:lnTo>
                  <a:lnTo>
                    <a:pt x="12148" y="3731"/>
                  </a:lnTo>
                  <a:lnTo>
                    <a:pt x="12184" y="3725"/>
                  </a:lnTo>
                  <a:lnTo>
                    <a:pt x="12224" y="3723"/>
                  </a:lnTo>
                  <a:lnTo>
                    <a:pt x="12283" y="3727"/>
                  </a:lnTo>
                  <a:lnTo>
                    <a:pt x="12341" y="3739"/>
                  </a:lnTo>
                  <a:lnTo>
                    <a:pt x="12368" y="3748"/>
                  </a:lnTo>
                  <a:lnTo>
                    <a:pt x="12395" y="3758"/>
                  </a:lnTo>
                  <a:lnTo>
                    <a:pt x="12420" y="3769"/>
                  </a:lnTo>
                  <a:lnTo>
                    <a:pt x="12446" y="3782"/>
                  </a:lnTo>
                  <a:lnTo>
                    <a:pt x="12446" y="3681"/>
                  </a:lnTo>
                  <a:lnTo>
                    <a:pt x="12447" y="3672"/>
                  </a:lnTo>
                  <a:lnTo>
                    <a:pt x="12452" y="3666"/>
                  </a:lnTo>
                  <a:lnTo>
                    <a:pt x="12459" y="3662"/>
                  </a:lnTo>
                  <a:lnTo>
                    <a:pt x="12465" y="3661"/>
                  </a:lnTo>
                  <a:lnTo>
                    <a:pt x="12473" y="3662"/>
                  </a:lnTo>
                  <a:lnTo>
                    <a:pt x="12479" y="3666"/>
                  </a:lnTo>
                  <a:lnTo>
                    <a:pt x="12484" y="3672"/>
                  </a:lnTo>
                  <a:lnTo>
                    <a:pt x="12486" y="3681"/>
                  </a:lnTo>
                  <a:close/>
                  <a:moveTo>
                    <a:pt x="12630" y="4171"/>
                  </a:moveTo>
                  <a:lnTo>
                    <a:pt x="12628" y="4130"/>
                  </a:lnTo>
                  <a:lnTo>
                    <a:pt x="12621" y="4089"/>
                  </a:lnTo>
                  <a:lnTo>
                    <a:pt x="12613" y="4051"/>
                  </a:lnTo>
                  <a:lnTo>
                    <a:pt x="12598" y="4012"/>
                  </a:lnTo>
                  <a:lnTo>
                    <a:pt x="12582" y="3976"/>
                  </a:lnTo>
                  <a:lnTo>
                    <a:pt x="12561" y="3943"/>
                  </a:lnTo>
                  <a:lnTo>
                    <a:pt x="12537" y="3911"/>
                  </a:lnTo>
                  <a:lnTo>
                    <a:pt x="12511" y="3883"/>
                  </a:lnTo>
                  <a:lnTo>
                    <a:pt x="12482" y="3856"/>
                  </a:lnTo>
                  <a:lnTo>
                    <a:pt x="12451" y="3833"/>
                  </a:lnTo>
                  <a:lnTo>
                    <a:pt x="12418" y="3813"/>
                  </a:lnTo>
                  <a:lnTo>
                    <a:pt x="12382" y="3795"/>
                  </a:lnTo>
                  <a:lnTo>
                    <a:pt x="12345" y="3781"/>
                  </a:lnTo>
                  <a:lnTo>
                    <a:pt x="12306" y="3772"/>
                  </a:lnTo>
                  <a:lnTo>
                    <a:pt x="12265" y="3765"/>
                  </a:lnTo>
                  <a:lnTo>
                    <a:pt x="12224" y="3763"/>
                  </a:lnTo>
                  <a:lnTo>
                    <a:pt x="12197" y="3764"/>
                  </a:lnTo>
                  <a:lnTo>
                    <a:pt x="12173" y="3767"/>
                  </a:lnTo>
                  <a:lnTo>
                    <a:pt x="12150" y="3772"/>
                  </a:lnTo>
                  <a:lnTo>
                    <a:pt x="12128" y="3780"/>
                  </a:lnTo>
                  <a:lnTo>
                    <a:pt x="12089" y="3797"/>
                  </a:lnTo>
                  <a:lnTo>
                    <a:pt x="12073" y="3809"/>
                  </a:lnTo>
                  <a:lnTo>
                    <a:pt x="12057" y="3822"/>
                  </a:lnTo>
                  <a:lnTo>
                    <a:pt x="12029" y="3850"/>
                  </a:lnTo>
                  <a:lnTo>
                    <a:pt x="12005" y="3881"/>
                  </a:lnTo>
                  <a:lnTo>
                    <a:pt x="11984" y="3915"/>
                  </a:lnTo>
                  <a:lnTo>
                    <a:pt x="11965" y="3950"/>
                  </a:lnTo>
                  <a:lnTo>
                    <a:pt x="11932" y="4017"/>
                  </a:lnTo>
                  <a:lnTo>
                    <a:pt x="11915" y="4049"/>
                  </a:lnTo>
                  <a:lnTo>
                    <a:pt x="11897" y="4077"/>
                  </a:lnTo>
                  <a:lnTo>
                    <a:pt x="11878" y="4102"/>
                  </a:lnTo>
                  <a:lnTo>
                    <a:pt x="11866" y="4112"/>
                  </a:lnTo>
                  <a:lnTo>
                    <a:pt x="11855" y="4120"/>
                  </a:lnTo>
                  <a:lnTo>
                    <a:pt x="11843" y="4127"/>
                  </a:lnTo>
                  <a:lnTo>
                    <a:pt x="11830" y="4132"/>
                  </a:lnTo>
                  <a:lnTo>
                    <a:pt x="11800" y="4136"/>
                  </a:lnTo>
                  <a:lnTo>
                    <a:pt x="11783" y="4135"/>
                  </a:lnTo>
                  <a:lnTo>
                    <a:pt x="11766" y="4131"/>
                  </a:lnTo>
                  <a:lnTo>
                    <a:pt x="11750" y="4126"/>
                  </a:lnTo>
                  <a:lnTo>
                    <a:pt x="11734" y="4120"/>
                  </a:lnTo>
                  <a:lnTo>
                    <a:pt x="11702" y="4109"/>
                  </a:lnTo>
                  <a:lnTo>
                    <a:pt x="11685" y="4106"/>
                  </a:lnTo>
                  <a:lnTo>
                    <a:pt x="11669" y="4104"/>
                  </a:lnTo>
                  <a:lnTo>
                    <a:pt x="11625" y="4108"/>
                  </a:lnTo>
                  <a:lnTo>
                    <a:pt x="11603" y="4112"/>
                  </a:lnTo>
                  <a:lnTo>
                    <a:pt x="11584" y="4118"/>
                  </a:lnTo>
                  <a:lnTo>
                    <a:pt x="11565" y="4127"/>
                  </a:lnTo>
                  <a:lnTo>
                    <a:pt x="11546" y="4136"/>
                  </a:lnTo>
                  <a:lnTo>
                    <a:pt x="11529" y="4148"/>
                  </a:lnTo>
                  <a:lnTo>
                    <a:pt x="11512" y="4161"/>
                  </a:lnTo>
                  <a:lnTo>
                    <a:pt x="11498" y="4175"/>
                  </a:lnTo>
                  <a:lnTo>
                    <a:pt x="11484" y="4190"/>
                  </a:lnTo>
                  <a:lnTo>
                    <a:pt x="11471" y="4208"/>
                  </a:lnTo>
                  <a:lnTo>
                    <a:pt x="11461" y="4226"/>
                  </a:lnTo>
                  <a:lnTo>
                    <a:pt x="11452" y="4245"/>
                  </a:lnTo>
                  <a:lnTo>
                    <a:pt x="11444" y="4265"/>
                  </a:lnTo>
                  <a:lnTo>
                    <a:pt x="11438" y="4286"/>
                  </a:lnTo>
                  <a:lnTo>
                    <a:pt x="11434" y="4309"/>
                  </a:lnTo>
                  <a:lnTo>
                    <a:pt x="12171" y="4309"/>
                  </a:lnTo>
                  <a:lnTo>
                    <a:pt x="12177" y="4305"/>
                  </a:lnTo>
                  <a:lnTo>
                    <a:pt x="12184" y="4304"/>
                  </a:lnTo>
                  <a:lnTo>
                    <a:pt x="12609" y="4304"/>
                  </a:lnTo>
                  <a:lnTo>
                    <a:pt x="12618" y="4271"/>
                  </a:lnTo>
                  <a:lnTo>
                    <a:pt x="12625" y="4239"/>
                  </a:lnTo>
                  <a:lnTo>
                    <a:pt x="12629" y="4204"/>
                  </a:lnTo>
                  <a:lnTo>
                    <a:pt x="12630" y="4171"/>
                  </a:lnTo>
                  <a:close/>
                  <a:moveTo>
                    <a:pt x="11425" y="3810"/>
                  </a:moveTo>
                  <a:lnTo>
                    <a:pt x="11524" y="3712"/>
                  </a:lnTo>
                  <a:lnTo>
                    <a:pt x="11532" y="3707"/>
                  </a:lnTo>
                  <a:lnTo>
                    <a:pt x="11539" y="3705"/>
                  </a:lnTo>
                  <a:lnTo>
                    <a:pt x="11547" y="3707"/>
                  </a:lnTo>
                  <a:lnTo>
                    <a:pt x="11553" y="3712"/>
                  </a:lnTo>
                  <a:lnTo>
                    <a:pt x="11557" y="3717"/>
                  </a:lnTo>
                  <a:lnTo>
                    <a:pt x="11558" y="3725"/>
                  </a:lnTo>
                  <a:lnTo>
                    <a:pt x="11557" y="3732"/>
                  </a:lnTo>
                  <a:lnTo>
                    <a:pt x="11553" y="3740"/>
                  </a:lnTo>
                  <a:lnTo>
                    <a:pt x="11426" y="3866"/>
                  </a:lnTo>
                  <a:lnTo>
                    <a:pt x="11425" y="3895"/>
                  </a:lnTo>
                  <a:lnTo>
                    <a:pt x="11460" y="3892"/>
                  </a:lnTo>
                  <a:lnTo>
                    <a:pt x="11494" y="3884"/>
                  </a:lnTo>
                  <a:lnTo>
                    <a:pt x="11528" y="3874"/>
                  </a:lnTo>
                  <a:lnTo>
                    <a:pt x="11558" y="3861"/>
                  </a:lnTo>
                  <a:lnTo>
                    <a:pt x="11589" y="3846"/>
                  </a:lnTo>
                  <a:lnTo>
                    <a:pt x="11617" y="3828"/>
                  </a:lnTo>
                  <a:lnTo>
                    <a:pt x="11643" y="3806"/>
                  </a:lnTo>
                  <a:lnTo>
                    <a:pt x="11667" y="3783"/>
                  </a:lnTo>
                  <a:lnTo>
                    <a:pt x="11689" y="3758"/>
                  </a:lnTo>
                  <a:lnTo>
                    <a:pt x="11710" y="3731"/>
                  </a:lnTo>
                  <a:lnTo>
                    <a:pt x="11726" y="3702"/>
                  </a:lnTo>
                  <a:lnTo>
                    <a:pt x="11741" y="3671"/>
                  </a:lnTo>
                  <a:lnTo>
                    <a:pt x="11752" y="3639"/>
                  </a:lnTo>
                  <a:lnTo>
                    <a:pt x="11761" y="3606"/>
                  </a:lnTo>
                  <a:lnTo>
                    <a:pt x="11766" y="3571"/>
                  </a:lnTo>
                  <a:lnTo>
                    <a:pt x="11767" y="3535"/>
                  </a:lnTo>
                  <a:lnTo>
                    <a:pt x="11765" y="3498"/>
                  </a:lnTo>
                  <a:lnTo>
                    <a:pt x="11760" y="3462"/>
                  </a:lnTo>
                  <a:lnTo>
                    <a:pt x="11751" y="3428"/>
                  </a:lnTo>
                  <a:lnTo>
                    <a:pt x="11739" y="3395"/>
                  </a:lnTo>
                  <a:lnTo>
                    <a:pt x="11724" y="3363"/>
                  </a:lnTo>
                  <a:lnTo>
                    <a:pt x="11706" y="3333"/>
                  </a:lnTo>
                  <a:lnTo>
                    <a:pt x="11684" y="3305"/>
                  </a:lnTo>
                  <a:lnTo>
                    <a:pt x="11661" y="3280"/>
                  </a:lnTo>
                  <a:lnTo>
                    <a:pt x="11635" y="3257"/>
                  </a:lnTo>
                  <a:lnTo>
                    <a:pt x="11608" y="3236"/>
                  </a:lnTo>
                  <a:lnTo>
                    <a:pt x="11578" y="3218"/>
                  </a:lnTo>
                  <a:lnTo>
                    <a:pt x="11547" y="3203"/>
                  </a:lnTo>
                  <a:lnTo>
                    <a:pt x="11530" y="3196"/>
                  </a:lnTo>
                  <a:lnTo>
                    <a:pt x="11514" y="3190"/>
                  </a:lnTo>
                  <a:lnTo>
                    <a:pt x="11479" y="3181"/>
                  </a:lnTo>
                  <a:lnTo>
                    <a:pt x="11443" y="3176"/>
                  </a:lnTo>
                  <a:lnTo>
                    <a:pt x="11406" y="3175"/>
                  </a:lnTo>
                  <a:lnTo>
                    <a:pt x="11369" y="3176"/>
                  </a:lnTo>
                  <a:lnTo>
                    <a:pt x="11333" y="3181"/>
                  </a:lnTo>
                  <a:lnTo>
                    <a:pt x="11298" y="3190"/>
                  </a:lnTo>
                  <a:lnTo>
                    <a:pt x="11265" y="3203"/>
                  </a:lnTo>
                  <a:lnTo>
                    <a:pt x="11233" y="3218"/>
                  </a:lnTo>
                  <a:lnTo>
                    <a:pt x="11203" y="3236"/>
                  </a:lnTo>
                  <a:lnTo>
                    <a:pt x="11175" y="3257"/>
                  </a:lnTo>
                  <a:lnTo>
                    <a:pt x="11149" y="3280"/>
                  </a:lnTo>
                  <a:lnTo>
                    <a:pt x="11126" y="3305"/>
                  </a:lnTo>
                  <a:lnTo>
                    <a:pt x="11106" y="3333"/>
                  </a:lnTo>
                  <a:lnTo>
                    <a:pt x="11088" y="3363"/>
                  </a:lnTo>
                  <a:lnTo>
                    <a:pt x="11072" y="3395"/>
                  </a:lnTo>
                  <a:lnTo>
                    <a:pt x="11066" y="3411"/>
                  </a:lnTo>
                  <a:lnTo>
                    <a:pt x="11060" y="3428"/>
                  </a:lnTo>
                  <a:lnTo>
                    <a:pt x="11051" y="3462"/>
                  </a:lnTo>
                  <a:lnTo>
                    <a:pt x="11046" y="3498"/>
                  </a:lnTo>
                  <a:lnTo>
                    <a:pt x="11044" y="3535"/>
                  </a:lnTo>
                  <a:lnTo>
                    <a:pt x="11046" y="3570"/>
                  </a:lnTo>
                  <a:lnTo>
                    <a:pt x="11051" y="3606"/>
                  </a:lnTo>
                  <a:lnTo>
                    <a:pt x="11060" y="3639"/>
                  </a:lnTo>
                  <a:lnTo>
                    <a:pt x="11070" y="3671"/>
                  </a:lnTo>
                  <a:lnTo>
                    <a:pt x="11085" y="3702"/>
                  </a:lnTo>
                  <a:lnTo>
                    <a:pt x="11102" y="3731"/>
                  </a:lnTo>
                  <a:lnTo>
                    <a:pt x="11121" y="3758"/>
                  </a:lnTo>
                  <a:lnTo>
                    <a:pt x="11143" y="3783"/>
                  </a:lnTo>
                  <a:lnTo>
                    <a:pt x="11167" y="3806"/>
                  </a:lnTo>
                  <a:lnTo>
                    <a:pt x="11193" y="3827"/>
                  </a:lnTo>
                  <a:lnTo>
                    <a:pt x="11221" y="3846"/>
                  </a:lnTo>
                  <a:lnTo>
                    <a:pt x="11252" y="3861"/>
                  </a:lnTo>
                  <a:lnTo>
                    <a:pt x="11283" y="3874"/>
                  </a:lnTo>
                  <a:lnTo>
                    <a:pt x="11316" y="3884"/>
                  </a:lnTo>
                  <a:lnTo>
                    <a:pt x="11349" y="3891"/>
                  </a:lnTo>
                  <a:lnTo>
                    <a:pt x="11385" y="3895"/>
                  </a:lnTo>
                  <a:lnTo>
                    <a:pt x="11385" y="3757"/>
                  </a:lnTo>
                  <a:lnTo>
                    <a:pt x="11258" y="3631"/>
                  </a:lnTo>
                  <a:lnTo>
                    <a:pt x="11253" y="3624"/>
                  </a:lnTo>
                  <a:lnTo>
                    <a:pt x="11252" y="3616"/>
                  </a:lnTo>
                  <a:lnTo>
                    <a:pt x="11255" y="3608"/>
                  </a:lnTo>
                  <a:lnTo>
                    <a:pt x="11258" y="3602"/>
                  </a:lnTo>
                  <a:lnTo>
                    <a:pt x="11265" y="3598"/>
                  </a:lnTo>
                  <a:lnTo>
                    <a:pt x="11271" y="3597"/>
                  </a:lnTo>
                  <a:lnTo>
                    <a:pt x="11279" y="3598"/>
                  </a:lnTo>
                  <a:lnTo>
                    <a:pt x="11287" y="3602"/>
                  </a:lnTo>
                  <a:lnTo>
                    <a:pt x="11385" y="3700"/>
                  </a:lnTo>
                  <a:lnTo>
                    <a:pt x="11385" y="3589"/>
                  </a:lnTo>
                  <a:lnTo>
                    <a:pt x="11385" y="3581"/>
                  </a:lnTo>
                  <a:lnTo>
                    <a:pt x="11385" y="3447"/>
                  </a:lnTo>
                  <a:lnTo>
                    <a:pt x="11387" y="3439"/>
                  </a:lnTo>
                  <a:lnTo>
                    <a:pt x="11392" y="3433"/>
                  </a:lnTo>
                  <a:lnTo>
                    <a:pt x="11398" y="3429"/>
                  </a:lnTo>
                  <a:lnTo>
                    <a:pt x="11405" y="3428"/>
                  </a:lnTo>
                  <a:lnTo>
                    <a:pt x="11412" y="3429"/>
                  </a:lnTo>
                  <a:lnTo>
                    <a:pt x="11419" y="3433"/>
                  </a:lnTo>
                  <a:lnTo>
                    <a:pt x="11424" y="3439"/>
                  </a:lnTo>
                  <a:lnTo>
                    <a:pt x="11425" y="3447"/>
                  </a:lnTo>
                  <a:lnTo>
                    <a:pt x="11425" y="3537"/>
                  </a:lnTo>
                  <a:lnTo>
                    <a:pt x="11517" y="3445"/>
                  </a:lnTo>
                  <a:lnTo>
                    <a:pt x="11525" y="3439"/>
                  </a:lnTo>
                  <a:lnTo>
                    <a:pt x="11533" y="3438"/>
                  </a:lnTo>
                  <a:lnTo>
                    <a:pt x="11541" y="3441"/>
                  </a:lnTo>
                  <a:lnTo>
                    <a:pt x="11546" y="3445"/>
                  </a:lnTo>
                  <a:lnTo>
                    <a:pt x="11551" y="3451"/>
                  </a:lnTo>
                  <a:lnTo>
                    <a:pt x="11552" y="3457"/>
                  </a:lnTo>
                  <a:lnTo>
                    <a:pt x="11551" y="3465"/>
                  </a:lnTo>
                  <a:lnTo>
                    <a:pt x="11546" y="3473"/>
                  </a:lnTo>
                  <a:lnTo>
                    <a:pt x="11425" y="3593"/>
                  </a:lnTo>
                  <a:lnTo>
                    <a:pt x="11425" y="3810"/>
                  </a:lnTo>
                  <a:close/>
                  <a:moveTo>
                    <a:pt x="11847" y="2875"/>
                  </a:moveTo>
                  <a:lnTo>
                    <a:pt x="11847" y="2753"/>
                  </a:lnTo>
                  <a:lnTo>
                    <a:pt x="11743" y="2650"/>
                  </a:lnTo>
                  <a:lnTo>
                    <a:pt x="11738" y="2643"/>
                  </a:lnTo>
                  <a:lnTo>
                    <a:pt x="11737" y="2635"/>
                  </a:lnTo>
                  <a:lnTo>
                    <a:pt x="11739" y="2627"/>
                  </a:lnTo>
                  <a:lnTo>
                    <a:pt x="11743" y="2622"/>
                  </a:lnTo>
                  <a:lnTo>
                    <a:pt x="11750" y="2617"/>
                  </a:lnTo>
                  <a:lnTo>
                    <a:pt x="11757" y="2616"/>
                  </a:lnTo>
                  <a:lnTo>
                    <a:pt x="11764" y="2617"/>
                  </a:lnTo>
                  <a:lnTo>
                    <a:pt x="11771" y="2622"/>
                  </a:lnTo>
                  <a:lnTo>
                    <a:pt x="11847" y="2696"/>
                  </a:lnTo>
                  <a:lnTo>
                    <a:pt x="11847" y="2643"/>
                  </a:lnTo>
                  <a:lnTo>
                    <a:pt x="11848" y="2634"/>
                  </a:lnTo>
                  <a:lnTo>
                    <a:pt x="11853" y="2627"/>
                  </a:lnTo>
                  <a:lnTo>
                    <a:pt x="11860" y="2624"/>
                  </a:lnTo>
                  <a:lnTo>
                    <a:pt x="11866" y="2622"/>
                  </a:lnTo>
                  <a:lnTo>
                    <a:pt x="11874" y="2624"/>
                  </a:lnTo>
                  <a:lnTo>
                    <a:pt x="11880" y="2627"/>
                  </a:lnTo>
                  <a:lnTo>
                    <a:pt x="11885" y="2634"/>
                  </a:lnTo>
                  <a:lnTo>
                    <a:pt x="11887" y="2643"/>
                  </a:lnTo>
                  <a:lnTo>
                    <a:pt x="11887" y="2741"/>
                  </a:lnTo>
                  <a:lnTo>
                    <a:pt x="11887" y="2748"/>
                  </a:lnTo>
                  <a:lnTo>
                    <a:pt x="11887" y="2831"/>
                  </a:lnTo>
                  <a:lnTo>
                    <a:pt x="12024" y="2693"/>
                  </a:lnTo>
                  <a:lnTo>
                    <a:pt x="12032" y="2688"/>
                  </a:lnTo>
                  <a:lnTo>
                    <a:pt x="12039" y="2686"/>
                  </a:lnTo>
                  <a:lnTo>
                    <a:pt x="12047" y="2689"/>
                  </a:lnTo>
                  <a:lnTo>
                    <a:pt x="12052" y="2693"/>
                  </a:lnTo>
                  <a:lnTo>
                    <a:pt x="12057" y="2699"/>
                  </a:lnTo>
                  <a:lnTo>
                    <a:pt x="12059" y="2707"/>
                  </a:lnTo>
                  <a:lnTo>
                    <a:pt x="12057" y="2714"/>
                  </a:lnTo>
                  <a:lnTo>
                    <a:pt x="12052" y="2721"/>
                  </a:lnTo>
                  <a:lnTo>
                    <a:pt x="11887" y="2887"/>
                  </a:lnTo>
                  <a:lnTo>
                    <a:pt x="11887" y="2960"/>
                  </a:lnTo>
                  <a:lnTo>
                    <a:pt x="11887" y="2968"/>
                  </a:lnTo>
                  <a:lnTo>
                    <a:pt x="11887" y="3172"/>
                  </a:lnTo>
                  <a:lnTo>
                    <a:pt x="11897" y="3164"/>
                  </a:lnTo>
                  <a:lnTo>
                    <a:pt x="11907" y="3156"/>
                  </a:lnTo>
                  <a:lnTo>
                    <a:pt x="11919" y="3147"/>
                  </a:lnTo>
                  <a:lnTo>
                    <a:pt x="11932" y="3138"/>
                  </a:lnTo>
                  <a:lnTo>
                    <a:pt x="11947" y="3130"/>
                  </a:lnTo>
                  <a:lnTo>
                    <a:pt x="11968" y="3126"/>
                  </a:lnTo>
                  <a:lnTo>
                    <a:pt x="11993" y="3125"/>
                  </a:lnTo>
                  <a:lnTo>
                    <a:pt x="12027" y="3129"/>
                  </a:lnTo>
                  <a:lnTo>
                    <a:pt x="12043" y="3131"/>
                  </a:lnTo>
                  <a:lnTo>
                    <a:pt x="12056" y="3131"/>
                  </a:lnTo>
                  <a:lnTo>
                    <a:pt x="12066" y="3129"/>
                  </a:lnTo>
                  <a:lnTo>
                    <a:pt x="12075" y="3125"/>
                  </a:lnTo>
                  <a:lnTo>
                    <a:pt x="12088" y="3112"/>
                  </a:lnTo>
                  <a:lnTo>
                    <a:pt x="12097" y="3097"/>
                  </a:lnTo>
                  <a:lnTo>
                    <a:pt x="12106" y="3078"/>
                  </a:lnTo>
                  <a:lnTo>
                    <a:pt x="12118" y="3058"/>
                  </a:lnTo>
                  <a:lnTo>
                    <a:pt x="12135" y="3040"/>
                  </a:lnTo>
                  <a:lnTo>
                    <a:pt x="12148" y="3033"/>
                  </a:lnTo>
                  <a:lnTo>
                    <a:pt x="12162" y="3026"/>
                  </a:lnTo>
                  <a:lnTo>
                    <a:pt x="12211" y="3012"/>
                  </a:lnTo>
                  <a:lnTo>
                    <a:pt x="12224" y="3007"/>
                  </a:lnTo>
                  <a:lnTo>
                    <a:pt x="12232" y="3001"/>
                  </a:lnTo>
                  <a:lnTo>
                    <a:pt x="12237" y="2992"/>
                  </a:lnTo>
                  <a:lnTo>
                    <a:pt x="12238" y="2978"/>
                  </a:lnTo>
                  <a:lnTo>
                    <a:pt x="12242" y="2928"/>
                  </a:lnTo>
                  <a:lnTo>
                    <a:pt x="12244" y="2911"/>
                  </a:lnTo>
                  <a:lnTo>
                    <a:pt x="12250" y="2897"/>
                  </a:lnTo>
                  <a:lnTo>
                    <a:pt x="12262" y="2875"/>
                  </a:lnTo>
                  <a:lnTo>
                    <a:pt x="12270" y="2868"/>
                  </a:lnTo>
                  <a:lnTo>
                    <a:pt x="12279" y="2860"/>
                  </a:lnTo>
                  <a:lnTo>
                    <a:pt x="12296" y="2847"/>
                  </a:lnTo>
                  <a:lnTo>
                    <a:pt x="12310" y="2836"/>
                  </a:lnTo>
                  <a:lnTo>
                    <a:pt x="12315" y="2828"/>
                  </a:lnTo>
                  <a:lnTo>
                    <a:pt x="12319" y="2821"/>
                  </a:lnTo>
                  <a:lnTo>
                    <a:pt x="12320" y="2812"/>
                  </a:lnTo>
                  <a:lnTo>
                    <a:pt x="12320" y="2801"/>
                  </a:lnTo>
                  <a:lnTo>
                    <a:pt x="12312" y="2773"/>
                  </a:lnTo>
                  <a:lnTo>
                    <a:pt x="12300" y="2743"/>
                  </a:lnTo>
                  <a:lnTo>
                    <a:pt x="12294" y="2727"/>
                  </a:lnTo>
                  <a:lnTo>
                    <a:pt x="12293" y="2711"/>
                  </a:lnTo>
                  <a:lnTo>
                    <a:pt x="12294" y="2693"/>
                  </a:lnTo>
                  <a:lnTo>
                    <a:pt x="12300" y="2676"/>
                  </a:lnTo>
                  <a:lnTo>
                    <a:pt x="12318" y="2629"/>
                  </a:lnTo>
                  <a:lnTo>
                    <a:pt x="12323" y="2616"/>
                  </a:lnTo>
                  <a:lnTo>
                    <a:pt x="12323" y="2606"/>
                  </a:lnTo>
                  <a:lnTo>
                    <a:pt x="12319" y="2598"/>
                  </a:lnTo>
                  <a:lnTo>
                    <a:pt x="12309" y="2588"/>
                  </a:lnTo>
                  <a:lnTo>
                    <a:pt x="12271" y="2553"/>
                  </a:lnTo>
                  <a:lnTo>
                    <a:pt x="12261" y="2540"/>
                  </a:lnTo>
                  <a:lnTo>
                    <a:pt x="12252" y="2529"/>
                  </a:lnTo>
                  <a:lnTo>
                    <a:pt x="12247" y="2516"/>
                  </a:lnTo>
                  <a:lnTo>
                    <a:pt x="12243" y="2505"/>
                  </a:lnTo>
                  <a:lnTo>
                    <a:pt x="12242" y="2483"/>
                  </a:lnTo>
                  <a:lnTo>
                    <a:pt x="12242" y="2461"/>
                  </a:lnTo>
                  <a:lnTo>
                    <a:pt x="12241" y="2443"/>
                  </a:lnTo>
                  <a:lnTo>
                    <a:pt x="12238" y="2434"/>
                  </a:lnTo>
                  <a:lnTo>
                    <a:pt x="12236" y="2427"/>
                  </a:lnTo>
                  <a:lnTo>
                    <a:pt x="12229" y="2419"/>
                  </a:lnTo>
                  <a:lnTo>
                    <a:pt x="12220" y="2413"/>
                  </a:lnTo>
                  <a:lnTo>
                    <a:pt x="12209" y="2406"/>
                  </a:lnTo>
                  <a:lnTo>
                    <a:pt x="12193" y="2401"/>
                  </a:lnTo>
                  <a:lnTo>
                    <a:pt x="12164" y="2393"/>
                  </a:lnTo>
                  <a:lnTo>
                    <a:pt x="12143" y="2384"/>
                  </a:lnTo>
                  <a:lnTo>
                    <a:pt x="12129" y="2376"/>
                  </a:lnTo>
                  <a:lnTo>
                    <a:pt x="12120" y="2365"/>
                  </a:lnTo>
                  <a:lnTo>
                    <a:pt x="12106" y="2340"/>
                  </a:lnTo>
                  <a:lnTo>
                    <a:pt x="12096" y="2322"/>
                  </a:lnTo>
                  <a:lnTo>
                    <a:pt x="12082" y="2301"/>
                  </a:lnTo>
                  <a:lnTo>
                    <a:pt x="12077" y="2295"/>
                  </a:lnTo>
                  <a:lnTo>
                    <a:pt x="12070" y="2291"/>
                  </a:lnTo>
                  <a:lnTo>
                    <a:pt x="12055" y="2287"/>
                  </a:lnTo>
                  <a:lnTo>
                    <a:pt x="12038" y="2289"/>
                  </a:lnTo>
                  <a:lnTo>
                    <a:pt x="12020" y="2292"/>
                  </a:lnTo>
                  <a:lnTo>
                    <a:pt x="12000" y="2296"/>
                  </a:lnTo>
                  <a:lnTo>
                    <a:pt x="11978" y="2296"/>
                  </a:lnTo>
                  <a:lnTo>
                    <a:pt x="11955" y="2292"/>
                  </a:lnTo>
                  <a:lnTo>
                    <a:pt x="11930" y="2281"/>
                  </a:lnTo>
                  <a:lnTo>
                    <a:pt x="11900" y="2259"/>
                  </a:lnTo>
                  <a:lnTo>
                    <a:pt x="11882" y="2248"/>
                  </a:lnTo>
                  <a:lnTo>
                    <a:pt x="11866" y="2244"/>
                  </a:lnTo>
                  <a:lnTo>
                    <a:pt x="11851" y="2246"/>
                  </a:lnTo>
                  <a:lnTo>
                    <a:pt x="11843" y="2250"/>
                  </a:lnTo>
                  <a:lnTo>
                    <a:pt x="11837" y="2254"/>
                  </a:lnTo>
                  <a:lnTo>
                    <a:pt x="11812" y="2276"/>
                  </a:lnTo>
                  <a:lnTo>
                    <a:pt x="11796" y="2286"/>
                  </a:lnTo>
                  <a:lnTo>
                    <a:pt x="11774" y="2294"/>
                  </a:lnTo>
                  <a:lnTo>
                    <a:pt x="11744" y="2295"/>
                  </a:lnTo>
                  <a:lnTo>
                    <a:pt x="11726" y="2294"/>
                  </a:lnTo>
                  <a:lnTo>
                    <a:pt x="11706" y="2291"/>
                  </a:lnTo>
                  <a:lnTo>
                    <a:pt x="11691" y="2289"/>
                  </a:lnTo>
                  <a:lnTo>
                    <a:pt x="11676" y="2289"/>
                  </a:lnTo>
                  <a:lnTo>
                    <a:pt x="11666" y="2291"/>
                  </a:lnTo>
                  <a:lnTo>
                    <a:pt x="11658" y="2295"/>
                  </a:lnTo>
                  <a:lnTo>
                    <a:pt x="11646" y="2308"/>
                  </a:lnTo>
                  <a:lnTo>
                    <a:pt x="11637" y="2324"/>
                  </a:lnTo>
                  <a:lnTo>
                    <a:pt x="11628" y="2342"/>
                  </a:lnTo>
                  <a:lnTo>
                    <a:pt x="11616" y="2361"/>
                  </a:lnTo>
                  <a:lnTo>
                    <a:pt x="11598" y="2379"/>
                  </a:lnTo>
                  <a:lnTo>
                    <a:pt x="11585" y="2387"/>
                  </a:lnTo>
                  <a:lnTo>
                    <a:pt x="11570" y="2393"/>
                  </a:lnTo>
                  <a:lnTo>
                    <a:pt x="11521" y="2409"/>
                  </a:lnTo>
                  <a:lnTo>
                    <a:pt x="11508" y="2414"/>
                  </a:lnTo>
                  <a:lnTo>
                    <a:pt x="11501" y="2419"/>
                  </a:lnTo>
                  <a:lnTo>
                    <a:pt x="11497" y="2428"/>
                  </a:lnTo>
                  <a:lnTo>
                    <a:pt x="11494" y="2442"/>
                  </a:lnTo>
                  <a:lnTo>
                    <a:pt x="11491" y="2492"/>
                  </a:lnTo>
                  <a:lnTo>
                    <a:pt x="11488" y="2509"/>
                  </a:lnTo>
                  <a:lnTo>
                    <a:pt x="11484" y="2523"/>
                  </a:lnTo>
                  <a:lnTo>
                    <a:pt x="11470" y="2544"/>
                  </a:lnTo>
                  <a:lnTo>
                    <a:pt x="11462" y="2552"/>
                  </a:lnTo>
                  <a:lnTo>
                    <a:pt x="11455" y="2560"/>
                  </a:lnTo>
                  <a:lnTo>
                    <a:pt x="11438" y="2572"/>
                  </a:lnTo>
                  <a:lnTo>
                    <a:pt x="11424" y="2585"/>
                  </a:lnTo>
                  <a:lnTo>
                    <a:pt x="11419" y="2592"/>
                  </a:lnTo>
                  <a:lnTo>
                    <a:pt x="11415" y="2599"/>
                  </a:lnTo>
                  <a:lnTo>
                    <a:pt x="11412" y="2608"/>
                  </a:lnTo>
                  <a:lnTo>
                    <a:pt x="11412" y="2620"/>
                  </a:lnTo>
                  <a:lnTo>
                    <a:pt x="11421" y="2647"/>
                  </a:lnTo>
                  <a:lnTo>
                    <a:pt x="11434" y="2677"/>
                  </a:lnTo>
                  <a:lnTo>
                    <a:pt x="11438" y="2694"/>
                  </a:lnTo>
                  <a:lnTo>
                    <a:pt x="11440" y="2711"/>
                  </a:lnTo>
                  <a:lnTo>
                    <a:pt x="11438" y="2732"/>
                  </a:lnTo>
                  <a:lnTo>
                    <a:pt x="11432" y="2751"/>
                  </a:lnTo>
                  <a:lnTo>
                    <a:pt x="11416" y="2782"/>
                  </a:lnTo>
                  <a:lnTo>
                    <a:pt x="11411" y="2797"/>
                  </a:lnTo>
                  <a:lnTo>
                    <a:pt x="11411" y="2805"/>
                  </a:lnTo>
                  <a:lnTo>
                    <a:pt x="11412" y="2812"/>
                  </a:lnTo>
                  <a:lnTo>
                    <a:pt x="11420" y="2828"/>
                  </a:lnTo>
                  <a:lnTo>
                    <a:pt x="11438" y="2847"/>
                  </a:lnTo>
                  <a:lnTo>
                    <a:pt x="11461" y="2868"/>
                  </a:lnTo>
                  <a:lnTo>
                    <a:pt x="11476" y="2884"/>
                  </a:lnTo>
                  <a:lnTo>
                    <a:pt x="11484" y="2899"/>
                  </a:lnTo>
                  <a:lnTo>
                    <a:pt x="11488" y="2911"/>
                  </a:lnTo>
                  <a:lnTo>
                    <a:pt x="11491" y="2941"/>
                  </a:lnTo>
                  <a:lnTo>
                    <a:pt x="11491" y="2960"/>
                  </a:lnTo>
                  <a:lnTo>
                    <a:pt x="11494" y="2985"/>
                  </a:lnTo>
                  <a:lnTo>
                    <a:pt x="11502" y="3000"/>
                  </a:lnTo>
                  <a:lnTo>
                    <a:pt x="11514" y="3010"/>
                  </a:lnTo>
                  <a:lnTo>
                    <a:pt x="11529" y="3015"/>
                  </a:lnTo>
                  <a:lnTo>
                    <a:pt x="11547" y="3020"/>
                  </a:lnTo>
                  <a:lnTo>
                    <a:pt x="11567" y="3026"/>
                  </a:lnTo>
                  <a:lnTo>
                    <a:pt x="11587" y="3034"/>
                  </a:lnTo>
                  <a:lnTo>
                    <a:pt x="11606" y="3048"/>
                  </a:lnTo>
                  <a:lnTo>
                    <a:pt x="11615" y="3057"/>
                  </a:lnTo>
                  <a:lnTo>
                    <a:pt x="11623" y="3069"/>
                  </a:lnTo>
                  <a:lnTo>
                    <a:pt x="11648" y="3112"/>
                  </a:lnTo>
                  <a:lnTo>
                    <a:pt x="11656" y="3124"/>
                  </a:lnTo>
                  <a:lnTo>
                    <a:pt x="11664" y="3130"/>
                  </a:lnTo>
                  <a:lnTo>
                    <a:pt x="11673" y="3133"/>
                  </a:lnTo>
                  <a:lnTo>
                    <a:pt x="11687" y="3131"/>
                  </a:lnTo>
                  <a:lnTo>
                    <a:pt x="11737" y="3124"/>
                  </a:lnTo>
                  <a:lnTo>
                    <a:pt x="11757" y="3124"/>
                  </a:lnTo>
                  <a:lnTo>
                    <a:pt x="11774" y="3126"/>
                  </a:lnTo>
                  <a:lnTo>
                    <a:pt x="11789" y="3131"/>
                  </a:lnTo>
                  <a:lnTo>
                    <a:pt x="11803" y="3139"/>
                  </a:lnTo>
                  <a:lnTo>
                    <a:pt x="11826" y="3156"/>
                  </a:lnTo>
                  <a:lnTo>
                    <a:pt x="11847" y="3171"/>
                  </a:lnTo>
                  <a:lnTo>
                    <a:pt x="11847" y="2973"/>
                  </a:lnTo>
                  <a:lnTo>
                    <a:pt x="11769" y="2895"/>
                  </a:lnTo>
                  <a:lnTo>
                    <a:pt x="11764" y="2887"/>
                  </a:lnTo>
                  <a:lnTo>
                    <a:pt x="11762" y="2879"/>
                  </a:lnTo>
                  <a:lnTo>
                    <a:pt x="11765" y="2873"/>
                  </a:lnTo>
                  <a:lnTo>
                    <a:pt x="11769" y="2867"/>
                  </a:lnTo>
                  <a:lnTo>
                    <a:pt x="11775" y="2863"/>
                  </a:lnTo>
                  <a:lnTo>
                    <a:pt x="11782" y="2860"/>
                  </a:lnTo>
                  <a:lnTo>
                    <a:pt x="11789" y="2861"/>
                  </a:lnTo>
                  <a:lnTo>
                    <a:pt x="11797" y="2867"/>
                  </a:lnTo>
                  <a:lnTo>
                    <a:pt x="11847" y="2916"/>
                  </a:lnTo>
                  <a:lnTo>
                    <a:pt x="11847" y="2882"/>
                  </a:lnTo>
                  <a:lnTo>
                    <a:pt x="11847" y="2875"/>
                  </a:lnTo>
                  <a:close/>
                  <a:moveTo>
                    <a:pt x="11887" y="2960"/>
                  </a:moveTo>
                  <a:lnTo>
                    <a:pt x="11887" y="2968"/>
                  </a:lnTo>
                  <a:lnTo>
                    <a:pt x="11887" y="2960"/>
                  </a:lnTo>
                  <a:close/>
                  <a:moveTo>
                    <a:pt x="11887" y="2741"/>
                  </a:moveTo>
                  <a:lnTo>
                    <a:pt x="11887" y="2748"/>
                  </a:lnTo>
                  <a:lnTo>
                    <a:pt x="11887" y="2741"/>
                  </a:lnTo>
                  <a:close/>
                  <a:moveTo>
                    <a:pt x="11847" y="2882"/>
                  </a:moveTo>
                  <a:lnTo>
                    <a:pt x="11847" y="2875"/>
                  </a:lnTo>
                  <a:lnTo>
                    <a:pt x="11847" y="2882"/>
                  </a:lnTo>
                  <a:close/>
                  <a:moveTo>
                    <a:pt x="9740" y="1741"/>
                  </a:moveTo>
                  <a:lnTo>
                    <a:pt x="9740" y="1619"/>
                  </a:lnTo>
                  <a:lnTo>
                    <a:pt x="9741" y="1611"/>
                  </a:lnTo>
                  <a:lnTo>
                    <a:pt x="9747" y="1604"/>
                  </a:lnTo>
                  <a:lnTo>
                    <a:pt x="9753" y="1601"/>
                  </a:lnTo>
                  <a:lnTo>
                    <a:pt x="9761" y="1599"/>
                  </a:lnTo>
                  <a:lnTo>
                    <a:pt x="10006" y="1599"/>
                  </a:lnTo>
                  <a:lnTo>
                    <a:pt x="10013" y="1601"/>
                  </a:lnTo>
                  <a:lnTo>
                    <a:pt x="10020" y="1604"/>
                  </a:lnTo>
                  <a:lnTo>
                    <a:pt x="10024" y="1611"/>
                  </a:lnTo>
                  <a:lnTo>
                    <a:pt x="10026" y="1619"/>
                  </a:lnTo>
                  <a:lnTo>
                    <a:pt x="10026" y="1741"/>
                  </a:lnTo>
                  <a:lnTo>
                    <a:pt x="10978" y="1741"/>
                  </a:lnTo>
                  <a:lnTo>
                    <a:pt x="10987" y="1744"/>
                  </a:lnTo>
                  <a:lnTo>
                    <a:pt x="10994" y="1749"/>
                  </a:lnTo>
                  <a:lnTo>
                    <a:pt x="11211" y="2048"/>
                  </a:lnTo>
                  <a:lnTo>
                    <a:pt x="11235" y="2048"/>
                  </a:lnTo>
                  <a:lnTo>
                    <a:pt x="11242" y="2051"/>
                  </a:lnTo>
                  <a:lnTo>
                    <a:pt x="11248" y="2055"/>
                  </a:lnTo>
                  <a:lnTo>
                    <a:pt x="11253" y="2061"/>
                  </a:lnTo>
                  <a:lnTo>
                    <a:pt x="11255" y="2069"/>
                  </a:lnTo>
                  <a:lnTo>
                    <a:pt x="11255" y="2241"/>
                  </a:lnTo>
                  <a:lnTo>
                    <a:pt x="11253" y="2249"/>
                  </a:lnTo>
                  <a:lnTo>
                    <a:pt x="11248" y="2255"/>
                  </a:lnTo>
                  <a:lnTo>
                    <a:pt x="11242" y="2260"/>
                  </a:lnTo>
                  <a:lnTo>
                    <a:pt x="11235" y="2262"/>
                  </a:lnTo>
                  <a:lnTo>
                    <a:pt x="11224" y="2262"/>
                  </a:lnTo>
                  <a:lnTo>
                    <a:pt x="11224" y="3107"/>
                  </a:lnTo>
                  <a:lnTo>
                    <a:pt x="11223" y="3116"/>
                  </a:lnTo>
                  <a:lnTo>
                    <a:pt x="11217" y="3122"/>
                  </a:lnTo>
                  <a:lnTo>
                    <a:pt x="11211" y="3126"/>
                  </a:lnTo>
                  <a:lnTo>
                    <a:pt x="11205" y="3127"/>
                  </a:lnTo>
                  <a:lnTo>
                    <a:pt x="11197" y="3126"/>
                  </a:lnTo>
                  <a:lnTo>
                    <a:pt x="11190" y="3122"/>
                  </a:lnTo>
                  <a:lnTo>
                    <a:pt x="11185" y="3116"/>
                  </a:lnTo>
                  <a:lnTo>
                    <a:pt x="11184" y="3107"/>
                  </a:lnTo>
                  <a:lnTo>
                    <a:pt x="11184" y="2262"/>
                  </a:lnTo>
                  <a:lnTo>
                    <a:pt x="10285" y="2262"/>
                  </a:lnTo>
                  <a:lnTo>
                    <a:pt x="9388" y="2262"/>
                  </a:lnTo>
                  <a:lnTo>
                    <a:pt x="9388" y="3282"/>
                  </a:lnTo>
                  <a:lnTo>
                    <a:pt x="9388" y="4304"/>
                  </a:lnTo>
                  <a:lnTo>
                    <a:pt x="10285" y="4304"/>
                  </a:lnTo>
                  <a:lnTo>
                    <a:pt x="11184" y="4304"/>
                  </a:lnTo>
                  <a:lnTo>
                    <a:pt x="11184" y="3976"/>
                  </a:lnTo>
                  <a:lnTo>
                    <a:pt x="11185" y="3969"/>
                  </a:lnTo>
                  <a:lnTo>
                    <a:pt x="11190" y="3962"/>
                  </a:lnTo>
                  <a:lnTo>
                    <a:pt x="11197" y="3959"/>
                  </a:lnTo>
                  <a:lnTo>
                    <a:pt x="11205" y="3957"/>
                  </a:lnTo>
                  <a:lnTo>
                    <a:pt x="11211" y="3959"/>
                  </a:lnTo>
                  <a:lnTo>
                    <a:pt x="11217" y="3962"/>
                  </a:lnTo>
                  <a:lnTo>
                    <a:pt x="11223" y="3969"/>
                  </a:lnTo>
                  <a:lnTo>
                    <a:pt x="11224" y="3976"/>
                  </a:lnTo>
                  <a:lnTo>
                    <a:pt x="11224" y="4324"/>
                  </a:lnTo>
                  <a:lnTo>
                    <a:pt x="11223" y="4332"/>
                  </a:lnTo>
                  <a:lnTo>
                    <a:pt x="11217" y="4338"/>
                  </a:lnTo>
                  <a:lnTo>
                    <a:pt x="11211" y="4342"/>
                  </a:lnTo>
                  <a:lnTo>
                    <a:pt x="11205" y="4343"/>
                  </a:lnTo>
                  <a:lnTo>
                    <a:pt x="10285" y="4343"/>
                  </a:lnTo>
                  <a:lnTo>
                    <a:pt x="9367" y="4343"/>
                  </a:lnTo>
                  <a:lnTo>
                    <a:pt x="9361" y="4342"/>
                  </a:lnTo>
                  <a:lnTo>
                    <a:pt x="9354" y="4338"/>
                  </a:lnTo>
                  <a:lnTo>
                    <a:pt x="9349" y="4332"/>
                  </a:lnTo>
                  <a:lnTo>
                    <a:pt x="9348" y="4324"/>
                  </a:lnTo>
                  <a:lnTo>
                    <a:pt x="9348" y="3808"/>
                  </a:lnTo>
                  <a:lnTo>
                    <a:pt x="9348" y="3292"/>
                  </a:lnTo>
                  <a:lnTo>
                    <a:pt x="9348" y="2777"/>
                  </a:lnTo>
                  <a:lnTo>
                    <a:pt x="9348" y="2262"/>
                  </a:lnTo>
                  <a:lnTo>
                    <a:pt x="9336" y="2262"/>
                  </a:lnTo>
                  <a:lnTo>
                    <a:pt x="9329" y="2260"/>
                  </a:lnTo>
                  <a:lnTo>
                    <a:pt x="9322" y="2255"/>
                  </a:lnTo>
                  <a:lnTo>
                    <a:pt x="9318" y="2249"/>
                  </a:lnTo>
                  <a:lnTo>
                    <a:pt x="9317" y="2241"/>
                  </a:lnTo>
                  <a:lnTo>
                    <a:pt x="9317" y="2069"/>
                  </a:lnTo>
                  <a:lnTo>
                    <a:pt x="9318" y="2061"/>
                  </a:lnTo>
                  <a:lnTo>
                    <a:pt x="9322" y="2055"/>
                  </a:lnTo>
                  <a:lnTo>
                    <a:pt x="9329" y="2051"/>
                  </a:lnTo>
                  <a:lnTo>
                    <a:pt x="9336" y="2048"/>
                  </a:lnTo>
                  <a:lnTo>
                    <a:pt x="9364" y="2048"/>
                  </a:lnTo>
                  <a:lnTo>
                    <a:pt x="9581" y="1749"/>
                  </a:lnTo>
                  <a:lnTo>
                    <a:pt x="9589" y="1744"/>
                  </a:lnTo>
                  <a:lnTo>
                    <a:pt x="9598" y="1741"/>
                  </a:lnTo>
                  <a:lnTo>
                    <a:pt x="9740" y="1741"/>
                  </a:lnTo>
                  <a:close/>
                  <a:moveTo>
                    <a:pt x="9985" y="1741"/>
                  </a:moveTo>
                  <a:lnTo>
                    <a:pt x="9985" y="1639"/>
                  </a:lnTo>
                  <a:lnTo>
                    <a:pt x="9780" y="1639"/>
                  </a:lnTo>
                  <a:lnTo>
                    <a:pt x="9780" y="1741"/>
                  </a:lnTo>
                  <a:lnTo>
                    <a:pt x="9799" y="1741"/>
                  </a:lnTo>
                  <a:lnTo>
                    <a:pt x="9808" y="1743"/>
                  </a:lnTo>
                  <a:lnTo>
                    <a:pt x="9815" y="1748"/>
                  </a:lnTo>
                  <a:lnTo>
                    <a:pt x="9818" y="1754"/>
                  </a:lnTo>
                  <a:lnTo>
                    <a:pt x="9820" y="1762"/>
                  </a:lnTo>
                  <a:lnTo>
                    <a:pt x="9818" y="1768"/>
                  </a:lnTo>
                  <a:lnTo>
                    <a:pt x="9815" y="1775"/>
                  </a:lnTo>
                  <a:lnTo>
                    <a:pt x="9808" y="1780"/>
                  </a:lnTo>
                  <a:lnTo>
                    <a:pt x="9799" y="1781"/>
                  </a:lnTo>
                  <a:lnTo>
                    <a:pt x="9607" y="1781"/>
                  </a:lnTo>
                  <a:lnTo>
                    <a:pt x="9413" y="2048"/>
                  </a:lnTo>
                  <a:lnTo>
                    <a:pt x="10288" y="2048"/>
                  </a:lnTo>
                  <a:lnTo>
                    <a:pt x="11162" y="2048"/>
                  </a:lnTo>
                  <a:lnTo>
                    <a:pt x="10967" y="1781"/>
                  </a:lnTo>
                  <a:lnTo>
                    <a:pt x="9953" y="1781"/>
                  </a:lnTo>
                  <a:lnTo>
                    <a:pt x="9944" y="1780"/>
                  </a:lnTo>
                  <a:lnTo>
                    <a:pt x="9938" y="1775"/>
                  </a:lnTo>
                  <a:lnTo>
                    <a:pt x="9934" y="1768"/>
                  </a:lnTo>
                  <a:lnTo>
                    <a:pt x="9933" y="1762"/>
                  </a:lnTo>
                  <a:lnTo>
                    <a:pt x="9934" y="1754"/>
                  </a:lnTo>
                  <a:lnTo>
                    <a:pt x="9938" y="1748"/>
                  </a:lnTo>
                  <a:lnTo>
                    <a:pt x="9944" y="1743"/>
                  </a:lnTo>
                  <a:lnTo>
                    <a:pt x="9953" y="1741"/>
                  </a:lnTo>
                  <a:lnTo>
                    <a:pt x="9985" y="1741"/>
                  </a:lnTo>
                  <a:close/>
                  <a:moveTo>
                    <a:pt x="9372" y="2089"/>
                  </a:moveTo>
                  <a:lnTo>
                    <a:pt x="9357" y="2089"/>
                  </a:lnTo>
                  <a:lnTo>
                    <a:pt x="9357" y="2222"/>
                  </a:lnTo>
                  <a:lnTo>
                    <a:pt x="10285" y="2222"/>
                  </a:lnTo>
                  <a:lnTo>
                    <a:pt x="11215" y="2222"/>
                  </a:lnTo>
                  <a:lnTo>
                    <a:pt x="11215" y="2089"/>
                  </a:lnTo>
                  <a:lnTo>
                    <a:pt x="11205" y="2089"/>
                  </a:lnTo>
                  <a:lnTo>
                    <a:pt x="11198" y="2089"/>
                  </a:lnTo>
                  <a:lnTo>
                    <a:pt x="10288" y="2089"/>
                  </a:lnTo>
                  <a:lnTo>
                    <a:pt x="9379" y="2089"/>
                  </a:lnTo>
                  <a:lnTo>
                    <a:pt x="9372" y="2089"/>
                  </a:lnTo>
                  <a:close/>
                  <a:moveTo>
                    <a:pt x="11205" y="2089"/>
                  </a:moveTo>
                  <a:lnTo>
                    <a:pt x="11198" y="2089"/>
                  </a:lnTo>
                  <a:lnTo>
                    <a:pt x="11205" y="2089"/>
                  </a:lnTo>
                  <a:close/>
                  <a:moveTo>
                    <a:pt x="9379" y="2089"/>
                  </a:moveTo>
                  <a:lnTo>
                    <a:pt x="9372" y="2089"/>
                  </a:lnTo>
                  <a:lnTo>
                    <a:pt x="9379" y="2089"/>
                  </a:lnTo>
                  <a:close/>
                  <a:moveTo>
                    <a:pt x="11106" y="1136"/>
                  </a:moveTo>
                  <a:lnTo>
                    <a:pt x="11083" y="1126"/>
                  </a:lnTo>
                  <a:lnTo>
                    <a:pt x="11056" y="1122"/>
                  </a:lnTo>
                  <a:lnTo>
                    <a:pt x="11035" y="1125"/>
                  </a:lnTo>
                  <a:lnTo>
                    <a:pt x="11017" y="1130"/>
                  </a:lnTo>
                  <a:lnTo>
                    <a:pt x="10999" y="1140"/>
                  </a:lnTo>
                  <a:lnTo>
                    <a:pt x="10985" y="1152"/>
                  </a:lnTo>
                  <a:lnTo>
                    <a:pt x="10972" y="1167"/>
                  </a:lnTo>
                  <a:lnTo>
                    <a:pt x="10963" y="1185"/>
                  </a:lnTo>
                  <a:lnTo>
                    <a:pt x="10957" y="1204"/>
                  </a:lnTo>
                  <a:lnTo>
                    <a:pt x="10956" y="1225"/>
                  </a:lnTo>
                  <a:lnTo>
                    <a:pt x="10958" y="1246"/>
                  </a:lnTo>
                  <a:lnTo>
                    <a:pt x="11683" y="1245"/>
                  </a:lnTo>
                  <a:lnTo>
                    <a:pt x="11683" y="1227"/>
                  </a:lnTo>
                  <a:lnTo>
                    <a:pt x="11682" y="1208"/>
                  </a:lnTo>
                  <a:lnTo>
                    <a:pt x="11675" y="1190"/>
                  </a:lnTo>
                  <a:lnTo>
                    <a:pt x="11666" y="1174"/>
                  </a:lnTo>
                  <a:lnTo>
                    <a:pt x="11653" y="1159"/>
                  </a:lnTo>
                  <a:lnTo>
                    <a:pt x="11647" y="1153"/>
                  </a:lnTo>
                  <a:lnTo>
                    <a:pt x="11639" y="1148"/>
                  </a:lnTo>
                  <a:lnTo>
                    <a:pt x="11621" y="1139"/>
                  </a:lnTo>
                  <a:lnTo>
                    <a:pt x="11603" y="1133"/>
                  </a:lnTo>
                  <a:lnTo>
                    <a:pt x="11583" y="1131"/>
                  </a:lnTo>
                  <a:lnTo>
                    <a:pt x="11558" y="1134"/>
                  </a:lnTo>
                  <a:lnTo>
                    <a:pt x="11542" y="1138"/>
                  </a:lnTo>
                  <a:lnTo>
                    <a:pt x="11523" y="1139"/>
                  </a:lnTo>
                  <a:lnTo>
                    <a:pt x="11489" y="1133"/>
                  </a:lnTo>
                  <a:lnTo>
                    <a:pt x="11489" y="1113"/>
                  </a:lnTo>
                  <a:lnTo>
                    <a:pt x="11487" y="1096"/>
                  </a:lnTo>
                  <a:lnTo>
                    <a:pt x="11482" y="1078"/>
                  </a:lnTo>
                  <a:lnTo>
                    <a:pt x="11476" y="1061"/>
                  </a:lnTo>
                  <a:lnTo>
                    <a:pt x="11469" y="1044"/>
                  </a:lnTo>
                  <a:lnTo>
                    <a:pt x="11460" y="1030"/>
                  </a:lnTo>
                  <a:lnTo>
                    <a:pt x="11451" y="1016"/>
                  </a:lnTo>
                  <a:lnTo>
                    <a:pt x="11439" y="1002"/>
                  </a:lnTo>
                  <a:lnTo>
                    <a:pt x="11412" y="980"/>
                  </a:lnTo>
                  <a:lnTo>
                    <a:pt x="11383" y="964"/>
                  </a:lnTo>
                  <a:lnTo>
                    <a:pt x="11366" y="957"/>
                  </a:lnTo>
                  <a:lnTo>
                    <a:pt x="11349" y="954"/>
                  </a:lnTo>
                  <a:lnTo>
                    <a:pt x="11312" y="950"/>
                  </a:lnTo>
                  <a:lnTo>
                    <a:pt x="11278" y="954"/>
                  </a:lnTo>
                  <a:lnTo>
                    <a:pt x="11261" y="957"/>
                  </a:lnTo>
                  <a:lnTo>
                    <a:pt x="11246" y="963"/>
                  </a:lnTo>
                  <a:lnTo>
                    <a:pt x="11230" y="970"/>
                  </a:lnTo>
                  <a:lnTo>
                    <a:pt x="11216" y="978"/>
                  </a:lnTo>
                  <a:lnTo>
                    <a:pt x="11190" y="998"/>
                  </a:lnTo>
                  <a:lnTo>
                    <a:pt x="11170" y="1024"/>
                  </a:lnTo>
                  <a:lnTo>
                    <a:pt x="11153" y="1053"/>
                  </a:lnTo>
                  <a:lnTo>
                    <a:pt x="11147" y="1069"/>
                  </a:lnTo>
                  <a:lnTo>
                    <a:pt x="11142" y="1085"/>
                  </a:lnTo>
                  <a:lnTo>
                    <a:pt x="11138" y="1102"/>
                  </a:lnTo>
                  <a:lnTo>
                    <a:pt x="11137" y="1120"/>
                  </a:lnTo>
                  <a:lnTo>
                    <a:pt x="11134" y="1131"/>
                  </a:lnTo>
                  <a:lnTo>
                    <a:pt x="11126" y="1138"/>
                  </a:lnTo>
                  <a:lnTo>
                    <a:pt x="11122" y="1139"/>
                  </a:lnTo>
                  <a:lnTo>
                    <a:pt x="11117" y="1140"/>
                  </a:lnTo>
                  <a:lnTo>
                    <a:pt x="11106" y="1136"/>
                  </a:lnTo>
                  <a:close/>
                  <a:moveTo>
                    <a:pt x="11528" y="1106"/>
                  </a:moveTo>
                  <a:lnTo>
                    <a:pt x="11539" y="1098"/>
                  </a:lnTo>
                  <a:lnTo>
                    <a:pt x="11555" y="1094"/>
                  </a:lnTo>
                  <a:lnTo>
                    <a:pt x="11583" y="1090"/>
                  </a:lnTo>
                  <a:lnTo>
                    <a:pt x="11611" y="1094"/>
                  </a:lnTo>
                  <a:lnTo>
                    <a:pt x="11624" y="1097"/>
                  </a:lnTo>
                  <a:lnTo>
                    <a:pt x="11637" y="1102"/>
                  </a:lnTo>
                  <a:lnTo>
                    <a:pt x="11660" y="1115"/>
                  </a:lnTo>
                  <a:lnTo>
                    <a:pt x="11682" y="1131"/>
                  </a:lnTo>
                  <a:lnTo>
                    <a:pt x="11698" y="1151"/>
                  </a:lnTo>
                  <a:lnTo>
                    <a:pt x="11712" y="1174"/>
                  </a:lnTo>
                  <a:lnTo>
                    <a:pt x="11720" y="1199"/>
                  </a:lnTo>
                  <a:lnTo>
                    <a:pt x="11723" y="1213"/>
                  </a:lnTo>
                  <a:lnTo>
                    <a:pt x="11723" y="1227"/>
                  </a:lnTo>
                  <a:lnTo>
                    <a:pt x="11723" y="1243"/>
                  </a:lnTo>
                  <a:lnTo>
                    <a:pt x="11721" y="1262"/>
                  </a:lnTo>
                  <a:lnTo>
                    <a:pt x="11714" y="1278"/>
                  </a:lnTo>
                  <a:lnTo>
                    <a:pt x="11707" y="1284"/>
                  </a:lnTo>
                  <a:lnTo>
                    <a:pt x="11700" y="1285"/>
                  </a:lnTo>
                  <a:lnTo>
                    <a:pt x="10943" y="1286"/>
                  </a:lnTo>
                  <a:lnTo>
                    <a:pt x="10934" y="1285"/>
                  </a:lnTo>
                  <a:lnTo>
                    <a:pt x="10928" y="1280"/>
                  </a:lnTo>
                  <a:lnTo>
                    <a:pt x="10924" y="1271"/>
                  </a:lnTo>
                  <a:lnTo>
                    <a:pt x="10920" y="1262"/>
                  </a:lnTo>
                  <a:lnTo>
                    <a:pt x="10916" y="1240"/>
                  </a:lnTo>
                  <a:lnTo>
                    <a:pt x="10915" y="1225"/>
                  </a:lnTo>
                  <a:lnTo>
                    <a:pt x="10919" y="1197"/>
                  </a:lnTo>
                  <a:lnTo>
                    <a:pt x="10926" y="1170"/>
                  </a:lnTo>
                  <a:lnTo>
                    <a:pt x="10939" y="1145"/>
                  </a:lnTo>
                  <a:lnTo>
                    <a:pt x="10956" y="1125"/>
                  </a:lnTo>
                  <a:lnTo>
                    <a:pt x="10978" y="1107"/>
                  </a:lnTo>
                  <a:lnTo>
                    <a:pt x="10989" y="1099"/>
                  </a:lnTo>
                  <a:lnTo>
                    <a:pt x="11001" y="1094"/>
                  </a:lnTo>
                  <a:lnTo>
                    <a:pt x="11028" y="1085"/>
                  </a:lnTo>
                  <a:lnTo>
                    <a:pt x="11042" y="1083"/>
                  </a:lnTo>
                  <a:lnTo>
                    <a:pt x="11056" y="1083"/>
                  </a:lnTo>
                  <a:lnTo>
                    <a:pt x="11079" y="1084"/>
                  </a:lnTo>
                  <a:lnTo>
                    <a:pt x="11101" y="1089"/>
                  </a:lnTo>
                  <a:lnTo>
                    <a:pt x="11110" y="1052"/>
                  </a:lnTo>
                  <a:lnTo>
                    <a:pt x="11126" y="1019"/>
                  </a:lnTo>
                  <a:lnTo>
                    <a:pt x="11147" y="988"/>
                  </a:lnTo>
                  <a:lnTo>
                    <a:pt x="11173" y="961"/>
                  </a:lnTo>
                  <a:lnTo>
                    <a:pt x="11202" y="940"/>
                  </a:lnTo>
                  <a:lnTo>
                    <a:pt x="11237" y="923"/>
                  </a:lnTo>
                  <a:lnTo>
                    <a:pt x="11274" y="913"/>
                  </a:lnTo>
                  <a:lnTo>
                    <a:pt x="11312" y="910"/>
                  </a:lnTo>
                  <a:lnTo>
                    <a:pt x="11355" y="914"/>
                  </a:lnTo>
                  <a:lnTo>
                    <a:pt x="11374" y="918"/>
                  </a:lnTo>
                  <a:lnTo>
                    <a:pt x="11393" y="925"/>
                  </a:lnTo>
                  <a:lnTo>
                    <a:pt x="11428" y="942"/>
                  </a:lnTo>
                  <a:lnTo>
                    <a:pt x="11444" y="954"/>
                  </a:lnTo>
                  <a:lnTo>
                    <a:pt x="11458" y="966"/>
                  </a:lnTo>
                  <a:lnTo>
                    <a:pt x="11473" y="980"/>
                  </a:lnTo>
                  <a:lnTo>
                    <a:pt x="11485" y="996"/>
                  </a:lnTo>
                  <a:lnTo>
                    <a:pt x="11506" y="1029"/>
                  </a:lnTo>
                  <a:lnTo>
                    <a:pt x="11514" y="1047"/>
                  </a:lnTo>
                  <a:lnTo>
                    <a:pt x="11520" y="1066"/>
                  </a:lnTo>
                  <a:lnTo>
                    <a:pt x="11525" y="1085"/>
                  </a:lnTo>
                  <a:lnTo>
                    <a:pt x="11528" y="1106"/>
                  </a:lnTo>
                  <a:close/>
                  <a:moveTo>
                    <a:pt x="13515" y="644"/>
                  </a:moveTo>
                  <a:lnTo>
                    <a:pt x="13404" y="644"/>
                  </a:lnTo>
                  <a:lnTo>
                    <a:pt x="13404" y="754"/>
                  </a:lnTo>
                  <a:lnTo>
                    <a:pt x="13515" y="754"/>
                  </a:lnTo>
                  <a:lnTo>
                    <a:pt x="13515" y="644"/>
                  </a:lnTo>
                  <a:close/>
                  <a:moveTo>
                    <a:pt x="13534" y="605"/>
                  </a:moveTo>
                  <a:lnTo>
                    <a:pt x="13542" y="606"/>
                  </a:lnTo>
                  <a:lnTo>
                    <a:pt x="13549" y="611"/>
                  </a:lnTo>
                  <a:lnTo>
                    <a:pt x="13552" y="617"/>
                  </a:lnTo>
                  <a:lnTo>
                    <a:pt x="13555" y="624"/>
                  </a:lnTo>
                  <a:lnTo>
                    <a:pt x="13555" y="754"/>
                  </a:lnTo>
                  <a:lnTo>
                    <a:pt x="14078" y="754"/>
                  </a:lnTo>
                  <a:lnTo>
                    <a:pt x="14086" y="757"/>
                  </a:lnTo>
                  <a:lnTo>
                    <a:pt x="14092" y="761"/>
                  </a:lnTo>
                  <a:lnTo>
                    <a:pt x="14097" y="767"/>
                  </a:lnTo>
                  <a:lnTo>
                    <a:pt x="14099" y="775"/>
                  </a:lnTo>
                  <a:lnTo>
                    <a:pt x="14099" y="1471"/>
                  </a:lnTo>
                  <a:lnTo>
                    <a:pt x="14099" y="2170"/>
                  </a:lnTo>
                  <a:lnTo>
                    <a:pt x="14097" y="2177"/>
                  </a:lnTo>
                  <a:lnTo>
                    <a:pt x="14092" y="2184"/>
                  </a:lnTo>
                  <a:lnTo>
                    <a:pt x="14086" y="2188"/>
                  </a:lnTo>
                  <a:lnTo>
                    <a:pt x="14078" y="2189"/>
                  </a:lnTo>
                  <a:lnTo>
                    <a:pt x="14072" y="2188"/>
                  </a:lnTo>
                  <a:lnTo>
                    <a:pt x="14065" y="2184"/>
                  </a:lnTo>
                  <a:lnTo>
                    <a:pt x="14060" y="2177"/>
                  </a:lnTo>
                  <a:lnTo>
                    <a:pt x="14059" y="2170"/>
                  </a:lnTo>
                  <a:lnTo>
                    <a:pt x="14059" y="1482"/>
                  </a:lnTo>
                  <a:lnTo>
                    <a:pt x="14059" y="795"/>
                  </a:lnTo>
                  <a:lnTo>
                    <a:pt x="13534" y="795"/>
                  </a:lnTo>
                  <a:lnTo>
                    <a:pt x="13384" y="795"/>
                  </a:lnTo>
                  <a:lnTo>
                    <a:pt x="13150" y="795"/>
                  </a:lnTo>
                  <a:lnTo>
                    <a:pt x="13141" y="793"/>
                  </a:lnTo>
                  <a:lnTo>
                    <a:pt x="13134" y="789"/>
                  </a:lnTo>
                  <a:lnTo>
                    <a:pt x="13131" y="782"/>
                  </a:lnTo>
                  <a:lnTo>
                    <a:pt x="13129" y="775"/>
                  </a:lnTo>
                  <a:lnTo>
                    <a:pt x="13131" y="767"/>
                  </a:lnTo>
                  <a:lnTo>
                    <a:pt x="13134" y="761"/>
                  </a:lnTo>
                  <a:lnTo>
                    <a:pt x="13141" y="757"/>
                  </a:lnTo>
                  <a:lnTo>
                    <a:pt x="13150" y="754"/>
                  </a:lnTo>
                  <a:lnTo>
                    <a:pt x="13201" y="754"/>
                  </a:lnTo>
                  <a:lnTo>
                    <a:pt x="13201" y="612"/>
                  </a:lnTo>
                  <a:lnTo>
                    <a:pt x="12798" y="612"/>
                  </a:lnTo>
                  <a:lnTo>
                    <a:pt x="12798" y="754"/>
                  </a:lnTo>
                  <a:lnTo>
                    <a:pt x="12852" y="754"/>
                  </a:lnTo>
                  <a:lnTo>
                    <a:pt x="12861" y="757"/>
                  </a:lnTo>
                  <a:lnTo>
                    <a:pt x="12868" y="761"/>
                  </a:lnTo>
                  <a:lnTo>
                    <a:pt x="12872" y="767"/>
                  </a:lnTo>
                  <a:lnTo>
                    <a:pt x="12873" y="775"/>
                  </a:lnTo>
                  <a:lnTo>
                    <a:pt x="12872" y="782"/>
                  </a:lnTo>
                  <a:lnTo>
                    <a:pt x="12868" y="789"/>
                  </a:lnTo>
                  <a:lnTo>
                    <a:pt x="12861" y="793"/>
                  </a:lnTo>
                  <a:lnTo>
                    <a:pt x="12852" y="795"/>
                  </a:lnTo>
                  <a:lnTo>
                    <a:pt x="12664" y="795"/>
                  </a:lnTo>
                  <a:lnTo>
                    <a:pt x="12664" y="1810"/>
                  </a:lnTo>
                  <a:lnTo>
                    <a:pt x="12664" y="2826"/>
                  </a:lnTo>
                  <a:lnTo>
                    <a:pt x="12661" y="2835"/>
                  </a:lnTo>
                  <a:lnTo>
                    <a:pt x="12657" y="2840"/>
                  </a:lnTo>
                  <a:lnTo>
                    <a:pt x="12651" y="2844"/>
                  </a:lnTo>
                  <a:lnTo>
                    <a:pt x="12643" y="2845"/>
                  </a:lnTo>
                  <a:lnTo>
                    <a:pt x="12636" y="2844"/>
                  </a:lnTo>
                  <a:lnTo>
                    <a:pt x="12629" y="2840"/>
                  </a:lnTo>
                  <a:lnTo>
                    <a:pt x="12625" y="2835"/>
                  </a:lnTo>
                  <a:lnTo>
                    <a:pt x="12624" y="2826"/>
                  </a:lnTo>
                  <a:lnTo>
                    <a:pt x="12624" y="2313"/>
                  </a:lnTo>
                  <a:lnTo>
                    <a:pt x="12624" y="1800"/>
                  </a:lnTo>
                  <a:lnTo>
                    <a:pt x="12624" y="1287"/>
                  </a:lnTo>
                  <a:lnTo>
                    <a:pt x="12624" y="775"/>
                  </a:lnTo>
                  <a:lnTo>
                    <a:pt x="12625" y="767"/>
                  </a:lnTo>
                  <a:lnTo>
                    <a:pt x="12629" y="761"/>
                  </a:lnTo>
                  <a:lnTo>
                    <a:pt x="12636" y="757"/>
                  </a:lnTo>
                  <a:lnTo>
                    <a:pt x="12643" y="754"/>
                  </a:lnTo>
                  <a:lnTo>
                    <a:pt x="12759" y="754"/>
                  </a:lnTo>
                  <a:lnTo>
                    <a:pt x="12759" y="592"/>
                  </a:lnTo>
                  <a:lnTo>
                    <a:pt x="12760" y="584"/>
                  </a:lnTo>
                  <a:lnTo>
                    <a:pt x="12764" y="578"/>
                  </a:lnTo>
                  <a:lnTo>
                    <a:pt x="12770" y="574"/>
                  </a:lnTo>
                  <a:lnTo>
                    <a:pt x="12778" y="573"/>
                  </a:lnTo>
                  <a:lnTo>
                    <a:pt x="13220" y="573"/>
                  </a:lnTo>
                  <a:lnTo>
                    <a:pt x="13228" y="574"/>
                  </a:lnTo>
                  <a:lnTo>
                    <a:pt x="13234" y="578"/>
                  </a:lnTo>
                  <a:lnTo>
                    <a:pt x="13240" y="584"/>
                  </a:lnTo>
                  <a:lnTo>
                    <a:pt x="13241" y="592"/>
                  </a:lnTo>
                  <a:lnTo>
                    <a:pt x="13241" y="754"/>
                  </a:lnTo>
                  <a:lnTo>
                    <a:pt x="13364" y="754"/>
                  </a:lnTo>
                  <a:lnTo>
                    <a:pt x="13364" y="624"/>
                  </a:lnTo>
                  <a:lnTo>
                    <a:pt x="13365" y="617"/>
                  </a:lnTo>
                  <a:lnTo>
                    <a:pt x="13370" y="611"/>
                  </a:lnTo>
                  <a:lnTo>
                    <a:pt x="13377" y="606"/>
                  </a:lnTo>
                  <a:lnTo>
                    <a:pt x="13384" y="605"/>
                  </a:lnTo>
                  <a:lnTo>
                    <a:pt x="13534" y="605"/>
                  </a:lnTo>
                  <a:close/>
                  <a:moveTo>
                    <a:pt x="15835" y="2587"/>
                  </a:moveTo>
                  <a:lnTo>
                    <a:pt x="15677" y="2587"/>
                  </a:lnTo>
                  <a:lnTo>
                    <a:pt x="15677" y="3445"/>
                  </a:lnTo>
                  <a:lnTo>
                    <a:pt x="15677" y="4304"/>
                  </a:lnTo>
                  <a:lnTo>
                    <a:pt x="16008" y="4304"/>
                  </a:lnTo>
                  <a:lnTo>
                    <a:pt x="16008" y="3419"/>
                  </a:lnTo>
                  <a:lnTo>
                    <a:pt x="16008" y="2534"/>
                  </a:lnTo>
                  <a:lnTo>
                    <a:pt x="16009" y="2525"/>
                  </a:lnTo>
                  <a:lnTo>
                    <a:pt x="16012" y="2519"/>
                  </a:lnTo>
                  <a:lnTo>
                    <a:pt x="16016" y="2515"/>
                  </a:lnTo>
                  <a:lnTo>
                    <a:pt x="16021" y="2511"/>
                  </a:lnTo>
                  <a:lnTo>
                    <a:pt x="16027" y="2511"/>
                  </a:lnTo>
                  <a:lnTo>
                    <a:pt x="16032" y="2512"/>
                  </a:lnTo>
                  <a:lnTo>
                    <a:pt x="16039" y="2516"/>
                  </a:lnTo>
                  <a:lnTo>
                    <a:pt x="16045" y="2523"/>
                  </a:lnTo>
                  <a:lnTo>
                    <a:pt x="16536" y="3199"/>
                  </a:lnTo>
                  <a:lnTo>
                    <a:pt x="16536" y="2534"/>
                  </a:lnTo>
                  <a:lnTo>
                    <a:pt x="16538" y="2525"/>
                  </a:lnTo>
                  <a:lnTo>
                    <a:pt x="16540" y="2519"/>
                  </a:lnTo>
                  <a:lnTo>
                    <a:pt x="16544" y="2515"/>
                  </a:lnTo>
                  <a:lnTo>
                    <a:pt x="16549" y="2511"/>
                  </a:lnTo>
                  <a:lnTo>
                    <a:pt x="16556" y="2511"/>
                  </a:lnTo>
                  <a:lnTo>
                    <a:pt x="16562" y="2512"/>
                  </a:lnTo>
                  <a:lnTo>
                    <a:pt x="16567" y="2516"/>
                  </a:lnTo>
                  <a:lnTo>
                    <a:pt x="16573" y="2523"/>
                  </a:lnTo>
                  <a:lnTo>
                    <a:pt x="17076" y="3214"/>
                  </a:lnTo>
                  <a:lnTo>
                    <a:pt x="17076" y="2534"/>
                  </a:lnTo>
                  <a:lnTo>
                    <a:pt x="17077" y="2525"/>
                  </a:lnTo>
                  <a:lnTo>
                    <a:pt x="17080" y="2519"/>
                  </a:lnTo>
                  <a:lnTo>
                    <a:pt x="17084" y="2515"/>
                  </a:lnTo>
                  <a:lnTo>
                    <a:pt x="17089" y="2511"/>
                  </a:lnTo>
                  <a:lnTo>
                    <a:pt x="17094" y="2511"/>
                  </a:lnTo>
                  <a:lnTo>
                    <a:pt x="17100" y="2512"/>
                  </a:lnTo>
                  <a:lnTo>
                    <a:pt x="17107" y="2516"/>
                  </a:lnTo>
                  <a:lnTo>
                    <a:pt x="17112" y="2523"/>
                  </a:lnTo>
                  <a:lnTo>
                    <a:pt x="17640" y="3249"/>
                  </a:lnTo>
                  <a:lnTo>
                    <a:pt x="17644" y="3258"/>
                  </a:lnTo>
                  <a:lnTo>
                    <a:pt x="17644" y="3265"/>
                  </a:lnTo>
                  <a:lnTo>
                    <a:pt x="17642" y="3272"/>
                  </a:lnTo>
                  <a:lnTo>
                    <a:pt x="17636" y="3277"/>
                  </a:lnTo>
                  <a:lnTo>
                    <a:pt x="17630" y="3281"/>
                  </a:lnTo>
                  <a:lnTo>
                    <a:pt x="17622" y="3281"/>
                  </a:lnTo>
                  <a:lnTo>
                    <a:pt x="17615" y="3280"/>
                  </a:lnTo>
                  <a:lnTo>
                    <a:pt x="17608" y="3273"/>
                  </a:lnTo>
                  <a:lnTo>
                    <a:pt x="17116" y="2595"/>
                  </a:lnTo>
                  <a:lnTo>
                    <a:pt x="17116" y="3262"/>
                  </a:lnTo>
                  <a:lnTo>
                    <a:pt x="17113" y="3271"/>
                  </a:lnTo>
                  <a:lnTo>
                    <a:pt x="17108" y="3278"/>
                  </a:lnTo>
                  <a:lnTo>
                    <a:pt x="17099" y="3281"/>
                  </a:lnTo>
                  <a:lnTo>
                    <a:pt x="17090" y="3281"/>
                  </a:lnTo>
                  <a:lnTo>
                    <a:pt x="17080" y="3281"/>
                  </a:lnTo>
                  <a:lnTo>
                    <a:pt x="17074" y="3278"/>
                  </a:lnTo>
                  <a:lnTo>
                    <a:pt x="17070" y="3273"/>
                  </a:lnTo>
                  <a:lnTo>
                    <a:pt x="16577" y="2595"/>
                  </a:lnTo>
                  <a:lnTo>
                    <a:pt x="16577" y="3258"/>
                  </a:lnTo>
                  <a:lnTo>
                    <a:pt x="16577" y="3264"/>
                  </a:lnTo>
                  <a:lnTo>
                    <a:pt x="16575" y="3269"/>
                  </a:lnTo>
                  <a:lnTo>
                    <a:pt x="16571" y="3276"/>
                  </a:lnTo>
                  <a:lnTo>
                    <a:pt x="16563" y="3281"/>
                  </a:lnTo>
                  <a:lnTo>
                    <a:pt x="16554" y="3281"/>
                  </a:lnTo>
                  <a:lnTo>
                    <a:pt x="16547" y="3278"/>
                  </a:lnTo>
                  <a:lnTo>
                    <a:pt x="16541" y="3276"/>
                  </a:lnTo>
                  <a:lnTo>
                    <a:pt x="16539" y="3271"/>
                  </a:lnTo>
                  <a:lnTo>
                    <a:pt x="16049" y="2595"/>
                  </a:lnTo>
                  <a:lnTo>
                    <a:pt x="16049" y="3450"/>
                  </a:lnTo>
                  <a:lnTo>
                    <a:pt x="16049" y="4304"/>
                  </a:lnTo>
                  <a:lnTo>
                    <a:pt x="16844" y="4304"/>
                  </a:lnTo>
                  <a:lnTo>
                    <a:pt x="16853" y="4305"/>
                  </a:lnTo>
                  <a:lnTo>
                    <a:pt x="16859" y="4310"/>
                  </a:lnTo>
                  <a:lnTo>
                    <a:pt x="16863" y="4317"/>
                  </a:lnTo>
                  <a:lnTo>
                    <a:pt x="16865" y="4324"/>
                  </a:lnTo>
                  <a:lnTo>
                    <a:pt x="16863" y="4331"/>
                  </a:lnTo>
                  <a:lnTo>
                    <a:pt x="16859" y="4337"/>
                  </a:lnTo>
                  <a:lnTo>
                    <a:pt x="16853" y="4342"/>
                  </a:lnTo>
                  <a:lnTo>
                    <a:pt x="16844" y="4343"/>
                  </a:lnTo>
                  <a:lnTo>
                    <a:pt x="16250" y="4343"/>
                  </a:lnTo>
                  <a:lnTo>
                    <a:pt x="15657" y="4343"/>
                  </a:lnTo>
                  <a:lnTo>
                    <a:pt x="14760" y="4343"/>
                  </a:lnTo>
                  <a:lnTo>
                    <a:pt x="13864" y="4343"/>
                  </a:lnTo>
                  <a:lnTo>
                    <a:pt x="13856" y="4342"/>
                  </a:lnTo>
                  <a:lnTo>
                    <a:pt x="13850" y="4338"/>
                  </a:lnTo>
                  <a:lnTo>
                    <a:pt x="13846" y="4332"/>
                  </a:lnTo>
                  <a:lnTo>
                    <a:pt x="13843" y="4324"/>
                  </a:lnTo>
                  <a:lnTo>
                    <a:pt x="13843" y="3455"/>
                  </a:lnTo>
                  <a:lnTo>
                    <a:pt x="13843" y="2587"/>
                  </a:lnTo>
                  <a:lnTo>
                    <a:pt x="13686" y="2587"/>
                  </a:lnTo>
                  <a:lnTo>
                    <a:pt x="13677" y="2585"/>
                  </a:lnTo>
                  <a:lnTo>
                    <a:pt x="13670" y="2581"/>
                  </a:lnTo>
                  <a:lnTo>
                    <a:pt x="13667" y="2575"/>
                  </a:lnTo>
                  <a:lnTo>
                    <a:pt x="13665" y="2567"/>
                  </a:lnTo>
                  <a:lnTo>
                    <a:pt x="13667" y="2560"/>
                  </a:lnTo>
                  <a:lnTo>
                    <a:pt x="13670" y="2553"/>
                  </a:lnTo>
                  <a:lnTo>
                    <a:pt x="13677" y="2549"/>
                  </a:lnTo>
                  <a:lnTo>
                    <a:pt x="13686" y="2547"/>
                  </a:lnTo>
                  <a:lnTo>
                    <a:pt x="13963" y="2547"/>
                  </a:lnTo>
                  <a:lnTo>
                    <a:pt x="13963" y="2374"/>
                  </a:lnTo>
                  <a:lnTo>
                    <a:pt x="13964" y="2367"/>
                  </a:lnTo>
                  <a:lnTo>
                    <a:pt x="13968" y="2360"/>
                  </a:lnTo>
                  <a:lnTo>
                    <a:pt x="13974" y="2355"/>
                  </a:lnTo>
                  <a:lnTo>
                    <a:pt x="13982" y="2354"/>
                  </a:lnTo>
                  <a:lnTo>
                    <a:pt x="14750" y="2354"/>
                  </a:lnTo>
                  <a:lnTo>
                    <a:pt x="15519" y="2354"/>
                  </a:lnTo>
                  <a:lnTo>
                    <a:pt x="15527" y="2355"/>
                  </a:lnTo>
                  <a:lnTo>
                    <a:pt x="15534" y="2360"/>
                  </a:lnTo>
                  <a:lnTo>
                    <a:pt x="15537" y="2367"/>
                  </a:lnTo>
                  <a:lnTo>
                    <a:pt x="15539" y="2374"/>
                  </a:lnTo>
                  <a:lnTo>
                    <a:pt x="15539" y="2547"/>
                  </a:lnTo>
                  <a:lnTo>
                    <a:pt x="15835" y="2547"/>
                  </a:lnTo>
                  <a:lnTo>
                    <a:pt x="15844" y="2549"/>
                  </a:lnTo>
                  <a:lnTo>
                    <a:pt x="15850" y="2553"/>
                  </a:lnTo>
                  <a:lnTo>
                    <a:pt x="15854" y="2560"/>
                  </a:lnTo>
                  <a:lnTo>
                    <a:pt x="15855" y="2567"/>
                  </a:lnTo>
                  <a:lnTo>
                    <a:pt x="15854" y="2575"/>
                  </a:lnTo>
                  <a:lnTo>
                    <a:pt x="15850" y="2581"/>
                  </a:lnTo>
                  <a:lnTo>
                    <a:pt x="15844" y="2585"/>
                  </a:lnTo>
                  <a:lnTo>
                    <a:pt x="15835" y="2587"/>
                  </a:lnTo>
                  <a:close/>
                  <a:moveTo>
                    <a:pt x="15636" y="2587"/>
                  </a:moveTo>
                  <a:lnTo>
                    <a:pt x="14760" y="2587"/>
                  </a:lnTo>
                  <a:lnTo>
                    <a:pt x="13885" y="2587"/>
                  </a:lnTo>
                  <a:lnTo>
                    <a:pt x="13885" y="3445"/>
                  </a:lnTo>
                  <a:lnTo>
                    <a:pt x="13885" y="4304"/>
                  </a:lnTo>
                  <a:lnTo>
                    <a:pt x="14760" y="4304"/>
                  </a:lnTo>
                  <a:lnTo>
                    <a:pt x="15636" y="4304"/>
                  </a:lnTo>
                  <a:lnTo>
                    <a:pt x="15636" y="3445"/>
                  </a:lnTo>
                  <a:lnTo>
                    <a:pt x="15636" y="2587"/>
                  </a:lnTo>
                  <a:close/>
                  <a:moveTo>
                    <a:pt x="14002" y="2547"/>
                  </a:moveTo>
                  <a:lnTo>
                    <a:pt x="14750" y="2547"/>
                  </a:lnTo>
                  <a:lnTo>
                    <a:pt x="15499" y="2547"/>
                  </a:lnTo>
                  <a:lnTo>
                    <a:pt x="15499" y="2393"/>
                  </a:lnTo>
                  <a:lnTo>
                    <a:pt x="14750" y="2393"/>
                  </a:lnTo>
                  <a:lnTo>
                    <a:pt x="14002" y="2393"/>
                  </a:lnTo>
                  <a:lnTo>
                    <a:pt x="14002" y="2547"/>
                  </a:lnTo>
                  <a:close/>
                  <a:moveTo>
                    <a:pt x="15171" y="3639"/>
                  </a:moveTo>
                  <a:lnTo>
                    <a:pt x="15171" y="3751"/>
                  </a:lnTo>
                  <a:lnTo>
                    <a:pt x="15168" y="3760"/>
                  </a:lnTo>
                  <a:lnTo>
                    <a:pt x="15164" y="3765"/>
                  </a:lnTo>
                  <a:lnTo>
                    <a:pt x="15158" y="3769"/>
                  </a:lnTo>
                  <a:lnTo>
                    <a:pt x="15150" y="3771"/>
                  </a:lnTo>
                  <a:lnTo>
                    <a:pt x="15142" y="3769"/>
                  </a:lnTo>
                  <a:lnTo>
                    <a:pt x="15136" y="3765"/>
                  </a:lnTo>
                  <a:lnTo>
                    <a:pt x="15132" y="3760"/>
                  </a:lnTo>
                  <a:lnTo>
                    <a:pt x="15131" y="3751"/>
                  </a:lnTo>
                  <a:lnTo>
                    <a:pt x="15131" y="3639"/>
                  </a:lnTo>
                  <a:lnTo>
                    <a:pt x="15132" y="3630"/>
                  </a:lnTo>
                  <a:lnTo>
                    <a:pt x="15136" y="3624"/>
                  </a:lnTo>
                  <a:lnTo>
                    <a:pt x="15142" y="3620"/>
                  </a:lnTo>
                  <a:lnTo>
                    <a:pt x="15150" y="3618"/>
                  </a:lnTo>
                  <a:lnTo>
                    <a:pt x="15158" y="3620"/>
                  </a:lnTo>
                  <a:lnTo>
                    <a:pt x="15164" y="3624"/>
                  </a:lnTo>
                  <a:lnTo>
                    <a:pt x="15168" y="3630"/>
                  </a:lnTo>
                  <a:lnTo>
                    <a:pt x="15171" y="3639"/>
                  </a:lnTo>
                  <a:close/>
                  <a:moveTo>
                    <a:pt x="14908" y="3639"/>
                  </a:moveTo>
                  <a:lnTo>
                    <a:pt x="14908" y="3751"/>
                  </a:lnTo>
                  <a:lnTo>
                    <a:pt x="14905" y="3760"/>
                  </a:lnTo>
                  <a:lnTo>
                    <a:pt x="14901" y="3765"/>
                  </a:lnTo>
                  <a:lnTo>
                    <a:pt x="14895" y="3769"/>
                  </a:lnTo>
                  <a:lnTo>
                    <a:pt x="14887" y="3771"/>
                  </a:lnTo>
                  <a:lnTo>
                    <a:pt x="14880" y="3769"/>
                  </a:lnTo>
                  <a:lnTo>
                    <a:pt x="14873" y="3765"/>
                  </a:lnTo>
                  <a:lnTo>
                    <a:pt x="14869" y="3760"/>
                  </a:lnTo>
                  <a:lnTo>
                    <a:pt x="14867" y="3751"/>
                  </a:lnTo>
                  <a:lnTo>
                    <a:pt x="14867" y="3639"/>
                  </a:lnTo>
                  <a:lnTo>
                    <a:pt x="14869" y="3630"/>
                  </a:lnTo>
                  <a:lnTo>
                    <a:pt x="14873" y="3624"/>
                  </a:lnTo>
                  <a:lnTo>
                    <a:pt x="14880" y="3620"/>
                  </a:lnTo>
                  <a:lnTo>
                    <a:pt x="14887" y="3618"/>
                  </a:lnTo>
                  <a:lnTo>
                    <a:pt x="14895" y="3620"/>
                  </a:lnTo>
                  <a:lnTo>
                    <a:pt x="14901" y="3624"/>
                  </a:lnTo>
                  <a:lnTo>
                    <a:pt x="14905" y="3630"/>
                  </a:lnTo>
                  <a:lnTo>
                    <a:pt x="14908" y="3639"/>
                  </a:lnTo>
                  <a:close/>
                  <a:moveTo>
                    <a:pt x="14644" y="3639"/>
                  </a:moveTo>
                  <a:lnTo>
                    <a:pt x="14644" y="3751"/>
                  </a:lnTo>
                  <a:lnTo>
                    <a:pt x="14642" y="3760"/>
                  </a:lnTo>
                  <a:lnTo>
                    <a:pt x="14637" y="3765"/>
                  </a:lnTo>
                  <a:lnTo>
                    <a:pt x="14631" y="3769"/>
                  </a:lnTo>
                  <a:lnTo>
                    <a:pt x="14624" y="3771"/>
                  </a:lnTo>
                  <a:lnTo>
                    <a:pt x="14617" y="3769"/>
                  </a:lnTo>
                  <a:lnTo>
                    <a:pt x="14610" y="3765"/>
                  </a:lnTo>
                  <a:lnTo>
                    <a:pt x="14606" y="3760"/>
                  </a:lnTo>
                  <a:lnTo>
                    <a:pt x="14604" y="3751"/>
                  </a:lnTo>
                  <a:lnTo>
                    <a:pt x="14604" y="3639"/>
                  </a:lnTo>
                  <a:lnTo>
                    <a:pt x="14606" y="3630"/>
                  </a:lnTo>
                  <a:lnTo>
                    <a:pt x="14610" y="3624"/>
                  </a:lnTo>
                  <a:lnTo>
                    <a:pt x="14617" y="3620"/>
                  </a:lnTo>
                  <a:lnTo>
                    <a:pt x="14624" y="3618"/>
                  </a:lnTo>
                  <a:lnTo>
                    <a:pt x="14631" y="3620"/>
                  </a:lnTo>
                  <a:lnTo>
                    <a:pt x="14637" y="3624"/>
                  </a:lnTo>
                  <a:lnTo>
                    <a:pt x="14642" y="3630"/>
                  </a:lnTo>
                  <a:lnTo>
                    <a:pt x="14644" y="3639"/>
                  </a:lnTo>
                  <a:close/>
                  <a:moveTo>
                    <a:pt x="14381" y="3639"/>
                  </a:moveTo>
                  <a:lnTo>
                    <a:pt x="14381" y="3751"/>
                  </a:lnTo>
                  <a:lnTo>
                    <a:pt x="14379" y="3760"/>
                  </a:lnTo>
                  <a:lnTo>
                    <a:pt x="14374" y="3765"/>
                  </a:lnTo>
                  <a:lnTo>
                    <a:pt x="14368" y="3769"/>
                  </a:lnTo>
                  <a:lnTo>
                    <a:pt x="14362" y="3771"/>
                  </a:lnTo>
                  <a:lnTo>
                    <a:pt x="14354" y="3769"/>
                  </a:lnTo>
                  <a:lnTo>
                    <a:pt x="14347" y="3765"/>
                  </a:lnTo>
                  <a:lnTo>
                    <a:pt x="14342" y="3760"/>
                  </a:lnTo>
                  <a:lnTo>
                    <a:pt x="14341" y="3751"/>
                  </a:lnTo>
                  <a:lnTo>
                    <a:pt x="14341" y="3639"/>
                  </a:lnTo>
                  <a:lnTo>
                    <a:pt x="14342" y="3630"/>
                  </a:lnTo>
                  <a:lnTo>
                    <a:pt x="14347" y="3624"/>
                  </a:lnTo>
                  <a:lnTo>
                    <a:pt x="14354" y="3620"/>
                  </a:lnTo>
                  <a:lnTo>
                    <a:pt x="14362" y="3618"/>
                  </a:lnTo>
                  <a:lnTo>
                    <a:pt x="14368" y="3620"/>
                  </a:lnTo>
                  <a:lnTo>
                    <a:pt x="14374" y="3624"/>
                  </a:lnTo>
                  <a:lnTo>
                    <a:pt x="14379" y="3630"/>
                  </a:lnTo>
                  <a:lnTo>
                    <a:pt x="14381" y="3639"/>
                  </a:lnTo>
                  <a:close/>
                  <a:moveTo>
                    <a:pt x="14118" y="3639"/>
                  </a:moveTo>
                  <a:lnTo>
                    <a:pt x="14118" y="3751"/>
                  </a:lnTo>
                  <a:lnTo>
                    <a:pt x="14117" y="3760"/>
                  </a:lnTo>
                  <a:lnTo>
                    <a:pt x="14111" y="3765"/>
                  </a:lnTo>
                  <a:lnTo>
                    <a:pt x="14105" y="3769"/>
                  </a:lnTo>
                  <a:lnTo>
                    <a:pt x="14097" y="3771"/>
                  </a:lnTo>
                  <a:lnTo>
                    <a:pt x="14091" y="3769"/>
                  </a:lnTo>
                  <a:lnTo>
                    <a:pt x="14085" y="3765"/>
                  </a:lnTo>
                  <a:lnTo>
                    <a:pt x="14079" y="3760"/>
                  </a:lnTo>
                  <a:lnTo>
                    <a:pt x="14078" y="3751"/>
                  </a:lnTo>
                  <a:lnTo>
                    <a:pt x="14078" y="3639"/>
                  </a:lnTo>
                  <a:lnTo>
                    <a:pt x="14079" y="3630"/>
                  </a:lnTo>
                  <a:lnTo>
                    <a:pt x="14085" y="3624"/>
                  </a:lnTo>
                  <a:lnTo>
                    <a:pt x="14091" y="3620"/>
                  </a:lnTo>
                  <a:lnTo>
                    <a:pt x="14097" y="3618"/>
                  </a:lnTo>
                  <a:lnTo>
                    <a:pt x="14105" y="3620"/>
                  </a:lnTo>
                  <a:lnTo>
                    <a:pt x="14111" y="3624"/>
                  </a:lnTo>
                  <a:lnTo>
                    <a:pt x="14117" y="3630"/>
                  </a:lnTo>
                  <a:lnTo>
                    <a:pt x="14118" y="3639"/>
                  </a:lnTo>
                  <a:close/>
                  <a:moveTo>
                    <a:pt x="15434" y="3392"/>
                  </a:moveTo>
                  <a:lnTo>
                    <a:pt x="15434" y="3505"/>
                  </a:lnTo>
                  <a:lnTo>
                    <a:pt x="15432" y="3514"/>
                  </a:lnTo>
                  <a:lnTo>
                    <a:pt x="15427" y="3520"/>
                  </a:lnTo>
                  <a:lnTo>
                    <a:pt x="15421" y="3524"/>
                  </a:lnTo>
                  <a:lnTo>
                    <a:pt x="15413" y="3524"/>
                  </a:lnTo>
                  <a:lnTo>
                    <a:pt x="15407" y="3524"/>
                  </a:lnTo>
                  <a:lnTo>
                    <a:pt x="15400" y="3520"/>
                  </a:lnTo>
                  <a:lnTo>
                    <a:pt x="15395" y="3514"/>
                  </a:lnTo>
                  <a:lnTo>
                    <a:pt x="15394" y="3505"/>
                  </a:lnTo>
                  <a:lnTo>
                    <a:pt x="15394" y="3392"/>
                  </a:lnTo>
                  <a:lnTo>
                    <a:pt x="15395" y="3383"/>
                  </a:lnTo>
                  <a:lnTo>
                    <a:pt x="15400" y="3378"/>
                  </a:lnTo>
                  <a:lnTo>
                    <a:pt x="15407" y="3374"/>
                  </a:lnTo>
                  <a:lnTo>
                    <a:pt x="15413" y="3373"/>
                  </a:lnTo>
                  <a:lnTo>
                    <a:pt x="15421" y="3374"/>
                  </a:lnTo>
                  <a:lnTo>
                    <a:pt x="15427" y="3378"/>
                  </a:lnTo>
                  <a:lnTo>
                    <a:pt x="15432" y="3383"/>
                  </a:lnTo>
                  <a:lnTo>
                    <a:pt x="15434" y="3392"/>
                  </a:lnTo>
                  <a:close/>
                  <a:moveTo>
                    <a:pt x="15171" y="3392"/>
                  </a:moveTo>
                  <a:lnTo>
                    <a:pt x="15171" y="3505"/>
                  </a:lnTo>
                  <a:lnTo>
                    <a:pt x="15168" y="3514"/>
                  </a:lnTo>
                  <a:lnTo>
                    <a:pt x="15164" y="3520"/>
                  </a:lnTo>
                  <a:lnTo>
                    <a:pt x="15158" y="3524"/>
                  </a:lnTo>
                  <a:lnTo>
                    <a:pt x="15150" y="3524"/>
                  </a:lnTo>
                  <a:lnTo>
                    <a:pt x="15142" y="3524"/>
                  </a:lnTo>
                  <a:lnTo>
                    <a:pt x="15136" y="3520"/>
                  </a:lnTo>
                  <a:lnTo>
                    <a:pt x="15132" y="3514"/>
                  </a:lnTo>
                  <a:lnTo>
                    <a:pt x="15131" y="3505"/>
                  </a:lnTo>
                  <a:lnTo>
                    <a:pt x="15131" y="3392"/>
                  </a:lnTo>
                  <a:lnTo>
                    <a:pt x="15132" y="3383"/>
                  </a:lnTo>
                  <a:lnTo>
                    <a:pt x="15136" y="3378"/>
                  </a:lnTo>
                  <a:lnTo>
                    <a:pt x="15142" y="3374"/>
                  </a:lnTo>
                  <a:lnTo>
                    <a:pt x="15150" y="3373"/>
                  </a:lnTo>
                  <a:lnTo>
                    <a:pt x="15158" y="3374"/>
                  </a:lnTo>
                  <a:lnTo>
                    <a:pt x="15164" y="3378"/>
                  </a:lnTo>
                  <a:lnTo>
                    <a:pt x="15168" y="3383"/>
                  </a:lnTo>
                  <a:lnTo>
                    <a:pt x="15171" y="3392"/>
                  </a:lnTo>
                  <a:close/>
                  <a:moveTo>
                    <a:pt x="14908" y="3392"/>
                  </a:moveTo>
                  <a:lnTo>
                    <a:pt x="14908" y="3505"/>
                  </a:lnTo>
                  <a:lnTo>
                    <a:pt x="14905" y="3514"/>
                  </a:lnTo>
                  <a:lnTo>
                    <a:pt x="14901" y="3520"/>
                  </a:lnTo>
                  <a:lnTo>
                    <a:pt x="14895" y="3524"/>
                  </a:lnTo>
                  <a:lnTo>
                    <a:pt x="14887" y="3524"/>
                  </a:lnTo>
                  <a:lnTo>
                    <a:pt x="14880" y="3524"/>
                  </a:lnTo>
                  <a:lnTo>
                    <a:pt x="14873" y="3520"/>
                  </a:lnTo>
                  <a:lnTo>
                    <a:pt x="14869" y="3514"/>
                  </a:lnTo>
                  <a:lnTo>
                    <a:pt x="14867" y="3505"/>
                  </a:lnTo>
                  <a:lnTo>
                    <a:pt x="14867" y="3392"/>
                  </a:lnTo>
                  <a:lnTo>
                    <a:pt x="14869" y="3383"/>
                  </a:lnTo>
                  <a:lnTo>
                    <a:pt x="14873" y="3378"/>
                  </a:lnTo>
                  <a:lnTo>
                    <a:pt x="14880" y="3374"/>
                  </a:lnTo>
                  <a:lnTo>
                    <a:pt x="14887" y="3373"/>
                  </a:lnTo>
                  <a:lnTo>
                    <a:pt x="14895" y="3374"/>
                  </a:lnTo>
                  <a:lnTo>
                    <a:pt x="14901" y="3378"/>
                  </a:lnTo>
                  <a:lnTo>
                    <a:pt x="14905" y="3383"/>
                  </a:lnTo>
                  <a:lnTo>
                    <a:pt x="14908" y="3392"/>
                  </a:lnTo>
                  <a:close/>
                  <a:moveTo>
                    <a:pt x="14644" y="3392"/>
                  </a:moveTo>
                  <a:lnTo>
                    <a:pt x="14644" y="3505"/>
                  </a:lnTo>
                  <a:lnTo>
                    <a:pt x="14642" y="3514"/>
                  </a:lnTo>
                  <a:lnTo>
                    <a:pt x="14637" y="3520"/>
                  </a:lnTo>
                  <a:lnTo>
                    <a:pt x="14631" y="3524"/>
                  </a:lnTo>
                  <a:lnTo>
                    <a:pt x="14624" y="3524"/>
                  </a:lnTo>
                  <a:lnTo>
                    <a:pt x="14617" y="3524"/>
                  </a:lnTo>
                  <a:lnTo>
                    <a:pt x="14610" y="3520"/>
                  </a:lnTo>
                  <a:lnTo>
                    <a:pt x="14606" y="3514"/>
                  </a:lnTo>
                  <a:lnTo>
                    <a:pt x="14604" y="3505"/>
                  </a:lnTo>
                  <a:lnTo>
                    <a:pt x="14604" y="3392"/>
                  </a:lnTo>
                  <a:lnTo>
                    <a:pt x="14606" y="3383"/>
                  </a:lnTo>
                  <a:lnTo>
                    <a:pt x="14610" y="3378"/>
                  </a:lnTo>
                  <a:lnTo>
                    <a:pt x="14617" y="3374"/>
                  </a:lnTo>
                  <a:lnTo>
                    <a:pt x="14624" y="3373"/>
                  </a:lnTo>
                  <a:lnTo>
                    <a:pt x="14631" y="3374"/>
                  </a:lnTo>
                  <a:lnTo>
                    <a:pt x="14637" y="3378"/>
                  </a:lnTo>
                  <a:lnTo>
                    <a:pt x="14642" y="3383"/>
                  </a:lnTo>
                  <a:lnTo>
                    <a:pt x="14644" y="3392"/>
                  </a:lnTo>
                  <a:close/>
                  <a:moveTo>
                    <a:pt x="14381" y="3392"/>
                  </a:moveTo>
                  <a:lnTo>
                    <a:pt x="14381" y="3505"/>
                  </a:lnTo>
                  <a:lnTo>
                    <a:pt x="14379" y="3514"/>
                  </a:lnTo>
                  <a:lnTo>
                    <a:pt x="14374" y="3520"/>
                  </a:lnTo>
                  <a:lnTo>
                    <a:pt x="14368" y="3524"/>
                  </a:lnTo>
                  <a:lnTo>
                    <a:pt x="14362" y="3524"/>
                  </a:lnTo>
                  <a:lnTo>
                    <a:pt x="14354" y="3524"/>
                  </a:lnTo>
                  <a:lnTo>
                    <a:pt x="14347" y="3520"/>
                  </a:lnTo>
                  <a:lnTo>
                    <a:pt x="14342" y="3514"/>
                  </a:lnTo>
                  <a:lnTo>
                    <a:pt x="14341" y="3505"/>
                  </a:lnTo>
                  <a:lnTo>
                    <a:pt x="14341" y="3392"/>
                  </a:lnTo>
                  <a:lnTo>
                    <a:pt x="14342" y="3383"/>
                  </a:lnTo>
                  <a:lnTo>
                    <a:pt x="14347" y="3378"/>
                  </a:lnTo>
                  <a:lnTo>
                    <a:pt x="14354" y="3374"/>
                  </a:lnTo>
                  <a:lnTo>
                    <a:pt x="14362" y="3373"/>
                  </a:lnTo>
                  <a:lnTo>
                    <a:pt x="14368" y="3374"/>
                  </a:lnTo>
                  <a:lnTo>
                    <a:pt x="14374" y="3378"/>
                  </a:lnTo>
                  <a:lnTo>
                    <a:pt x="14379" y="3383"/>
                  </a:lnTo>
                  <a:lnTo>
                    <a:pt x="14381" y="3392"/>
                  </a:lnTo>
                  <a:close/>
                  <a:moveTo>
                    <a:pt x="14118" y="3392"/>
                  </a:moveTo>
                  <a:lnTo>
                    <a:pt x="14118" y="3505"/>
                  </a:lnTo>
                  <a:lnTo>
                    <a:pt x="14117" y="3514"/>
                  </a:lnTo>
                  <a:lnTo>
                    <a:pt x="14111" y="3520"/>
                  </a:lnTo>
                  <a:lnTo>
                    <a:pt x="14105" y="3524"/>
                  </a:lnTo>
                  <a:lnTo>
                    <a:pt x="14097" y="3524"/>
                  </a:lnTo>
                  <a:lnTo>
                    <a:pt x="14091" y="3524"/>
                  </a:lnTo>
                  <a:lnTo>
                    <a:pt x="14085" y="3520"/>
                  </a:lnTo>
                  <a:lnTo>
                    <a:pt x="14079" y="3514"/>
                  </a:lnTo>
                  <a:lnTo>
                    <a:pt x="14078" y="3505"/>
                  </a:lnTo>
                  <a:lnTo>
                    <a:pt x="14078" y="3392"/>
                  </a:lnTo>
                  <a:lnTo>
                    <a:pt x="14079" y="3383"/>
                  </a:lnTo>
                  <a:lnTo>
                    <a:pt x="14085" y="3378"/>
                  </a:lnTo>
                  <a:lnTo>
                    <a:pt x="14091" y="3374"/>
                  </a:lnTo>
                  <a:lnTo>
                    <a:pt x="14097" y="3373"/>
                  </a:lnTo>
                  <a:lnTo>
                    <a:pt x="14105" y="3374"/>
                  </a:lnTo>
                  <a:lnTo>
                    <a:pt x="14111" y="3378"/>
                  </a:lnTo>
                  <a:lnTo>
                    <a:pt x="14117" y="3383"/>
                  </a:lnTo>
                  <a:lnTo>
                    <a:pt x="14118" y="3392"/>
                  </a:lnTo>
                  <a:close/>
                  <a:moveTo>
                    <a:pt x="15434" y="3145"/>
                  </a:moveTo>
                  <a:lnTo>
                    <a:pt x="15434" y="3258"/>
                  </a:lnTo>
                  <a:lnTo>
                    <a:pt x="15432" y="3267"/>
                  </a:lnTo>
                  <a:lnTo>
                    <a:pt x="15427" y="3273"/>
                  </a:lnTo>
                  <a:lnTo>
                    <a:pt x="15421" y="3277"/>
                  </a:lnTo>
                  <a:lnTo>
                    <a:pt x="15413" y="3278"/>
                  </a:lnTo>
                  <a:lnTo>
                    <a:pt x="15407" y="3277"/>
                  </a:lnTo>
                  <a:lnTo>
                    <a:pt x="15400" y="3273"/>
                  </a:lnTo>
                  <a:lnTo>
                    <a:pt x="15395" y="3267"/>
                  </a:lnTo>
                  <a:lnTo>
                    <a:pt x="15394" y="3258"/>
                  </a:lnTo>
                  <a:lnTo>
                    <a:pt x="15394" y="3145"/>
                  </a:lnTo>
                  <a:lnTo>
                    <a:pt x="15395" y="3138"/>
                  </a:lnTo>
                  <a:lnTo>
                    <a:pt x="15400" y="3131"/>
                  </a:lnTo>
                  <a:lnTo>
                    <a:pt x="15407" y="3127"/>
                  </a:lnTo>
                  <a:lnTo>
                    <a:pt x="15413" y="3126"/>
                  </a:lnTo>
                  <a:lnTo>
                    <a:pt x="15421" y="3127"/>
                  </a:lnTo>
                  <a:lnTo>
                    <a:pt x="15427" y="3131"/>
                  </a:lnTo>
                  <a:lnTo>
                    <a:pt x="15432" y="3138"/>
                  </a:lnTo>
                  <a:lnTo>
                    <a:pt x="15434" y="3145"/>
                  </a:lnTo>
                  <a:close/>
                  <a:moveTo>
                    <a:pt x="15171" y="3145"/>
                  </a:moveTo>
                  <a:lnTo>
                    <a:pt x="15171" y="3258"/>
                  </a:lnTo>
                  <a:lnTo>
                    <a:pt x="15168" y="3267"/>
                  </a:lnTo>
                  <a:lnTo>
                    <a:pt x="15164" y="3273"/>
                  </a:lnTo>
                  <a:lnTo>
                    <a:pt x="15158" y="3277"/>
                  </a:lnTo>
                  <a:lnTo>
                    <a:pt x="15150" y="3278"/>
                  </a:lnTo>
                  <a:lnTo>
                    <a:pt x="15142" y="3277"/>
                  </a:lnTo>
                  <a:lnTo>
                    <a:pt x="15136" y="3273"/>
                  </a:lnTo>
                  <a:lnTo>
                    <a:pt x="15132" y="3267"/>
                  </a:lnTo>
                  <a:lnTo>
                    <a:pt x="15131" y="3258"/>
                  </a:lnTo>
                  <a:lnTo>
                    <a:pt x="15131" y="3145"/>
                  </a:lnTo>
                  <a:lnTo>
                    <a:pt x="15132" y="3138"/>
                  </a:lnTo>
                  <a:lnTo>
                    <a:pt x="15136" y="3131"/>
                  </a:lnTo>
                  <a:lnTo>
                    <a:pt x="15142" y="3127"/>
                  </a:lnTo>
                  <a:lnTo>
                    <a:pt x="15150" y="3126"/>
                  </a:lnTo>
                  <a:lnTo>
                    <a:pt x="15158" y="3127"/>
                  </a:lnTo>
                  <a:lnTo>
                    <a:pt x="15164" y="3131"/>
                  </a:lnTo>
                  <a:lnTo>
                    <a:pt x="15168" y="3138"/>
                  </a:lnTo>
                  <a:lnTo>
                    <a:pt x="15171" y="3145"/>
                  </a:lnTo>
                  <a:close/>
                  <a:moveTo>
                    <a:pt x="14908" y="3145"/>
                  </a:moveTo>
                  <a:lnTo>
                    <a:pt x="14908" y="3258"/>
                  </a:lnTo>
                  <a:lnTo>
                    <a:pt x="14905" y="3267"/>
                  </a:lnTo>
                  <a:lnTo>
                    <a:pt x="14901" y="3273"/>
                  </a:lnTo>
                  <a:lnTo>
                    <a:pt x="14895" y="3277"/>
                  </a:lnTo>
                  <a:lnTo>
                    <a:pt x="14887" y="3278"/>
                  </a:lnTo>
                  <a:lnTo>
                    <a:pt x="14880" y="3277"/>
                  </a:lnTo>
                  <a:lnTo>
                    <a:pt x="14873" y="3273"/>
                  </a:lnTo>
                  <a:lnTo>
                    <a:pt x="14869" y="3267"/>
                  </a:lnTo>
                  <a:lnTo>
                    <a:pt x="14867" y="3258"/>
                  </a:lnTo>
                  <a:lnTo>
                    <a:pt x="14867" y="3145"/>
                  </a:lnTo>
                  <a:lnTo>
                    <a:pt x="14869" y="3138"/>
                  </a:lnTo>
                  <a:lnTo>
                    <a:pt x="14873" y="3131"/>
                  </a:lnTo>
                  <a:lnTo>
                    <a:pt x="14880" y="3127"/>
                  </a:lnTo>
                  <a:lnTo>
                    <a:pt x="14887" y="3126"/>
                  </a:lnTo>
                  <a:lnTo>
                    <a:pt x="14895" y="3127"/>
                  </a:lnTo>
                  <a:lnTo>
                    <a:pt x="14901" y="3131"/>
                  </a:lnTo>
                  <a:lnTo>
                    <a:pt x="14905" y="3138"/>
                  </a:lnTo>
                  <a:lnTo>
                    <a:pt x="14908" y="3145"/>
                  </a:lnTo>
                  <a:close/>
                  <a:moveTo>
                    <a:pt x="14644" y="3145"/>
                  </a:moveTo>
                  <a:lnTo>
                    <a:pt x="14644" y="3258"/>
                  </a:lnTo>
                  <a:lnTo>
                    <a:pt x="14642" y="3267"/>
                  </a:lnTo>
                  <a:lnTo>
                    <a:pt x="14637" y="3273"/>
                  </a:lnTo>
                  <a:lnTo>
                    <a:pt x="14631" y="3277"/>
                  </a:lnTo>
                  <a:lnTo>
                    <a:pt x="14624" y="3278"/>
                  </a:lnTo>
                  <a:lnTo>
                    <a:pt x="14617" y="3277"/>
                  </a:lnTo>
                  <a:lnTo>
                    <a:pt x="14610" y="3273"/>
                  </a:lnTo>
                  <a:lnTo>
                    <a:pt x="14606" y="3267"/>
                  </a:lnTo>
                  <a:lnTo>
                    <a:pt x="14604" y="3258"/>
                  </a:lnTo>
                  <a:lnTo>
                    <a:pt x="14604" y="3145"/>
                  </a:lnTo>
                  <a:lnTo>
                    <a:pt x="14606" y="3138"/>
                  </a:lnTo>
                  <a:lnTo>
                    <a:pt x="14610" y="3131"/>
                  </a:lnTo>
                  <a:lnTo>
                    <a:pt x="14617" y="3127"/>
                  </a:lnTo>
                  <a:lnTo>
                    <a:pt x="14624" y="3126"/>
                  </a:lnTo>
                  <a:lnTo>
                    <a:pt x="14631" y="3127"/>
                  </a:lnTo>
                  <a:lnTo>
                    <a:pt x="14637" y="3131"/>
                  </a:lnTo>
                  <a:lnTo>
                    <a:pt x="14642" y="3138"/>
                  </a:lnTo>
                  <a:lnTo>
                    <a:pt x="14644" y="3145"/>
                  </a:lnTo>
                  <a:close/>
                  <a:moveTo>
                    <a:pt x="14381" y="3145"/>
                  </a:moveTo>
                  <a:lnTo>
                    <a:pt x="14381" y="3258"/>
                  </a:lnTo>
                  <a:lnTo>
                    <a:pt x="14379" y="3267"/>
                  </a:lnTo>
                  <a:lnTo>
                    <a:pt x="14374" y="3273"/>
                  </a:lnTo>
                  <a:lnTo>
                    <a:pt x="14368" y="3277"/>
                  </a:lnTo>
                  <a:lnTo>
                    <a:pt x="14362" y="3278"/>
                  </a:lnTo>
                  <a:lnTo>
                    <a:pt x="14354" y="3277"/>
                  </a:lnTo>
                  <a:lnTo>
                    <a:pt x="14347" y="3273"/>
                  </a:lnTo>
                  <a:lnTo>
                    <a:pt x="14342" y="3267"/>
                  </a:lnTo>
                  <a:lnTo>
                    <a:pt x="14341" y="3258"/>
                  </a:lnTo>
                  <a:lnTo>
                    <a:pt x="14341" y="3145"/>
                  </a:lnTo>
                  <a:lnTo>
                    <a:pt x="14342" y="3138"/>
                  </a:lnTo>
                  <a:lnTo>
                    <a:pt x="14347" y="3131"/>
                  </a:lnTo>
                  <a:lnTo>
                    <a:pt x="14354" y="3127"/>
                  </a:lnTo>
                  <a:lnTo>
                    <a:pt x="14362" y="3126"/>
                  </a:lnTo>
                  <a:lnTo>
                    <a:pt x="14368" y="3127"/>
                  </a:lnTo>
                  <a:lnTo>
                    <a:pt x="14374" y="3131"/>
                  </a:lnTo>
                  <a:lnTo>
                    <a:pt x="14379" y="3138"/>
                  </a:lnTo>
                  <a:lnTo>
                    <a:pt x="14381" y="3145"/>
                  </a:lnTo>
                  <a:close/>
                  <a:moveTo>
                    <a:pt x="14118" y="3145"/>
                  </a:moveTo>
                  <a:lnTo>
                    <a:pt x="14118" y="3258"/>
                  </a:lnTo>
                  <a:lnTo>
                    <a:pt x="14117" y="3267"/>
                  </a:lnTo>
                  <a:lnTo>
                    <a:pt x="14111" y="3273"/>
                  </a:lnTo>
                  <a:lnTo>
                    <a:pt x="14105" y="3277"/>
                  </a:lnTo>
                  <a:lnTo>
                    <a:pt x="14097" y="3278"/>
                  </a:lnTo>
                  <a:lnTo>
                    <a:pt x="14091" y="3277"/>
                  </a:lnTo>
                  <a:lnTo>
                    <a:pt x="14085" y="3273"/>
                  </a:lnTo>
                  <a:lnTo>
                    <a:pt x="14079" y="3267"/>
                  </a:lnTo>
                  <a:lnTo>
                    <a:pt x="14078" y="3258"/>
                  </a:lnTo>
                  <a:lnTo>
                    <a:pt x="14078" y="3145"/>
                  </a:lnTo>
                  <a:lnTo>
                    <a:pt x="14079" y="3138"/>
                  </a:lnTo>
                  <a:lnTo>
                    <a:pt x="14085" y="3131"/>
                  </a:lnTo>
                  <a:lnTo>
                    <a:pt x="14091" y="3127"/>
                  </a:lnTo>
                  <a:lnTo>
                    <a:pt x="14097" y="3126"/>
                  </a:lnTo>
                  <a:lnTo>
                    <a:pt x="14105" y="3127"/>
                  </a:lnTo>
                  <a:lnTo>
                    <a:pt x="14111" y="3131"/>
                  </a:lnTo>
                  <a:lnTo>
                    <a:pt x="14117" y="3138"/>
                  </a:lnTo>
                  <a:lnTo>
                    <a:pt x="14118" y="3145"/>
                  </a:lnTo>
                  <a:close/>
                  <a:moveTo>
                    <a:pt x="15434" y="2900"/>
                  </a:moveTo>
                  <a:lnTo>
                    <a:pt x="15434" y="3011"/>
                  </a:lnTo>
                  <a:lnTo>
                    <a:pt x="15432" y="3020"/>
                  </a:lnTo>
                  <a:lnTo>
                    <a:pt x="15427" y="3026"/>
                  </a:lnTo>
                  <a:lnTo>
                    <a:pt x="15421" y="3030"/>
                  </a:lnTo>
                  <a:lnTo>
                    <a:pt x="15413" y="3031"/>
                  </a:lnTo>
                  <a:lnTo>
                    <a:pt x="15407" y="3030"/>
                  </a:lnTo>
                  <a:lnTo>
                    <a:pt x="15400" y="3026"/>
                  </a:lnTo>
                  <a:lnTo>
                    <a:pt x="15395" y="3020"/>
                  </a:lnTo>
                  <a:lnTo>
                    <a:pt x="15394" y="3011"/>
                  </a:lnTo>
                  <a:lnTo>
                    <a:pt x="15394" y="2900"/>
                  </a:lnTo>
                  <a:lnTo>
                    <a:pt x="15395" y="2891"/>
                  </a:lnTo>
                  <a:lnTo>
                    <a:pt x="15400" y="2884"/>
                  </a:lnTo>
                  <a:lnTo>
                    <a:pt x="15407" y="2881"/>
                  </a:lnTo>
                  <a:lnTo>
                    <a:pt x="15413" y="2879"/>
                  </a:lnTo>
                  <a:lnTo>
                    <a:pt x="15421" y="2881"/>
                  </a:lnTo>
                  <a:lnTo>
                    <a:pt x="15427" y="2884"/>
                  </a:lnTo>
                  <a:lnTo>
                    <a:pt x="15432" y="2891"/>
                  </a:lnTo>
                  <a:lnTo>
                    <a:pt x="15434" y="2900"/>
                  </a:lnTo>
                  <a:close/>
                  <a:moveTo>
                    <a:pt x="15171" y="2900"/>
                  </a:moveTo>
                  <a:lnTo>
                    <a:pt x="15171" y="3011"/>
                  </a:lnTo>
                  <a:lnTo>
                    <a:pt x="15168" y="3020"/>
                  </a:lnTo>
                  <a:lnTo>
                    <a:pt x="15164" y="3026"/>
                  </a:lnTo>
                  <a:lnTo>
                    <a:pt x="15158" y="3030"/>
                  </a:lnTo>
                  <a:lnTo>
                    <a:pt x="15150" y="3031"/>
                  </a:lnTo>
                  <a:lnTo>
                    <a:pt x="15142" y="3030"/>
                  </a:lnTo>
                  <a:lnTo>
                    <a:pt x="15136" y="3026"/>
                  </a:lnTo>
                  <a:lnTo>
                    <a:pt x="15132" y="3020"/>
                  </a:lnTo>
                  <a:lnTo>
                    <a:pt x="15131" y="3011"/>
                  </a:lnTo>
                  <a:lnTo>
                    <a:pt x="15131" y="2900"/>
                  </a:lnTo>
                  <a:lnTo>
                    <a:pt x="15132" y="2891"/>
                  </a:lnTo>
                  <a:lnTo>
                    <a:pt x="15136" y="2884"/>
                  </a:lnTo>
                  <a:lnTo>
                    <a:pt x="15142" y="2881"/>
                  </a:lnTo>
                  <a:lnTo>
                    <a:pt x="15150" y="2879"/>
                  </a:lnTo>
                  <a:lnTo>
                    <a:pt x="15158" y="2881"/>
                  </a:lnTo>
                  <a:lnTo>
                    <a:pt x="15164" y="2884"/>
                  </a:lnTo>
                  <a:lnTo>
                    <a:pt x="15168" y="2891"/>
                  </a:lnTo>
                  <a:lnTo>
                    <a:pt x="15171" y="2900"/>
                  </a:lnTo>
                  <a:close/>
                  <a:moveTo>
                    <a:pt x="14908" y="2900"/>
                  </a:moveTo>
                  <a:lnTo>
                    <a:pt x="14908" y="3011"/>
                  </a:lnTo>
                  <a:lnTo>
                    <a:pt x="14905" y="3020"/>
                  </a:lnTo>
                  <a:lnTo>
                    <a:pt x="14901" y="3026"/>
                  </a:lnTo>
                  <a:lnTo>
                    <a:pt x="14895" y="3030"/>
                  </a:lnTo>
                  <a:lnTo>
                    <a:pt x="14887" y="3031"/>
                  </a:lnTo>
                  <a:lnTo>
                    <a:pt x="14880" y="3030"/>
                  </a:lnTo>
                  <a:lnTo>
                    <a:pt x="14873" y="3026"/>
                  </a:lnTo>
                  <a:lnTo>
                    <a:pt x="14869" y="3020"/>
                  </a:lnTo>
                  <a:lnTo>
                    <a:pt x="14867" y="3011"/>
                  </a:lnTo>
                  <a:lnTo>
                    <a:pt x="14867" y="2900"/>
                  </a:lnTo>
                  <a:lnTo>
                    <a:pt x="14869" y="2891"/>
                  </a:lnTo>
                  <a:lnTo>
                    <a:pt x="14873" y="2884"/>
                  </a:lnTo>
                  <a:lnTo>
                    <a:pt x="14880" y="2881"/>
                  </a:lnTo>
                  <a:lnTo>
                    <a:pt x="14887" y="2879"/>
                  </a:lnTo>
                  <a:lnTo>
                    <a:pt x="14895" y="2881"/>
                  </a:lnTo>
                  <a:lnTo>
                    <a:pt x="14901" y="2884"/>
                  </a:lnTo>
                  <a:lnTo>
                    <a:pt x="14905" y="2891"/>
                  </a:lnTo>
                  <a:lnTo>
                    <a:pt x="14908" y="2900"/>
                  </a:lnTo>
                  <a:close/>
                  <a:moveTo>
                    <a:pt x="14644" y="2900"/>
                  </a:moveTo>
                  <a:lnTo>
                    <a:pt x="14644" y="3011"/>
                  </a:lnTo>
                  <a:lnTo>
                    <a:pt x="14642" y="3020"/>
                  </a:lnTo>
                  <a:lnTo>
                    <a:pt x="14637" y="3026"/>
                  </a:lnTo>
                  <a:lnTo>
                    <a:pt x="14631" y="3030"/>
                  </a:lnTo>
                  <a:lnTo>
                    <a:pt x="14624" y="3031"/>
                  </a:lnTo>
                  <a:lnTo>
                    <a:pt x="14617" y="3030"/>
                  </a:lnTo>
                  <a:lnTo>
                    <a:pt x="14610" y="3026"/>
                  </a:lnTo>
                  <a:lnTo>
                    <a:pt x="14606" y="3020"/>
                  </a:lnTo>
                  <a:lnTo>
                    <a:pt x="14604" y="3011"/>
                  </a:lnTo>
                  <a:lnTo>
                    <a:pt x="14604" y="2900"/>
                  </a:lnTo>
                  <a:lnTo>
                    <a:pt x="14606" y="2891"/>
                  </a:lnTo>
                  <a:lnTo>
                    <a:pt x="14610" y="2884"/>
                  </a:lnTo>
                  <a:lnTo>
                    <a:pt x="14617" y="2881"/>
                  </a:lnTo>
                  <a:lnTo>
                    <a:pt x="14624" y="2879"/>
                  </a:lnTo>
                  <a:lnTo>
                    <a:pt x="14631" y="2881"/>
                  </a:lnTo>
                  <a:lnTo>
                    <a:pt x="14637" y="2884"/>
                  </a:lnTo>
                  <a:lnTo>
                    <a:pt x="14642" y="2891"/>
                  </a:lnTo>
                  <a:lnTo>
                    <a:pt x="14644" y="2900"/>
                  </a:lnTo>
                  <a:close/>
                  <a:moveTo>
                    <a:pt x="14381" y="2900"/>
                  </a:moveTo>
                  <a:lnTo>
                    <a:pt x="14381" y="3011"/>
                  </a:lnTo>
                  <a:lnTo>
                    <a:pt x="14379" y="3020"/>
                  </a:lnTo>
                  <a:lnTo>
                    <a:pt x="14374" y="3026"/>
                  </a:lnTo>
                  <a:lnTo>
                    <a:pt x="14368" y="3030"/>
                  </a:lnTo>
                  <a:lnTo>
                    <a:pt x="14362" y="3031"/>
                  </a:lnTo>
                  <a:lnTo>
                    <a:pt x="14354" y="3030"/>
                  </a:lnTo>
                  <a:lnTo>
                    <a:pt x="14347" y="3026"/>
                  </a:lnTo>
                  <a:lnTo>
                    <a:pt x="14342" y="3020"/>
                  </a:lnTo>
                  <a:lnTo>
                    <a:pt x="14341" y="3011"/>
                  </a:lnTo>
                  <a:lnTo>
                    <a:pt x="14341" y="2900"/>
                  </a:lnTo>
                  <a:lnTo>
                    <a:pt x="14342" y="2891"/>
                  </a:lnTo>
                  <a:lnTo>
                    <a:pt x="14347" y="2884"/>
                  </a:lnTo>
                  <a:lnTo>
                    <a:pt x="14354" y="2881"/>
                  </a:lnTo>
                  <a:lnTo>
                    <a:pt x="14362" y="2879"/>
                  </a:lnTo>
                  <a:lnTo>
                    <a:pt x="14368" y="2881"/>
                  </a:lnTo>
                  <a:lnTo>
                    <a:pt x="14374" y="2884"/>
                  </a:lnTo>
                  <a:lnTo>
                    <a:pt x="14379" y="2891"/>
                  </a:lnTo>
                  <a:lnTo>
                    <a:pt x="14381" y="2900"/>
                  </a:lnTo>
                  <a:close/>
                  <a:moveTo>
                    <a:pt x="14118" y="2900"/>
                  </a:moveTo>
                  <a:lnTo>
                    <a:pt x="14118" y="3011"/>
                  </a:lnTo>
                  <a:lnTo>
                    <a:pt x="14117" y="3020"/>
                  </a:lnTo>
                  <a:lnTo>
                    <a:pt x="14111" y="3026"/>
                  </a:lnTo>
                  <a:lnTo>
                    <a:pt x="14105" y="3030"/>
                  </a:lnTo>
                  <a:lnTo>
                    <a:pt x="14097" y="3031"/>
                  </a:lnTo>
                  <a:lnTo>
                    <a:pt x="14091" y="3030"/>
                  </a:lnTo>
                  <a:lnTo>
                    <a:pt x="14085" y="3026"/>
                  </a:lnTo>
                  <a:lnTo>
                    <a:pt x="14079" y="3020"/>
                  </a:lnTo>
                  <a:lnTo>
                    <a:pt x="14078" y="3011"/>
                  </a:lnTo>
                  <a:lnTo>
                    <a:pt x="14078" y="2900"/>
                  </a:lnTo>
                  <a:lnTo>
                    <a:pt x="14079" y="2891"/>
                  </a:lnTo>
                  <a:lnTo>
                    <a:pt x="14085" y="2884"/>
                  </a:lnTo>
                  <a:lnTo>
                    <a:pt x="14091" y="2881"/>
                  </a:lnTo>
                  <a:lnTo>
                    <a:pt x="14097" y="2879"/>
                  </a:lnTo>
                  <a:lnTo>
                    <a:pt x="14105" y="2881"/>
                  </a:lnTo>
                  <a:lnTo>
                    <a:pt x="14111" y="2884"/>
                  </a:lnTo>
                  <a:lnTo>
                    <a:pt x="14117" y="2891"/>
                  </a:lnTo>
                  <a:lnTo>
                    <a:pt x="14118" y="2900"/>
                  </a:lnTo>
                  <a:close/>
                  <a:moveTo>
                    <a:pt x="15434" y="3639"/>
                  </a:moveTo>
                  <a:lnTo>
                    <a:pt x="15434" y="3751"/>
                  </a:lnTo>
                  <a:lnTo>
                    <a:pt x="15432" y="3760"/>
                  </a:lnTo>
                  <a:lnTo>
                    <a:pt x="15427" y="3765"/>
                  </a:lnTo>
                  <a:lnTo>
                    <a:pt x="15421" y="3769"/>
                  </a:lnTo>
                  <a:lnTo>
                    <a:pt x="15413" y="3771"/>
                  </a:lnTo>
                  <a:lnTo>
                    <a:pt x="15407" y="3769"/>
                  </a:lnTo>
                  <a:lnTo>
                    <a:pt x="15400" y="3765"/>
                  </a:lnTo>
                  <a:lnTo>
                    <a:pt x="15395" y="3760"/>
                  </a:lnTo>
                  <a:lnTo>
                    <a:pt x="15394" y="3751"/>
                  </a:lnTo>
                  <a:lnTo>
                    <a:pt x="15394" y="3639"/>
                  </a:lnTo>
                  <a:lnTo>
                    <a:pt x="15395" y="3630"/>
                  </a:lnTo>
                  <a:lnTo>
                    <a:pt x="15400" y="3624"/>
                  </a:lnTo>
                  <a:lnTo>
                    <a:pt x="15407" y="3620"/>
                  </a:lnTo>
                  <a:lnTo>
                    <a:pt x="15413" y="3618"/>
                  </a:lnTo>
                  <a:lnTo>
                    <a:pt x="15421" y="3620"/>
                  </a:lnTo>
                  <a:lnTo>
                    <a:pt x="15427" y="3624"/>
                  </a:lnTo>
                  <a:lnTo>
                    <a:pt x="15432" y="3630"/>
                  </a:lnTo>
                  <a:lnTo>
                    <a:pt x="15434" y="3639"/>
                  </a:lnTo>
                  <a:close/>
                  <a:moveTo>
                    <a:pt x="18172" y="964"/>
                  </a:moveTo>
                  <a:lnTo>
                    <a:pt x="17643" y="964"/>
                  </a:lnTo>
                  <a:lnTo>
                    <a:pt x="17643" y="1019"/>
                  </a:lnTo>
                  <a:lnTo>
                    <a:pt x="18172" y="1019"/>
                  </a:lnTo>
                  <a:lnTo>
                    <a:pt x="18172" y="964"/>
                  </a:lnTo>
                  <a:close/>
                  <a:moveTo>
                    <a:pt x="17665" y="1323"/>
                  </a:moveTo>
                  <a:lnTo>
                    <a:pt x="18163" y="2010"/>
                  </a:lnTo>
                  <a:lnTo>
                    <a:pt x="18134" y="1058"/>
                  </a:lnTo>
                  <a:lnTo>
                    <a:pt x="17680" y="1058"/>
                  </a:lnTo>
                  <a:lnTo>
                    <a:pt x="17665" y="1322"/>
                  </a:lnTo>
                  <a:lnTo>
                    <a:pt x="17665" y="1323"/>
                  </a:lnTo>
                  <a:close/>
                  <a:moveTo>
                    <a:pt x="17638" y="1754"/>
                  </a:moveTo>
                  <a:lnTo>
                    <a:pt x="18179" y="2500"/>
                  </a:lnTo>
                  <a:lnTo>
                    <a:pt x="18166" y="2079"/>
                  </a:lnTo>
                  <a:lnTo>
                    <a:pt x="18161" y="2074"/>
                  </a:lnTo>
                  <a:lnTo>
                    <a:pt x="17661" y="1385"/>
                  </a:lnTo>
                  <a:lnTo>
                    <a:pt x="17638" y="1754"/>
                  </a:lnTo>
                  <a:close/>
                  <a:moveTo>
                    <a:pt x="17611" y="2186"/>
                  </a:moveTo>
                  <a:lnTo>
                    <a:pt x="18194" y="2989"/>
                  </a:lnTo>
                  <a:lnTo>
                    <a:pt x="18181" y="2571"/>
                  </a:lnTo>
                  <a:lnTo>
                    <a:pt x="17634" y="1817"/>
                  </a:lnTo>
                  <a:lnTo>
                    <a:pt x="17611" y="2186"/>
                  </a:lnTo>
                  <a:close/>
                  <a:moveTo>
                    <a:pt x="22919" y="2556"/>
                  </a:moveTo>
                  <a:lnTo>
                    <a:pt x="22895" y="2525"/>
                  </a:lnTo>
                  <a:lnTo>
                    <a:pt x="22869" y="2494"/>
                  </a:lnTo>
                  <a:lnTo>
                    <a:pt x="22841" y="2464"/>
                  </a:lnTo>
                  <a:lnTo>
                    <a:pt x="22812" y="2434"/>
                  </a:lnTo>
                  <a:lnTo>
                    <a:pt x="22748" y="2377"/>
                  </a:lnTo>
                  <a:lnTo>
                    <a:pt x="22714" y="2350"/>
                  </a:lnTo>
                  <a:lnTo>
                    <a:pt x="22678" y="2323"/>
                  </a:lnTo>
                  <a:lnTo>
                    <a:pt x="22603" y="2272"/>
                  </a:lnTo>
                  <a:lnTo>
                    <a:pt x="22522" y="2225"/>
                  </a:lnTo>
                  <a:lnTo>
                    <a:pt x="22436" y="2181"/>
                  </a:lnTo>
                  <a:lnTo>
                    <a:pt x="22346" y="2142"/>
                  </a:lnTo>
                  <a:lnTo>
                    <a:pt x="22250" y="2104"/>
                  </a:lnTo>
                  <a:lnTo>
                    <a:pt x="22151" y="2072"/>
                  </a:lnTo>
                  <a:lnTo>
                    <a:pt x="22048" y="2046"/>
                  </a:lnTo>
                  <a:lnTo>
                    <a:pt x="21995" y="2033"/>
                  </a:lnTo>
                  <a:lnTo>
                    <a:pt x="21941" y="2023"/>
                  </a:lnTo>
                  <a:lnTo>
                    <a:pt x="21831" y="2003"/>
                  </a:lnTo>
                  <a:lnTo>
                    <a:pt x="21774" y="1997"/>
                  </a:lnTo>
                  <a:lnTo>
                    <a:pt x="21718" y="1991"/>
                  </a:lnTo>
                  <a:lnTo>
                    <a:pt x="21601" y="1983"/>
                  </a:lnTo>
                  <a:lnTo>
                    <a:pt x="21483" y="1980"/>
                  </a:lnTo>
                  <a:lnTo>
                    <a:pt x="21365" y="1983"/>
                  </a:lnTo>
                  <a:lnTo>
                    <a:pt x="21249" y="1991"/>
                  </a:lnTo>
                  <a:lnTo>
                    <a:pt x="21136" y="2003"/>
                  </a:lnTo>
                  <a:lnTo>
                    <a:pt x="21026" y="2023"/>
                  </a:lnTo>
                  <a:lnTo>
                    <a:pt x="20972" y="2033"/>
                  </a:lnTo>
                  <a:lnTo>
                    <a:pt x="20919" y="2046"/>
                  </a:lnTo>
                  <a:lnTo>
                    <a:pt x="20815" y="2072"/>
                  </a:lnTo>
                  <a:lnTo>
                    <a:pt x="20717" y="2104"/>
                  </a:lnTo>
                  <a:lnTo>
                    <a:pt x="20622" y="2142"/>
                  </a:lnTo>
                  <a:lnTo>
                    <a:pt x="20531" y="2181"/>
                  </a:lnTo>
                  <a:lnTo>
                    <a:pt x="20445" y="2225"/>
                  </a:lnTo>
                  <a:lnTo>
                    <a:pt x="20364" y="2272"/>
                  </a:lnTo>
                  <a:lnTo>
                    <a:pt x="20288" y="2323"/>
                  </a:lnTo>
                  <a:lnTo>
                    <a:pt x="20219" y="2377"/>
                  </a:lnTo>
                  <a:lnTo>
                    <a:pt x="20187" y="2405"/>
                  </a:lnTo>
                  <a:lnTo>
                    <a:pt x="20155" y="2434"/>
                  </a:lnTo>
                  <a:lnTo>
                    <a:pt x="20125" y="2464"/>
                  </a:lnTo>
                  <a:lnTo>
                    <a:pt x="20098" y="2494"/>
                  </a:lnTo>
                  <a:lnTo>
                    <a:pt x="20047" y="2556"/>
                  </a:lnTo>
                  <a:lnTo>
                    <a:pt x="20765" y="2556"/>
                  </a:lnTo>
                  <a:lnTo>
                    <a:pt x="21483" y="2556"/>
                  </a:lnTo>
                  <a:lnTo>
                    <a:pt x="22201" y="2556"/>
                  </a:lnTo>
                  <a:lnTo>
                    <a:pt x="22919" y="2556"/>
                  </a:lnTo>
                  <a:close/>
                  <a:moveTo>
                    <a:pt x="21733" y="1952"/>
                  </a:moveTo>
                  <a:lnTo>
                    <a:pt x="21733" y="1794"/>
                  </a:lnTo>
                  <a:lnTo>
                    <a:pt x="21235" y="1794"/>
                  </a:lnTo>
                  <a:lnTo>
                    <a:pt x="21235" y="1952"/>
                  </a:lnTo>
                  <a:lnTo>
                    <a:pt x="21295" y="1947"/>
                  </a:lnTo>
                  <a:lnTo>
                    <a:pt x="21358" y="1943"/>
                  </a:lnTo>
                  <a:lnTo>
                    <a:pt x="21420" y="1941"/>
                  </a:lnTo>
                  <a:lnTo>
                    <a:pt x="21483" y="1939"/>
                  </a:lnTo>
                  <a:lnTo>
                    <a:pt x="21609" y="1943"/>
                  </a:lnTo>
                  <a:lnTo>
                    <a:pt x="21733" y="1952"/>
                  </a:lnTo>
                  <a:close/>
                  <a:moveTo>
                    <a:pt x="20024" y="2977"/>
                  </a:moveTo>
                  <a:lnTo>
                    <a:pt x="20754" y="2977"/>
                  </a:lnTo>
                  <a:lnTo>
                    <a:pt x="21483" y="2977"/>
                  </a:lnTo>
                  <a:lnTo>
                    <a:pt x="22213" y="2977"/>
                  </a:lnTo>
                  <a:lnTo>
                    <a:pt x="22943" y="2977"/>
                  </a:lnTo>
                  <a:lnTo>
                    <a:pt x="22943" y="2750"/>
                  </a:lnTo>
                  <a:lnTo>
                    <a:pt x="22213" y="2750"/>
                  </a:lnTo>
                  <a:lnTo>
                    <a:pt x="21483" y="2750"/>
                  </a:lnTo>
                  <a:lnTo>
                    <a:pt x="20754" y="2750"/>
                  </a:lnTo>
                  <a:lnTo>
                    <a:pt x="20024" y="2750"/>
                  </a:lnTo>
                  <a:lnTo>
                    <a:pt x="20024" y="2977"/>
                  </a:lnTo>
                  <a:close/>
                  <a:moveTo>
                    <a:pt x="20768" y="4017"/>
                  </a:moveTo>
                  <a:lnTo>
                    <a:pt x="20768" y="4324"/>
                  </a:lnTo>
                  <a:lnTo>
                    <a:pt x="20974" y="4324"/>
                  </a:lnTo>
                  <a:lnTo>
                    <a:pt x="20974" y="3670"/>
                  </a:lnTo>
                  <a:lnTo>
                    <a:pt x="20974" y="3016"/>
                  </a:lnTo>
                  <a:lnTo>
                    <a:pt x="20523" y="3016"/>
                  </a:lnTo>
                  <a:lnTo>
                    <a:pt x="20523" y="3670"/>
                  </a:lnTo>
                  <a:lnTo>
                    <a:pt x="20523" y="4324"/>
                  </a:lnTo>
                  <a:lnTo>
                    <a:pt x="20728" y="4324"/>
                  </a:lnTo>
                  <a:lnTo>
                    <a:pt x="20728" y="4017"/>
                  </a:lnTo>
                  <a:lnTo>
                    <a:pt x="20731" y="4008"/>
                  </a:lnTo>
                  <a:lnTo>
                    <a:pt x="20734" y="4002"/>
                  </a:lnTo>
                  <a:lnTo>
                    <a:pt x="20741" y="3998"/>
                  </a:lnTo>
                  <a:lnTo>
                    <a:pt x="20749" y="3997"/>
                  </a:lnTo>
                  <a:lnTo>
                    <a:pt x="20756" y="3998"/>
                  </a:lnTo>
                  <a:lnTo>
                    <a:pt x="20763" y="4002"/>
                  </a:lnTo>
                  <a:lnTo>
                    <a:pt x="20767" y="4008"/>
                  </a:lnTo>
                  <a:lnTo>
                    <a:pt x="20768" y="4017"/>
                  </a:lnTo>
                  <a:close/>
                  <a:moveTo>
                    <a:pt x="21260" y="4017"/>
                  </a:moveTo>
                  <a:lnTo>
                    <a:pt x="21260" y="4324"/>
                  </a:lnTo>
                  <a:lnTo>
                    <a:pt x="21467" y="4324"/>
                  </a:lnTo>
                  <a:lnTo>
                    <a:pt x="21467" y="3670"/>
                  </a:lnTo>
                  <a:lnTo>
                    <a:pt x="21467" y="3016"/>
                  </a:lnTo>
                  <a:lnTo>
                    <a:pt x="21014" y="3016"/>
                  </a:lnTo>
                  <a:lnTo>
                    <a:pt x="21014" y="3670"/>
                  </a:lnTo>
                  <a:lnTo>
                    <a:pt x="21014" y="4324"/>
                  </a:lnTo>
                  <a:lnTo>
                    <a:pt x="21220" y="4324"/>
                  </a:lnTo>
                  <a:lnTo>
                    <a:pt x="21220" y="4017"/>
                  </a:lnTo>
                  <a:lnTo>
                    <a:pt x="21222" y="4008"/>
                  </a:lnTo>
                  <a:lnTo>
                    <a:pt x="21227" y="4002"/>
                  </a:lnTo>
                  <a:lnTo>
                    <a:pt x="21233" y="3998"/>
                  </a:lnTo>
                  <a:lnTo>
                    <a:pt x="21241" y="3997"/>
                  </a:lnTo>
                  <a:lnTo>
                    <a:pt x="21247" y="3998"/>
                  </a:lnTo>
                  <a:lnTo>
                    <a:pt x="21254" y="4002"/>
                  </a:lnTo>
                  <a:lnTo>
                    <a:pt x="21259" y="4008"/>
                  </a:lnTo>
                  <a:lnTo>
                    <a:pt x="21260" y="4017"/>
                  </a:lnTo>
                  <a:close/>
                  <a:moveTo>
                    <a:pt x="21753" y="4017"/>
                  </a:moveTo>
                  <a:lnTo>
                    <a:pt x="21753" y="4324"/>
                  </a:lnTo>
                  <a:lnTo>
                    <a:pt x="21959" y="4324"/>
                  </a:lnTo>
                  <a:lnTo>
                    <a:pt x="21959" y="3670"/>
                  </a:lnTo>
                  <a:lnTo>
                    <a:pt x="21959" y="3016"/>
                  </a:lnTo>
                  <a:lnTo>
                    <a:pt x="21506" y="3016"/>
                  </a:lnTo>
                  <a:lnTo>
                    <a:pt x="21506" y="3670"/>
                  </a:lnTo>
                  <a:lnTo>
                    <a:pt x="21506" y="4324"/>
                  </a:lnTo>
                  <a:lnTo>
                    <a:pt x="21713" y="4324"/>
                  </a:lnTo>
                  <a:lnTo>
                    <a:pt x="21713" y="4017"/>
                  </a:lnTo>
                  <a:lnTo>
                    <a:pt x="21714" y="4008"/>
                  </a:lnTo>
                  <a:lnTo>
                    <a:pt x="21719" y="4002"/>
                  </a:lnTo>
                  <a:lnTo>
                    <a:pt x="21726" y="3998"/>
                  </a:lnTo>
                  <a:lnTo>
                    <a:pt x="21732" y="3997"/>
                  </a:lnTo>
                  <a:lnTo>
                    <a:pt x="21740" y="3998"/>
                  </a:lnTo>
                  <a:lnTo>
                    <a:pt x="21746" y="4002"/>
                  </a:lnTo>
                  <a:lnTo>
                    <a:pt x="21751" y="4008"/>
                  </a:lnTo>
                  <a:lnTo>
                    <a:pt x="21753" y="4017"/>
                  </a:lnTo>
                  <a:close/>
                  <a:moveTo>
                    <a:pt x="22245" y="4017"/>
                  </a:moveTo>
                  <a:lnTo>
                    <a:pt x="22245" y="4324"/>
                  </a:lnTo>
                  <a:lnTo>
                    <a:pt x="22450" y="4324"/>
                  </a:lnTo>
                  <a:lnTo>
                    <a:pt x="22450" y="3670"/>
                  </a:lnTo>
                  <a:lnTo>
                    <a:pt x="22450" y="3016"/>
                  </a:lnTo>
                  <a:lnTo>
                    <a:pt x="21999" y="3016"/>
                  </a:lnTo>
                  <a:lnTo>
                    <a:pt x="21999" y="3670"/>
                  </a:lnTo>
                  <a:lnTo>
                    <a:pt x="21999" y="4324"/>
                  </a:lnTo>
                  <a:lnTo>
                    <a:pt x="22205" y="4324"/>
                  </a:lnTo>
                  <a:lnTo>
                    <a:pt x="22205" y="4017"/>
                  </a:lnTo>
                  <a:lnTo>
                    <a:pt x="22207" y="4008"/>
                  </a:lnTo>
                  <a:lnTo>
                    <a:pt x="22210" y="4002"/>
                  </a:lnTo>
                  <a:lnTo>
                    <a:pt x="22217" y="3998"/>
                  </a:lnTo>
                  <a:lnTo>
                    <a:pt x="22224" y="3997"/>
                  </a:lnTo>
                  <a:lnTo>
                    <a:pt x="22232" y="3998"/>
                  </a:lnTo>
                  <a:lnTo>
                    <a:pt x="22239" y="4002"/>
                  </a:lnTo>
                  <a:lnTo>
                    <a:pt x="22242" y="4008"/>
                  </a:lnTo>
                  <a:lnTo>
                    <a:pt x="22245" y="4017"/>
                  </a:lnTo>
                  <a:close/>
                  <a:moveTo>
                    <a:pt x="22737" y="4017"/>
                  </a:moveTo>
                  <a:lnTo>
                    <a:pt x="22737" y="4324"/>
                  </a:lnTo>
                  <a:lnTo>
                    <a:pt x="22943" y="4324"/>
                  </a:lnTo>
                  <a:lnTo>
                    <a:pt x="22943" y="3670"/>
                  </a:lnTo>
                  <a:lnTo>
                    <a:pt x="22943" y="3016"/>
                  </a:lnTo>
                  <a:lnTo>
                    <a:pt x="22491" y="3016"/>
                  </a:lnTo>
                  <a:lnTo>
                    <a:pt x="22491" y="3670"/>
                  </a:lnTo>
                  <a:lnTo>
                    <a:pt x="22491" y="4324"/>
                  </a:lnTo>
                  <a:lnTo>
                    <a:pt x="22696" y="4324"/>
                  </a:lnTo>
                  <a:lnTo>
                    <a:pt x="22696" y="4017"/>
                  </a:lnTo>
                  <a:lnTo>
                    <a:pt x="22699" y="4008"/>
                  </a:lnTo>
                  <a:lnTo>
                    <a:pt x="22703" y="4002"/>
                  </a:lnTo>
                  <a:lnTo>
                    <a:pt x="22709" y="3998"/>
                  </a:lnTo>
                  <a:lnTo>
                    <a:pt x="22717" y="3997"/>
                  </a:lnTo>
                  <a:lnTo>
                    <a:pt x="22725" y="3998"/>
                  </a:lnTo>
                  <a:lnTo>
                    <a:pt x="22731" y="4002"/>
                  </a:lnTo>
                  <a:lnTo>
                    <a:pt x="22735" y="4008"/>
                  </a:lnTo>
                  <a:lnTo>
                    <a:pt x="22737" y="4017"/>
                  </a:lnTo>
                  <a:close/>
                  <a:moveTo>
                    <a:pt x="21727" y="1754"/>
                  </a:moveTo>
                  <a:lnTo>
                    <a:pt x="21714" y="1740"/>
                  </a:lnTo>
                  <a:lnTo>
                    <a:pt x="21696" y="1727"/>
                  </a:lnTo>
                  <a:lnTo>
                    <a:pt x="21673" y="1714"/>
                  </a:lnTo>
                  <a:lnTo>
                    <a:pt x="21645" y="1703"/>
                  </a:lnTo>
                  <a:lnTo>
                    <a:pt x="21612" y="1693"/>
                  </a:lnTo>
                  <a:lnTo>
                    <a:pt x="21573" y="1686"/>
                  </a:lnTo>
                  <a:lnTo>
                    <a:pt x="21531" y="1681"/>
                  </a:lnTo>
                  <a:lnTo>
                    <a:pt x="21483" y="1679"/>
                  </a:lnTo>
                  <a:lnTo>
                    <a:pt x="21437" y="1681"/>
                  </a:lnTo>
                  <a:lnTo>
                    <a:pt x="21394" y="1686"/>
                  </a:lnTo>
                  <a:lnTo>
                    <a:pt x="21356" y="1693"/>
                  </a:lnTo>
                  <a:lnTo>
                    <a:pt x="21322" y="1703"/>
                  </a:lnTo>
                  <a:lnTo>
                    <a:pt x="21294" y="1714"/>
                  </a:lnTo>
                  <a:lnTo>
                    <a:pt x="21270" y="1727"/>
                  </a:lnTo>
                  <a:lnTo>
                    <a:pt x="21253" y="1740"/>
                  </a:lnTo>
                  <a:lnTo>
                    <a:pt x="21241" y="1754"/>
                  </a:lnTo>
                  <a:lnTo>
                    <a:pt x="21727" y="1754"/>
                  </a:lnTo>
                  <a:close/>
                  <a:moveTo>
                    <a:pt x="19597" y="4131"/>
                  </a:moveTo>
                  <a:lnTo>
                    <a:pt x="19564" y="4135"/>
                  </a:lnTo>
                  <a:lnTo>
                    <a:pt x="19532" y="4145"/>
                  </a:lnTo>
                  <a:lnTo>
                    <a:pt x="19500" y="4154"/>
                  </a:lnTo>
                  <a:lnTo>
                    <a:pt x="19465" y="4159"/>
                  </a:lnTo>
                  <a:lnTo>
                    <a:pt x="19436" y="4154"/>
                  </a:lnTo>
                  <a:lnTo>
                    <a:pt x="19423" y="4149"/>
                  </a:lnTo>
                  <a:lnTo>
                    <a:pt x="19410" y="4143"/>
                  </a:lnTo>
                  <a:lnTo>
                    <a:pt x="19388" y="4125"/>
                  </a:lnTo>
                  <a:lnTo>
                    <a:pt x="19369" y="4100"/>
                  </a:lnTo>
                  <a:lnTo>
                    <a:pt x="19351" y="4072"/>
                  </a:lnTo>
                  <a:lnTo>
                    <a:pt x="19334" y="4040"/>
                  </a:lnTo>
                  <a:lnTo>
                    <a:pt x="19300" y="3973"/>
                  </a:lnTo>
                  <a:lnTo>
                    <a:pt x="19282" y="3937"/>
                  </a:lnTo>
                  <a:lnTo>
                    <a:pt x="19260" y="3904"/>
                  </a:lnTo>
                  <a:lnTo>
                    <a:pt x="19235" y="3872"/>
                  </a:lnTo>
                  <a:lnTo>
                    <a:pt x="19209" y="3843"/>
                  </a:lnTo>
                  <a:lnTo>
                    <a:pt x="19175" y="3820"/>
                  </a:lnTo>
                  <a:lnTo>
                    <a:pt x="19157" y="3810"/>
                  </a:lnTo>
                  <a:lnTo>
                    <a:pt x="19138" y="3801"/>
                  </a:lnTo>
                  <a:lnTo>
                    <a:pt x="19116" y="3795"/>
                  </a:lnTo>
                  <a:lnTo>
                    <a:pt x="19093" y="3790"/>
                  </a:lnTo>
                  <a:lnTo>
                    <a:pt x="19069" y="3787"/>
                  </a:lnTo>
                  <a:lnTo>
                    <a:pt x="19042" y="3786"/>
                  </a:lnTo>
                  <a:lnTo>
                    <a:pt x="19014" y="3790"/>
                  </a:lnTo>
                  <a:lnTo>
                    <a:pt x="19002" y="3795"/>
                  </a:lnTo>
                  <a:lnTo>
                    <a:pt x="18993" y="3801"/>
                  </a:lnTo>
                  <a:lnTo>
                    <a:pt x="18974" y="3817"/>
                  </a:lnTo>
                  <a:lnTo>
                    <a:pt x="18952" y="3836"/>
                  </a:lnTo>
                  <a:lnTo>
                    <a:pt x="18925" y="3854"/>
                  </a:lnTo>
                  <a:lnTo>
                    <a:pt x="18908" y="3863"/>
                  </a:lnTo>
                  <a:lnTo>
                    <a:pt x="18889" y="3869"/>
                  </a:lnTo>
                  <a:lnTo>
                    <a:pt x="18865" y="3875"/>
                  </a:lnTo>
                  <a:lnTo>
                    <a:pt x="18838" y="3881"/>
                  </a:lnTo>
                  <a:lnTo>
                    <a:pt x="18806" y="3884"/>
                  </a:lnTo>
                  <a:lnTo>
                    <a:pt x="18769" y="3886"/>
                  </a:lnTo>
                  <a:lnTo>
                    <a:pt x="18742" y="3883"/>
                  </a:lnTo>
                  <a:lnTo>
                    <a:pt x="18720" y="3879"/>
                  </a:lnTo>
                  <a:lnTo>
                    <a:pt x="18688" y="3868"/>
                  </a:lnTo>
                  <a:lnTo>
                    <a:pt x="18662" y="3855"/>
                  </a:lnTo>
                  <a:lnTo>
                    <a:pt x="18649" y="3851"/>
                  </a:lnTo>
                  <a:lnTo>
                    <a:pt x="18637" y="3850"/>
                  </a:lnTo>
                  <a:lnTo>
                    <a:pt x="18615" y="3851"/>
                  </a:lnTo>
                  <a:lnTo>
                    <a:pt x="18594" y="3856"/>
                  </a:lnTo>
                  <a:lnTo>
                    <a:pt x="18575" y="3864"/>
                  </a:lnTo>
                  <a:lnTo>
                    <a:pt x="18557" y="3875"/>
                  </a:lnTo>
                  <a:lnTo>
                    <a:pt x="18540" y="3888"/>
                  </a:lnTo>
                  <a:lnTo>
                    <a:pt x="18524" y="3902"/>
                  </a:lnTo>
                  <a:lnTo>
                    <a:pt x="18494" y="3936"/>
                  </a:lnTo>
                  <a:lnTo>
                    <a:pt x="18467" y="3973"/>
                  </a:lnTo>
                  <a:lnTo>
                    <a:pt x="18442" y="4011"/>
                  </a:lnTo>
                  <a:lnTo>
                    <a:pt x="18416" y="4047"/>
                  </a:lnTo>
                  <a:lnTo>
                    <a:pt x="18389" y="4077"/>
                  </a:lnTo>
                  <a:lnTo>
                    <a:pt x="18366" y="4097"/>
                  </a:lnTo>
                  <a:lnTo>
                    <a:pt x="18337" y="4116"/>
                  </a:lnTo>
                  <a:lnTo>
                    <a:pt x="18266" y="4155"/>
                  </a:lnTo>
                  <a:lnTo>
                    <a:pt x="18261" y="4161"/>
                  </a:lnTo>
                  <a:lnTo>
                    <a:pt x="18253" y="4163"/>
                  </a:lnTo>
                  <a:lnTo>
                    <a:pt x="18207" y="4191"/>
                  </a:lnTo>
                  <a:lnTo>
                    <a:pt x="18169" y="4221"/>
                  </a:lnTo>
                  <a:lnTo>
                    <a:pt x="18153" y="4236"/>
                  </a:lnTo>
                  <a:lnTo>
                    <a:pt x="18147" y="4245"/>
                  </a:lnTo>
                  <a:lnTo>
                    <a:pt x="18142" y="4253"/>
                  </a:lnTo>
                  <a:lnTo>
                    <a:pt x="18134" y="4269"/>
                  </a:lnTo>
                  <a:lnTo>
                    <a:pt x="18131" y="4287"/>
                  </a:lnTo>
                  <a:lnTo>
                    <a:pt x="18133" y="4308"/>
                  </a:lnTo>
                  <a:lnTo>
                    <a:pt x="18137" y="4329"/>
                  </a:lnTo>
                  <a:lnTo>
                    <a:pt x="18256" y="4329"/>
                  </a:lnTo>
                  <a:lnTo>
                    <a:pt x="18261" y="4329"/>
                  </a:lnTo>
                  <a:lnTo>
                    <a:pt x="19046" y="4329"/>
                  </a:lnTo>
                  <a:lnTo>
                    <a:pt x="19830" y="4329"/>
                  </a:lnTo>
                  <a:lnTo>
                    <a:pt x="19825" y="4308"/>
                  </a:lnTo>
                  <a:lnTo>
                    <a:pt x="19819" y="4286"/>
                  </a:lnTo>
                  <a:lnTo>
                    <a:pt x="19810" y="4265"/>
                  </a:lnTo>
                  <a:lnTo>
                    <a:pt x="19801" y="4248"/>
                  </a:lnTo>
                  <a:lnTo>
                    <a:pt x="19778" y="4213"/>
                  </a:lnTo>
                  <a:lnTo>
                    <a:pt x="19764" y="4198"/>
                  </a:lnTo>
                  <a:lnTo>
                    <a:pt x="19748" y="4185"/>
                  </a:lnTo>
                  <a:lnTo>
                    <a:pt x="19733" y="4172"/>
                  </a:lnTo>
                  <a:lnTo>
                    <a:pt x="19716" y="4162"/>
                  </a:lnTo>
                  <a:lnTo>
                    <a:pt x="19698" y="4153"/>
                  </a:lnTo>
                  <a:lnTo>
                    <a:pt x="19679" y="4145"/>
                  </a:lnTo>
                  <a:lnTo>
                    <a:pt x="19660" y="4139"/>
                  </a:lnTo>
                  <a:lnTo>
                    <a:pt x="19639" y="4134"/>
                  </a:lnTo>
                  <a:lnTo>
                    <a:pt x="19597" y="4131"/>
                  </a:lnTo>
                  <a:close/>
                  <a:moveTo>
                    <a:pt x="18860" y="2743"/>
                  </a:moveTo>
                  <a:lnTo>
                    <a:pt x="18742" y="2904"/>
                  </a:lnTo>
                  <a:lnTo>
                    <a:pt x="18742" y="3047"/>
                  </a:lnTo>
                  <a:lnTo>
                    <a:pt x="18794" y="3040"/>
                  </a:lnTo>
                  <a:lnTo>
                    <a:pt x="18803" y="3039"/>
                  </a:lnTo>
                  <a:lnTo>
                    <a:pt x="18811" y="3043"/>
                  </a:lnTo>
                  <a:lnTo>
                    <a:pt x="18815" y="3048"/>
                  </a:lnTo>
                  <a:lnTo>
                    <a:pt x="18819" y="3056"/>
                  </a:lnTo>
                  <a:lnTo>
                    <a:pt x="18819" y="3062"/>
                  </a:lnTo>
                  <a:lnTo>
                    <a:pt x="18816" y="3070"/>
                  </a:lnTo>
                  <a:lnTo>
                    <a:pt x="18811" y="3075"/>
                  </a:lnTo>
                  <a:lnTo>
                    <a:pt x="18802" y="3079"/>
                  </a:lnTo>
                  <a:lnTo>
                    <a:pt x="18773" y="3084"/>
                  </a:lnTo>
                  <a:lnTo>
                    <a:pt x="18742" y="3086"/>
                  </a:lnTo>
                  <a:lnTo>
                    <a:pt x="18742" y="3827"/>
                  </a:lnTo>
                  <a:lnTo>
                    <a:pt x="18741" y="3836"/>
                  </a:lnTo>
                  <a:lnTo>
                    <a:pt x="18735" y="3842"/>
                  </a:lnTo>
                  <a:lnTo>
                    <a:pt x="18751" y="3845"/>
                  </a:lnTo>
                  <a:lnTo>
                    <a:pt x="18769" y="3845"/>
                  </a:lnTo>
                  <a:lnTo>
                    <a:pt x="18798" y="3845"/>
                  </a:lnTo>
                  <a:lnTo>
                    <a:pt x="18825" y="3843"/>
                  </a:lnTo>
                  <a:lnTo>
                    <a:pt x="18850" y="3840"/>
                  </a:lnTo>
                  <a:lnTo>
                    <a:pt x="18871" y="3835"/>
                  </a:lnTo>
                  <a:lnTo>
                    <a:pt x="18892" y="3826"/>
                  </a:lnTo>
                  <a:lnTo>
                    <a:pt x="18911" y="3815"/>
                  </a:lnTo>
                  <a:lnTo>
                    <a:pt x="18952" y="3782"/>
                  </a:lnTo>
                  <a:lnTo>
                    <a:pt x="18973" y="3767"/>
                  </a:lnTo>
                  <a:lnTo>
                    <a:pt x="18982" y="3760"/>
                  </a:lnTo>
                  <a:lnTo>
                    <a:pt x="18992" y="3755"/>
                  </a:lnTo>
                  <a:lnTo>
                    <a:pt x="19015" y="3748"/>
                  </a:lnTo>
                  <a:lnTo>
                    <a:pt x="19042" y="3745"/>
                  </a:lnTo>
                  <a:lnTo>
                    <a:pt x="19075" y="3748"/>
                  </a:lnTo>
                  <a:lnTo>
                    <a:pt x="19107" y="3751"/>
                  </a:lnTo>
                  <a:lnTo>
                    <a:pt x="19135" y="3758"/>
                  </a:lnTo>
                  <a:lnTo>
                    <a:pt x="19162" y="3768"/>
                  </a:lnTo>
                  <a:lnTo>
                    <a:pt x="19187" y="3780"/>
                  </a:lnTo>
                  <a:lnTo>
                    <a:pt x="19209" y="3794"/>
                  </a:lnTo>
                  <a:lnTo>
                    <a:pt x="19229" y="3809"/>
                  </a:lnTo>
                  <a:lnTo>
                    <a:pt x="19248" y="3827"/>
                  </a:lnTo>
                  <a:lnTo>
                    <a:pt x="19282" y="3866"/>
                  </a:lnTo>
                  <a:lnTo>
                    <a:pt x="19311" y="3911"/>
                  </a:lnTo>
                  <a:lnTo>
                    <a:pt x="19338" y="3960"/>
                  </a:lnTo>
                  <a:lnTo>
                    <a:pt x="19364" y="4012"/>
                  </a:lnTo>
                  <a:lnTo>
                    <a:pt x="19369" y="4021"/>
                  </a:lnTo>
                  <a:lnTo>
                    <a:pt x="19369" y="3649"/>
                  </a:lnTo>
                  <a:lnTo>
                    <a:pt x="19334" y="3663"/>
                  </a:lnTo>
                  <a:lnTo>
                    <a:pt x="19319" y="3670"/>
                  </a:lnTo>
                  <a:lnTo>
                    <a:pt x="19302" y="3676"/>
                  </a:lnTo>
                  <a:lnTo>
                    <a:pt x="19284" y="3676"/>
                  </a:lnTo>
                  <a:lnTo>
                    <a:pt x="19275" y="3675"/>
                  </a:lnTo>
                  <a:lnTo>
                    <a:pt x="19265" y="3671"/>
                  </a:lnTo>
                  <a:lnTo>
                    <a:pt x="19255" y="3666"/>
                  </a:lnTo>
                  <a:lnTo>
                    <a:pt x="19244" y="3658"/>
                  </a:lnTo>
                  <a:lnTo>
                    <a:pt x="19221" y="3634"/>
                  </a:lnTo>
                  <a:lnTo>
                    <a:pt x="19205" y="3616"/>
                  </a:lnTo>
                  <a:lnTo>
                    <a:pt x="19191" y="3604"/>
                  </a:lnTo>
                  <a:lnTo>
                    <a:pt x="19180" y="3598"/>
                  </a:lnTo>
                  <a:lnTo>
                    <a:pt x="19169" y="3595"/>
                  </a:lnTo>
                  <a:lnTo>
                    <a:pt x="19144" y="3594"/>
                  </a:lnTo>
                  <a:lnTo>
                    <a:pt x="19105" y="3590"/>
                  </a:lnTo>
                  <a:lnTo>
                    <a:pt x="19091" y="3586"/>
                  </a:lnTo>
                  <a:lnTo>
                    <a:pt x="19079" y="3581"/>
                  </a:lnTo>
                  <a:lnTo>
                    <a:pt x="19062" y="3567"/>
                  </a:lnTo>
                  <a:lnTo>
                    <a:pt x="19052" y="3549"/>
                  </a:lnTo>
                  <a:lnTo>
                    <a:pt x="19044" y="3530"/>
                  </a:lnTo>
                  <a:lnTo>
                    <a:pt x="19039" y="3510"/>
                  </a:lnTo>
                  <a:lnTo>
                    <a:pt x="19033" y="3489"/>
                  </a:lnTo>
                  <a:lnTo>
                    <a:pt x="19029" y="3480"/>
                  </a:lnTo>
                  <a:lnTo>
                    <a:pt x="19024" y="3471"/>
                  </a:lnTo>
                  <a:lnTo>
                    <a:pt x="19016" y="3464"/>
                  </a:lnTo>
                  <a:lnTo>
                    <a:pt x="19009" y="3457"/>
                  </a:lnTo>
                  <a:lnTo>
                    <a:pt x="18967" y="3434"/>
                  </a:lnTo>
                  <a:lnTo>
                    <a:pt x="18952" y="3424"/>
                  </a:lnTo>
                  <a:lnTo>
                    <a:pt x="18939" y="3414"/>
                  </a:lnTo>
                  <a:lnTo>
                    <a:pt x="18930" y="3400"/>
                  </a:lnTo>
                  <a:lnTo>
                    <a:pt x="18926" y="3383"/>
                  </a:lnTo>
                  <a:lnTo>
                    <a:pt x="18925" y="3361"/>
                  </a:lnTo>
                  <a:lnTo>
                    <a:pt x="18929" y="3333"/>
                  </a:lnTo>
                  <a:lnTo>
                    <a:pt x="18934" y="3304"/>
                  </a:lnTo>
                  <a:lnTo>
                    <a:pt x="18934" y="3285"/>
                  </a:lnTo>
                  <a:lnTo>
                    <a:pt x="18925" y="3267"/>
                  </a:lnTo>
                  <a:lnTo>
                    <a:pt x="18908" y="3242"/>
                  </a:lnTo>
                  <a:lnTo>
                    <a:pt x="18891" y="3216"/>
                  </a:lnTo>
                  <a:lnTo>
                    <a:pt x="18884" y="3199"/>
                  </a:lnTo>
                  <a:lnTo>
                    <a:pt x="18882" y="3181"/>
                  </a:lnTo>
                  <a:lnTo>
                    <a:pt x="18884" y="3162"/>
                  </a:lnTo>
                  <a:lnTo>
                    <a:pt x="18891" y="3145"/>
                  </a:lnTo>
                  <a:lnTo>
                    <a:pt x="18908" y="3118"/>
                  </a:lnTo>
                  <a:lnTo>
                    <a:pt x="18923" y="3098"/>
                  </a:lnTo>
                  <a:lnTo>
                    <a:pt x="18930" y="3083"/>
                  </a:lnTo>
                  <a:lnTo>
                    <a:pt x="18934" y="3070"/>
                  </a:lnTo>
                  <a:lnTo>
                    <a:pt x="18935" y="3060"/>
                  </a:lnTo>
                  <a:lnTo>
                    <a:pt x="18929" y="3035"/>
                  </a:lnTo>
                  <a:lnTo>
                    <a:pt x="18925" y="2996"/>
                  </a:lnTo>
                  <a:lnTo>
                    <a:pt x="18928" y="2969"/>
                  </a:lnTo>
                  <a:lnTo>
                    <a:pt x="18932" y="2959"/>
                  </a:lnTo>
                  <a:lnTo>
                    <a:pt x="18938" y="2950"/>
                  </a:lnTo>
                  <a:lnTo>
                    <a:pt x="18944" y="2942"/>
                  </a:lnTo>
                  <a:lnTo>
                    <a:pt x="18952" y="2936"/>
                  </a:lnTo>
                  <a:lnTo>
                    <a:pt x="18970" y="2924"/>
                  </a:lnTo>
                  <a:lnTo>
                    <a:pt x="19007" y="2904"/>
                  </a:lnTo>
                  <a:lnTo>
                    <a:pt x="19023" y="2891"/>
                  </a:lnTo>
                  <a:lnTo>
                    <a:pt x="19033" y="2872"/>
                  </a:lnTo>
                  <a:lnTo>
                    <a:pt x="19047" y="2828"/>
                  </a:lnTo>
                  <a:lnTo>
                    <a:pt x="19053" y="2810"/>
                  </a:lnTo>
                  <a:lnTo>
                    <a:pt x="19061" y="2796"/>
                  </a:lnTo>
                  <a:lnTo>
                    <a:pt x="19073" y="2785"/>
                  </a:lnTo>
                  <a:lnTo>
                    <a:pt x="19088" y="2776"/>
                  </a:lnTo>
                  <a:lnTo>
                    <a:pt x="19109" y="2771"/>
                  </a:lnTo>
                  <a:lnTo>
                    <a:pt x="19138" y="2768"/>
                  </a:lnTo>
                  <a:lnTo>
                    <a:pt x="19162" y="2766"/>
                  </a:lnTo>
                  <a:lnTo>
                    <a:pt x="19180" y="2763"/>
                  </a:lnTo>
                  <a:lnTo>
                    <a:pt x="19192" y="2758"/>
                  </a:lnTo>
                  <a:lnTo>
                    <a:pt x="19201" y="2751"/>
                  </a:lnTo>
                  <a:lnTo>
                    <a:pt x="19216" y="2732"/>
                  </a:lnTo>
                  <a:lnTo>
                    <a:pt x="19228" y="2719"/>
                  </a:lnTo>
                  <a:lnTo>
                    <a:pt x="19243" y="2704"/>
                  </a:lnTo>
                  <a:lnTo>
                    <a:pt x="19265" y="2690"/>
                  </a:lnTo>
                  <a:lnTo>
                    <a:pt x="19274" y="2686"/>
                  </a:lnTo>
                  <a:lnTo>
                    <a:pt x="19284" y="2685"/>
                  </a:lnTo>
                  <a:lnTo>
                    <a:pt x="19302" y="2686"/>
                  </a:lnTo>
                  <a:lnTo>
                    <a:pt x="19319" y="2691"/>
                  </a:lnTo>
                  <a:lnTo>
                    <a:pt x="19352" y="2707"/>
                  </a:lnTo>
                  <a:lnTo>
                    <a:pt x="19370" y="2713"/>
                  </a:lnTo>
                  <a:lnTo>
                    <a:pt x="19388" y="2716"/>
                  </a:lnTo>
                  <a:lnTo>
                    <a:pt x="19410" y="2712"/>
                  </a:lnTo>
                  <a:lnTo>
                    <a:pt x="19429" y="2705"/>
                  </a:lnTo>
                  <a:lnTo>
                    <a:pt x="19448" y="2696"/>
                  </a:lnTo>
                  <a:lnTo>
                    <a:pt x="19466" y="2689"/>
                  </a:lnTo>
                  <a:lnTo>
                    <a:pt x="19486" y="2685"/>
                  </a:lnTo>
                  <a:lnTo>
                    <a:pt x="19506" y="2688"/>
                  </a:lnTo>
                  <a:lnTo>
                    <a:pt x="19518" y="2694"/>
                  </a:lnTo>
                  <a:lnTo>
                    <a:pt x="19529" y="2702"/>
                  </a:lnTo>
                  <a:lnTo>
                    <a:pt x="19556" y="2727"/>
                  </a:lnTo>
                  <a:lnTo>
                    <a:pt x="19573" y="2746"/>
                  </a:lnTo>
                  <a:lnTo>
                    <a:pt x="19586" y="2758"/>
                  </a:lnTo>
                  <a:lnTo>
                    <a:pt x="19597" y="2764"/>
                  </a:lnTo>
                  <a:lnTo>
                    <a:pt x="19607" y="2767"/>
                  </a:lnTo>
                  <a:lnTo>
                    <a:pt x="19633" y="2767"/>
                  </a:lnTo>
                  <a:lnTo>
                    <a:pt x="19673" y="2771"/>
                  </a:lnTo>
                  <a:lnTo>
                    <a:pt x="19687" y="2774"/>
                  </a:lnTo>
                  <a:lnTo>
                    <a:pt x="19698" y="2780"/>
                  </a:lnTo>
                  <a:lnTo>
                    <a:pt x="19715" y="2794"/>
                  </a:lnTo>
                  <a:lnTo>
                    <a:pt x="19725" y="2812"/>
                  </a:lnTo>
                  <a:lnTo>
                    <a:pt x="19732" y="2832"/>
                  </a:lnTo>
                  <a:lnTo>
                    <a:pt x="19737" y="2852"/>
                  </a:lnTo>
                  <a:lnTo>
                    <a:pt x="19743" y="2872"/>
                  </a:lnTo>
                  <a:lnTo>
                    <a:pt x="19748" y="2881"/>
                  </a:lnTo>
                  <a:lnTo>
                    <a:pt x="19754" y="2890"/>
                  </a:lnTo>
                  <a:lnTo>
                    <a:pt x="19760" y="2897"/>
                  </a:lnTo>
                  <a:lnTo>
                    <a:pt x="19769" y="2904"/>
                  </a:lnTo>
                  <a:lnTo>
                    <a:pt x="19809" y="2927"/>
                  </a:lnTo>
                  <a:lnTo>
                    <a:pt x="19825" y="2937"/>
                  </a:lnTo>
                  <a:lnTo>
                    <a:pt x="19837" y="2948"/>
                  </a:lnTo>
                  <a:lnTo>
                    <a:pt x="19846" y="2961"/>
                  </a:lnTo>
                  <a:lnTo>
                    <a:pt x="19851" y="2978"/>
                  </a:lnTo>
                  <a:lnTo>
                    <a:pt x="19852" y="3000"/>
                  </a:lnTo>
                  <a:lnTo>
                    <a:pt x="19848" y="3028"/>
                  </a:lnTo>
                  <a:lnTo>
                    <a:pt x="19843" y="3057"/>
                  </a:lnTo>
                  <a:lnTo>
                    <a:pt x="19843" y="3076"/>
                  </a:lnTo>
                  <a:lnTo>
                    <a:pt x="19851" y="3094"/>
                  </a:lnTo>
                  <a:lnTo>
                    <a:pt x="19869" y="3118"/>
                  </a:lnTo>
                  <a:lnTo>
                    <a:pt x="19887" y="3145"/>
                  </a:lnTo>
                  <a:lnTo>
                    <a:pt x="19893" y="3162"/>
                  </a:lnTo>
                  <a:lnTo>
                    <a:pt x="19896" y="3181"/>
                  </a:lnTo>
                  <a:lnTo>
                    <a:pt x="19893" y="3199"/>
                  </a:lnTo>
                  <a:lnTo>
                    <a:pt x="19887" y="3216"/>
                  </a:lnTo>
                  <a:lnTo>
                    <a:pt x="19878" y="3230"/>
                  </a:lnTo>
                  <a:lnTo>
                    <a:pt x="19868" y="3244"/>
                  </a:lnTo>
                  <a:lnTo>
                    <a:pt x="19857" y="3258"/>
                  </a:lnTo>
                  <a:lnTo>
                    <a:pt x="19848" y="3272"/>
                  </a:lnTo>
                  <a:lnTo>
                    <a:pt x="19843" y="3287"/>
                  </a:lnTo>
                  <a:lnTo>
                    <a:pt x="19843" y="3305"/>
                  </a:lnTo>
                  <a:lnTo>
                    <a:pt x="19850" y="3351"/>
                  </a:lnTo>
                  <a:lnTo>
                    <a:pt x="19852" y="3369"/>
                  </a:lnTo>
                  <a:lnTo>
                    <a:pt x="19851" y="3386"/>
                  </a:lnTo>
                  <a:lnTo>
                    <a:pt x="19846" y="3401"/>
                  </a:lnTo>
                  <a:lnTo>
                    <a:pt x="19836" y="3415"/>
                  </a:lnTo>
                  <a:lnTo>
                    <a:pt x="19819" y="3429"/>
                  </a:lnTo>
                  <a:lnTo>
                    <a:pt x="19795" y="3445"/>
                  </a:lnTo>
                  <a:lnTo>
                    <a:pt x="19773" y="3456"/>
                  </a:lnTo>
                  <a:lnTo>
                    <a:pt x="19759" y="3466"/>
                  </a:lnTo>
                  <a:lnTo>
                    <a:pt x="19750" y="3476"/>
                  </a:lnTo>
                  <a:lnTo>
                    <a:pt x="19745" y="3485"/>
                  </a:lnTo>
                  <a:lnTo>
                    <a:pt x="19739" y="3510"/>
                  </a:lnTo>
                  <a:lnTo>
                    <a:pt x="19734" y="3526"/>
                  </a:lnTo>
                  <a:lnTo>
                    <a:pt x="19727" y="3547"/>
                  </a:lnTo>
                  <a:lnTo>
                    <a:pt x="19711" y="3570"/>
                  </a:lnTo>
                  <a:lnTo>
                    <a:pt x="19704" y="3579"/>
                  </a:lnTo>
                  <a:lnTo>
                    <a:pt x="19695" y="3584"/>
                  </a:lnTo>
                  <a:lnTo>
                    <a:pt x="19674" y="3590"/>
                  </a:lnTo>
                  <a:lnTo>
                    <a:pt x="19653" y="3593"/>
                  </a:lnTo>
                  <a:lnTo>
                    <a:pt x="19632" y="3593"/>
                  </a:lnTo>
                  <a:lnTo>
                    <a:pt x="19611" y="3594"/>
                  </a:lnTo>
                  <a:lnTo>
                    <a:pt x="19592" y="3601"/>
                  </a:lnTo>
                  <a:lnTo>
                    <a:pt x="19583" y="3606"/>
                  </a:lnTo>
                  <a:lnTo>
                    <a:pt x="19575" y="3612"/>
                  </a:lnTo>
                  <a:lnTo>
                    <a:pt x="19543" y="3647"/>
                  </a:lnTo>
                  <a:lnTo>
                    <a:pt x="19530" y="3659"/>
                  </a:lnTo>
                  <a:lnTo>
                    <a:pt x="19516" y="3668"/>
                  </a:lnTo>
                  <a:lnTo>
                    <a:pt x="19501" y="3675"/>
                  </a:lnTo>
                  <a:lnTo>
                    <a:pt x="19484" y="3676"/>
                  </a:lnTo>
                  <a:lnTo>
                    <a:pt x="19462" y="3671"/>
                  </a:lnTo>
                  <a:lnTo>
                    <a:pt x="19436" y="3661"/>
                  </a:lnTo>
                  <a:lnTo>
                    <a:pt x="19409" y="3649"/>
                  </a:lnTo>
                  <a:lnTo>
                    <a:pt x="19409" y="4083"/>
                  </a:lnTo>
                  <a:lnTo>
                    <a:pt x="19409" y="4086"/>
                  </a:lnTo>
                  <a:lnTo>
                    <a:pt x="19420" y="4099"/>
                  </a:lnTo>
                  <a:lnTo>
                    <a:pt x="19434" y="4109"/>
                  </a:lnTo>
                  <a:lnTo>
                    <a:pt x="19448" y="4117"/>
                  </a:lnTo>
                  <a:lnTo>
                    <a:pt x="19465" y="4118"/>
                  </a:lnTo>
                  <a:lnTo>
                    <a:pt x="19498" y="4115"/>
                  </a:lnTo>
                  <a:lnTo>
                    <a:pt x="19530" y="4104"/>
                  </a:lnTo>
                  <a:lnTo>
                    <a:pt x="19564" y="4095"/>
                  </a:lnTo>
                  <a:lnTo>
                    <a:pt x="19597" y="4090"/>
                  </a:lnTo>
                  <a:lnTo>
                    <a:pt x="19629" y="4093"/>
                  </a:lnTo>
                  <a:lnTo>
                    <a:pt x="19660" y="4098"/>
                  </a:lnTo>
                  <a:lnTo>
                    <a:pt x="19688" y="4106"/>
                  </a:lnTo>
                  <a:lnTo>
                    <a:pt x="19715" y="4116"/>
                  </a:lnTo>
                  <a:lnTo>
                    <a:pt x="19739" y="4130"/>
                  </a:lnTo>
                  <a:lnTo>
                    <a:pt x="19761" y="4144"/>
                  </a:lnTo>
                  <a:lnTo>
                    <a:pt x="19782" y="4161"/>
                  </a:lnTo>
                  <a:lnTo>
                    <a:pt x="19800" y="4178"/>
                  </a:lnTo>
                  <a:lnTo>
                    <a:pt x="19830" y="4217"/>
                  </a:lnTo>
                  <a:lnTo>
                    <a:pt x="19842" y="4236"/>
                  </a:lnTo>
                  <a:lnTo>
                    <a:pt x="19852" y="4255"/>
                  </a:lnTo>
                  <a:lnTo>
                    <a:pt x="19861" y="4274"/>
                  </a:lnTo>
                  <a:lnTo>
                    <a:pt x="19866" y="4292"/>
                  </a:lnTo>
                  <a:lnTo>
                    <a:pt x="19871" y="4309"/>
                  </a:lnTo>
                  <a:lnTo>
                    <a:pt x="19874" y="4324"/>
                  </a:lnTo>
                  <a:lnTo>
                    <a:pt x="20236" y="4324"/>
                  </a:lnTo>
                  <a:lnTo>
                    <a:pt x="20236" y="4017"/>
                  </a:lnTo>
                  <a:lnTo>
                    <a:pt x="20238" y="4008"/>
                  </a:lnTo>
                  <a:lnTo>
                    <a:pt x="20242" y="4002"/>
                  </a:lnTo>
                  <a:lnTo>
                    <a:pt x="20248" y="3998"/>
                  </a:lnTo>
                  <a:lnTo>
                    <a:pt x="20256" y="3997"/>
                  </a:lnTo>
                  <a:lnTo>
                    <a:pt x="20264" y="3998"/>
                  </a:lnTo>
                  <a:lnTo>
                    <a:pt x="20270" y="4002"/>
                  </a:lnTo>
                  <a:lnTo>
                    <a:pt x="20274" y="4008"/>
                  </a:lnTo>
                  <a:lnTo>
                    <a:pt x="20277" y="4017"/>
                  </a:lnTo>
                  <a:lnTo>
                    <a:pt x="20277" y="4324"/>
                  </a:lnTo>
                  <a:lnTo>
                    <a:pt x="20482" y="4324"/>
                  </a:lnTo>
                  <a:lnTo>
                    <a:pt x="20482" y="3670"/>
                  </a:lnTo>
                  <a:lnTo>
                    <a:pt x="20482" y="3016"/>
                  </a:lnTo>
                  <a:lnTo>
                    <a:pt x="20024" y="3016"/>
                  </a:lnTo>
                  <a:lnTo>
                    <a:pt x="20024" y="3584"/>
                  </a:lnTo>
                  <a:lnTo>
                    <a:pt x="20024" y="4152"/>
                  </a:lnTo>
                  <a:lnTo>
                    <a:pt x="20023" y="4161"/>
                  </a:lnTo>
                  <a:lnTo>
                    <a:pt x="20018" y="4167"/>
                  </a:lnTo>
                  <a:lnTo>
                    <a:pt x="20011" y="4171"/>
                  </a:lnTo>
                  <a:lnTo>
                    <a:pt x="20005" y="4172"/>
                  </a:lnTo>
                  <a:lnTo>
                    <a:pt x="19997" y="4171"/>
                  </a:lnTo>
                  <a:lnTo>
                    <a:pt x="19991" y="4167"/>
                  </a:lnTo>
                  <a:lnTo>
                    <a:pt x="19986" y="4161"/>
                  </a:lnTo>
                  <a:lnTo>
                    <a:pt x="19984" y="4152"/>
                  </a:lnTo>
                  <a:lnTo>
                    <a:pt x="19984" y="3451"/>
                  </a:lnTo>
                  <a:lnTo>
                    <a:pt x="19984" y="2750"/>
                  </a:lnTo>
                  <a:lnTo>
                    <a:pt x="19946" y="2750"/>
                  </a:lnTo>
                  <a:lnTo>
                    <a:pt x="19939" y="2748"/>
                  </a:lnTo>
                  <a:lnTo>
                    <a:pt x="19933" y="2744"/>
                  </a:lnTo>
                  <a:lnTo>
                    <a:pt x="19928" y="2737"/>
                  </a:lnTo>
                  <a:lnTo>
                    <a:pt x="19927" y="2730"/>
                  </a:lnTo>
                  <a:lnTo>
                    <a:pt x="19927" y="2576"/>
                  </a:lnTo>
                  <a:lnTo>
                    <a:pt x="19928" y="2569"/>
                  </a:lnTo>
                  <a:lnTo>
                    <a:pt x="19933" y="2562"/>
                  </a:lnTo>
                  <a:lnTo>
                    <a:pt x="19939" y="2558"/>
                  </a:lnTo>
                  <a:lnTo>
                    <a:pt x="19946" y="2556"/>
                  </a:lnTo>
                  <a:lnTo>
                    <a:pt x="19998" y="2556"/>
                  </a:lnTo>
                  <a:lnTo>
                    <a:pt x="20041" y="2500"/>
                  </a:lnTo>
                  <a:lnTo>
                    <a:pt x="20089" y="2443"/>
                  </a:lnTo>
                  <a:lnTo>
                    <a:pt x="20116" y="2418"/>
                  </a:lnTo>
                  <a:lnTo>
                    <a:pt x="20143" y="2391"/>
                  </a:lnTo>
                  <a:lnTo>
                    <a:pt x="20201" y="2340"/>
                  </a:lnTo>
                  <a:lnTo>
                    <a:pt x="20264" y="2292"/>
                  </a:lnTo>
                  <a:lnTo>
                    <a:pt x="20331" y="2246"/>
                  </a:lnTo>
                  <a:lnTo>
                    <a:pt x="20402" y="2203"/>
                  </a:lnTo>
                  <a:lnTo>
                    <a:pt x="20477" y="2163"/>
                  </a:lnTo>
                  <a:lnTo>
                    <a:pt x="20556" y="2126"/>
                  </a:lnTo>
                  <a:lnTo>
                    <a:pt x="20638" y="2092"/>
                  </a:lnTo>
                  <a:lnTo>
                    <a:pt x="20681" y="2075"/>
                  </a:lnTo>
                  <a:lnTo>
                    <a:pt x="20724" y="2060"/>
                  </a:lnTo>
                  <a:lnTo>
                    <a:pt x="20813" y="2033"/>
                  </a:lnTo>
                  <a:lnTo>
                    <a:pt x="20904" y="2009"/>
                  </a:lnTo>
                  <a:lnTo>
                    <a:pt x="20999" y="1987"/>
                  </a:lnTo>
                  <a:lnTo>
                    <a:pt x="21095" y="1970"/>
                  </a:lnTo>
                  <a:lnTo>
                    <a:pt x="21194" y="1956"/>
                  </a:lnTo>
                  <a:lnTo>
                    <a:pt x="21194" y="1775"/>
                  </a:lnTo>
                  <a:lnTo>
                    <a:pt x="21196" y="1759"/>
                  </a:lnTo>
                  <a:lnTo>
                    <a:pt x="21200" y="1744"/>
                  </a:lnTo>
                  <a:lnTo>
                    <a:pt x="21209" y="1730"/>
                  </a:lnTo>
                  <a:lnTo>
                    <a:pt x="21219" y="1717"/>
                  </a:lnTo>
                  <a:lnTo>
                    <a:pt x="21232" y="1705"/>
                  </a:lnTo>
                  <a:lnTo>
                    <a:pt x="21247" y="1694"/>
                  </a:lnTo>
                  <a:lnTo>
                    <a:pt x="21265" y="1684"/>
                  </a:lnTo>
                  <a:lnTo>
                    <a:pt x="21285" y="1675"/>
                  </a:lnTo>
                  <a:lnTo>
                    <a:pt x="21329" y="1659"/>
                  </a:lnTo>
                  <a:lnTo>
                    <a:pt x="21378" y="1648"/>
                  </a:lnTo>
                  <a:lnTo>
                    <a:pt x="21429" y="1642"/>
                  </a:lnTo>
                  <a:lnTo>
                    <a:pt x="21483" y="1639"/>
                  </a:lnTo>
                  <a:lnTo>
                    <a:pt x="21537" y="1642"/>
                  </a:lnTo>
                  <a:lnTo>
                    <a:pt x="21590" y="1648"/>
                  </a:lnTo>
                  <a:lnTo>
                    <a:pt x="21614" y="1653"/>
                  </a:lnTo>
                  <a:lnTo>
                    <a:pt x="21638" y="1659"/>
                  </a:lnTo>
                  <a:lnTo>
                    <a:pt x="21660" y="1666"/>
                  </a:lnTo>
                  <a:lnTo>
                    <a:pt x="21682" y="1675"/>
                  </a:lnTo>
                  <a:lnTo>
                    <a:pt x="21719" y="1694"/>
                  </a:lnTo>
                  <a:lnTo>
                    <a:pt x="21747" y="1717"/>
                  </a:lnTo>
                  <a:lnTo>
                    <a:pt x="21759" y="1730"/>
                  </a:lnTo>
                  <a:lnTo>
                    <a:pt x="21767" y="1744"/>
                  </a:lnTo>
                  <a:lnTo>
                    <a:pt x="21772" y="1759"/>
                  </a:lnTo>
                  <a:lnTo>
                    <a:pt x="21773" y="1775"/>
                  </a:lnTo>
                  <a:lnTo>
                    <a:pt x="21773" y="1956"/>
                  </a:lnTo>
                  <a:lnTo>
                    <a:pt x="21872" y="1970"/>
                  </a:lnTo>
                  <a:lnTo>
                    <a:pt x="21969" y="1987"/>
                  </a:lnTo>
                  <a:lnTo>
                    <a:pt x="22063" y="2009"/>
                  </a:lnTo>
                  <a:lnTo>
                    <a:pt x="22155" y="2033"/>
                  </a:lnTo>
                  <a:lnTo>
                    <a:pt x="22244" y="2060"/>
                  </a:lnTo>
                  <a:lnTo>
                    <a:pt x="22328" y="2092"/>
                  </a:lnTo>
                  <a:lnTo>
                    <a:pt x="22412" y="2126"/>
                  </a:lnTo>
                  <a:lnTo>
                    <a:pt x="22490" y="2163"/>
                  </a:lnTo>
                  <a:lnTo>
                    <a:pt x="22566" y="2203"/>
                  </a:lnTo>
                  <a:lnTo>
                    <a:pt x="22601" y="2225"/>
                  </a:lnTo>
                  <a:lnTo>
                    <a:pt x="22636" y="2246"/>
                  </a:lnTo>
                  <a:lnTo>
                    <a:pt x="22703" y="2292"/>
                  </a:lnTo>
                  <a:lnTo>
                    <a:pt x="22766" y="2340"/>
                  </a:lnTo>
                  <a:lnTo>
                    <a:pt x="22795" y="2365"/>
                  </a:lnTo>
                  <a:lnTo>
                    <a:pt x="22825" y="2391"/>
                  </a:lnTo>
                  <a:lnTo>
                    <a:pt x="22877" y="2445"/>
                  </a:lnTo>
                  <a:lnTo>
                    <a:pt x="22926" y="2500"/>
                  </a:lnTo>
                  <a:lnTo>
                    <a:pt x="22969" y="2556"/>
                  </a:lnTo>
                  <a:lnTo>
                    <a:pt x="23021" y="2556"/>
                  </a:lnTo>
                  <a:lnTo>
                    <a:pt x="23028" y="2558"/>
                  </a:lnTo>
                  <a:lnTo>
                    <a:pt x="23035" y="2562"/>
                  </a:lnTo>
                  <a:lnTo>
                    <a:pt x="23039" y="2569"/>
                  </a:lnTo>
                  <a:lnTo>
                    <a:pt x="23040" y="2576"/>
                  </a:lnTo>
                  <a:lnTo>
                    <a:pt x="23040" y="2730"/>
                  </a:lnTo>
                  <a:lnTo>
                    <a:pt x="23039" y="2737"/>
                  </a:lnTo>
                  <a:lnTo>
                    <a:pt x="23035" y="2744"/>
                  </a:lnTo>
                  <a:lnTo>
                    <a:pt x="23028" y="2748"/>
                  </a:lnTo>
                  <a:lnTo>
                    <a:pt x="23021" y="2750"/>
                  </a:lnTo>
                  <a:lnTo>
                    <a:pt x="22982" y="2750"/>
                  </a:lnTo>
                  <a:lnTo>
                    <a:pt x="22982" y="3547"/>
                  </a:lnTo>
                  <a:lnTo>
                    <a:pt x="22982" y="4345"/>
                  </a:lnTo>
                  <a:lnTo>
                    <a:pt x="22981" y="4352"/>
                  </a:lnTo>
                  <a:lnTo>
                    <a:pt x="22977" y="4359"/>
                  </a:lnTo>
                  <a:lnTo>
                    <a:pt x="22971" y="4363"/>
                  </a:lnTo>
                  <a:lnTo>
                    <a:pt x="22963" y="4365"/>
                  </a:lnTo>
                  <a:lnTo>
                    <a:pt x="22717" y="4365"/>
                  </a:lnTo>
                  <a:lnTo>
                    <a:pt x="21733" y="4365"/>
                  </a:lnTo>
                  <a:lnTo>
                    <a:pt x="21241" y="4365"/>
                  </a:lnTo>
                  <a:lnTo>
                    <a:pt x="20749" y="4365"/>
                  </a:lnTo>
                  <a:lnTo>
                    <a:pt x="20257" y="4365"/>
                  </a:lnTo>
                  <a:lnTo>
                    <a:pt x="19865" y="4365"/>
                  </a:lnTo>
                  <a:lnTo>
                    <a:pt x="19859" y="4368"/>
                  </a:lnTo>
                  <a:lnTo>
                    <a:pt x="19852" y="4369"/>
                  </a:lnTo>
                  <a:lnTo>
                    <a:pt x="18987" y="4369"/>
                  </a:lnTo>
                  <a:lnTo>
                    <a:pt x="18122" y="4369"/>
                  </a:lnTo>
                  <a:lnTo>
                    <a:pt x="18119" y="4369"/>
                  </a:lnTo>
                  <a:lnTo>
                    <a:pt x="17558" y="4369"/>
                  </a:lnTo>
                  <a:lnTo>
                    <a:pt x="17549" y="4366"/>
                  </a:lnTo>
                  <a:lnTo>
                    <a:pt x="17543" y="4363"/>
                  </a:lnTo>
                  <a:lnTo>
                    <a:pt x="17540" y="4356"/>
                  </a:lnTo>
                  <a:lnTo>
                    <a:pt x="17539" y="4349"/>
                  </a:lnTo>
                  <a:lnTo>
                    <a:pt x="17540" y="4341"/>
                  </a:lnTo>
                  <a:lnTo>
                    <a:pt x="17543" y="4334"/>
                  </a:lnTo>
                  <a:lnTo>
                    <a:pt x="17549" y="4331"/>
                  </a:lnTo>
                  <a:lnTo>
                    <a:pt x="17558" y="4329"/>
                  </a:lnTo>
                  <a:lnTo>
                    <a:pt x="18096" y="4329"/>
                  </a:lnTo>
                  <a:lnTo>
                    <a:pt x="18092" y="4305"/>
                  </a:lnTo>
                  <a:lnTo>
                    <a:pt x="18090" y="4287"/>
                  </a:lnTo>
                  <a:lnTo>
                    <a:pt x="18094" y="4262"/>
                  </a:lnTo>
                  <a:lnTo>
                    <a:pt x="18103" y="4237"/>
                  </a:lnTo>
                  <a:lnTo>
                    <a:pt x="18116" y="4216"/>
                  </a:lnTo>
                  <a:lnTo>
                    <a:pt x="18134" y="4196"/>
                  </a:lnTo>
                  <a:lnTo>
                    <a:pt x="18155" y="4178"/>
                  </a:lnTo>
                  <a:lnTo>
                    <a:pt x="18178" y="4162"/>
                  </a:lnTo>
                  <a:lnTo>
                    <a:pt x="18230" y="4131"/>
                  </a:lnTo>
                  <a:lnTo>
                    <a:pt x="18213" y="3595"/>
                  </a:lnTo>
                  <a:lnTo>
                    <a:pt x="18197" y="3061"/>
                  </a:lnTo>
                  <a:lnTo>
                    <a:pt x="17607" y="2249"/>
                  </a:lnTo>
                  <a:lnTo>
                    <a:pt x="17579" y="2705"/>
                  </a:lnTo>
                  <a:lnTo>
                    <a:pt x="17576" y="2714"/>
                  </a:lnTo>
                  <a:lnTo>
                    <a:pt x="17571" y="2719"/>
                  </a:lnTo>
                  <a:lnTo>
                    <a:pt x="17557" y="2725"/>
                  </a:lnTo>
                  <a:lnTo>
                    <a:pt x="17551" y="2722"/>
                  </a:lnTo>
                  <a:lnTo>
                    <a:pt x="17544" y="2718"/>
                  </a:lnTo>
                  <a:lnTo>
                    <a:pt x="17540" y="2712"/>
                  </a:lnTo>
                  <a:lnTo>
                    <a:pt x="17539" y="2703"/>
                  </a:lnTo>
                  <a:lnTo>
                    <a:pt x="17570" y="2195"/>
                  </a:lnTo>
                  <a:lnTo>
                    <a:pt x="17571" y="2188"/>
                  </a:lnTo>
                  <a:lnTo>
                    <a:pt x="17597" y="1763"/>
                  </a:lnTo>
                  <a:lnTo>
                    <a:pt x="17597" y="1755"/>
                  </a:lnTo>
                  <a:lnTo>
                    <a:pt x="17640" y="1058"/>
                  </a:lnTo>
                  <a:lnTo>
                    <a:pt x="17622" y="1058"/>
                  </a:lnTo>
                  <a:lnTo>
                    <a:pt x="17615" y="1057"/>
                  </a:lnTo>
                  <a:lnTo>
                    <a:pt x="17608" y="1053"/>
                  </a:lnTo>
                  <a:lnTo>
                    <a:pt x="17604" y="1047"/>
                  </a:lnTo>
                  <a:lnTo>
                    <a:pt x="17603" y="1039"/>
                  </a:lnTo>
                  <a:lnTo>
                    <a:pt x="17603" y="943"/>
                  </a:lnTo>
                  <a:lnTo>
                    <a:pt x="17604" y="936"/>
                  </a:lnTo>
                  <a:lnTo>
                    <a:pt x="17608" y="929"/>
                  </a:lnTo>
                  <a:lnTo>
                    <a:pt x="17615" y="925"/>
                  </a:lnTo>
                  <a:lnTo>
                    <a:pt x="17622" y="924"/>
                  </a:lnTo>
                  <a:lnTo>
                    <a:pt x="18192" y="924"/>
                  </a:lnTo>
                  <a:lnTo>
                    <a:pt x="18199" y="925"/>
                  </a:lnTo>
                  <a:lnTo>
                    <a:pt x="18206" y="929"/>
                  </a:lnTo>
                  <a:lnTo>
                    <a:pt x="18211" y="936"/>
                  </a:lnTo>
                  <a:lnTo>
                    <a:pt x="18212" y="943"/>
                  </a:lnTo>
                  <a:lnTo>
                    <a:pt x="18212" y="1039"/>
                  </a:lnTo>
                  <a:lnTo>
                    <a:pt x="18211" y="1047"/>
                  </a:lnTo>
                  <a:lnTo>
                    <a:pt x="18206" y="1053"/>
                  </a:lnTo>
                  <a:lnTo>
                    <a:pt x="18199" y="1057"/>
                  </a:lnTo>
                  <a:lnTo>
                    <a:pt x="18192" y="1058"/>
                  </a:lnTo>
                  <a:lnTo>
                    <a:pt x="18174" y="1058"/>
                  </a:lnTo>
                  <a:lnTo>
                    <a:pt x="18201" y="1919"/>
                  </a:lnTo>
                  <a:lnTo>
                    <a:pt x="18930" y="1919"/>
                  </a:lnTo>
                  <a:lnTo>
                    <a:pt x="19661" y="1919"/>
                  </a:lnTo>
                  <a:lnTo>
                    <a:pt x="19698" y="1158"/>
                  </a:lnTo>
                  <a:lnTo>
                    <a:pt x="19736" y="399"/>
                  </a:lnTo>
                  <a:lnTo>
                    <a:pt x="19738" y="392"/>
                  </a:lnTo>
                  <a:lnTo>
                    <a:pt x="19742" y="386"/>
                  </a:lnTo>
                  <a:lnTo>
                    <a:pt x="19748" y="382"/>
                  </a:lnTo>
                  <a:lnTo>
                    <a:pt x="19756" y="381"/>
                  </a:lnTo>
                  <a:lnTo>
                    <a:pt x="20084" y="381"/>
                  </a:lnTo>
                  <a:lnTo>
                    <a:pt x="20092" y="382"/>
                  </a:lnTo>
                  <a:lnTo>
                    <a:pt x="20098" y="386"/>
                  </a:lnTo>
                  <a:lnTo>
                    <a:pt x="20102" y="392"/>
                  </a:lnTo>
                  <a:lnTo>
                    <a:pt x="20105" y="399"/>
                  </a:lnTo>
                  <a:lnTo>
                    <a:pt x="20142" y="1126"/>
                  </a:lnTo>
                  <a:lnTo>
                    <a:pt x="20181" y="1855"/>
                  </a:lnTo>
                  <a:lnTo>
                    <a:pt x="20179" y="1864"/>
                  </a:lnTo>
                  <a:lnTo>
                    <a:pt x="20175" y="1870"/>
                  </a:lnTo>
                  <a:lnTo>
                    <a:pt x="20169" y="1874"/>
                  </a:lnTo>
                  <a:lnTo>
                    <a:pt x="20161" y="1877"/>
                  </a:lnTo>
                  <a:lnTo>
                    <a:pt x="20147" y="1872"/>
                  </a:lnTo>
                  <a:lnTo>
                    <a:pt x="20143" y="1867"/>
                  </a:lnTo>
                  <a:lnTo>
                    <a:pt x="20141" y="1858"/>
                  </a:lnTo>
                  <a:lnTo>
                    <a:pt x="20102" y="1139"/>
                  </a:lnTo>
                  <a:lnTo>
                    <a:pt x="20065" y="420"/>
                  </a:lnTo>
                  <a:lnTo>
                    <a:pt x="19775" y="420"/>
                  </a:lnTo>
                  <a:lnTo>
                    <a:pt x="19737" y="1180"/>
                  </a:lnTo>
                  <a:lnTo>
                    <a:pt x="19700" y="1939"/>
                  </a:lnTo>
                  <a:lnTo>
                    <a:pt x="19700" y="1942"/>
                  </a:lnTo>
                  <a:lnTo>
                    <a:pt x="19698" y="1947"/>
                  </a:lnTo>
                  <a:lnTo>
                    <a:pt x="19695" y="1952"/>
                  </a:lnTo>
                  <a:lnTo>
                    <a:pt x="19688" y="1956"/>
                  </a:lnTo>
                  <a:lnTo>
                    <a:pt x="19682" y="1959"/>
                  </a:lnTo>
                  <a:lnTo>
                    <a:pt x="18942" y="1959"/>
                  </a:lnTo>
                  <a:lnTo>
                    <a:pt x="18202" y="1959"/>
                  </a:lnTo>
                  <a:lnTo>
                    <a:pt x="18221" y="2560"/>
                  </a:lnTo>
                  <a:lnTo>
                    <a:pt x="18221" y="2567"/>
                  </a:lnTo>
                  <a:lnTo>
                    <a:pt x="18244" y="3338"/>
                  </a:lnTo>
                  <a:lnTo>
                    <a:pt x="18269" y="4111"/>
                  </a:lnTo>
                  <a:lnTo>
                    <a:pt x="18320" y="4081"/>
                  </a:lnTo>
                  <a:lnTo>
                    <a:pt x="18342" y="4066"/>
                  </a:lnTo>
                  <a:lnTo>
                    <a:pt x="18361" y="4049"/>
                  </a:lnTo>
                  <a:lnTo>
                    <a:pt x="18392" y="4015"/>
                  </a:lnTo>
                  <a:lnTo>
                    <a:pt x="18419" y="3976"/>
                  </a:lnTo>
                  <a:lnTo>
                    <a:pt x="18447" y="3936"/>
                  </a:lnTo>
                  <a:lnTo>
                    <a:pt x="18475" y="3897"/>
                  </a:lnTo>
                  <a:lnTo>
                    <a:pt x="18506" y="3863"/>
                  </a:lnTo>
                  <a:lnTo>
                    <a:pt x="18524" y="3849"/>
                  </a:lnTo>
                  <a:lnTo>
                    <a:pt x="18542" y="3835"/>
                  </a:lnTo>
                  <a:lnTo>
                    <a:pt x="18562" y="3824"/>
                  </a:lnTo>
                  <a:lnTo>
                    <a:pt x="18585" y="3817"/>
                  </a:lnTo>
                  <a:lnTo>
                    <a:pt x="18610" y="3811"/>
                  </a:lnTo>
                  <a:lnTo>
                    <a:pt x="18637" y="3810"/>
                  </a:lnTo>
                  <a:lnTo>
                    <a:pt x="18656" y="3811"/>
                  </a:lnTo>
                  <a:lnTo>
                    <a:pt x="18673" y="3817"/>
                  </a:lnTo>
                  <a:lnTo>
                    <a:pt x="18702" y="3831"/>
                  </a:lnTo>
                  <a:lnTo>
                    <a:pt x="18702" y="3827"/>
                  </a:lnTo>
                  <a:lnTo>
                    <a:pt x="18702" y="3086"/>
                  </a:lnTo>
                  <a:lnTo>
                    <a:pt x="18664" y="3083"/>
                  </a:lnTo>
                  <a:lnTo>
                    <a:pt x="18625" y="3075"/>
                  </a:lnTo>
                  <a:lnTo>
                    <a:pt x="18588" y="3065"/>
                  </a:lnTo>
                  <a:lnTo>
                    <a:pt x="18553" y="3051"/>
                  </a:lnTo>
                  <a:lnTo>
                    <a:pt x="18519" y="3033"/>
                  </a:lnTo>
                  <a:lnTo>
                    <a:pt x="18488" y="3012"/>
                  </a:lnTo>
                  <a:lnTo>
                    <a:pt x="18458" y="2989"/>
                  </a:lnTo>
                  <a:lnTo>
                    <a:pt x="18431" y="2964"/>
                  </a:lnTo>
                  <a:lnTo>
                    <a:pt x="18407" y="2936"/>
                  </a:lnTo>
                  <a:lnTo>
                    <a:pt x="18385" y="2905"/>
                  </a:lnTo>
                  <a:lnTo>
                    <a:pt x="18366" y="2873"/>
                  </a:lnTo>
                  <a:lnTo>
                    <a:pt x="18349" y="2838"/>
                  </a:lnTo>
                  <a:lnTo>
                    <a:pt x="18337" y="2803"/>
                  </a:lnTo>
                  <a:lnTo>
                    <a:pt x="18328" y="2766"/>
                  </a:lnTo>
                  <a:lnTo>
                    <a:pt x="18322" y="2726"/>
                  </a:lnTo>
                  <a:lnTo>
                    <a:pt x="18320" y="2686"/>
                  </a:lnTo>
                  <a:lnTo>
                    <a:pt x="18322" y="2645"/>
                  </a:lnTo>
                  <a:lnTo>
                    <a:pt x="18328" y="2606"/>
                  </a:lnTo>
                  <a:lnTo>
                    <a:pt x="18338" y="2567"/>
                  </a:lnTo>
                  <a:lnTo>
                    <a:pt x="18352" y="2530"/>
                  </a:lnTo>
                  <a:lnTo>
                    <a:pt x="18369" y="2496"/>
                  </a:lnTo>
                  <a:lnTo>
                    <a:pt x="18388" y="2462"/>
                  </a:lnTo>
                  <a:lnTo>
                    <a:pt x="18412" y="2432"/>
                  </a:lnTo>
                  <a:lnTo>
                    <a:pt x="18438" y="2404"/>
                  </a:lnTo>
                  <a:lnTo>
                    <a:pt x="18466" y="2377"/>
                  </a:lnTo>
                  <a:lnTo>
                    <a:pt x="18497" y="2354"/>
                  </a:lnTo>
                  <a:lnTo>
                    <a:pt x="18530" y="2335"/>
                  </a:lnTo>
                  <a:lnTo>
                    <a:pt x="18565" y="2317"/>
                  </a:lnTo>
                  <a:lnTo>
                    <a:pt x="18602" y="2304"/>
                  </a:lnTo>
                  <a:lnTo>
                    <a:pt x="18640" y="2294"/>
                  </a:lnTo>
                  <a:lnTo>
                    <a:pt x="18680" y="2287"/>
                  </a:lnTo>
                  <a:lnTo>
                    <a:pt x="18721" y="2286"/>
                  </a:lnTo>
                  <a:lnTo>
                    <a:pt x="18764" y="2287"/>
                  </a:lnTo>
                  <a:lnTo>
                    <a:pt x="18803" y="2294"/>
                  </a:lnTo>
                  <a:lnTo>
                    <a:pt x="18842" y="2304"/>
                  </a:lnTo>
                  <a:lnTo>
                    <a:pt x="18879" y="2318"/>
                  </a:lnTo>
                  <a:lnTo>
                    <a:pt x="18914" y="2335"/>
                  </a:lnTo>
                  <a:lnTo>
                    <a:pt x="18947" y="2355"/>
                  </a:lnTo>
                  <a:lnTo>
                    <a:pt x="18978" y="2378"/>
                  </a:lnTo>
                  <a:lnTo>
                    <a:pt x="19007" y="2404"/>
                  </a:lnTo>
                  <a:lnTo>
                    <a:pt x="19033" y="2433"/>
                  </a:lnTo>
                  <a:lnTo>
                    <a:pt x="19056" y="2464"/>
                  </a:lnTo>
                  <a:lnTo>
                    <a:pt x="19075" y="2497"/>
                  </a:lnTo>
                  <a:lnTo>
                    <a:pt x="19092" y="2532"/>
                  </a:lnTo>
                  <a:lnTo>
                    <a:pt x="19106" y="2569"/>
                  </a:lnTo>
                  <a:lnTo>
                    <a:pt x="19115" y="2607"/>
                  </a:lnTo>
                  <a:lnTo>
                    <a:pt x="19121" y="2645"/>
                  </a:lnTo>
                  <a:lnTo>
                    <a:pt x="19124" y="2686"/>
                  </a:lnTo>
                  <a:lnTo>
                    <a:pt x="19121" y="2695"/>
                  </a:lnTo>
                  <a:lnTo>
                    <a:pt x="19118" y="2702"/>
                  </a:lnTo>
                  <a:lnTo>
                    <a:pt x="19111" y="2705"/>
                  </a:lnTo>
                  <a:lnTo>
                    <a:pt x="19103" y="2707"/>
                  </a:lnTo>
                  <a:lnTo>
                    <a:pt x="19096" y="2705"/>
                  </a:lnTo>
                  <a:lnTo>
                    <a:pt x="19089" y="2702"/>
                  </a:lnTo>
                  <a:lnTo>
                    <a:pt x="19085" y="2695"/>
                  </a:lnTo>
                  <a:lnTo>
                    <a:pt x="19083" y="2686"/>
                  </a:lnTo>
                  <a:lnTo>
                    <a:pt x="19082" y="2650"/>
                  </a:lnTo>
                  <a:lnTo>
                    <a:pt x="19076" y="2615"/>
                  </a:lnTo>
                  <a:lnTo>
                    <a:pt x="19067" y="2580"/>
                  </a:lnTo>
                  <a:lnTo>
                    <a:pt x="19055" y="2547"/>
                  </a:lnTo>
                  <a:lnTo>
                    <a:pt x="19041" y="2515"/>
                  </a:lnTo>
                  <a:lnTo>
                    <a:pt x="19023" y="2485"/>
                  </a:lnTo>
                  <a:lnTo>
                    <a:pt x="19002" y="2457"/>
                  </a:lnTo>
                  <a:lnTo>
                    <a:pt x="18978" y="2432"/>
                  </a:lnTo>
                  <a:lnTo>
                    <a:pt x="18952" y="2409"/>
                  </a:lnTo>
                  <a:lnTo>
                    <a:pt x="18925" y="2388"/>
                  </a:lnTo>
                  <a:lnTo>
                    <a:pt x="18894" y="2369"/>
                  </a:lnTo>
                  <a:lnTo>
                    <a:pt x="18864" y="2354"/>
                  </a:lnTo>
                  <a:lnTo>
                    <a:pt x="18830" y="2342"/>
                  </a:lnTo>
                  <a:lnTo>
                    <a:pt x="18796" y="2333"/>
                  </a:lnTo>
                  <a:lnTo>
                    <a:pt x="18758" y="2328"/>
                  </a:lnTo>
                  <a:lnTo>
                    <a:pt x="18721" y="2326"/>
                  </a:lnTo>
                  <a:lnTo>
                    <a:pt x="18684" y="2328"/>
                  </a:lnTo>
                  <a:lnTo>
                    <a:pt x="18648" y="2333"/>
                  </a:lnTo>
                  <a:lnTo>
                    <a:pt x="18614" y="2342"/>
                  </a:lnTo>
                  <a:lnTo>
                    <a:pt x="18580" y="2354"/>
                  </a:lnTo>
                  <a:lnTo>
                    <a:pt x="18549" y="2369"/>
                  </a:lnTo>
                  <a:lnTo>
                    <a:pt x="18520" y="2387"/>
                  </a:lnTo>
                  <a:lnTo>
                    <a:pt x="18492" y="2407"/>
                  </a:lnTo>
                  <a:lnTo>
                    <a:pt x="18466" y="2432"/>
                  </a:lnTo>
                  <a:lnTo>
                    <a:pt x="18443" y="2457"/>
                  </a:lnTo>
                  <a:lnTo>
                    <a:pt x="18421" y="2484"/>
                  </a:lnTo>
                  <a:lnTo>
                    <a:pt x="18403" y="2515"/>
                  </a:lnTo>
                  <a:lnTo>
                    <a:pt x="18388" y="2546"/>
                  </a:lnTo>
                  <a:lnTo>
                    <a:pt x="18381" y="2562"/>
                  </a:lnTo>
                  <a:lnTo>
                    <a:pt x="18376" y="2579"/>
                  </a:lnTo>
                  <a:lnTo>
                    <a:pt x="18367" y="2613"/>
                  </a:lnTo>
                  <a:lnTo>
                    <a:pt x="18362" y="2649"/>
                  </a:lnTo>
                  <a:lnTo>
                    <a:pt x="18360" y="2686"/>
                  </a:lnTo>
                  <a:lnTo>
                    <a:pt x="18362" y="2722"/>
                  </a:lnTo>
                  <a:lnTo>
                    <a:pt x="18367" y="2757"/>
                  </a:lnTo>
                  <a:lnTo>
                    <a:pt x="18375" y="2790"/>
                  </a:lnTo>
                  <a:lnTo>
                    <a:pt x="18387" y="2823"/>
                  </a:lnTo>
                  <a:lnTo>
                    <a:pt x="18401" y="2854"/>
                  </a:lnTo>
                  <a:lnTo>
                    <a:pt x="18417" y="2882"/>
                  </a:lnTo>
                  <a:lnTo>
                    <a:pt x="18438" y="2910"/>
                  </a:lnTo>
                  <a:lnTo>
                    <a:pt x="18460" y="2936"/>
                  </a:lnTo>
                  <a:lnTo>
                    <a:pt x="18484" y="2959"/>
                  </a:lnTo>
                  <a:lnTo>
                    <a:pt x="18510" y="2979"/>
                  </a:lnTo>
                  <a:lnTo>
                    <a:pt x="18538" y="2997"/>
                  </a:lnTo>
                  <a:lnTo>
                    <a:pt x="18569" y="3014"/>
                  </a:lnTo>
                  <a:lnTo>
                    <a:pt x="18599" y="3026"/>
                  </a:lnTo>
                  <a:lnTo>
                    <a:pt x="18633" y="3037"/>
                  </a:lnTo>
                  <a:lnTo>
                    <a:pt x="18667" y="3043"/>
                  </a:lnTo>
                  <a:lnTo>
                    <a:pt x="18702" y="3047"/>
                  </a:lnTo>
                  <a:lnTo>
                    <a:pt x="18702" y="3011"/>
                  </a:lnTo>
                  <a:lnTo>
                    <a:pt x="18701" y="3008"/>
                  </a:lnTo>
                  <a:lnTo>
                    <a:pt x="18597" y="2865"/>
                  </a:lnTo>
                  <a:lnTo>
                    <a:pt x="18593" y="2858"/>
                  </a:lnTo>
                  <a:lnTo>
                    <a:pt x="18593" y="2850"/>
                  </a:lnTo>
                  <a:lnTo>
                    <a:pt x="18596" y="2842"/>
                  </a:lnTo>
                  <a:lnTo>
                    <a:pt x="18601" y="2837"/>
                  </a:lnTo>
                  <a:lnTo>
                    <a:pt x="18607" y="2835"/>
                  </a:lnTo>
                  <a:lnTo>
                    <a:pt x="18615" y="2833"/>
                  </a:lnTo>
                  <a:lnTo>
                    <a:pt x="18623" y="2836"/>
                  </a:lnTo>
                  <a:lnTo>
                    <a:pt x="18629" y="2842"/>
                  </a:lnTo>
                  <a:lnTo>
                    <a:pt x="18702" y="2943"/>
                  </a:lnTo>
                  <a:lnTo>
                    <a:pt x="18702" y="2901"/>
                  </a:lnTo>
                  <a:lnTo>
                    <a:pt x="18702" y="2895"/>
                  </a:lnTo>
                  <a:lnTo>
                    <a:pt x="18702" y="2744"/>
                  </a:lnTo>
                  <a:lnTo>
                    <a:pt x="18606" y="2611"/>
                  </a:lnTo>
                  <a:lnTo>
                    <a:pt x="18602" y="2603"/>
                  </a:lnTo>
                  <a:lnTo>
                    <a:pt x="18602" y="2595"/>
                  </a:lnTo>
                  <a:lnTo>
                    <a:pt x="18606" y="2588"/>
                  </a:lnTo>
                  <a:lnTo>
                    <a:pt x="18611" y="2583"/>
                  </a:lnTo>
                  <a:lnTo>
                    <a:pt x="18617" y="2580"/>
                  </a:lnTo>
                  <a:lnTo>
                    <a:pt x="18625" y="2579"/>
                  </a:lnTo>
                  <a:lnTo>
                    <a:pt x="18633" y="2581"/>
                  </a:lnTo>
                  <a:lnTo>
                    <a:pt x="18639" y="2588"/>
                  </a:lnTo>
                  <a:lnTo>
                    <a:pt x="18702" y="2675"/>
                  </a:lnTo>
                  <a:lnTo>
                    <a:pt x="18702" y="2599"/>
                  </a:lnTo>
                  <a:lnTo>
                    <a:pt x="18705" y="2590"/>
                  </a:lnTo>
                  <a:lnTo>
                    <a:pt x="18708" y="2584"/>
                  </a:lnTo>
                  <a:lnTo>
                    <a:pt x="18715" y="2580"/>
                  </a:lnTo>
                  <a:lnTo>
                    <a:pt x="18723" y="2579"/>
                  </a:lnTo>
                  <a:lnTo>
                    <a:pt x="18730" y="2580"/>
                  </a:lnTo>
                  <a:lnTo>
                    <a:pt x="18737" y="2584"/>
                  </a:lnTo>
                  <a:lnTo>
                    <a:pt x="18741" y="2590"/>
                  </a:lnTo>
                  <a:lnTo>
                    <a:pt x="18742" y="2599"/>
                  </a:lnTo>
                  <a:lnTo>
                    <a:pt x="18742" y="2734"/>
                  </a:lnTo>
                  <a:lnTo>
                    <a:pt x="18742" y="2740"/>
                  </a:lnTo>
                  <a:lnTo>
                    <a:pt x="18742" y="2836"/>
                  </a:lnTo>
                  <a:lnTo>
                    <a:pt x="18828" y="2718"/>
                  </a:lnTo>
                  <a:lnTo>
                    <a:pt x="18834" y="2712"/>
                  </a:lnTo>
                  <a:lnTo>
                    <a:pt x="18842" y="2711"/>
                  </a:lnTo>
                  <a:lnTo>
                    <a:pt x="18856" y="2714"/>
                  </a:lnTo>
                  <a:lnTo>
                    <a:pt x="18861" y="2719"/>
                  </a:lnTo>
                  <a:lnTo>
                    <a:pt x="18864" y="2726"/>
                  </a:lnTo>
                  <a:lnTo>
                    <a:pt x="18864" y="2734"/>
                  </a:lnTo>
                  <a:lnTo>
                    <a:pt x="18860" y="2743"/>
                  </a:lnTo>
                  <a:close/>
                  <a:moveTo>
                    <a:pt x="20006" y="2597"/>
                  </a:moveTo>
                  <a:lnTo>
                    <a:pt x="19966" y="2597"/>
                  </a:lnTo>
                  <a:lnTo>
                    <a:pt x="19966" y="2709"/>
                  </a:lnTo>
                  <a:lnTo>
                    <a:pt x="20724" y="2709"/>
                  </a:lnTo>
                  <a:lnTo>
                    <a:pt x="21483" y="2709"/>
                  </a:lnTo>
                  <a:lnTo>
                    <a:pt x="22241" y="2709"/>
                  </a:lnTo>
                  <a:lnTo>
                    <a:pt x="23000" y="2709"/>
                  </a:lnTo>
                  <a:lnTo>
                    <a:pt x="23000" y="2597"/>
                  </a:lnTo>
                  <a:lnTo>
                    <a:pt x="22962" y="2597"/>
                  </a:lnTo>
                  <a:lnTo>
                    <a:pt x="22954" y="2597"/>
                  </a:lnTo>
                  <a:lnTo>
                    <a:pt x="22218" y="2597"/>
                  </a:lnTo>
                  <a:lnTo>
                    <a:pt x="21483" y="2597"/>
                  </a:lnTo>
                  <a:lnTo>
                    <a:pt x="20747" y="2597"/>
                  </a:lnTo>
                  <a:lnTo>
                    <a:pt x="20013" y="2597"/>
                  </a:lnTo>
                  <a:lnTo>
                    <a:pt x="20006" y="2597"/>
                  </a:lnTo>
                  <a:close/>
                  <a:moveTo>
                    <a:pt x="19369" y="3221"/>
                  </a:moveTo>
                  <a:lnTo>
                    <a:pt x="19369" y="3011"/>
                  </a:lnTo>
                  <a:lnTo>
                    <a:pt x="19370" y="3002"/>
                  </a:lnTo>
                  <a:lnTo>
                    <a:pt x="19375" y="2996"/>
                  </a:lnTo>
                  <a:lnTo>
                    <a:pt x="19382" y="2992"/>
                  </a:lnTo>
                  <a:lnTo>
                    <a:pt x="19388" y="2991"/>
                  </a:lnTo>
                  <a:lnTo>
                    <a:pt x="19396" y="2992"/>
                  </a:lnTo>
                  <a:lnTo>
                    <a:pt x="19402" y="2996"/>
                  </a:lnTo>
                  <a:lnTo>
                    <a:pt x="19407" y="3002"/>
                  </a:lnTo>
                  <a:lnTo>
                    <a:pt x="19409" y="3011"/>
                  </a:lnTo>
                  <a:lnTo>
                    <a:pt x="19409" y="3162"/>
                  </a:lnTo>
                  <a:lnTo>
                    <a:pt x="19442" y="3116"/>
                  </a:lnTo>
                  <a:lnTo>
                    <a:pt x="19448" y="3111"/>
                  </a:lnTo>
                  <a:lnTo>
                    <a:pt x="19456" y="3108"/>
                  </a:lnTo>
                  <a:lnTo>
                    <a:pt x="19470" y="3112"/>
                  </a:lnTo>
                  <a:lnTo>
                    <a:pt x="19475" y="3117"/>
                  </a:lnTo>
                  <a:lnTo>
                    <a:pt x="19478" y="3124"/>
                  </a:lnTo>
                  <a:lnTo>
                    <a:pt x="19478" y="3131"/>
                  </a:lnTo>
                  <a:lnTo>
                    <a:pt x="19474" y="3140"/>
                  </a:lnTo>
                  <a:lnTo>
                    <a:pt x="19409" y="3231"/>
                  </a:lnTo>
                  <a:lnTo>
                    <a:pt x="19409" y="3413"/>
                  </a:lnTo>
                  <a:lnTo>
                    <a:pt x="19432" y="3381"/>
                  </a:lnTo>
                  <a:lnTo>
                    <a:pt x="19438" y="3374"/>
                  </a:lnTo>
                  <a:lnTo>
                    <a:pt x="19446" y="3372"/>
                  </a:lnTo>
                  <a:lnTo>
                    <a:pt x="19460" y="3375"/>
                  </a:lnTo>
                  <a:lnTo>
                    <a:pt x="19465" y="3382"/>
                  </a:lnTo>
                  <a:lnTo>
                    <a:pt x="19468" y="3388"/>
                  </a:lnTo>
                  <a:lnTo>
                    <a:pt x="19468" y="3396"/>
                  </a:lnTo>
                  <a:lnTo>
                    <a:pt x="19464" y="3404"/>
                  </a:lnTo>
                  <a:lnTo>
                    <a:pt x="19409" y="3480"/>
                  </a:lnTo>
                  <a:lnTo>
                    <a:pt x="19409" y="3491"/>
                  </a:lnTo>
                  <a:lnTo>
                    <a:pt x="19409" y="3498"/>
                  </a:lnTo>
                  <a:lnTo>
                    <a:pt x="19409" y="3608"/>
                  </a:lnTo>
                  <a:lnTo>
                    <a:pt x="19425" y="3613"/>
                  </a:lnTo>
                  <a:lnTo>
                    <a:pt x="19441" y="3620"/>
                  </a:lnTo>
                  <a:lnTo>
                    <a:pt x="19455" y="3627"/>
                  </a:lnTo>
                  <a:lnTo>
                    <a:pt x="19468" y="3632"/>
                  </a:lnTo>
                  <a:lnTo>
                    <a:pt x="19480" y="3635"/>
                  </a:lnTo>
                  <a:lnTo>
                    <a:pt x="19488" y="3635"/>
                  </a:lnTo>
                  <a:lnTo>
                    <a:pt x="19494" y="3632"/>
                  </a:lnTo>
                  <a:lnTo>
                    <a:pt x="19501" y="3630"/>
                  </a:lnTo>
                  <a:lnTo>
                    <a:pt x="19509" y="3625"/>
                  </a:lnTo>
                  <a:lnTo>
                    <a:pt x="19525" y="3608"/>
                  </a:lnTo>
                  <a:lnTo>
                    <a:pt x="19547" y="3585"/>
                  </a:lnTo>
                  <a:lnTo>
                    <a:pt x="19562" y="3570"/>
                  </a:lnTo>
                  <a:lnTo>
                    <a:pt x="19577" y="3562"/>
                  </a:lnTo>
                  <a:lnTo>
                    <a:pt x="19591" y="3558"/>
                  </a:lnTo>
                  <a:lnTo>
                    <a:pt x="19620" y="3556"/>
                  </a:lnTo>
                  <a:lnTo>
                    <a:pt x="19639" y="3554"/>
                  </a:lnTo>
                  <a:lnTo>
                    <a:pt x="19664" y="3552"/>
                  </a:lnTo>
                  <a:lnTo>
                    <a:pt x="19679" y="3544"/>
                  </a:lnTo>
                  <a:lnTo>
                    <a:pt x="19684" y="3539"/>
                  </a:lnTo>
                  <a:lnTo>
                    <a:pt x="19688" y="3533"/>
                  </a:lnTo>
                  <a:lnTo>
                    <a:pt x="19695" y="3517"/>
                  </a:lnTo>
                  <a:lnTo>
                    <a:pt x="19700" y="3499"/>
                  </a:lnTo>
                  <a:lnTo>
                    <a:pt x="19705" y="3479"/>
                  </a:lnTo>
                  <a:lnTo>
                    <a:pt x="19714" y="3460"/>
                  </a:lnTo>
                  <a:lnTo>
                    <a:pt x="19728" y="3441"/>
                  </a:lnTo>
                  <a:lnTo>
                    <a:pt x="19737" y="3432"/>
                  </a:lnTo>
                  <a:lnTo>
                    <a:pt x="19748" y="3424"/>
                  </a:lnTo>
                  <a:lnTo>
                    <a:pt x="19792" y="3398"/>
                  </a:lnTo>
                  <a:lnTo>
                    <a:pt x="19804" y="3391"/>
                  </a:lnTo>
                  <a:lnTo>
                    <a:pt x="19810" y="3383"/>
                  </a:lnTo>
                  <a:lnTo>
                    <a:pt x="19813" y="3373"/>
                  </a:lnTo>
                  <a:lnTo>
                    <a:pt x="19811" y="3360"/>
                  </a:lnTo>
                  <a:lnTo>
                    <a:pt x="19804" y="3310"/>
                  </a:lnTo>
                  <a:lnTo>
                    <a:pt x="19804" y="3286"/>
                  </a:lnTo>
                  <a:lnTo>
                    <a:pt x="19807" y="3265"/>
                  </a:lnTo>
                  <a:lnTo>
                    <a:pt x="19816" y="3248"/>
                  </a:lnTo>
                  <a:lnTo>
                    <a:pt x="19827" y="3232"/>
                  </a:lnTo>
                  <a:lnTo>
                    <a:pt x="19847" y="3207"/>
                  </a:lnTo>
                  <a:lnTo>
                    <a:pt x="19854" y="3194"/>
                  </a:lnTo>
                  <a:lnTo>
                    <a:pt x="19856" y="3181"/>
                  </a:lnTo>
                  <a:lnTo>
                    <a:pt x="19854" y="3164"/>
                  </a:lnTo>
                  <a:lnTo>
                    <a:pt x="19850" y="3158"/>
                  </a:lnTo>
                  <a:lnTo>
                    <a:pt x="19846" y="3152"/>
                  </a:lnTo>
                  <a:lnTo>
                    <a:pt x="19824" y="3126"/>
                  </a:lnTo>
                  <a:lnTo>
                    <a:pt x="19814" y="3109"/>
                  </a:lnTo>
                  <a:lnTo>
                    <a:pt x="19806" y="3088"/>
                  </a:lnTo>
                  <a:lnTo>
                    <a:pt x="19805" y="3060"/>
                  </a:lnTo>
                  <a:lnTo>
                    <a:pt x="19806" y="3042"/>
                  </a:lnTo>
                  <a:lnTo>
                    <a:pt x="19809" y="3020"/>
                  </a:lnTo>
                  <a:lnTo>
                    <a:pt x="19811" y="3005"/>
                  </a:lnTo>
                  <a:lnTo>
                    <a:pt x="19811" y="2992"/>
                  </a:lnTo>
                  <a:lnTo>
                    <a:pt x="19809" y="2982"/>
                  </a:lnTo>
                  <a:lnTo>
                    <a:pt x="19805" y="2973"/>
                  </a:lnTo>
                  <a:lnTo>
                    <a:pt x="19792" y="2960"/>
                  </a:lnTo>
                  <a:lnTo>
                    <a:pt x="19775" y="2951"/>
                  </a:lnTo>
                  <a:lnTo>
                    <a:pt x="19757" y="2942"/>
                  </a:lnTo>
                  <a:lnTo>
                    <a:pt x="19738" y="2930"/>
                  </a:lnTo>
                  <a:lnTo>
                    <a:pt x="19720" y="2913"/>
                  </a:lnTo>
                  <a:lnTo>
                    <a:pt x="19712" y="2900"/>
                  </a:lnTo>
                  <a:lnTo>
                    <a:pt x="19706" y="2884"/>
                  </a:lnTo>
                  <a:lnTo>
                    <a:pt x="19691" y="2837"/>
                  </a:lnTo>
                  <a:lnTo>
                    <a:pt x="19686" y="2824"/>
                  </a:lnTo>
                  <a:lnTo>
                    <a:pt x="19683" y="2819"/>
                  </a:lnTo>
                  <a:lnTo>
                    <a:pt x="19680" y="2815"/>
                  </a:lnTo>
                  <a:lnTo>
                    <a:pt x="19671" y="2812"/>
                  </a:lnTo>
                  <a:lnTo>
                    <a:pt x="19657" y="2810"/>
                  </a:lnTo>
                  <a:lnTo>
                    <a:pt x="19607" y="2806"/>
                  </a:lnTo>
                  <a:lnTo>
                    <a:pt x="19591" y="2803"/>
                  </a:lnTo>
                  <a:lnTo>
                    <a:pt x="19577" y="2799"/>
                  </a:lnTo>
                  <a:lnTo>
                    <a:pt x="19555" y="2786"/>
                  </a:lnTo>
                  <a:lnTo>
                    <a:pt x="19547" y="2778"/>
                  </a:lnTo>
                  <a:lnTo>
                    <a:pt x="19539" y="2769"/>
                  </a:lnTo>
                  <a:lnTo>
                    <a:pt x="19527" y="2753"/>
                  </a:lnTo>
                  <a:lnTo>
                    <a:pt x="19514" y="2739"/>
                  </a:lnTo>
                  <a:lnTo>
                    <a:pt x="19507" y="2734"/>
                  </a:lnTo>
                  <a:lnTo>
                    <a:pt x="19500" y="2730"/>
                  </a:lnTo>
                  <a:lnTo>
                    <a:pt x="19491" y="2727"/>
                  </a:lnTo>
                  <a:lnTo>
                    <a:pt x="19479" y="2728"/>
                  </a:lnTo>
                  <a:lnTo>
                    <a:pt x="19452" y="2736"/>
                  </a:lnTo>
                  <a:lnTo>
                    <a:pt x="19421" y="2749"/>
                  </a:lnTo>
                  <a:lnTo>
                    <a:pt x="19405" y="2754"/>
                  </a:lnTo>
                  <a:lnTo>
                    <a:pt x="19388" y="2755"/>
                  </a:lnTo>
                  <a:lnTo>
                    <a:pt x="19366" y="2753"/>
                  </a:lnTo>
                  <a:lnTo>
                    <a:pt x="19347" y="2746"/>
                  </a:lnTo>
                  <a:lnTo>
                    <a:pt x="19316" y="2731"/>
                  </a:lnTo>
                  <a:lnTo>
                    <a:pt x="19301" y="2727"/>
                  </a:lnTo>
                  <a:lnTo>
                    <a:pt x="19293" y="2726"/>
                  </a:lnTo>
                  <a:lnTo>
                    <a:pt x="19287" y="2727"/>
                  </a:lnTo>
                  <a:lnTo>
                    <a:pt x="19270" y="2736"/>
                  </a:lnTo>
                  <a:lnTo>
                    <a:pt x="19251" y="2753"/>
                  </a:lnTo>
                  <a:lnTo>
                    <a:pt x="19230" y="2776"/>
                  </a:lnTo>
                  <a:lnTo>
                    <a:pt x="19214" y="2791"/>
                  </a:lnTo>
                  <a:lnTo>
                    <a:pt x="19200" y="2799"/>
                  </a:lnTo>
                  <a:lnTo>
                    <a:pt x="19187" y="2804"/>
                  </a:lnTo>
                  <a:lnTo>
                    <a:pt x="19157" y="2805"/>
                  </a:lnTo>
                  <a:lnTo>
                    <a:pt x="19138" y="2806"/>
                  </a:lnTo>
                  <a:lnTo>
                    <a:pt x="19112" y="2810"/>
                  </a:lnTo>
                  <a:lnTo>
                    <a:pt x="19098" y="2817"/>
                  </a:lnTo>
                  <a:lnTo>
                    <a:pt x="19093" y="2822"/>
                  </a:lnTo>
                  <a:lnTo>
                    <a:pt x="19088" y="2828"/>
                  </a:lnTo>
                  <a:lnTo>
                    <a:pt x="19082" y="2844"/>
                  </a:lnTo>
                  <a:lnTo>
                    <a:pt x="19078" y="2863"/>
                  </a:lnTo>
                  <a:lnTo>
                    <a:pt x="19071" y="2882"/>
                  </a:lnTo>
                  <a:lnTo>
                    <a:pt x="19064" y="2902"/>
                  </a:lnTo>
                  <a:lnTo>
                    <a:pt x="19050" y="2920"/>
                  </a:lnTo>
                  <a:lnTo>
                    <a:pt x="19041" y="2929"/>
                  </a:lnTo>
                  <a:lnTo>
                    <a:pt x="19029" y="2937"/>
                  </a:lnTo>
                  <a:lnTo>
                    <a:pt x="18985" y="2962"/>
                  </a:lnTo>
                  <a:lnTo>
                    <a:pt x="18974" y="2970"/>
                  </a:lnTo>
                  <a:lnTo>
                    <a:pt x="18967" y="2978"/>
                  </a:lnTo>
                  <a:lnTo>
                    <a:pt x="18965" y="2988"/>
                  </a:lnTo>
                  <a:lnTo>
                    <a:pt x="18966" y="3002"/>
                  </a:lnTo>
                  <a:lnTo>
                    <a:pt x="18974" y="3052"/>
                  </a:lnTo>
                  <a:lnTo>
                    <a:pt x="18974" y="3079"/>
                  </a:lnTo>
                  <a:lnTo>
                    <a:pt x="18967" y="3101"/>
                  </a:lnTo>
                  <a:lnTo>
                    <a:pt x="18956" y="3121"/>
                  </a:lnTo>
                  <a:lnTo>
                    <a:pt x="18941" y="3143"/>
                  </a:lnTo>
                  <a:lnTo>
                    <a:pt x="18926" y="3164"/>
                  </a:lnTo>
                  <a:lnTo>
                    <a:pt x="18923" y="3172"/>
                  </a:lnTo>
                  <a:lnTo>
                    <a:pt x="18921" y="3181"/>
                  </a:lnTo>
                  <a:lnTo>
                    <a:pt x="18924" y="3196"/>
                  </a:lnTo>
                  <a:lnTo>
                    <a:pt x="18928" y="3204"/>
                  </a:lnTo>
                  <a:lnTo>
                    <a:pt x="18932" y="3211"/>
                  </a:lnTo>
                  <a:lnTo>
                    <a:pt x="18953" y="3235"/>
                  </a:lnTo>
                  <a:lnTo>
                    <a:pt x="18964" y="3251"/>
                  </a:lnTo>
                  <a:lnTo>
                    <a:pt x="18970" y="3273"/>
                  </a:lnTo>
                  <a:lnTo>
                    <a:pt x="18973" y="3303"/>
                  </a:lnTo>
                  <a:lnTo>
                    <a:pt x="18971" y="3320"/>
                  </a:lnTo>
                  <a:lnTo>
                    <a:pt x="18969" y="3341"/>
                  </a:lnTo>
                  <a:lnTo>
                    <a:pt x="18966" y="3356"/>
                  </a:lnTo>
                  <a:lnTo>
                    <a:pt x="18966" y="3369"/>
                  </a:lnTo>
                  <a:lnTo>
                    <a:pt x="18969" y="3381"/>
                  </a:lnTo>
                  <a:lnTo>
                    <a:pt x="18973" y="3388"/>
                  </a:lnTo>
                  <a:lnTo>
                    <a:pt x="18984" y="3401"/>
                  </a:lnTo>
                  <a:lnTo>
                    <a:pt x="19001" y="3410"/>
                  </a:lnTo>
                  <a:lnTo>
                    <a:pt x="19020" y="3419"/>
                  </a:lnTo>
                  <a:lnTo>
                    <a:pt x="19039" y="3430"/>
                  </a:lnTo>
                  <a:lnTo>
                    <a:pt x="19057" y="3448"/>
                  </a:lnTo>
                  <a:lnTo>
                    <a:pt x="19065" y="3461"/>
                  </a:lnTo>
                  <a:lnTo>
                    <a:pt x="19071" y="3476"/>
                  </a:lnTo>
                  <a:lnTo>
                    <a:pt x="19085" y="3524"/>
                  </a:lnTo>
                  <a:lnTo>
                    <a:pt x="19091" y="3538"/>
                  </a:lnTo>
                  <a:lnTo>
                    <a:pt x="19093" y="3542"/>
                  </a:lnTo>
                  <a:lnTo>
                    <a:pt x="19097" y="3546"/>
                  </a:lnTo>
                  <a:lnTo>
                    <a:pt x="19106" y="3549"/>
                  </a:lnTo>
                  <a:lnTo>
                    <a:pt x="19120" y="3551"/>
                  </a:lnTo>
                  <a:lnTo>
                    <a:pt x="19170" y="3556"/>
                  </a:lnTo>
                  <a:lnTo>
                    <a:pt x="19187" y="3558"/>
                  </a:lnTo>
                  <a:lnTo>
                    <a:pt x="19201" y="3562"/>
                  </a:lnTo>
                  <a:lnTo>
                    <a:pt x="19221" y="3576"/>
                  </a:lnTo>
                  <a:lnTo>
                    <a:pt x="19230" y="3584"/>
                  </a:lnTo>
                  <a:lnTo>
                    <a:pt x="19238" y="3592"/>
                  </a:lnTo>
                  <a:lnTo>
                    <a:pt x="19251" y="3608"/>
                  </a:lnTo>
                  <a:lnTo>
                    <a:pt x="19262" y="3622"/>
                  </a:lnTo>
                  <a:lnTo>
                    <a:pt x="19270" y="3627"/>
                  </a:lnTo>
                  <a:lnTo>
                    <a:pt x="19278" y="3631"/>
                  </a:lnTo>
                  <a:lnTo>
                    <a:pt x="19287" y="3634"/>
                  </a:lnTo>
                  <a:lnTo>
                    <a:pt x="19297" y="3634"/>
                  </a:lnTo>
                  <a:lnTo>
                    <a:pt x="19325" y="3625"/>
                  </a:lnTo>
                  <a:lnTo>
                    <a:pt x="19347" y="3616"/>
                  </a:lnTo>
                  <a:lnTo>
                    <a:pt x="19369" y="3608"/>
                  </a:lnTo>
                  <a:lnTo>
                    <a:pt x="19369" y="3506"/>
                  </a:lnTo>
                  <a:lnTo>
                    <a:pt x="19364" y="3502"/>
                  </a:lnTo>
                  <a:lnTo>
                    <a:pt x="19360" y="3498"/>
                  </a:lnTo>
                  <a:lnTo>
                    <a:pt x="19359" y="3487"/>
                  </a:lnTo>
                  <a:lnTo>
                    <a:pt x="19264" y="3358"/>
                  </a:lnTo>
                  <a:lnTo>
                    <a:pt x="19260" y="3349"/>
                  </a:lnTo>
                  <a:lnTo>
                    <a:pt x="19260" y="3341"/>
                  </a:lnTo>
                  <a:lnTo>
                    <a:pt x="19264" y="3335"/>
                  </a:lnTo>
                  <a:lnTo>
                    <a:pt x="19269" y="3329"/>
                  </a:lnTo>
                  <a:lnTo>
                    <a:pt x="19275" y="3326"/>
                  </a:lnTo>
                  <a:lnTo>
                    <a:pt x="19283" y="3326"/>
                  </a:lnTo>
                  <a:lnTo>
                    <a:pt x="19289" y="3328"/>
                  </a:lnTo>
                  <a:lnTo>
                    <a:pt x="19297" y="3333"/>
                  </a:lnTo>
                  <a:lnTo>
                    <a:pt x="19369" y="3433"/>
                  </a:lnTo>
                  <a:lnTo>
                    <a:pt x="19369" y="3320"/>
                  </a:lnTo>
                  <a:lnTo>
                    <a:pt x="19262" y="3176"/>
                  </a:lnTo>
                  <a:lnTo>
                    <a:pt x="19259" y="3167"/>
                  </a:lnTo>
                  <a:lnTo>
                    <a:pt x="19259" y="3159"/>
                  </a:lnTo>
                  <a:lnTo>
                    <a:pt x="19262" y="3153"/>
                  </a:lnTo>
                  <a:lnTo>
                    <a:pt x="19268" y="3148"/>
                  </a:lnTo>
                  <a:lnTo>
                    <a:pt x="19274" y="3144"/>
                  </a:lnTo>
                  <a:lnTo>
                    <a:pt x="19282" y="3144"/>
                  </a:lnTo>
                  <a:lnTo>
                    <a:pt x="19289" y="3147"/>
                  </a:lnTo>
                  <a:lnTo>
                    <a:pt x="19296" y="3152"/>
                  </a:lnTo>
                  <a:lnTo>
                    <a:pt x="19369" y="3253"/>
                  </a:lnTo>
                  <a:lnTo>
                    <a:pt x="19369" y="3227"/>
                  </a:lnTo>
                  <a:lnTo>
                    <a:pt x="19369" y="3221"/>
                  </a:lnTo>
                  <a:close/>
                  <a:moveTo>
                    <a:pt x="22962" y="2597"/>
                  </a:moveTo>
                  <a:lnTo>
                    <a:pt x="22954" y="2597"/>
                  </a:lnTo>
                  <a:lnTo>
                    <a:pt x="22962" y="2597"/>
                  </a:lnTo>
                  <a:close/>
                  <a:moveTo>
                    <a:pt x="20013" y="2597"/>
                  </a:moveTo>
                  <a:lnTo>
                    <a:pt x="20006" y="2597"/>
                  </a:lnTo>
                  <a:lnTo>
                    <a:pt x="20013" y="2597"/>
                  </a:lnTo>
                  <a:close/>
                  <a:moveTo>
                    <a:pt x="19409" y="3491"/>
                  </a:moveTo>
                  <a:lnTo>
                    <a:pt x="19409" y="3498"/>
                  </a:lnTo>
                  <a:lnTo>
                    <a:pt x="19409" y="3491"/>
                  </a:lnTo>
                  <a:close/>
                  <a:moveTo>
                    <a:pt x="19369" y="3227"/>
                  </a:moveTo>
                  <a:lnTo>
                    <a:pt x="19369" y="3221"/>
                  </a:lnTo>
                  <a:lnTo>
                    <a:pt x="19369" y="3227"/>
                  </a:lnTo>
                  <a:close/>
                  <a:moveTo>
                    <a:pt x="20708" y="1885"/>
                  </a:moveTo>
                  <a:lnTo>
                    <a:pt x="20672" y="1152"/>
                  </a:lnTo>
                  <a:lnTo>
                    <a:pt x="20636" y="420"/>
                  </a:lnTo>
                  <a:lnTo>
                    <a:pt x="20345" y="420"/>
                  </a:lnTo>
                  <a:lnTo>
                    <a:pt x="20306" y="1139"/>
                  </a:lnTo>
                  <a:lnTo>
                    <a:pt x="20269" y="1858"/>
                  </a:lnTo>
                  <a:lnTo>
                    <a:pt x="20268" y="1867"/>
                  </a:lnTo>
                  <a:lnTo>
                    <a:pt x="20263" y="1872"/>
                  </a:lnTo>
                  <a:lnTo>
                    <a:pt x="20256" y="1876"/>
                  </a:lnTo>
                  <a:lnTo>
                    <a:pt x="20248" y="1877"/>
                  </a:lnTo>
                  <a:lnTo>
                    <a:pt x="20241" y="1874"/>
                  </a:lnTo>
                  <a:lnTo>
                    <a:pt x="20234" y="1870"/>
                  </a:lnTo>
                  <a:lnTo>
                    <a:pt x="20231" y="1864"/>
                  </a:lnTo>
                  <a:lnTo>
                    <a:pt x="20229" y="1855"/>
                  </a:lnTo>
                  <a:lnTo>
                    <a:pt x="20268" y="1126"/>
                  </a:lnTo>
                  <a:lnTo>
                    <a:pt x="20306" y="399"/>
                  </a:lnTo>
                  <a:lnTo>
                    <a:pt x="20307" y="392"/>
                  </a:lnTo>
                  <a:lnTo>
                    <a:pt x="20313" y="386"/>
                  </a:lnTo>
                  <a:lnTo>
                    <a:pt x="20318" y="382"/>
                  </a:lnTo>
                  <a:lnTo>
                    <a:pt x="20325" y="381"/>
                  </a:lnTo>
                  <a:lnTo>
                    <a:pt x="20655" y="381"/>
                  </a:lnTo>
                  <a:lnTo>
                    <a:pt x="20661" y="382"/>
                  </a:lnTo>
                  <a:lnTo>
                    <a:pt x="20668" y="386"/>
                  </a:lnTo>
                  <a:lnTo>
                    <a:pt x="20673" y="392"/>
                  </a:lnTo>
                  <a:lnTo>
                    <a:pt x="20674" y="399"/>
                  </a:lnTo>
                  <a:lnTo>
                    <a:pt x="20710" y="1140"/>
                  </a:lnTo>
                  <a:lnTo>
                    <a:pt x="20747" y="1882"/>
                  </a:lnTo>
                  <a:lnTo>
                    <a:pt x="20746" y="1891"/>
                  </a:lnTo>
                  <a:lnTo>
                    <a:pt x="20742" y="1897"/>
                  </a:lnTo>
                  <a:lnTo>
                    <a:pt x="20736" y="1901"/>
                  </a:lnTo>
                  <a:lnTo>
                    <a:pt x="20728" y="1902"/>
                  </a:lnTo>
                  <a:lnTo>
                    <a:pt x="20715" y="1899"/>
                  </a:lnTo>
                  <a:lnTo>
                    <a:pt x="20710" y="1892"/>
                  </a:lnTo>
                  <a:lnTo>
                    <a:pt x="20708" y="1885"/>
                  </a:lnTo>
                  <a:close/>
                  <a:moveTo>
                    <a:pt x="2868" y="3476"/>
                  </a:moveTo>
                  <a:lnTo>
                    <a:pt x="2980" y="3323"/>
                  </a:lnTo>
                  <a:lnTo>
                    <a:pt x="2953" y="3268"/>
                  </a:lnTo>
                  <a:lnTo>
                    <a:pt x="2939" y="3245"/>
                  </a:lnTo>
                  <a:lnTo>
                    <a:pt x="2925" y="3225"/>
                  </a:lnTo>
                  <a:lnTo>
                    <a:pt x="2911" y="3207"/>
                  </a:lnTo>
                  <a:lnTo>
                    <a:pt x="2897" y="3193"/>
                  </a:lnTo>
                  <a:lnTo>
                    <a:pt x="2883" y="3181"/>
                  </a:lnTo>
                  <a:lnTo>
                    <a:pt x="2868" y="3175"/>
                  </a:lnTo>
                  <a:lnTo>
                    <a:pt x="2868" y="3476"/>
                  </a:lnTo>
                  <a:close/>
                  <a:moveTo>
                    <a:pt x="2998" y="3365"/>
                  </a:moveTo>
                  <a:lnTo>
                    <a:pt x="2868" y="3544"/>
                  </a:lnTo>
                  <a:lnTo>
                    <a:pt x="2868" y="3753"/>
                  </a:lnTo>
                  <a:lnTo>
                    <a:pt x="3045" y="3507"/>
                  </a:lnTo>
                  <a:lnTo>
                    <a:pt x="3027" y="3445"/>
                  </a:lnTo>
                  <a:lnTo>
                    <a:pt x="2998" y="3365"/>
                  </a:lnTo>
                  <a:close/>
                  <a:moveTo>
                    <a:pt x="2716" y="3324"/>
                  </a:moveTo>
                  <a:lnTo>
                    <a:pt x="2829" y="3479"/>
                  </a:lnTo>
                  <a:lnTo>
                    <a:pt x="2829" y="3173"/>
                  </a:lnTo>
                  <a:lnTo>
                    <a:pt x="2813" y="3181"/>
                  </a:lnTo>
                  <a:lnTo>
                    <a:pt x="2798" y="3193"/>
                  </a:lnTo>
                  <a:lnTo>
                    <a:pt x="2790" y="3199"/>
                  </a:lnTo>
                  <a:lnTo>
                    <a:pt x="2783" y="3207"/>
                  </a:lnTo>
                  <a:lnTo>
                    <a:pt x="2768" y="3225"/>
                  </a:lnTo>
                  <a:lnTo>
                    <a:pt x="2742" y="3269"/>
                  </a:lnTo>
                  <a:lnTo>
                    <a:pt x="2715" y="3323"/>
                  </a:lnTo>
                  <a:lnTo>
                    <a:pt x="2716" y="3324"/>
                  </a:lnTo>
                  <a:close/>
                  <a:moveTo>
                    <a:pt x="3060" y="3557"/>
                  </a:moveTo>
                  <a:lnTo>
                    <a:pt x="2868" y="3820"/>
                  </a:lnTo>
                  <a:lnTo>
                    <a:pt x="2868" y="4028"/>
                  </a:lnTo>
                  <a:lnTo>
                    <a:pt x="3089" y="3725"/>
                  </a:lnTo>
                  <a:lnTo>
                    <a:pt x="3094" y="3718"/>
                  </a:lnTo>
                  <a:lnTo>
                    <a:pt x="3080" y="3640"/>
                  </a:lnTo>
                  <a:lnTo>
                    <a:pt x="3060" y="3557"/>
                  </a:lnTo>
                  <a:close/>
                  <a:moveTo>
                    <a:pt x="2654" y="3515"/>
                  </a:moveTo>
                  <a:lnTo>
                    <a:pt x="2829" y="3754"/>
                  </a:lnTo>
                  <a:lnTo>
                    <a:pt x="2829" y="3547"/>
                  </a:lnTo>
                  <a:lnTo>
                    <a:pt x="2698" y="3367"/>
                  </a:lnTo>
                  <a:lnTo>
                    <a:pt x="2672" y="3437"/>
                  </a:lnTo>
                  <a:lnTo>
                    <a:pt x="2650" y="3511"/>
                  </a:lnTo>
                  <a:lnTo>
                    <a:pt x="2654" y="3515"/>
                  </a:lnTo>
                  <a:close/>
                  <a:moveTo>
                    <a:pt x="3103" y="3773"/>
                  </a:moveTo>
                  <a:lnTo>
                    <a:pt x="2868" y="4095"/>
                  </a:lnTo>
                  <a:lnTo>
                    <a:pt x="2868" y="4102"/>
                  </a:lnTo>
                  <a:lnTo>
                    <a:pt x="2893" y="4098"/>
                  </a:lnTo>
                  <a:lnTo>
                    <a:pt x="2917" y="4093"/>
                  </a:lnTo>
                  <a:lnTo>
                    <a:pt x="2940" y="4085"/>
                  </a:lnTo>
                  <a:lnTo>
                    <a:pt x="2962" y="4076"/>
                  </a:lnTo>
                  <a:lnTo>
                    <a:pt x="2983" y="4065"/>
                  </a:lnTo>
                  <a:lnTo>
                    <a:pt x="3003" y="4051"/>
                  </a:lnTo>
                  <a:lnTo>
                    <a:pt x="3021" y="4037"/>
                  </a:lnTo>
                  <a:lnTo>
                    <a:pt x="3038" y="4020"/>
                  </a:lnTo>
                  <a:lnTo>
                    <a:pt x="3067" y="3982"/>
                  </a:lnTo>
                  <a:lnTo>
                    <a:pt x="3079" y="3961"/>
                  </a:lnTo>
                  <a:lnTo>
                    <a:pt x="3089" y="3939"/>
                  </a:lnTo>
                  <a:lnTo>
                    <a:pt x="3097" y="3916"/>
                  </a:lnTo>
                  <a:lnTo>
                    <a:pt x="3103" y="3893"/>
                  </a:lnTo>
                  <a:lnTo>
                    <a:pt x="3107" y="3868"/>
                  </a:lnTo>
                  <a:lnTo>
                    <a:pt x="3108" y="3843"/>
                  </a:lnTo>
                  <a:lnTo>
                    <a:pt x="3107" y="3811"/>
                  </a:lnTo>
                  <a:lnTo>
                    <a:pt x="3103" y="3773"/>
                  </a:lnTo>
                  <a:close/>
                  <a:moveTo>
                    <a:pt x="2603" y="3719"/>
                  </a:moveTo>
                  <a:lnTo>
                    <a:pt x="2829" y="4012"/>
                  </a:lnTo>
                  <a:lnTo>
                    <a:pt x="2829" y="3822"/>
                  </a:lnTo>
                  <a:lnTo>
                    <a:pt x="2638" y="3560"/>
                  </a:lnTo>
                  <a:lnTo>
                    <a:pt x="2618" y="3644"/>
                  </a:lnTo>
                  <a:lnTo>
                    <a:pt x="2603" y="3719"/>
                  </a:lnTo>
                  <a:close/>
                  <a:moveTo>
                    <a:pt x="2784" y="1296"/>
                  </a:moveTo>
                  <a:lnTo>
                    <a:pt x="2784" y="1465"/>
                  </a:lnTo>
                  <a:lnTo>
                    <a:pt x="2781" y="1474"/>
                  </a:lnTo>
                  <a:lnTo>
                    <a:pt x="2777" y="1480"/>
                  </a:lnTo>
                  <a:lnTo>
                    <a:pt x="2771" y="1484"/>
                  </a:lnTo>
                  <a:lnTo>
                    <a:pt x="2763" y="1486"/>
                  </a:lnTo>
                  <a:lnTo>
                    <a:pt x="2756" y="1484"/>
                  </a:lnTo>
                  <a:lnTo>
                    <a:pt x="2749" y="1480"/>
                  </a:lnTo>
                  <a:lnTo>
                    <a:pt x="2745" y="1474"/>
                  </a:lnTo>
                  <a:lnTo>
                    <a:pt x="2743" y="1465"/>
                  </a:lnTo>
                  <a:lnTo>
                    <a:pt x="2743" y="1296"/>
                  </a:lnTo>
                  <a:lnTo>
                    <a:pt x="2650" y="1296"/>
                  </a:lnTo>
                  <a:lnTo>
                    <a:pt x="2650" y="1465"/>
                  </a:lnTo>
                  <a:lnTo>
                    <a:pt x="2649" y="1474"/>
                  </a:lnTo>
                  <a:lnTo>
                    <a:pt x="2644" y="1480"/>
                  </a:lnTo>
                  <a:lnTo>
                    <a:pt x="2638" y="1484"/>
                  </a:lnTo>
                  <a:lnTo>
                    <a:pt x="2631" y="1486"/>
                  </a:lnTo>
                  <a:lnTo>
                    <a:pt x="2624" y="1484"/>
                  </a:lnTo>
                  <a:lnTo>
                    <a:pt x="2617" y="1480"/>
                  </a:lnTo>
                  <a:lnTo>
                    <a:pt x="2612" y="1474"/>
                  </a:lnTo>
                  <a:lnTo>
                    <a:pt x="2611" y="1465"/>
                  </a:lnTo>
                  <a:lnTo>
                    <a:pt x="2611" y="1296"/>
                  </a:lnTo>
                  <a:lnTo>
                    <a:pt x="2518" y="1296"/>
                  </a:lnTo>
                  <a:lnTo>
                    <a:pt x="2518" y="1465"/>
                  </a:lnTo>
                  <a:lnTo>
                    <a:pt x="2516" y="1474"/>
                  </a:lnTo>
                  <a:lnTo>
                    <a:pt x="2512" y="1480"/>
                  </a:lnTo>
                  <a:lnTo>
                    <a:pt x="2506" y="1484"/>
                  </a:lnTo>
                  <a:lnTo>
                    <a:pt x="2498" y="1486"/>
                  </a:lnTo>
                  <a:lnTo>
                    <a:pt x="2490" y="1484"/>
                  </a:lnTo>
                  <a:lnTo>
                    <a:pt x="2484" y="1480"/>
                  </a:lnTo>
                  <a:lnTo>
                    <a:pt x="2480" y="1474"/>
                  </a:lnTo>
                  <a:lnTo>
                    <a:pt x="2477" y="1465"/>
                  </a:lnTo>
                  <a:lnTo>
                    <a:pt x="2477" y="1296"/>
                  </a:lnTo>
                  <a:lnTo>
                    <a:pt x="2385" y="1296"/>
                  </a:lnTo>
                  <a:lnTo>
                    <a:pt x="2385" y="1465"/>
                  </a:lnTo>
                  <a:lnTo>
                    <a:pt x="2384" y="1474"/>
                  </a:lnTo>
                  <a:lnTo>
                    <a:pt x="2379" y="1480"/>
                  </a:lnTo>
                  <a:lnTo>
                    <a:pt x="2372" y="1484"/>
                  </a:lnTo>
                  <a:lnTo>
                    <a:pt x="2366" y="1486"/>
                  </a:lnTo>
                  <a:lnTo>
                    <a:pt x="2358" y="1484"/>
                  </a:lnTo>
                  <a:lnTo>
                    <a:pt x="2352" y="1480"/>
                  </a:lnTo>
                  <a:lnTo>
                    <a:pt x="2347" y="1474"/>
                  </a:lnTo>
                  <a:lnTo>
                    <a:pt x="2345" y="1465"/>
                  </a:lnTo>
                  <a:lnTo>
                    <a:pt x="2345" y="1296"/>
                  </a:lnTo>
                  <a:lnTo>
                    <a:pt x="2282" y="1296"/>
                  </a:lnTo>
                  <a:lnTo>
                    <a:pt x="2282" y="1634"/>
                  </a:lnTo>
                  <a:lnTo>
                    <a:pt x="2852" y="1634"/>
                  </a:lnTo>
                  <a:lnTo>
                    <a:pt x="2852" y="1296"/>
                  </a:lnTo>
                  <a:lnTo>
                    <a:pt x="2784" y="1296"/>
                  </a:lnTo>
                  <a:close/>
                  <a:moveTo>
                    <a:pt x="332" y="4356"/>
                  </a:moveTo>
                  <a:lnTo>
                    <a:pt x="322" y="4359"/>
                  </a:lnTo>
                  <a:lnTo>
                    <a:pt x="313" y="4356"/>
                  </a:lnTo>
                  <a:lnTo>
                    <a:pt x="0" y="4356"/>
                  </a:lnTo>
                  <a:lnTo>
                    <a:pt x="0" y="4317"/>
                  </a:lnTo>
                  <a:lnTo>
                    <a:pt x="64" y="4317"/>
                  </a:lnTo>
                  <a:lnTo>
                    <a:pt x="64" y="3833"/>
                  </a:lnTo>
                  <a:lnTo>
                    <a:pt x="0" y="3833"/>
                  </a:lnTo>
                  <a:lnTo>
                    <a:pt x="0" y="3792"/>
                  </a:lnTo>
                  <a:lnTo>
                    <a:pt x="197" y="3792"/>
                  </a:lnTo>
                  <a:lnTo>
                    <a:pt x="206" y="3795"/>
                  </a:lnTo>
                  <a:lnTo>
                    <a:pt x="213" y="3799"/>
                  </a:lnTo>
                  <a:lnTo>
                    <a:pt x="217" y="3805"/>
                  </a:lnTo>
                  <a:lnTo>
                    <a:pt x="218" y="3813"/>
                  </a:lnTo>
                  <a:lnTo>
                    <a:pt x="217" y="3820"/>
                  </a:lnTo>
                  <a:lnTo>
                    <a:pt x="213" y="3827"/>
                  </a:lnTo>
                  <a:lnTo>
                    <a:pt x="206" y="3831"/>
                  </a:lnTo>
                  <a:lnTo>
                    <a:pt x="197" y="3833"/>
                  </a:lnTo>
                  <a:lnTo>
                    <a:pt x="104" y="3833"/>
                  </a:lnTo>
                  <a:lnTo>
                    <a:pt x="104" y="4317"/>
                  </a:lnTo>
                  <a:lnTo>
                    <a:pt x="303" y="4317"/>
                  </a:lnTo>
                  <a:lnTo>
                    <a:pt x="303" y="3544"/>
                  </a:lnTo>
                  <a:lnTo>
                    <a:pt x="303" y="2772"/>
                  </a:lnTo>
                  <a:lnTo>
                    <a:pt x="304" y="2764"/>
                  </a:lnTo>
                  <a:lnTo>
                    <a:pt x="308" y="2758"/>
                  </a:lnTo>
                  <a:lnTo>
                    <a:pt x="314" y="2753"/>
                  </a:lnTo>
                  <a:lnTo>
                    <a:pt x="322" y="2751"/>
                  </a:lnTo>
                  <a:lnTo>
                    <a:pt x="440" y="2751"/>
                  </a:lnTo>
                  <a:lnTo>
                    <a:pt x="440" y="2579"/>
                  </a:lnTo>
                  <a:lnTo>
                    <a:pt x="441" y="2571"/>
                  </a:lnTo>
                  <a:lnTo>
                    <a:pt x="446" y="2565"/>
                  </a:lnTo>
                  <a:lnTo>
                    <a:pt x="453" y="2560"/>
                  </a:lnTo>
                  <a:lnTo>
                    <a:pt x="460" y="2558"/>
                  </a:lnTo>
                  <a:lnTo>
                    <a:pt x="541" y="2558"/>
                  </a:lnTo>
                  <a:lnTo>
                    <a:pt x="1007" y="2558"/>
                  </a:lnTo>
                  <a:lnTo>
                    <a:pt x="1997" y="2558"/>
                  </a:lnTo>
                  <a:lnTo>
                    <a:pt x="2004" y="2560"/>
                  </a:lnTo>
                  <a:lnTo>
                    <a:pt x="2011" y="2565"/>
                  </a:lnTo>
                  <a:lnTo>
                    <a:pt x="2014" y="2571"/>
                  </a:lnTo>
                  <a:lnTo>
                    <a:pt x="2017" y="2579"/>
                  </a:lnTo>
                  <a:lnTo>
                    <a:pt x="2017" y="2751"/>
                  </a:lnTo>
                  <a:lnTo>
                    <a:pt x="2098" y="2751"/>
                  </a:lnTo>
                  <a:lnTo>
                    <a:pt x="2098" y="2203"/>
                  </a:lnTo>
                  <a:lnTo>
                    <a:pt x="2098" y="1654"/>
                  </a:lnTo>
                  <a:lnTo>
                    <a:pt x="2099" y="1647"/>
                  </a:lnTo>
                  <a:lnTo>
                    <a:pt x="2103" y="1640"/>
                  </a:lnTo>
                  <a:lnTo>
                    <a:pt x="2109" y="1635"/>
                  </a:lnTo>
                  <a:lnTo>
                    <a:pt x="2117" y="1634"/>
                  </a:lnTo>
                  <a:lnTo>
                    <a:pt x="2243" y="1634"/>
                  </a:lnTo>
                  <a:lnTo>
                    <a:pt x="2243" y="1276"/>
                  </a:lnTo>
                  <a:lnTo>
                    <a:pt x="2244" y="1268"/>
                  </a:lnTo>
                  <a:lnTo>
                    <a:pt x="2249" y="1262"/>
                  </a:lnTo>
                  <a:lnTo>
                    <a:pt x="2254" y="1258"/>
                  </a:lnTo>
                  <a:lnTo>
                    <a:pt x="2262" y="1257"/>
                  </a:lnTo>
                  <a:lnTo>
                    <a:pt x="2872" y="1257"/>
                  </a:lnTo>
                  <a:lnTo>
                    <a:pt x="2880" y="1258"/>
                  </a:lnTo>
                  <a:lnTo>
                    <a:pt x="2886" y="1262"/>
                  </a:lnTo>
                  <a:lnTo>
                    <a:pt x="2890" y="1268"/>
                  </a:lnTo>
                  <a:lnTo>
                    <a:pt x="2893" y="1276"/>
                  </a:lnTo>
                  <a:lnTo>
                    <a:pt x="2893" y="1634"/>
                  </a:lnTo>
                  <a:lnTo>
                    <a:pt x="3017" y="1634"/>
                  </a:lnTo>
                  <a:lnTo>
                    <a:pt x="3025" y="1635"/>
                  </a:lnTo>
                  <a:lnTo>
                    <a:pt x="3031" y="1640"/>
                  </a:lnTo>
                  <a:lnTo>
                    <a:pt x="3035" y="1647"/>
                  </a:lnTo>
                  <a:lnTo>
                    <a:pt x="3038" y="1654"/>
                  </a:lnTo>
                  <a:lnTo>
                    <a:pt x="3038" y="2434"/>
                  </a:lnTo>
                  <a:lnTo>
                    <a:pt x="3038" y="3214"/>
                  </a:lnTo>
                  <a:lnTo>
                    <a:pt x="3035" y="3223"/>
                  </a:lnTo>
                  <a:lnTo>
                    <a:pt x="3031" y="3230"/>
                  </a:lnTo>
                  <a:lnTo>
                    <a:pt x="3025" y="3234"/>
                  </a:lnTo>
                  <a:lnTo>
                    <a:pt x="3017" y="3235"/>
                  </a:lnTo>
                  <a:lnTo>
                    <a:pt x="3010" y="3234"/>
                  </a:lnTo>
                  <a:lnTo>
                    <a:pt x="3003" y="3230"/>
                  </a:lnTo>
                  <a:lnTo>
                    <a:pt x="2999" y="3223"/>
                  </a:lnTo>
                  <a:lnTo>
                    <a:pt x="2998" y="3214"/>
                  </a:lnTo>
                  <a:lnTo>
                    <a:pt x="2998" y="2443"/>
                  </a:lnTo>
                  <a:lnTo>
                    <a:pt x="2998" y="1674"/>
                  </a:lnTo>
                  <a:lnTo>
                    <a:pt x="2138" y="1674"/>
                  </a:lnTo>
                  <a:lnTo>
                    <a:pt x="2138" y="2333"/>
                  </a:lnTo>
                  <a:lnTo>
                    <a:pt x="2138" y="2994"/>
                  </a:lnTo>
                  <a:lnTo>
                    <a:pt x="2138" y="3655"/>
                  </a:lnTo>
                  <a:lnTo>
                    <a:pt x="2138" y="4317"/>
                  </a:lnTo>
                  <a:lnTo>
                    <a:pt x="2829" y="4317"/>
                  </a:lnTo>
                  <a:lnTo>
                    <a:pt x="2829" y="4141"/>
                  </a:lnTo>
                  <a:lnTo>
                    <a:pt x="2799" y="4138"/>
                  </a:lnTo>
                  <a:lnTo>
                    <a:pt x="2771" y="4132"/>
                  </a:lnTo>
                  <a:lnTo>
                    <a:pt x="2744" y="4123"/>
                  </a:lnTo>
                  <a:lnTo>
                    <a:pt x="2731" y="4118"/>
                  </a:lnTo>
                  <a:lnTo>
                    <a:pt x="2718" y="4113"/>
                  </a:lnTo>
                  <a:lnTo>
                    <a:pt x="2694" y="4099"/>
                  </a:lnTo>
                  <a:lnTo>
                    <a:pt x="2671" y="4084"/>
                  </a:lnTo>
                  <a:lnTo>
                    <a:pt x="2649" y="4067"/>
                  </a:lnTo>
                  <a:lnTo>
                    <a:pt x="2630" y="4048"/>
                  </a:lnTo>
                  <a:lnTo>
                    <a:pt x="2612" y="4026"/>
                  </a:lnTo>
                  <a:lnTo>
                    <a:pt x="2595" y="4005"/>
                  </a:lnTo>
                  <a:lnTo>
                    <a:pt x="2581" y="3980"/>
                  </a:lnTo>
                  <a:lnTo>
                    <a:pt x="2570" y="3955"/>
                  </a:lnTo>
                  <a:lnTo>
                    <a:pt x="2561" y="3929"/>
                  </a:lnTo>
                  <a:lnTo>
                    <a:pt x="2554" y="3901"/>
                  </a:lnTo>
                  <a:lnTo>
                    <a:pt x="2549" y="3873"/>
                  </a:lnTo>
                  <a:lnTo>
                    <a:pt x="2548" y="3843"/>
                  </a:lnTo>
                  <a:lnTo>
                    <a:pt x="2549" y="3813"/>
                  </a:lnTo>
                  <a:lnTo>
                    <a:pt x="2554" y="3773"/>
                  </a:lnTo>
                  <a:lnTo>
                    <a:pt x="2570" y="3675"/>
                  </a:lnTo>
                  <a:lnTo>
                    <a:pt x="2581" y="3617"/>
                  </a:lnTo>
                  <a:lnTo>
                    <a:pt x="2595" y="3558"/>
                  </a:lnTo>
                  <a:lnTo>
                    <a:pt x="2630" y="3436"/>
                  </a:lnTo>
                  <a:lnTo>
                    <a:pt x="2650" y="3377"/>
                  </a:lnTo>
                  <a:lnTo>
                    <a:pt x="2674" y="3320"/>
                  </a:lnTo>
                  <a:lnTo>
                    <a:pt x="2698" y="3268"/>
                  </a:lnTo>
                  <a:lnTo>
                    <a:pt x="2725" y="3222"/>
                  </a:lnTo>
                  <a:lnTo>
                    <a:pt x="2753" y="3185"/>
                  </a:lnTo>
                  <a:lnTo>
                    <a:pt x="2783" y="3156"/>
                  </a:lnTo>
                  <a:lnTo>
                    <a:pt x="2799" y="3144"/>
                  </a:lnTo>
                  <a:lnTo>
                    <a:pt x="2815" y="3136"/>
                  </a:lnTo>
                  <a:lnTo>
                    <a:pt x="2831" y="3133"/>
                  </a:lnTo>
                  <a:lnTo>
                    <a:pt x="2848" y="3130"/>
                  </a:lnTo>
                  <a:lnTo>
                    <a:pt x="2866" y="3133"/>
                  </a:lnTo>
                  <a:lnTo>
                    <a:pt x="2883" y="3138"/>
                  </a:lnTo>
                  <a:lnTo>
                    <a:pt x="2899" y="3145"/>
                  </a:lnTo>
                  <a:lnTo>
                    <a:pt x="2915" y="3157"/>
                  </a:lnTo>
                  <a:lnTo>
                    <a:pt x="2945" y="3187"/>
                  </a:lnTo>
                  <a:lnTo>
                    <a:pt x="2953" y="3196"/>
                  </a:lnTo>
                  <a:lnTo>
                    <a:pt x="2960" y="3205"/>
                  </a:lnTo>
                  <a:lnTo>
                    <a:pt x="2974" y="3226"/>
                  </a:lnTo>
                  <a:lnTo>
                    <a:pt x="3001" y="3272"/>
                  </a:lnTo>
                  <a:lnTo>
                    <a:pt x="3024" y="3323"/>
                  </a:lnTo>
                  <a:lnTo>
                    <a:pt x="3045" y="3377"/>
                  </a:lnTo>
                  <a:lnTo>
                    <a:pt x="3065" y="3433"/>
                  </a:lnTo>
                  <a:lnTo>
                    <a:pt x="3083" y="3492"/>
                  </a:lnTo>
                  <a:lnTo>
                    <a:pt x="3099" y="3551"/>
                  </a:lnTo>
                  <a:lnTo>
                    <a:pt x="3113" y="3609"/>
                  </a:lnTo>
                  <a:lnTo>
                    <a:pt x="3125" y="3666"/>
                  </a:lnTo>
                  <a:lnTo>
                    <a:pt x="3135" y="3719"/>
                  </a:lnTo>
                  <a:lnTo>
                    <a:pt x="3142" y="3767"/>
                  </a:lnTo>
                  <a:lnTo>
                    <a:pt x="3147" y="3809"/>
                  </a:lnTo>
                  <a:lnTo>
                    <a:pt x="3148" y="3843"/>
                  </a:lnTo>
                  <a:lnTo>
                    <a:pt x="3147" y="3873"/>
                  </a:lnTo>
                  <a:lnTo>
                    <a:pt x="3143" y="3901"/>
                  </a:lnTo>
                  <a:lnTo>
                    <a:pt x="3135" y="3929"/>
                  </a:lnTo>
                  <a:lnTo>
                    <a:pt x="3126" y="3955"/>
                  </a:lnTo>
                  <a:lnTo>
                    <a:pt x="3115" y="3980"/>
                  </a:lnTo>
                  <a:lnTo>
                    <a:pt x="3101" y="4005"/>
                  </a:lnTo>
                  <a:lnTo>
                    <a:pt x="3067" y="4048"/>
                  </a:lnTo>
                  <a:lnTo>
                    <a:pt x="3025" y="4084"/>
                  </a:lnTo>
                  <a:lnTo>
                    <a:pt x="3002" y="4099"/>
                  </a:lnTo>
                  <a:lnTo>
                    <a:pt x="2977" y="4113"/>
                  </a:lnTo>
                  <a:lnTo>
                    <a:pt x="2952" y="4123"/>
                  </a:lnTo>
                  <a:lnTo>
                    <a:pt x="2925" y="4132"/>
                  </a:lnTo>
                  <a:lnTo>
                    <a:pt x="2897" y="4138"/>
                  </a:lnTo>
                  <a:lnTo>
                    <a:pt x="2868" y="4141"/>
                  </a:lnTo>
                  <a:lnTo>
                    <a:pt x="2868" y="4317"/>
                  </a:lnTo>
                  <a:lnTo>
                    <a:pt x="2998" y="4317"/>
                  </a:lnTo>
                  <a:lnTo>
                    <a:pt x="2998" y="4193"/>
                  </a:lnTo>
                  <a:lnTo>
                    <a:pt x="2999" y="4184"/>
                  </a:lnTo>
                  <a:lnTo>
                    <a:pt x="3003" y="4177"/>
                  </a:lnTo>
                  <a:lnTo>
                    <a:pt x="3010" y="4173"/>
                  </a:lnTo>
                  <a:lnTo>
                    <a:pt x="3017" y="4172"/>
                  </a:lnTo>
                  <a:lnTo>
                    <a:pt x="3025" y="4173"/>
                  </a:lnTo>
                  <a:lnTo>
                    <a:pt x="3031" y="4177"/>
                  </a:lnTo>
                  <a:lnTo>
                    <a:pt x="3035" y="4184"/>
                  </a:lnTo>
                  <a:lnTo>
                    <a:pt x="3038" y="4193"/>
                  </a:lnTo>
                  <a:lnTo>
                    <a:pt x="3038" y="4332"/>
                  </a:lnTo>
                  <a:lnTo>
                    <a:pt x="3036" y="4340"/>
                  </a:lnTo>
                  <a:lnTo>
                    <a:pt x="3031" y="4346"/>
                  </a:lnTo>
                  <a:lnTo>
                    <a:pt x="3025" y="4354"/>
                  </a:lnTo>
                  <a:lnTo>
                    <a:pt x="3013" y="4356"/>
                  </a:lnTo>
                  <a:lnTo>
                    <a:pt x="2343" y="4356"/>
                  </a:lnTo>
                  <a:lnTo>
                    <a:pt x="1672" y="4356"/>
                  </a:lnTo>
                  <a:lnTo>
                    <a:pt x="1001" y="4356"/>
                  </a:lnTo>
                  <a:lnTo>
                    <a:pt x="332" y="4356"/>
                  </a:lnTo>
                  <a:close/>
                  <a:moveTo>
                    <a:pt x="1458" y="2791"/>
                  </a:moveTo>
                  <a:lnTo>
                    <a:pt x="900" y="2791"/>
                  </a:lnTo>
                  <a:lnTo>
                    <a:pt x="342" y="2791"/>
                  </a:lnTo>
                  <a:lnTo>
                    <a:pt x="342" y="3553"/>
                  </a:lnTo>
                  <a:lnTo>
                    <a:pt x="342" y="4317"/>
                  </a:lnTo>
                  <a:lnTo>
                    <a:pt x="1218" y="4317"/>
                  </a:lnTo>
                  <a:lnTo>
                    <a:pt x="2095" y="4317"/>
                  </a:lnTo>
                  <a:lnTo>
                    <a:pt x="2095" y="3553"/>
                  </a:lnTo>
                  <a:lnTo>
                    <a:pt x="2095" y="2791"/>
                  </a:lnTo>
                  <a:lnTo>
                    <a:pt x="1723" y="2791"/>
                  </a:lnTo>
                  <a:lnTo>
                    <a:pt x="1714" y="2790"/>
                  </a:lnTo>
                  <a:lnTo>
                    <a:pt x="1708" y="2786"/>
                  </a:lnTo>
                  <a:lnTo>
                    <a:pt x="1704" y="2780"/>
                  </a:lnTo>
                  <a:lnTo>
                    <a:pt x="1703" y="2772"/>
                  </a:lnTo>
                  <a:lnTo>
                    <a:pt x="1704" y="2764"/>
                  </a:lnTo>
                  <a:lnTo>
                    <a:pt x="1708" y="2758"/>
                  </a:lnTo>
                  <a:lnTo>
                    <a:pt x="1714" y="2754"/>
                  </a:lnTo>
                  <a:lnTo>
                    <a:pt x="1723" y="2751"/>
                  </a:lnTo>
                  <a:lnTo>
                    <a:pt x="1976" y="2751"/>
                  </a:lnTo>
                  <a:lnTo>
                    <a:pt x="1976" y="2598"/>
                  </a:lnTo>
                  <a:lnTo>
                    <a:pt x="1025" y="2598"/>
                  </a:lnTo>
                  <a:lnTo>
                    <a:pt x="1018" y="2602"/>
                  </a:lnTo>
                  <a:lnTo>
                    <a:pt x="1010" y="2603"/>
                  </a:lnTo>
                  <a:lnTo>
                    <a:pt x="544" y="2603"/>
                  </a:lnTo>
                  <a:lnTo>
                    <a:pt x="536" y="2602"/>
                  </a:lnTo>
                  <a:lnTo>
                    <a:pt x="531" y="2598"/>
                  </a:lnTo>
                  <a:lnTo>
                    <a:pt x="480" y="2598"/>
                  </a:lnTo>
                  <a:lnTo>
                    <a:pt x="480" y="2751"/>
                  </a:lnTo>
                  <a:lnTo>
                    <a:pt x="1458" y="2751"/>
                  </a:lnTo>
                  <a:lnTo>
                    <a:pt x="1467" y="2754"/>
                  </a:lnTo>
                  <a:lnTo>
                    <a:pt x="1473" y="2758"/>
                  </a:lnTo>
                  <a:lnTo>
                    <a:pt x="1477" y="2764"/>
                  </a:lnTo>
                  <a:lnTo>
                    <a:pt x="1478" y="2772"/>
                  </a:lnTo>
                  <a:lnTo>
                    <a:pt x="1477" y="2780"/>
                  </a:lnTo>
                  <a:lnTo>
                    <a:pt x="1473" y="2786"/>
                  </a:lnTo>
                  <a:lnTo>
                    <a:pt x="1467" y="2790"/>
                  </a:lnTo>
                  <a:lnTo>
                    <a:pt x="1458" y="2791"/>
                  </a:lnTo>
                  <a:close/>
                  <a:moveTo>
                    <a:pt x="2829" y="4085"/>
                  </a:moveTo>
                  <a:lnTo>
                    <a:pt x="2829" y="4077"/>
                  </a:lnTo>
                  <a:lnTo>
                    <a:pt x="2594" y="3774"/>
                  </a:lnTo>
                  <a:lnTo>
                    <a:pt x="2590" y="3814"/>
                  </a:lnTo>
                  <a:lnTo>
                    <a:pt x="2588" y="3843"/>
                  </a:lnTo>
                  <a:lnTo>
                    <a:pt x="2589" y="3868"/>
                  </a:lnTo>
                  <a:lnTo>
                    <a:pt x="2593" y="3893"/>
                  </a:lnTo>
                  <a:lnTo>
                    <a:pt x="2599" y="3916"/>
                  </a:lnTo>
                  <a:lnTo>
                    <a:pt x="2607" y="3939"/>
                  </a:lnTo>
                  <a:lnTo>
                    <a:pt x="2617" y="3961"/>
                  </a:lnTo>
                  <a:lnTo>
                    <a:pt x="2629" y="3982"/>
                  </a:lnTo>
                  <a:lnTo>
                    <a:pt x="2643" y="4002"/>
                  </a:lnTo>
                  <a:lnTo>
                    <a:pt x="2658" y="4020"/>
                  </a:lnTo>
                  <a:lnTo>
                    <a:pt x="2675" y="4037"/>
                  </a:lnTo>
                  <a:lnTo>
                    <a:pt x="2693" y="4051"/>
                  </a:lnTo>
                  <a:lnTo>
                    <a:pt x="2713" y="4065"/>
                  </a:lnTo>
                  <a:lnTo>
                    <a:pt x="2734" y="4076"/>
                  </a:lnTo>
                  <a:lnTo>
                    <a:pt x="2756" y="4085"/>
                  </a:lnTo>
                  <a:lnTo>
                    <a:pt x="2779" y="4093"/>
                  </a:lnTo>
                  <a:lnTo>
                    <a:pt x="2803" y="4098"/>
                  </a:lnTo>
                  <a:lnTo>
                    <a:pt x="2829" y="4102"/>
                  </a:lnTo>
                  <a:lnTo>
                    <a:pt x="2829" y="4093"/>
                  </a:lnTo>
                  <a:lnTo>
                    <a:pt x="2829" y="4085"/>
                  </a:lnTo>
                  <a:close/>
                  <a:moveTo>
                    <a:pt x="1903" y="3824"/>
                  </a:moveTo>
                  <a:lnTo>
                    <a:pt x="1903" y="3937"/>
                  </a:lnTo>
                  <a:lnTo>
                    <a:pt x="1902" y="3946"/>
                  </a:lnTo>
                  <a:lnTo>
                    <a:pt x="1896" y="3952"/>
                  </a:lnTo>
                  <a:lnTo>
                    <a:pt x="1890" y="3956"/>
                  </a:lnTo>
                  <a:lnTo>
                    <a:pt x="1882" y="3957"/>
                  </a:lnTo>
                  <a:lnTo>
                    <a:pt x="1876" y="3956"/>
                  </a:lnTo>
                  <a:lnTo>
                    <a:pt x="1870" y="3952"/>
                  </a:lnTo>
                  <a:lnTo>
                    <a:pt x="1864" y="3946"/>
                  </a:lnTo>
                  <a:lnTo>
                    <a:pt x="1863" y="3937"/>
                  </a:lnTo>
                  <a:lnTo>
                    <a:pt x="1863" y="3824"/>
                  </a:lnTo>
                  <a:lnTo>
                    <a:pt x="1864" y="3817"/>
                  </a:lnTo>
                  <a:lnTo>
                    <a:pt x="1870" y="3810"/>
                  </a:lnTo>
                  <a:lnTo>
                    <a:pt x="1876" y="3806"/>
                  </a:lnTo>
                  <a:lnTo>
                    <a:pt x="1882" y="3805"/>
                  </a:lnTo>
                  <a:lnTo>
                    <a:pt x="1890" y="3806"/>
                  </a:lnTo>
                  <a:lnTo>
                    <a:pt x="1896" y="3810"/>
                  </a:lnTo>
                  <a:lnTo>
                    <a:pt x="1902" y="3817"/>
                  </a:lnTo>
                  <a:lnTo>
                    <a:pt x="1903" y="3824"/>
                  </a:lnTo>
                  <a:close/>
                  <a:moveTo>
                    <a:pt x="587" y="3118"/>
                  </a:moveTo>
                  <a:lnTo>
                    <a:pt x="587" y="3231"/>
                  </a:lnTo>
                  <a:lnTo>
                    <a:pt x="586" y="3240"/>
                  </a:lnTo>
                  <a:lnTo>
                    <a:pt x="581" y="3246"/>
                  </a:lnTo>
                  <a:lnTo>
                    <a:pt x="574" y="3250"/>
                  </a:lnTo>
                  <a:lnTo>
                    <a:pt x="567" y="3251"/>
                  </a:lnTo>
                  <a:lnTo>
                    <a:pt x="560" y="3250"/>
                  </a:lnTo>
                  <a:lnTo>
                    <a:pt x="554" y="3246"/>
                  </a:lnTo>
                  <a:lnTo>
                    <a:pt x="549" y="3240"/>
                  </a:lnTo>
                  <a:lnTo>
                    <a:pt x="548" y="3231"/>
                  </a:lnTo>
                  <a:lnTo>
                    <a:pt x="548" y="3118"/>
                  </a:lnTo>
                  <a:lnTo>
                    <a:pt x="549" y="3111"/>
                  </a:lnTo>
                  <a:lnTo>
                    <a:pt x="554" y="3104"/>
                  </a:lnTo>
                  <a:lnTo>
                    <a:pt x="560" y="3101"/>
                  </a:lnTo>
                  <a:lnTo>
                    <a:pt x="567" y="3099"/>
                  </a:lnTo>
                  <a:lnTo>
                    <a:pt x="574" y="3101"/>
                  </a:lnTo>
                  <a:lnTo>
                    <a:pt x="581" y="3104"/>
                  </a:lnTo>
                  <a:lnTo>
                    <a:pt x="586" y="3111"/>
                  </a:lnTo>
                  <a:lnTo>
                    <a:pt x="587" y="3118"/>
                  </a:lnTo>
                  <a:close/>
                  <a:moveTo>
                    <a:pt x="850" y="3118"/>
                  </a:moveTo>
                  <a:lnTo>
                    <a:pt x="850" y="3231"/>
                  </a:lnTo>
                  <a:lnTo>
                    <a:pt x="849" y="3240"/>
                  </a:lnTo>
                  <a:lnTo>
                    <a:pt x="844" y="3246"/>
                  </a:lnTo>
                  <a:lnTo>
                    <a:pt x="837" y="3250"/>
                  </a:lnTo>
                  <a:lnTo>
                    <a:pt x="831" y="3251"/>
                  </a:lnTo>
                  <a:lnTo>
                    <a:pt x="823" y="3250"/>
                  </a:lnTo>
                  <a:lnTo>
                    <a:pt x="817" y="3246"/>
                  </a:lnTo>
                  <a:lnTo>
                    <a:pt x="812" y="3240"/>
                  </a:lnTo>
                  <a:lnTo>
                    <a:pt x="810" y="3231"/>
                  </a:lnTo>
                  <a:lnTo>
                    <a:pt x="810" y="3118"/>
                  </a:lnTo>
                  <a:lnTo>
                    <a:pt x="812" y="3111"/>
                  </a:lnTo>
                  <a:lnTo>
                    <a:pt x="817" y="3104"/>
                  </a:lnTo>
                  <a:lnTo>
                    <a:pt x="823" y="3101"/>
                  </a:lnTo>
                  <a:lnTo>
                    <a:pt x="831" y="3099"/>
                  </a:lnTo>
                  <a:lnTo>
                    <a:pt x="837" y="3101"/>
                  </a:lnTo>
                  <a:lnTo>
                    <a:pt x="844" y="3104"/>
                  </a:lnTo>
                  <a:lnTo>
                    <a:pt x="849" y="3111"/>
                  </a:lnTo>
                  <a:lnTo>
                    <a:pt x="850" y="3118"/>
                  </a:lnTo>
                  <a:close/>
                  <a:moveTo>
                    <a:pt x="1113" y="3118"/>
                  </a:moveTo>
                  <a:lnTo>
                    <a:pt x="1113" y="3231"/>
                  </a:lnTo>
                  <a:lnTo>
                    <a:pt x="1112" y="3240"/>
                  </a:lnTo>
                  <a:lnTo>
                    <a:pt x="1107" y="3246"/>
                  </a:lnTo>
                  <a:lnTo>
                    <a:pt x="1100" y="3250"/>
                  </a:lnTo>
                  <a:lnTo>
                    <a:pt x="1094" y="3251"/>
                  </a:lnTo>
                  <a:lnTo>
                    <a:pt x="1086" y="3250"/>
                  </a:lnTo>
                  <a:lnTo>
                    <a:pt x="1080" y="3246"/>
                  </a:lnTo>
                  <a:lnTo>
                    <a:pt x="1076" y="3240"/>
                  </a:lnTo>
                  <a:lnTo>
                    <a:pt x="1073" y="3231"/>
                  </a:lnTo>
                  <a:lnTo>
                    <a:pt x="1073" y="3118"/>
                  </a:lnTo>
                  <a:lnTo>
                    <a:pt x="1076" y="3111"/>
                  </a:lnTo>
                  <a:lnTo>
                    <a:pt x="1080" y="3104"/>
                  </a:lnTo>
                  <a:lnTo>
                    <a:pt x="1086" y="3101"/>
                  </a:lnTo>
                  <a:lnTo>
                    <a:pt x="1094" y="3099"/>
                  </a:lnTo>
                  <a:lnTo>
                    <a:pt x="1100" y="3101"/>
                  </a:lnTo>
                  <a:lnTo>
                    <a:pt x="1107" y="3104"/>
                  </a:lnTo>
                  <a:lnTo>
                    <a:pt x="1112" y="3111"/>
                  </a:lnTo>
                  <a:lnTo>
                    <a:pt x="1113" y="3118"/>
                  </a:lnTo>
                  <a:close/>
                  <a:moveTo>
                    <a:pt x="1377" y="3118"/>
                  </a:moveTo>
                  <a:lnTo>
                    <a:pt x="1377" y="3231"/>
                  </a:lnTo>
                  <a:lnTo>
                    <a:pt x="1375" y="3240"/>
                  </a:lnTo>
                  <a:lnTo>
                    <a:pt x="1371" y="3246"/>
                  </a:lnTo>
                  <a:lnTo>
                    <a:pt x="1364" y="3250"/>
                  </a:lnTo>
                  <a:lnTo>
                    <a:pt x="1357" y="3251"/>
                  </a:lnTo>
                  <a:lnTo>
                    <a:pt x="1349" y="3250"/>
                  </a:lnTo>
                  <a:lnTo>
                    <a:pt x="1343" y="3246"/>
                  </a:lnTo>
                  <a:lnTo>
                    <a:pt x="1339" y="3240"/>
                  </a:lnTo>
                  <a:lnTo>
                    <a:pt x="1336" y="3231"/>
                  </a:lnTo>
                  <a:lnTo>
                    <a:pt x="1336" y="3118"/>
                  </a:lnTo>
                  <a:lnTo>
                    <a:pt x="1339" y="3111"/>
                  </a:lnTo>
                  <a:lnTo>
                    <a:pt x="1343" y="3104"/>
                  </a:lnTo>
                  <a:lnTo>
                    <a:pt x="1349" y="3101"/>
                  </a:lnTo>
                  <a:lnTo>
                    <a:pt x="1357" y="3099"/>
                  </a:lnTo>
                  <a:lnTo>
                    <a:pt x="1364" y="3101"/>
                  </a:lnTo>
                  <a:lnTo>
                    <a:pt x="1371" y="3104"/>
                  </a:lnTo>
                  <a:lnTo>
                    <a:pt x="1375" y="3111"/>
                  </a:lnTo>
                  <a:lnTo>
                    <a:pt x="1377" y="3118"/>
                  </a:lnTo>
                  <a:close/>
                  <a:moveTo>
                    <a:pt x="1640" y="3118"/>
                  </a:moveTo>
                  <a:lnTo>
                    <a:pt x="1640" y="3231"/>
                  </a:lnTo>
                  <a:lnTo>
                    <a:pt x="1637" y="3240"/>
                  </a:lnTo>
                  <a:lnTo>
                    <a:pt x="1634" y="3246"/>
                  </a:lnTo>
                  <a:lnTo>
                    <a:pt x="1627" y="3250"/>
                  </a:lnTo>
                  <a:lnTo>
                    <a:pt x="1620" y="3251"/>
                  </a:lnTo>
                  <a:lnTo>
                    <a:pt x="1612" y="3250"/>
                  </a:lnTo>
                  <a:lnTo>
                    <a:pt x="1605" y="3246"/>
                  </a:lnTo>
                  <a:lnTo>
                    <a:pt x="1602" y="3240"/>
                  </a:lnTo>
                  <a:lnTo>
                    <a:pt x="1600" y="3231"/>
                  </a:lnTo>
                  <a:lnTo>
                    <a:pt x="1600" y="3118"/>
                  </a:lnTo>
                  <a:lnTo>
                    <a:pt x="1602" y="3111"/>
                  </a:lnTo>
                  <a:lnTo>
                    <a:pt x="1605" y="3104"/>
                  </a:lnTo>
                  <a:lnTo>
                    <a:pt x="1612" y="3101"/>
                  </a:lnTo>
                  <a:lnTo>
                    <a:pt x="1620" y="3099"/>
                  </a:lnTo>
                  <a:lnTo>
                    <a:pt x="1627" y="3101"/>
                  </a:lnTo>
                  <a:lnTo>
                    <a:pt x="1634" y="3104"/>
                  </a:lnTo>
                  <a:lnTo>
                    <a:pt x="1637" y="3111"/>
                  </a:lnTo>
                  <a:lnTo>
                    <a:pt x="1640" y="3118"/>
                  </a:lnTo>
                  <a:close/>
                  <a:moveTo>
                    <a:pt x="1903" y="3118"/>
                  </a:moveTo>
                  <a:lnTo>
                    <a:pt x="1903" y="3231"/>
                  </a:lnTo>
                  <a:lnTo>
                    <a:pt x="1902" y="3240"/>
                  </a:lnTo>
                  <a:lnTo>
                    <a:pt x="1896" y="3246"/>
                  </a:lnTo>
                  <a:lnTo>
                    <a:pt x="1890" y="3250"/>
                  </a:lnTo>
                  <a:lnTo>
                    <a:pt x="1882" y="3251"/>
                  </a:lnTo>
                  <a:lnTo>
                    <a:pt x="1876" y="3250"/>
                  </a:lnTo>
                  <a:lnTo>
                    <a:pt x="1870" y="3246"/>
                  </a:lnTo>
                  <a:lnTo>
                    <a:pt x="1864" y="3240"/>
                  </a:lnTo>
                  <a:lnTo>
                    <a:pt x="1863" y="3231"/>
                  </a:lnTo>
                  <a:lnTo>
                    <a:pt x="1863" y="3118"/>
                  </a:lnTo>
                  <a:lnTo>
                    <a:pt x="1864" y="3111"/>
                  </a:lnTo>
                  <a:lnTo>
                    <a:pt x="1870" y="3104"/>
                  </a:lnTo>
                  <a:lnTo>
                    <a:pt x="1876" y="3101"/>
                  </a:lnTo>
                  <a:lnTo>
                    <a:pt x="1882" y="3099"/>
                  </a:lnTo>
                  <a:lnTo>
                    <a:pt x="1890" y="3101"/>
                  </a:lnTo>
                  <a:lnTo>
                    <a:pt x="1896" y="3104"/>
                  </a:lnTo>
                  <a:lnTo>
                    <a:pt x="1902" y="3111"/>
                  </a:lnTo>
                  <a:lnTo>
                    <a:pt x="1903" y="3118"/>
                  </a:lnTo>
                  <a:close/>
                  <a:moveTo>
                    <a:pt x="587" y="3354"/>
                  </a:moveTo>
                  <a:lnTo>
                    <a:pt x="587" y="3466"/>
                  </a:lnTo>
                  <a:lnTo>
                    <a:pt x="586" y="3475"/>
                  </a:lnTo>
                  <a:lnTo>
                    <a:pt x="581" y="3482"/>
                  </a:lnTo>
                  <a:lnTo>
                    <a:pt x="574" y="3485"/>
                  </a:lnTo>
                  <a:lnTo>
                    <a:pt x="567" y="3487"/>
                  </a:lnTo>
                  <a:lnTo>
                    <a:pt x="560" y="3485"/>
                  </a:lnTo>
                  <a:lnTo>
                    <a:pt x="554" y="3482"/>
                  </a:lnTo>
                  <a:lnTo>
                    <a:pt x="549" y="3475"/>
                  </a:lnTo>
                  <a:lnTo>
                    <a:pt x="548" y="3466"/>
                  </a:lnTo>
                  <a:lnTo>
                    <a:pt x="548" y="3354"/>
                  </a:lnTo>
                  <a:lnTo>
                    <a:pt x="549" y="3346"/>
                  </a:lnTo>
                  <a:lnTo>
                    <a:pt x="554" y="3340"/>
                  </a:lnTo>
                  <a:lnTo>
                    <a:pt x="560" y="3336"/>
                  </a:lnTo>
                  <a:lnTo>
                    <a:pt x="567" y="3335"/>
                  </a:lnTo>
                  <a:lnTo>
                    <a:pt x="574" y="3336"/>
                  </a:lnTo>
                  <a:lnTo>
                    <a:pt x="581" y="3340"/>
                  </a:lnTo>
                  <a:lnTo>
                    <a:pt x="586" y="3346"/>
                  </a:lnTo>
                  <a:lnTo>
                    <a:pt x="587" y="3354"/>
                  </a:lnTo>
                  <a:close/>
                  <a:moveTo>
                    <a:pt x="850" y="3354"/>
                  </a:moveTo>
                  <a:lnTo>
                    <a:pt x="850" y="3466"/>
                  </a:lnTo>
                  <a:lnTo>
                    <a:pt x="849" y="3475"/>
                  </a:lnTo>
                  <a:lnTo>
                    <a:pt x="844" y="3482"/>
                  </a:lnTo>
                  <a:lnTo>
                    <a:pt x="837" y="3485"/>
                  </a:lnTo>
                  <a:lnTo>
                    <a:pt x="831" y="3487"/>
                  </a:lnTo>
                  <a:lnTo>
                    <a:pt x="823" y="3485"/>
                  </a:lnTo>
                  <a:lnTo>
                    <a:pt x="817" y="3482"/>
                  </a:lnTo>
                  <a:lnTo>
                    <a:pt x="812" y="3475"/>
                  </a:lnTo>
                  <a:lnTo>
                    <a:pt x="810" y="3466"/>
                  </a:lnTo>
                  <a:lnTo>
                    <a:pt x="810" y="3354"/>
                  </a:lnTo>
                  <a:lnTo>
                    <a:pt x="812" y="3346"/>
                  </a:lnTo>
                  <a:lnTo>
                    <a:pt x="817" y="3340"/>
                  </a:lnTo>
                  <a:lnTo>
                    <a:pt x="823" y="3336"/>
                  </a:lnTo>
                  <a:lnTo>
                    <a:pt x="831" y="3335"/>
                  </a:lnTo>
                  <a:lnTo>
                    <a:pt x="837" y="3336"/>
                  </a:lnTo>
                  <a:lnTo>
                    <a:pt x="844" y="3340"/>
                  </a:lnTo>
                  <a:lnTo>
                    <a:pt x="849" y="3346"/>
                  </a:lnTo>
                  <a:lnTo>
                    <a:pt x="850" y="3354"/>
                  </a:lnTo>
                  <a:close/>
                  <a:moveTo>
                    <a:pt x="1113" y="3354"/>
                  </a:moveTo>
                  <a:lnTo>
                    <a:pt x="1113" y="3466"/>
                  </a:lnTo>
                  <a:lnTo>
                    <a:pt x="1112" y="3475"/>
                  </a:lnTo>
                  <a:lnTo>
                    <a:pt x="1107" y="3482"/>
                  </a:lnTo>
                  <a:lnTo>
                    <a:pt x="1100" y="3485"/>
                  </a:lnTo>
                  <a:lnTo>
                    <a:pt x="1094" y="3487"/>
                  </a:lnTo>
                  <a:lnTo>
                    <a:pt x="1086" y="3485"/>
                  </a:lnTo>
                  <a:lnTo>
                    <a:pt x="1080" y="3482"/>
                  </a:lnTo>
                  <a:lnTo>
                    <a:pt x="1076" y="3475"/>
                  </a:lnTo>
                  <a:lnTo>
                    <a:pt x="1073" y="3466"/>
                  </a:lnTo>
                  <a:lnTo>
                    <a:pt x="1073" y="3354"/>
                  </a:lnTo>
                  <a:lnTo>
                    <a:pt x="1076" y="3346"/>
                  </a:lnTo>
                  <a:lnTo>
                    <a:pt x="1080" y="3340"/>
                  </a:lnTo>
                  <a:lnTo>
                    <a:pt x="1086" y="3336"/>
                  </a:lnTo>
                  <a:lnTo>
                    <a:pt x="1094" y="3335"/>
                  </a:lnTo>
                  <a:lnTo>
                    <a:pt x="1100" y="3336"/>
                  </a:lnTo>
                  <a:lnTo>
                    <a:pt x="1107" y="3340"/>
                  </a:lnTo>
                  <a:lnTo>
                    <a:pt x="1112" y="3346"/>
                  </a:lnTo>
                  <a:lnTo>
                    <a:pt x="1113" y="3354"/>
                  </a:lnTo>
                  <a:close/>
                  <a:moveTo>
                    <a:pt x="1377" y="3354"/>
                  </a:moveTo>
                  <a:lnTo>
                    <a:pt x="1377" y="3466"/>
                  </a:lnTo>
                  <a:lnTo>
                    <a:pt x="1375" y="3475"/>
                  </a:lnTo>
                  <a:lnTo>
                    <a:pt x="1371" y="3482"/>
                  </a:lnTo>
                  <a:lnTo>
                    <a:pt x="1364" y="3485"/>
                  </a:lnTo>
                  <a:lnTo>
                    <a:pt x="1357" y="3487"/>
                  </a:lnTo>
                  <a:lnTo>
                    <a:pt x="1349" y="3485"/>
                  </a:lnTo>
                  <a:lnTo>
                    <a:pt x="1343" y="3482"/>
                  </a:lnTo>
                  <a:lnTo>
                    <a:pt x="1339" y="3475"/>
                  </a:lnTo>
                  <a:lnTo>
                    <a:pt x="1336" y="3466"/>
                  </a:lnTo>
                  <a:lnTo>
                    <a:pt x="1336" y="3354"/>
                  </a:lnTo>
                  <a:lnTo>
                    <a:pt x="1339" y="3346"/>
                  </a:lnTo>
                  <a:lnTo>
                    <a:pt x="1343" y="3340"/>
                  </a:lnTo>
                  <a:lnTo>
                    <a:pt x="1349" y="3336"/>
                  </a:lnTo>
                  <a:lnTo>
                    <a:pt x="1357" y="3335"/>
                  </a:lnTo>
                  <a:lnTo>
                    <a:pt x="1364" y="3336"/>
                  </a:lnTo>
                  <a:lnTo>
                    <a:pt x="1371" y="3340"/>
                  </a:lnTo>
                  <a:lnTo>
                    <a:pt x="1375" y="3346"/>
                  </a:lnTo>
                  <a:lnTo>
                    <a:pt x="1377" y="3354"/>
                  </a:lnTo>
                  <a:close/>
                  <a:moveTo>
                    <a:pt x="1640" y="3354"/>
                  </a:moveTo>
                  <a:lnTo>
                    <a:pt x="1640" y="3466"/>
                  </a:lnTo>
                  <a:lnTo>
                    <a:pt x="1637" y="3475"/>
                  </a:lnTo>
                  <a:lnTo>
                    <a:pt x="1634" y="3482"/>
                  </a:lnTo>
                  <a:lnTo>
                    <a:pt x="1627" y="3485"/>
                  </a:lnTo>
                  <a:lnTo>
                    <a:pt x="1620" y="3487"/>
                  </a:lnTo>
                  <a:lnTo>
                    <a:pt x="1612" y="3485"/>
                  </a:lnTo>
                  <a:lnTo>
                    <a:pt x="1605" y="3482"/>
                  </a:lnTo>
                  <a:lnTo>
                    <a:pt x="1602" y="3475"/>
                  </a:lnTo>
                  <a:lnTo>
                    <a:pt x="1600" y="3466"/>
                  </a:lnTo>
                  <a:lnTo>
                    <a:pt x="1600" y="3354"/>
                  </a:lnTo>
                  <a:lnTo>
                    <a:pt x="1602" y="3346"/>
                  </a:lnTo>
                  <a:lnTo>
                    <a:pt x="1605" y="3340"/>
                  </a:lnTo>
                  <a:lnTo>
                    <a:pt x="1612" y="3336"/>
                  </a:lnTo>
                  <a:lnTo>
                    <a:pt x="1620" y="3335"/>
                  </a:lnTo>
                  <a:lnTo>
                    <a:pt x="1627" y="3336"/>
                  </a:lnTo>
                  <a:lnTo>
                    <a:pt x="1634" y="3340"/>
                  </a:lnTo>
                  <a:lnTo>
                    <a:pt x="1637" y="3346"/>
                  </a:lnTo>
                  <a:lnTo>
                    <a:pt x="1640" y="3354"/>
                  </a:lnTo>
                  <a:close/>
                  <a:moveTo>
                    <a:pt x="1903" y="3354"/>
                  </a:moveTo>
                  <a:lnTo>
                    <a:pt x="1903" y="3466"/>
                  </a:lnTo>
                  <a:lnTo>
                    <a:pt x="1902" y="3475"/>
                  </a:lnTo>
                  <a:lnTo>
                    <a:pt x="1896" y="3482"/>
                  </a:lnTo>
                  <a:lnTo>
                    <a:pt x="1890" y="3485"/>
                  </a:lnTo>
                  <a:lnTo>
                    <a:pt x="1882" y="3487"/>
                  </a:lnTo>
                  <a:lnTo>
                    <a:pt x="1876" y="3485"/>
                  </a:lnTo>
                  <a:lnTo>
                    <a:pt x="1870" y="3482"/>
                  </a:lnTo>
                  <a:lnTo>
                    <a:pt x="1864" y="3475"/>
                  </a:lnTo>
                  <a:lnTo>
                    <a:pt x="1863" y="3466"/>
                  </a:lnTo>
                  <a:lnTo>
                    <a:pt x="1863" y="3354"/>
                  </a:lnTo>
                  <a:lnTo>
                    <a:pt x="1864" y="3346"/>
                  </a:lnTo>
                  <a:lnTo>
                    <a:pt x="1870" y="3340"/>
                  </a:lnTo>
                  <a:lnTo>
                    <a:pt x="1876" y="3336"/>
                  </a:lnTo>
                  <a:lnTo>
                    <a:pt x="1882" y="3335"/>
                  </a:lnTo>
                  <a:lnTo>
                    <a:pt x="1890" y="3336"/>
                  </a:lnTo>
                  <a:lnTo>
                    <a:pt x="1896" y="3340"/>
                  </a:lnTo>
                  <a:lnTo>
                    <a:pt x="1902" y="3346"/>
                  </a:lnTo>
                  <a:lnTo>
                    <a:pt x="1903" y="3354"/>
                  </a:lnTo>
                  <a:close/>
                  <a:moveTo>
                    <a:pt x="587" y="3589"/>
                  </a:moveTo>
                  <a:lnTo>
                    <a:pt x="587" y="3702"/>
                  </a:lnTo>
                  <a:lnTo>
                    <a:pt x="586" y="3710"/>
                  </a:lnTo>
                  <a:lnTo>
                    <a:pt x="581" y="3717"/>
                  </a:lnTo>
                  <a:lnTo>
                    <a:pt x="574" y="3721"/>
                  </a:lnTo>
                  <a:lnTo>
                    <a:pt x="567" y="3722"/>
                  </a:lnTo>
                  <a:lnTo>
                    <a:pt x="560" y="3721"/>
                  </a:lnTo>
                  <a:lnTo>
                    <a:pt x="554" y="3717"/>
                  </a:lnTo>
                  <a:lnTo>
                    <a:pt x="549" y="3710"/>
                  </a:lnTo>
                  <a:lnTo>
                    <a:pt x="548" y="3702"/>
                  </a:lnTo>
                  <a:lnTo>
                    <a:pt x="548" y="3589"/>
                  </a:lnTo>
                  <a:lnTo>
                    <a:pt x="549" y="3581"/>
                  </a:lnTo>
                  <a:lnTo>
                    <a:pt x="554" y="3575"/>
                  </a:lnTo>
                  <a:lnTo>
                    <a:pt x="560" y="3571"/>
                  </a:lnTo>
                  <a:lnTo>
                    <a:pt x="567" y="3570"/>
                  </a:lnTo>
                  <a:lnTo>
                    <a:pt x="574" y="3571"/>
                  </a:lnTo>
                  <a:lnTo>
                    <a:pt x="581" y="3575"/>
                  </a:lnTo>
                  <a:lnTo>
                    <a:pt x="586" y="3581"/>
                  </a:lnTo>
                  <a:lnTo>
                    <a:pt x="587" y="3589"/>
                  </a:lnTo>
                  <a:close/>
                  <a:moveTo>
                    <a:pt x="850" y="3589"/>
                  </a:moveTo>
                  <a:lnTo>
                    <a:pt x="850" y="3702"/>
                  </a:lnTo>
                  <a:lnTo>
                    <a:pt x="849" y="3710"/>
                  </a:lnTo>
                  <a:lnTo>
                    <a:pt x="844" y="3717"/>
                  </a:lnTo>
                  <a:lnTo>
                    <a:pt x="837" y="3721"/>
                  </a:lnTo>
                  <a:lnTo>
                    <a:pt x="831" y="3722"/>
                  </a:lnTo>
                  <a:lnTo>
                    <a:pt x="823" y="3721"/>
                  </a:lnTo>
                  <a:lnTo>
                    <a:pt x="817" y="3717"/>
                  </a:lnTo>
                  <a:lnTo>
                    <a:pt x="812" y="3710"/>
                  </a:lnTo>
                  <a:lnTo>
                    <a:pt x="810" y="3702"/>
                  </a:lnTo>
                  <a:lnTo>
                    <a:pt x="810" y="3589"/>
                  </a:lnTo>
                  <a:lnTo>
                    <a:pt x="812" y="3581"/>
                  </a:lnTo>
                  <a:lnTo>
                    <a:pt x="817" y="3575"/>
                  </a:lnTo>
                  <a:lnTo>
                    <a:pt x="823" y="3571"/>
                  </a:lnTo>
                  <a:lnTo>
                    <a:pt x="831" y="3570"/>
                  </a:lnTo>
                  <a:lnTo>
                    <a:pt x="837" y="3571"/>
                  </a:lnTo>
                  <a:lnTo>
                    <a:pt x="844" y="3575"/>
                  </a:lnTo>
                  <a:lnTo>
                    <a:pt x="849" y="3581"/>
                  </a:lnTo>
                  <a:lnTo>
                    <a:pt x="850" y="3589"/>
                  </a:lnTo>
                  <a:close/>
                  <a:moveTo>
                    <a:pt x="1113" y="3589"/>
                  </a:moveTo>
                  <a:lnTo>
                    <a:pt x="1113" y="3702"/>
                  </a:lnTo>
                  <a:lnTo>
                    <a:pt x="1112" y="3710"/>
                  </a:lnTo>
                  <a:lnTo>
                    <a:pt x="1107" y="3717"/>
                  </a:lnTo>
                  <a:lnTo>
                    <a:pt x="1100" y="3721"/>
                  </a:lnTo>
                  <a:lnTo>
                    <a:pt x="1094" y="3722"/>
                  </a:lnTo>
                  <a:lnTo>
                    <a:pt x="1086" y="3721"/>
                  </a:lnTo>
                  <a:lnTo>
                    <a:pt x="1080" y="3717"/>
                  </a:lnTo>
                  <a:lnTo>
                    <a:pt x="1076" y="3710"/>
                  </a:lnTo>
                  <a:lnTo>
                    <a:pt x="1073" y="3702"/>
                  </a:lnTo>
                  <a:lnTo>
                    <a:pt x="1073" y="3589"/>
                  </a:lnTo>
                  <a:lnTo>
                    <a:pt x="1076" y="3581"/>
                  </a:lnTo>
                  <a:lnTo>
                    <a:pt x="1080" y="3575"/>
                  </a:lnTo>
                  <a:lnTo>
                    <a:pt x="1086" y="3571"/>
                  </a:lnTo>
                  <a:lnTo>
                    <a:pt x="1094" y="3570"/>
                  </a:lnTo>
                  <a:lnTo>
                    <a:pt x="1100" y="3571"/>
                  </a:lnTo>
                  <a:lnTo>
                    <a:pt x="1107" y="3575"/>
                  </a:lnTo>
                  <a:lnTo>
                    <a:pt x="1112" y="3581"/>
                  </a:lnTo>
                  <a:lnTo>
                    <a:pt x="1113" y="3589"/>
                  </a:lnTo>
                  <a:close/>
                  <a:moveTo>
                    <a:pt x="1377" y="3589"/>
                  </a:moveTo>
                  <a:lnTo>
                    <a:pt x="1377" y="3702"/>
                  </a:lnTo>
                  <a:lnTo>
                    <a:pt x="1375" y="3710"/>
                  </a:lnTo>
                  <a:lnTo>
                    <a:pt x="1371" y="3717"/>
                  </a:lnTo>
                  <a:lnTo>
                    <a:pt x="1364" y="3721"/>
                  </a:lnTo>
                  <a:lnTo>
                    <a:pt x="1357" y="3722"/>
                  </a:lnTo>
                  <a:lnTo>
                    <a:pt x="1349" y="3721"/>
                  </a:lnTo>
                  <a:lnTo>
                    <a:pt x="1343" y="3717"/>
                  </a:lnTo>
                  <a:lnTo>
                    <a:pt x="1339" y="3710"/>
                  </a:lnTo>
                  <a:lnTo>
                    <a:pt x="1336" y="3702"/>
                  </a:lnTo>
                  <a:lnTo>
                    <a:pt x="1336" y="3589"/>
                  </a:lnTo>
                  <a:lnTo>
                    <a:pt x="1339" y="3581"/>
                  </a:lnTo>
                  <a:lnTo>
                    <a:pt x="1343" y="3575"/>
                  </a:lnTo>
                  <a:lnTo>
                    <a:pt x="1349" y="3571"/>
                  </a:lnTo>
                  <a:lnTo>
                    <a:pt x="1357" y="3570"/>
                  </a:lnTo>
                  <a:lnTo>
                    <a:pt x="1364" y="3571"/>
                  </a:lnTo>
                  <a:lnTo>
                    <a:pt x="1371" y="3575"/>
                  </a:lnTo>
                  <a:lnTo>
                    <a:pt x="1375" y="3581"/>
                  </a:lnTo>
                  <a:lnTo>
                    <a:pt x="1377" y="3589"/>
                  </a:lnTo>
                  <a:close/>
                  <a:moveTo>
                    <a:pt x="1640" y="3589"/>
                  </a:moveTo>
                  <a:lnTo>
                    <a:pt x="1640" y="3702"/>
                  </a:lnTo>
                  <a:lnTo>
                    <a:pt x="1637" y="3710"/>
                  </a:lnTo>
                  <a:lnTo>
                    <a:pt x="1634" y="3717"/>
                  </a:lnTo>
                  <a:lnTo>
                    <a:pt x="1627" y="3721"/>
                  </a:lnTo>
                  <a:lnTo>
                    <a:pt x="1620" y="3722"/>
                  </a:lnTo>
                  <a:lnTo>
                    <a:pt x="1612" y="3721"/>
                  </a:lnTo>
                  <a:lnTo>
                    <a:pt x="1605" y="3717"/>
                  </a:lnTo>
                  <a:lnTo>
                    <a:pt x="1602" y="3710"/>
                  </a:lnTo>
                  <a:lnTo>
                    <a:pt x="1600" y="3702"/>
                  </a:lnTo>
                  <a:lnTo>
                    <a:pt x="1600" y="3589"/>
                  </a:lnTo>
                  <a:lnTo>
                    <a:pt x="1602" y="3581"/>
                  </a:lnTo>
                  <a:lnTo>
                    <a:pt x="1605" y="3575"/>
                  </a:lnTo>
                  <a:lnTo>
                    <a:pt x="1612" y="3571"/>
                  </a:lnTo>
                  <a:lnTo>
                    <a:pt x="1620" y="3570"/>
                  </a:lnTo>
                  <a:lnTo>
                    <a:pt x="1627" y="3571"/>
                  </a:lnTo>
                  <a:lnTo>
                    <a:pt x="1634" y="3575"/>
                  </a:lnTo>
                  <a:lnTo>
                    <a:pt x="1637" y="3581"/>
                  </a:lnTo>
                  <a:lnTo>
                    <a:pt x="1640" y="3589"/>
                  </a:lnTo>
                  <a:close/>
                  <a:moveTo>
                    <a:pt x="1903" y="3589"/>
                  </a:moveTo>
                  <a:lnTo>
                    <a:pt x="1903" y="3702"/>
                  </a:lnTo>
                  <a:lnTo>
                    <a:pt x="1902" y="3710"/>
                  </a:lnTo>
                  <a:lnTo>
                    <a:pt x="1896" y="3717"/>
                  </a:lnTo>
                  <a:lnTo>
                    <a:pt x="1890" y="3721"/>
                  </a:lnTo>
                  <a:lnTo>
                    <a:pt x="1882" y="3722"/>
                  </a:lnTo>
                  <a:lnTo>
                    <a:pt x="1876" y="3721"/>
                  </a:lnTo>
                  <a:lnTo>
                    <a:pt x="1870" y="3717"/>
                  </a:lnTo>
                  <a:lnTo>
                    <a:pt x="1864" y="3710"/>
                  </a:lnTo>
                  <a:lnTo>
                    <a:pt x="1863" y="3702"/>
                  </a:lnTo>
                  <a:lnTo>
                    <a:pt x="1863" y="3589"/>
                  </a:lnTo>
                  <a:lnTo>
                    <a:pt x="1864" y="3581"/>
                  </a:lnTo>
                  <a:lnTo>
                    <a:pt x="1870" y="3575"/>
                  </a:lnTo>
                  <a:lnTo>
                    <a:pt x="1876" y="3571"/>
                  </a:lnTo>
                  <a:lnTo>
                    <a:pt x="1882" y="3570"/>
                  </a:lnTo>
                  <a:lnTo>
                    <a:pt x="1890" y="3571"/>
                  </a:lnTo>
                  <a:lnTo>
                    <a:pt x="1896" y="3575"/>
                  </a:lnTo>
                  <a:lnTo>
                    <a:pt x="1902" y="3581"/>
                  </a:lnTo>
                  <a:lnTo>
                    <a:pt x="1903" y="3589"/>
                  </a:lnTo>
                  <a:close/>
                  <a:moveTo>
                    <a:pt x="587" y="3824"/>
                  </a:moveTo>
                  <a:lnTo>
                    <a:pt x="587" y="3937"/>
                  </a:lnTo>
                  <a:lnTo>
                    <a:pt x="586" y="3946"/>
                  </a:lnTo>
                  <a:lnTo>
                    <a:pt x="581" y="3952"/>
                  </a:lnTo>
                  <a:lnTo>
                    <a:pt x="574" y="3956"/>
                  </a:lnTo>
                  <a:lnTo>
                    <a:pt x="567" y="3957"/>
                  </a:lnTo>
                  <a:lnTo>
                    <a:pt x="560" y="3956"/>
                  </a:lnTo>
                  <a:lnTo>
                    <a:pt x="554" y="3952"/>
                  </a:lnTo>
                  <a:lnTo>
                    <a:pt x="549" y="3946"/>
                  </a:lnTo>
                  <a:lnTo>
                    <a:pt x="548" y="3937"/>
                  </a:lnTo>
                  <a:lnTo>
                    <a:pt x="548" y="3824"/>
                  </a:lnTo>
                  <a:lnTo>
                    <a:pt x="549" y="3817"/>
                  </a:lnTo>
                  <a:lnTo>
                    <a:pt x="554" y="3810"/>
                  </a:lnTo>
                  <a:lnTo>
                    <a:pt x="560" y="3806"/>
                  </a:lnTo>
                  <a:lnTo>
                    <a:pt x="567" y="3805"/>
                  </a:lnTo>
                  <a:lnTo>
                    <a:pt x="574" y="3806"/>
                  </a:lnTo>
                  <a:lnTo>
                    <a:pt x="581" y="3810"/>
                  </a:lnTo>
                  <a:lnTo>
                    <a:pt x="586" y="3817"/>
                  </a:lnTo>
                  <a:lnTo>
                    <a:pt x="587" y="3824"/>
                  </a:lnTo>
                  <a:close/>
                  <a:moveTo>
                    <a:pt x="850" y="3824"/>
                  </a:moveTo>
                  <a:lnTo>
                    <a:pt x="850" y="3937"/>
                  </a:lnTo>
                  <a:lnTo>
                    <a:pt x="849" y="3946"/>
                  </a:lnTo>
                  <a:lnTo>
                    <a:pt x="844" y="3952"/>
                  </a:lnTo>
                  <a:lnTo>
                    <a:pt x="837" y="3956"/>
                  </a:lnTo>
                  <a:lnTo>
                    <a:pt x="831" y="3957"/>
                  </a:lnTo>
                  <a:lnTo>
                    <a:pt x="823" y="3956"/>
                  </a:lnTo>
                  <a:lnTo>
                    <a:pt x="817" y="3952"/>
                  </a:lnTo>
                  <a:lnTo>
                    <a:pt x="812" y="3946"/>
                  </a:lnTo>
                  <a:lnTo>
                    <a:pt x="810" y="3937"/>
                  </a:lnTo>
                  <a:lnTo>
                    <a:pt x="810" y="3824"/>
                  </a:lnTo>
                  <a:lnTo>
                    <a:pt x="812" y="3817"/>
                  </a:lnTo>
                  <a:lnTo>
                    <a:pt x="817" y="3810"/>
                  </a:lnTo>
                  <a:lnTo>
                    <a:pt x="823" y="3806"/>
                  </a:lnTo>
                  <a:lnTo>
                    <a:pt x="831" y="3805"/>
                  </a:lnTo>
                  <a:lnTo>
                    <a:pt x="837" y="3806"/>
                  </a:lnTo>
                  <a:lnTo>
                    <a:pt x="844" y="3810"/>
                  </a:lnTo>
                  <a:lnTo>
                    <a:pt x="849" y="3817"/>
                  </a:lnTo>
                  <a:lnTo>
                    <a:pt x="850" y="3824"/>
                  </a:lnTo>
                  <a:close/>
                  <a:moveTo>
                    <a:pt x="1113" y="3824"/>
                  </a:moveTo>
                  <a:lnTo>
                    <a:pt x="1113" y="3937"/>
                  </a:lnTo>
                  <a:lnTo>
                    <a:pt x="1112" y="3946"/>
                  </a:lnTo>
                  <a:lnTo>
                    <a:pt x="1107" y="3952"/>
                  </a:lnTo>
                  <a:lnTo>
                    <a:pt x="1100" y="3956"/>
                  </a:lnTo>
                  <a:lnTo>
                    <a:pt x="1094" y="3957"/>
                  </a:lnTo>
                  <a:lnTo>
                    <a:pt x="1086" y="3956"/>
                  </a:lnTo>
                  <a:lnTo>
                    <a:pt x="1080" y="3952"/>
                  </a:lnTo>
                  <a:lnTo>
                    <a:pt x="1076" y="3946"/>
                  </a:lnTo>
                  <a:lnTo>
                    <a:pt x="1073" y="3937"/>
                  </a:lnTo>
                  <a:lnTo>
                    <a:pt x="1073" y="3824"/>
                  </a:lnTo>
                  <a:lnTo>
                    <a:pt x="1076" y="3817"/>
                  </a:lnTo>
                  <a:lnTo>
                    <a:pt x="1080" y="3810"/>
                  </a:lnTo>
                  <a:lnTo>
                    <a:pt x="1086" y="3806"/>
                  </a:lnTo>
                  <a:lnTo>
                    <a:pt x="1094" y="3805"/>
                  </a:lnTo>
                  <a:lnTo>
                    <a:pt x="1100" y="3806"/>
                  </a:lnTo>
                  <a:lnTo>
                    <a:pt x="1107" y="3810"/>
                  </a:lnTo>
                  <a:lnTo>
                    <a:pt x="1112" y="3817"/>
                  </a:lnTo>
                  <a:lnTo>
                    <a:pt x="1113" y="3824"/>
                  </a:lnTo>
                  <a:close/>
                  <a:moveTo>
                    <a:pt x="1377" y="3824"/>
                  </a:moveTo>
                  <a:lnTo>
                    <a:pt x="1377" y="3937"/>
                  </a:lnTo>
                  <a:lnTo>
                    <a:pt x="1375" y="3946"/>
                  </a:lnTo>
                  <a:lnTo>
                    <a:pt x="1371" y="3952"/>
                  </a:lnTo>
                  <a:lnTo>
                    <a:pt x="1364" y="3956"/>
                  </a:lnTo>
                  <a:lnTo>
                    <a:pt x="1357" y="3957"/>
                  </a:lnTo>
                  <a:lnTo>
                    <a:pt x="1349" y="3956"/>
                  </a:lnTo>
                  <a:lnTo>
                    <a:pt x="1343" y="3952"/>
                  </a:lnTo>
                  <a:lnTo>
                    <a:pt x="1339" y="3946"/>
                  </a:lnTo>
                  <a:lnTo>
                    <a:pt x="1336" y="3937"/>
                  </a:lnTo>
                  <a:lnTo>
                    <a:pt x="1336" y="3824"/>
                  </a:lnTo>
                  <a:lnTo>
                    <a:pt x="1339" y="3817"/>
                  </a:lnTo>
                  <a:lnTo>
                    <a:pt x="1343" y="3810"/>
                  </a:lnTo>
                  <a:lnTo>
                    <a:pt x="1349" y="3806"/>
                  </a:lnTo>
                  <a:lnTo>
                    <a:pt x="1357" y="3805"/>
                  </a:lnTo>
                  <a:lnTo>
                    <a:pt x="1364" y="3806"/>
                  </a:lnTo>
                  <a:lnTo>
                    <a:pt x="1371" y="3810"/>
                  </a:lnTo>
                  <a:lnTo>
                    <a:pt x="1375" y="3817"/>
                  </a:lnTo>
                  <a:lnTo>
                    <a:pt x="1377" y="3824"/>
                  </a:lnTo>
                  <a:close/>
                  <a:moveTo>
                    <a:pt x="1640" y="3824"/>
                  </a:moveTo>
                  <a:lnTo>
                    <a:pt x="1640" y="3937"/>
                  </a:lnTo>
                  <a:lnTo>
                    <a:pt x="1637" y="3946"/>
                  </a:lnTo>
                  <a:lnTo>
                    <a:pt x="1634" y="3952"/>
                  </a:lnTo>
                  <a:lnTo>
                    <a:pt x="1627" y="3956"/>
                  </a:lnTo>
                  <a:lnTo>
                    <a:pt x="1620" y="3957"/>
                  </a:lnTo>
                  <a:lnTo>
                    <a:pt x="1612" y="3956"/>
                  </a:lnTo>
                  <a:lnTo>
                    <a:pt x="1605" y="3952"/>
                  </a:lnTo>
                  <a:lnTo>
                    <a:pt x="1602" y="3946"/>
                  </a:lnTo>
                  <a:lnTo>
                    <a:pt x="1600" y="3937"/>
                  </a:lnTo>
                  <a:lnTo>
                    <a:pt x="1600" y="3824"/>
                  </a:lnTo>
                  <a:lnTo>
                    <a:pt x="1602" y="3817"/>
                  </a:lnTo>
                  <a:lnTo>
                    <a:pt x="1605" y="3810"/>
                  </a:lnTo>
                  <a:lnTo>
                    <a:pt x="1612" y="3806"/>
                  </a:lnTo>
                  <a:lnTo>
                    <a:pt x="1620" y="3805"/>
                  </a:lnTo>
                  <a:lnTo>
                    <a:pt x="1627" y="3806"/>
                  </a:lnTo>
                  <a:lnTo>
                    <a:pt x="1634" y="3810"/>
                  </a:lnTo>
                  <a:lnTo>
                    <a:pt x="1637" y="3817"/>
                  </a:lnTo>
                  <a:lnTo>
                    <a:pt x="1640" y="3824"/>
                  </a:lnTo>
                  <a:close/>
                  <a:moveTo>
                    <a:pt x="2829" y="4093"/>
                  </a:moveTo>
                  <a:lnTo>
                    <a:pt x="2829" y="4085"/>
                  </a:lnTo>
                  <a:lnTo>
                    <a:pt x="2829" y="4093"/>
                  </a:lnTo>
                  <a:close/>
                  <a:moveTo>
                    <a:pt x="0" y="915"/>
                  </a:moveTo>
                  <a:lnTo>
                    <a:pt x="492" y="915"/>
                  </a:lnTo>
                  <a:lnTo>
                    <a:pt x="500" y="917"/>
                  </a:lnTo>
                  <a:lnTo>
                    <a:pt x="507" y="922"/>
                  </a:lnTo>
                  <a:lnTo>
                    <a:pt x="512" y="928"/>
                  </a:lnTo>
                  <a:lnTo>
                    <a:pt x="513" y="936"/>
                  </a:lnTo>
                  <a:lnTo>
                    <a:pt x="513" y="1633"/>
                  </a:lnTo>
                  <a:lnTo>
                    <a:pt x="513" y="2329"/>
                  </a:lnTo>
                  <a:lnTo>
                    <a:pt x="512" y="2338"/>
                  </a:lnTo>
                  <a:lnTo>
                    <a:pt x="507" y="2345"/>
                  </a:lnTo>
                  <a:lnTo>
                    <a:pt x="500" y="2349"/>
                  </a:lnTo>
                  <a:lnTo>
                    <a:pt x="492" y="2350"/>
                  </a:lnTo>
                  <a:lnTo>
                    <a:pt x="486" y="2349"/>
                  </a:lnTo>
                  <a:lnTo>
                    <a:pt x="480" y="2345"/>
                  </a:lnTo>
                  <a:lnTo>
                    <a:pt x="474" y="2338"/>
                  </a:lnTo>
                  <a:lnTo>
                    <a:pt x="473" y="2329"/>
                  </a:lnTo>
                  <a:lnTo>
                    <a:pt x="473" y="1642"/>
                  </a:lnTo>
                  <a:lnTo>
                    <a:pt x="473" y="955"/>
                  </a:lnTo>
                  <a:lnTo>
                    <a:pt x="0" y="955"/>
                  </a:lnTo>
                  <a:lnTo>
                    <a:pt x="0" y="915"/>
                  </a:lnTo>
                  <a:close/>
                  <a:moveTo>
                    <a:pt x="190" y="1345"/>
                  </a:moveTo>
                  <a:lnTo>
                    <a:pt x="190" y="1450"/>
                  </a:lnTo>
                  <a:lnTo>
                    <a:pt x="188" y="1457"/>
                  </a:lnTo>
                  <a:lnTo>
                    <a:pt x="183" y="1464"/>
                  </a:lnTo>
                  <a:lnTo>
                    <a:pt x="177" y="1468"/>
                  </a:lnTo>
                  <a:lnTo>
                    <a:pt x="171" y="1469"/>
                  </a:lnTo>
                  <a:lnTo>
                    <a:pt x="163" y="1468"/>
                  </a:lnTo>
                  <a:lnTo>
                    <a:pt x="156" y="1464"/>
                  </a:lnTo>
                  <a:lnTo>
                    <a:pt x="151" y="1457"/>
                  </a:lnTo>
                  <a:lnTo>
                    <a:pt x="150" y="1450"/>
                  </a:lnTo>
                  <a:lnTo>
                    <a:pt x="150" y="1345"/>
                  </a:lnTo>
                  <a:lnTo>
                    <a:pt x="151" y="1337"/>
                  </a:lnTo>
                  <a:lnTo>
                    <a:pt x="156" y="1331"/>
                  </a:lnTo>
                  <a:lnTo>
                    <a:pt x="163" y="1327"/>
                  </a:lnTo>
                  <a:lnTo>
                    <a:pt x="171" y="1326"/>
                  </a:lnTo>
                  <a:lnTo>
                    <a:pt x="177" y="1327"/>
                  </a:lnTo>
                  <a:lnTo>
                    <a:pt x="183" y="1331"/>
                  </a:lnTo>
                  <a:lnTo>
                    <a:pt x="188" y="1337"/>
                  </a:lnTo>
                  <a:lnTo>
                    <a:pt x="190" y="1345"/>
                  </a:lnTo>
                  <a:close/>
                  <a:moveTo>
                    <a:pt x="190" y="1576"/>
                  </a:moveTo>
                  <a:lnTo>
                    <a:pt x="190" y="1680"/>
                  </a:lnTo>
                  <a:lnTo>
                    <a:pt x="188" y="1689"/>
                  </a:lnTo>
                  <a:lnTo>
                    <a:pt x="183" y="1695"/>
                  </a:lnTo>
                  <a:lnTo>
                    <a:pt x="177" y="1699"/>
                  </a:lnTo>
                  <a:lnTo>
                    <a:pt x="171" y="1700"/>
                  </a:lnTo>
                  <a:lnTo>
                    <a:pt x="163" y="1699"/>
                  </a:lnTo>
                  <a:lnTo>
                    <a:pt x="156" y="1695"/>
                  </a:lnTo>
                  <a:lnTo>
                    <a:pt x="151" y="1689"/>
                  </a:lnTo>
                  <a:lnTo>
                    <a:pt x="150" y="1680"/>
                  </a:lnTo>
                  <a:lnTo>
                    <a:pt x="150" y="1576"/>
                  </a:lnTo>
                  <a:lnTo>
                    <a:pt x="151" y="1567"/>
                  </a:lnTo>
                  <a:lnTo>
                    <a:pt x="156" y="1561"/>
                  </a:lnTo>
                  <a:lnTo>
                    <a:pt x="163" y="1558"/>
                  </a:lnTo>
                  <a:lnTo>
                    <a:pt x="171" y="1557"/>
                  </a:lnTo>
                  <a:lnTo>
                    <a:pt x="177" y="1558"/>
                  </a:lnTo>
                  <a:lnTo>
                    <a:pt x="183" y="1561"/>
                  </a:lnTo>
                  <a:lnTo>
                    <a:pt x="188" y="1567"/>
                  </a:lnTo>
                  <a:lnTo>
                    <a:pt x="190" y="1576"/>
                  </a:lnTo>
                  <a:close/>
                  <a:moveTo>
                    <a:pt x="190" y="1808"/>
                  </a:moveTo>
                  <a:lnTo>
                    <a:pt x="190" y="1911"/>
                  </a:lnTo>
                  <a:lnTo>
                    <a:pt x="188" y="1920"/>
                  </a:lnTo>
                  <a:lnTo>
                    <a:pt x="183" y="1927"/>
                  </a:lnTo>
                  <a:lnTo>
                    <a:pt x="177" y="1931"/>
                  </a:lnTo>
                  <a:lnTo>
                    <a:pt x="171" y="1932"/>
                  </a:lnTo>
                  <a:lnTo>
                    <a:pt x="163" y="1931"/>
                  </a:lnTo>
                  <a:lnTo>
                    <a:pt x="156" y="1927"/>
                  </a:lnTo>
                  <a:lnTo>
                    <a:pt x="151" y="1920"/>
                  </a:lnTo>
                  <a:lnTo>
                    <a:pt x="150" y="1911"/>
                  </a:lnTo>
                  <a:lnTo>
                    <a:pt x="150" y="1808"/>
                  </a:lnTo>
                  <a:lnTo>
                    <a:pt x="151" y="1799"/>
                  </a:lnTo>
                  <a:lnTo>
                    <a:pt x="156" y="1792"/>
                  </a:lnTo>
                  <a:lnTo>
                    <a:pt x="163" y="1789"/>
                  </a:lnTo>
                  <a:lnTo>
                    <a:pt x="171" y="1787"/>
                  </a:lnTo>
                  <a:lnTo>
                    <a:pt x="177" y="1789"/>
                  </a:lnTo>
                  <a:lnTo>
                    <a:pt x="183" y="1792"/>
                  </a:lnTo>
                  <a:lnTo>
                    <a:pt x="188" y="1799"/>
                  </a:lnTo>
                  <a:lnTo>
                    <a:pt x="190" y="1808"/>
                  </a:lnTo>
                  <a:close/>
                  <a:moveTo>
                    <a:pt x="190" y="2039"/>
                  </a:moveTo>
                  <a:lnTo>
                    <a:pt x="190" y="2143"/>
                  </a:lnTo>
                  <a:lnTo>
                    <a:pt x="188" y="2150"/>
                  </a:lnTo>
                  <a:lnTo>
                    <a:pt x="183" y="2157"/>
                  </a:lnTo>
                  <a:lnTo>
                    <a:pt x="177" y="2161"/>
                  </a:lnTo>
                  <a:lnTo>
                    <a:pt x="171" y="2162"/>
                  </a:lnTo>
                  <a:lnTo>
                    <a:pt x="163" y="2161"/>
                  </a:lnTo>
                  <a:lnTo>
                    <a:pt x="156" y="2157"/>
                  </a:lnTo>
                  <a:lnTo>
                    <a:pt x="151" y="2150"/>
                  </a:lnTo>
                  <a:lnTo>
                    <a:pt x="150" y="2143"/>
                  </a:lnTo>
                  <a:lnTo>
                    <a:pt x="150" y="2039"/>
                  </a:lnTo>
                  <a:lnTo>
                    <a:pt x="151" y="2030"/>
                  </a:lnTo>
                  <a:lnTo>
                    <a:pt x="156" y="2024"/>
                  </a:lnTo>
                  <a:lnTo>
                    <a:pt x="163" y="2020"/>
                  </a:lnTo>
                  <a:lnTo>
                    <a:pt x="171" y="2019"/>
                  </a:lnTo>
                  <a:lnTo>
                    <a:pt x="177" y="2020"/>
                  </a:lnTo>
                  <a:lnTo>
                    <a:pt x="183" y="2024"/>
                  </a:lnTo>
                  <a:lnTo>
                    <a:pt x="188" y="2030"/>
                  </a:lnTo>
                  <a:lnTo>
                    <a:pt x="190" y="2039"/>
                  </a:lnTo>
                  <a:close/>
                  <a:moveTo>
                    <a:pt x="190" y="2269"/>
                  </a:moveTo>
                  <a:lnTo>
                    <a:pt x="190" y="2373"/>
                  </a:lnTo>
                  <a:lnTo>
                    <a:pt x="188" y="2382"/>
                  </a:lnTo>
                  <a:lnTo>
                    <a:pt x="183" y="2388"/>
                  </a:lnTo>
                  <a:lnTo>
                    <a:pt x="177" y="2392"/>
                  </a:lnTo>
                  <a:lnTo>
                    <a:pt x="171" y="2393"/>
                  </a:lnTo>
                  <a:lnTo>
                    <a:pt x="163" y="2392"/>
                  </a:lnTo>
                  <a:lnTo>
                    <a:pt x="156" y="2388"/>
                  </a:lnTo>
                  <a:lnTo>
                    <a:pt x="151" y="2382"/>
                  </a:lnTo>
                  <a:lnTo>
                    <a:pt x="150" y="2373"/>
                  </a:lnTo>
                  <a:lnTo>
                    <a:pt x="150" y="2269"/>
                  </a:lnTo>
                  <a:lnTo>
                    <a:pt x="151" y="2260"/>
                  </a:lnTo>
                  <a:lnTo>
                    <a:pt x="156" y="2255"/>
                  </a:lnTo>
                  <a:lnTo>
                    <a:pt x="163" y="2251"/>
                  </a:lnTo>
                  <a:lnTo>
                    <a:pt x="171" y="2250"/>
                  </a:lnTo>
                  <a:lnTo>
                    <a:pt x="177" y="2251"/>
                  </a:lnTo>
                  <a:lnTo>
                    <a:pt x="183" y="2255"/>
                  </a:lnTo>
                  <a:lnTo>
                    <a:pt x="188" y="2260"/>
                  </a:lnTo>
                  <a:lnTo>
                    <a:pt x="190" y="2269"/>
                  </a:lnTo>
                  <a:close/>
                  <a:moveTo>
                    <a:pt x="190" y="2501"/>
                  </a:moveTo>
                  <a:lnTo>
                    <a:pt x="190" y="2604"/>
                  </a:lnTo>
                  <a:lnTo>
                    <a:pt x="188" y="2613"/>
                  </a:lnTo>
                  <a:lnTo>
                    <a:pt x="183" y="2620"/>
                  </a:lnTo>
                  <a:lnTo>
                    <a:pt x="177" y="2624"/>
                  </a:lnTo>
                  <a:lnTo>
                    <a:pt x="171" y="2625"/>
                  </a:lnTo>
                  <a:lnTo>
                    <a:pt x="163" y="2624"/>
                  </a:lnTo>
                  <a:lnTo>
                    <a:pt x="156" y="2620"/>
                  </a:lnTo>
                  <a:lnTo>
                    <a:pt x="151" y="2613"/>
                  </a:lnTo>
                  <a:lnTo>
                    <a:pt x="150" y="2604"/>
                  </a:lnTo>
                  <a:lnTo>
                    <a:pt x="150" y="2501"/>
                  </a:lnTo>
                  <a:lnTo>
                    <a:pt x="151" y="2492"/>
                  </a:lnTo>
                  <a:lnTo>
                    <a:pt x="156" y="2485"/>
                  </a:lnTo>
                  <a:lnTo>
                    <a:pt x="163" y="2482"/>
                  </a:lnTo>
                  <a:lnTo>
                    <a:pt x="171" y="2480"/>
                  </a:lnTo>
                  <a:lnTo>
                    <a:pt x="177" y="2482"/>
                  </a:lnTo>
                  <a:lnTo>
                    <a:pt x="183" y="2485"/>
                  </a:lnTo>
                  <a:lnTo>
                    <a:pt x="188" y="2492"/>
                  </a:lnTo>
                  <a:lnTo>
                    <a:pt x="190" y="2501"/>
                  </a:lnTo>
                  <a:close/>
                  <a:moveTo>
                    <a:pt x="190" y="2732"/>
                  </a:moveTo>
                  <a:lnTo>
                    <a:pt x="190" y="2836"/>
                  </a:lnTo>
                  <a:lnTo>
                    <a:pt x="188" y="2845"/>
                  </a:lnTo>
                  <a:lnTo>
                    <a:pt x="183" y="2850"/>
                  </a:lnTo>
                  <a:lnTo>
                    <a:pt x="177" y="2854"/>
                  </a:lnTo>
                  <a:lnTo>
                    <a:pt x="171" y="2855"/>
                  </a:lnTo>
                  <a:lnTo>
                    <a:pt x="163" y="2854"/>
                  </a:lnTo>
                  <a:lnTo>
                    <a:pt x="156" y="2850"/>
                  </a:lnTo>
                  <a:lnTo>
                    <a:pt x="151" y="2845"/>
                  </a:lnTo>
                  <a:lnTo>
                    <a:pt x="150" y="2836"/>
                  </a:lnTo>
                  <a:lnTo>
                    <a:pt x="150" y="2732"/>
                  </a:lnTo>
                  <a:lnTo>
                    <a:pt x="151" y="2723"/>
                  </a:lnTo>
                  <a:lnTo>
                    <a:pt x="156" y="2717"/>
                  </a:lnTo>
                  <a:lnTo>
                    <a:pt x="163" y="2713"/>
                  </a:lnTo>
                  <a:lnTo>
                    <a:pt x="171" y="2712"/>
                  </a:lnTo>
                  <a:lnTo>
                    <a:pt x="177" y="2713"/>
                  </a:lnTo>
                  <a:lnTo>
                    <a:pt x="183" y="2717"/>
                  </a:lnTo>
                  <a:lnTo>
                    <a:pt x="188" y="2723"/>
                  </a:lnTo>
                  <a:lnTo>
                    <a:pt x="190" y="2732"/>
                  </a:lnTo>
                  <a:close/>
                  <a:moveTo>
                    <a:pt x="190" y="2962"/>
                  </a:moveTo>
                  <a:lnTo>
                    <a:pt x="190" y="3066"/>
                  </a:lnTo>
                  <a:lnTo>
                    <a:pt x="188" y="3075"/>
                  </a:lnTo>
                  <a:lnTo>
                    <a:pt x="183" y="3081"/>
                  </a:lnTo>
                  <a:lnTo>
                    <a:pt x="177" y="3085"/>
                  </a:lnTo>
                  <a:lnTo>
                    <a:pt x="171" y="3086"/>
                  </a:lnTo>
                  <a:lnTo>
                    <a:pt x="163" y="3085"/>
                  </a:lnTo>
                  <a:lnTo>
                    <a:pt x="156" y="3081"/>
                  </a:lnTo>
                  <a:lnTo>
                    <a:pt x="151" y="3075"/>
                  </a:lnTo>
                  <a:lnTo>
                    <a:pt x="150" y="3066"/>
                  </a:lnTo>
                  <a:lnTo>
                    <a:pt x="150" y="2962"/>
                  </a:lnTo>
                  <a:lnTo>
                    <a:pt x="151" y="2953"/>
                  </a:lnTo>
                  <a:lnTo>
                    <a:pt x="156" y="2948"/>
                  </a:lnTo>
                  <a:lnTo>
                    <a:pt x="163" y="2945"/>
                  </a:lnTo>
                  <a:lnTo>
                    <a:pt x="171" y="2943"/>
                  </a:lnTo>
                  <a:lnTo>
                    <a:pt x="177" y="2945"/>
                  </a:lnTo>
                  <a:lnTo>
                    <a:pt x="183" y="2948"/>
                  </a:lnTo>
                  <a:lnTo>
                    <a:pt x="188" y="2953"/>
                  </a:lnTo>
                  <a:lnTo>
                    <a:pt x="190" y="2962"/>
                  </a:lnTo>
                  <a:close/>
                  <a:moveTo>
                    <a:pt x="2375" y="1897"/>
                  </a:moveTo>
                  <a:lnTo>
                    <a:pt x="2375" y="2001"/>
                  </a:lnTo>
                  <a:lnTo>
                    <a:pt x="2372" y="2010"/>
                  </a:lnTo>
                  <a:lnTo>
                    <a:pt x="2368" y="2016"/>
                  </a:lnTo>
                  <a:lnTo>
                    <a:pt x="2362" y="2020"/>
                  </a:lnTo>
                  <a:lnTo>
                    <a:pt x="2354" y="2021"/>
                  </a:lnTo>
                  <a:lnTo>
                    <a:pt x="2347" y="2020"/>
                  </a:lnTo>
                  <a:lnTo>
                    <a:pt x="2340" y="2016"/>
                  </a:lnTo>
                  <a:lnTo>
                    <a:pt x="2336" y="2010"/>
                  </a:lnTo>
                  <a:lnTo>
                    <a:pt x="2334" y="2001"/>
                  </a:lnTo>
                  <a:lnTo>
                    <a:pt x="2334" y="1897"/>
                  </a:lnTo>
                  <a:lnTo>
                    <a:pt x="2336" y="1888"/>
                  </a:lnTo>
                  <a:lnTo>
                    <a:pt x="2340" y="1882"/>
                  </a:lnTo>
                  <a:lnTo>
                    <a:pt x="2347" y="1878"/>
                  </a:lnTo>
                  <a:lnTo>
                    <a:pt x="2354" y="1877"/>
                  </a:lnTo>
                  <a:lnTo>
                    <a:pt x="2362" y="1878"/>
                  </a:lnTo>
                  <a:lnTo>
                    <a:pt x="2368" y="1882"/>
                  </a:lnTo>
                  <a:lnTo>
                    <a:pt x="2372" y="1888"/>
                  </a:lnTo>
                  <a:lnTo>
                    <a:pt x="2375" y="1897"/>
                  </a:lnTo>
                  <a:close/>
                  <a:moveTo>
                    <a:pt x="2589" y="1897"/>
                  </a:moveTo>
                  <a:lnTo>
                    <a:pt x="2589" y="2001"/>
                  </a:lnTo>
                  <a:lnTo>
                    <a:pt x="2588" y="2010"/>
                  </a:lnTo>
                  <a:lnTo>
                    <a:pt x="2583" y="2016"/>
                  </a:lnTo>
                  <a:lnTo>
                    <a:pt x="2576" y="2020"/>
                  </a:lnTo>
                  <a:lnTo>
                    <a:pt x="2570" y="2021"/>
                  </a:lnTo>
                  <a:lnTo>
                    <a:pt x="2562" y="2020"/>
                  </a:lnTo>
                  <a:lnTo>
                    <a:pt x="2556" y="2016"/>
                  </a:lnTo>
                  <a:lnTo>
                    <a:pt x="2550" y="2010"/>
                  </a:lnTo>
                  <a:lnTo>
                    <a:pt x="2549" y="2001"/>
                  </a:lnTo>
                  <a:lnTo>
                    <a:pt x="2549" y="1897"/>
                  </a:lnTo>
                  <a:lnTo>
                    <a:pt x="2550" y="1888"/>
                  </a:lnTo>
                  <a:lnTo>
                    <a:pt x="2556" y="1882"/>
                  </a:lnTo>
                  <a:lnTo>
                    <a:pt x="2562" y="1878"/>
                  </a:lnTo>
                  <a:lnTo>
                    <a:pt x="2570" y="1877"/>
                  </a:lnTo>
                  <a:lnTo>
                    <a:pt x="2576" y="1878"/>
                  </a:lnTo>
                  <a:lnTo>
                    <a:pt x="2583" y="1882"/>
                  </a:lnTo>
                  <a:lnTo>
                    <a:pt x="2588" y="1888"/>
                  </a:lnTo>
                  <a:lnTo>
                    <a:pt x="2589" y="1897"/>
                  </a:lnTo>
                  <a:close/>
                  <a:moveTo>
                    <a:pt x="2804" y="1897"/>
                  </a:moveTo>
                  <a:lnTo>
                    <a:pt x="2804" y="2001"/>
                  </a:lnTo>
                  <a:lnTo>
                    <a:pt x="2803" y="2010"/>
                  </a:lnTo>
                  <a:lnTo>
                    <a:pt x="2798" y="2016"/>
                  </a:lnTo>
                  <a:lnTo>
                    <a:pt x="2792" y="2020"/>
                  </a:lnTo>
                  <a:lnTo>
                    <a:pt x="2784" y="2021"/>
                  </a:lnTo>
                  <a:lnTo>
                    <a:pt x="2777" y="2020"/>
                  </a:lnTo>
                  <a:lnTo>
                    <a:pt x="2771" y="2016"/>
                  </a:lnTo>
                  <a:lnTo>
                    <a:pt x="2766" y="2010"/>
                  </a:lnTo>
                  <a:lnTo>
                    <a:pt x="2765" y="2001"/>
                  </a:lnTo>
                  <a:lnTo>
                    <a:pt x="2765" y="1897"/>
                  </a:lnTo>
                  <a:lnTo>
                    <a:pt x="2766" y="1888"/>
                  </a:lnTo>
                  <a:lnTo>
                    <a:pt x="2771" y="1882"/>
                  </a:lnTo>
                  <a:lnTo>
                    <a:pt x="2777" y="1878"/>
                  </a:lnTo>
                  <a:lnTo>
                    <a:pt x="2784" y="1877"/>
                  </a:lnTo>
                  <a:lnTo>
                    <a:pt x="2792" y="1878"/>
                  </a:lnTo>
                  <a:lnTo>
                    <a:pt x="2798" y="1882"/>
                  </a:lnTo>
                  <a:lnTo>
                    <a:pt x="2803" y="1888"/>
                  </a:lnTo>
                  <a:lnTo>
                    <a:pt x="2804" y="1897"/>
                  </a:lnTo>
                  <a:close/>
                  <a:moveTo>
                    <a:pt x="2375" y="2245"/>
                  </a:moveTo>
                  <a:lnTo>
                    <a:pt x="2375" y="2349"/>
                  </a:lnTo>
                  <a:lnTo>
                    <a:pt x="2372" y="2358"/>
                  </a:lnTo>
                  <a:lnTo>
                    <a:pt x="2368" y="2364"/>
                  </a:lnTo>
                  <a:lnTo>
                    <a:pt x="2362" y="2368"/>
                  </a:lnTo>
                  <a:lnTo>
                    <a:pt x="2354" y="2369"/>
                  </a:lnTo>
                  <a:lnTo>
                    <a:pt x="2347" y="2368"/>
                  </a:lnTo>
                  <a:lnTo>
                    <a:pt x="2340" y="2364"/>
                  </a:lnTo>
                  <a:lnTo>
                    <a:pt x="2336" y="2358"/>
                  </a:lnTo>
                  <a:lnTo>
                    <a:pt x="2334" y="2349"/>
                  </a:lnTo>
                  <a:lnTo>
                    <a:pt x="2334" y="2245"/>
                  </a:lnTo>
                  <a:lnTo>
                    <a:pt x="2336" y="2236"/>
                  </a:lnTo>
                  <a:lnTo>
                    <a:pt x="2340" y="2230"/>
                  </a:lnTo>
                  <a:lnTo>
                    <a:pt x="2347" y="2226"/>
                  </a:lnTo>
                  <a:lnTo>
                    <a:pt x="2354" y="2225"/>
                  </a:lnTo>
                  <a:lnTo>
                    <a:pt x="2362" y="2226"/>
                  </a:lnTo>
                  <a:lnTo>
                    <a:pt x="2368" y="2230"/>
                  </a:lnTo>
                  <a:lnTo>
                    <a:pt x="2372" y="2236"/>
                  </a:lnTo>
                  <a:lnTo>
                    <a:pt x="2375" y="2245"/>
                  </a:lnTo>
                  <a:close/>
                  <a:moveTo>
                    <a:pt x="2589" y="2245"/>
                  </a:moveTo>
                  <a:lnTo>
                    <a:pt x="2589" y="2349"/>
                  </a:lnTo>
                  <a:lnTo>
                    <a:pt x="2588" y="2358"/>
                  </a:lnTo>
                  <a:lnTo>
                    <a:pt x="2583" y="2364"/>
                  </a:lnTo>
                  <a:lnTo>
                    <a:pt x="2576" y="2368"/>
                  </a:lnTo>
                  <a:lnTo>
                    <a:pt x="2570" y="2369"/>
                  </a:lnTo>
                  <a:lnTo>
                    <a:pt x="2562" y="2368"/>
                  </a:lnTo>
                  <a:lnTo>
                    <a:pt x="2556" y="2364"/>
                  </a:lnTo>
                  <a:lnTo>
                    <a:pt x="2550" y="2358"/>
                  </a:lnTo>
                  <a:lnTo>
                    <a:pt x="2549" y="2349"/>
                  </a:lnTo>
                  <a:lnTo>
                    <a:pt x="2549" y="2245"/>
                  </a:lnTo>
                  <a:lnTo>
                    <a:pt x="2550" y="2236"/>
                  </a:lnTo>
                  <a:lnTo>
                    <a:pt x="2556" y="2230"/>
                  </a:lnTo>
                  <a:lnTo>
                    <a:pt x="2562" y="2226"/>
                  </a:lnTo>
                  <a:lnTo>
                    <a:pt x="2570" y="2225"/>
                  </a:lnTo>
                  <a:lnTo>
                    <a:pt x="2576" y="2226"/>
                  </a:lnTo>
                  <a:lnTo>
                    <a:pt x="2583" y="2230"/>
                  </a:lnTo>
                  <a:lnTo>
                    <a:pt x="2588" y="2236"/>
                  </a:lnTo>
                  <a:lnTo>
                    <a:pt x="2589" y="2245"/>
                  </a:lnTo>
                  <a:close/>
                  <a:moveTo>
                    <a:pt x="2804" y="2245"/>
                  </a:moveTo>
                  <a:lnTo>
                    <a:pt x="2804" y="2349"/>
                  </a:lnTo>
                  <a:lnTo>
                    <a:pt x="2803" y="2358"/>
                  </a:lnTo>
                  <a:lnTo>
                    <a:pt x="2798" y="2364"/>
                  </a:lnTo>
                  <a:lnTo>
                    <a:pt x="2792" y="2368"/>
                  </a:lnTo>
                  <a:lnTo>
                    <a:pt x="2784" y="2369"/>
                  </a:lnTo>
                  <a:lnTo>
                    <a:pt x="2777" y="2368"/>
                  </a:lnTo>
                  <a:lnTo>
                    <a:pt x="2771" y="2364"/>
                  </a:lnTo>
                  <a:lnTo>
                    <a:pt x="2766" y="2358"/>
                  </a:lnTo>
                  <a:lnTo>
                    <a:pt x="2765" y="2349"/>
                  </a:lnTo>
                  <a:lnTo>
                    <a:pt x="2765" y="2245"/>
                  </a:lnTo>
                  <a:lnTo>
                    <a:pt x="2766" y="2236"/>
                  </a:lnTo>
                  <a:lnTo>
                    <a:pt x="2771" y="2230"/>
                  </a:lnTo>
                  <a:lnTo>
                    <a:pt x="2777" y="2226"/>
                  </a:lnTo>
                  <a:lnTo>
                    <a:pt x="2784" y="2225"/>
                  </a:lnTo>
                  <a:lnTo>
                    <a:pt x="2792" y="2226"/>
                  </a:lnTo>
                  <a:lnTo>
                    <a:pt x="2798" y="2230"/>
                  </a:lnTo>
                  <a:lnTo>
                    <a:pt x="2803" y="2236"/>
                  </a:lnTo>
                  <a:lnTo>
                    <a:pt x="2804" y="2245"/>
                  </a:lnTo>
                  <a:close/>
                  <a:moveTo>
                    <a:pt x="2375" y="2593"/>
                  </a:moveTo>
                  <a:lnTo>
                    <a:pt x="2375" y="2696"/>
                  </a:lnTo>
                  <a:lnTo>
                    <a:pt x="2372" y="2705"/>
                  </a:lnTo>
                  <a:lnTo>
                    <a:pt x="2368" y="2712"/>
                  </a:lnTo>
                  <a:lnTo>
                    <a:pt x="2362" y="2716"/>
                  </a:lnTo>
                  <a:lnTo>
                    <a:pt x="2354" y="2717"/>
                  </a:lnTo>
                  <a:lnTo>
                    <a:pt x="2347" y="2716"/>
                  </a:lnTo>
                  <a:lnTo>
                    <a:pt x="2340" y="2712"/>
                  </a:lnTo>
                  <a:lnTo>
                    <a:pt x="2336" y="2705"/>
                  </a:lnTo>
                  <a:lnTo>
                    <a:pt x="2334" y="2696"/>
                  </a:lnTo>
                  <a:lnTo>
                    <a:pt x="2334" y="2593"/>
                  </a:lnTo>
                  <a:lnTo>
                    <a:pt x="2336" y="2584"/>
                  </a:lnTo>
                  <a:lnTo>
                    <a:pt x="2340" y="2578"/>
                  </a:lnTo>
                  <a:lnTo>
                    <a:pt x="2347" y="2574"/>
                  </a:lnTo>
                  <a:lnTo>
                    <a:pt x="2354" y="2572"/>
                  </a:lnTo>
                  <a:lnTo>
                    <a:pt x="2362" y="2574"/>
                  </a:lnTo>
                  <a:lnTo>
                    <a:pt x="2368" y="2578"/>
                  </a:lnTo>
                  <a:lnTo>
                    <a:pt x="2372" y="2584"/>
                  </a:lnTo>
                  <a:lnTo>
                    <a:pt x="2375" y="2593"/>
                  </a:lnTo>
                  <a:close/>
                  <a:moveTo>
                    <a:pt x="2589" y="2593"/>
                  </a:moveTo>
                  <a:lnTo>
                    <a:pt x="2589" y="2696"/>
                  </a:lnTo>
                  <a:lnTo>
                    <a:pt x="2588" y="2705"/>
                  </a:lnTo>
                  <a:lnTo>
                    <a:pt x="2583" y="2712"/>
                  </a:lnTo>
                  <a:lnTo>
                    <a:pt x="2576" y="2716"/>
                  </a:lnTo>
                  <a:lnTo>
                    <a:pt x="2570" y="2717"/>
                  </a:lnTo>
                  <a:lnTo>
                    <a:pt x="2562" y="2716"/>
                  </a:lnTo>
                  <a:lnTo>
                    <a:pt x="2556" y="2712"/>
                  </a:lnTo>
                  <a:lnTo>
                    <a:pt x="2550" y="2705"/>
                  </a:lnTo>
                  <a:lnTo>
                    <a:pt x="2549" y="2696"/>
                  </a:lnTo>
                  <a:lnTo>
                    <a:pt x="2549" y="2593"/>
                  </a:lnTo>
                  <a:lnTo>
                    <a:pt x="2550" y="2584"/>
                  </a:lnTo>
                  <a:lnTo>
                    <a:pt x="2556" y="2578"/>
                  </a:lnTo>
                  <a:lnTo>
                    <a:pt x="2562" y="2574"/>
                  </a:lnTo>
                  <a:lnTo>
                    <a:pt x="2570" y="2572"/>
                  </a:lnTo>
                  <a:lnTo>
                    <a:pt x="2576" y="2574"/>
                  </a:lnTo>
                  <a:lnTo>
                    <a:pt x="2583" y="2578"/>
                  </a:lnTo>
                  <a:lnTo>
                    <a:pt x="2588" y="2584"/>
                  </a:lnTo>
                  <a:lnTo>
                    <a:pt x="2589" y="2593"/>
                  </a:lnTo>
                  <a:close/>
                  <a:moveTo>
                    <a:pt x="2804" y="2593"/>
                  </a:moveTo>
                  <a:lnTo>
                    <a:pt x="2804" y="2696"/>
                  </a:lnTo>
                  <a:lnTo>
                    <a:pt x="2803" y="2705"/>
                  </a:lnTo>
                  <a:lnTo>
                    <a:pt x="2798" y="2712"/>
                  </a:lnTo>
                  <a:lnTo>
                    <a:pt x="2792" y="2716"/>
                  </a:lnTo>
                  <a:lnTo>
                    <a:pt x="2784" y="2717"/>
                  </a:lnTo>
                  <a:lnTo>
                    <a:pt x="2777" y="2716"/>
                  </a:lnTo>
                  <a:lnTo>
                    <a:pt x="2771" y="2712"/>
                  </a:lnTo>
                  <a:lnTo>
                    <a:pt x="2766" y="2705"/>
                  </a:lnTo>
                  <a:lnTo>
                    <a:pt x="2765" y="2696"/>
                  </a:lnTo>
                  <a:lnTo>
                    <a:pt x="2765" y="2593"/>
                  </a:lnTo>
                  <a:lnTo>
                    <a:pt x="2766" y="2584"/>
                  </a:lnTo>
                  <a:lnTo>
                    <a:pt x="2771" y="2578"/>
                  </a:lnTo>
                  <a:lnTo>
                    <a:pt x="2777" y="2574"/>
                  </a:lnTo>
                  <a:lnTo>
                    <a:pt x="2784" y="2572"/>
                  </a:lnTo>
                  <a:lnTo>
                    <a:pt x="2792" y="2574"/>
                  </a:lnTo>
                  <a:lnTo>
                    <a:pt x="2798" y="2578"/>
                  </a:lnTo>
                  <a:lnTo>
                    <a:pt x="2803" y="2584"/>
                  </a:lnTo>
                  <a:lnTo>
                    <a:pt x="2804" y="2593"/>
                  </a:lnTo>
                  <a:close/>
                  <a:moveTo>
                    <a:pt x="2375" y="2941"/>
                  </a:moveTo>
                  <a:lnTo>
                    <a:pt x="2375" y="3044"/>
                  </a:lnTo>
                  <a:lnTo>
                    <a:pt x="2372" y="3053"/>
                  </a:lnTo>
                  <a:lnTo>
                    <a:pt x="2368" y="3060"/>
                  </a:lnTo>
                  <a:lnTo>
                    <a:pt x="2362" y="3063"/>
                  </a:lnTo>
                  <a:lnTo>
                    <a:pt x="2354" y="3065"/>
                  </a:lnTo>
                  <a:lnTo>
                    <a:pt x="2347" y="3063"/>
                  </a:lnTo>
                  <a:lnTo>
                    <a:pt x="2340" y="3060"/>
                  </a:lnTo>
                  <a:lnTo>
                    <a:pt x="2336" y="3053"/>
                  </a:lnTo>
                  <a:lnTo>
                    <a:pt x="2334" y="3044"/>
                  </a:lnTo>
                  <a:lnTo>
                    <a:pt x="2334" y="2941"/>
                  </a:lnTo>
                  <a:lnTo>
                    <a:pt x="2336" y="2932"/>
                  </a:lnTo>
                  <a:lnTo>
                    <a:pt x="2340" y="2925"/>
                  </a:lnTo>
                  <a:lnTo>
                    <a:pt x="2347" y="2922"/>
                  </a:lnTo>
                  <a:lnTo>
                    <a:pt x="2354" y="2920"/>
                  </a:lnTo>
                  <a:lnTo>
                    <a:pt x="2362" y="2922"/>
                  </a:lnTo>
                  <a:lnTo>
                    <a:pt x="2368" y="2925"/>
                  </a:lnTo>
                  <a:lnTo>
                    <a:pt x="2372" y="2932"/>
                  </a:lnTo>
                  <a:lnTo>
                    <a:pt x="2375" y="2941"/>
                  </a:lnTo>
                  <a:close/>
                  <a:moveTo>
                    <a:pt x="2589" y="2941"/>
                  </a:moveTo>
                  <a:lnTo>
                    <a:pt x="2589" y="3044"/>
                  </a:lnTo>
                  <a:lnTo>
                    <a:pt x="2588" y="3053"/>
                  </a:lnTo>
                  <a:lnTo>
                    <a:pt x="2583" y="3060"/>
                  </a:lnTo>
                  <a:lnTo>
                    <a:pt x="2576" y="3063"/>
                  </a:lnTo>
                  <a:lnTo>
                    <a:pt x="2570" y="3065"/>
                  </a:lnTo>
                  <a:lnTo>
                    <a:pt x="2562" y="3063"/>
                  </a:lnTo>
                  <a:lnTo>
                    <a:pt x="2556" y="3060"/>
                  </a:lnTo>
                  <a:lnTo>
                    <a:pt x="2550" y="3053"/>
                  </a:lnTo>
                  <a:lnTo>
                    <a:pt x="2549" y="3044"/>
                  </a:lnTo>
                  <a:lnTo>
                    <a:pt x="2549" y="2941"/>
                  </a:lnTo>
                  <a:lnTo>
                    <a:pt x="2550" y="2932"/>
                  </a:lnTo>
                  <a:lnTo>
                    <a:pt x="2556" y="2925"/>
                  </a:lnTo>
                  <a:lnTo>
                    <a:pt x="2562" y="2922"/>
                  </a:lnTo>
                  <a:lnTo>
                    <a:pt x="2570" y="2920"/>
                  </a:lnTo>
                  <a:lnTo>
                    <a:pt x="2576" y="2922"/>
                  </a:lnTo>
                  <a:lnTo>
                    <a:pt x="2583" y="2925"/>
                  </a:lnTo>
                  <a:lnTo>
                    <a:pt x="2588" y="2932"/>
                  </a:lnTo>
                  <a:lnTo>
                    <a:pt x="2589" y="2941"/>
                  </a:lnTo>
                  <a:close/>
                  <a:moveTo>
                    <a:pt x="2804" y="2941"/>
                  </a:moveTo>
                  <a:lnTo>
                    <a:pt x="2804" y="3044"/>
                  </a:lnTo>
                  <a:lnTo>
                    <a:pt x="2803" y="3053"/>
                  </a:lnTo>
                  <a:lnTo>
                    <a:pt x="2798" y="3060"/>
                  </a:lnTo>
                  <a:lnTo>
                    <a:pt x="2792" y="3063"/>
                  </a:lnTo>
                  <a:lnTo>
                    <a:pt x="2784" y="3065"/>
                  </a:lnTo>
                  <a:lnTo>
                    <a:pt x="2777" y="3063"/>
                  </a:lnTo>
                  <a:lnTo>
                    <a:pt x="2771" y="3060"/>
                  </a:lnTo>
                  <a:lnTo>
                    <a:pt x="2766" y="3053"/>
                  </a:lnTo>
                  <a:lnTo>
                    <a:pt x="2765" y="3044"/>
                  </a:lnTo>
                  <a:lnTo>
                    <a:pt x="2765" y="2941"/>
                  </a:lnTo>
                  <a:lnTo>
                    <a:pt x="2766" y="2932"/>
                  </a:lnTo>
                  <a:lnTo>
                    <a:pt x="2771" y="2925"/>
                  </a:lnTo>
                  <a:lnTo>
                    <a:pt x="2777" y="2922"/>
                  </a:lnTo>
                  <a:lnTo>
                    <a:pt x="2784" y="2920"/>
                  </a:lnTo>
                  <a:lnTo>
                    <a:pt x="2792" y="2922"/>
                  </a:lnTo>
                  <a:lnTo>
                    <a:pt x="2798" y="2925"/>
                  </a:lnTo>
                  <a:lnTo>
                    <a:pt x="2803" y="2932"/>
                  </a:lnTo>
                  <a:lnTo>
                    <a:pt x="2804" y="2941"/>
                  </a:lnTo>
                  <a:close/>
                  <a:moveTo>
                    <a:pt x="6888" y="1521"/>
                  </a:moveTo>
                  <a:lnTo>
                    <a:pt x="6778" y="1521"/>
                  </a:lnTo>
                  <a:lnTo>
                    <a:pt x="6778" y="1631"/>
                  </a:lnTo>
                  <a:lnTo>
                    <a:pt x="6888" y="1631"/>
                  </a:lnTo>
                  <a:lnTo>
                    <a:pt x="6888" y="1521"/>
                  </a:lnTo>
                  <a:close/>
                  <a:moveTo>
                    <a:pt x="7276" y="2772"/>
                  </a:moveTo>
                  <a:lnTo>
                    <a:pt x="7276" y="2585"/>
                  </a:lnTo>
                  <a:lnTo>
                    <a:pt x="7276" y="2277"/>
                  </a:lnTo>
                  <a:lnTo>
                    <a:pt x="7277" y="2271"/>
                  </a:lnTo>
                  <a:lnTo>
                    <a:pt x="7277" y="1671"/>
                  </a:lnTo>
                  <a:lnTo>
                    <a:pt x="6909" y="1671"/>
                  </a:lnTo>
                  <a:lnTo>
                    <a:pt x="6758" y="1671"/>
                  </a:lnTo>
                  <a:lnTo>
                    <a:pt x="6469" y="1671"/>
                  </a:lnTo>
                  <a:lnTo>
                    <a:pt x="6460" y="1670"/>
                  </a:lnTo>
                  <a:lnTo>
                    <a:pt x="6454" y="1665"/>
                  </a:lnTo>
                  <a:lnTo>
                    <a:pt x="6450" y="1658"/>
                  </a:lnTo>
                  <a:lnTo>
                    <a:pt x="6449" y="1652"/>
                  </a:lnTo>
                  <a:lnTo>
                    <a:pt x="6450" y="1644"/>
                  </a:lnTo>
                  <a:lnTo>
                    <a:pt x="6454" y="1638"/>
                  </a:lnTo>
                  <a:lnTo>
                    <a:pt x="6460" y="1633"/>
                  </a:lnTo>
                  <a:lnTo>
                    <a:pt x="6469" y="1631"/>
                  </a:lnTo>
                  <a:lnTo>
                    <a:pt x="6574" y="1631"/>
                  </a:lnTo>
                  <a:lnTo>
                    <a:pt x="6574" y="1488"/>
                  </a:lnTo>
                  <a:lnTo>
                    <a:pt x="6172" y="1488"/>
                  </a:lnTo>
                  <a:lnTo>
                    <a:pt x="6172" y="1631"/>
                  </a:lnTo>
                  <a:lnTo>
                    <a:pt x="6204" y="1631"/>
                  </a:lnTo>
                  <a:lnTo>
                    <a:pt x="6213" y="1633"/>
                  </a:lnTo>
                  <a:lnTo>
                    <a:pt x="6219" y="1638"/>
                  </a:lnTo>
                  <a:lnTo>
                    <a:pt x="6223" y="1644"/>
                  </a:lnTo>
                  <a:lnTo>
                    <a:pt x="6224" y="1652"/>
                  </a:lnTo>
                  <a:lnTo>
                    <a:pt x="6223" y="1658"/>
                  </a:lnTo>
                  <a:lnTo>
                    <a:pt x="6219" y="1665"/>
                  </a:lnTo>
                  <a:lnTo>
                    <a:pt x="6213" y="1670"/>
                  </a:lnTo>
                  <a:lnTo>
                    <a:pt x="6204" y="1671"/>
                  </a:lnTo>
                  <a:lnTo>
                    <a:pt x="6037" y="1671"/>
                  </a:lnTo>
                  <a:lnTo>
                    <a:pt x="6037" y="2332"/>
                  </a:lnTo>
                  <a:lnTo>
                    <a:pt x="6037" y="2993"/>
                  </a:lnTo>
                  <a:lnTo>
                    <a:pt x="6037" y="3654"/>
                  </a:lnTo>
                  <a:lnTo>
                    <a:pt x="6037" y="4317"/>
                  </a:lnTo>
                  <a:lnTo>
                    <a:pt x="6656" y="4317"/>
                  </a:lnTo>
                  <a:lnTo>
                    <a:pt x="7276" y="4317"/>
                  </a:lnTo>
                  <a:lnTo>
                    <a:pt x="7276" y="3544"/>
                  </a:lnTo>
                  <a:lnTo>
                    <a:pt x="7276" y="2772"/>
                  </a:lnTo>
                  <a:close/>
                  <a:moveTo>
                    <a:pt x="9050" y="2792"/>
                  </a:moveTo>
                  <a:lnTo>
                    <a:pt x="8182" y="2792"/>
                  </a:lnTo>
                  <a:lnTo>
                    <a:pt x="7315" y="2792"/>
                  </a:lnTo>
                  <a:lnTo>
                    <a:pt x="7315" y="3554"/>
                  </a:lnTo>
                  <a:lnTo>
                    <a:pt x="7315" y="4317"/>
                  </a:lnTo>
                  <a:lnTo>
                    <a:pt x="8182" y="4317"/>
                  </a:lnTo>
                  <a:lnTo>
                    <a:pt x="9050" y="4317"/>
                  </a:lnTo>
                  <a:lnTo>
                    <a:pt x="9050" y="3554"/>
                  </a:lnTo>
                  <a:lnTo>
                    <a:pt x="9050" y="2792"/>
                  </a:lnTo>
                  <a:close/>
                  <a:moveTo>
                    <a:pt x="8412" y="2258"/>
                  </a:moveTo>
                  <a:lnTo>
                    <a:pt x="8412" y="2135"/>
                  </a:lnTo>
                  <a:lnTo>
                    <a:pt x="8413" y="2127"/>
                  </a:lnTo>
                  <a:lnTo>
                    <a:pt x="8418" y="2121"/>
                  </a:lnTo>
                  <a:lnTo>
                    <a:pt x="8425" y="2117"/>
                  </a:lnTo>
                  <a:lnTo>
                    <a:pt x="8432" y="2116"/>
                  </a:lnTo>
                  <a:lnTo>
                    <a:pt x="8677" y="2116"/>
                  </a:lnTo>
                  <a:lnTo>
                    <a:pt x="8685" y="2117"/>
                  </a:lnTo>
                  <a:lnTo>
                    <a:pt x="8691" y="2121"/>
                  </a:lnTo>
                  <a:lnTo>
                    <a:pt x="8695" y="2127"/>
                  </a:lnTo>
                  <a:lnTo>
                    <a:pt x="8698" y="2135"/>
                  </a:lnTo>
                  <a:lnTo>
                    <a:pt x="8698" y="2258"/>
                  </a:lnTo>
                  <a:lnTo>
                    <a:pt x="8853" y="2258"/>
                  </a:lnTo>
                  <a:lnTo>
                    <a:pt x="8868" y="2266"/>
                  </a:lnTo>
                  <a:lnTo>
                    <a:pt x="9089" y="2565"/>
                  </a:lnTo>
                  <a:lnTo>
                    <a:pt x="9100" y="2565"/>
                  </a:lnTo>
                  <a:lnTo>
                    <a:pt x="9108" y="2566"/>
                  </a:lnTo>
                  <a:lnTo>
                    <a:pt x="9114" y="2571"/>
                  </a:lnTo>
                  <a:lnTo>
                    <a:pt x="9120" y="2578"/>
                  </a:lnTo>
                  <a:lnTo>
                    <a:pt x="9121" y="2585"/>
                  </a:lnTo>
                  <a:lnTo>
                    <a:pt x="9121" y="2772"/>
                  </a:lnTo>
                  <a:lnTo>
                    <a:pt x="9120" y="2780"/>
                  </a:lnTo>
                  <a:lnTo>
                    <a:pt x="9114" y="2786"/>
                  </a:lnTo>
                  <a:lnTo>
                    <a:pt x="9108" y="2791"/>
                  </a:lnTo>
                  <a:lnTo>
                    <a:pt x="9100" y="2792"/>
                  </a:lnTo>
                  <a:lnTo>
                    <a:pt x="9090" y="2792"/>
                  </a:lnTo>
                  <a:lnTo>
                    <a:pt x="9090" y="3563"/>
                  </a:lnTo>
                  <a:lnTo>
                    <a:pt x="9090" y="4336"/>
                  </a:lnTo>
                  <a:lnTo>
                    <a:pt x="9089" y="4343"/>
                  </a:lnTo>
                  <a:lnTo>
                    <a:pt x="9084" y="4350"/>
                  </a:lnTo>
                  <a:lnTo>
                    <a:pt x="9077" y="4355"/>
                  </a:lnTo>
                  <a:lnTo>
                    <a:pt x="9070" y="4356"/>
                  </a:lnTo>
                  <a:lnTo>
                    <a:pt x="8184" y="4356"/>
                  </a:lnTo>
                  <a:lnTo>
                    <a:pt x="7297" y="4356"/>
                  </a:lnTo>
                  <a:lnTo>
                    <a:pt x="7295" y="4356"/>
                  </a:lnTo>
                  <a:lnTo>
                    <a:pt x="6656" y="4356"/>
                  </a:lnTo>
                  <a:lnTo>
                    <a:pt x="6018" y="4356"/>
                  </a:lnTo>
                  <a:lnTo>
                    <a:pt x="6010" y="4355"/>
                  </a:lnTo>
                  <a:lnTo>
                    <a:pt x="6004" y="4350"/>
                  </a:lnTo>
                  <a:lnTo>
                    <a:pt x="5999" y="4343"/>
                  </a:lnTo>
                  <a:lnTo>
                    <a:pt x="5997" y="4336"/>
                  </a:lnTo>
                  <a:lnTo>
                    <a:pt x="5997" y="3664"/>
                  </a:lnTo>
                  <a:lnTo>
                    <a:pt x="5997" y="2993"/>
                  </a:lnTo>
                  <a:lnTo>
                    <a:pt x="5997" y="2322"/>
                  </a:lnTo>
                  <a:lnTo>
                    <a:pt x="5997" y="1652"/>
                  </a:lnTo>
                  <a:lnTo>
                    <a:pt x="5999" y="1644"/>
                  </a:lnTo>
                  <a:lnTo>
                    <a:pt x="6004" y="1638"/>
                  </a:lnTo>
                  <a:lnTo>
                    <a:pt x="6010" y="1633"/>
                  </a:lnTo>
                  <a:lnTo>
                    <a:pt x="6018" y="1631"/>
                  </a:lnTo>
                  <a:lnTo>
                    <a:pt x="6132" y="1631"/>
                  </a:lnTo>
                  <a:lnTo>
                    <a:pt x="6132" y="1469"/>
                  </a:lnTo>
                  <a:lnTo>
                    <a:pt x="6133" y="1461"/>
                  </a:lnTo>
                  <a:lnTo>
                    <a:pt x="6138" y="1455"/>
                  </a:lnTo>
                  <a:lnTo>
                    <a:pt x="6145" y="1451"/>
                  </a:lnTo>
                  <a:lnTo>
                    <a:pt x="6152" y="1448"/>
                  </a:lnTo>
                  <a:lnTo>
                    <a:pt x="6595" y="1448"/>
                  </a:lnTo>
                  <a:lnTo>
                    <a:pt x="6602" y="1451"/>
                  </a:lnTo>
                  <a:lnTo>
                    <a:pt x="6609" y="1455"/>
                  </a:lnTo>
                  <a:lnTo>
                    <a:pt x="6613" y="1461"/>
                  </a:lnTo>
                  <a:lnTo>
                    <a:pt x="6614" y="1469"/>
                  </a:lnTo>
                  <a:lnTo>
                    <a:pt x="6614" y="1631"/>
                  </a:lnTo>
                  <a:lnTo>
                    <a:pt x="6738" y="1631"/>
                  </a:lnTo>
                  <a:lnTo>
                    <a:pt x="6738" y="1501"/>
                  </a:lnTo>
                  <a:lnTo>
                    <a:pt x="6740" y="1493"/>
                  </a:lnTo>
                  <a:lnTo>
                    <a:pt x="6744" y="1487"/>
                  </a:lnTo>
                  <a:lnTo>
                    <a:pt x="6750" y="1483"/>
                  </a:lnTo>
                  <a:lnTo>
                    <a:pt x="6758" y="1480"/>
                  </a:lnTo>
                  <a:lnTo>
                    <a:pt x="6909" y="1480"/>
                  </a:lnTo>
                  <a:lnTo>
                    <a:pt x="6917" y="1483"/>
                  </a:lnTo>
                  <a:lnTo>
                    <a:pt x="6923" y="1487"/>
                  </a:lnTo>
                  <a:lnTo>
                    <a:pt x="6927" y="1493"/>
                  </a:lnTo>
                  <a:lnTo>
                    <a:pt x="6928" y="1501"/>
                  </a:lnTo>
                  <a:lnTo>
                    <a:pt x="6928" y="1631"/>
                  </a:lnTo>
                  <a:lnTo>
                    <a:pt x="7297" y="1631"/>
                  </a:lnTo>
                  <a:lnTo>
                    <a:pt x="7305" y="1633"/>
                  </a:lnTo>
                  <a:lnTo>
                    <a:pt x="7312" y="1638"/>
                  </a:lnTo>
                  <a:lnTo>
                    <a:pt x="7315" y="1644"/>
                  </a:lnTo>
                  <a:lnTo>
                    <a:pt x="7317" y="1652"/>
                  </a:lnTo>
                  <a:lnTo>
                    <a:pt x="7317" y="2258"/>
                  </a:lnTo>
                  <a:lnTo>
                    <a:pt x="7864" y="2258"/>
                  </a:lnTo>
                  <a:lnTo>
                    <a:pt x="8412" y="2258"/>
                  </a:lnTo>
                  <a:close/>
                  <a:moveTo>
                    <a:pt x="8657" y="2258"/>
                  </a:moveTo>
                  <a:lnTo>
                    <a:pt x="8657" y="2156"/>
                  </a:lnTo>
                  <a:lnTo>
                    <a:pt x="8452" y="2156"/>
                  </a:lnTo>
                  <a:lnTo>
                    <a:pt x="8452" y="2258"/>
                  </a:lnTo>
                  <a:lnTo>
                    <a:pt x="8482" y="2258"/>
                  </a:lnTo>
                  <a:lnTo>
                    <a:pt x="8491" y="2259"/>
                  </a:lnTo>
                  <a:lnTo>
                    <a:pt x="8496" y="2264"/>
                  </a:lnTo>
                  <a:lnTo>
                    <a:pt x="8500" y="2271"/>
                  </a:lnTo>
                  <a:lnTo>
                    <a:pt x="8502" y="2277"/>
                  </a:lnTo>
                  <a:lnTo>
                    <a:pt x="8500" y="2285"/>
                  </a:lnTo>
                  <a:lnTo>
                    <a:pt x="8496" y="2291"/>
                  </a:lnTo>
                  <a:lnTo>
                    <a:pt x="8491" y="2296"/>
                  </a:lnTo>
                  <a:lnTo>
                    <a:pt x="8482" y="2298"/>
                  </a:lnTo>
                  <a:lnTo>
                    <a:pt x="7899" y="2298"/>
                  </a:lnTo>
                  <a:lnTo>
                    <a:pt x="7315" y="2298"/>
                  </a:lnTo>
                  <a:lnTo>
                    <a:pt x="7315" y="2565"/>
                  </a:lnTo>
                  <a:lnTo>
                    <a:pt x="8177" y="2565"/>
                  </a:lnTo>
                  <a:lnTo>
                    <a:pt x="9039" y="2565"/>
                  </a:lnTo>
                  <a:lnTo>
                    <a:pt x="8843" y="2298"/>
                  </a:lnTo>
                  <a:lnTo>
                    <a:pt x="8637" y="2298"/>
                  </a:lnTo>
                  <a:lnTo>
                    <a:pt x="8630" y="2296"/>
                  </a:lnTo>
                  <a:lnTo>
                    <a:pt x="8623" y="2291"/>
                  </a:lnTo>
                  <a:lnTo>
                    <a:pt x="8619" y="2285"/>
                  </a:lnTo>
                  <a:lnTo>
                    <a:pt x="8618" y="2277"/>
                  </a:lnTo>
                  <a:lnTo>
                    <a:pt x="8619" y="2271"/>
                  </a:lnTo>
                  <a:lnTo>
                    <a:pt x="8623" y="2264"/>
                  </a:lnTo>
                  <a:lnTo>
                    <a:pt x="8630" y="2259"/>
                  </a:lnTo>
                  <a:lnTo>
                    <a:pt x="8637" y="2258"/>
                  </a:lnTo>
                  <a:lnTo>
                    <a:pt x="8657" y="2258"/>
                  </a:lnTo>
                  <a:close/>
                  <a:moveTo>
                    <a:pt x="9075" y="2604"/>
                  </a:moveTo>
                  <a:lnTo>
                    <a:pt x="8195" y="2604"/>
                  </a:lnTo>
                  <a:lnTo>
                    <a:pt x="7315" y="2604"/>
                  </a:lnTo>
                  <a:lnTo>
                    <a:pt x="7315" y="2753"/>
                  </a:lnTo>
                  <a:lnTo>
                    <a:pt x="8192" y="2753"/>
                  </a:lnTo>
                  <a:lnTo>
                    <a:pt x="9070" y="2753"/>
                  </a:lnTo>
                  <a:lnTo>
                    <a:pt x="9081" y="2753"/>
                  </a:lnTo>
                  <a:lnTo>
                    <a:pt x="9081" y="2604"/>
                  </a:lnTo>
                  <a:lnTo>
                    <a:pt x="9075" y="2604"/>
                  </a:lnTo>
                  <a:close/>
                  <a:moveTo>
                    <a:pt x="6236" y="1893"/>
                  </a:moveTo>
                  <a:lnTo>
                    <a:pt x="6369" y="1893"/>
                  </a:lnTo>
                  <a:lnTo>
                    <a:pt x="6378" y="1895"/>
                  </a:lnTo>
                  <a:lnTo>
                    <a:pt x="6384" y="1900"/>
                  </a:lnTo>
                  <a:lnTo>
                    <a:pt x="6387" y="1906"/>
                  </a:lnTo>
                  <a:lnTo>
                    <a:pt x="6388" y="1913"/>
                  </a:lnTo>
                  <a:lnTo>
                    <a:pt x="6387" y="1920"/>
                  </a:lnTo>
                  <a:lnTo>
                    <a:pt x="6384" y="1927"/>
                  </a:lnTo>
                  <a:lnTo>
                    <a:pt x="6378" y="1932"/>
                  </a:lnTo>
                  <a:lnTo>
                    <a:pt x="6369" y="1933"/>
                  </a:lnTo>
                  <a:lnTo>
                    <a:pt x="6236" y="1933"/>
                  </a:lnTo>
                  <a:lnTo>
                    <a:pt x="6227" y="1932"/>
                  </a:lnTo>
                  <a:lnTo>
                    <a:pt x="6220" y="1927"/>
                  </a:lnTo>
                  <a:lnTo>
                    <a:pt x="6216" y="1920"/>
                  </a:lnTo>
                  <a:lnTo>
                    <a:pt x="6215" y="1913"/>
                  </a:lnTo>
                  <a:lnTo>
                    <a:pt x="6216" y="1906"/>
                  </a:lnTo>
                  <a:lnTo>
                    <a:pt x="6220" y="1900"/>
                  </a:lnTo>
                  <a:lnTo>
                    <a:pt x="6227" y="1895"/>
                  </a:lnTo>
                  <a:lnTo>
                    <a:pt x="6236" y="1893"/>
                  </a:lnTo>
                  <a:close/>
                  <a:moveTo>
                    <a:pt x="6472" y="1893"/>
                  </a:moveTo>
                  <a:lnTo>
                    <a:pt x="6605" y="1893"/>
                  </a:lnTo>
                  <a:lnTo>
                    <a:pt x="6614" y="1895"/>
                  </a:lnTo>
                  <a:lnTo>
                    <a:pt x="6620" y="1900"/>
                  </a:lnTo>
                  <a:lnTo>
                    <a:pt x="6624" y="1906"/>
                  </a:lnTo>
                  <a:lnTo>
                    <a:pt x="6626" y="1913"/>
                  </a:lnTo>
                  <a:lnTo>
                    <a:pt x="6624" y="1920"/>
                  </a:lnTo>
                  <a:lnTo>
                    <a:pt x="6620" y="1927"/>
                  </a:lnTo>
                  <a:lnTo>
                    <a:pt x="6614" y="1932"/>
                  </a:lnTo>
                  <a:lnTo>
                    <a:pt x="6605" y="1933"/>
                  </a:lnTo>
                  <a:lnTo>
                    <a:pt x="6472" y="1933"/>
                  </a:lnTo>
                  <a:lnTo>
                    <a:pt x="6464" y="1932"/>
                  </a:lnTo>
                  <a:lnTo>
                    <a:pt x="6458" y="1927"/>
                  </a:lnTo>
                  <a:lnTo>
                    <a:pt x="6454" y="1920"/>
                  </a:lnTo>
                  <a:lnTo>
                    <a:pt x="6452" y="1913"/>
                  </a:lnTo>
                  <a:lnTo>
                    <a:pt x="6454" y="1906"/>
                  </a:lnTo>
                  <a:lnTo>
                    <a:pt x="6458" y="1900"/>
                  </a:lnTo>
                  <a:lnTo>
                    <a:pt x="6464" y="1895"/>
                  </a:lnTo>
                  <a:lnTo>
                    <a:pt x="6472" y="1893"/>
                  </a:lnTo>
                  <a:close/>
                  <a:moveTo>
                    <a:pt x="6709" y="1893"/>
                  </a:moveTo>
                  <a:lnTo>
                    <a:pt x="6842" y="1893"/>
                  </a:lnTo>
                  <a:lnTo>
                    <a:pt x="6851" y="1895"/>
                  </a:lnTo>
                  <a:lnTo>
                    <a:pt x="6858" y="1900"/>
                  </a:lnTo>
                  <a:lnTo>
                    <a:pt x="6861" y="1906"/>
                  </a:lnTo>
                  <a:lnTo>
                    <a:pt x="6863" y="1913"/>
                  </a:lnTo>
                  <a:lnTo>
                    <a:pt x="6861" y="1920"/>
                  </a:lnTo>
                  <a:lnTo>
                    <a:pt x="6858" y="1927"/>
                  </a:lnTo>
                  <a:lnTo>
                    <a:pt x="6851" y="1932"/>
                  </a:lnTo>
                  <a:lnTo>
                    <a:pt x="6842" y="1933"/>
                  </a:lnTo>
                  <a:lnTo>
                    <a:pt x="6709" y="1933"/>
                  </a:lnTo>
                  <a:lnTo>
                    <a:pt x="6700" y="1932"/>
                  </a:lnTo>
                  <a:lnTo>
                    <a:pt x="6693" y="1927"/>
                  </a:lnTo>
                  <a:lnTo>
                    <a:pt x="6690" y="1920"/>
                  </a:lnTo>
                  <a:lnTo>
                    <a:pt x="6688" y="1913"/>
                  </a:lnTo>
                  <a:lnTo>
                    <a:pt x="6690" y="1906"/>
                  </a:lnTo>
                  <a:lnTo>
                    <a:pt x="6693" y="1900"/>
                  </a:lnTo>
                  <a:lnTo>
                    <a:pt x="6700" y="1895"/>
                  </a:lnTo>
                  <a:lnTo>
                    <a:pt x="6709" y="1893"/>
                  </a:lnTo>
                  <a:close/>
                  <a:moveTo>
                    <a:pt x="6946" y="1893"/>
                  </a:moveTo>
                  <a:lnTo>
                    <a:pt x="7078" y="1893"/>
                  </a:lnTo>
                  <a:lnTo>
                    <a:pt x="7087" y="1895"/>
                  </a:lnTo>
                  <a:lnTo>
                    <a:pt x="7094" y="1900"/>
                  </a:lnTo>
                  <a:lnTo>
                    <a:pt x="7097" y="1906"/>
                  </a:lnTo>
                  <a:lnTo>
                    <a:pt x="7099" y="1913"/>
                  </a:lnTo>
                  <a:lnTo>
                    <a:pt x="7097" y="1920"/>
                  </a:lnTo>
                  <a:lnTo>
                    <a:pt x="7094" y="1927"/>
                  </a:lnTo>
                  <a:lnTo>
                    <a:pt x="7087" y="1932"/>
                  </a:lnTo>
                  <a:lnTo>
                    <a:pt x="7078" y="1933"/>
                  </a:lnTo>
                  <a:lnTo>
                    <a:pt x="6946" y="1933"/>
                  </a:lnTo>
                  <a:lnTo>
                    <a:pt x="6937" y="1932"/>
                  </a:lnTo>
                  <a:lnTo>
                    <a:pt x="6931" y="1927"/>
                  </a:lnTo>
                  <a:lnTo>
                    <a:pt x="6927" y="1920"/>
                  </a:lnTo>
                  <a:lnTo>
                    <a:pt x="6926" y="1913"/>
                  </a:lnTo>
                  <a:lnTo>
                    <a:pt x="6927" y="1906"/>
                  </a:lnTo>
                  <a:lnTo>
                    <a:pt x="6931" y="1900"/>
                  </a:lnTo>
                  <a:lnTo>
                    <a:pt x="6937" y="1895"/>
                  </a:lnTo>
                  <a:lnTo>
                    <a:pt x="6946" y="1893"/>
                  </a:lnTo>
                  <a:close/>
                  <a:moveTo>
                    <a:pt x="6236" y="2156"/>
                  </a:moveTo>
                  <a:lnTo>
                    <a:pt x="6369" y="2156"/>
                  </a:lnTo>
                  <a:lnTo>
                    <a:pt x="6378" y="2158"/>
                  </a:lnTo>
                  <a:lnTo>
                    <a:pt x="6384" y="2162"/>
                  </a:lnTo>
                  <a:lnTo>
                    <a:pt x="6387" y="2168"/>
                  </a:lnTo>
                  <a:lnTo>
                    <a:pt x="6388" y="2176"/>
                  </a:lnTo>
                  <a:lnTo>
                    <a:pt x="6387" y="2184"/>
                  </a:lnTo>
                  <a:lnTo>
                    <a:pt x="6384" y="2190"/>
                  </a:lnTo>
                  <a:lnTo>
                    <a:pt x="6378" y="2194"/>
                  </a:lnTo>
                  <a:lnTo>
                    <a:pt x="6369" y="2197"/>
                  </a:lnTo>
                  <a:lnTo>
                    <a:pt x="6236" y="2197"/>
                  </a:lnTo>
                  <a:lnTo>
                    <a:pt x="6227" y="2194"/>
                  </a:lnTo>
                  <a:lnTo>
                    <a:pt x="6220" y="2190"/>
                  </a:lnTo>
                  <a:lnTo>
                    <a:pt x="6216" y="2184"/>
                  </a:lnTo>
                  <a:lnTo>
                    <a:pt x="6215" y="2176"/>
                  </a:lnTo>
                  <a:lnTo>
                    <a:pt x="6216" y="2168"/>
                  </a:lnTo>
                  <a:lnTo>
                    <a:pt x="6220" y="2162"/>
                  </a:lnTo>
                  <a:lnTo>
                    <a:pt x="6227" y="2158"/>
                  </a:lnTo>
                  <a:lnTo>
                    <a:pt x="6236" y="2156"/>
                  </a:lnTo>
                  <a:close/>
                  <a:moveTo>
                    <a:pt x="6472" y="2156"/>
                  </a:moveTo>
                  <a:lnTo>
                    <a:pt x="6605" y="2156"/>
                  </a:lnTo>
                  <a:lnTo>
                    <a:pt x="6614" y="2158"/>
                  </a:lnTo>
                  <a:lnTo>
                    <a:pt x="6620" y="2162"/>
                  </a:lnTo>
                  <a:lnTo>
                    <a:pt x="6624" y="2168"/>
                  </a:lnTo>
                  <a:lnTo>
                    <a:pt x="6626" y="2176"/>
                  </a:lnTo>
                  <a:lnTo>
                    <a:pt x="6624" y="2184"/>
                  </a:lnTo>
                  <a:lnTo>
                    <a:pt x="6620" y="2190"/>
                  </a:lnTo>
                  <a:lnTo>
                    <a:pt x="6614" y="2194"/>
                  </a:lnTo>
                  <a:lnTo>
                    <a:pt x="6605" y="2197"/>
                  </a:lnTo>
                  <a:lnTo>
                    <a:pt x="6472" y="2197"/>
                  </a:lnTo>
                  <a:lnTo>
                    <a:pt x="6464" y="2194"/>
                  </a:lnTo>
                  <a:lnTo>
                    <a:pt x="6458" y="2190"/>
                  </a:lnTo>
                  <a:lnTo>
                    <a:pt x="6454" y="2184"/>
                  </a:lnTo>
                  <a:lnTo>
                    <a:pt x="6452" y="2176"/>
                  </a:lnTo>
                  <a:lnTo>
                    <a:pt x="6454" y="2168"/>
                  </a:lnTo>
                  <a:lnTo>
                    <a:pt x="6458" y="2162"/>
                  </a:lnTo>
                  <a:lnTo>
                    <a:pt x="6464" y="2158"/>
                  </a:lnTo>
                  <a:lnTo>
                    <a:pt x="6472" y="2156"/>
                  </a:lnTo>
                  <a:close/>
                  <a:moveTo>
                    <a:pt x="6709" y="2156"/>
                  </a:moveTo>
                  <a:lnTo>
                    <a:pt x="6842" y="2156"/>
                  </a:lnTo>
                  <a:lnTo>
                    <a:pt x="6851" y="2158"/>
                  </a:lnTo>
                  <a:lnTo>
                    <a:pt x="6858" y="2162"/>
                  </a:lnTo>
                  <a:lnTo>
                    <a:pt x="6861" y="2168"/>
                  </a:lnTo>
                  <a:lnTo>
                    <a:pt x="6863" y="2176"/>
                  </a:lnTo>
                  <a:lnTo>
                    <a:pt x="6861" y="2184"/>
                  </a:lnTo>
                  <a:lnTo>
                    <a:pt x="6858" y="2190"/>
                  </a:lnTo>
                  <a:lnTo>
                    <a:pt x="6851" y="2194"/>
                  </a:lnTo>
                  <a:lnTo>
                    <a:pt x="6842" y="2197"/>
                  </a:lnTo>
                  <a:lnTo>
                    <a:pt x="6709" y="2197"/>
                  </a:lnTo>
                  <a:lnTo>
                    <a:pt x="6700" y="2194"/>
                  </a:lnTo>
                  <a:lnTo>
                    <a:pt x="6693" y="2190"/>
                  </a:lnTo>
                  <a:lnTo>
                    <a:pt x="6690" y="2184"/>
                  </a:lnTo>
                  <a:lnTo>
                    <a:pt x="6688" y="2176"/>
                  </a:lnTo>
                  <a:lnTo>
                    <a:pt x="6690" y="2168"/>
                  </a:lnTo>
                  <a:lnTo>
                    <a:pt x="6693" y="2162"/>
                  </a:lnTo>
                  <a:lnTo>
                    <a:pt x="6700" y="2158"/>
                  </a:lnTo>
                  <a:lnTo>
                    <a:pt x="6709" y="2156"/>
                  </a:lnTo>
                  <a:close/>
                  <a:moveTo>
                    <a:pt x="6946" y="2156"/>
                  </a:moveTo>
                  <a:lnTo>
                    <a:pt x="7078" y="2156"/>
                  </a:lnTo>
                  <a:lnTo>
                    <a:pt x="7087" y="2158"/>
                  </a:lnTo>
                  <a:lnTo>
                    <a:pt x="7094" y="2162"/>
                  </a:lnTo>
                  <a:lnTo>
                    <a:pt x="7097" y="2168"/>
                  </a:lnTo>
                  <a:lnTo>
                    <a:pt x="7099" y="2176"/>
                  </a:lnTo>
                  <a:lnTo>
                    <a:pt x="7097" y="2184"/>
                  </a:lnTo>
                  <a:lnTo>
                    <a:pt x="7094" y="2190"/>
                  </a:lnTo>
                  <a:lnTo>
                    <a:pt x="7087" y="2194"/>
                  </a:lnTo>
                  <a:lnTo>
                    <a:pt x="7078" y="2197"/>
                  </a:lnTo>
                  <a:lnTo>
                    <a:pt x="6946" y="2197"/>
                  </a:lnTo>
                  <a:lnTo>
                    <a:pt x="6937" y="2194"/>
                  </a:lnTo>
                  <a:lnTo>
                    <a:pt x="6931" y="2190"/>
                  </a:lnTo>
                  <a:lnTo>
                    <a:pt x="6927" y="2184"/>
                  </a:lnTo>
                  <a:lnTo>
                    <a:pt x="6926" y="2176"/>
                  </a:lnTo>
                  <a:lnTo>
                    <a:pt x="6927" y="2168"/>
                  </a:lnTo>
                  <a:lnTo>
                    <a:pt x="6931" y="2162"/>
                  </a:lnTo>
                  <a:lnTo>
                    <a:pt x="6937" y="2158"/>
                  </a:lnTo>
                  <a:lnTo>
                    <a:pt x="6946" y="2156"/>
                  </a:lnTo>
                  <a:close/>
                  <a:moveTo>
                    <a:pt x="6236" y="2419"/>
                  </a:moveTo>
                  <a:lnTo>
                    <a:pt x="6369" y="2419"/>
                  </a:lnTo>
                  <a:lnTo>
                    <a:pt x="6378" y="2420"/>
                  </a:lnTo>
                  <a:lnTo>
                    <a:pt x="6384" y="2425"/>
                  </a:lnTo>
                  <a:lnTo>
                    <a:pt x="6387" y="2432"/>
                  </a:lnTo>
                  <a:lnTo>
                    <a:pt x="6388" y="2439"/>
                  </a:lnTo>
                  <a:lnTo>
                    <a:pt x="6387" y="2446"/>
                  </a:lnTo>
                  <a:lnTo>
                    <a:pt x="6384" y="2452"/>
                  </a:lnTo>
                  <a:lnTo>
                    <a:pt x="6378" y="2457"/>
                  </a:lnTo>
                  <a:lnTo>
                    <a:pt x="6369" y="2459"/>
                  </a:lnTo>
                  <a:lnTo>
                    <a:pt x="6236" y="2459"/>
                  </a:lnTo>
                  <a:lnTo>
                    <a:pt x="6227" y="2457"/>
                  </a:lnTo>
                  <a:lnTo>
                    <a:pt x="6220" y="2452"/>
                  </a:lnTo>
                  <a:lnTo>
                    <a:pt x="6216" y="2446"/>
                  </a:lnTo>
                  <a:lnTo>
                    <a:pt x="6215" y="2439"/>
                  </a:lnTo>
                  <a:lnTo>
                    <a:pt x="6216" y="2432"/>
                  </a:lnTo>
                  <a:lnTo>
                    <a:pt x="6220" y="2425"/>
                  </a:lnTo>
                  <a:lnTo>
                    <a:pt x="6227" y="2420"/>
                  </a:lnTo>
                  <a:lnTo>
                    <a:pt x="6236" y="2419"/>
                  </a:lnTo>
                  <a:close/>
                  <a:moveTo>
                    <a:pt x="6472" y="2419"/>
                  </a:moveTo>
                  <a:lnTo>
                    <a:pt x="6605" y="2419"/>
                  </a:lnTo>
                  <a:lnTo>
                    <a:pt x="6614" y="2420"/>
                  </a:lnTo>
                  <a:lnTo>
                    <a:pt x="6620" y="2425"/>
                  </a:lnTo>
                  <a:lnTo>
                    <a:pt x="6624" y="2432"/>
                  </a:lnTo>
                  <a:lnTo>
                    <a:pt x="6626" y="2439"/>
                  </a:lnTo>
                  <a:lnTo>
                    <a:pt x="6624" y="2446"/>
                  </a:lnTo>
                  <a:lnTo>
                    <a:pt x="6620" y="2452"/>
                  </a:lnTo>
                  <a:lnTo>
                    <a:pt x="6614" y="2457"/>
                  </a:lnTo>
                  <a:lnTo>
                    <a:pt x="6605" y="2459"/>
                  </a:lnTo>
                  <a:lnTo>
                    <a:pt x="6472" y="2459"/>
                  </a:lnTo>
                  <a:lnTo>
                    <a:pt x="6464" y="2457"/>
                  </a:lnTo>
                  <a:lnTo>
                    <a:pt x="6458" y="2452"/>
                  </a:lnTo>
                  <a:lnTo>
                    <a:pt x="6454" y="2446"/>
                  </a:lnTo>
                  <a:lnTo>
                    <a:pt x="6452" y="2439"/>
                  </a:lnTo>
                  <a:lnTo>
                    <a:pt x="6454" y="2432"/>
                  </a:lnTo>
                  <a:lnTo>
                    <a:pt x="6458" y="2425"/>
                  </a:lnTo>
                  <a:lnTo>
                    <a:pt x="6464" y="2420"/>
                  </a:lnTo>
                  <a:lnTo>
                    <a:pt x="6472" y="2419"/>
                  </a:lnTo>
                  <a:close/>
                  <a:moveTo>
                    <a:pt x="6709" y="2419"/>
                  </a:moveTo>
                  <a:lnTo>
                    <a:pt x="6842" y="2419"/>
                  </a:lnTo>
                  <a:lnTo>
                    <a:pt x="6851" y="2420"/>
                  </a:lnTo>
                  <a:lnTo>
                    <a:pt x="6858" y="2425"/>
                  </a:lnTo>
                  <a:lnTo>
                    <a:pt x="6861" y="2432"/>
                  </a:lnTo>
                  <a:lnTo>
                    <a:pt x="6863" y="2439"/>
                  </a:lnTo>
                  <a:lnTo>
                    <a:pt x="6861" y="2446"/>
                  </a:lnTo>
                  <a:lnTo>
                    <a:pt x="6858" y="2452"/>
                  </a:lnTo>
                  <a:lnTo>
                    <a:pt x="6851" y="2457"/>
                  </a:lnTo>
                  <a:lnTo>
                    <a:pt x="6842" y="2459"/>
                  </a:lnTo>
                  <a:lnTo>
                    <a:pt x="6709" y="2459"/>
                  </a:lnTo>
                  <a:lnTo>
                    <a:pt x="6700" y="2457"/>
                  </a:lnTo>
                  <a:lnTo>
                    <a:pt x="6693" y="2452"/>
                  </a:lnTo>
                  <a:lnTo>
                    <a:pt x="6690" y="2446"/>
                  </a:lnTo>
                  <a:lnTo>
                    <a:pt x="6688" y="2439"/>
                  </a:lnTo>
                  <a:lnTo>
                    <a:pt x="6690" y="2432"/>
                  </a:lnTo>
                  <a:lnTo>
                    <a:pt x="6693" y="2425"/>
                  </a:lnTo>
                  <a:lnTo>
                    <a:pt x="6700" y="2420"/>
                  </a:lnTo>
                  <a:lnTo>
                    <a:pt x="6709" y="2419"/>
                  </a:lnTo>
                  <a:close/>
                  <a:moveTo>
                    <a:pt x="6946" y="2419"/>
                  </a:moveTo>
                  <a:lnTo>
                    <a:pt x="7078" y="2419"/>
                  </a:lnTo>
                  <a:lnTo>
                    <a:pt x="7087" y="2420"/>
                  </a:lnTo>
                  <a:lnTo>
                    <a:pt x="7094" y="2425"/>
                  </a:lnTo>
                  <a:lnTo>
                    <a:pt x="7097" y="2432"/>
                  </a:lnTo>
                  <a:lnTo>
                    <a:pt x="7099" y="2439"/>
                  </a:lnTo>
                  <a:lnTo>
                    <a:pt x="7097" y="2446"/>
                  </a:lnTo>
                  <a:lnTo>
                    <a:pt x="7094" y="2452"/>
                  </a:lnTo>
                  <a:lnTo>
                    <a:pt x="7087" y="2457"/>
                  </a:lnTo>
                  <a:lnTo>
                    <a:pt x="7078" y="2459"/>
                  </a:lnTo>
                  <a:lnTo>
                    <a:pt x="6946" y="2459"/>
                  </a:lnTo>
                  <a:lnTo>
                    <a:pt x="6937" y="2457"/>
                  </a:lnTo>
                  <a:lnTo>
                    <a:pt x="6931" y="2452"/>
                  </a:lnTo>
                  <a:lnTo>
                    <a:pt x="6927" y="2446"/>
                  </a:lnTo>
                  <a:lnTo>
                    <a:pt x="6926" y="2439"/>
                  </a:lnTo>
                  <a:lnTo>
                    <a:pt x="6927" y="2432"/>
                  </a:lnTo>
                  <a:lnTo>
                    <a:pt x="6931" y="2425"/>
                  </a:lnTo>
                  <a:lnTo>
                    <a:pt x="6937" y="2420"/>
                  </a:lnTo>
                  <a:lnTo>
                    <a:pt x="6946" y="2419"/>
                  </a:lnTo>
                  <a:close/>
                  <a:moveTo>
                    <a:pt x="6236" y="2682"/>
                  </a:moveTo>
                  <a:lnTo>
                    <a:pt x="6369" y="2682"/>
                  </a:lnTo>
                  <a:lnTo>
                    <a:pt x="6378" y="2684"/>
                  </a:lnTo>
                  <a:lnTo>
                    <a:pt x="6384" y="2689"/>
                  </a:lnTo>
                  <a:lnTo>
                    <a:pt x="6387" y="2695"/>
                  </a:lnTo>
                  <a:lnTo>
                    <a:pt x="6388" y="2702"/>
                  </a:lnTo>
                  <a:lnTo>
                    <a:pt x="6387" y="2709"/>
                  </a:lnTo>
                  <a:lnTo>
                    <a:pt x="6384" y="2716"/>
                  </a:lnTo>
                  <a:lnTo>
                    <a:pt x="6378" y="2721"/>
                  </a:lnTo>
                  <a:lnTo>
                    <a:pt x="6369" y="2722"/>
                  </a:lnTo>
                  <a:lnTo>
                    <a:pt x="6236" y="2722"/>
                  </a:lnTo>
                  <a:lnTo>
                    <a:pt x="6227" y="2721"/>
                  </a:lnTo>
                  <a:lnTo>
                    <a:pt x="6220" y="2716"/>
                  </a:lnTo>
                  <a:lnTo>
                    <a:pt x="6216" y="2709"/>
                  </a:lnTo>
                  <a:lnTo>
                    <a:pt x="6215" y="2702"/>
                  </a:lnTo>
                  <a:lnTo>
                    <a:pt x="6216" y="2695"/>
                  </a:lnTo>
                  <a:lnTo>
                    <a:pt x="6220" y="2689"/>
                  </a:lnTo>
                  <a:lnTo>
                    <a:pt x="6227" y="2684"/>
                  </a:lnTo>
                  <a:lnTo>
                    <a:pt x="6236" y="2682"/>
                  </a:lnTo>
                  <a:close/>
                  <a:moveTo>
                    <a:pt x="6472" y="2682"/>
                  </a:moveTo>
                  <a:lnTo>
                    <a:pt x="6605" y="2682"/>
                  </a:lnTo>
                  <a:lnTo>
                    <a:pt x="6614" y="2684"/>
                  </a:lnTo>
                  <a:lnTo>
                    <a:pt x="6620" y="2689"/>
                  </a:lnTo>
                  <a:lnTo>
                    <a:pt x="6624" y="2695"/>
                  </a:lnTo>
                  <a:lnTo>
                    <a:pt x="6626" y="2702"/>
                  </a:lnTo>
                  <a:lnTo>
                    <a:pt x="6624" y="2709"/>
                  </a:lnTo>
                  <a:lnTo>
                    <a:pt x="6620" y="2716"/>
                  </a:lnTo>
                  <a:lnTo>
                    <a:pt x="6614" y="2721"/>
                  </a:lnTo>
                  <a:lnTo>
                    <a:pt x="6605" y="2722"/>
                  </a:lnTo>
                  <a:lnTo>
                    <a:pt x="6472" y="2722"/>
                  </a:lnTo>
                  <a:lnTo>
                    <a:pt x="6464" y="2721"/>
                  </a:lnTo>
                  <a:lnTo>
                    <a:pt x="6458" y="2716"/>
                  </a:lnTo>
                  <a:lnTo>
                    <a:pt x="6454" y="2709"/>
                  </a:lnTo>
                  <a:lnTo>
                    <a:pt x="6452" y="2702"/>
                  </a:lnTo>
                  <a:lnTo>
                    <a:pt x="6454" y="2695"/>
                  </a:lnTo>
                  <a:lnTo>
                    <a:pt x="6458" y="2689"/>
                  </a:lnTo>
                  <a:lnTo>
                    <a:pt x="6464" y="2684"/>
                  </a:lnTo>
                  <a:lnTo>
                    <a:pt x="6472" y="2682"/>
                  </a:lnTo>
                  <a:close/>
                  <a:moveTo>
                    <a:pt x="6709" y="2682"/>
                  </a:moveTo>
                  <a:lnTo>
                    <a:pt x="6842" y="2682"/>
                  </a:lnTo>
                  <a:lnTo>
                    <a:pt x="6851" y="2684"/>
                  </a:lnTo>
                  <a:lnTo>
                    <a:pt x="6858" y="2689"/>
                  </a:lnTo>
                  <a:lnTo>
                    <a:pt x="6861" y="2695"/>
                  </a:lnTo>
                  <a:lnTo>
                    <a:pt x="6863" y="2702"/>
                  </a:lnTo>
                  <a:lnTo>
                    <a:pt x="6861" y="2709"/>
                  </a:lnTo>
                  <a:lnTo>
                    <a:pt x="6858" y="2716"/>
                  </a:lnTo>
                  <a:lnTo>
                    <a:pt x="6851" y="2721"/>
                  </a:lnTo>
                  <a:lnTo>
                    <a:pt x="6842" y="2722"/>
                  </a:lnTo>
                  <a:lnTo>
                    <a:pt x="6709" y="2722"/>
                  </a:lnTo>
                  <a:lnTo>
                    <a:pt x="6700" y="2721"/>
                  </a:lnTo>
                  <a:lnTo>
                    <a:pt x="6693" y="2716"/>
                  </a:lnTo>
                  <a:lnTo>
                    <a:pt x="6690" y="2709"/>
                  </a:lnTo>
                  <a:lnTo>
                    <a:pt x="6688" y="2702"/>
                  </a:lnTo>
                  <a:lnTo>
                    <a:pt x="6690" y="2695"/>
                  </a:lnTo>
                  <a:lnTo>
                    <a:pt x="6693" y="2689"/>
                  </a:lnTo>
                  <a:lnTo>
                    <a:pt x="6700" y="2684"/>
                  </a:lnTo>
                  <a:lnTo>
                    <a:pt x="6709" y="2682"/>
                  </a:lnTo>
                  <a:close/>
                  <a:moveTo>
                    <a:pt x="6946" y="2682"/>
                  </a:moveTo>
                  <a:lnTo>
                    <a:pt x="7078" y="2682"/>
                  </a:lnTo>
                  <a:lnTo>
                    <a:pt x="7087" y="2684"/>
                  </a:lnTo>
                  <a:lnTo>
                    <a:pt x="7094" y="2689"/>
                  </a:lnTo>
                  <a:lnTo>
                    <a:pt x="7097" y="2695"/>
                  </a:lnTo>
                  <a:lnTo>
                    <a:pt x="7099" y="2702"/>
                  </a:lnTo>
                  <a:lnTo>
                    <a:pt x="7097" y="2709"/>
                  </a:lnTo>
                  <a:lnTo>
                    <a:pt x="7094" y="2716"/>
                  </a:lnTo>
                  <a:lnTo>
                    <a:pt x="7087" y="2721"/>
                  </a:lnTo>
                  <a:lnTo>
                    <a:pt x="7078" y="2722"/>
                  </a:lnTo>
                  <a:lnTo>
                    <a:pt x="6946" y="2722"/>
                  </a:lnTo>
                  <a:lnTo>
                    <a:pt x="6937" y="2721"/>
                  </a:lnTo>
                  <a:lnTo>
                    <a:pt x="6931" y="2716"/>
                  </a:lnTo>
                  <a:lnTo>
                    <a:pt x="6927" y="2709"/>
                  </a:lnTo>
                  <a:lnTo>
                    <a:pt x="6926" y="2702"/>
                  </a:lnTo>
                  <a:lnTo>
                    <a:pt x="6927" y="2695"/>
                  </a:lnTo>
                  <a:lnTo>
                    <a:pt x="6931" y="2689"/>
                  </a:lnTo>
                  <a:lnTo>
                    <a:pt x="6937" y="2684"/>
                  </a:lnTo>
                  <a:lnTo>
                    <a:pt x="6946" y="2682"/>
                  </a:lnTo>
                  <a:close/>
                  <a:moveTo>
                    <a:pt x="6236" y="2946"/>
                  </a:moveTo>
                  <a:lnTo>
                    <a:pt x="6369" y="2946"/>
                  </a:lnTo>
                  <a:lnTo>
                    <a:pt x="6378" y="2947"/>
                  </a:lnTo>
                  <a:lnTo>
                    <a:pt x="6384" y="2951"/>
                  </a:lnTo>
                  <a:lnTo>
                    <a:pt x="6387" y="2957"/>
                  </a:lnTo>
                  <a:lnTo>
                    <a:pt x="6388" y="2965"/>
                  </a:lnTo>
                  <a:lnTo>
                    <a:pt x="6387" y="2973"/>
                  </a:lnTo>
                  <a:lnTo>
                    <a:pt x="6384" y="2979"/>
                  </a:lnTo>
                  <a:lnTo>
                    <a:pt x="6378" y="2983"/>
                  </a:lnTo>
                  <a:lnTo>
                    <a:pt x="6369" y="2985"/>
                  </a:lnTo>
                  <a:lnTo>
                    <a:pt x="6236" y="2985"/>
                  </a:lnTo>
                  <a:lnTo>
                    <a:pt x="6227" y="2983"/>
                  </a:lnTo>
                  <a:lnTo>
                    <a:pt x="6220" y="2979"/>
                  </a:lnTo>
                  <a:lnTo>
                    <a:pt x="6216" y="2973"/>
                  </a:lnTo>
                  <a:lnTo>
                    <a:pt x="6215" y="2965"/>
                  </a:lnTo>
                  <a:lnTo>
                    <a:pt x="6216" y="2957"/>
                  </a:lnTo>
                  <a:lnTo>
                    <a:pt x="6220" y="2951"/>
                  </a:lnTo>
                  <a:lnTo>
                    <a:pt x="6227" y="2947"/>
                  </a:lnTo>
                  <a:lnTo>
                    <a:pt x="6236" y="2946"/>
                  </a:lnTo>
                  <a:close/>
                  <a:moveTo>
                    <a:pt x="6472" y="2946"/>
                  </a:moveTo>
                  <a:lnTo>
                    <a:pt x="6605" y="2946"/>
                  </a:lnTo>
                  <a:lnTo>
                    <a:pt x="6614" y="2947"/>
                  </a:lnTo>
                  <a:lnTo>
                    <a:pt x="6620" y="2951"/>
                  </a:lnTo>
                  <a:lnTo>
                    <a:pt x="6624" y="2957"/>
                  </a:lnTo>
                  <a:lnTo>
                    <a:pt x="6626" y="2965"/>
                  </a:lnTo>
                  <a:lnTo>
                    <a:pt x="6624" y="2973"/>
                  </a:lnTo>
                  <a:lnTo>
                    <a:pt x="6620" y="2979"/>
                  </a:lnTo>
                  <a:lnTo>
                    <a:pt x="6614" y="2983"/>
                  </a:lnTo>
                  <a:lnTo>
                    <a:pt x="6605" y="2985"/>
                  </a:lnTo>
                  <a:lnTo>
                    <a:pt x="6472" y="2985"/>
                  </a:lnTo>
                  <a:lnTo>
                    <a:pt x="6464" y="2983"/>
                  </a:lnTo>
                  <a:lnTo>
                    <a:pt x="6458" y="2979"/>
                  </a:lnTo>
                  <a:lnTo>
                    <a:pt x="6454" y="2973"/>
                  </a:lnTo>
                  <a:lnTo>
                    <a:pt x="6452" y="2965"/>
                  </a:lnTo>
                  <a:lnTo>
                    <a:pt x="6454" y="2957"/>
                  </a:lnTo>
                  <a:lnTo>
                    <a:pt x="6458" y="2951"/>
                  </a:lnTo>
                  <a:lnTo>
                    <a:pt x="6464" y="2947"/>
                  </a:lnTo>
                  <a:lnTo>
                    <a:pt x="6472" y="2946"/>
                  </a:lnTo>
                  <a:close/>
                  <a:moveTo>
                    <a:pt x="6709" y="2946"/>
                  </a:moveTo>
                  <a:lnTo>
                    <a:pt x="6842" y="2946"/>
                  </a:lnTo>
                  <a:lnTo>
                    <a:pt x="6851" y="2947"/>
                  </a:lnTo>
                  <a:lnTo>
                    <a:pt x="6858" y="2951"/>
                  </a:lnTo>
                  <a:lnTo>
                    <a:pt x="6861" y="2957"/>
                  </a:lnTo>
                  <a:lnTo>
                    <a:pt x="6863" y="2965"/>
                  </a:lnTo>
                  <a:lnTo>
                    <a:pt x="6861" y="2973"/>
                  </a:lnTo>
                  <a:lnTo>
                    <a:pt x="6858" y="2979"/>
                  </a:lnTo>
                  <a:lnTo>
                    <a:pt x="6851" y="2983"/>
                  </a:lnTo>
                  <a:lnTo>
                    <a:pt x="6842" y="2985"/>
                  </a:lnTo>
                  <a:lnTo>
                    <a:pt x="6709" y="2985"/>
                  </a:lnTo>
                  <a:lnTo>
                    <a:pt x="6700" y="2983"/>
                  </a:lnTo>
                  <a:lnTo>
                    <a:pt x="6693" y="2979"/>
                  </a:lnTo>
                  <a:lnTo>
                    <a:pt x="6690" y="2973"/>
                  </a:lnTo>
                  <a:lnTo>
                    <a:pt x="6688" y="2965"/>
                  </a:lnTo>
                  <a:lnTo>
                    <a:pt x="6690" y="2957"/>
                  </a:lnTo>
                  <a:lnTo>
                    <a:pt x="6693" y="2951"/>
                  </a:lnTo>
                  <a:lnTo>
                    <a:pt x="6700" y="2947"/>
                  </a:lnTo>
                  <a:lnTo>
                    <a:pt x="6709" y="2946"/>
                  </a:lnTo>
                  <a:close/>
                  <a:moveTo>
                    <a:pt x="6946" y="2946"/>
                  </a:moveTo>
                  <a:lnTo>
                    <a:pt x="7078" y="2946"/>
                  </a:lnTo>
                  <a:lnTo>
                    <a:pt x="7087" y="2947"/>
                  </a:lnTo>
                  <a:lnTo>
                    <a:pt x="7094" y="2951"/>
                  </a:lnTo>
                  <a:lnTo>
                    <a:pt x="7097" y="2957"/>
                  </a:lnTo>
                  <a:lnTo>
                    <a:pt x="7099" y="2965"/>
                  </a:lnTo>
                  <a:lnTo>
                    <a:pt x="7097" y="2973"/>
                  </a:lnTo>
                  <a:lnTo>
                    <a:pt x="7094" y="2979"/>
                  </a:lnTo>
                  <a:lnTo>
                    <a:pt x="7087" y="2983"/>
                  </a:lnTo>
                  <a:lnTo>
                    <a:pt x="7078" y="2985"/>
                  </a:lnTo>
                  <a:lnTo>
                    <a:pt x="6946" y="2985"/>
                  </a:lnTo>
                  <a:lnTo>
                    <a:pt x="6937" y="2983"/>
                  </a:lnTo>
                  <a:lnTo>
                    <a:pt x="6931" y="2979"/>
                  </a:lnTo>
                  <a:lnTo>
                    <a:pt x="6927" y="2973"/>
                  </a:lnTo>
                  <a:lnTo>
                    <a:pt x="6926" y="2965"/>
                  </a:lnTo>
                  <a:lnTo>
                    <a:pt x="6927" y="2957"/>
                  </a:lnTo>
                  <a:lnTo>
                    <a:pt x="6931" y="2951"/>
                  </a:lnTo>
                  <a:lnTo>
                    <a:pt x="6937" y="2947"/>
                  </a:lnTo>
                  <a:lnTo>
                    <a:pt x="6946" y="2946"/>
                  </a:lnTo>
                  <a:close/>
                  <a:moveTo>
                    <a:pt x="6236" y="3208"/>
                  </a:moveTo>
                  <a:lnTo>
                    <a:pt x="6369" y="3208"/>
                  </a:lnTo>
                  <a:lnTo>
                    <a:pt x="6378" y="3211"/>
                  </a:lnTo>
                  <a:lnTo>
                    <a:pt x="6384" y="3214"/>
                  </a:lnTo>
                  <a:lnTo>
                    <a:pt x="6387" y="3221"/>
                  </a:lnTo>
                  <a:lnTo>
                    <a:pt x="6388" y="3228"/>
                  </a:lnTo>
                  <a:lnTo>
                    <a:pt x="6387" y="3236"/>
                  </a:lnTo>
                  <a:lnTo>
                    <a:pt x="6384" y="3242"/>
                  </a:lnTo>
                  <a:lnTo>
                    <a:pt x="6378" y="3246"/>
                  </a:lnTo>
                  <a:lnTo>
                    <a:pt x="6369" y="3248"/>
                  </a:lnTo>
                  <a:lnTo>
                    <a:pt x="6236" y="3248"/>
                  </a:lnTo>
                  <a:lnTo>
                    <a:pt x="6227" y="3246"/>
                  </a:lnTo>
                  <a:lnTo>
                    <a:pt x="6220" y="3242"/>
                  </a:lnTo>
                  <a:lnTo>
                    <a:pt x="6216" y="3236"/>
                  </a:lnTo>
                  <a:lnTo>
                    <a:pt x="6215" y="3228"/>
                  </a:lnTo>
                  <a:lnTo>
                    <a:pt x="6216" y="3221"/>
                  </a:lnTo>
                  <a:lnTo>
                    <a:pt x="6220" y="3214"/>
                  </a:lnTo>
                  <a:lnTo>
                    <a:pt x="6227" y="3211"/>
                  </a:lnTo>
                  <a:lnTo>
                    <a:pt x="6236" y="3208"/>
                  </a:lnTo>
                  <a:close/>
                  <a:moveTo>
                    <a:pt x="6472" y="3208"/>
                  </a:moveTo>
                  <a:lnTo>
                    <a:pt x="6605" y="3208"/>
                  </a:lnTo>
                  <a:lnTo>
                    <a:pt x="6614" y="3211"/>
                  </a:lnTo>
                  <a:lnTo>
                    <a:pt x="6620" y="3214"/>
                  </a:lnTo>
                  <a:lnTo>
                    <a:pt x="6624" y="3221"/>
                  </a:lnTo>
                  <a:lnTo>
                    <a:pt x="6626" y="3228"/>
                  </a:lnTo>
                  <a:lnTo>
                    <a:pt x="6624" y="3236"/>
                  </a:lnTo>
                  <a:lnTo>
                    <a:pt x="6620" y="3242"/>
                  </a:lnTo>
                  <a:lnTo>
                    <a:pt x="6614" y="3246"/>
                  </a:lnTo>
                  <a:lnTo>
                    <a:pt x="6605" y="3248"/>
                  </a:lnTo>
                  <a:lnTo>
                    <a:pt x="6472" y="3248"/>
                  </a:lnTo>
                  <a:lnTo>
                    <a:pt x="6464" y="3246"/>
                  </a:lnTo>
                  <a:lnTo>
                    <a:pt x="6458" y="3242"/>
                  </a:lnTo>
                  <a:lnTo>
                    <a:pt x="6454" y="3236"/>
                  </a:lnTo>
                  <a:lnTo>
                    <a:pt x="6452" y="3228"/>
                  </a:lnTo>
                  <a:lnTo>
                    <a:pt x="6454" y="3221"/>
                  </a:lnTo>
                  <a:lnTo>
                    <a:pt x="6458" y="3214"/>
                  </a:lnTo>
                  <a:lnTo>
                    <a:pt x="6464" y="3211"/>
                  </a:lnTo>
                  <a:lnTo>
                    <a:pt x="6472" y="3208"/>
                  </a:lnTo>
                  <a:close/>
                  <a:moveTo>
                    <a:pt x="6709" y="3208"/>
                  </a:moveTo>
                  <a:lnTo>
                    <a:pt x="6842" y="3208"/>
                  </a:lnTo>
                  <a:lnTo>
                    <a:pt x="6851" y="3211"/>
                  </a:lnTo>
                  <a:lnTo>
                    <a:pt x="6858" y="3214"/>
                  </a:lnTo>
                  <a:lnTo>
                    <a:pt x="6861" y="3221"/>
                  </a:lnTo>
                  <a:lnTo>
                    <a:pt x="6863" y="3228"/>
                  </a:lnTo>
                  <a:lnTo>
                    <a:pt x="6861" y="3236"/>
                  </a:lnTo>
                  <a:lnTo>
                    <a:pt x="6858" y="3242"/>
                  </a:lnTo>
                  <a:lnTo>
                    <a:pt x="6851" y="3246"/>
                  </a:lnTo>
                  <a:lnTo>
                    <a:pt x="6842" y="3248"/>
                  </a:lnTo>
                  <a:lnTo>
                    <a:pt x="6709" y="3248"/>
                  </a:lnTo>
                  <a:lnTo>
                    <a:pt x="6700" y="3246"/>
                  </a:lnTo>
                  <a:lnTo>
                    <a:pt x="6693" y="3242"/>
                  </a:lnTo>
                  <a:lnTo>
                    <a:pt x="6690" y="3236"/>
                  </a:lnTo>
                  <a:lnTo>
                    <a:pt x="6688" y="3228"/>
                  </a:lnTo>
                  <a:lnTo>
                    <a:pt x="6690" y="3221"/>
                  </a:lnTo>
                  <a:lnTo>
                    <a:pt x="6693" y="3214"/>
                  </a:lnTo>
                  <a:lnTo>
                    <a:pt x="6700" y="3211"/>
                  </a:lnTo>
                  <a:lnTo>
                    <a:pt x="6709" y="3208"/>
                  </a:lnTo>
                  <a:close/>
                  <a:moveTo>
                    <a:pt x="6946" y="3208"/>
                  </a:moveTo>
                  <a:lnTo>
                    <a:pt x="7078" y="3208"/>
                  </a:lnTo>
                  <a:lnTo>
                    <a:pt x="7087" y="3211"/>
                  </a:lnTo>
                  <a:lnTo>
                    <a:pt x="7094" y="3214"/>
                  </a:lnTo>
                  <a:lnTo>
                    <a:pt x="7097" y="3221"/>
                  </a:lnTo>
                  <a:lnTo>
                    <a:pt x="7099" y="3228"/>
                  </a:lnTo>
                  <a:lnTo>
                    <a:pt x="7097" y="3236"/>
                  </a:lnTo>
                  <a:lnTo>
                    <a:pt x="7094" y="3242"/>
                  </a:lnTo>
                  <a:lnTo>
                    <a:pt x="7087" y="3246"/>
                  </a:lnTo>
                  <a:lnTo>
                    <a:pt x="7078" y="3248"/>
                  </a:lnTo>
                  <a:lnTo>
                    <a:pt x="6946" y="3248"/>
                  </a:lnTo>
                  <a:lnTo>
                    <a:pt x="6937" y="3246"/>
                  </a:lnTo>
                  <a:lnTo>
                    <a:pt x="6931" y="3242"/>
                  </a:lnTo>
                  <a:lnTo>
                    <a:pt x="6927" y="3236"/>
                  </a:lnTo>
                  <a:lnTo>
                    <a:pt x="6926" y="3228"/>
                  </a:lnTo>
                  <a:lnTo>
                    <a:pt x="6927" y="3221"/>
                  </a:lnTo>
                  <a:lnTo>
                    <a:pt x="6931" y="3214"/>
                  </a:lnTo>
                  <a:lnTo>
                    <a:pt x="6937" y="3211"/>
                  </a:lnTo>
                  <a:lnTo>
                    <a:pt x="6946" y="3208"/>
                  </a:lnTo>
                  <a:close/>
                  <a:moveTo>
                    <a:pt x="6236" y="3471"/>
                  </a:moveTo>
                  <a:lnTo>
                    <a:pt x="6369" y="3471"/>
                  </a:lnTo>
                  <a:lnTo>
                    <a:pt x="6378" y="3473"/>
                  </a:lnTo>
                  <a:lnTo>
                    <a:pt x="6384" y="3478"/>
                  </a:lnTo>
                  <a:lnTo>
                    <a:pt x="6387" y="3484"/>
                  </a:lnTo>
                  <a:lnTo>
                    <a:pt x="6388" y="3492"/>
                  </a:lnTo>
                  <a:lnTo>
                    <a:pt x="6387" y="3498"/>
                  </a:lnTo>
                  <a:lnTo>
                    <a:pt x="6384" y="3505"/>
                  </a:lnTo>
                  <a:lnTo>
                    <a:pt x="6378" y="3510"/>
                  </a:lnTo>
                  <a:lnTo>
                    <a:pt x="6369" y="3511"/>
                  </a:lnTo>
                  <a:lnTo>
                    <a:pt x="6236" y="3511"/>
                  </a:lnTo>
                  <a:lnTo>
                    <a:pt x="6227" y="3510"/>
                  </a:lnTo>
                  <a:lnTo>
                    <a:pt x="6220" y="3505"/>
                  </a:lnTo>
                  <a:lnTo>
                    <a:pt x="6216" y="3498"/>
                  </a:lnTo>
                  <a:lnTo>
                    <a:pt x="6215" y="3492"/>
                  </a:lnTo>
                  <a:lnTo>
                    <a:pt x="6216" y="3484"/>
                  </a:lnTo>
                  <a:lnTo>
                    <a:pt x="6220" y="3478"/>
                  </a:lnTo>
                  <a:lnTo>
                    <a:pt x="6227" y="3473"/>
                  </a:lnTo>
                  <a:lnTo>
                    <a:pt x="6236" y="3471"/>
                  </a:lnTo>
                  <a:close/>
                  <a:moveTo>
                    <a:pt x="6472" y="3471"/>
                  </a:moveTo>
                  <a:lnTo>
                    <a:pt x="6605" y="3471"/>
                  </a:lnTo>
                  <a:lnTo>
                    <a:pt x="6614" y="3473"/>
                  </a:lnTo>
                  <a:lnTo>
                    <a:pt x="6620" y="3478"/>
                  </a:lnTo>
                  <a:lnTo>
                    <a:pt x="6624" y="3484"/>
                  </a:lnTo>
                  <a:lnTo>
                    <a:pt x="6626" y="3492"/>
                  </a:lnTo>
                  <a:lnTo>
                    <a:pt x="6624" y="3498"/>
                  </a:lnTo>
                  <a:lnTo>
                    <a:pt x="6620" y="3505"/>
                  </a:lnTo>
                  <a:lnTo>
                    <a:pt x="6614" y="3510"/>
                  </a:lnTo>
                  <a:lnTo>
                    <a:pt x="6605" y="3511"/>
                  </a:lnTo>
                  <a:lnTo>
                    <a:pt x="6472" y="3511"/>
                  </a:lnTo>
                  <a:lnTo>
                    <a:pt x="6464" y="3510"/>
                  </a:lnTo>
                  <a:lnTo>
                    <a:pt x="6458" y="3505"/>
                  </a:lnTo>
                  <a:lnTo>
                    <a:pt x="6454" y="3498"/>
                  </a:lnTo>
                  <a:lnTo>
                    <a:pt x="6452" y="3492"/>
                  </a:lnTo>
                  <a:lnTo>
                    <a:pt x="6454" y="3484"/>
                  </a:lnTo>
                  <a:lnTo>
                    <a:pt x="6458" y="3478"/>
                  </a:lnTo>
                  <a:lnTo>
                    <a:pt x="6464" y="3473"/>
                  </a:lnTo>
                  <a:lnTo>
                    <a:pt x="6472" y="3471"/>
                  </a:lnTo>
                  <a:close/>
                  <a:moveTo>
                    <a:pt x="6709" y="3471"/>
                  </a:moveTo>
                  <a:lnTo>
                    <a:pt x="6842" y="3471"/>
                  </a:lnTo>
                  <a:lnTo>
                    <a:pt x="6851" y="3473"/>
                  </a:lnTo>
                  <a:lnTo>
                    <a:pt x="6858" y="3478"/>
                  </a:lnTo>
                  <a:lnTo>
                    <a:pt x="6861" y="3484"/>
                  </a:lnTo>
                  <a:lnTo>
                    <a:pt x="6863" y="3492"/>
                  </a:lnTo>
                  <a:lnTo>
                    <a:pt x="6861" y="3498"/>
                  </a:lnTo>
                  <a:lnTo>
                    <a:pt x="6858" y="3505"/>
                  </a:lnTo>
                  <a:lnTo>
                    <a:pt x="6851" y="3510"/>
                  </a:lnTo>
                  <a:lnTo>
                    <a:pt x="6842" y="3511"/>
                  </a:lnTo>
                  <a:lnTo>
                    <a:pt x="6709" y="3511"/>
                  </a:lnTo>
                  <a:lnTo>
                    <a:pt x="6700" y="3510"/>
                  </a:lnTo>
                  <a:lnTo>
                    <a:pt x="6693" y="3505"/>
                  </a:lnTo>
                  <a:lnTo>
                    <a:pt x="6690" y="3498"/>
                  </a:lnTo>
                  <a:lnTo>
                    <a:pt x="6688" y="3492"/>
                  </a:lnTo>
                  <a:lnTo>
                    <a:pt x="6690" y="3484"/>
                  </a:lnTo>
                  <a:lnTo>
                    <a:pt x="6693" y="3478"/>
                  </a:lnTo>
                  <a:lnTo>
                    <a:pt x="6700" y="3473"/>
                  </a:lnTo>
                  <a:lnTo>
                    <a:pt x="6709" y="3471"/>
                  </a:lnTo>
                  <a:close/>
                  <a:moveTo>
                    <a:pt x="6946" y="3471"/>
                  </a:moveTo>
                  <a:lnTo>
                    <a:pt x="7078" y="3471"/>
                  </a:lnTo>
                  <a:lnTo>
                    <a:pt x="7087" y="3473"/>
                  </a:lnTo>
                  <a:lnTo>
                    <a:pt x="7094" y="3478"/>
                  </a:lnTo>
                  <a:lnTo>
                    <a:pt x="7097" y="3484"/>
                  </a:lnTo>
                  <a:lnTo>
                    <a:pt x="7099" y="3492"/>
                  </a:lnTo>
                  <a:lnTo>
                    <a:pt x="7097" y="3498"/>
                  </a:lnTo>
                  <a:lnTo>
                    <a:pt x="7094" y="3505"/>
                  </a:lnTo>
                  <a:lnTo>
                    <a:pt x="7087" y="3510"/>
                  </a:lnTo>
                  <a:lnTo>
                    <a:pt x="7078" y="3511"/>
                  </a:lnTo>
                  <a:lnTo>
                    <a:pt x="6946" y="3511"/>
                  </a:lnTo>
                  <a:lnTo>
                    <a:pt x="6937" y="3510"/>
                  </a:lnTo>
                  <a:lnTo>
                    <a:pt x="6931" y="3505"/>
                  </a:lnTo>
                  <a:lnTo>
                    <a:pt x="6927" y="3498"/>
                  </a:lnTo>
                  <a:lnTo>
                    <a:pt x="6926" y="3492"/>
                  </a:lnTo>
                  <a:lnTo>
                    <a:pt x="6927" y="3484"/>
                  </a:lnTo>
                  <a:lnTo>
                    <a:pt x="6931" y="3478"/>
                  </a:lnTo>
                  <a:lnTo>
                    <a:pt x="6937" y="3473"/>
                  </a:lnTo>
                  <a:lnTo>
                    <a:pt x="6946" y="3471"/>
                  </a:lnTo>
                  <a:close/>
                  <a:moveTo>
                    <a:pt x="6236" y="3735"/>
                  </a:moveTo>
                  <a:lnTo>
                    <a:pt x="6369" y="3735"/>
                  </a:lnTo>
                  <a:lnTo>
                    <a:pt x="6378" y="3736"/>
                  </a:lnTo>
                  <a:lnTo>
                    <a:pt x="6384" y="3741"/>
                  </a:lnTo>
                  <a:lnTo>
                    <a:pt x="6387" y="3748"/>
                  </a:lnTo>
                  <a:lnTo>
                    <a:pt x="6388" y="3754"/>
                  </a:lnTo>
                  <a:lnTo>
                    <a:pt x="6387" y="3762"/>
                  </a:lnTo>
                  <a:lnTo>
                    <a:pt x="6384" y="3768"/>
                  </a:lnTo>
                  <a:lnTo>
                    <a:pt x="6378" y="3773"/>
                  </a:lnTo>
                  <a:lnTo>
                    <a:pt x="6369" y="3774"/>
                  </a:lnTo>
                  <a:lnTo>
                    <a:pt x="6236" y="3774"/>
                  </a:lnTo>
                  <a:lnTo>
                    <a:pt x="6227" y="3773"/>
                  </a:lnTo>
                  <a:lnTo>
                    <a:pt x="6220" y="3768"/>
                  </a:lnTo>
                  <a:lnTo>
                    <a:pt x="6216" y="3762"/>
                  </a:lnTo>
                  <a:lnTo>
                    <a:pt x="6215" y="3754"/>
                  </a:lnTo>
                  <a:lnTo>
                    <a:pt x="6216" y="3748"/>
                  </a:lnTo>
                  <a:lnTo>
                    <a:pt x="6220" y="3741"/>
                  </a:lnTo>
                  <a:lnTo>
                    <a:pt x="6227" y="3736"/>
                  </a:lnTo>
                  <a:lnTo>
                    <a:pt x="6236" y="3735"/>
                  </a:lnTo>
                  <a:close/>
                  <a:moveTo>
                    <a:pt x="6472" y="3735"/>
                  </a:moveTo>
                  <a:lnTo>
                    <a:pt x="6605" y="3735"/>
                  </a:lnTo>
                  <a:lnTo>
                    <a:pt x="6614" y="3736"/>
                  </a:lnTo>
                  <a:lnTo>
                    <a:pt x="6620" y="3741"/>
                  </a:lnTo>
                  <a:lnTo>
                    <a:pt x="6624" y="3748"/>
                  </a:lnTo>
                  <a:lnTo>
                    <a:pt x="6626" y="3754"/>
                  </a:lnTo>
                  <a:lnTo>
                    <a:pt x="6624" y="3762"/>
                  </a:lnTo>
                  <a:lnTo>
                    <a:pt x="6620" y="3768"/>
                  </a:lnTo>
                  <a:lnTo>
                    <a:pt x="6614" y="3773"/>
                  </a:lnTo>
                  <a:lnTo>
                    <a:pt x="6605" y="3774"/>
                  </a:lnTo>
                  <a:lnTo>
                    <a:pt x="6472" y="3774"/>
                  </a:lnTo>
                  <a:lnTo>
                    <a:pt x="6464" y="3773"/>
                  </a:lnTo>
                  <a:lnTo>
                    <a:pt x="6458" y="3768"/>
                  </a:lnTo>
                  <a:lnTo>
                    <a:pt x="6454" y="3762"/>
                  </a:lnTo>
                  <a:lnTo>
                    <a:pt x="6452" y="3754"/>
                  </a:lnTo>
                  <a:lnTo>
                    <a:pt x="6454" y="3748"/>
                  </a:lnTo>
                  <a:lnTo>
                    <a:pt x="6458" y="3741"/>
                  </a:lnTo>
                  <a:lnTo>
                    <a:pt x="6464" y="3736"/>
                  </a:lnTo>
                  <a:lnTo>
                    <a:pt x="6472" y="3735"/>
                  </a:lnTo>
                  <a:close/>
                  <a:moveTo>
                    <a:pt x="6709" y="3735"/>
                  </a:moveTo>
                  <a:lnTo>
                    <a:pt x="6842" y="3735"/>
                  </a:lnTo>
                  <a:lnTo>
                    <a:pt x="6851" y="3736"/>
                  </a:lnTo>
                  <a:lnTo>
                    <a:pt x="6858" y="3741"/>
                  </a:lnTo>
                  <a:lnTo>
                    <a:pt x="6861" y="3748"/>
                  </a:lnTo>
                  <a:lnTo>
                    <a:pt x="6863" y="3754"/>
                  </a:lnTo>
                  <a:lnTo>
                    <a:pt x="6861" y="3762"/>
                  </a:lnTo>
                  <a:lnTo>
                    <a:pt x="6858" y="3768"/>
                  </a:lnTo>
                  <a:lnTo>
                    <a:pt x="6851" y="3773"/>
                  </a:lnTo>
                  <a:lnTo>
                    <a:pt x="6842" y="3774"/>
                  </a:lnTo>
                  <a:lnTo>
                    <a:pt x="6709" y="3774"/>
                  </a:lnTo>
                  <a:lnTo>
                    <a:pt x="6700" y="3773"/>
                  </a:lnTo>
                  <a:lnTo>
                    <a:pt x="6693" y="3768"/>
                  </a:lnTo>
                  <a:lnTo>
                    <a:pt x="6690" y="3762"/>
                  </a:lnTo>
                  <a:lnTo>
                    <a:pt x="6688" y="3754"/>
                  </a:lnTo>
                  <a:lnTo>
                    <a:pt x="6690" y="3748"/>
                  </a:lnTo>
                  <a:lnTo>
                    <a:pt x="6693" y="3741"/>
                  </a:lnTo>
                  <a:lnTo>
                    <a:pt x="6700" y="3736"/>
                  </a:lnTo>
                  <a:lnTo>
                    <a:pt x="6709" y="3735"/>
                  </a:lnTo>
                  <a:close/>
                  <a:moveTo>
                    <a:pt x="6946" y="3735"/>
                  </a:moveTo>
                  <a:lnTo>
                    <a:pt x="7078" y="3735"/>
                  </a:lnTo>
                  <a:lnTo>
                    <a:pt x="7087" y="3736"/>
                  </a:lnTo>
                  <a:lnTo>
                    <a:pt x="7094" y="3741"/>
                  </a:lnTo>
                  <a:lnTo>
                    <a:pt x="7097" y="3748"/>
                  </a:lnTo>
                  <a:lnTo>
                    <a:pt x="7099" y="3754"/>
                  </a:lnTo>
                  <a:lnTo>
                    <a:pt x="7097" y="3762"/>
                  </a:lnTo>
                  <a:lnTo>
                    <a:pt x="7094" y="3768"/>
                  </a:lnTo>
                  <a:lnTo>
                    <a:pt x="7087" y="3773"/>
                  </a:lnTo>
                  <a:lnTo>
                    <a:pt x="7078" y="3774"/>
                  </a:lnTo>
                  <a:lnTo>
                    <a:pt x="6946" y="3774"/>
                  </a:lnTo>
                  <a:lnTo>
                    <a:pt x="6937" y="3773"/>
                  </a:lnTo>
                  <a:lnTo>
                    <a:pt x="6931" y="3768"/>
                  </a:lnTo>
                  <a:lnTo>
                    <a:pt x="6927" y="3762"/>
                  </a:lnTo>
                  <a:lnTo>
                    <a:pt x="6926" y="3754"/>
                  </a:lnTo>
                  <a:lnTo>
                    <a:pt x="6927" y="3748"/>
                  </a:lnTo>
                  <a:lnTo>
                    <a:pt x="6931" y="3741"/>
                  </a:lnTo>
                  <a:lnTo>
                    <a:pt x="6937" y="3736"/>
                  </a:lnTo>
                  <a:lnTo>
                    <a:pt x="6946" y="3735"/>
                  </a:lnTo>
                  <a:close/>
                  <a:moveTo>
                    <a:pt x="6236" y="3997"/>
                  </a:moveTo>
                  <a:lnTo>
                    <a:pt x="6369" y="3997"/>
                  </a:lnTo>
                  <a:lnTo>
                    <a:pt x="6378" y="3999"/>
                  </a:lnTo>
                  <a:lnTo>
                    <a:pt x="6384" y="4003"/>
                  </a:lnTo>
                  <a:lnTo>
                    <a:pt x="6387" y="4010"/>
                  </a:lnTo>
                  <a:lnTo>
                    <a:pt x="6388" y="4017"/>
                  </a:lnTo>
                  <a:lnTo>
                    <a:pt x="6387" y="4025"/>
                  </a:lnTo>
                  <a:lnTo>
                    <a:pt x="6384" y="4031"/>
                  </a:lnTo>
                  <a:lnTo>
                    <a:pt x="6378" y="4035"/>
                  </a:lnTo>
                  <a:lnTo>
                    <a:pt x="6369" y="4038"/>
                  </a:lnTo>
                  <a:lnTo>
                    <a:pt x="6236" y="4038"/>
                  </a:lnTo>
                  <a:lnTo>
                    <a:pt x="6227" y="4035"/>
                  </a:lnTo>
                  <a:lnTo>
                    <a:pt x="6220" y="4031"/>
                  </a:lnTo>
                  <a:lnTo>
                    <a:pt x="6216" y="4025"/>
                  </a:lnTo>
                  <a:lnTo>
                    <a:pt x="6215" y="4017"/>
                  </a:lnTo>
                  <a:lnTo>
                    <a:pt x="6216" y="4010"/>
                  </a:lnTo>
                  <a:lnTo>
                    <a:pt x="6220" y="4003"/>
                  </a:lnTo>
                  <a:lnTo>
                    <a:pt x="6227" y="3999"/>
                  </a:lnTo>
                  <a:lnTo>
                    <a:pt x="6236" y="3997"/>
                  </a:lnTo>
                  <a:close/>
                  <a:moveTo>
                    <a:pt x="6472" y="3997"/>
                  </a:moveTo>
                  <a:lnTo>
                    <a:pt x="6605" y="3997"/>
                  </a:lnTo>
                  <a:lnTo>
                    <a:pt x="6614" y="3999"/>
                  </a:lnTo>
                  <a:lnTo>
                    <a:pt x="6620" y="4003"/>
                  </a:lnTo>
                  <a:lnTo>
                    <a:pt x="6624" y="4010"/>
                  </a:lnTo>
                  <a:lnTo>
                    <a:pt x="6626" y="4017"/>
                  </a:lnTo>
                  <a:lnTo>
                    <a:pt x="6624" y="4025"/>
                  </a:lnTo>
                  <a:lnTo>
                    <a:pt x="6620" y="4031"/>
                  </a:lnTo>
                  <a:lnTo>
                    <a:pt x="6614" y="4035"/>
                  </a:lnTo>
                  <a:lnTo>
                    <a:pt x="6605" y="4038"/>
                  </a:lnTo>
                  <a:lnTo>
                    <a:pt x="6472" y="4038"/>
                  </a:lnTo>
                  <a:lnTo>
                    <a:pt x="6464" y="4035"/>
                  </a:lnTo>
                  <a:lnTo>
                    <a:pt x="6458" y="4031"/>
                  </a:lnTo>
                  <a:lnTo>
                    <a:pt x="6454" y="4025"/>
                  </a:lnTo>
                  <a:lnTo>
                    <a:pt x="6452" y="4017"/>
                  </a:lnTo>
                  <a:lnTo>
                    <a:pt x="6454" y="4010"/>
                  </a:lnTo>
                  <a:lnTo>
                    <a:pt x="6458" y="4003"/>
                  </a:lnTo>
                  <a:lnTo>
                    <a:pt x="6464" y="3999"/>
                  </a:lnTo>
                  <a:lnTo>
                    <a:pt x="6472" y="3997"/>
                  </a:lnTo>
                  <a:close/>
                  <a:moveTo>
                    <a:pt x="6709" y="3997"/>
                  </a:moveTo>
                  <a:lnTo>
                    <a:pt x="6842" y="3997"/>
                  </a:lnTo>
                  <a:lnTo>
                    <a:pt x="6851" y="3999"/>
                  </a:lnTo>
                  <a:lnTo>
                    <a:pt x="6858" y="4003"/>
                  </a:lnTo>
                  <a:lnTo>
                    <a:pt x="6861" y="4010"/>
                  </a:lnTo>
                  <a:lnTo>
                    <a:pt x="6863" y="4017"/>
                  </a:lnTo>
                  <a:lnTo>
                    <a:pt x="6861" y="4025"/>
                  </a:lnTo>
                  <a:lnTo>
                    <a:pt x="6858" y="4031"/>
                  </a:lnTo>
                  <a:lnTo>
                    <a:pt x="6851" y="4035"/>
                  </a:lnTo>
                  <a:lnTo>
                    <a:pt x="6842" y="4038"/>
                  </a:lnTo>
                  <a:lnTo>
                    <a:pt x="6709" y="4038"/>
                  </a:lnTo>
                  <a:lnTo>
                    <a:pt x="6700" y="4035"/>
                  </a:lnTo>
                  <a:lnTo>
                    <a:pt x="6693" y="4031"/>
                  </a:lnTo>
                  <a:lnTo>
                    <a:pt x="6690" y="4025"/>
                  </a:lnTo>
                  <a:lnTo>
                    <a:pt x="6688" y="4017"/>
                  </a:lnTo>
                  <a:lnTo>
                    <a:pt x="6690" y="4010"/>
                  </a:lnTo>
                  <a:lnTo>
                    <a:pt x="6693" y="4003"/>
                  </a:lnTo>
                  <a:lnTo>
                    <a:pt x="6700" y="3999"/>
                  </a:lnTo>
                  <a:lnTo>
                    <a:pt x="6709" y="3997"/>
                  </a:lnTo>
                  <a:close/>
                  <a:moveTo>
                    <a:pt x="6946" y="3997"/>
                  </a:moveTo>
                  <a:lnTo>
                    <a:pt x="7078" y="3997"/>
                  </a:lnTo>
                  <a:lnTo>
                    <a:pt x="7087" y="3999"/>
                  </a:lnTo>
                  <a:lnTo>
                    <a:pt x="7094" y="4003"/>
                  </a:lnTo>
                  <a:lnTo>
                    <a:pt x="7097" y="4010"/>
                  </a:lnTo>
                  <a:lnTo>
                    <a:pt x="7099" y="4017"/>
                  </a:lnTo>
                  <a:lnTo>
                    <a:pt x="7097" y="4025"/>
                  </a:lnTo>
                  <a:lnTo>
                    <a:pt x="7094" y="4031"/>
                  </a:lnTo>
                  <a:lnTo>
                    <a:pt x="7087" y="4035"/>
                  </a:lnTo>
                  <a:lnTo>
                    <a:pt x="7078" y="4038"/>
                  </a:lnTo>
                  <a:lnTo>
                    <a:pt x="6946" y="4038"/>
                  </a:lnTo>
                  <a:lnTo>
                    <a:pt x="6937" y="4035"/>
                  </a:lnTo>
                  <a:lnTo>
                    <a:pt x="6931" y="4031"/>
                  </a:lnTo>
                  <a:lnTo>
                    <a:pt x="6927" y="4025"/>
                  </a:lnTo>
                  <a:lnTo>
                    <a:pt x="6926" y="4017"/>
                  </a:lnTo>
                  <a:lnTo>
                    <a:pt x="6927" y="4010"/>
                  </a:lnTo>
                  <a:lnTo>
                    <a:pt x="6931" y="4003"/>
                  </a:lnTo>
                  <a:lnTo>
                    <a:pt x="6937" y="3999"/>
                  </a:lnTo>
                  <a:lnTo>
                    <a:pt x="6946" y="3997"/>
                  </a:lnTo>
                  <a:close/>
                  <a:moveTo>
                    <a:pt x="7545" y="2941"/>
                  </a:moveTo>
                  <a:lnTo>
                    <a:pt x="7545" y="3052"/>
                  </a:lnTo>
                  <a:lnTo>
                    <a:pt x="7542" y="3061"/>
                  </a:lnTo>
                  <a:lnTo>
                    <a:pt x="7539" y="3067"/>
                  </a:lnTo>
                  <a:lnTo>
                    <a:pt x="7532" y="3071"/>
                  </a:lnTo>
                  <a:lnTo>
                    <a:pt x="7524" y="3072"/>
                  </a:lnTo>
                  <a:lnTo>
                    <a:pt x="7517" y="3071"/>
                  </a:lnTo>
                  <a:lnTo>
                    <a:pt x="7510" y="3067"/>
                  </a:lnTo>
                  <a:lnTo>
                    <a:pt x="7506" y="3061"/>
                  </a:lnTo>
                  <a:lnTo>
                    <a:pt x="7505" y="3052"/>
                  </a:lnTo>
                  <a:lnTo>
                    <a:pt x="7505" y="2941"/>
                  </a:lnTo>
                  <a:lnTo>
                    <a:pt x="7506" y="2932"/>
                  </a:lnTo>
                  <a:lnTo>
                    <a:pt x="7510" y="2925"/>
                  </a:lnTo>
                  <a:lnTo>
                    <a:pt x="7517" y="2922"/>
                  </a:lnTo>
                  <a:lnTo>
                    <a:pt x="7524" y="2920"/>
                  </a:lnTo>
                  <a:lnTo>
                    <a:pt x="7532" y="2922"/>
                  </a:lnTo>
                  <a:lnTo>
                    <a:pt x="7539" y="2925"/>
                  </a:lnTo>
                  <a:lnTo>
                    <a:pt x="7542" y="2932"/>
                  </a:lnTo>
                  <a:lnTo>
                    <a:pt x="7545" y="2941"/>
                  </a:lnTo>
                  <a:close/>
                  <a:moveTo>
                    <a:pt x="7808" y="2941"/>
                  </a:moveTo>
                  <a:lnTo>
                    <a:pt x="7808" y="3052"/>
                  </a:lnTo>
                  <a:lnTo>
                    <a:pt x="7807" y="3061"/>
                  </a:lnTo>
                  <a:lnTo>
                    <a:pt x="7801" y="3067"/>
                  </a:lnTo>
                  <a:lnTo>
                    <a:pt x="7795" y="3071"/>
                  </a:lnTo>
                  <a:lnTo>
                    <a:pt x="7787" y="3072"/>
                  </a:lnTo>
                  <a:lnTo>
                    <a:pt x="7781" y="3071"/>
                  </a:lnTo>
                  <a:lnTo>
                    <a:pt x="7774" y="3067"/>
                  </a:lnTo>
                  <a:lnTo>
                    <a:pt x="7769" y="3061"/>
                  </a:lnTo>
                  <a:lnTo>
                    <a:pt x="7768" y="3052"/>
                  </a:lnTo>
                  <a:lnTo>
                    <a:pt x="7768" y="2941"/>
                  </a:lnTo>
                  <a:lnTo>
                    <a:pt x="7769" y="2932"/>
                  </a:lnTo>
                  <a:lnTo>
                    <a:pt x="7774" y="2925"/>
                  </a:lnTo>
                  <a:lnTo>
                    <a:pt x="7781" y="2922"/>
                  </a:lnTo>
                  <a:lnTo>
                    <a:pt x="7787" y="2920"/>
                  </a:lnTo>
                  <a:lnTo>
                    <a:pt x="7795" y="2922"/>
                  </a:lnTo>
                  <a:lnTo>
                    <a:pt x="7801" y="2925"/>
                  </a:lnTo>
                  <a:lnTo>
                    <a:pt x="7807" y="2932"/>
                  </a:lnTo>
                  <a:lnTo>
                    <a:pt x="7808" y="2941"/>
                  </a:lnTo>
                  <a:close/>
                  <a:moveTo>
                    <a:pt x="8071" y="2941"/>
                  </a:moveTo>
                  <a:lnTo>
                    <a:pt x="8071" y="3052"/>
                  </a:lnTo>
                  <a:lnTo>
                    <a:pt x="8069" y="3061"/>
                  </a:lnTo>
                  <a:lnTo>
                    <a:pt x="8064" y="3067"/>
                  </a:lnTo>
                  <a:lnTo>
                    <a:pt x="8058" y="3071"/>
                  </a:lnTo>
                  <a:lnTo>
                    <a:pt x="8051" y="3072"/>
                  </a:lnTo>
                  <a:lnTo>
                    <a:pt x="8044" y="3071"/>
                  </a:lnTo>
                  <a:lnTo>
                    <a:pt x="8037" y="3067"/>
                  </a:lnTo>
                  <a:lnTo>
                    <a:pt x="8032" y="3061"/>
                  </a:lnTo>
                  <a:lnTo>
                    <a:pt x="8031" y="3052"/>
                  </a:lnTo>
                  <a:lnTo>
                    <a:pt x="8031" y="2941"/>
                  </a:lnTo>
                  <a:lnTo>
                    <a:pt x="8032" y="2932"/>
                  </a:lnTo>
                  <a:lnTo>
                    <a:pt x="8037" y="2925"/>
                  </a:lnTo>
                  <a:lnTo>
                    <a:pt x="8044" y="2922"/>
                  </a:lnTo>
                  <a:lnTo>
                    <a:pt x="8051" y="2920"/>
                  </a:lnTo>
                  <a:lnTo>
                    <a:pt x="8058" y="2922"/>
                  </a:lnTo>
                  <a:lnTo>
                    <a:pt x="8064" y="2925"/>
                  </a:lnTo>
                  <a:lnTo>
                    <a:pt x="8069" y="2932"/>
                  </a:lnTo>
                  <a:lnTo>
                    <a:pt x="8071" y="2941"/>
                  </a:lnTo>
                  <a:close/>
                  <a:moveTo>
                    <a:pt x="8334" y="2941"/>
                  </a:moveTo>
                  <a:lnTo>
                    <a:pt x="8334" y="3052"/>
                  </a:lnTo>
                  <a:lnTo>
                    <a:pt x="8332" y="3061"/>
                  </a:lnTo>
                  <a:lnTo>
                    <a:pt x="8327" y="3067"/>
                  </a:lnTo>
                  <a:lnTo>
                    <a:pt x="8322" y="3071"/>
                  </a:lnTo>
                  <a:lnTo>
                    <a:pt x="8314" y="3072"/>
                  </a:lnTo>
                  <a:lnTo>
                    <a:pt x="8307" y="3071"/>
                  </a:lnTo>
                  <a:lnTo>
                    <a:pt x="8300" y="3067"/>
                  </a:lnTo>
                  <a:lnTo>
                    <a:pt x="8296" y="3061"/>
                  </a:lnTo>
                  <a:lnTo>
                    <a:pt x="8294" y="3052"/>
                  </a:lnTo>
                  <a:lnTo>
                    <a:pt x="8294" y="2941"/>
                  </a:lnTo>
                  <a:lnTo>
                    <a:pt x="8296" y="2932"/>
                  </a:lnTo>
                  <a:lnTo>
                    <a:pt x="8300" y="2925"/>
                  </a:lnTo>
                  <a:lnTo>
                    <a:pt x="8307" y="2922"/>
                  </a:lnTo>
                  <a:lnTo>
                    <a:pt x="8314" y="2920"/>
                  </a:lnTo>
                  <a:lnTo>
                    <a:pt x="8322" y="2922"/>
                  </a:lnTo>
                  <a:lnTo>
                    <a:pt x="8327" y="2925"/>
                  </a:lnTo>
                  <a:lnTo>
                    <a:pt x="8332" y="2932"/>
                  </a:lnTo>
                  <a:lnTo>
                    <a:pt x="8334" y="2941"/>
                  </a:lnTo>
                  <a:close/>
                  <a:moveTo>
                    <a:pt x="8598" y="2941"/>
                  </a:moveTo>
                  <a:lnTo>
                    <a:pt x="8598" y="3052"/>
                  </a:lnTo>
                  <a:lnTo>
                    <a:pt x="8595" y="3061"/>
                  </a:lnTo>
                  <a:lnTo>
                    <a:pt x="8591" y="3067"/>
                  </a:lnTo>
                  <a:lnTo>
                    <a:pt x="8585" y="3071"/>
                  </a:lnTo>
                  <a:lnTo>
                    <a:pt x="8577" y="3072"/>
                  </a:lnTo>
                  <a:lnTo>
                    <a:pt x="8569" y="3071"/>
                  </a:lnTo>
                  <a:lnTo>
                    <a:pt x="8563" y="3067"/>
                  </a:lnTo>
                  <a:lnTo>
                    <a:pt x="8559" y="3061"/>
                  </a:lnTo>
                  <a:lnTo>
                    <a:pt x="8557" y="3052"/>
                  </a:lnTo>
                  <a:lnTo>
                    <a:pt x="8557" y="2941"/>
                  </a:lnTo>
                  <a:lnTo>
                    <a:pt x="8559" y="2932"/>
                  </a:lnTo>
                  <a:lnTo>
                    <a:pt x="8563" y="2925"/>
                  </a:lnTo>
                  <a:lnTo>
                    <a:pt x="8569" y="2922"/>
                  </a:lnTo>
                  <a:lnTo>
                    <a:pt x="8577" y="2920"/>
                  </a:lnTo>
                  <a:lnTo>
                    <a:pt x="8585" y="2922"/>
                  </a:lnTo>
                  <a:lnTo>
                    <a:pt x="8591" y="2925"/>
                  </a:lnTo>
                  <a:lnTo>
                    <a:pt x="8595" y="2932"/>
                  </a:lnTo>
                  <a:lnTo>
                    <a:pt x="8598" y="2941"/>
                  </a:lnTo>
                  <a:close/>
                  <a:moveTo>
                    <a:pt x="8861" y="2941"/>
                  </a:moveTo>
                  <a:lnTo>
                    <a:pt x="8861" y="3052"/>
                  </a:lnTo>
                  <a:lnTo>
                    <a:pt x="8858" y="3061"/>
                  </a:lnTo>
                  <a:lnTo>
                    <a:pt x="8854" y="3067"/>
                  </a:lnTo>
                  <a:lnTo>
                    <a:pt x="8848" y="3071"/>
                  </a:lnTo>
                  <a:lnTo>
                    <a:pt x="8840" y="3072"/>
                  </a:lnTo>
                  <a:lnTo>
                    <a:pt x="8832" y="3071"/>
                  </a:lnTo>
                  <a:lnTo>
                    <a:pt x="8826" y="3067"/>
                  </a:lnTo>
                  <a:lnTo>
                    <a:pt x="8822" y="3061"/>
                  </a:lnTo>
                  <a:lnTo>
                    <a:pt x="8821" y="3052"/>
                  </a:lnTo>
                  <a:lnTo>
                    <a:pt x="8821" y="2941"/>
                  </a:lnTo>
                  <a:lnTo>
                    <a:pt x="8822" y="2932"/>
                  </a:lnTo>
                  <a:lnTo>
                    <a:pt x="8826" y="2925"/>
                  </a:lnTo>
                  <a:lnTo>
                    <a:pt x="8832" y="2922"/>
                  </a:lnTo>
                  <a:lnTo>
                    <a:pt x="8840" y="2920"/>
                  </a:lnTo>
                  <a:lnTo>
                    <a:pt x="8848" y="2922"/>
                  </a:lnTo>
                  <a:lnTo>
                    <a:pt x="8854" y="2925"/>
                  </a:lnTo>
                  <a:lnTo>
                    <a:pt x="8858" y="2932"/>
                  </a:lnTo>
                  <a:lnTo>
                    <a:pt x="8861" y="2941"/>
                  </a:lnTo>
                  <a:close/>
                  <a:moveTo>
                    <a:pt x="7545" y="3186"/>
                  </a:moveTo>
                  <a:lnTo>
                    <a:pt x="7545" y="3299"/>
                  </a:lnTo>
                  <a:lnTo>
                    <a:pt x="7542" y="3308"/>
                  </a:lnTo>
                  <a:lnTo>
                    <a:pt x="7539" y="3314"/>
                  </a:lnTo>
                  <a:lnTo>
                    <a:pt x="7532" y="3318"/>
                  </a:lnTo>
                  <a:lnTo>
                    <a:pt x="7524" y="3319"/>
                  </a:lnTo>
                  <a:lnTo>
                    <a:pt x="7517" y="3318"/>
                  </a:lnTo>
                  <a:lnTo>
                    <a:pt x="7510" y="3314"/>
                  </a:lnTo>
                  <a:lnTo>
                    <a:pt x="7506" y="3308"/>
                  </a:lnTo>
                  <a:lnTo>
                    <a:pt x="7505" y="3299"/>
                  </a:lnTo>
                  <a:lnTo>
                    <a:pt x="7505" y="3186"/>
                  </a:lnTo>
                  <a:lnTo>
                    <a:pt x="7506" y="3179"/>
                  </a:lnTo>
                  <a:lnTo>
                    <a:pt x="7510" y="3172"/>
                  </a:lnTo>
                  <a:lnTo>
                    <a:pt x="7517" y="3168"/>
                  </a:lnTo>
                  <a:lnTo>
                    <a:pt x="7524" y="3167"/>
                  </a:lnTo>
                  <a:lnTo>
                    <a:pt x="7532" y="3168"/>
                  </a:lnTo>
                  <a:lnTo>
                    <a:pt x="7539" y="3172"/>
                  </a:lnTo>
                  <a:lnTo>
                    <a:pt x="7542" y="3179"/>
                  </a:lnTo>
                  <a:lnTo>
                    <a:pt x="7545" y="3186"/>
                  </a:lnTo>
                  <a:close/>
                  <a:moveTo>
                    <a:pt x="7808" y="3186"/>
                  </a:moveTo>
                  <a:lnTo>
                    <a:pt x="7808" y="3299"/>
                  </a:lnTo>
                  <a:lnTo>
                    <a:pt x="7807" y="3308"/>
                  </a:lnTo>
                  <a:lnTo>
                    <a:pt x="7801" y="3314"/>
                  </a:lnTo>
                  <a:lnTo>
                    <a:pt x="7795" y="3318"/>
                  </a:lnTo>
                  <a:lnTo>
                    <a:pt x="7787" y="3319"/>
                  </a:lnTo>
                  <a:lnTo>
                    <a:pt x="7781" y="3318"/>
                  </a:lnTo>
                  <a:lnTo>
                    <a:pt x="7774" y="3314"/>
                  </a:lnTo>
                  <a:lnTo>
                    <a:pt x="7769" y="3308"/>
                  </a:lnTo>
                  <a:lnTo>
                    <a:pt x="7768" y="3299"/>
                  </a:lnTo>
                  <a:lnTo>
                    <a:pt x="7768" y="3186"/>
                  </a:lnTo>
                  <a:lnTo>
                    <a:pt x="7769" y="3179"/>
                  </a:lnTo>
                  <a:lnTo>
                    <a:pt x="7774" y="3172"/>
                  </a:lnTo>
                  <a:lnTo>
                    <a:pt x="7781" y="3168"/>
                  </a:lnTo>
                  <a:lnTo>
                    <a:pt x="7787" y="3167"/>
                  </a:lnTo>
                  <a:lnTo>
                    <a:pt x="7795" y="3168"/>
                  </a:lnTo>
                  <a:lnTo>
                    <a:pt x="7801" y="3172"/>
                  </a:lnTo>
                  <a:lnTo>
                    <a:pt x="7807" y="3179"/>
                  </a:lnTo>
                  <a:lnTo>
                    <a:pt x="7808" y="3186"/>
                  </a:lnTo>
                  <a:close/>
                  <a:moveTo>
                    <a:pt x="8071" y="3186"/>
                  </a:moveTo>
                  <a:lnTo>
                    <a:pt x="8071" y="3299"/>
                  </a:lnTo>
                  <a:lnTo>
                    <a:pt x="8069" y="3308"/>
                  </a:lnTo>
                  <a:lnTo>
                    <a:pt x="8064" y="3314"/>
                  </a:lnTo>
                  <a:lnTo>
                    <a:pt x="8058" y="3318"/>
                  </a:lnTo>
                  <a:lnTo>
                    <a:pt x="8051" y="3319"/>
                  </a:lnTo>
                  <a:lnTo>
                    <a:pt x="8044" y="3318"/>
                  </a:lnTo>
                  <a:lnTo>
                    <a:pt x="8037" y="3314"/>
                  </a:lnTo>
                  <a:lnTo>
                    <a:pt x="8032" y="3308"/>
                  </a:lnTo>
                  <a:lnTo>
                    <a:pt x="8031" y="3299"/>
                  </a:lnTo>
                  <a:lnTo>
                    <a:pt x="8031" y="3186"/>
                  </a:lnTo>
                  <a:lnTo>
                    <a:pt x="8032" y="3179"/>
                  </a:lnTo>
                  <a:lnTo>
                    <a:pt x="8037" y="3172"/>
                  </a:lnTo>
                  <a:lnTo>
                    <a:pt x="8044" y="3168"/>
                  </a:lnTo>
                  <a:lnTo>
                    <a:pt x="8051" y="3167"/>
                  </a:lnTo>
                  <a:lnTo>
                    <a:pt x="8058" y="3168"/>
                  </a:lnTo>
                  <a:lnTo>
                    <a:pt x="8064" y="3172"/>
                  </a:lnTo>
                  <a:lnTo>
                    <a:pt x="8069" y="3179"/>
                  </a:lnTo>
                  <a:lnTo>
                    <a:pt x="8071" y="3186"/>
                  </a:lnTo>
                  <a:close/>
                  <a:moveTo>
                    <a:pt x="8334" y="3186"/>
                  </a:moveTo>
                  <a:lnTo>
                    <a:pt x="8334" y="3299"/>
                  </a:lnTo>
                  <a:lnTo>
                    <a:pt x="8332" y="3308"/>
                  </a:lnTo>
                  <a:lnTo>
                    <a:pt x="8327" y="3314"/>
                  </a:lnTo>
                  <a:lnTo>
                    <a:pt x="8322" y="3318"/>
                  </a:lnTo>
                  <a:lnTo>
                    <a:pt x="8314" y="3319"/>
                  </a:lnTo>
                  <a:lnTo>
                    <a:pt x="8307" y="3318"/>
                  </a:lnTo>
                  <a:lnTo>
                    <a:pt x="8300" y="3314"/>
                  </a:lnTo>
                  <a:lnTo>
                    <a:pt x="8296" y="3308"/>
                  </a:lnTo>
                  <a:lnTo>
                    <a:pt x="8294" y="3299"/>
                  </a:lnTo>
                  <a:lnTo>
                    <a:pt x="8294" y="3186"/>
                  </a:lnTo>
                  <a:lnTo>
                    <a:pt x="8296" y="3179"/>
                  </a:lnTo>
                  <a:lnTo>
                    <a:pt x="8300" y="3172"/>
                  </a:lnTo>
                  <a:lnTo>
                    <a:pt x="8307" y="3168"/>
                  </a:lnTo>
                  <a:lnTo>
                    <a:pt x="8314" y="3167"/>
                  </a:lnTo>
                  <a:lnTo>
                    <a:pt x="8322" y="3168"/>
                  </a:lnTo>
                  <a:lnTo>
                    <a:pt x="8327" y="3172"/>
                  </a:lnTo>
                  <a:lnTo>
                    <a:pt x="8332" y="3179"/>
                  </a:lnTo>
                  <a:lnTo>
                    <a:pt x="8334" y="3186"/>
                  </a:lnTo>
                  <a:close/>
                  <a:moveTo>
                    <a:pt x="8598" y="3186"/>
                  </a:moveTo>
                  <a:lnTo>
                    <a:pt x="8598" y="3299"/>
                  </a:lnTo>
                  <a:lnTo>
                    <a:pt x="8595" y="3308"/>
                  </a:lnTo>
                  <a:lnTo>
                    <a:pt x="8591" y="3314"/>
                  </a:lnTo>
                  <a:lnTo>
                    <a:pt x="8585" y="3318"/>
                  </a:lnTo>
                  <a:lnTo>
                    <a:pt x="8577" y="3319"/>
                  </a:lnTo>
                  <a:lnTo>
                    <a:pt x="8569" y="3318"/>
                  </a:lnTo>
                  <a:lnTo>
                    <a:pt x="8563" y="3314"/>
                  </a:lnTo>
                  <a:lnTo>
                    <a:pt x="8559" y="3308"/>
                  </a:lnTo>
                  <a:lnTo>
                    <a:pt x="8557" y="3299"/>
                  </a:lnTo>
                  <a:lnTo>
                    <a:pt x="8557" y="3186"/>
                  </a:lnTo>
                  <a:lnTo>
                    <a:pt x="8559" y="3179"/>
                  </a:lnTo>
                  <a:lnTo>
                    <a:pt x="8563" y="3172"/>
                  </a:lnTo>
                  <a:lnTo>
                    <a:pt x="8569" y="3168"/>
                  </a:lnTo>
                  <a:lnTo>
                    <a:pt x="8577" y="3167"/>
                  </a:lnTo>
                  <a:lnTo>
                    <a:pt x="8585" y="3168"/>
                  </a:lnTo>
                  <a:lnTo>
                    <a:pt x="8591" y="3172"/>
                  </a:lnTo>
                  <a:lnTo>
                    <a:pt x="8595" y="3179"/>
                  </a:lnTo>
                  <a:lnTo>
                    <a:pt x="8598" y="3186"/>
                  </a:lnTo>
                  <a:close/>
                  <a:moveTo>
                    <a:pt x="8861" y="3186"/>
                  </a:moveTo>
                  <a:lnTo>
                    <a:pt x="8861" y="3299"/>
                  </a:lnTo>
                  <a:lnTo>
                    <a:pt x="8858" y="3308"/>
                  </a:lnTo>
                  <a:lnTo>
                    <a:pt x="8854" y="3314"/>
                  </a:lnTo>
                  <a:lnTo>
                    <a:pt x="8848" y="3318"/>
                  </a:lnTo>
                  <a:lnTo>
                    <a:pt x="8840" y="3319"/>
                  </a:lnTo>
                  <a:lnTo>
                    <a:pt x="8832" y="3318"/>
                  </a:lnTo>
                  <a:lnTo>
                    <a:pt x="8826" y="3314"/>
                  </a:lnTo>
                  <a:lnTo>
                    <a:pt x="8822" y="3308"/>
                  </a:lnTo>
                  <a:lnTo>
                    <a:pt x="8821" y="3299"/>
                  </a:lnTo>
                  <a:lnTo>
                    <a:pt x="8821" y="3186"/>
                  </a:lnTo>
                  <a:lnTo>
                    <a:pt x="8822" y="3179"/>
                  </a:lnTo>
                  <a:lnTo>
                    <a:pt x="8826" y="3172"/>
                  </a:lnTo>
                  <a:lnTo>
                    <a:pt x="8832" y="3168"/>
                  </a:lnTo>
                  <a:lnTo>
                    <a:pt x="8840" y="3167"/>
                  </a:lnTo>
                  <a:lnTo>
                    <a:pt x="8848" y="3168"/>
                  </a:lnTo>
                  <a:lnTo>
                    <a:pt x="8854" y="3172"/>
                  </a:lnTo>
                  <a:lnTo>
                    <a:pt x="8858" y="3179"/>
                  </a:lnTo>
                  <a:lnTo>
                    <a:pt x="8861" y="3186"/>
                  </a:lnTo>
                  <a:close/>
                  <a:moveTo>
                    <a:pt x="7545" y="3433"/>
                  </a:moveTo>
                  <a:lnTo>
                    <a:pt x="7545" y="3546"/>
                  </a:lnTo>
                  <a:lnTo>
                    <a:pt x="7542" y="3554"/>
                  </a:lnTo>
                  <a:lnTo>
                    <a:pt x="7539" y="3561"/>
                  </a:lnTo>
                  <a:lnTo>
                    <a:pt x="7532" y="3565"/>
                  </a:lnTo>
                  <a:lnTo>
                    <a:pt x="7524" y="3565"/>
                  </a:lnTo>
                  <a:lnTo>
                    <a:pt x="7517" y="3565"/>
                  </a:lnTo>
                  <a:lnTo>
                    <a:pt x="7510" y="3561"/>
                  </a:lnTo>
                  <a:lnTo>
                    <a:pt x="7506" y="3554"/>
                  </a:lnTo>
                  <a:lnTo>
                    <a:pt x="7505" y="3546"/>
                  </a:lnTo>
                  <a:lnTo>
                    <a:pt x="7505" y="3433"/>
                  </a:lnTo>
                  <a:lnTo>
                    <a:pt x="7506" y="3424"/>
                  </a:lnTo>
                  <a:lnTo>
                    <a:pt x="7510" y="3419"/>
                  </a:lnTo>
                  <a:lnTo>
                    <a:pt x="7517" y="3415"/>
                  </a:lnTo>
                  <a:lnTo>
                    <a:pt x="7524" y="3414"/>
                  </a:lnTo>
                  <a:lnTo>
                    <a:pt x="7532" y="3415"/>
                  </a:lnTo>
                  <a:lnTo>
                    <a:pt x="7539" y="3419"/>
                  </a:lnTo>
                  <a:lnTo>
                    <a:pt x="7542" y="3424"/>
                  </a:lnTo>
                  <a:lnTo>
                    <a:pt x="7545" y="3433"/>
                  </a:lnTo>
                  <a:close/>
                  <a:moveTo>
                    <a:pt x="7808" y="3433"/>
                  </a:moveTo>
                  <a:lnTo>
                    <a:pt x="7808" y="3546"/>
                  </a:lnTo>
                  <a:lnTo>
                    <a:pt x="7807" y="3554"/>
                  </a:lnTo>
                  <a:lnTo>
                    <a:pt x="7801" y="3561"/>
                  </a:lnTo>
                  <a:lnTo>
                    <a:pt x="7795" y="3565"/>
                  </a:lnTo>
                  <a:lnTo>
                    <a:pt x="7787" y="3565"/>
                  </a:lnTo>
                  <a:lnTo>
                    <a:pt x="7781" y="3565"/>
                  </a:lnTo>
                  <a:lnTo>
                    <a:pt x="7774" y="3561"/>
                  </a:lnTo>
                  <a:lnTo>
                    <a:pt x="7769" y="3554"/>
                  </a:lnTo>
                  <a:lnTo>
                    <a:pt x="7768" y="3546"/>
                  </a:lnTo>
                  <a:lnTo>
                    <a:pt x="7768" y="3433"/>
                  </a:lnTo>
                  <a:lnTo>
                    <a:pt x="7769" y="3424"/>
                  </a:lnTo>
                  <a:lnTo>
                    <a:pt x="7774" y="3419"/>
                  </a:lnTo>
                  <a:lnTo>
                    <a:pt x="7781" y="3415"/>
                  </a:lnTo>
                  <a:lnTo>
                    <a:pt x="7787" y="3414"/>
                  </a:lnTo>
                  <a:lnTo>
                    <a:pt x="7795" y="3415"/>
                  </a:lnTo>
                  <a:lnTo>
                    <a:pt x="7801" y="3419"/>
                  </a:lnTo>
                  <a:lnTo>
                    <a:pt x="7807" y="3424"/>
                  </a:lnTo>
                  <a:lnTo>
                    <a:pt x="7808" y="3433"/>
                  </a:lnTo>
                  <a:close/>
                  <a:moveTo>
                    <a:pt x="8071" y="3433"/>
                  </a:moveTo>
                  <a:lnTo>
                    <a:pt x="8071" y="3546"/>
                  </a:lnTo>
                  <a:lnTo>
                    <a:pt x="8069" y="3554"/>
                  </a:lnTo>
                  <a:lnTo>
                    <a:pt x="8064" y="3561"/>
                  </a:lnTo>
                  <a:lnTo>
                    <a:pt x="8058" y="3565"/>
                  </a:lnTo>
                  <a:lnTo>
                    <a:pt x="8051" y="3565"/>
                  </a:lnTo>
                  <a:lnTo>
                    <a:pt x="8044" y="3565"/>
                  </a:lnTo>
                  <a:lnTo>
                    <a:pt x="8037" y="3561"/>
                  </a:lnTo>
                  <a:lnTo>
                    <a:pt x="8032" y="3554"/>
                  </a:lnTo>
                  <a:lnTo>
                    <a:pt x="8031" y="3546"/>
                  </a:lnTo>
                  <a:lnTo>
                    <a:pt x="8031" y="3433"/>
                  </a:lnTo>
                  <a:lnTo>
                    <a:pt x="8032" y="3424"/>
                  </a:lnTo>
                  <a:lnTo>
                    <a:pt x="8037" y="3419"/>
                  </a:lnTo>
                  <a:lnTo>
                    <a:pt x="8044" y="3415"/>
                  </a:lnTo>
                  <a:lnTo>
                    <a:pt x="8051" y="3414"/>
                  </a:lnTo>
                  <a:lnTo>
                    <a:pt x="8058" y="3415"/>
                  </a:lnTo>
                  <a:lnTo>
                    <a:pt x="8064" y="3419"/>
                  </a:lnTo>
                  <a:lnTo>
                    <a:pt x="8069" y="3424"/>
                  </a:lnTo>
                  <a:lnTo>
                    <a:pt x="8071" y="3433"/>
                  </a:lnTo>
                  <a:close/>
                  <a:moveTo>
                    <a:pt x="8334" y="3433"/>
                  </a:moveTo>
                  <a:lnTo>
                    <a:pt x="8334" y="3546"/>
                  </a:lnTo>
                  <a:lnTo>
                    <a:pt x="8332" y="3554"/>
                  </a:lnTo>
                  <a:lnTo>
                    <a:pt x="8327" y="3561"/>
                  </a:lnTo>
                  <a:lnTo>
                    <a:pt x="8322" y="3565"/>
                  </a:lnTo>
                  <a:lnTo>
                    <a:pt x="8314" y="3565"/>
                  </a:lnTo>
                  <a:lnTo>
                    <a:pt x="8307" y="3565"/>
                  </a:lnTo>
                  <a:lnTo>
                    <a:pt x="8300" y="3561"/>
                  </a:lnTo>
                  <a:lnTo>
                    <a:pt x="8296" y="3554"/>
                  </a:lnTo>
                  <a:lnTo>
                    <a:pt x="8294" y="3546"/>
                  </a:lnTo>
                  <a:lnTo>
                    <a:pt x="8294" y="3433"/>
                  </a:lnTo>
                  <a:lnTo>
                    <a:pt x="8296" y="3424"/>
                  </a:lnTo>
                  <a:lnTo>
                    <a:pt x="8300" y="3419"/>
                  </a:lnTo>
                  <a:lnTo>
                    <a:pt x="8307" y="3415"/>
                  </a:lnTo>
                  <a:lnTo>
                    <a:pt x="8314" y="3414"/>
                  </a:lnTo>
                  <a:lnTo>
                    <a:pt x="8322" y="3415"/>
                  </a:lnTo>
                  <a:lnTo>
                    <a:pt x="8327" y="3419"/>
                  </a:lnTo>
                  <a:lnTo>
                    <a:pt x="8332" y="3424"/>
                  </a:lnTo>
                  <a:lnTo>
                    <a:pt x="8334" y="3433"/>
                  </a:lnTo>
                  <a:close/>
                  <a:moveTo>
                    <a:pt x="8598" y="3433"/>
                  </a:moveTo>
                  <a:lnTo>
                    <a:pt x="8598" y="3546"/>
                  </a:lnTo>
                  <a:lnTo>
                    <a:pt x="8595" y="3554"/>
                  </a:lnTo>
                  <a:lnTo>
                    <a:pt x="8591" y="3561"/>
                  </a:lnTo>
                  <a:lnTo>
                    <a:pt x="8585" y="3565"/>
                  </a:lnTo>
                  <a:lnTo>
                    <a:pt x="8577" y="3565"/>
                  </a:lnTo>
                  <a:lnTo>
                    <a:pt x="8569" y="3565"/>
                  </a:lnTo>
                  <a:lnTo>
                    <a:pt x="8563" y="3561"/>
                  </a:lnTo>
                  <a:lnTo>
                    <a:pt x="8559" y="3554"/>
                  </a:lnTo>
                  <a:lnTo>
                    <a:pt x="8557" y="3546"/>
                  </a:lnTo>
                  <a:lnTo>
                    <a:pt x="8557" y="3433"/>
                  </a:lnTo>
                  <a:lnTo>
                    <a:pt x="8559" y="3424"/>
                  </a:lnTo>
                  <a:lnTo>
                    <a:pt x="8563" y="3419"/>
                  </a:lnTo>
                  <a:lnTo>
                    <a:pt x="8569" y="3415"/>
                  </a:lnTo>
                  <a:lnTo>
                    <a:pt x="8577" y="3414"/>
                  </a:lnTo>
                  <a:lnTo>
                    <a:pt x="8585" y="3415"/>
                  </a:lnTo>
                  <a:lnTo>
                    <a:pt x="8591" y="3419"/>
                  </a:lnTo>
                  <a:lnTo>
                    <a:pt x="8595" y="3424"/>
                  </a:lnTo>
                  <a:lnTo>
                    <a:pt x="8598" y="3433"/>
                  </a:lnTo>
                  <a:close/>
                  <a:moveTo>
                    <a:pt x="8861" y="3433"/>
                  </a:moveTo>
                  <a:lnTo>
                    <a:pt x="8861" y="3546"/>
                  </a:lnTo>
                  <a:lnTo>
                    <a:pt x="8858" y="3554"/>
                  </a:lnTo>
                  <a:lnTo>
                    <a:pt x="8854" y="3561"/>
                  </a:lnTo>
                  <a:lnTo>
                    <a:pt x="8848" y="3565"/>
                  </a:lnTo>
                  <a:lnTo>
                    <a:pt x="8840" y="3565"/>
                  </a:lnTo>
                  <a:lnTo>
                    <a:pt x="8832" y="3565"/>
                  </a:lnTo>
                  <a:lnTo>
                    <a:pt x="8826" y="3561"/>
                  </a:lnTo>
                  <a:lnTo>
                    <a:pt x="8822" y="3554"/>
                  </a:lnTo>
                  <a:lnTo>
                    <a:pt x="8821" y="3546"/>
                  </a:lnTo>
                  <a:lnTo>
                    <a:pt x="8821" y="3433"/>
                  </a:lnTo>
                  <a:lnTo>
                    <a:pt x="8822" y="3424"/>
                  </a:lnTo>
                  <a:lnTo>
                    <a:pt x="8826" y="3419"/>
                  </a:lnTo>
                  <a:lnTo>
                    <a:pt x="8832" y="3415"/>
                  </a:lnTo>
                  <a:lnTo>
                    <a:pt x="8840" y="3414"/>
                  </a:lnTo>
                  <a:lnTo>
                    <a:pt x="8848" y="3415"/>
                  </a:lnTo>
                  <a:lnTo>
                    <a:pt x="8854" y="3419"/>
                  </a:lnTo>
                  <a:lnTo>
                    <a:pt x="8858" y="3424"/>
                  </a:lnTo>
                  <a:lnTo>
                    <a:pt x="8861" y="3433"/>
                  </a:lnTo>
                  <a:close/>
                  <a:moveTo>
                    <a:pt x="7545" y="3680"/>
                  </a:moveTo>
                  <a:lnTo>
                    <a:pt x="7545" y="3792"/>
                  </a:lnTo>
                  <a:lnTo>
                    <a:pt x="7542" y="3801"/>
                  </a:lnTo>
                  <a:lnTo>
                    <a:pt x="7539" y="3806"/>
                  </a:lnTo>
                  <a:lnTo>
                    <a:pt x="7532" y="3810"/>
                  </a:lnTo>
                  <a:lnTo>
                    <a:pt x="7524" y="3811"/>
                  </a:lnTo>
                  <a:lnTo>
                    <a:pt x="7517" y="3810"/>
                  </a:lnTo>
                  <a:lnTo>
                    <a:pt x="7510" y="3806"/>
                  </a:lnTo>
                  <a:lnTo>
                    <a:pt x="7506" y="3801"/>
                  </a:lnTo>
                  <a:lnTo>
                    <a:pt x="7505" y="3792"/>
                  </a:lnTo>
                  <a:lnTo>
                    <a:pt x="7505" y="3680"/>
                  </a:lnTo>
                  <a:lnTo>
                    <a:pt x="7506" y="3671"/>
                  </a:lnTo>
                  <a:lnTo>
                    <a:pt x="7510" y="3664"/>
                  </a:lnTo>
                  <a:lnTo>
                    <a:pt x="7517" y="3661"/>
                  </a:lnTo>
                  <a:lnTo>
                    <a:pt x="7524" y="3659"/>
                  </a:lnTo>
                  <a:lnTo>
                    <a:pt x="7532" y="3661"/>
                  </a:lnTo>
                  <a:lnTo>
                    <a:pt x="7539" y="3664"/>
                  </a:lnTo>
                  <a:lnTo>
                    <a:pt x="7542" y="3671"/>
                  </a:lnTo>
                  <a:lnTo>
                    <a:pt x="7545" y="3680"/>
                  </a:lnTo>
                  <a:close/>
                  <a:moveTo>
                    <a:pt x="7808" y="3680"/>
                  </a:moveTo>
                  <a:lnTo>
                    <a:pt x="7808" y="3792"/>
                  </a:lnTo>
                  <a:lnTo>
                    <a:pt x="7807" y="3801"/>
                  </a:lnTo>
                  <a:lnTo>
                    <a:pt x="7801" y="3806"/>
                  </a:lnTo>
                  <a:lnTo>
                    <a:pt x="7795" y="3810"/>
                  </a:lnTo>
                  <a:lnTo>
                    <a:pt x="7787" y="3811"/>
                  </a:lnTo>
                  <a:lnTo>
                    <a:pt x="7781" y="3810"/>
                  </a:lnTo>
                  <a:lnTo>
                    <a:pt x="7774" y="3806"/>
                  </a:lnTo>
                  <a:lnTo>
                    <a:pt x="7769" y="3801"/>
                  </a:lnTo>
                  <a:lnTo>
                    <a:pt x="7768" y="3792"/>
                  </a:lnTo>
                  <a:lnTo>
                    <a:pt x="7768" y="3680"/>
                  </a:lnTo>
                  <a:lnTo>
                    <a:pt x="7769" y="3671"/>
                  </a:lnTo>
                  <a:lnTo>
                    <a:pt x="7774" y="3664"/>
                  </a:lnTo>
                  <a:lnTo>
                    <a:pt x="7781" y="3661"/>
                  </a:lnTo>
                  <a:lnTo>
                    <a:pt x="7787" y="3659"/>
                  </a:lnTo>
                  <a:lnTo>
                    <a:pt x="7795" y="3661"/>
                  </a:lnTo>
                  <a:lnTo>
                    <a:pt x="7801" y="3664"/>
                  </a:lnTo>
                  <a:lnTo>
                    <a:pt x="7807" y="3671"/>
                  </a:lnTo>
                  <a:lnTo>
                    <a:pt x="7808" y="3680"/>
                  </a:lnTo>
                  <a:close/>
                  <a:moveTo>
                    <a:pt x="8071" y="3680"/>
                  </a:moveTo>
                  <a:lnTo>
                    <a:pt x="8071" y="3792"/>
                  </a:lnTo>
                  <a:lnTo>
                    <a:pt x="8069" y="3801"/>
                  </a:lnTo>
                  <a:lnTo>
                    <a:pt x="8064" y="3806"/>
                  </a:lnTo>
                  <a:lnTo>
                    <a:pt x="8058" y="3810"/>
                  </a:lnTo>
                  <a:lnTo>
                    <a:pt x="8051" y="3811"/>
                  </a:lnTo>
                  <a:lnTo>
                    <a:pt x="8044" y="3810"/>
                  </a:lnTo>
                  <a:lnTo>
                    <a:pt x="8037" y="3806"/>
                  </a:lnTo>
                  <a:lnTo>
                    <a:pt x="8032" y="3801"/>
                  </a:lnTo>
                  <a:lnTo>
                    <a:pt x="8031" y="3792"/>
                  </a:lnTo>
                  <a:lnTo>
                    <a:pt x="8031" y="3680"/>
                  </a:lnTo>
                  <a:lnTo>
                    <a:pt x="8032" y="3671"/>
                  </a:lnTo>
                  <a:lnTo>
                    <a:pt x="8037" y="3664"/>
                  </a:lnTo>
                  <a:lnTo>
                    <a:pt x="8044" y="3661"/>
                  </a:lnTo>
                  <a:lnTo>
                    <a:pt x="8051" y="3659"/>
                  </a:lnTo>
                  <a:lnTo>
                    <a:pt x="8058" y="3661"/>
                  </a:lnTo>
                  <a:lnTo>
                    <a:pt x="8064" y="3664"/>
                  </a:lnTo>
                  <a:lnTo>
                    <a:pt x="8069" y="3671"/>
                  </a:lnTo>
                  <a:lnTo>
                    <a:pt x="8071" y="3680"/>
                  </a:lnTo>
                  <a:close/>
                  <a:moveTo>
                    <a:pt x="8334" y="3680"/>
                  </a:moveTo>
                  <a:lnTo>
                    <a:pt x="8334" y="3792"/>
                  </a:lnTo>
                  <a:lnTo>
                    <a:pt x="8332" y="3801"/>
                  </a:lnTo>
                  <a:lnTo>
                    <a:pt x="8327" y="3806"/>
                  </a:lnTo>
                  <a:lnTo>
                    <a:pt x="8322" y="3810"/>
                  </a:lnTo>
                  <a:lnTo>
                    <a:pt x="8314" y="3811"/>
                  </a:lnTo>
                  <a:lnTo>
                    <a:pt x="8307" y="3810"/>
                  </a:lnTo>
                  <a:lnTo>
                    <a:pt x="8300" y="3806"/>
                  </a:lnTo>
                  <a:lnTo>
                    <a:pt x="8296" y="3801"/>
                  </a:lnTo>
                  <a:lnTo>
                    <a:pt x="8294" y="3792"/>
                  </a:lnTo>
                  <a:lnTo>
                    <a:pt x="8294" y="3680"/>
                  </a:lnTo>
                  <a:lnTo>
                    <a:pt x="8296" y="3671"/>
                  </a:lnTo>
                  <a:lnTo>
                    <a:pt x="8300" y="3664"/>
                  </a:lnTo>
                  <a:lnTo>
                    <a:pt x="8307" y="3661"/>
                  </a:lnTo>
                  <a:lnTo>
                    <a:pt x="8314" y="3659"/>
                  </a:lnTo>
                  <a:lnTo>
                    <a:pt x="8322" y="3661"/>
                  </a:lnTo>
                  <a:lnTo>
                    <a:pt x="8327" y="3664"/>
                  </a:lnTo>
                  <a:lnTo>
                    <a:pt x="8332" y="3671"/>
                  </a:lnTo>
                  <a:lnTo>
                    <a:pt x="8334" y="3680"/>
                  </a:lnTo>
                  <a:close/>
                  <a:moveTo>
                    <a:pt x="8598" y="3680"/>
                  </a:moveTo>
                  <a:lnTo>
                    <a:pt x="8598" y="3792"/>
                  </a:lnTo>
                  <a:lnTo>
                    <a:pt x="8595" y="3801"/>
                  </a:lnTo>
                  <a:lnTo>
                    <a:pt x="8591" y="3806"/>
                  </a:lnTo>
                  <a:lnTo>
                    <a:pt x="8585" y="3810"/>
                  </a:lnTo>
                  <a:lnTo>
                    <a:pt x="8577" y="3811"/>
                  </a:lnTo>
                  <a:lnTo>
                    <a:pt x="8569" y="3810"/>
                  </a:lnTo>
                  <a:lnTo>
                    <a:pt x="8563" y="3806"/>
                  </a:lnTo>
                  <a:lnTo>
                    <a:pt x="8559" y="3801"/>
                  </a:lnTo>
                  <a:lnTo>
                    <a:pt x="8557" y="3792"/>
                  </a:lnTo>
                  <a:lnTo>
                    <a:pt x="8557" y="3680"/>
                  </a:lnTo>
                  <a:lnTo>
                    <a:pt x="8559" y="3671"/>
                  </a:lnTo>
                  <a:lnTo>
                    <a:pt x="8563" y="3664"/>
                  </a:lnTo>
                  <a:lnTo>
                    <a:pt x="8569" y="3661"/>
                  </a:lnTo>
                  <a:lnTo>
                    <a:pt x="8577" y="3659"/>
                  </a:lnTo>
                  <a:lnTo>
                    <a:pt x="8585" y="3661"/>
                  </a:lnTo>
                  <a:lnTo>
                    <a:pt x="8591" y="3664"/>
                  </a:lnTo>
                  <a:lnTo>
                    <a:pt x="8595" y="3671"/>
                  </a:lnTo>
                  <a:lnTo>
                    <a:pt x="8598" y="3680"/>
                  </a:lnTo>
                  <a:close/>
                  <a:moveTo>
                    <a:pt x="8861" y="3680"/>
                  </a:moveTo>
                  <a:lnTo>
                    <a:pt x="8861" y="3792"/>
                  </a:lnTo>
                  <a:lnTo>
                    <a:pt x="8858" y="3801"/>
                  </a:lnTo>
                  <a:lnTo>
                    <a:pt x="8854" y="3806"/>
                  </a:lnTo>
                  <a:lnTo>
                    <a:pt x="8848" y="3810"/>
                  </a:lnTo>
                  <a:lnTo>
                    <a:pt x="8840" y="3811"/>
                  </a:lnTo>
                  <a:lnTo>
                    <a:pt x="8832" y="3810"/>
                  </a:lnTo>
                  <a:lnTo>
                    <a:pt x="8826" y="3806"/>
                  </a:lnTo>
                  <a:lnTo>
                    <a:pt x="8822" y="3801"/>
                  </a:lnTo>
                  <a:lnTo>
                    <a:pt x="8821" y="3792"/>
                  </a:lnTo>
                  <a:lnTo>
                    <a:pt x="8821" y="3680"/>
                  </a:lnTo>
                  <a:lnTo>
                    <a:pt x="8822" y="3671"/>
                  </a:lnTo>
                  <a:lnTo>
                    <a:pt x="8826" y="3664"/>
                  </a:lnTo>
                  <a:lnTo>
                    <a:pt x="8832" y="3661"/>
                  </a:lnTo>
                  <a:lnTo>
                    <a:pt x="8840" y="3659"/>
                  </a:lnTo>
                  <a:lnTo>
                    <a:pt x="8848" y="3661"/>
                  </a:lnTo>
                  <a:lnTo>
                    <a:pt x="8854" y="3664"/>
                  </a:lnTo>
                  <a:lnTo>
                    <a:pt x="8858" y="3671"/>
                  </a:lnTo>
                  <a:lnTo>
                    <a:pt x="8861" y="3680"/>
                  </a:lnTo>
                  <a:close/>
                  <a:moveTo>
                    <a:pt x="9081" y="2604"/>
                  </a:moveTo>
                  <a:lnTo>
                    <a:pt x="9075" y="2604"/>
                  </a:lnTo>
                  <a:lnTo>
                    <a:pt x="9081" y="2604"/>
                  </a:lnTo>
                  <a:close/>
                  <a:moveTo>
                    <a:pt x="5536" y="1840"/>
                  </a:moveTo>
                  <a:lnTo>
                    <a:pt x="5109" y="1840"/>
                  </a:lnTo>
                  <a:lnTo>
                    <a:pt x="5109" y="1950"/>
                  </a:lnTo>
                  <a:lnTo>
                    <a:pt x="5536" y="1950"/>
                  </a:lnTo>
                  <a:lnTo>
                    <a:pt x="5536" y="1840"/>
                  </a:lnTo>
                  <a:close/>
                  <a:moveTo>
                    <a:pt x="4446" y="3790"/>
                  </a:moveTo>
                  <a:lnTo>
                    <a:pt x="5309" y="3790"/>
                  </a:lnTo>
                  <a:lnTo>
                    <a:pt x="5318" y="3791"/>
                  </a:lnTo>
                  <a:lnTo>
                    <a:pt x="5324" y="3796"/>
                  </a:lnTo>
                  <a:lnTo>
                    <a:pt x="5328" y="3803"/>
                  </a:lnTo>
                  <a:lnTo>
                    <a:pt x="5329" y="3809"/>
                  </a:lnTo>
                  <a:lnTo>
                    <a:pt x="5328" y="3817"/>
                  </a:lnTo>
                  <a:lnTo>
                    <a:pt x="5324" y="3823"/>
                  </a:lnTo>
                  <a:lnTo>
                    <a:pt x="5318" y="3828"/>
                  </a:lnTo>
                  <a:lnTo>
                    <a:pt x="5309" y="3829"/>
                  </a:lnTo>
                  <a:lnTo>
                    <a:pt x="5215" y="3829"/>
                  </a:lnTo>
                  <a:lnTo>
                    <a:pt x="5215" y="4317"/>
                  </a:lnTo>
                  <a:lnTo>
                    <a:pt x="5754" y="4317"/>
                  </a:lnTo>
                  <a:lnTo>
                    <a:pt x="5754" y="3782"/>
                  </a:lnTo>
                  <a:lnTo>
                    <a:pt x="5754" y="3249"/>
                  </a:lnTo>
                  <a:lnTo>
                    <a:pt x="5754" y="2716"/>
                  </a:lnTo>
                  <a:lnTo>
                    <a:pt x="5754" y="2182"/>
                  </a:lnTo>
                  <a:lnTo>
                    <a:pt x="5195" y="2182"/>
                  </a:lnTo>
                  <a:lnTo>
                    <a:pt x="4637" y="2182"/>
                  </a:lnTo>
                  <a:lnTo>
                    <a:pt x="4629" y="2181"/>
                  </a:lnTo>
                  <a:lnTo>
                    <a:pt x="4623" y="2176"/>
                  </a:lnTo>
                  <a:lnTo>
                    <a:pt x="4619" y="2170"/>
                  </a:lnTo>
                  <a:lnTo>
                    <a:pt x="4617" y="2163"/>
                  </a:lnTo>
                  <a:lnTo>
                    <a:pt x="4619" y="2156"/>
                  </a:lnTo>
                  <a:lnTo>
                    <a:pt x="4623" y="2149"/>
                  </a:lnTo>
                  <a:lnTo>
                    <a:pt x="4629" y="2144"/>
                  </a:lnTo>
                  <a:lnTo>
                    <a:pt x="4637" y="2143"/>
                  </a:lnTo>
                  <a:lnTo>
                    <a:pt x="5615" y="2143"/>
                  </a:lnTo>
                  <a:lnTo>
                    <a:pt x="5615" y="1989"/>
                  </a:lnTo>
                  <a:lnTo>
                    <a:pt x="5555" y="1989"/>
                  </a:lnTo>
                  <a:lnTo>
                    <a:pt x="5089" y="1989"/>
                  </a:lnTo>
                  <a:lnTo>
                    <a:pt x="4119" y="1989"/>
                  </a:lnTo>
                  <a:lnTo>
                    <a:pt x="4119" y="2143"/>
                  </a:lnTo>
                  <a:lnTo>
                    <a:pt x="4373" y="2143"/>
                  </a:lnTo>
                  <a:lnTo>
                    <a:pt x="4382" y="2144"/>
                  </a:lnTo>
                  <a:lnTo>
                    <a:pt x="4387" y="2149"/>
                  </a:lnTo>
                  <a:lnTo>
                    <a:pt x="4391" y="2156"/>
                  </a:lnTo>
                  <a:lnTo>
                    <a:pt x="4392" y="2163"/>
                  </a:lnTo>
                  <a:lnTo>
                    <a:pt x="4391" y="2170"/>
                  </a:lnTo>
                  <a:lnTo>
                    <a:pt x="4387" y="2176"/>
                  </a:lnTo>
                  <a:lnTo>
                    <a:pt x="4382" y="2181"/>
                  </a:lnTo>
                  <a:lnTo>
                    <a:pt x="4373" y="2182"/>
                  </a:lnTo>
                  <a:lnTo>
                    <a:pt x="4001" y="2182"/>
                  </a:lnTo>
                  <a:lnTo>
                    <a:pt x="4001" y="3195"/>
                  </a:lnTo>
                  <a:lnTo>
                    <a:pt x="3999" y="3204"/>
                  </a:lnTo>
                  <a:lnTo>
                    <a:pt x="3994" y="3211"/>
                  </a:lnTo>
                  <a:lnTo>
                    <a:pt x="3988" y="3214"/>
                  </a:lnTo>
                  <a:lnTo>
                    <a:pt x="3980" y="3216"/>
                  </a:lnTo>
                  <a:lnTo>
                    <a:pt x="3974" y="3214"/>
                  </a:lnTo>
                  <a:lnTo>
                    <a:pt x="3967" y="3211"/>
                  </a:lnTo>
                  <a:lnTo>
                    <a:pt x="3962" y="3204"/>
                  </a:lnTo>
                  <a:lnTo>
                    <a:pt x="3961" y="3195"/>
                  </a:lnTo>
                  <a:lnTo>
                    <a:pt x="3961" y="2679"/>
                  </a:lnTo>
                  <a:lnTo>
                    <a:pt x="3961" y="2163"/>
                  </a:lnTo>
                  <a:lnTo>
                    <a:pt x="3962" y="2156"/>
                  </a:lnTo>
                  <a:lnTo>
                    <a:pt x="3966" y="2149"/>
                  </a:lnTo>
                  <a:lnTo>
                    <a:pt x="3973" y="2144"/>
                  </a:lnTo>
                  <a:lnTo>
                    <a:pt x="3980" y="2143"/>
                  </a:lnTo>
                  <a:lnTo>
                    <a:pt x="4079" y="2143"/>
                  </a:lnTo>
                  <a:lnTo>
                    <a:pt x="4079" y="1970"/>
                  </a:lnTo>
                  <a:lnTo>
                    <a:pt x="4080" y="1963"/>
                  </a:lnTo>
                  <a:lnTo>
                    <a:pt x="4085" y="1956"/>
                  </a:lnTo>
                  <a:lnTo>
                    <a:pt x="4092" y="1951"/>
                  </a:lnTo>
                  <a:lnTo>
                    <a:pt x="4099" y="1950"/>
                  </a:lnTo>
                  <a:lnTo>
                    <a:pt x="5069" y="1950"/>
                  </a:lnTo>
                  <a:lnTo>
                    <a:pt x="5069" y="1819"/>
                  </a:lnTo>
                  <a:lnTo>
                    <a:pt x="5070" y="1812"/>
                  </a:lnTo>
                  <a:lnTo>
                    <a:pt x="5075" y="1805"/>
                  </a:lnTo>
                  <a:lnTo>
                    <a:pt x="5082" y="1801"/>
                  </a:lnTo>
                  <a:lnTo>
                    <a:pt x="5089" y="1799"/>
                  </a:lnTo>
                  <a:lnTo>
                    <a:pt x="5555" y="1799"/>
                  </a:lnTo>
                  <a:lnTo>
                    <a:pt x="5563" y="1801"/>
                  </a:lnTo>
                  <a:lnTo>
                    <a:pt x="5569" y="1805"/>
                  </a:lnTo>
                  <a:lnTo>
                    <a:pt x="5573" y="1812"/>
                  </a:lnTo>
                  <a:lnTo>
                    <a:pt x="5575" y="1819"/>
                  </a:lnTo>
                  <a:lnTo>
                    <a:pt x="5575" y="1950"/>
                  </a:lnTo>
                  <a:lnTo>
                    <a:pt x="5636" y="1950"/>
                  </a:lnTo>
                  <a:lnTo>
                    <a:pt x="5643" y="1951"/>
                  </a:lnTo>
                  <a:lnTo>
                    <a:pt x="5650" y="1956"/>
                  </a:lnTo>
                  <a:lnTo>
                    <a:pt x="5654" y="1963"/>
                  </a:lnTo>
                  <a:lnTo>
                    <a:pt x="5656" y="1970"/>
                  </a:lnTo>
                  <a:lnTo>
                    <a:pt x="5656" y="2143"/>
                  </a:lnTo>
                  <a:lnTo>
                    <a:pt x="5773" y="2143"/>
                  </a:lnTo>
                  <a:lnTo>
                    <a:pt x="5781" y="2144"/>
                  </a:lnTo>
                  <a:lnTo>
                    <a:pt x="5787" y="2149"/>
                  </a:lnTo>
                  <a:lnTo>
                    <a:pt x="5792" y="2156"/>
                  </a:lnTo>
                  <a:lnTo>
                    <a:pt x="5793" y="2163"/>
                  </a:lnTo>
                  <a:lnTo>
                    <a:pt x="5793" y="2705"/>
                  </a:lnTo>
                  <a:lnTo>
                    <a:pt x="5793" y="3249"/>
                  </a:lnTo>
                  <a:lnTo>
                    <a:pt x="5793" y="3792"/>
                  </a:lnTo>
                  <a:lnTo>
                    <a:pt x="5793" y="4336"/>
                  </a:lnTo>
                  <a:lnTo>
                    <a:pt x="5792" y="4343"/>
                  </a:lnTo>
                  <a:lnTo>
                    <a:pt x="5787" y="4350"/>
                  </a:lnTo>
                  <a:lnTo>
                    <a:pt x="5781" y="4355"/>
                  </a:lnTo>
                  <a:lnTo>
                    <a:pt x="5773" y="4356"/>
                  </a:lnTo>
                  <a:lnTo>
                    <a:pt x="5195" y="4356"/>
                  </a:lnTo>
                  <a:lnTo>
                    <a:pt x="4560" y="4356"/>
                  </a:lnTo>
                  <a:lnTo>
                    <a:pt x="3980" y="4356"/>
                  </a:lnTo>
                  <a:lnTo>
                    <a:pt x="3973" y="4355"/>
                  </a:lnTo>
                  <a:lnTo>
                    <a:pt x="3966" y="4350"/>
                  </a:lnTo>
                  <a:lnTo>
                    <a:pt x="3962" y="4343"/>
                  </a:lnTo>
                  <a:lnTo>
                    <a:pt x="3961" y="4336"/>
                  </a:lnTo>
                  <a:lnTo>
                    <a:pt x="3961" y="4037"/>
                  </a:lnTo>
                  <a:lnTo>
                    <a:pt x="3962" y="4028"/>
                  </a:lnTo>
                  <a:lnTo>
                    <a:pt x="3967" y="4021"/>
                  </a:lnTo>
                  <a:lnTo>
                    <a:pt x="3974" y="4017"/>
                  </a:lnTo>
                  <a:lnTo>
                    <a:pt x="3980" y="4016"/>
                  </a:lnTo>
                  <a:lnTo>
                    <a:pt x="3988" y="4017"/>
                  </a:lnTo>
                  <a:lnTo>
                    <a:pt x="3994" y="4021"/>
                  </a:lnTo>
                  <a:lnTo>
                    <a:pt x="3999" y="4028"/>
                  </a:lnTo>
                  <a:lnTo>
                    <a:pt x="4001" y="4037"/>
                  </a:lnTo>
                  <a:lnTo>
                    <a:pt x="4001" y="4317"/>
                  </a:lnTo>
                  <a:lnTo>
                    <a:pt x="4539" y="4317"/>
                  </a:lnTo>
                  <a:lnTo>
                    <a:pt x="4539" y="3829"/>
                  </a:lnTo>
                  <a:lnTo>
                    <a:pt x="4446" y="3829"/>
                  </a:lnTo>
                  <a:lnTo>
                    <a:pt x="4437" y="3828"/>
                  </a:lnTo>
                  <a:lnTo>
                    <a:pt x="4430" y="3823"/>
                  </a:lnTo>
                  <a:lnTo>
                    <a:pt x="4426" y="3817"/>
                  </a:lnTo>
                  <a:lnTo>
                    <a:pt x="4425" y="3809"/>
                  </a:lnTo>
                  <a:lnTo>
                    <a:pt x="4426" y="3803"/>
                  </a:lnTo>
                  <a:lnTo>
                    <a:pt x="4430" y="3796"/>
                  </a:lnTo>
                  <a:lnTo>
                    <a:pt x="4437" y="3791"/>
                  </a:lnTo>
                  <a:lnTo>
                    <a:pt x="4446" y="3790"/>
                  </a:lnTo>
                  <a:close/>
                  <a:moveTo>
                    <a:pt x="4897" y="3950"/>
                  </a:moveTo>
                  <a:lnTo>
                    <a:pt x="4897" y="4317"/>
                  </a:lnTo>
                  <a:lnTo>
                    <a:pt x="5175" y="4317"/>
                  </a:lnTo>
                  <a:lnTo>
                    <a:pt x="5175" y="3829"/>
                  </a:lnTo>
                  <a:lnTo>
                    <a:pt x="4579" y="3829"/>
                  </a:lnTo>
                  <a:lnTo>
                    <a:pt x="4579" y="4317"/>
                  </a:lnTo>
                  <a:lnTo>
                    <a:pt x="4857" y="4317"/>
                  </a:lnTo>
                  <a:lnTo>
                    <a:pt x="4857" y="3950"/>
                  </a:lnTo>
                  <a:lnTo>
                    <a:pt x="4859" y="3941"/>
                  </a:lnTo>
                  <a:lnTo>
                    <a:pt x="4864" y="3934"/>
                  </a:lnTo>
                  <a:lnTo>
                    <a:pt x="4870" y="3930"/>
                  </a:lnTo>
                  <a:lnTo>
                    <a:pt x="4877" y="3929"/>
                  </a:lnTo>
                  <a:lnTo>
                    <a:pt x="4884" y="3930"/>
                  </a:lnTo>
                  <a:lnTo>
                    <a:pt x="4891" y="3934"/>
                  </a:lnTo>
                  <a:lnTo>
                    <a:pt x="4896" y="3941"/>
                  </a:lnTo>
                  <a:lnTo>
                    <a:pt x="4897" y="3950"/>
                  </a:lnTo>
                  <a:close/>
                  <a:moveTo>
                    <a:pt x="8349" y="481"/>
                  </a:moveTo>
                  <a:lnTo>
                    <a:pt x="8337" y="483"/>
                  </a:lnTo>
                  <a:lnTo>
                    <a:pt x="8328" y="482"/>
                  </a:lnTo>
                  <a:lnTo>
                    <a:pt x="8321" y="475"/>
                  </a:lnTo>
                  <a:lnTo>
                    <a:pt x="8318" y="464"/>
                  </a:lnTo>
                  <a:lnTo>
                    <a:pt x="8316" y="446"/>
                  </a:lnTo>
                  <a:lnTo>
                    <a:pt x="8312" y="428"/>
                  </a:lnTo>
                  <a:lnTo>
                    <a:pt x="8299" y="394"/>
                  </a:lnTo>
                  <a:lnTo>
                    <a:pt x="8280" y="364"/>
                  </a:lnTo>
                  <a:lnTo>
                    <a:pt x="8255" y="337"/>
                  </a:lnTo>
                  <a:lnTo>
                    <a:pt x="8226" y="316"/>
                  </a:lnTo>
                  <a:lnTo>
                    <a:pt x="8192" y="299"/>
                  </a:lnTo>
                  <a:lnTo>
                    <a:pt x="8175" y="293"/>
                  </a:lnTo>
                  <a:lnTo>
                    <a:pt x="8157" y="289"/>
                  </a:lnTo>
                  <a:lnTo>
                    <a:pt x="8137" y="286"/>
                  </a:lnTo>
                  <a:lnTo>
                    <a:pt x="8119" y="285"/>
                  </a:lnTo>
                  <a:lnTo>
                    <a:pt x="8080" y="289"/>
                  </a:lnTo>
                  <a:lnTo>
                    <a:pt x="8060" y="294"/>
                  </a:lnTo>
                  <a:lnTo>
                    <a:pt x="8042" y="300"/>
                  </a:lnTo>
                  <a:lnTo>
                    <a:pt x="8008" y="318"/>
                  </a:lnTo>
                  <a:lnTo>
                    <a:pt x="7978" y="341"/>
                  </a:lnTo>
                  <a:lnTo>
                    <a:pt x="7966" y="355"/>
                  </a:lnTo>
                  <a:lnTo>
                    <a:pt x="7954" y="369"/>
                  </a:lnTo>
                  <a:lnTo>
                    <a:pt x="7935" y="403"/>
                  </a:lnTo>
                  <a:lnTo>
                    <a:pt x="7928" y="420"/>
                  </a:lnTo>
                  <a:lnTo>
                    <a:pt x="7923" y="438"/>
                  </a:lnTo>
                  <a:lnTo>
                    <a:pt x="7919" y="477"/>
                  </a:lnTo>
                  <a:lnTo>
                    <a:pt x="7867" y="477"/>
                  </a:lnTo>
                  <a:lnTo>
                    <a:pt x="7836" y="474"/>
                  </a:lnTo>
                  <a:lnTo>
                    <a:pt x="7815" y="477"/>
                  </a:lnTo>
                  <a:lnTo>
                    <a:pt x="7798" y="482"/>
                  </a:lnTo>
                  <a:lnTo>
                    <a:pt x="7780" y="492"/>
                  </a:lnTo>
                  <a:lnTo>
                    <a:pt x="7765" y="504"/>
                  </a:lnTo>
                  <a:lnTo>
                    <a:pt x="7754" y="519"/>
                  </a:lnTo>
                  <a:lnTo>
                    <a:pt x="7745" y="537"/>
                  </a:lnTo>
                  <a:lnTo>
                    <a:pt x="7740" y="556"/>
                  </a:lnTo>
                  <a:lnTo>
                    <a:pt x="7737" y="576"/>
                  </a:lnTo>
                  <a:lnTo>
                    <a:pt x="7740" y="598"/>
                  </a:lnTo>
                  <a:lnTo>
                    <a:pt x="8505" y="599"/>
                  </a:lnTo>
                  <a:lnTo>
                    <a:pt x="8508" y="574"/>
                  </a:lnTo>
                  <a:lnTo>
                    <a:pt x="8505" y="552"/>
                  </a:lnTo>
                  <a:lnTo>
                    <a:pt x="8499" y="532"/>
                  </a:lnTo>
                  <a:lnTo>
                    <a:pt x="8490" y="514"/>
                  </a:lnTo>
                  <a:lnTo>
                    <a:pt x="8477" y="497"/>
                  </a:lnTo>
                  <a:lnTo>
                    <a:pt x="8460" y="484"/>
                  </a:lnTo>
                  <a:lnTo>
                    <a:pt x="8443" y="474"/>
                  </a:lnTo>
                  <a:lnTo>
                    <a:pt x="8423" y="468"/>
                  </a:lnTo>
                  <a:lnTo>
                    <a:pt x="8401" y="465"/>
                  </a:lnTo>
                  <a:lnTo>
                    <a:pt x="8373" y="469"/>
                  </a:lnTo>
                  <a:lnTo>
                    <a:pt x="8349" y="481"/>
                  </a:lnTo>
                  <a:close/>
                  <a:moveTo>
                    <a:pt x="7880" y="455"/>
                  </a:moveTo>
                  <a:lnTo>
                    <a:pt x="7883" y="433"/>
                  </a:lnTo>
                  <a:lnTo>
                    <a:pt x="7889" y="411"/>
                  </a:lnTo>
                  <a:lnTo>
                    <a:pt x="7896" y="391"/>
                  </a:lnTo>
                  <a:lnTo>
                    <a:pt x="7905" y="372"/>
                  </a:lnTo>
                  <a:lnTo>
                    <a:pt x="7917" y="354"/>
                  </a:lnTo>
                  <a:lnTo>
                    <a:pt x="7930" y="336"/>
                  </a:lnTo>
                  <a:lnTo>
                    <a:pt x="7944" y="321"/>
                  </a:lnTo>
                  <a:lnTo>
                    <a:pt x="7959" y="305"/>
                  </a:lnTo>
                  <a:lnTo>
                    <a:pt x="7994" y="280"/>
                  </a:lnTo>
                  <a:lnTo>
                    <a:pt x="8032" y="261"/>
                  </a:lnTo>
                  <a:lnTo>
                    <a:pt x="8075" y="249"/>
                  </a:lnTo>
                  <a:lnTo>
                    <a:pt x="8119" y="245"/>
                  </a:lnTo>
                  <a:lnTo>
                    <a:pt x="8160" y="249"/>
                  </a:lnTo>
                  <a:lnTo>
                    <a:pt x="8200" y="259"/>
                  </a:lnTo>
                  <a:lnTo>
                    <a:pt x="8237" y="276"/>
                  </a:lnTo>
                  <a:lnTo>
                    <a:pt x="8254" y="286"/>
                  </a:lnTo>
                  <a:lnTo>
                    <a:pt x="8271" y="299"/>
                  </a:lnTo>
                  <a:lnTo>
                    <a:pt x="8300" y="326"/>
                  </a:lnTo>
                  <a:lnTo>
                    <a:pt x="8325" y="358"/>
                  </a:lnTo>
                  <a:lnTo>
                    <a:pt x="8335" y="376"/>
                  </a:lnTo>
                  <a:lnTo>
                    <a:pt x="8343" y="395"/>
                  </a:lnTo>
                  <a:lnTo>
                    <a:pt x="8350" y="414"/>
                  </a:lnTo>
                  <a:lnTo>
                    <a:pt x="8354" y="433"/>
                  </a:lnTo>
                  <a:lnTo>
                    <a:pt x="8377" y="428"/>
                  </a:lnTo>
                  <a:lnTo>
                    <a:pt x="8401" y="426"/>
                  </a:lnTo>
                  <a:lnTo>
                    <a:pt x="8431" y="428"/>
                  </a:lnTo>
                  <a:lnTo>
                    <a:pt x="8459" y="437"/>
                  </a:lnTo>
                  <a:lnTo>
                    <a:pt x="8484" y="451"/>
                  </a:lnTo>
                  <a:lnTo>
                    <a:pt x="8505" y="470"/>
                  </a:lnTo>
                  <a:lnTo>
                    <a:pt x="8523" y="492"/>
                  </a:lnTo>
                  <a:lnTo>
                    <a:pt x="8531" y="505"/>
                  </a:lnTo>
                  <a:lnTo>
                    <a:pt x="8536" y="518"/>
                  </a:lnTo>
                  <a:lnTo>
                    <a:pt x="8545" y="544"/>
                  </a:lnTo>
                  <a:lnTo>
                    <a:pt x="8548" y="560"/>
                  </a:lnTo>
                  <a:lnTo>
                    <a:pt x="8548" y="574"/>
                  </a:lnTo>
                  <a:lnTo>
                    <a:pt x="8548" y="592"/>
                  </a:lnTo>
                  <a:lnTo>
                    <a:pt x="8544" y="613"/>
                  </a:lnTo>
                  <a:lnTo>
                    <a:pt x="8540" y="624"/>
                  </a:lnTo>
                  <a:lnTo>
                    <a:pt x="8535" y="631"/>
                  </a:lnTo>
                  <a:lnTo>
                    <a:pt x="8528" y="638"/>
                  </a:lnTo>
                  <a:lnTo>
                    <a:pt x="8521" y="640"/>
                  </a:lnTo>
                  <a:lnTo>
                    <a:pt x="7724" y="638"/>
                  </a:lnTo>
                  <a:lnTo>
                    <a:pt x="7717" y="637"/>
                  </a:lnTo>
                  <a:lnTo>
                    <a:pt x="7710" y="631"/>
                  </a:lnTo>
                  <a:lnTo>
                    <a:pt x="7705" y="622"/>
                  </a:lnTo>
                  <a:lnTo>
                    <a:pt x="7701" y="613"/>
                  </a:lnTo>
                  <a:lnTo>
                    <a:pt x="7699" y="593"/>
                  </a:lnTo>
                  <a:lnTo>
                    <a:pt x="7698" y="576"/>
                  </a:lnTo>
                  <a:lnTo>
                    <a:pt x="7700" y="548"/>
                  </a:lnTo>
                  <a:lnTo>
                    <a:pt x="7708" y="521"/>
                  </a:lnTo>
                  <a:lnTo>
                    <a:pt x="7721" y="497"/>
                  </a:lnTo>
                  <a:lnTo>
                    <a:pt x="7737" y="477"/>
                  </a:lnTo>
                  <a:lnTo>
                    <a:pt x="7757" y="459"/>
                  </a:lnTo>
                  <a:lnTo>
                    <a:pt x="7781" y="446"/>
                  </a:lnTo>
                  <a:lnTo>
                    <a:pt x="7807" y="437"/>
                  </a:lnTo>
                  <a:lnTo>
                    <a:pt x="7836" y="434"/>
                  </a:lnTo>
                  <a:lnTo>
                    <a:pt x="7851" y="436"/>
                  </a:lnTo>
                  <a:lnTo>
                    <a:pt x="7864" y="440"/>
                  </a:lnTo>
                  <a:lnTo>
                    <a:pt x="7874" y="445"/>
                  </a:lnTo>
                  <a:lnTo>
                    <a:pt x="7880" y="455"/>
                  </a:lnTo>
                  <a:close/>
                  <a:moveTo>
                    <a:pt x="4157" y="902"/>
                  </a:moveTo>
                  <a:lnTo>
                    <a:pt x="4683" y="902"/>
                  </a:lnTo>
                  <a:lnTo>
                    <a:pt x="5210" y="902"/>
                  </a:lnTo>
                  <a:lnTo>
                    <a:pt x="5210" y="892"/>
                  </a:lnTo>
                  <a:lnTo>
                    <a:pt x="5207" y="865"/>
                  </a:lnTo>
                  <a:lnTo>
                    <a:pt x="5203" y="854"/>
                  </a:lnTo>
                  <a:lnTo>
                    <a:pt x="5200" y="841"/>
                  </a:lnTo>
                  <a:lnTo>
                    <a:pt x="5187" y="819"/>
                  </a:lnTo>
                  <a:lnTo>
                    <a:pt x="5179" y="809"/>
                  </a:lnTo>
                  <a:lnTo>
                    <a:pt x="5171" y="799"/>
                  </a:lnTo>
                  <a:lnTo>
                    <a:pt x="5151" y="784"/>
                  </a:lnTo>
                  <a:lnTo>
                    <a:pt x="5141" y="777"/>
                  </a:lnTo>
                  <a:lnTo>
                    <a:pt x="5129" y="771"/>
                  </a:lnTo>
                  <a:lnTo>
                    <a:pt x="5103" y="763"/>
                  </a:lnTo>
                  <a:lnTo>
                    <a:pt x="5077" y="761"/>
                  </a:lnTo>
                  <a:lnTo>
                    <a:pt x="5052" y="763"/>
                  </a:lnTo>
                  <a:lnTo>
                    <a:pt x="5042" y="767"/>
                  </a:lnTo>
                  <a:lnTo>
                    <a:pt x="5030" y="771"/>
                  </a:lnTo>
                  <a:lnTo>
                    <a:pt x="4996" y="791"/>
                  </a:lnTo>
                  <a:lnTo>
                    <a:pt x="4982" y="799"/>
                  </a:lnTo>
                  <a:lnTo>
                    <a:pt x="4970" y="801"/>
                  </a:lnTo>
                  <a:lnTo>
                    <a:pt x="4961" y="799"/>
                  </a:lnTo>
                  <a:lnTo>
                    <a:pt x="4955" y="786"/>
                  </a:lnTo>
                  <a:lnTo>
                    <a:pt x="4944" y="758"/>
                  </a:lnTo>
                  <a:lnTo>
                    <a:pt x="4938" y="745"/>
                  </a:lnTo>
                  <a:lnTo>
                    <a:pt x="4929" y="732"/>
                  </a:lnTo>
                  <a:lnTo>
                    <a:pt x="4911" y="711"/>
                  </a:lnTo>
                  <a:lnTo>
                    <a:pt x="4900" y="700"/>
                  </a:lnTo>
                  <a:lnTo>
                    <a:pt x="4888" y="690"/>
                  </a:lnTo>
                  <a:lnTo>
                    <a:pt x="4864" y="675"/>
                  </a:lnTo>
                  <a:lnTo>
                    <a:pt x="4837" y="662"/>
                  </a:lnTo>
                  <a:lnTo>
                    <a:pt x="4821" y="658"/>
                  </a:lnTo>
                  <a:lnTo>
                    <a:pt x="4807" y="656"/>
                  </a:lnTo>
                  <a:lnTo>
                    <a:pt x="4775" y="653"/>
                  </a:lnTo>
                  <a:lnTo>
                    <a:pt x="4751" y="656"/>
                  </a:lnTo>
                  <a:lnTo>
                    <a:pt x="4725" y="661"/>
                  </a:lnTo>
                  <a:lnTo>
                    <a:pt x="4702" y="665"/>
                  </a:lnTo>
                  <a:lnTo>
                    <a:pt x="4694" y="663"/>
                  </a:lnTo>
                  <a:lnTo>
                    <a:pt x="4688" y="660"/>
                  </a:lnTo>
                  <a:lnTo>
                    <a:pt x="4671" y="643"/>
                  </a:lnTo>
                  <a:lnTo>
                    <a:pt x="4653" y="628"/>
                  </a:lnTo>
                  <a:lnTo>
                    <a:pt x="4634" y="615"/>
                  </a:lnTo>
                  <a:lnTo>
                    <a:pt x="4614" y="605"/>
                  </a:lnTo>
                  <a:lnTo>
                    <a:pt x="4592" y="596"/>
                  </a:lnTo>
                  <a:lnTo>
                    <a:pt x="4570" y="589"/>
                  </a:lnTo>
                  <a:lnTo>
                    <a:pt x="4546" y="585"/>
                  </a:lnTo>
                  <a:lnTo>
                    <a:pt x="4521" y="584"/>
                  </a:lnTo>
                  <a:lnTo>
                    <a:pt x="4480" y="587"/>
                  </a:lnTo>
                  <a:lnTo>
                    <a:pt x="4462" y="590"/>
                  </a:lnTo>
                  <a:lnTo>
                    <a:pt x="4446" y="594"/>
                  </a:lnTo>
                  <a:lnTo>
                    <a:pt x="4416" y="607"/>
                  </a:lnTo>
                  <a:lnTo>
                    <a:pt x="4393" y="622"/>
                  </a:lnTo>
                  <a:lnTo>
                    <a:pt x="4373" y="640"/>
                  </a:lnTo>
                  <a:lnTo>
                    <a:pt x="4356" y="661"/>
                  </a:lnTo>
                  <a:lnTo>
                    <a:pt x="4343" y="683"/>
                  </a:lnTo>
                  <a:lnTo>
                    <a:pt x="4333" y="704"/>
                  </a:lnTo>
                  <a:lnTo>
                    <a:pt x="4317" y="749"/>
                  </a:lnTo>
                  <a:lnTo>
                    <a:pt x="4306" y="786"/>
                  </a:lnTo>
                  <a:lnTo>
                    <a:pt x="4293" y="812"/>
                  </a:lnTo>
                  <a:lnTo>
                    <a:pt x="4287" y="818"/>
                  </a:lnTo>
                  <a:lnTo>
                    <a:pt x="4276" y="819"/>
                  </a:lnTo>
                  <a:lnTo>
                    <a:pt x="4261" y="818"/>
                  </a:lnTo>
                  <a:lnTo>
                    <a:pt x="4242" y="819"/>
                  </a:lnTo>
                  <a:lnTo>
                    <a:pt x="4224" y="824"/>
                  </a:lnTo>
                  <a:lnTo>
                    <a:pt x="4207" y="832"/>
                  </a:lnTo>
                  <a:lnTo>
                    <a:pt x="4193" y="842"/>
                  </a:lnTo>
                  <a:lnTo>
                    <a:pt x="4180" y="854"/>
                  </a:lnTo>
                  <a:lnTo>
                    <a:pt x="4170" y="868"/>
                  </a:lnTo>
                  <a:lnTo>
                    <a:pt x="4162" y="885"/>
                  </a:lnTo>
                  <a:lnTo>
                    <a:pt x="4157" y="902"/>
                  </a:lnTo>
                  <a:close/>
                  <a:moveTo>
                    <a:pt x="5248" y="923"/>
                  </a:moveTo>
                  <a:lnTo>
                    <a:pt x="5243" y="933"/>
                  </a:lnTo>
                  <a:lnTo>
                    <a:pt x="5238" y="938"/>
                  </a:lnTo>
                  <a:lnTo>
                    <a:pt x="5227" y="942"/>
                  </a:lnTo>
                  <a:lnTo>
                    <a:pt x="4680" y="942"/>
                  </a:lnTo>
                  <a:lnTo>
                    <a:pt x="4135" y="942"/>
                  </a:lnTo>
                  <a:lnTo>
                    <a:pt x="4129" y="940"/>
                  </a:lnTo>
                  <a:lnTo>
                    <a:pt x="4123" y="936"/>
                  </a:lnTo>
                  <a:lnTo>
                    <a:pt x="4117" y="928"/>
                  </a:lnTo>
                  <a:lnTo>
                    <a:pt x="4116" y="920"/>
                  </a:lnTo>
                  <a:lnTo>
                    <a:pt x="4119" y="891"/>
                  </a:lnTo>
                  <a:lnTo>
                    <a:pt x="4128" y="864"/>
                  </a:lnTo>
                  <a:lnTo>
                    <a:pt x="4140" y="840"/>
                  </a:lnTo>
                  <a:lnTo>
                    <a:pt x="4158" y="819"/>
                  </a:lnTo>
                  <a:lnTo>
                    <a:pt x="4180" y="801"/>
                  </a:lnTo>
                  <a:lnTo>
                    <a:pt x="4205" y="789"/>
                  </a:lnTo>
                  <a:lnTo>
                    <a:pt x="4232" y="781"/>
                  </a:lnTo>
                  <a:lnTo>
                    <a:pt x="4261" y="777"/>
                  </a:lnTo>
                  <a:lnTo>
                    <a:pt x="4265" y="753"/>
                  </a:lnTo>
                  <a:lnTo>
                    <a:pt x="4270" y="730"/>
                  </a:lnTo>
                  <a:lnTo>
                    <a:pt x="4279" y="707"/>
                  </a:lnTo>
                  <a:lnTo>
                    <a:pt x="4288" y="686"/>
                  </a:lnTo>
                  <a:lnTo>
                    <a:pt x="4301" y="666"/>
                  </a:lnTo>
                  <a:lnTo>
                    <a:pt x="4314" y="647"/>
                  </a:lnTo>
                  <a:lnTo>
                    <a:pt x="4329" y="629"/>
                  </a:lnTo>
                  <a:lnTo>
                    <a:pt x="4346" y="612"/>
                  </a:lnTo>
                  <a:lnTo>
                    <a:pt x="4364" y="597"/>
                  </a:lnTo>
                  <a:lnTo>
                    <a:pt x="4383" y="584"/>
                  </a:lnTo>
                  <a:lnTo>
                    <a:pt x="4425" y="562"/>
                  </a:lnTo>
                  <a:lnTo>
                    <a:pt x="4448" y="555"/>
                  </a:lnTo>
                  <a:lnTo>
                    <a:pt x="4471" y="550"/>
                  </a:lnTo>
                  <a:lnTo>
                    <a:pt x="4496" y="546"/>
                  </a:lnTo>
                  <a:lnTo>
                    <a:pt x="4521" y="544"/>
                  </a:lnTo>
                  <a:lnTo>
                    <a:pt x="4548" y="546"/>
                  </a:lnTo>
                  <a:lnTo>
                    <a:pt x="4575" y="550"/>
                  </a:lnTo>
                  <a:lnTo>
                    <a:pt x="4625" y="565"/>
                  </a:lnTo>
                  <a:lnTo>
                    <a:pt x="4648" y="576"/>
                  </a:lnTo>
                  <a:lnTo>
                    <a:pt x="4670" y="590"/>
                  </a:lnTo>
                  <a:lnTo>
                    <a:pt x="4689" y="606"/>
                  </a:lnTo>
                  <a:lnTo>
                    <a:pt x="4709" y="622"/>
                  </a:lnTo>
                  <a:lnTo>
                    <a:pt x="4741" y="615"/>
                  </a:lnTo>
                  <a:lnTo>
                    <a:pt x="4775" y="612"/>
                  </a:lnTo>
                  <a:lnTo>
                    <a:pt x="4810" y="615"/>
                  </a:lnTo>
                  <a:lnTo>
                    <a:pt x="4827" y="619"/>
                  </a:lnTo>
                  <a:lnTo>
                    <a:pt x="4842" y="622"/>
                  </a:lnTo>
                  <a:lnTo>
                    <a:pt x="4873" y="635"/>
                  </a:lnTo>
                  <a:lnTo>
                    <a:pt x="4901" y="651"/>
                  </a:lnTo>
                  <a:lnTo>
                    <a:pt x="4927" y="671"/>
                  </a:lnTo>
                  <a:lnTo>
                    <a:pt x="4950" y="694"/>
                  </a:lnTo>
                  <a:lnTo>
                    <a:pt x="4969" y="720"/>
                  </a:lnTo>
                  <a:lnTo>
                    <a:pt x="4984" y="749"/>
                  </a:lnTo>
                  <a:lnTo>
                    <a:pt x="5005" y="738"/>
                  </a:lnTo>
                  <a:lnTo>
                    <a:pt x="5028" y="729"/>
                  </a:lnTo>
                  <a:lnTo>
                    <a:pt x="5052" y="722"/>
                  </a:lnTo>
                  <a:lnTo>
                    <a:pt x="5077" y="721"/>
                  </a:lnTo>
                  <a:lnTo>
                    <a:pt x="5112" y="725"/>
                  </a:lnTo>
                  <a:lnTo>
                    <a:pt x="5128" y="729"/>
                  </a:lnTo>
                  <a:lnTo>
                    <a:pt x="5145" y="734"/>
                  </a:lnTo>
                  <a:lnTo>
                    <a:pt x="5174" y="750"/>
                  </a:lnTo>
                  <a:lnTo>
                    <a:pt x="5200" y="771"/>
                  </a:lnTo>
                  <a:lnTo>
                    <a:pt x="5210" y="784"/>
                  </a:lnTo>
                  <a:lnTo>
                    <a:pt x="5220" y="796"/>
                  </a:lnTo>
                  <a:lnTo>
                    <a:pt x="5229" y="810"/>
                  </a:lnTo>
                  <a:lnTo>
                    <a:pt x="5237" y="826"/>
                  </a:lnTo>
                  <a:lnTo>
                    <a:pt x="5247" y="858"/>
                  </a:lnTo>
                  <a:lnTo>
                    <a:pt x="5250" y="892"/>
                  </a:lnTo>
                  <a:lnTo>
                    <a:pt x="5250" y="908"/>
                  </a:lnTo>
                  <a:lnTo>
                    <a:pt x="5248" y="923"/>
                  </a:lnTo>
                  <a:close/>
                  <a:moveTo>
                    <a:pt x="4239" y="2494"/>
                  </a:moveTo>
                  <a:lnTo>
                    <a:pt x="4239" y="2607"/>
                  </a:lnTo>
                  <a:lnTo>
                    <a:pt x="4238" y="2616"/>
                  </a:lnTo>
                  <a:lnTo>
                    <a:pt x="4233" y="2622"/>
                  </a:lnTo>
                  <a:lnTo>
                    <a:pt x="4226" y="2626"/>
                  </a:lnTo>
                  <a:lnTo>
                    <a:pt x="4219" y="2627"/>
                  </a:lnTo>
                  <a:lnTo>
                    <a:pt x="4212" y="2626"/>
                  </a:lnTo>
                  <a:lnTo>
                    <a:pt x="4206" y="2622"/>
                  </a:lnTo>
                  <a:lnTo>
                    <a:pt x="4201" y="2616"/>
                  </a:lnTo>
                  <a:lnTo>
                    <a:pt x="4199" y="2607"/>
                  </a:lnTo>
                  <a:lnTo>
                    <a:pt x="4199" y="2494"/>
                  </a:lnTo>
                  <a:lnTo>
                    <a:pt x="4201" y="2487"/>
                  </a:lnTo>
                  <a:lnTo>
                    <a:pt x="4206" y="2480"/>
                  </a:lnTo>
                  <a:lnTo>
                    <a:pt x="4212" y="2477"/>
                  </a:lnTo>
                  <a:lnTo>
                    <a:pt x="4219" y="2475"/>
                  </a:lnTo>
                  <a:lnTo>
                    <a:pt x="4226" y="2477"/>
                  </a:lnTo>
                  <a:lnTo>
                    <a:pt x="4233" y="2480"/>
                  </a:lnTo>
                  <a:lnTo>
                    <a:pt x="4238" y="2487"/>
                  </a:lnTo>
                  <a:lnTo>
                    <a:pt x="4239" y="2494"/>
                  </a:lnTo>
                  <a:close/>
                  <a:moveTo>
                    <a:pt x="4502" y="2494"/>
                  </a:moveTo>
                  <a:lnTo>
                    <a:pt x="4502" y="2607"/>
                  </a:lnTo>
                  <a:lnTo>
                    <a:pt x="4501" y="2616"/>
                  </a:lnTo>
                  <a:lnTo>
                    <a:pt x="4496" y="2622"/>
                  </a:lnTo>
                  <a:lnTo>
                    <a:pt x="4489" y="2626"/>
                  </a:lnTo>
                  <a:lnTo>
                    <a:pt x="4483" y="2627"/>
                  </a:lnTo>
                  <a:lnTo>
                    <a:pt x="4475" y="2626"/>
                  </a:lnTo>
                  <a:lnTo>
                    <a:pt x="4469" y="2622"/>
                  </a:lnTo>
                  <a:lnTo>
                    <a:pt x="4464" y="2616"/>
                  </a:lnTo>
                  <a:lnTo>
                    <a:pt x="4462" y="2607"/>
                  </a:lnTo>
                  <a:lnTo>
                    <a:pt x="4462" y="2494"/>
                  </a:lnTo>
                  <a:lnTo>
                    <a:pt x="4464" y="2487"/>
                  </a:lnTo>
                  <a:lnTo>
                    <a:pt x="4469" y="2480"/>
                  </a:lnTo>
                  <a:lnTo>
                    <a:pt x="4475" y="2477"/>
                  </a:lnTo>
                  <a:lnTo>
                    <a:pt x="4483" y="2475"/>
                  </a:lnTo>
                  <a:lnTo>
                    <a:pt x="4489" y="2477"/>
                  </a:lnTo>
                  <a:lnTo>
                    <a:pt x="4496" y="2480"/>
                  </a:lnTo>
                  <a:lnTo>
                    <a:pt x="4501" y="2487"/>
                  </a:lnTo>
                  <a:lnTo>
                    <a:pt x="4502" y="2494"/>
                  </a:lnTo>
                  <a:close/>
                  <a:moveTo>
                    <a:pt x="4765" y="2494"/>
                  </a:moveTo>
                  <a:lnTo>
                    <a:pt x="4765" y="2607"/>
                  </a:lnTo>
                  <a:lnTo>
                    <a:pt x="4764" y="2616"/>
                  </a:lnTo>
                  <a:lnTo>
                    <a:pt x="4759" y="2622"/>
                  </a:lnTo>
                  <a:lnTo>
                    <a:pt x="4752" y="2626"/>
                  </a:lnTo>
                  <a:lnTo>
                    <a:pt x="4746" y="2627"/>
                  </a:lnTo>
                  <a:lnTo>
                    <a:pt x="4738" y="2626"/>
                  </a:lnTo>
                  <a:lnTo>
                    <a:pt x="4732" y="2622"/>
                  </a:lnTo>
                  <a:lnTo>
                    <a:pt x="4728" y="2616"/>
                  </a:lnTo>
                  <a:lnTo>
                    <a:pt x="4725" y="2607"/>
                  </a:lnTo>
                  <a:lnTo>
                    <a:pt x="4725" y="2494"/>
                  </a:lnTo>
                  <a:lnTo>
                    <a:pt x="4728" y="2487"/>
                  </a:lnTo>
                  <a:lnTo>
                    <a:pt x="4732" y="2480"/>
                  </a:lnTo>
                  <a:lnTo>
                    <a:pt x="4738" y="2477"/>
                  </a:lnTo>
                  <a:lnTo>
                    <a:pt x="4746" y="2475"/>
                  </a:lnTo>
                  <a:lnTo>
                    <a:pt x="4752" y="2477"/>
                  </a:lnTo>
                  <a:lnTo>
                    <a:pt x="4759" y="2480"/>
                  </a:lnTo>
                  <a:lnTo>
                    <a:pt x="4764" y="2487"/>
                  </a:lnTo>
                  <a:lnTo>
                    <a:pt x="4765" y="2494"/>
                  </a:lnTo>
                  <a:close/>
                  <a:moveTo>
                    <a:pt x="5029" y="2494"/>
                  </a:moveTo>
                  <a:lnTo>
                    <a:pt x="5029" y="2607"/>
                  </a:lnTo>
                  <a:lnTo>
                    <a:pt x="5027" y="2616"/>
                  </a:lnTo>
                  <a:lnTo>
                    <a:pt x="5023" y="2622"/>
                  </a:lnTo>
                  <a:lnTo>
                    <a:pt x="5016" y="2626"/>
                  </a:lnTo>
                  <a:lnTo>
                    <a:pt x="5009" y="2627"/>
                  </a:lnTo>
                  <a:lnTo>
                    <a:pt x="5001" y="2626"/>
                  </a:lnTo>
                  <a:lnTo>
                    <a:pt x="4994" y="2622"/>
                  </a:lnTo>
                  <a:lnTo>
                    <a:pt x="4991" y="2616"/>
                  </a:lnTo>
                  <a:lnTo>
                    <a:pt x="4988" y="2607"/>
                  </a:lnTo>
                  <a:lnTo>
                    <a:pt x="4988" y="2494"/>
                  </a:lnTo>
                  <a:lnTo>
                    <a:pt x="4991" y="2487"/>
                  </a:lnTo>
                  <a:lnTo>
                    <a:pt x="4994" y="2480"/>
                  </a:lnTo>
                  <a:lnTo>
                    <a:pt x="5001" y="2477"/>
                  </a:lnTo>
                  <a:lnTo>
                    <a:pt x="5009" y="2475"/>
                  </a:lnTo>
                  <a:lnTo>
                    <a:pt x="5016" y="2477"/>
                  </a:lnTo>
                  <a:lnTo>
                    <a:pt x="5023" y="2480"/>
                  </a:lnTo>
                  <a:lnTo>
                    <a:pt x="5027" y="2487"/>
                  </a:lnTo>
                  <a:lnTo>
                    <a:pt x="5029" y="2494"/>
                  </a:lnTo>
                  <a:close/>
                  <a:moveTo>
                    <a:pt x="5292" y="2494"/>
                  </a:moveTo>
                  <a:lnTo>
                    <a:pt x="5292" y="2607"/>
                  </a:lnTo>
                  <a:lnTo>
                    <a:pt x="5289" y="2616"/>
                  </a:lnTo>
                  <a:lnTo>
                    <a:pt x="5286" y="2622"/>
                  </a:lnTo>
                  <a:lnTo>
                    <a:pt x="5279" y="2626"/>
                  </a:lnTo>
                  <a:lnTo>
                    <a:pt x="5271" y="2627"/>
                  </a:lnTo>
                  <a:lnTo>
                    <a:pt x="5264" y="2626"/>
                  </a:lnTo>
                  <a:lnTo>
                    <a:pt x="5257" y="2622"/>
                  </a:lnTo>
                  <a:lnTo>
                    <a:pt x="5253" y="2616"/>
                  </a:lnTo>
                  <a:lnTo>
                    <a:pt x="5252" y="2607"/>
                  </a:lnTo>
                  <a:lnTo>
                    <a:pt x="5252" y="2494"/>
                  </a:lnTo>
                  <a:lnTo>
                    <a:pt x="5253" y="2487"/>
                  </a:lnTo>
                  <a:lnTo>
                    <a:pt x="5257" y="2480"/>
                  </a:lnTo>
                  <a:lnTo>
                    <a:pt x="5264" y="2477"/>
                  </a:lnTo>
                  <a:lnTo>
                    <a:pt x="5271" y="2475"/>
                  </a:lnTo>
                  <a:lnTo>
                    <a:pt x="5279" y="2477"/>
                  </a:lnTo>
                  <a:lnTo>
                    <a:pt x="5286" y="2480"/>
                  </a:lnTo>
                  <a:lnTo>
                    <a:pt x="5289" y="2487"/>
                  </a:lnTo>
                  <a:lnTo>
                    <a:pt x="5292" y="2494"/>
                  </a:lnTo>
                  <a:close/>
                  <a:moveTo>
                    <a:pt x="5555" y="2494"/>
                  </a:moveTo>
                  <a:lnTo>
                    <a:pt x="5555" y="2607"/>
                  </a:lnTo>
                  <a:lnTo>
                    <a:pt x="5554" y="2616"/>
                  </a:lnTo>
                  <a:lnTo>
                    <a:pt x="5548" y="2622"/>
                  </a:lnTo>
                  <a:lnTo>
                    <a:pt x="5542" y="2626"/>
                  </a:lnTo>
                  <a:lnTo>
                    <a:pt x="5534" y="2627"/>
                  </a:lnTo>
                  <a:lnTo>
                    <a:pt x="5528" y="2626"/>
                  </a:lnTo>
                  <a:lnTo>
                    <a:pt x="5521" y="2622"/>
                  </a:lnTo>
                  <a:lnTo>
                    <a:pt x="5516" y="2616"/>
                  </a:lnTo>
                  <a:lnTo>
                    <a:pt x="5515" y="2607"/>
                  </a:lnTo>
                  <a:lnTo>
                    <a:pt x="5515" y="2494"/>
                  </a:lnTo>
                  <a:lnTo>
                    <a:pt x="5516" y="2487"/>
                  </a:lnTo>
                  <a:lnTo>
                    <a:pt x="5521" y="2480"/>
                  </a:lnTo>
                  <a:lnTo>
                    <a:pt x="5528" y="2477"/>
                  </a:lnTo>
                  <a:lnTo>
                    <a:pt x="5534" y="2475"/>
                  </a:lnTo>
                  <a:lnTo>
                    <a:pt x="5542" y="2477"/>
                  </a:lnTo>
                  <a:lnTo>
                    <a:pt x="5548" y="2480"/>
                  </a:lnTo>
                  <a:lnTo>
                    <a:pt x="5554" y="2487"/>
                  </a:lnTo>
                  <a:lnTo>
                    <a:pt x="5555" y="2494"/>
                  </a:lnTo>
                  <a:close/>
                  <a:moveTo>
                    <a:pt x="4239" y="2741"/>
                  </a:moveTo>
                  <a:lnTo>
                    <a:pt x="4239" y="2854"/>
                  </a:lnTo>
                  <a:lnTo>
                    <a:pt x="4238" y="2863"/>
                  </a:lnTo>
                  <a:lnTo>
                    <a:pt x="4233" y="2869"/>
                  </a:lnTo>
                  <a:lnTo>
                    <a:pt x="4226" y="2873"/>
                  </a:lnTo>
                  <a:lnTo>
                    <a:pt x="4219" y="2874"/>
                  </a:lnTo>
                  <a:lnTo>
                    <a:pt x="4212" y="2873"/>
                  </a:lnTo>
                  <a:lnTo>
                    <a:pt x="4206" y="2869"/>
                  </a:lnTo>
                  <a:lnTo>
                    <a:pt x="4201" y="2863"/>
                  </a:lnTo>
                  <a:lnTo>
                    <a:pt x="4199" y="2854"/>
                  </a:lnTo>
                  <a:lnTo>
                    <a:pt x="4199" y="2741"/>
                  </a:lnTo>
                  <a:lnTo>
                    <a:pt x="4201" y="2732"/>
                  </a:lnTo>
                  <a:lnTo>
                    <a:pt x="4206" y="2727"/>
                  </a:lnTo>
                  <a:lnTo>
                    <a:pt x="4212" y="2723"/>
                  </a:lnTo>
                  <a:lnTo>
                    <a:pt x="4219" y="2722"/>
                  </a:lnTo>
                  <a:lnTo>
                    <a:pt x="4226" y="2723"/>
                  </a:lnTo>
                  <a:lnTo>
                    <a:pt x="4233" y="2727"/>
                  </a:lnTo>
                  <a:lnTo>
                    <a:pt x="4238" y="2732"/>
                  </a:lnTo>
                  <a:lnTo>
                    <a:pt x="4239" y="2741"/>
                  </a:lnTo>
                  <a:close/>
                  <a:moveTo>
                    <a:pt x="4502" y="2741"/>
                  </a:moveTo>
                  <a:lnTo>
                    <a:pt x="4502" y="2854"/>
                  </a:lnTo>
                  <a:lnTo>
                    <a:pt x="4501" y="2863"/>
                  </a:lnTo>
                  <a:lnTo>
                    <a:pt x="4496" y="2869"/>
                  </a:lnTo>
                  <a:lnTo>
                    <a:pt x="4489" y="2873"/>
                  </a:lnTo>
                  <a:lnTo>
                    <a:pt x="4483" y="2874"/>
                  </a:lnTo>
                  <a:lnTo>
                    <a:pt x="4475" y="2873"/>
                  </a:lnTo>
                  <a:lnTo>
                    <a:pt x="4469" y="2869"/>
                  </a:lnTo>
                  <a:lnTo>
                    <a:pt x="4464" y="2863"/>
                  </a:lnTo>
                  <a:lnTo>
                    <a:pt x="4462" y="2854"/>
                  </a:lnTo>
                  <a:lnTo>
                    <a:pt x="4462" y="2741"/>
                  </a:lnTo>
                  <a:lnTo>
                    <a:pt x="4464" y="2732"/>
                  </a:lnTo>
                  <a:lnTo>
                    <a:pt x="4469" y="2727"/>
                  </a:lnTo>
                  <a:lnTo>
                    <a:pt x="4475" y="2723"/>
                  </a:lnTo>
                  <a:lnTo>
                    <a:pt x="4483" y="2722"/>
                  </a:lnTo>
                  <a:lnTo>
                    <a:pt x="4489" y="2723"/>
                  </a:lnTo>
                  <a:lnTo>
                    <a:pt x="4496" y="2727"/>
                  </a:lnTo>
                  <a:lnTo>
                    <a:pt x="4501" y="2732"/>
                  </a:lnTo>
                  <a:lnTo>
                    <a:pt x="4502" y="2741"/>
                  </a:lnTo>
                  <a:close/>
                  <a:moveTo>
                    <a:pt x="4765" y="2741"/>
                  </a:moveTo>
                  <a:lnTo>
                    <a:pt x="4765" y="2854"/>
                  </a:lnTo>
                  <a:lnTo>
                    <a:pt x="4764" y="2863"/>
                  </a:lnTo>
                  <a:lnTo>
                    <a:pt x="4759" y="2869"/>
                  </a:lnTo>
                  <a:lnTo>
                    <a:pt x="4752" y="2873"/>
                  </a:lnTo>
                  <a:lnTo>
                    <a:pt x="4746" y="2874"/>
                  </a:lnTo>
                  <a:lnTo>
                    <a:pt x="4738" y="2873"/>
                  </a:lnTo>
                  <a:lnTo>
                    <a:pt x="4732" y="2869"/>
                  </a:lnTo>
                  <a:lnTo>
                    <a:pt x="4728" y="2863"/>
                  </a:lnTo>
                  <a:lnTo>
                    <a:pt x="4725" y="2854"/>
                  </a:lnTo>
                  <a:lnTo>
                    <a:pt x="4725" y="2741"/>
                  </a:lnTo>
                  <a:lnTo>
                    <a:pt x="4728" y="2732"/>
                  </a:lnTo>
                  <a:lnTo>
                    <a:pt x="4732" y="2727"/>
                  </a:lnTo>
                  <a:lnTo>
                    <a:pt x="4738" y="2723"/>
                  </a:lnTo>
                  <a:lnTo>
                    <a:pt x="4746" y="2722"/>
                  </a:lnTo>
                  <a:lnTo>
                    <a:pt x="4752" y="2723"/>
                  </a:lnTo>
                  <a:lnTo>
                    <a:pt x="4759" y="2727"/>
                  </a:lnTo>
                  <a:lnTo>
                    <a:pt x="4764" y="2732"/>
                  </a:lnTo>
                  <a:lnTo>
                    <a:pt x="4765" y="2741"/>
                  </a:lnTo>
                  <a:close/>
                  <a:moveTo>
                    <a:pt x="5029" y="2741"/>
                  </a:moveTo>
                  <a:lnTo>
                    <a:pt x="5029" y="2854"/>
                  </a:lnTo>
                  <a:lnTo>
                    <a:pt x="5027" y="2863"/>
                  </a:lnTo>
                  <a:lnTo>
                    <a:pt x="5023" y="2869"/>
                  </a:lnTo>
                  <a:lnTo>
                    <a:pt x="5016" y="2873"/>
                  </a:lnTo>
                  <a:lnTo>
                    <a:pt x="5009" y="2874"/>
                  </a:lnTo>
                  <a:lnTo>
                    <a:pt x="5001" y="2873"/>
                  </a:lnTo>
                  <a:lnTo>
                    <a:pt x="4994" y="2869"/>
                  </a:lnTo>
                  <a:lnTo>
                    <a:pt x="4991" y="2863"/>
                  </a:lnTo>
                  <a:lnTo>
                    <a:pt x="4988" y="2854"/>
                  </a:lnTo>
                  <a:lnTo>
                    <a:pt x="4988" y="2741"/>
                  </a:lnTo>
                  <a:lnTo>
                    <a:pt x="4991" y="2732"/>
                  </a:lnTo>
                  <a:lnTo>
                    <a:pt x="4994" y="2727"/>
                  </a:lnTo>
                  <a:lnTo>
                    <a:pt x="5001" y="2723"/>
                  </a:lnTo>
                  <a:lnTo>
                    <a:pt x="5009" y="2722"/>
                  </a:lnTo>
                  <a:lnTo>
                    <a:pt x="5016" y="2723"/>
                  </a:lnTo>
                  <a:lnTo>
                    <a:pt x="5023" y="2727"/>
                  </a:lnTo>
                  <a:lnTo>
                    <a:pt x="5027" y="2732"/>
                  </a:lnTo>
                  <a:lnTo>
                    <a:pt x="5029" y="2741"/>
                  </a:lnTo>
                  <a:close/>
                  <a:moveTo>
                    <a:pt x="5292" y="2741"/>
                  </a:moveTo>
                  <a:lnTo>
                    <a:pt x="5292" y="2854"/>
                  </a:lnTo>
                  <a:lnTo>
                    <a:pt x="5289" y="2863"/>
                  </a:lnTo>
                  <a:lnTo>
                    <a:pt x="5286" y="2869"/>
                  </a:lnTo>
                  <a:lnTo>
                    <a:pt x="5279" y="2873"/>
                  </a:lnTo>
                  <a:lnTo>
                    <a:pt x="5271" y="2874"/>
                  </a:lnTo>
                  <a:lnTo>
                    <a:pt x="5264" y="2873"/>
                  </a:lnTo>
                  <a:lnTo>
                    <a:pt x="5257" y="2869"/>
                  </a:lnTo>
                  <a:lnTo>
                    <a:pt x="5253" y="2863"/>
                  </a:lnTo>
                  <a:lnTo>
                    <a:pt x="5252" y="2854"/>
                  </a:lnTo>
                  <a:lnTo>
                    <a:pt x="5252" y="2741"/>
                  </a:lnTo>
                  <a:lnTo>
                    <a:pt x="5253" y="2732"/>
                  </a:lnTo>
                  <a:lnTo>
                    <a:pt x="5257" y="2727"/>
                  </a:lnTo>
                  <a:lnTo>
                    <a:pt x="5264" y="2723"/>
                  </a:lnTo>
                  <a:lnTo>
                    <a:pt x="5271" y="2722"/>
                  </a:lnTo>
                  <a:lnTo>
                    <a:pt x="5279" y="2723"/>
                  </a:lnTo>
                  <a:lnTo>
                    <a:pt x="5286" y="2727"/>
                  </a:lnTo>
                  <a:lnTo>
                    <a:pt x="5289" y="2732"/>
                  </a:lnTo>
                  <a:lnTo>
                    <a:pt x="5292" y="2741"/>
                  </a:lnTo>
                  <a:close/>
                  <a:moveTo>
                    <a:pt x="5555" y="2741"/>
                  </a:moveTo>
                  <a:lnTo>
                    <a:pt x="5555" y="2854"/>
                  </a:lnTo>
                  <a:lnTo>
                    <a:pt x="5554" y="2863"/>
                  </a:lnTo>
                  <a:lnTo>
                    <a:pt x="5548" y="2869"/>
                  </a:lnTo>
                  <a:lnTo>
                    <a:pt x="5542" y="2873"/>
                  </a:lnTo>
                  <a:lnTo>
                    <a:pt x="5534" y="2874"/>
                  </a:lnTo>
                  <a:lnTo>
                    <a:pt x="5528" y="2873"/>
                  </a:lnTo>
                  <a:lnTo>
                    <a:pt x="5521" y="2869"/>
                  </a:lnTo>
                  <a:lnTo>
                    <a:pt x="5516" y="2863"/>
                  </a:lnTo>
                  <a:lnTo>
                    <a:pt x="5515" y="2854"/>
                  </a:lnTo>
                  <a:lnTo>
                    <a:pt x="5515" y="2741"/>
                  </a:lnTo>
                  <a:lnTo>
                    <a:pt x="5516" y="2732"/>
                  </a:lnTo>
                  <a:lnTo>
                    <a:pt x="5521" y="2727"/>
                  </a:lnTo>
                  <a:lnTo>
                    <a:pt x="5528" y="2723"/>
                  </a:lnTo>
                  <a:lnTo>
                    <a:pt x="5534" y="2722"/>
                  </a:lnTo>
                  <a:lnTo>
                    <a:pt x="5542" y="2723"/>
                  </a:lnTo>
                  <a:lnTo>
                    <a:pt x="5548" y="2727"/>
                  </a:lnTo>
                  <a:lnTo>
                    <a:pt x="5554" y="2732"/>
                  </a:lnTo>
                  <a:lnTo>
                    <a:pt x="5555" y="2741"/>
                  </a:lnTo>
                  <a:close/>
                  <a:moveTo>
                    <a:pt x="4239" y="2988"/>
                  </a:moveTo>
                  <a:lnTo>
                    <a:pt x="4239" y="3101"/>
                  </a:lnTo>
                  <a:lnTo>
                    <a:pt x="4238" y="3109"/>
                  </a:lnTo>
                  <a:lnTo>
                    <a:pt x="4233" y="3115"/>
                  </a:lnTo>
                  <a:lnTo>
                    <a:pt x="4226" y="3118"/>
                  </a:lnTo>
                  <a:lnTo>
                    <a:pt x="4219" y="3120"/>
                  </a:lnTo>
                  <a:lnTo>
                    <a:pt x="4212" y="3118"/>
                  </a:lnTo>
                  <a:lnTo>
                    <a:pt x="4206" y="3115"/>
                  </a:lnTo>
                  <a:lnTo>
                    <a:pt x="4201" y="3109"/>
                  </a:lnTo>
                  <a:lnTo>
                    <a:pt x="4199" y="3101"/>
                  </a:lnTo>
                  <a:lnTo>
                    <a:pt x="4199" y="2988"/>
                  </a:lnTo>
                  <a:lnTo>
                    <a:pt x="4201" y="2979"/>
                  </a:lnTo>
                  <a:lnTo>
                    <a:pt x="4206" y="2973"/>
                  </a:lnTo>
                  <a:lnTo>
                    <a:pt x="4212" y="2970"/>
                  </a:lnTo>
                  <a:lnTo>
                    <a:pt x="4219" y="2969"/>
                  </a:lnTo>
                  <a:lnTo>
                    <a:pt x="4226" y="2970"/>
                  </a:lnTo>
                  <a:lnTo>
                    <a:pt x="4233" y="2973"/>
                  </a:lnTo>
                  <a:lnTo>
                    <a:pt x="4238" y="2979"/>
                  </a:lnTo>
                  <a:lnTo>
                    <a:pt x="4239" y="2988"/>
                  </a:lnTo>
                  <a:close/>
                  <a:moveTo>
                    <a:pt x="4502" y="2988"/>
                  </a:moveTo>
                  <a:lnTo>
                    <a:pt x="4502" y="3101"/>
                  </a:lnTo>
                  <a:lnTo>
                    <a:pt x="4501" y="3109"/>
                  </a:lnTo>
                  <a:lnTo>
                    <a:pt x="4496" y="3115"/>
                  </a:lnTo>
                  <a:lnTo>
                    <a:pt x="4489" y="3118"/>
                  </a:lnTo>
                  <a:lnTo>
                    <a:pt x="4483" y="3120"/>
                  </a:lnTo>
                  <a:lnTo>
                    <a:pt x="4475" y="3118"/>
                  </a:lnTo>
                  <a:lnTo>
                    <a:pt x="4469" y="3115"/>
                  </a:lnTo>
                  <a:lnTo>
                    <a:pt x="4464" y="3109"/>
                  </a:lnTo>
                  <a:lnTo>
                    <a:pt x="4462" y="3101"/>
                  </a:lnTo>
                  <a:lnTo>
                    <a:pt x="4462" y="2988"/>
                  </a:lnTo>
                  <a:lnTo>
                    <a:pt x="4464" y="2979"/>
                  </a:lnTo>
                  <a:lnTo>
                    <a:pt x="4469" y="2973"/>
                  </a:lnTo>
                  <a:lnTo>
                    <a:pt x="4475" y="2970"/>
                  </a:lnTo>
                  <a:lnTo>
                    <a:pt x="4483" y="2969"/>
                  </a:lnTo>
                  <a:lnTo>
                    <a:pt x="4489" y="2970"/>
                  </a:lnTo>
                  <a:lnTo>
                    <a:pt x="4496" y="2973"/>
                  </a:lnTo>
                  <a:lnTo>
                    <a:pt x="4501" y="2979"/>
                  </a:lnTo>
                  <a:lnTo>
                    <a:pt x="4502" y="2988"/>
                  </a:lnTo>
                  <a:close/>
                  <a:moveTo>
                    <a:pt x="4765" y="2988"/>
                  </a:moveTo>
                  <a:lnTo>
                    <a:pt x="4765" y="3101"/>
                  </a:lnTo>
                  <a:lnTo>
                    <a:pt x="4764" y="3109"/>
                  </a:lnTo>
                  <a:lnTo>
                    <a:pt x="4759" y="3115"/>
                  </a:lnTo>
                  <a:lnTo>
                    <a:pt x="4752" y="3118"/>
                  </a:lnTo>
                  <a:lnTo>
                    <a:pt x="4746" y="3120"/>
                  </a:lnTo>
                  <a:lnTo>
                    <a:pt x="4738" y="3118"/>
                  </a:lnTo>
                  <a:lnTo>
                    <a:pt x="4732" y="3115"/>
                  </a:lnTo>
                  <a:lnTo>
                    <a:pt x="4728" y="3109"/>
                  </a:lnTo>
                  <a:lnTo>
                    <a:pt x="4725" y="3101"/>
                  </a:lnTo>
                  <a:lnTo>
                    <a:pt x="4725" y="2988"/>
                  </a:lnTo>
                  <a:lnTo>
                    <a:pt x="4728" y="2979"/>
                  </a:lnTo>
                  <a:lnTo>
                    <a:pt x="4732" y="2973"/>
                  </a:lnTo>
                  <a:lnTo>
                    <a:pt x="4738" y="2970"/>
                  </a:lnTo>
                  <a:lnTo>
                    <a:pt x="4746" y="2969"/>
                  </a:lnTo>
                  <a:lnTo>
                    <a:pt x="4752" y="2970"/>
                  </a:lnTo>
                  <a:lnTo>
                    <a:pt x="4759" y="2973"/>
                  </a:lnTo>
                  <a:lnTo>
                    <a:pt x="4764" y="2979"/>
                  </a:lnTo>
                  <a:lnTo>
                    <a:pt x="4765" y="2988"/>
                  </a:lnTo>
                  <a:close/>
                  <a:moveTo>
                    <a:pt x="5029" y="2988"/>
                  </a:moveTo>
                  <a:lnTo>
                    <a:pt x="5029" y="3101"/>
                  </a:lnTo>
                  <a:lnTo>
                    <a:pt x="5027" y="3109"/>
                  </a:lnTo>
                  <a:lnTo>
                    <a:pt x="5023" y="3115"/>
                  </a:lnTo>
                  <a:lnTo>
                    <a:pt x="5016" y="3118"/>
                  </a:lnTo>
                  <a:lnTo>
                    <a:pt x="5009" y="3120"/>
                  </a:lnTo>
                  <a:lnTo>
                    <a:pt x="5001" y="3118"/>
                  </a:lnTo>
                  <a:lnTo>
                    <a:pt x="4994" y="3115"/>
                  </a:lnTo>
                  <a:lnTo>
                    <a:pt x="4991" y="3109"/>
                  </a:lnTo>
                  <a:lnTo>
                    <a:pt x="4988" y="3101"/>
                  </a:lnTo>
                  <a:lnTo>
                    <a:pt x="4988" y="2988"/>
                  </a:lnTo>
                  <a:lnTo>
                    <a:pt x="4991" y="2979"/>
                  </a:lnTo>
                  <a:lnTo>
                    <a:pt x="4994" y="2973"/>
                  </a:lnTo>
                  <a:lnTo>
                    <a:pt x="5001" y="2970"/>
                  </a:lnTo>
                  <a:lnTo>
                    <a:pt x="5009" y="2969"/>
                  </a:lnTo>
                  <a:lnTo>
                    <a:pt x="5016" y="2970"/>
                  </a:lnTo>
                  <a:lnTo>
                    <a:pt x="5023" y="2973"/>
                  </a:lnTo>
                  <a:lnTo>
                    <a:pt x="5027" y="2979"/>
                  </a:lnTo>
                  <a:lnTo>
                    <a:pt x="5029" y="2988"/>
                  </a:lnTo>
                  <a:close/>
                  <a:moveTo>
                    <a:pt x="5292" y="2988"/>
                  </a:moveTo>
                  <a:lnTo>
                    <a:pt x="5292" y="3101"/>
                  </a:lnTo>
                  <a:lnTo>
                    <a:pt x="5289" y="3109"/>
                  </a:lnTo>
                  <a:lnTo>
                    <a:pt x="5286" y="3115"/>
                  </a:lnTo>
                  <a:lnTo>
                    <a:pt x="5279" y="3118"/>
                  </a:lnTo>
                  <a:lnTo>
                    <a:pt x="5271" y="3120"/>
                  </a:lnTo>
                  <a:lnTo>
                    <a:pt x="5264" y="3118"/>
                  </a:lnTo>
                  <a:lnTo>
                    <a:pt x="5257" y="3115"/>
                  </a:lnTo>
                  <a:lnTo>
                    <a:pt x="5253" y="3109"/>
                  </a:lnTo>
                  <a:lnTo>
                    <a:pt x="5252" y="3101"/>
                  </a:lnTo>
                  <a:lnTo>
                    <a:pt x="5252" y="2988"/>
                  </a:lnTo>
                  <a:lnTo>
                    <a:pt x="5253" y="2979"/>
                  </a:lnTo>
                  <a:lnTo>
                    <a:pt x="5257" y="2973"/>
                  </a:lnTo>
                  <a:lnTo>
                    <a:pt x="5264" y="2970"/>
                  </a:lnTo>
                  <a:lnTo>
                    <a:pt x="5271" y="2969"/>
                  </a:lnTo>
                  <a:lnTo>
                    <a:pt x="5279" y="2970"/>
                  </a:lnTo>
                  <a:lnTo>
                    <a:pt x="5286" y="2973"/>
                  </a:lnTo>
                  <a:lnTo>
                    <a:pt x="5289" y="2979"/>
                  </a:lnTo>
                  <a:lnTo>
                    <a:pt x="5292" y="2988"/>
                  </a:lnTo>
                  <a:close/>
                  <a:moveTo>
                    <a:pt x="5555" y="2988"/>
                  </a:moveTo>
                  <a:lnTo>
                    <a:pt x="5555" y="3101"/>
                  </a:lnTo>
                  <a:lnTo>
                    <a:pt x="5554" y="3109"/>
                  </a:lnTo>
                  <a:lnTo>
                    <a:pt x="5548" y="3115"/>
                  </a:lnTo>
                  <a:lnTo>
                    <a:pt x="5542" y="3118"/>
                  </a:lnTo>
                  <a:lnTo>
                    <a:pt x="5534" y="3120"/>
                  </a:lnTo>
                  <a:lnTo>
                    <a:pt x="5528" y="3118"/>
                  </a:lnTo>
                  <a:lnTo>
                    <a:pt x="5521" y="3115"/>
                  </a:lnTo>
                  <a:lnTo>
                    <a:pt x="5516" y="3109"/>
                  </a:lnTo>
                  <a:lnTo>
                    <a:pt x="5515" y="3101"/>
                  </a:lnTo>
                  <a:lnTo>
                    <a:pt x="5515" y="2988"/>
                  </a:lnTo>
                  <a:lnTo>
                    <a:pt x="5516" y="2979"/>
                  </a:lnTo>
                  <a:lnTo>
                    <a:pt x="5521" y="2973"/>
                  </a:lnTo>
                  <a:lnTo>
                    <a:pt x="5528" y="2970"/>
                  </a:lnTo>
                  <a:lnTo>
                    <a:pt x="5534" y="2969"/>
                  </a:lnTo>
                  <a:lnTo>
                    <a:pt x="5542" y="2970"/>
                  </a:lnTo>
                  <a:lnTo>
                    <a:pt x="5548" y="2973"/>
                  </a:lnTo>
                  <a:lnTo>
                    <a:pt x="5554" y="2979"/>
                  </a:lnTo>
                  <a:lnTo>
                    <a:pt x="5555" y="2988"/>
                  </a:lnTo>
                  <a:close/>
                  <a:moveTo>
                    <a:pt x="4239" y="3235"/>
                  </a:moveTo>
                  <a:lnTo>
                    <a:pt x="4239" y="3347"/>
                  </a:lnTo>
                  <a:lnTo>
                    <a:pt x="4238" y="3355"/>
                  </a:lnTo>
                  <a:lnTo>
                    <a:pt x="4233" y="3361"/>
                  </a:lnTo>
                  <a:lnTo>
                    <a:pt x="4226" y="3365"/>
                  </a:lnTo>
                  <a:lnTo>
                    <a:pt x="4219" y="3367"/>
                  </a:lnTo>
                  <a:lnTo>
                    <a:pt x="4212" y="3365"/>
                  </a:lnTo>
                  <a:lnTo>
                    <a:pt x="4206" y="3361"/>
                  </a:lnTo>
                  <a:lnTo>
                    <a:pt x="4201" y="3355"/>
                  </a:lnTo>
                  <a:lnTo>
                    <a:pt x="4199" y="3347"/>
                  </a:lnTo>
                  <a:lnTo>
                    <a:pt x="4199" y="3235"/>
                  </a:lnTo>
                  <a:lnTo>
                    <a:pt x="4201" y="3226"/>
                  </a:lnTo>
                  <a:lnTo>
                    <a:pt x="4206" y="3219"/>
                  </a:lnTo>
                  <a:lnTo>
                    <a:pt x="4212" y="3216"/>
                  </a:lnTo>
                  <a:lnTo>
                    <a:pt x="4219" y="3214"/>
                  </a:lnTo>
                  <a:lnTo>
                    <a:pt x="4226" y="3216"/>
                  </a:lnTo>
                  <a:lnTo>
                    <a:pt x="4233" y="3219"/>
                  </a:lnTo>
                  <a:lnTo>
                    <a:pt x="4238" y="3226"/>
                  </a:lnTo>
                  <a:lnTo>
                    <a:pt x="4239" y="3235"/>
                  </a:lnTo>
                  <a:close/>
                  <a:moveTo>
                    <a:pt x="4502" y="3235"/>
                  </a:moveTo>
                  <a:lnTo>
                    <a:pt x="4502" y="3347"/>
                  </a:lnTo>
                  <a:lnTo>
                    <a:pt x="4501" y="3355"/>
                  </a:lnTo>
                  <a:lnTo>
                    <a:pt x="4496" y="3361"/>
                  </a:lnTo>
                  <a:lnTo>
                    <a:pt x="4489" y="3365"/>
                  </a:lnTo>
                  <a:lnTo>
                    <a:pt x="4483" y="3367"/>
                  </a:lnTo>
                  <a:lnTo>
                    <a:pt x="4475" y="3365"/>
                  </a:lnTo>
                  <a:lnTo>
                    <a:pt x="4469" y="3361"/>
                  </a:lnTo>
                  <a:lnTo>
                    <a:pt x="4464" y="3355"/>
                  </a:lnTo>
                  <a:lnTo>
                    <a:pt x="4462" y="3347"/>
                  </a:lnTo>
                  <a:lnTo>
                    <a:pt x="4462" y="3235"/>
                  </a:lnTo>
                  <a:lnTo>
                    <a:pt x="4464" y="3226"/>
                  </a:lnTo>
                  <a:lnTo>
                    <a:pt x="4469" y="3219"/>
                  </a:lnTo>
                  <a:lnTo>
                    <a:pt x="4475" y="3216"/>
                  </a:lnTo>
                  <a:lnTo>
                    <a:pt x="4483" y="3214"/>
                  </a:lnTo>
                  <a:lnTo>
                    <a:pt x="4489" y="3216"/>
                  </a:lnTo>
                  <a:lnTo>
                    <a:pt x="4496" y="3219"/>
                  </a:lnTo>
                  <a:lnTo>
                    <a:pt x="4501" y="3226"/>
                  </a:lnTo>
                  <a:lnTo>
                    <a:pt x="4502" y="3235"/>
                  </a:lnTo>
                  <a:close/>
                  <a:moveTo>
                    <a:pt x="4765" y="3235"/>
                  </a:moveTo>
                  <a:lnTo>
                    <a:pt x="4765" y="3347"/>
                  </a:lnTo>
                  <a:lnTo>
                    <a:pt x="4764" y="3355"/>
                  </a:lnTo>
                  <a:lnTo>
                    <a:pt x="4759" y="3361"/>
                  </a:lnTo>
                  <a:lnTo>
                    <a:pt x="4752" y="3365"/>
                  </a:lnTo>
                  <a:lnTo>
                    <a:pt x="4746" y="3367"/>
                  </a:lnTo>
                  <a:lnTo>
                    <a:pt x="4738" y="3365"/>
                  </a:lnTo>
                  <a:lnTo>
                    <a:pt x="4732" y="3361"/>
                  </a:lnTo>
                  <a:lnTo>
                    <a:pt x="4728" y="3355"/>
                  </a:lnTo>
                  <a:lnTo>
                    <a:pt x="4725" y="3347"/>
                  </a:lnTo>
                  <a:lnTo>
                    <a:pt x="4725" y="3235"/>
                  </a:lnTo>
                  <a:lnTo>
                    <a:pt x="4728" y="3226"/>
                  </a:lnTo>
                  <a:lnTo>
                    <a:pt x="4732" y="3219"/>
                  </a:lnTo>
                  <a:lnTo>
                    <a:pt x="4738" y="3216"/>
                  </a:lnTo>
                  <a:lnTo>
                    <a:pt x="4746" y="3214"/>
                  </a:lnTo>
                  <a:lnTo>
                    <a:pt x="4752" y="3216"/>
                  </a:lnTo>
                  <a:lnTo>
                    <a:pt x="4759" y="3219"/>
                  </a:lnTo>
                  <a:lnTo>
                    <a:pt x="4764" y="3226"/>
                  </a:lnTo>
                  <a:lnTo>
                    <a:pt x="4765" y="3235"/>
                  </a:lnTo>
                  <a:close/>
                  <a:moveTo>
                    <a:pt x="5029" y="3235"/>
                  </a:moveTo>
                  <a:lnTo>
                    <a:pt x="5029" y="3347"/>
                  </a:lnTo>
                  <a:lnTo>
                    <a:pt x="5027" y="3355"/>
                  </a:lnTo>
                  <a:lnTo>
                    <a:pt x="5023" y="3361"/>
                  </a:lnTo>
                  <a:lnTo>
                    <a:pt x="5016" y="3365"/>
                  </a:lnTo>
                  <a:lnTo>
                    <a:pt x="5009" y="3367"/>
                  </a:lnTo>
                  <a:lnTo>
                    <a:pt x="5001" y="3365"/>
                  </a:lnTo>
                  <a:lnTo>
                    <a:pt x="4994" y="3361"/>
                  </a:lnTo>
                  <a:lnTo>
                    <a:pt x="4991" y="3355"/>
                  </a:lnTo>
                  <a:lnTo>
                    <a:pt x="4988" y="3347"/>
                  </a:lnTo>
                  <a:lnTo>
                    <a:pt x="4988" y="3235"/>
                  </a:lnTo>
                  <a:lnTo>
                    <a:pt x="4991" y="3226"/>
                  </a:lnTo>
                  <a:lnTo>
                    <a:pt x="4994" y="3219"/>
                  </a:lnTo>
                  <a:lnTo>
                    <a:pt x="5001" y="3216"/>
                  </a:lnTo>
                  <a:lnTo>
                    <a:pt x="5009" y="3214"/>
                  </a:lnTo>
                  <a:lnTo>
                    <a:pt x="5016" y="3216"/>
                  </a:lnTo>
                  <a:lnTo>
                    <a:pt x="5023" y="3219"/>
                  </a:lnTo>
                  <a:lnTo>
                    <a:pt x="5027" y="3226"/>
                  </a:lnTo>
                  <a:lnTo>
                    <a:pt x="5029" y="3235"/>
                  </a:lnTo>
                  <a:close/>
                  <a:moveTo>
                    <a:pt x="5292" y="3235"/>
                  </a:moveTo>
                  <a:lnTo>
                    <a:pt x="5292" y="3347"/>
                  </a:lnTo>
                  <a:lnTo>
                    <a:pt x="5289" y="3355"/>
                  </a:lnTo>
                  <a:lnTo>
                    <a:pt x="5286" y="3361"/>
                  </a:lnTo>
                  <a:lnTo>
                    <a:pt x="5279" y="3365"/>
                  </a:lnTo>
                  <a:lnTo>
                    <a:pt x="5271" y="3367"/>
                  </a:lnTo>
                  <a:lnTo>
                    <a:pt x="5264" y="3365"/>
                  </a:lnTo>
                  <a:lnTo>
                    <a:pt x="5257" y="3361"/>
                  </a:lnTo>
                  <a:lnTo>
                    <a:pt x="5253" y="3355"/>
                  </a:lnTo>
                  <a:lnTo>
                    <a:pt x="5252" y="3347"/>
                  </a:lnTo>
                  <a:lnTo>
                    <a:pt x="5252" y="3235"/>
                  </a:lnTo>
                  <a:lnTo>
                    <a:pt x="5253" y="3226"/>
                  </a:lnTo>
                  <a:lnTo>
                    <a:pt x="5257" y="3219"/>
                  </a:lnTo>
                  <a:lnTo>
                    <a:pt x="5264" y="3216"/>
                  </a:lnTo>
                  <a:lnTo>
                    <a:pt x="5271" y="3214"/>
                  </a:lnTo>
                  <a:lnTo>
                    <a:pt x="5279" y="3216"/>
                  </a:lnTo>
                  <a:lnTo>
                    <a:pt x="5286" y="3219"/>
                  </a:lnTo>
                  <a:lnTo>
                    <a:pt x="5289" y="3226"/>
                  </a:lnTo>
                  <a:lnTo>
                    <a:pt x="5292" y="3235"/>
                  </a:lnTo>
                  <a:close/>
                  <a:moveTo>
                    <a:pt x="5555" y="3235"/>
                  </a:moveTo>
                  <a:lnTo>
                    <a:pt x="5555" y="3347"/>
                  </a:lnTo>
                  <a:lnTo>
                    <a:pt x="5554" y="3355"/>
                  </a:lnTo>
                  <a:lnTo>
                    <a:pt x="5548" y="3361"/>
                  </a:lnTo>
                  <a:lnTo>
                    <a:pt x="5542" y="3365"/>
                  </a:lnTo>
                  <a:lnTo>
                    <a:pt x="5534" y="3367"/>
                  </a:lnTo>
                  <a:lnTo>
                    <a:pt x="5528" y="3365"/>
                  </a:lnTo>
                  <a:lnTo>
                    <a:pt x="5521" y="3361"/>
                  </a:lnTo>
                  <a:lnTo>
                    <a:pt x="5516" y="3355"/>
                  </a:lnTo>
                  <a:lnTo>
                    <a:pt x="5515" y="3347"/>
                  </a:lnTo>
                  <a:lnTo>
                    <a:pt x="5515" y="3235"/>
                  </a:lnTo>
                  <a:lnTo>
                    <a:pt x="5516" y="3226"/>
                  </a:lnTo>
                  <a:lnTo>
                    <a:pt x="5521" y="3219"/>
                  </a:lnTo>
                  <a:lnTo>
                    <a:pt x="5528" y="3216"/>
                  </a:lnTo>
                  <a:lnTo>
                    <a:pt x="5534" y="3214"/>
                  </a:lnTo>
                  <a:lnTo>
                    <a:pt x="5542" y="3216"/>
                  </a:lnTo>
                  <a:lnTo>
                    <a:pt x="5548" y="3219"/>
                  </a:lnTo>
                  <a:lnTo>
                    <a:pt x="5554" y="3226"/>
                  </a:lnTo>
                  <a:lnTo>
                    <a:pt x="5555" y="3235"/>
                  </a:lnTo>
                  <a:close/>
                  <a:moveTo>
                    <a:pt x="3624" y="4034"/>
                  </a:moveTo>
                  <a:lnTo>
                    <a:pt x="3624" y="3864"/>
                  </a:lnTo>
                  <a:lnTo>
                    <a:pt x="3625" y="3856"/>
                  </a:lnTo>
                  <a:lnTo>
                    <a:pt x="3629" y="3851"/>
                  </a:lnTo>
                  <a:lnTo>
                    <a:pt x="3634" y="3847"/>
                  </a:lnTo>
                  <a:lnTo>
                    <a:pt x="3639" y="3845"/>
                  </a:lnTo>
                  <a:lnTo>
                    <a:pt x="3646" y="3845"/>
                  </a:lnTo>
                  <a:lnTo>
                    <a:pt x="3652" y="3846"/>
                  </a:lnTo>
                  <a:lnTo>
                    <a:pt x="3657" y="3849"/>
                  </a:lnTo>
                  <a:lnTo>
                    <a:pt x="3662" y="3854"/>
                  </a:lnTo>
                  <a:lnTo>
                    <a:pt x="3666" y="3860"/>
                  </a:lnTo>
                  <a:lnTo>
                    <a:pt x="3667" y="3869"/>
                  </a:lnTo>
                  <a:lnTo>
                    <a:pt x="3667" y="4034"/>
                  </a:lnTo>
                  <a:lnTo>
                    <a:pt x="3710" y="4029"/>
                  </a:lnTo>
                  <a:lnTo>
                    <a:pt x="3751" y="4021"/>
                  </a:lnTo>
                  <a:lnTo>
                    <a:pt x="3789" y="4010"/>
                  </a:lnTo>
                  <a:lnTo>
                    <a:pt x="3828" y="3994"/>
                  </a:lnTo>
                  <a:lnTo>
                    <a:pt x="3846" y="3985"/>
                  </a:lnTo>
                  <a:lnTo>
                    <a:pt x="3864" y="3975"/>
                  </a:lnTo>
                  <a:lnTo>
                    <a:pt x="3897" y="3953"/>
                  </a:lnTo>
                  <a:lnTo>
                    <a:pt x="3928" y="3928"/>
                  </a:lnTo>
                  <a:lnTo>
                    <a:pt x="3957" y="3901"/>
                  </a:lnTo>
                  <a:lnTo>
                    <a:pt x="3970" y="3886"/>
                  </a:lnTo>
                  <a:lnTo>
                    <a:pt x="3983" y="3870"/>
                  </a:lnTo>
                  <a:lnTo>
                    <a:pt x="4006" y="3838"/>
                  </a:lnTo>
                  <a:lnTo>
                    <a:pt x="4026" y="3804"/>
                  </a:lnTo>
                  <a:lnTo>
                    <a:pt x="4043" y="3767"/>
                  </a:lnTo>
                  <a:lnTo>
                    <a:pt x="4057" y="3728"/>
                  </a:lnTo>
                  <a:lnTo>
                    <a:pt x="4067" y="3689"/>
                  </a:lnTo>
                  <a:lnTo>
                    <a:pt x="4074" y="3648"/>
                  </a:lnTo>
                  <a:lnTo>
                    <a:pt x="4075" y="3604"/>
                  </a:lnTo>
                  <a:lnTo>
                    <a:pt x="4074" y="3569"/>
                  </a:lnTo>
                  <a:lnTo>
                    <a:pt x="4069" y="3533"/>
                  </a:lnTo>
                  <a:lnTo>
                    <a:pt x="4062" y="3498"/>
                  </a:lnTo>
                  <a:lnTo>
                    <a:pt x="4052" y="3464"/>
                  </a:lnTo>
                  <a:lnTo>
                    <a:pt x="4039" y="3432"/>
                  </a:lnTo>
                  <a:lnTo>
                    <a:pt x="4024" y="3401"/>
                  </a:lnTo>
                  <a:lnTo>
                    <a:pt x="4006" y="3372"/>
                  </a:lnTo>
                  <a:lnTo>
                    <a:pt x="3987" y="3343"/>
                  </a:lnTo>
                  <a:lnTo>
                    <a:pt x="3955" y="3308"/>
                  </a:lnTo>
                  <a:lnTo>
                    <a:pt x="3919" y="3276"/>
                  </a:lnTo>
                  <a:lnTo>
                    <a:pt x="3880" y="3248"/>
                  </a:lnTo>
                  <a:lnTo>
                    <a:pt x="3860" y="3236"/>
                  </a:lnTo>
                  <a:lnTo>
                    <a:pt x="3839" y="3225"/>
                  </a:lnTo>
                  <a:lnTo>
                    <a:pt x="3817" y="3214"/>
                  </a:lnTo>
                  <a:lnTo>
                    <a:pt x="3794" y="3205"/>
                  </a:lnTo>
                  <a:lnTo>
                    <a:pt x="3748" y="3191"/>
                  </a:lnTo>
                  <a:lnTo>
                    <a:pt x="3699" y="3184"/>
                  </a:lnTo>
                  <a:lnTo>
                    <a:pt x="3674" y="3181"/>
                  </a:lnTo>
                  <a:lnTo>
                    <a:pt x="3648" y="3180"/>
                  </a:lnTo>
                  <a:lnTo>
                    <a:pt x="3604" y="3182"/>
                  </a:lnTo>
                  <a:lnTo>
                    <a:pt x="3562" y="3189"/>
                  </a:lnTo>
                  <a:lnTo>
                    <a:pt x="3521" y="3200"/>
                  </a:lnTo>
                  <a:lnTo>
                    <a:pt x="3481" y="3214"/>
                  </a:lnTo>
                  <a:lnTo>
                    <a:pt x="3443" y="3232"/>
                  </a:lnTo>
                  <a:lnTo>
                    <a:pt x="3408" y="3254"/>
                  </a:lnTo>
                  <a:lnTo>
                    <a:pt x="3375" y="3278"/>
                  </a:lnTo>
                  <a:lnTo>
                    <a:pt x="3344" y="3306"/>
                  </a:lnTo>
                  <a:lnTo>
                    <a:pt x="3316" y="3337"/>
                  </a:lnTo>
                  <a:lnTo>
                    <a:pt x="3292" y="3369"/>
                  </a:lnTo>
                  <a:lnTo>
                    <a:pt x="3270" y="3405"/>
                  </a:lnTo>
                  <a:lnTo>
                    <a:pt x="3252" y="3443"/>
                  </a:lnTo>
                  <a:lnTo>
                    <a:pt x="3238" y="3482"/>
                  </a:lnTo>
                  <a:lnTo>
                    <a:pt x="3226" y="3524"/>
                  </a:lnTo>
                  <a:lnTo>
                    <a:pt x="3220" y="3566"/>
                  </a:lnTo>
                  <a:lnTo>
                    <a:pt x="3219" y="3609"/>
                  </a:lnTo>
                  <a:lnTo>
                    <a:pt x="3220" y="3647"/>
                  </a:lnTo>
                  <a:lnTo>
                    <a:pt x="3224" y="3682"/>
                  </a:lnTo>
                  <a:lnTo>
                    <a:pt x="3231" y="3717"/>
                  </a:lnTo>
                  <a:lnTo>
                    <a:pt x="3242" y="3750"/>
                  </a:lnTo>
                  <a:lnTo>
                    <a:pt x="3254" y="3783"/>
                  </a:lnTo>
                  <a:lnTo>
                    <a:pt x="3270" y="3814"/>
                  </a:lnTo>
                  <a:lnTo>
                    <a:pt x="3288" y="3843"/>
                  </a:lnTo>
                  <a:lnTo>
                    <a:pt x="3307" y="3872"/>
                  </a:lnTo>
                  <a:lnTo>
                    <a:pt x="3336" y="3905"/>
                  </a:lnTo>
                  <a:lnTo>
                    <a:pt x="3370" y="3936"/>
                  </a:lnTo>
                  <a:lnTo>
                    <a:pt x="3388" y="3950"/>
                  </a:lnTo>
                  <a:lnTo>
                    <a:pt x="3407" y="3962"/>
                  </a:lnTo>
                  <a:lnTo>
                    <a:pt x="3445" y="3985"/>
                  </a:lnTo>
                  <a:lnTo>
                    <a:pt x="3487" y="4005"/>
                  </a:lnTo>
                  <a:lnTo>
                    <a:pt x="3531" y="4019"/>
                  </a:lnTo>
                  <a:lnTo>
                    <a:pt x="3576" y="4029"/>
                  </a:lnTo>
                  <a:lnTo>
                    <a:pt x="3624" y="4034"/>
                  </a:lnTo>
                  <a:close/>
                  <a:moveTo>
                    <a:pt x="3628" y="4333"/>
                  </a:moveTo>
                  <a:lnTo>
                    <a:pt x="3625" y="4328"/>
                  </a:lnTo>
                  <a:lnTo>
                    <a:pt x="3624" y="4320"/>
                  </a:lnTo>
                  <a:lnTo>
                    <a:pt x="3624" y="4079"/>
                  </a:lnTo>
                  <a:lnTo>
                    <a:pt x="3571" y="4072"/>
                  </a:lnTo>
                  <a:lnTo>
                    <a:pt x="3521" y="4062"/>
                  </a:lnTo>
                  <a:lnTo>
                    <a:pt x="3472" y="4045"/>
                  </a:lnTo>
                  <a:lnTo>
                    <a:pt x="3449" y="4035"/>
                  </a:lnTo>
                  <a:lnTo>
                    <a:pt x="3428" y="4024"/>
                  </a:lnTo>
                  <a:lnTo>
                    <a:pt x="3384" y="3998"/>
                  </a:lnTo>
                  <a:lnTo>
                    <a:pt x="3363" y="3984"/>
                  </a:lnTo>
                  <a:lnTo>
                    <a:pt x="3344" y="3967"/>
                  </a:lnTo>
                  <a:lnTo>
                    <a:pt x="3326" y="3951"/>
                  </a:lnTo>
                  <a:lnTo>
                    <a:pt x="3308" y="3934"/>
                  </a:lnTo>
                  <a:lnTo>
                    <a:pt x="3292" y="3915"/>
                  </a:lnTo>
                  <a:lnTo>
                    <a:pt x="3276" y="3896"/>
                  </a:lnTo>
                  <a:lnTo>
                    <a:pt x="3253" y="3865"/>
                  </a:lnTo>
                  <a:lnTo>
                    <a:pt x="3233" y="3832"/>
                  </a:lnTo>
                  <a:lnTo>
                    <a:pt x="3216" y="3797"/>
                  </a:lnTo>
                  <a:lnTo>
                    <a:pt x="3201" y="3762"/>
                  </a:lnTo>
                  <a:lnTo>
                    <a:pt x="3189" y="3725"/>
                  </a:lnTo>
                  <a:lnTo>
                    <a:pt x="3181" y="3686"/>
                  </a:lnTo>
                  <a:lnTo>
                    <a:pt x="3176" y="3645"/>
                  </a:lnTo>
                  <a:lnTo>
                    <a:pt x="3174" y="3604"/>
                  </a:lnTo>
                  <a:lnTo>
                    <a:pt x="3176" y="3557"/>
                  </a:lnTo>
                  <a:lnTo>
                    <a:pt x="3184" y="3510"/>
                  </a:lnTo>
                  <a:lnTo>
                    <a:pt x="3189" y="3488"/>
                  </a:lnTo>
                  <a:lnTo>
                    <a:pt x="3195" y="3465"/>
                  </a:lnTo>
                  <a:lnTo>
                    <a:pt x="3211" y="3423"/>
                  </a:lnTo>
                  <a:lnTo>
                    <a:pt x="3231" y="3382"/>
                  </a:lnTo>
                  <a:lnTo>
                    <a:pt x="3254" y="3342"/>
                  </a:lnTo>
                  <a:lnTo>
                    <a:pt x="3281" y="3306"/>
                  </a:lnTo>
                  <a:lnTo>
                    <a:pt x="3297" y="3290"/>
                  </a:lnTo>
                  <a:lnTo>
                    <a:pt x="3312" y="3273"/>
                  </a:lnTo>
                  <a:lnTo>
                    <a:pt x="3345" y="3242"/>
                  </a:lnTo>
                  <a:lnTo>
                    <a:pt x="3363" y="3228"/>
                  </a:lnTo>
                  <a:lnTo>
                    <a:pt x="3381" y="3216"/>
                  </a:lnTo>
                  <a:lnTo>
                    <a:pt x="3420" y="3193"/>
                  </a:lnTo>
                  <a:lnTo>
                    <a:pt x="3440" y="3182"/>
                  </a:lnTo>
                  <a:lnTo>
                    <a:pt x="3462" y="3172"/>
                  </a:lnTo>
                  <a:lnTo>
                    <a:pt x="3483" y="3164"/>
                  </a:lnTo>
                  <a:lnTo>
                    <a:pt x="3504" y="3157"/>
                  </a:lnTo>
                  <a:lnTo>
                    <a:pt x="3528" y="3150"/>
                  </a:lnTo>
                  <a:lnTo>
                    <a:pt x="3549" y="3145"/>
                  </a:lnTo>
                  <a:lnTo>
                    <a:pt x="3597" y="3138"/>
                  </a:lnTo>
                  <a:lnTo>
                    <a:pt x="3644" y="3135"/>
                  </a:lnTo>
                  <a:lnTo>
                    <a:pt x="3701" y="3139"/>
                  </a:lnTo>
                  <a:lnTo>
                    <a:pt x="3728" y="3143"/>
                  </a:lnTo>
                  <a:lnTo>
                    <a:pt x="3755" y="3149"/>
                  </a:lnTo>
                  <a:lnTo>
                    <a:pt x="3781" y="3156"/>
                  </a:lnTo>
                  <a:lnTo>
                    <a:pt x="3807" y="3164"/>
                  </a:lnTo>
                  <a:lnTo>
                    <a:pt x="3831" y="3175"/>
                  </a:lnTo>
                  <a:lnTo>
                    <a:pt x="3856" y="3185"/>
                  </a:lnTo>
                  <a:lnTo>
                    <a:pt x="3902" y="3212"/>
                  </a:lnTo>
                  <a:lnTo>
                    <a:pt x="3944" y="3242"/>
                  </a:lnTo>
                  <a:lnTo>
                    <a:pt x="3965" y="3260"/>
                  </a:lnTo>
                  <a:lnTo>
                    <a:pt x="3983" y="3278"/>
                  </a:lnTo>
                  <a:lnTo>
                    <a:pt x="4001" y="3299"/>
                  </a:lnTo>
                  <a:lnTo>
                    <a:pt x="4017" y="3318"/>
                  </a:lnTo>
                  <a:lnTo>
                    <a:pt x="4040" y="3350"/>
                  </a:lnTo>
                  <a:lnTo>
                    <a:pt x="4060" y="3382"/>
                  </a:lnTo>
                  <a:lnTo>
                    <a:pt x="4078" y="3416"/>
                  </a:lnTo>
                  <a:lnTo>
                    <a:pt x="4092" y="3453"/>
                  </a:lnTo>
                  <a:lnTo>
                    <a:pt x="4103" y="3491"/>
                  </a:lnTo>
                  <a:lnTo>
                    <a:pt x="4112" y="3529"/>
                  </a:lnTo>
                  <a:lnTo>
                    <a:pt x="4117" y="3569"/>
                  </a:lnTo>
                  <a:lnTo>
                    <a:pt x="4119" y="3609"/>
                  </a:lnTo>
                  <a:lnTo>
                    <a:pt x="4117" y="3657"/>
                  </a:lnTo>
                  <a:lnTo>
                    <a:pt x="4110" y="3702"/>
                  </a:lnTo>
                  <a:lnTo>
                    <a:pt x="4105" y="3725"/>
                  </a:lnTo>
                  <a:lnTo>
                    <a:pt x="4099" y="3746"/>
                  </a:lnTo>
                  <a:lnTo>
                    <a:pt x="4084" y="3788"/>
                  </a:lnTo>
                  <a:lnTo>
                    <a:pt x="4075" y="3809"/>
                  </a:lnTo>
                  <a:lnTo>
                    <a:pt x="4065" y="3828"/>
                  </a:lnTo>
                  <a:lnTo>
                    <a:pt x="4043" y="3866"/>
                  </a:lnTo>
                  <a:lnTo>
                    <a:pt x="4016" y="3902"/>
                  </a:lnTo>
                  <a:lnTo>
                    <a:pt x="3988" y="3936"/>
                  </a:lnTo>
                  <a:lnTo>
                    <a:pt x="3956" y="3965"/>
                  </a:lnTo>
                  <a:lnTo>
                    <a:pt x="3921" y="3993"/>
                  </a:lnTo>
                  <a:lnTo>
                    <a:pt x="3884" y="4016"/>
                  </a:lnTo>
                  <a:lnTo>
                    <a:pt x="3844" y="4037"/>
                  </a:lnTo>
                  <a:lnTo>
                    <a:pt x="3802" y="4053"/>
                  </a:lnTo>
                  <a:lnTo>
                    <a:pt x="3760" y="4066"/>
                  </a:lnTo>
                  <a:lnTo>
                    <a:pt x="3715" y="4075"/>
                  </a:lnTo>
                  <a:lnTo>
                    <a:pt x="3667" y="4079"/>
                  </a:lnTo>
                  <a:lnTo>
                    <a:pt x="3667" y="4336"/>
                  </a:lnTo>
                  <a:lnTo>
                    <a:pt x="3666" y="4345"/>
                  </a:lnTo>
                  <a:lnTo>
                    <a:pt x="3661" y="4351"/>
                  </a:lnTo>
                  <a:lnTo>
                    <a:pt x="3654" y="4355"/>
                  </a:lnTo>
                  <a:lnTo>
                    <a:pt x="3648" y="4356"/>
                  </a:lnTo>
                  <a:lnTo>
                    <a:pt x="3640" y="4355"/>
                  </a:lnTo>
                  <a:lnTo>
                    <a:pt x="3634" y="4351"/>
                  </a:lnTo>
                  <a:lnTo>
                    <a:pt x="3629" y="4345"/>
                  </a:lnTo>
                  <a:lnTo>
                    <a:pt x="3628" y="4336"/>
                  </a:lnTo>
                  <a:lnTo>
                    <a:pt x="3628" y="4333"/>
                  </a:lnTo>
                  <a:close/>
                </a:path>
              </a:pathLst>
            </a:custGeom>
            <a:solidFill>
              <a:srgbClr val="FF6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33EF670B-30BD-4A10-B403-507CF595F201}"/>
                </a:ext>
              </a:extLst>
            </p:cNvPr>
            <p:cNvSpPr>
              <a:spLocks noChangeAspect="1" noEditPoints="1"/>
            </p:cNvSpPr>
            <p:nvPr userDrawn="1"/>
          </p:nvSpPr>
          <p:spPr bwMode="black">
            <a:xfrm>
              <a:off x="5610994" y="5177099"/>
              <a:ext cx="193514" cy="216000"/>
            </a:xfrm>
            <a:custGeom>
              <a:avLst/>
              <a:gdLst>
                <a:gd name="T0" fmla="*/ 2964 w 3578"/>
                <a:gd name="T1" fmla="*/ 3151 h 3996"/>
                <a:gd name="T2" fmla="*/ 2988 w 3578"/>
                <a:gd name="T3" fmla="*/ 3131 h 3996"/>
                <a:gd name="T4" fmla="*/ 3002 w 3578"/>
                <a:gd name="T5" fmla="*/ 3095 h 3996"/>
                <a:gd name="T6" fmla="*/ 2998 w 3578"/>
                <a:gd name="T7" fmla="*/ 3052 h 3996"/>
                <a:gd name="T8" fmla="*/ 2570 w 3578"/>
                <a:gd name="T9" fmla="*/ 2480 h 3996"/>
                <a:gd name="T10" fmla="*/ 2976 w 3578"/>
                <a:gd name="T11" fmla="*/ 956 h 3996"/>
                <a:gd name="T12" fmla="*/ 2988 w 3578"/>
                <a:gd name="T13" fmla="*/ 917 h 3996"/>
                <a:gd name="T14" fmla="*/ 2981 w 3578"/>
                <a:gd name="T15" fmla="*/ 878 h 3996"/>
                <a:gd name="T16" fmla="*/ 2961 w 3578"/>
                <a:gd name="T17" fmla="*/ 853 h 3996"/>
                <a:gd name="T18" fmla="*/ 2936 w 3578"/>
                <a:gd name="T19" fmla="*/ 840 h 3996"/>
                <a:gd name="T20" fmla="*/ 2275 w 3578"/>
                <a:gd name="T21" fmla="*/ 835 h 3996"/>
                <a:gd name="T22" fmla="*/ 2209 w 3578"/>
                <a:gd name="T23" fmla="*/ 845 h 3996"/>
                <a:gd name="T24" fmla="*/ 2160 w 3578"/>
                <a:gd name="T25" fmla="*/ 872 h 3996"/>
                <a:gd name="T26" fmla="*/ 2119 w 3578"/>
                <a:gd name="T27" fmla="*/ 915 h 3996"/>
                <a:gd name="T28" fmla="*/ 1365 w 3578"/>
                <a:gd name="T29" fmla="*/ 931 h 3996"/>
                <a:gd name="T30" fmla="*/ 1356 w 3578"/>
                <a:gd name="T31" fmla="*/ 884 h 3996"/>
                <a:gd name="T32" fmla="*/ 1325 w 3578"/>
                <a:gd name="T33" fmla="*/ 851 h 3996"/>
                <a:gd name="T34" fmla="*/ 1280 w 3578"/>
                <a:gd name="T35" fmla="*/ 835 h 3996"/>
                <a:gd name="T36" fmla="*/ 664 w 3578"/>
                <a:gd name="T37" fmla="*/ 840 h 3996"/>
                <a:gd name="T38" fmla="*/ 625 w 3578"/>
                <a:gd name="T39" fmla="*/ 862 h 3996"/>
                <a:gd name="T40" fmla="*/ 602 w 3578"/>
                <a:gd name="T41" fmla="*/ 902 h 3996"/>
                <a:gd name="T42" fmla="*/ 598 w 3578"/>
                <a:gd name="T43" fmla="*/ 1998 h 3996"/>
                <a:gd name="T44" fmla="*/ 602 w 3578"/>
                <a:gd name="T45" fmla="*/ 3094 h 3996"/>
                <a:gd name="T46" fmla="*/ 625 w 3578"/>
                <a:gd name="T47" fmla="*/ 3133 h 3996"/>
                <a:gd name="T48" fmla="*/ 664 w 3578"/>
                <a:gd name="T49" fmla="*/ 3156 h 3996"/>
                <a:gd name="T50" fmla="*/ 1280 w 3578"/>
                <a:gd name="T51" fmla="*/ 3160 h 3996"/>
                <a:gd name="T52" fmla="*/ 1325 w 3578"/>
                <a:gd name="T53" fmla="*/ 3144 h 3996"/>
                <a:gd name="T54" fmla="*/ 1356 w 3578"/>
                <a:gd name="T55" fmla="*/ 3111 h 3996"/>
                <a:gd name="T56" fmla="*/ 1365 w 3578"/>
                <a:gd name="T57" fmla="*/ 3064 h 3996"/>
                <a:gd name="T58" fmla="*/ 2119 w 3578"/>
                <a:gd name="T59" fmla="*/ 3080 h 3996"/>
                <a:gd name="T60" fmla="*/ 2160 w 3578"/>
                <a:gd name="T61" fmla="*/ 3123 h 3996"/>
                <a:gd name="T62" fmla="*/ 2209 w 3578"/>
                <a:gd name="T63" fmla="*/ 3151 h 3996"/>
                <a:gd name="T64" fmla="*/ 2275 w 3578"/>
                <a:gd name="T65" fmla="*/ 3160 h 3996"/>
                <a:gd name="T66" fmla="*/ 4 w 3578"/>
                <a:gd name="T67" fmla="*/ 3929 h 3996"/>
                <a:gd name="T68" fmla="*/ 27 w 3578"/>
                <a:gd name="T69" fmla="*/ 3968 h 3996"/>
                <a:gd name="T70" fmla="*/ 66 w 3578"/>
                <a:gd name="T71" fmla="*/ 3991 h 3996"/>
                <a:gd name="T72" fmla="*/ 1789 w 3578"/>
                <a:gd name="T73" fmla="*/ 3996 h 3996"/>
                <a:gd name="T74" fmla="*/ 3512 w 3578"/>
                <a:gd name="T75" fmla="*/ 3991 h 3996"/>
                <a:gd name="T76" fmla="*/ 3552 w 3578"/>
                <a:gd name="T77" fmla="*/ 3968 h 3996"/>
                <a:gd name="T78" fmla="*/ 3574 w 3578"/>
                <a:gd name="T79" fmla="*/ 3929 h 3996"/>
                <a:gd name="T80" fmla="*/ 3577 w 3578"/>
                <a:gd name="T81" fmla="*/ 3624 h 3996"/>
                <a:gd name="T82" fmla="*/ 3563 w 3578"/>
                <a:gd name="T83" fmla="*/ 3579 h 3996"/>
                <a:gd name="T84" fmla="*/ 3529 w 3578"/>
                <a:gd name="T85" fmla="*/ 3549 h 3996"/>
                <a:gd name="T86" fmla="*/ 3482 w 3578"/>
                <a:gd name="T87" fmla="*/ 3538 h 3996"/>
                <a:gd name="T88" fmla="*/ 85 w 3578"/>
                <a:gd name="T89" fmla="*/ 3538 h 3996"/>
                <a:gd name="T90" fmla="*/ 41 w 3578"/>
                <a:gd name="T91" fmla="*/ 3554 h 3996"/>
                <a:gd name="T92" fmla="*/ 11 w 3578"/>
                <a:gd name="T93" fmla="*/ 3587 h 3996"/>
                <a:gd name="T94" fmla="*/ 0 w 3578"/>
                <a:gd name="T95" fmla="*/ 3634 h 3996"/>
                <a:gd name="T96" fmla="*/ 4 w 3578"/>
                <a:gd name="T97" fmla="*/ 391 h 3996"/>
                <a:gd name="T98" fmla="*/ 27 w 3578"/>
                <a:gd name="T99" fmla="*/ 430 h 3996"/>
                <a:gd name="T100" fmla="*/ 66 w 3578"/>
                <a:gd name="T101" fmla="*/ 453 h 3996"/>
                <a:gd name="T102" fmla="*/ 1789 w 3578"/>
                <a:gd name="T103" fmla="*/ 456 h 3996"/>
                <a:gd name="T104" fmla="*/ 3512 w 3578"/>
                <a:gd name="T105" fmla="*/ 453 h 3996"/>
                <a:gd name="T106" fmla="*/ 3552 w 3578"/>
                <a:gd name="T107" fmla="*/ 430 h 3996"/>
                <a:gd name="T108" fmla="*/ 3574 w 3578"/>
                <a:gd name="T109" fmla="*/ 391 h 3996"/>
                <a:gd name="T110" fmla="*/ 3577 w 3578"/>
                <a:gd name="T111" fmla="*/ 85 h 3996"/>
                <a:gd name="T112" fmla="*/ 3563 w 3578"/>
                <a:gd name="T113" fmla="*/ 41 h 3996"/>
                <a:gd name="T114" fmla="*/ 3529 w 3578"/>
                <a:gd name="T115" fmla="*/ 11 h 3996"/>
                <a:gd name="T116" fmla="*/ 3482 w 3578"/>
                <a:gd name="T117" fmla="*/ 0 h 3996"/>
                <a:gd name="T118" fmla="*/ 85 w 3578"/>
                <a:gd name="T119" fmla="*/ 0 h 3996"/>
                <a:gd name="T120" fmla="*/ 41 w 3578"/>
                <a:gd name="T121" fmla="*/ 16 h 3996"/>
                <a:gd name="T122" fmla="*/ 11 w 3578"/>
                <a:gd name="T123" fmla="*/ 49 h 3996"/>
                <a:gd name="T124" fmla="*/ 0 w 3578"/>
                <a:gd name="T125" fmla="*/ 95 h 3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78" h="3996">
                  <a:moveTo>
                    <a:pt x="2924" y="3160"/>
                  </a:moveTo>
                  <a:lnTo>
                    <a:pt x="2936" y="3160"/>
                  </a:lnTo>
                  <a:lnTo>
                    <a:pt x="2947" y="3157"/>
                  </a:lnTo>
                  <a:lnTo>
                    <a:pt x="2958" y="3153"/>
                  </a:lnTo>
                  <a:lnTo>
                    <a:pt x="2964" y="3151"/>
                  </a:lnTo>
                  <a:lnTo>
                    <a:pt x="2968" y="3148"/>
                  </a:lnTo>
                  <a:lnTo>
                    <a:pt x="2977" y="3142"/>
                  </a:lnTo>
                  <a:lnTo>
                    <a:pt x="2981" y="3139"/>
                  </a:lnTo>
                  <a:lnTo>
                    <a:pt x="2985" y="3135"/>
                  </a:lnTo>
                  <a:lnTo>
                    <a:pt x="2988" y="3131"/>
                  </a:lnTo>
                  <a:lnTo>
                    <a:pt x="2991" y="3126"/>
                  </a:lnTo>
                  <a:lnTo>
                    <a:pt x="2996" y="3117"/>
                  </a:lnTo>
                  <a:lnTo>
                    <a:pt x="3000" y="3106"/>
                  </a:lnTo>
                  <a:lnTo>
                    <a:pt x="3001" y="3101"/>
                  </a:lnTo>
                  <a:lnTo>
                    <a:pt x="3002" y="3095"/>
                  </a:lnTo>
                  <a:lnTo>
                    <a:pt x="3003" y="3084"/>
                  </a:lnTo>
                  <a:lnTo>
                    <a:pt x="3002" y="3072"/>
                  </a:lnTo>
                  <a:lnTo>
                    <a:pt x="3001" y="3065"/>
                  </a:lnTo>
                  <a:lnTo>
                    <a:pt x="2999" y="3059"/>
                  </a:lnTo>
                  <a:lnTo>
                    <a:pt x="2998" y="3052"/>
                  </a:lnTo>
                  <a:lnTo>
                    <a:pt x="2995" y="3045"/>
                  </a:lnTo>
                  <a:lnTo>
                    <a:pt x="2988" y="3032"/>
                  </a:lnTo>
                  <a:lnTo>
                    <a:pt x="2985" y="3026"/>
                  </a:lnTo>
                  <a:lnTo>
                    <a:pt x="2980" y="3019"/>
                  </a:lnTo>
                  <a:lnTo>
                    <a:pt x="2570" y="2480"/>
                  </a:lnTo>
                  <a:lnTo>
                    <a:pt x="2162" y="1941"/>
                  </a:lnTo>
                  <a:lnTo>
                    <a:pt x="2562" y="1459"/>
                  </a:lnTo>
                  <a:lnTo>
                    <a:pt x="2962" y="976"/>
                  </a:lnTo>
                  <a:lnTo>
                    <a:pt x="2972" y="962"/>
                  </a:lnTo>
                  <a:lnTo>
                    <a:pt x="2976" y="956"/>
                  </a:lnTo>
                  <a:lnTo>
                    <a:pt x="2979" y="949"/>
                  </a:lnTo>
                  <a:lnTo>
                    <a:pt x="2985" y="936"/>
                  </a:lnTo>
                  <a:lnTo>
                    <a:pt x="2986" y="929"/>
                  </a:lnTo>
                  <a:lnTo>
                    <a:pt x="2988" y="923"/>
                  </a:lnTo>
                  <a:lnTo>
                    <a:pt x="2988" y="917"/>
                  </a:lnTo>
                  <a:lnTo>
                    <a:pt x="2989" y="910"/>
                  </a:lnTo>
                  <a:lnTo>
                    <a:pt x="2988" y="899"/>
                  </a:lnTo>
                  <a:lnTo>
                    <a:pt x="2987" y="894"/>
                  </a:lnTo>
                  <a:lnTo>
                    <a:pt x="2986" y="888"/>
                  </a:lnTo>
                  <a:lnTo>
                    <a:pt x="2981" y="878"/>
                  </a:lnTo>
                  <a:lnTo>
                    <a:pt x="2979" y="873"/>
                  </a:lnTo>
                  <a:lnTo>
                    <a:pt x="2976" y="868"/>
                  </a:lnTo>
                  <a:lnTo>
                    <a:pt x="2972" y="864"/>
                  </a:lnTo>
                  <a:lnTo>
                    <a:pt x="2969" y="861"/>
                  </a:lnTo>
                  <a:lnTo>
                    <a:pt x="2961" y="853"/>
                  </a:lnTo>
                  <a:lnTo>
                    <a:pt x="2957" y="849"/>
                  </a:lnTo>
                  <a:lnTo>
                    <a:pt x="2951" y="846"/>
                  </a:lnTo>
                  <a:lnTo>
                    <a:pt x="2947" y="844"/>
                  </a:lnTo>
                  <a:lnTo>
                    <a:pt x="2941" y="842"/>
                  </a:lnTo>
                  <a:lnTo>
                    <a:pt x="2936" y="840"/>
                  </a:lnTo>
                  <a:lnTo>
                    <a:pt x="2930" y="838"/>
                  </a:lnTo>
                  <a:lnTo>
                    <a:pt x="2925" y="836"/>
                  </a:lnTo>
                  <a:lnTo>
                    <a:pt x="2919" y="836"/>
                  </a:lnTo>
                  <a:lnTo>
                    <a:pt x="2907" y="835"/>
                  </a:lnTo>
                  <a:lnTo>
                    <a:pt x="2275" y="835"/>
                  </a:lnTo>
                  <a:lnTo>
                    <a:pt x="2260" y="835"/>
                  </a:lnTo>
                  <a:lnTo>
                    <a:pt x="2246" y="836"/>
                  </a:lnTo>
                  <a:lnTo>
                    <a:pt x="2234" y="838"/>
                  </a:lnTo>
                  <a:lnTo>
                    <a:pt x="2222" y="841"/>
                  </a:lnTo>
                  <a:lnTo>
                    <a:pt x="2209" y="845"/>
                  </a:lnTo>
                  <a:lnTo>
                    <a:pt x="2198" y="848"/>
                  </a:lnTo>
                  <a:lnTo>
                    <a:pt x="2188" y="854"/>
                  </a:lnTo>
                  <a:lnTo>
                    <a:pt x="2178" y="859"/>
                  </a:lnTo>
                  <a:lnTo>
                    <a:pt x="2168" y="865"/>
                  </a:lnTo>
                  <a:lnTo>
                    <a:pt x="2160" y="872"/>
                  </a:lnTo>
                  <a:lnTo>
                    <a:pt x="2151" y="879"/>
                  </a:lnTo>
                  <a:lnTo>
                    <a:pt x="2142" y="887"/>
                  </a:lnTo>
                  <a:lnTo>
                    <a:pt x="2134" y="896"/>
                  </a:lnTo>
                  <a:lnTo>
                    <a:pt x="2126" y="905"/>
                  </a:lnTo>
                  <a:lnTo>
                    <a:pt x="2119" y="915"/>
                  </a:lnTo>
                  <a:lnTo>
                    <a:pt x="2111" y="925"/>
                  </a:lnTo>
                  <a:lnTo>
                    <a:pt x="1738" y="1404"/>
                  </a:lnTo>
                  <a:lnTo>
                    <a:pt x="1365" y="1885"/>
                  </a:lnTo>
                  <a:lnTo>
                    <a:pt x="1365" y="1408"/>
                  </a:lnTo>
                  <a:lnTo>
                    <a:pt x="1365" y="931"/>
                  </a:lnTo>
                  <a:lnTo>
                    <a:pt x="1365" y="920"/>
                  </a:lnTo>
                  <a:lnTo>
                    <a:pt x="1364" y="910"/>
                  </a:lnTo>
                  <a:lnTo>
                    <a:pt x="1362" y="902"/>
                  </a:lnTo>
                  <a:lnTo>
                    <a:pt x="1359" y="892"/>
                  </a:lnTo>
                  <a:lnTo>
                    <a:pt x="1356" y="884"/>
                  </a:lnTo>
                  <a:lnTo>
                    <a:pt x="1350" y="876"/>
                  </a:lnTo>
                  <a:lnTo>
                    <a:pt x="1346" y="868"/>
                  </a:lnTo>
                  <a:lnTo>
                    <a:pt x="1339" y="862"/>
                  </a:lnTo>
                  <a:lnTo>
                    <a:pt x="1332" y="856"/>
                  </a:lnTo>
                  <a:lnTo>
                    <a:pt x="1325" y="851"/>
                  </a:lnTo>
                  <a:lnTo>
                    <a:pt x="1317" y="846"/>
                  </a:lnTo>
                  <a:lnTo>
                    <a:pt x="1309" y="842"/>
                  </a:lnTo>
                  <a:lnTo>
                    <a:pt x="1300" y="840"/>
                  </a:lnTo>
                  <a:lnTo>
                    <a:pt x="1290" y="837"/>
                  </a:lnTo>
                  <a:lnTo>
                    <a:pt x="1280" y="835"/>
                  </a:lnTo>
                  <a:lnTo>
                    <a:pt x="1270" y="835"/>
                  </a:lnTo>
                  <a:lnTo>
                    <a:pt x="694" y="835"/>
                  </a:lnTo>
                  <a:lnTo>
                    <a:pt x="684" y="835"/>
                  </a:lnTo>
                  <a:lnTo>
                    <a:pt x="674" y="837"/>
                  </a:lnTo>
                  <a:lnTo>
                    <a:pt x="664" y="840"/>
                  </a:lnTo>
                  <a:lnTo>
                    <a:pt x="656" y="842"/>
                  </a:lnTo>
                  <a:lnTo>
                    <a:pt x="647" y="846"/>
                  </a:lnTo>
                  <a:lnTo>
                    <a:pt x="639" y="851"/>
                  </a:lnTo>
                  <a:lnTo>
                    <a:pt x="632" y="856"/>
                  </a:lnTo>
                  <a:lnTo>
                    <a:pt x="625" y="862"/>
                  </a:lnTo>
                  <a:lnTo>
                    <a:pt x="619" y="868"/>
                  </a:lnTo>
                  <a:lnTo>
                    <a:pt x="614" y="876"/>
                  </a:lnTo>
                  <a:lnTo>
                    <a:pt x="609" y="884"/>
                  </a:lnTo>
                  <a:lnTo>
                    <a:pt x="606" y="892"/>
                  </a:lnTo>
                  <a:lnTo>
                    <a:pt x="602" y="902"/>
                  </a:lnTo>
                  <a:lnTo>
                    <a:pt x="600" y="910"/>
                  </a:lnTo>
                  <a:lnTo>
                    <a:pt x="599" y="920"/>
                  </a:lnTo>
                  <a:lnTo>
                    <a:pt x="598" y="931"/>
                  </a:lnTo>
                  <a:lnTo>
                    <a:pt x="598" y="1464"/>
                  </a:lnTo>
                  <a:lnTo>
                    <a:pt x="598" y="1998"/>
                  </a:lnTo>
                  <a:lnTo>
                    <a:pt x="598" y="2531"/>
                  </a:lnTo>
                  <a:lnTo>
                    <a:pt x="598" y="3064"/>
                  </a:lnTo>
                  <a:lnTo>
                    <a:pt x="599" y="3074"/>
                  </a:lnTo>
                  <a:lnTo>
                    <a:pt x="600" y="3084"/>
                  </a:lnTo>
                  <a:lnTo>
                    <a:pt x="602" y="3094"/>
                  </a:lnTo>
                  <a:lnTo>
                    <a:pt x="606" y="3103"/>
                  </a:lnTo>
                  <a:lnTo>
                    <a:pt x="609" y="3111"/>
                  </a:lnTo>
                  <a:lnTo>
                    <a:pt x="614" y="3120"/>
                  </a:lnTo>
                  <a:lnTo>
                    <a:pt x="619" y="3126"/>
                  </a:lnTo>
                  <a:lnTo>
                    <a:pt x="625" y="3133"/>
                  </a:lnTo>
                  <a:lnTo>
                    <a:pt x="632" y="3140"/>
                  </a:lnTo>
                  <a:lnTo>
                    <a:pt x="639" y="3144"/>
                  </a:lnTo>
                  <a:lnTo>
                    <a:pt x="647" y="3150"/>
                  </a:lnTo>
                  <a:lnTo>
                    <a:pt x="656" y="3153"/>
                  </a:lnTo>
                  <a:lnTo>
                    <a:pt x="664" y="3156"/>
                  </a:lnTo>
                  <a:lnTo>
                    <a:pt x="674" y="3158"/>
                  </a:lnTo>
                  <a:lnTo>
                    <a:pt x="684" y="3160"/>
                  </a:lnTo>
                  <a:lnTo>
                    <a:pt x="694" y="3160"/>
                  </a:lnTo>
                  <a:lnTo>
                    <a:pt x="1270" y="3160"/>
                  </a:lnTo>
                  <a:lnTo>
                    <a:pt x="1280" y="3160"/>
                  </a:lnTo>
                  <a:lnTo>
                    <a:pt x="1290" y="3158"/>
                  </a:lnTo>
                  <a:lnTo>
                    <a:pt x="1300" y="3156"/>
                  </a:lnTo>
                  <a:lnTo>
                    <a:pt x="1309" y="3153"/>
                  </a:lnTo>
                  <a:lnTo>
                    <a:pt x="1317" y="3150"/>
                  </a:lnTo>
                  <a:lnTo>
                    <a:pt x="1325" y="3144"/>
                  </a:lnTo>
                  <a:lnTo>
                    <a:pt x="1332" y="3140"/>
                  </a:lnTo>
                  <a:lnTo>
                    <a:pt x="1339" y="3133"/>
                  </a:lnTo>
                  <a:lnTo>
                    <a:pt x="1346" y="3126"/>
                  </a:lnTo>
                  <a:lnTo>
                    <a:pt x="1350" y="3120"/>
                  </a:lnTo>
                  <a:lnTo>
                    <a:pt x="1356" y="3111"/>
                  </a:lnTo>
                  <a:lnTo>
                    <a:pt x="1359" y="3103"/>
                  </a:lnTo>
                  <a:lnTo>
                    <a:pt x="1362" y="3094"/>
                  </a:lnTo>
                  <a:lnTo>
                    <a:pt x="1364" y="3084"/>
                  </a:lnTo>
                  <a:lnTo>
                    <a:pt x="1365" y="3074"/>
                  </a:lnTo>
                  <a:lnTo>
                    <a:pt x="1365" y="3064"/>
                  </a:lnTo>
                  <a:lnTo>
                    <a:pt x="1365" y="2539"/>
                  </a:lnTo>
                  <a:lnTo>
                    <a:pt x="1365" y="2014"/>
                  </a:lnTo>
                  <a:lnTo>
                    <a:pt x="1738" y="2542"/>
                  </a:lnTo>
                  <a:lnTo>
                    <a:pt x="2111" y="3070"/>
                  </a:lnTo>
                  <a:lnTo>
                    <a:pt x="2119" y="3080"/>
                  </a:lnTo>
                  <a:lnTo>
                    <a:pt x="2126" y="3090"/>
                  </a:lnTo>
                  <a:lnTo>
                    <a:pt x="2134" y="3099"/>
                  </a:lnTo>
                  <a:lnTo>
                    <a:pt x="2142" y="3108"/>
                  </a:lnTo>
                  <a:lnTo>
                    <a:pt x="2151" y="3115"/>
                  </a:lnTo>
                  <a:lnTo>
                    <a:pt x="2160" y="3123"/>
                  </a:lnTo>
                  <a:lnTo>
                    <a:pt x="2168" y="3130"/>
                  </a:lnTo>
                  <a:lnTo>
                    <a:pt x="2178" y="3136"/>
                  </a:lnTo>
                  <a:lnTo>
                    <a:pt x="2188" y="3142"/>
                  </a:lnTo>
                  <a:lnTo>
                    <a:pt x="2198" y="3146"/>
                  </a:lnTo>
                  <a:lnTo>
                    <a:pt x="2209" y="3151"/>
                  </a:lnTo>
                  <a:lnTo>
                    <a:pt x="2222" y="3154"/>
                  </a:lnTo>
                  <a:lnTo>
                    <a:pt x="2234" y="3156"/>
                  </a:lnTo>
                  <a:lnTo>
                    <a:pt x="2246" y="3158"/>
                  </a:lnTo>
                  <a:lnTo>
                    <a:pt x="2260" y="3160"/>
                  </a:lnTo>
                  <a:lnTo>
                    <a:pt x="2275" y="3160"/>
                  </a:lnTo>
                  <a:lnTo>
                    <a:pt x="2924" y="3160"/>
                  </a:lnTo>
                  <a:close/>
                  <a:moveTo>
                    <a:pt x="0" y="3899"/>
                  </a:moveTo>
                  <a:lnTo>
                    <a:pt x="1" y="3909"/>
                  </a:lnTo>
                  <a:lnTo>
                    <a:pt x="2" y="3919"/>
                  </a:lnTo>
                  <a:lnTo>
                    <a:pt x="4" y="3929"/>
                  </a:lnTo>
                  <a:lnTo>
                    <a:pt x="8" y="3938"/>
                  </a:lnTo>
                  <a:lnTo>
                    <a:pt x="11" y="3947"/>
                  </a:lnTo>
                  <a:lnTo>
                    <a:pt x="16" y="3955"/>
                  </a:lnTo>
                  <a:lnTo>
                    <a:pt x="21" y="3961"/>
                  </a:lnTo>
                  <a:lnTo>
                    <a:pt x="27" y="3968"/>
                  </a:lnTo>
                  <a:lnTo>
                    <a:pt x="33" y="3975"/>
                  </a:lnTo>
                  <a:lnTo>
                    <a:pt x="41" y="3980"/>
                  </a:lnTo>
                  <a:lnTo>
                    <a:pt x="49" y="3985"/>
                  </a:lnTo>
                  <a:lnTo>
                    <a:pt x="58" y="3988"/>
                  </a:lnTo>
                  <a:lnTo>
                    <a:pt x="66" y="3991"/>
                  </a:lnTo>
                  <a:lnTo>
                    <a:pt x="75" y="3993"/>
                  </a:lnTo>
                  <a:lnTo>
                    <a:pt x="85" y="3995"/>
                  </a:lnTo>
                  <a:lnTo>
                    <a:pt x="96" y="3996"/>
                  </a:lnTo>
                  <a:lnTo>
                    <a:pt x="942" y="3996"/>
                  </a:lnTo>
                  <a:lnTo>
                    <a:pt x="1789" y="3996"/>
                  </a:lnTo>
                  <a:lnTo>
                    <a:pt x="2635" y="3996"/>
                  </a:lnTo>
                  <a:lnTo>
                    <a:pt x="3482" y="3996"/>
                  </a:lnTo>
                  <a:lnTo>
                    <a:pt x="3493" y="3995"/>
                  </a:lnTo>
                  <a:lnTo>
                    <a:pt x="3503" y="3993"/>
                  </a:lnTo>
                  <a:lnTo>
                    <a:pt x="3512" y="3991"/>
                  </a:lnTo>
                  <a:lnTo>
                    <a:pt x="3521" y="3988"/>
                  </a:lnTo>
                  <a:lnTo>
                    <a:pt x="3529" y="3985"/>
                  </a:lnTo>
                  <a:lnTo>
                    <a:pt x="3537" y="3980"/>
                  </a:lnTo>
                  <a:lnTo>
                    <a:pt x="3545" y="3975"/>
                  </a:lnTo>
                  <a:lnTo>
                    <a:pt x="3552" y="3968"/>
                  </a:lnTo>
                  <a:lnTo>
                    <a:pt x="3557" y="3961"/>
                  </a:lnTo>
                  <a:lnTo>
                    <a:pt x="3563" y="3955"/>
                  </a:lnTo>
                  <a:lnTo>
                    <a:pt x="3567" y="3947"/>
                  </a:lnTo>
                  <a:lnTo>
                    <a:pt x="3572" y="3938"/>
                  </a:lnTo>
                  <a:lnTo>
                    <a:pt x="3574" y="3929"/>
                  </a:lnTo>
                  <a:lnTo>
                    <a:pt x="3576" y="3919"/>
                  </a:lnTo>
                  <a:lnTo>
                    <a:pt x="3577" y="3909"/>
                  </a:lnTo>
                  <a:lnTo>
                    <a:pt x="3578" y="3899"/>
                  </a:lnTo>
                  <a:lnTo>
                    <a:pt x="3578" y="3634"/>
                  </a:lnTo>
                  <a:lnTo>
                    <a:pt x="3577" y="3624"/>
                  </a:lnTo>
                  <a:lnTo>
                    <a:pt x="3576" y="3614"/>
                  </a:lnTo>
                  <a:lnTo>
                    <a:pt x="3574" y="3605"/>
                  </a:lnTo>
                  <a:lnTo>
                    <a:pt x="3572" y="3595"/>
                  </a:lnTo>
                  <a:lnTo>
                    <a:pt x="3567" y="3587"/>
                  </a:lnTo>
                  <a:lnTo>
                    <a:pt x="3563" y="3579"/>
                  </a:lnTo>
                  <a:lnTo>
                    <a:pt x="3557" y="3572"/>
                  </a:lnTo>
                  <a:lnTo>
                    <a:pt x="3552" y="3565"/>
                  </a:lnTo>
                  <a:lnTo>
                    <a:pt x="3545" y="3559"/>
                  </a:lnTo>
                  <a:lnTo>
                    <a:pt x="3537" y="3554"/>
                  </a:lnTo>
                  <a:lnTo>
                    <a:pt x="3529" y="3549"/>
                  </a:lnTo>
                  <a:lnTo>
                    <a:pt x="3521" y="3545"/>
                  </a:lnTo>
                  <a:lnTo>
                    <a:pt x="3512" y="3542"/>
                  </a:lnTo>
                  <a:lnTo>
                    <a:pt x="3503" y="3539"/>
                  </a:lnTo>
                  <a:lnTo>
                    <a:pt x="3493" y="3538"/>
                  </a:lnTo>
                  <a:lnTo>
                    <a:pt x="3482" y="3538"/>
                  </a:lnTo>
                  <a:lnTo>
                    <a:pt x="2635" y="3538"/>
                  </a:lnTo>
                  <a:lnTo>
                    <a:pt x="1789" y="3538"/>
                  </a:lnTo>
                  <a:lnTo>
                    <a:pt x="942" y="3538"/>
                  </a:lnTo>
                  <a:lnTo>
                    <a:pt x="96" y="3538"/>
                  </a:lnTo>
                  <a:lnTo>
                    <a:pt x="85" y="3538"/>
                  </a:lnTo>
                  <a:lnTo>
                    <a:pt x="75" y="3539"/>
                  </a:lnTo>
                  <a:lnTo>
                    <a:pt x="66" y="3542"/>
                  </a:lnTo>
                  <a:lnTo>
                    <a:pt x="58" y="3545"/>
                  </a:lnTo>
                  <a:lnTo>
                    <a:pt x="49" y="3549"/>
                  </a:lnTo>
                  <a:lnTo>
                    <a:pt x="41" y="3554"/>
                  </a:lnTo>
                  <a:lnTo>
                    <a:pt x="33" y="3559"/>
                  </a:lnTo>
                  <a:lnTo>
                    <a:pt x="27" y="3565"/>
                  </a:lnTo>
                  <a:lnTo>
                    <a:pt x="21" y="3572"/>
                  </a:lnTo>
                  <a:lnTo>
                    <a:pt x="16" y="3579"/>
                  </a:lnTo>
                  <a:lnTo>
                    <a:pt x="11" y="3587"/>
                  </a:lnTo>
                  <a:lnTo>
                    <a:pt x="8" y="3595"/>
                  </a:lnTo>
                  <a:lnTo>
                    <a:pt x="4" y="3605"/>
                  </a:lnTo>
                  <a:lnTo>
                    <a:pt x="2" y="3614"/>
                  </a:lnTo>
                  <a:lnTo>
                    <a:pt x="1" y="3624"/>
                  </a:lnTo>
                  <a:lnTo>
                    <a:pt x="0" y="3634"/>
                  </a:lnTo>
                  <a:lnTo>
                    <a:pt x="0" y="3899"/>
                  </a:lnTo>
                  <a:close/>
                  <a:moveTo>
                    <a:pt x="0" y="361"/>
                  </a:moveTo>
                  <a:lnTo>
                    <a:pt x="1" y="371"/>
                  </a:lnTo>
                  <a:lnTo>
                    <a:pt x="2" y="381"/>
                  </a:lnTo>
                  <a:lnTo>
                    <a:pt x="4" y="391"/>
                  </a:lnTo>
                  <a:lnTo>
                    <a:pt x="8" y="400"/>
                  </a:lnTo>
                  <a:lnTo>
                    <a:pt x="11" y="409"/>
                  </a:lnTo>
                  <a:lnTo>
                    <a:pt x="16" y="416"/>
                  </a:lnTo>
                  <a:lnTo>
                    <a:pt x="21" y="423"/>
                  </a:lnTo>
                  <a:lnTo>
                    <a:pt x="27" y="430"/>
                  </a:lnTo>
                  <a:lnTo>
                    <a:pt x="33" y="436"/>
                  </a:lnTo>
                  <a:lnTo>
                    <a:pt x="41" y="441"/>
                  </a:lnTo>
                  <a:lnTo>
                    <a:pt x="49" y="446"/>
                  </a:lnTo>
                  <a:lnTo>
                    <a:pt x="58" y="450"/>
                  </a:lnTo>
                  <a:lnTo>
                    <a:pt x="66" y="453"/>
                  </a:lnTo>
                  <a:lnTo>
                    <a:pt x="75" y="455"/>
                  </a:lnTo>
                  <a:lnTo>
                    <a:pt x="85" y="456"/>
                  </a:lnTo>
                  <a:lnTo>
                    <a:pt x="96" y="456"/>
                  </a:lnTo>
                  <a:lnTo>
                    <a:pt x="942" y="456"/>
                  </a:lnTo>
                  <a:lnTo>
                    <a:pt x="1789" y="456"/>
                  </a:lnTo>
                  <a:lnTo>
                    <a:pt x="2635" y="456"/>
                  </a:lnTo>
                  <a:lnTo>
                    <a:pt x="3482" y="456"/>
                  </a:lnTo>
                  <a:lnTo>
                    <a:pt x="3493" y="456"/>
                  </a:lnTo>
                  <a:lnTo>
                    <a:pt x="3503" y="455"/>
                  </a:lnTo>
                  <a:lnTo>
                    <a:pt x="3512" y="453"/>
                  </a:lnTo>
                  <a:lnTo>
                    <a:pt x="3521" y="450"/>
                  </a:lnTo>
                  <a:lnTo>
                    <a:pt x="3529" y="446"/>
                  </a:lnTo>
                  <a:lnTo>
                    <a:pt x="3537" y="441"/>
                  </a:lnTo>
                  <a:lnTo>
                    <a:pt x="3545" y="436"/>
                  </a:lnTo>
                  <a:lnTo>
                    <a:pt x="3552" y="430"/>
                  </a:lnTo>
                  <a:lnTo>
                    <a:pt x="3557" y="423"/>
                  </a:lnTo>
                  <a:lnTo>
                    <a:pt x="3563" y="416"/>
                  </a:lnTo>
                  <a:lnTo>
                    <a:pt x="3567" y="409"/>
                  </a:lnTo>
                  <a:lnTo>
                    <a:pt x="3572" y="400"/>
                  </a:lnTo>
                  <a:lnTo>
                    <a:pt x="3574" y="391"/>
                  </a:lnTo>
                  <a:lnTo>
                    <a:pt x="3576" y="381"/>
                  </a:lnTo>
                  <a:lnTo>
                    <a:pt x="3577" y="371"/>
                  </a:lnTo>
                  <a:lnTo>
                    <a:pt x="3578" y="361"/>
                  </a:lnTo>
                  <a:lnTo>
                    <a:pt x="3578" y="95"/>
                  </a:lnTo>
                  <a:lnTo>
                    <a:pt x="3577" y="85"/>
                  </a:lnTo>
                  <a:lnTo>
                    <a:pt x="3576" y="75"/>
                  </a:lnTo>
                  <a:lnTo>
                    <a:pt x="3574" y="65"/>
                  </a:lnTo>
                  <a:lnTo>
                    <a:pt x="3572" y="57"/>
                  </a:lnTo>
                  <a:lnTo>
                    <a:pt x="3567" y="49"/>
                  </a:lnTo>
                  <a:lnTo>
                    <a:pt x="3563" y="41"/>
                  </a:lnTo>
                  <a:lnTo>
                    <a:pt x="3557" y="33"/>
                  </a:lnTo>
                  <a:lnTo>
                    <a:pt x="3552" y="27"/>
                  </a:lnTo>
                  <a:lnTo>
                    <a:pt x="3545" y="20"/>
                  </a:lnTo>
                  <a:lnTo>
                    <a:pt x="3537" y="16"/>
                  </a:lnTo>
                  <a:lnTo>
                    <a:pt x="3529" y="11"/>
                  </a:lnTo>
                  <a:lnTo>
                    <a:pt x="3521" y="7"/>
                  </a:lnTo>
                  <a:lnTo>
                    <a:pt x="3512" y="3"/>
                  </a:lnTo>
                  <a:lnTo>
                    <a:pt x="3503" y="1"/>
                  </a:lnTo>
                  <a:lnTo>
                    <a:pt x="3493" y="0"/>
                  </a:lnTo>
                  <a:lnTo>
                    <a:pt x="3482" y="0"/>
                  </a:lnTo>
                  <a:lnTo>
                    <a:pt x="2635" y="0"/>
                  </a:lnTo>
                  <a:lnTo>
                    <a:pt x="1789" y="0"/>
                  </a:lnTo>
                  <a:lnTo>
                    <a:pt x="942" y="0"/>
                  </a:lnTo>
                  <a:lnTo>
                    <a:pt x="96" y="0"/>
                  </a:lnTo>
                  <a:lnTo>
                    <a:pt x="85" y="0"/>
                  </a:lnTo>
                  <a:lnTo>
                    <a:pt x="75" y="1"/>
                  </a:lnTo>
                  <a:lnTo>
                    <a:pt x="66" y="3"/>
                  </a:lnTo>
                  <a:lnTo>
                    <a:pt x="58" y="7"/>
                  </a:lnTo>
                  <a:lnTo>
                    <a:pt x="49" y="11"/>
                  </a:lnTo>
                  <a:lnTo>
                    <a:pt x="41" y="16"/>
                  </a:lnTo>
                  <a:lnTo>
                    <a:pt x="33" y="20"/>
                  </a:lnTo>
                  <a:lnTo>
                    <a:pt x="27" y="27"/>
                  </a:lnTo>
                  <a:lnTo>
                    <a:pt x="21" y="33"/>
                  </a:lnTo>
                  <a:lnTo>
                    <a:pt x="16" y="41"/>
                  </a:lnTo>
                  <a:lnTo>
                    <a:pt x="11" y="49"/>
                  </a:lnTo>
                  <a:lnTo>
                    <a:pt x="8" y="57"/>
                  </a:lnTo>
                  <a:lnTo>
                    <a:pt x="4" y="65"/>
                  </a:lnTo>
                  <a:lnTo>
                    <a:pt x="2" y="75"/>
                  </a:lnTo>
                  <a:lnTo>
                    <a:pt x="1" y="85"/>
                  </a:lnTo>
                  <a:lnTo>
                    <a:pt x="0" y="95"/>
                  </a:lnTo>
                  <a:lnTo>
                    <a:pt x="0" y="36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Skatta Sans Regular" pitchFamily="50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8605353-DD28-40CB-A4A9-369B1E370967}"/>
              </a:ext>
            </a:extLst>
          </p:cNvPr>
          <p:cNvGrpSpPr/>
          <p:nvPr userDrawn="1"/>
        </p:nvGrpSpPr>
        <p:grpSpPr>
          <a:xfrm>
            <a:off x="10344472" y="692696"/>
            <a:ext cx="1260000" cy="2520280"/>
            <a:chOff x="10579338" y="620688"/>
            <a:chExt cx="1260000" cy="2520280"/>
          </a:xfrm>
          <a:solidFill>
            <a:schemeClr val="accent2"/>
          </a:solidFill>
        </p:grpSpPr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id="{C365DF4D-DEF0-4B44-A36D-B08FF3323598}"/>
                </a:ext>
              </a:extLst>
            </p:cNvPr>
            <p:cNvSpPr>
              <a:spLocks noChangeAspect="1" noEditPoints="1"/>
            </p:cNvSpPr>
            <p:nvPr/>
          </p:nvSpPr>
          <p:spPr bwMode="black">
            <a:xfrm>
              <a:off x="10705591" y="620688"/>
              <a:ext cx="1007493" cy="1124563"/>
            </a:xfrm>
            <a:custGeom>
              <a:avLst/>
              <a:gdLst>
                <a:gd name="T0" fmla="*/ 2964 w 3578"/>
                <a:gd name="T1" fmla="*/ 3151 h 3996"/>
                <a:gd name="T2" fmla="*/ 2988 w 3578"/>
                <a:gd name="T3" fmla="*/ 3131 h 3996"/>
                <a:gd name="T4" fmla="*/ 3002 w 3578"/>
                <a:gd name="T5" fmla="*/ 3095 h 3996"/>
                <a:gd name="T6" fmla="*/ 2998 w 3578"/>
                <a:gd name="T7" fmla="*/ 3052 h 3996"/>
                <a:gd name="T8" fmla="*/ 2570 w 3578"/>
                <a:gd name="T9" fmla="*/ 2480 h 3996"/>
                <a:gd name="T10" fmla="*/ 2976 w 3578"/>
                <a:gd name="T11" fmla="*/ 956 h 3996"/>
                <a:gd name="T12" fmla="*/ 2988 w 3578"/>
                <a:gd name="T13" fmla="*/ 917 h 3996"/>
                <a:gd name="T14" fmla="*/ 2981 w 3578"/>
                <a:gd name="T15" fmla="*/ 878 h 3996"/>
                <a:gd name="T16" fmla="*/ 2961 w 3578"/>
                <a:gd name="T17" fmla="*/ 853 h 3996"/>
                <a:gd name="T18" fmla="*/ 2936 w 3578"/>
                <a:gd name="T19" fmla="*/ 840 h 3996"/>
                <a:gd name="T20" fmla="*/ 2275 w 3578"/>
                <a:gd name="T21" fmla="*/ 835 h 3996"/>
                <a:gd name="T22" fmla="*/ 2209 w 3578"/>
                <a:gd name="T23" fmla="*/ 845 h 3996"/>
                <a:gd name="T24" fmla="*/ 2160 w 3578"/>
                <a:gd name="T25" fmla="*/ 872 h 3996"/>
                <a:gd name="T26" fmla="*/ 2119 w 3578"/>
                <a:gd name="T27" fmla="*/ 915 h 3996"/>
                <a:gd name="T28" fmla="*/ 1365 w 3578"/>
                <a:gd name="T29" fmla="*/ 931 h 3996"/>
                <a:gd name="T30" fmla="*/ 1356 w 3578"/>
                <a:gd name="T31" fmla="*/ 884 h 3996"/>
                <a:gd name="T32" fmla="*/ 1325 w 3578"/>
                <a:gd name="T33" fmla="*/ 851 h 3996"/>
                <a:gd name="T34" fmla="*/ 1280 w 3578"/>
                <a:gd name="T35" fmla="*/ 835 h 3996"/>
                <a:gd name="T36" fmla="*/ 664 w 3578"/>
                <a:gd name="T37" fmla="*/ 840 h 3996"/>
                <a:gd name="T38" fmla="*/ 625 w 3578"/>
                <a:gd name="T39" fmla="*/ 862 h 3996"/>
                <a:gd name="T40" fmla="*/ 602 w 3578"/>
                <a:gd name="T41" fmla="*/ 902 h 3996"/>
                <a:gd name="T42" fmla="*/ 598 w 3578"/>
                <a:gd name="T43" fmla="*/ 1998 h 3996"/>
                <a:gd name="T44" fmla="*/ 602 w 3578"/>
                <a:gd name="T45" fmla="*/ 3094 h 3996"/>
                <a:gd name="T46" fmla="*/ 625 w 3578"/>
                <a:gd name="T47" fmla="*/ 3133 h 3996"/>
                <a:gd name="T48" fmla="*/ 664 w 3578"/>
                <a:gd name="T49" fmla="*/ 3156 h 3996"/>
                <a:gd name="T50" fmla="*/ 1280 w 3578"/>
                <a:gd name="T51" fmla="*/ 3160 h 3996"/>
                <a:gd name="T52" fmla="*/ 1325 w 3578"/>
                <a:gd name="T53" fmla="*/ 3144 h 3996"/>
                <a:gd name="T54" fmla="*/ 1356 w 3578"/>
                <a:gd name="T55" fmla="*/ 3111 h 3996"/>
                <a:gd name="T56" fmla="*/ 1365 w 3578"/>
                <a:gd name="T57" fmla="*/ 3064 h 3996"/>
                <a:gd name="T58" fmla="*/ 2119 w 3578"/>
                <a:gd name="T59" fmla="*/ 3080 h 3996"/>
                <a:gd name="T60" fmla="*/ 2160 w 3578"/>
                <a:gd name="T61" fmla="*/ 3123 h 3996"/>
                <a:gd name="T62" fmla="*/ 2209 w 3578"/>
                <a:gd name="T63" fmla="*/ 3151 h 3996"/>
                <a:gd name="T64" fmla="*/ 2275 w 3578"/>
                <a:gd name="T65" fmla="*/ 3160 h 3996"/>
                <a:gd name="T66" fmla="*/ 4 w 3578"/>
                <a:gd name="T67" fmla="*/ 3929 h 3996"/>
                <a:gd name="T68" fmla="*/ 27 w 3578"/>
                <a:gd name="T69" fmla="*/ 3968 h 3996"/>
                <a:gd name="T70" fmla="*/ 66 w 3578"/>
                <a:gd name="T71" fmla="*/ 3991 h 3996"/>
                <a:gd name="T72" fmla="*/ 1789 w 3578"/>
                <a:gd name="T73" fmla="*/ 3996 h 3996"/>
                <a:gd name="T74" fmla="*/ 3512 w 3578"/>
                <a:gd name="T75" fmla="*/ 3991 h 3996"/>
                <a:gd name="T76" fmla="*/ 3552 w 3578"/>
                <a:gd name="T77" fmla="*/ 3968 h 3996"/>
                <a:gd name="T78" fmla="*/ 3574 w 3578"/>
                <a:gd name="T79" fmla="*/ 3929 h 3996"/>
                <a:gd name="T80" fmla="*/ 3577 w 3578"/>
                <a:gd name="T81" fmla="*/ 3624 h 3996"/>
                <a:gd name="T82" fmla="*/ 3563 w 3578"/>
                <a:gd name="T83" fmla="*/ 3579 h 3996"/>
                <a:gd name="T84" fmla="*/ 3529 w 3578"/>
                <a:gd name="T85" fmla="*/ 3549 h 3996"/>
                <a:gd name="T86" fmla="*/ 3482 w 3578"/>
                <a:gd name="T87" fmla="*/ 3538 h 3996"/>
                <a:gd name="T88" fmla="*/ 85 w 3578"/>
                <a:gd name="T89" fmla="*/ 3538 h 3996"/>
                <a:gd name="T90" fmla="*/ 41 w 3578"/>
                <a:gd name="T91" fmla="*/ 3554 h 3996"/>
                <a:gd name="T92" fmla="*/ 11 w 3578"/>
                <a:gd name="T93" fmla="*/ 3587 h 3996"/>
                <a:gd name="T94" fmla="*/ 0 w 3578"/>
                <a:gd name="T95" fmla="*/ 3634 h 3996"/>
                <a:gd name="T96" fmla="*/ 4 w 3578"/>
                <a:gd name="T97" fmla="*/ 391 h 3996"/>
                <a:gd name="T98" fmla="*/ 27 w 3578"/>
                <a:gd name="T99" fmla="*/ 430 h 3996"/>
                <a:gd name="T100" fmla="*/ 66 w 3578"/>
                <a:gd name="T101" fmla="*/ 453 h 3996"/>
                <a:gd name="T102" fmla="*/ 1789 w 3578"/>
                <a:gd name="T103" fmla="*/ 456 h 3996"/>
                <a:gd name="T104" fmla="*/ 3512 w 3578"/>
                <a:gd name="T105" fmla="*/ 453 h 3996"/>
                <a:gd name="T106" fmla="*/ 3552 w 3578"/>
                <a:gd name="T107" fmla="*/ 430 h 3996"/>
                <a:gd name="T108" fmla="*/ 3574 w 3578"/>
                <a:gd name="T109" fmla="*/ 391 h 3996"/>
                <a:gd name="T110" fmla="*/ 3577 w 3578"/>
                <a:gd name="T111" fmla="*/ 85 h 3996"/>
                <a:gd name="T112" fmla="*/ 3563 w 3578"/>
                <a:gd name="T113" fmla="*/ 41 h 3996"/>
                <a:gd name="T114" fmla="*/ 3529 w 3578"/>
                <a:gd name="T115" fmla="*/ 11 h 3996"/>
                <a:gd name="T116" fmla="*/ 3482 w 3578"/>
                <a:gd name="T117" fmla="*/ 0 h 3996"/>
                <a:gd name="T118" fmla="*/ 85 w 3578"/>
                <a:gd name="T119" fmla="*/ 0 h 3996"/>
                <a:gd name="T120" fmla="*/ 41 w 3578"/>
                <a:gd name="T121" fmla="*/ 16 h 3996"/>
                <a:gd name="T122" fmla="*/ 11 w 3578"/>
                <a:gd name="T123" fmla="*/ 49 h 3996"/>
                <a:gd name="T124" fmla="*/ 0 w 3578"/>
                <a:gd name="T125" fmla="*/ 95 h 3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78" h="3996">
                  <a:moveTo>
                    <a:pt x="2924" y="3160"/>
                  </a:moveTo>
                  <a:lnTo>
                    <a:pt x="2936" y="3160"/>
                  </a:lnTo>
                  <a:lnTo>
                    <a:pt x="2947" y="3157"/>
                  </a:lnTo>
                  <a:lnTo>
                    <a:pt x="2958" y="3153"/>
                  </a:lnTo>
                  <a:lnTo>
                    <a:pt x="2964" y="3151"/>
                  </a:lnTo>
                  <a:lnTo>
                    <a:pt x="2968" y="3148"/>
                  </a:lnTo>
                  <a:lnTo>
                    <a:pt x="2977" y="3142"/>
                  </a:lnTo>
                  <a:lnTo>
                    <a:pt x="2981" y="3139"/>
                  </a:lnTo>
                  <a:lnTo>
                    <a:pt x="2985" y="3135"/>
                  </a:lnTo>
                  <a:lnTo>
                    <a:pt x="2988" y="3131"/>
                  </a:lnTo>
                  <a:lnTo>
                    <a:pt x="2991" y="3126"/>
                  </a:lnTo>
                  <a:lnTo>
                    <a:pt x="2996" y="3117"/>
                  </a:lnTo>
                  <a:lnTo>
                    <a:pt x="3000" y="3106"/>
                  </a:lnTo>
                  <a:lnTo>
                    <a:pt x="3001" y="3101"/>
                  </a:lnTo>
                  <a:lnTo>
                    <a:pt x="3002" y="3095"/>
                  </a:lnTo>
                  <a:lnTo>
                    <a:pt x="3003" y="3084"/>
                  </a:lnTo>
                  <a:lnTo>
                    <a:pt x="3002" y="3072"/>
                  </a:lnTo>
                  <a:lnTo>
                    <a:pt x="3001" y="3065"/>
                  </a:lnTo>
                  <a:lnTo>
                    <a:pt x="2999" y="3059"/>
                  </a:lnTo>
                  <a:lnTo>
                    <a:pt x="2998" y="3052"/>
                  </a:lnTo>
                  <a:lnTo>
                    <a:pt x="2995" y="3045"/>
                  </a:lnTo>
                  <a:lnTo>
                    <a:pt x="2988" y="3032"/>
                  </a:lnTo>
                  <a:lnTo>
                    <a:pt x="2985" y="3026"/>
                  </a:lnTo>
                  <a:lnTo>
                    <a:pt x="2980" y="3019"/>
                  </a:lnTo>
                  <a:lnTo>
                    <a:pt x="2570" y="2480"/>
                  </a:lnTo>
                  <a:lnTo>
                    <a:pt x="2162" y="1941"/>
                  </a:lnTo>
                  <a:lnTo>
                    <a:pt x="2562" y="1459"/>
                  </a:lnTo>
                  <a:lnTo>
                    <a:pt x="2962" y="976"/>
                  </a:lnTo>
                  <a:lnTo>
                    <a:pt x="2972" y="962"/>
                  </a:lnTo>
                  <a:lnTo>
                    <a:pt x="2976" y="956"/>
                  </a:lnTo>
                  <a:lnTo>
                    <a:pt x="2979" y="949"/>
                  </a:lnTo>
                  <a:lnTo>
                    <a:pt x="2985" y="936"/>
                  </a:lnTo>
                  <a:lnTo>
                    <a:pt x="2986" y="929"/>
                  </a:lnTo>
                  <a:lnTo>
                    <a:pt x="2988" y="923"/>
                  </a:lnTo>
                  <a:lnTo>
                    <a:pt x="2988" y="917"/>
                  </a:lnTo>
                  <a:lnTo>
                    <a:pt x="2989" y="910"/>
                  </a:lnTo>
                  <a:lnTo>
                    <a:pt x="2988" y="899"/>
                  </a:lnTo>
                  <a:lnTo>
                    <a:pt x="2987" y="894"/>
                  </a:lnTo>
                  <a:lnTo>
                    <a:pt x="2986" y="888"/>
                  </a:lnTo>
                  <a:lnTo>
                    <a:pt x="2981" y="878"/>
                  </a:lnTo>
                  <a:lnTo>
                    <a:pt x="2979" y="873"/>
                  </a:lnTo>
                  <a:lnTo>
                    <a:pt x="2976" y="868"/>
                  </a:lnTo>
                  <a:lnTo>
                    <a:pt x="2972" y="864"/>
                  </a:lnTo>
                  <a:lnTo>
                    <a:pt x="2969" y="861"/>
                  </a:lnTo>
                  <a:lnTo>
                    <a:pt x="2961" y="853"/>
                  </a:lnTo>
                  <a:lnTo>
                    <a:pt x="2957" y="849"/>
                  </a:lnTo>
                  <a:lnTo>
                    <a:pt x="2951" y="846"/>
                  </a:lnTo>
                  <a:lnTo>
                    <a:pt x="2947" y="844"/>
                  </a:lnTo>
                  <a:lnTo>
                    <a:pt x="2941" y="842"/>
                  </a:lnTo>
                  <a:lnTo>
                    <a:pt x="2936" y="840"/>
                  </a:lnTo>
                  <a:lnTo>
                    <a:pt x="2930" y="838"/>
                  </a:lnTo>
                  <a:lnTo>
                    <a:pt x="2925" y="836"/>
                  </a:lnTo>
                  <a:lnTo>
                    <a:pt x="2919" y="836"/>
                  </a:lnTo>
                  <a:lnTo>
                    <a:pt x="2907" y="835"/>
                  </a:lnTo>
                  <a:lnTo>
                    <a:pt x="2275" y="835"/>
                  </a:lnTo>
                  <a:lnTo>
                    <a:pt x="2260" y="835"/>
                  </a:lnTo>
                  <a:lnTo>
                    <a:pt x="2246" y="836"/>
                  </a:lnTo>
                  <a:lnTo>
                    <a:pt x="2234" y="838"/>
                  </a:lnTo>
                  <a:lnTo>
                    <a:pt x="2222" y="841"/>
                  </a:lnTo>
                  <a:lnTo>
                    <a:pt x="2209" y="845"/>
                  </a:lnTo>
                  <a:lnTo>
                    <a:pt x="2198" y="848"/>
                  </a:lnTo>
                  <a:lnTo>
                    <a:pt x="2188" y="854"/>
                  </a:lnTo>
                  <a:lnTo>
                    <a:pt x="2178" y="859"/>
                  </a:lnTo>
                  <a:lnTo>
                    <a:pt x="2168" y="865"/>
                  </a:lnTo>
                  <a:lnTo>
                    <a:pt x="2160" y="872"/>
                  </a:lnTo>
                  <a:lnTo>
                    <a:pt x="2151" y="879"/>
                  </a:lnTo>
                  <a:lnTo>
                    <a:pt x="2142" y="887"/>
                  </a:lnTo>
                  <a:lnTo>
                    <a:pt x="2134" y="896"/>
                  </a:lnTo>
                  <a:lnTo>
                    <a:pt x="2126" y="905"/>
                  </a:lnTo>
                  <a:lnTo>
                    <a:pt x="2119" y="915"/>
                  </a:lnTo>
                  <a:lnTo>
                    <a:pt x="2111" y="925"/>
                  </a:lnTo>
                  <a:lnTo>
                    <a:pt x="1738" y="1404"/>
                  </a:lnTo>
                  <a:lnTo>
                    <a:pt x="1365" y="1885"/>
                  </a:lnTo>
                  <a:lnTo>
                    <a:pt x="1365" y="1408"/>
                  </a:lnTo>
                  <a:lnTo>
                    <a:pt x="1365" y="931"/>
                  </a:lnTo>
                  <a:lnTo>
                    <a:pt x="1365" y="920"/>
                  </a:lnTo>
                  <a:lnTo>
                    <a:pt x="1364" y="910"/>
                  </a:lnTo>
                  <a:lnTo>
                    <a:pt x="1362" y="902"/>
                  </a:lnTo>
                  <a:lnTo>
                    <a:pt x="1359" y="892"/>
                  </a:lnTo>
                  <a:lnTo>
                    <a:pt x="1356" y="884"/>
                  </a:lnTo>
                  <a:lnTo>
                    <a:pt x="1350" y="876"/>
                  </a:lnTo>
                  <a:lnTo>
                    <a:pt x="1346" y="868"/>
                  </a:lnTo>
                  <a:lnTo>
                    <a:pt x="1339" y="862"/>
                  </a:lnTo>
                  <a:lnTo>
                    <a:pt x="1332" y="856"/>
                  </a:lnTo>
                  <a:lnTo>
                    <a:pt x="1325" y="851"/>
                  </a:lnTo>
                  <a:lnTo>
                    <a:pt x="1317" y="846"/>
                  </a:lnTo>
                  <a:lnTo>
                    <a:pt x="1309" y="842"/>
                  </a:lnTo>
                  <a:lnTo>
                    <a:pt x="1300" y="840"/>
                  </a:lnTo>
                  <a:lnTo>
                    <a:pt x="1290" y="837"/>
                  </a:lnTo>
                  <a:lnTo>
                    <a:pt x="1280" y="835"/>
                  </a:lnTo>
                  <a:lnTo>
                    <a:pt x="1270" y="835"/>
                  </a:lnTo>
                  <a:lnTo>
                    <a:pt x="694" y="835"/>
                  </a:lnTo>
                  <a:lnTo>
                    <a:pt x="684" y="835"/>
                  </a:lnTo>
                  <a:lnTo>
                    <a:pt x="674" y="837"/>
                  </a:lnTo>
                  <a:lnTo>
                    <a:pt x="664" y="840"/>
                  </a:lnTo>
                  <a:lnTo>
                    <a:pt x="656" y="842"/>
                  </a:lnTo>
                  <a:lnTo>
                    <a:pt x="647" y="846"/>
                  </a:lnTo>
                  <a:lnTo>
                    <a:pt x="639" y="851"/>
                  </a:lnTo>
                  <a:lnTo>
                    <a:pt x="632" y="856"/>
                  </a:lnTo>
                  <a:lnTo>
                    <a:pt x="625" y="862"/>
                  </a:lnTo>
                  <a:lnTo>
                    <a:pt x="619" y="868"/>
                  </a:lnTo>
                  <a:lnTo>
                    <a:pt x="614" y="876"/>
                  </a:lnTo>
                  <a:lnTo>
                    <a:pt x="609" y="884"/>
                  </a:lnTo>
                  <a:lnTo>
                    <a:pt x="606" y="892"/>
                  </a:lnTo>
                  <a:lnTo>
                    <a:pt x="602" y="902"/>
                  </a:lnTo>
                  <a:lnTo>
                    <a:pt x="600" y="910"/>
                  </a:lnTo>
                  <a:lnTo>
                    <a:pt x="599" y="920"/>
                  </a:lnTo>
                  <a:lnTo>
                    <a:pt x="598" y="931"/>
                  </a:lnTo>
                  <a:lnTo>
                    <a:pt x="598" y="1464"/>
                  </a:lnTo>
                  <a:lnTo>
                    <a:pt x="598" y="1998"/>
                  </a:lnTo>
                  <a:lnTo>
                    <a:pt x="598" y="2531"/>
                  </a:lnTo>
                  <a:lnTo>
                    <a:pt x="598" y="3064"/>
                  </a:lnTo>
                  <a:lnTo>
                    <a:pt x="599" y="3074"/>
                  </a:lnTo>
                  <a:lnTo>
                    <a:pt x="600" y="3084"/>
                  </a:lnTo>
                  <a:lnTo>
                    <a:pt x="602" y="3094"/>
                  </a:lnTo>
                  <a:lnTo>
                    <a:pt x="606" y="3103"/>
                  </a:lnTo>
                  <a:lnTo>
                    <a:pt x="609" y="3111"/>
                  </a:lnTo>
                  <a:lnTo>
                    <a:pt x="614" y="3120"/>
                  </a:lnTo>
                  <a:lnTo>
                    <a:pt x="619" y="3126"/>
                  </a:lnTo>
                  <a:lnTo>
                    <a:pt x="625" y="3133"/>
                  </a:lnTo>
                  <a:lnTo>
                    <a:pt x="632" y="3140"/>
                  </a:lnTo>
                  <a:lnTo>
                    <a:pt x="639" y="3144"/>
                  </a:lnTo>
                  <a:lnTo>
                    <a:pt x="647" y="3150"/>
                  </a:lnTo>
                  <a:lnTo>
                    <a:pt x="656" y="3153"/>
                  </a:lnTo>
                  <a:lnTo>
                    <a:pt x="664" y="3156"/>
                  </a:lnTo>
                  <a:lnTo>
                    <a:pt x="674" y="3158"/>
                  </a:lnTo>
                  <a:lnTo>
                    <a:pt x="684" y="3160"/>
                  </a:lnTo>
                  <a:lnTo>
                    <a:pt x="694" y="3160"/>
                  </a:lnTo>
                  <a:lnTo>
                    <a:pt x="1270" y="3160"/>
                  </a:lnTo>
                  <a:lnTo>
                    <a:pt x="1280" y="3160"/>
                  </a:lnTo>
                  <a:lnTo>
                    <a:pt x="1290" y="3158"/>
                  </a:lnTo>
                  <a:lnTo>
                    <a:pt x="1300" y="3156"/>
                  </a:lnTo>
                  <a:lnTo>
                    <a:pt x="1309" y="3153"/>
                  </a:lnTo>
                  <a:lnTo>
                    <a:pt x="1317" y="3150"/>
                  </a:lnTo>
                  <a:lnTo>
                    <a:pt x="1325" y="3144"/>
                  </a:lnTo>
                  <a:lnTo>
                    <a:pt x="1332" y="3140"/>
                  </a:lnTo>
                  <a:lnTo>
                    <a:pt x="1339" y="3133"/>
                  </a:lnTo>
                  <a:lnTo>
                    <a:pt x="1346" y="3126"/>
                  </a:lnTo>
                  <a:lnTo>
                    <a:pt x="1350" y="3120"/>
                  </a:lnTo>
                  <a:lnTo>
                    <a:pt x="1356" y="3111"/>
                  </a:lnTo>
                  <a:lnTo>
                    <a:pt x="1359" y="3103"/>
                  </a:lnTo>
                  <a:lnTo>
                    <a:pt x="1362" y="3094"/>
                  </a:lnTo>
                  <a:lnTo>
                    <a:pt x="1364" y="3084"/>
                  </a:lnTo>
                  <a:lnTo>
                    <a:pt x="1365" y="3074"/>
                  </a:lnTo>
                  <a:lnTo>
                    <a:pt x="1365" y="3064"/>
                  </a:lnTo>
                  <a:lnTo>
                    <a:pt x="1365" y="2539"/>
                  </a:lnTo>
                  <a:lnTo>
                    <a:pt x="1365" y="2014"/>
                  </a:lnTo>
                  <a:lnTo>
                    <a:pt x="1738" y="2542"/>
                  </a:lnTo>
                  <a:lnTo>
                    <a:pt x="2111" y="3070"/>
                  </a:lnTo>
                  <a:lnTo>
                    <a:pt x="2119" y="3080"/>
                  </a:lnTo>
                  <a:lnTo>
                    <a:pt x="2126" y="3090"/>
                  </a:lnTo>
                  <a:lnTo>
                    <a:pt x="2134" y="3099"/>
                  </a:lnTo>
                  <a:lnTo>
                    <a:pt x="2142" y="3108"/>
                  </a:lnTo>
                  <a:lnTo>
                    <a:pt x="2151" y="3115"/>
                  </a:lnTo>
                  <a:lnTo>
                    <a:pt x="2160" y="3123"/>
                  </a:lnTo>
                  <a:lnTo>
                    <a:pt x="2168" y="3130"/>
                  </a:lnTo>
                  <a:lnTo>
                    <a:pt x="2178" y="3136"/>
                  </a:lnTo>
                  <a:lnTo>
                    <a:pt x="2188" y="3142"/>
                  </a:lnTo>
                  <a:lnTo>
                    <a:pt x="2198" y="3146"/>
                  </a:lnTo>
                  <a:lnTo>
                    <a:pt x="2209" y="3151"/>
                  </a:lnTo>
                  <a:lnTo>
                    <a:pt x="2222" y="3154"/>
                  </a:lnTo>
                  <a:lnTo>
                    <a:pt x="2234" y="3156"/>
                  </a:lnTo>
                  <a:lnTo>
                    <a:pt x="2246" y="3158"/>
                  </a:lnTo>
                  <a:lnTo>
                    <a:pt x="2260" y="3160"/>
                  </a:lnTo>
                  <a:lnTo>
                    <a:pt x="2275" y="3160"/>
                  </a:lnTo>
                  <a:lnTo>
                    <a:pt x="2924" y="3160"/>
                  </a:lnTo>
                  <a:close/>
                  <a:moveTo>
                    <a:pt x="0" y="3899"/>
                  </a:moveTo>
                  <a:lnTo>
                    <a:pt x="1" y="3909"/>
                  </a:lnTo>
                  <a:lnTo>
                    <a:pt x="2" y="3919"/>
                  </a:lnTo>
                  <a:lnTo>
                    <a:pt x="4" y="3929"/>
                  </a:lnTo>
                  <a:lnTo>
                    <a:pt x="8" y="3938"/>
                  </a:lnTo>
                  <a:lnTo>
                    <a:pt x="11" y="3947"/>
                  </a:lnTo>
                  <a:lnTo>
                    <a:pt x="16" y="3955"/>
                  </a:lnTo>
                  <a:lnTo>
                    <a:pt x="21" y="3961"/>
                  </a:lnTo>
                  <a:lnTo>
                    <a:pt x="27" y="3968"/>
                  </a:lnTo>
                  <a:lnTo>
                    <a:pt x="33" y="3975"/>
                  </a:lnTo>
                  <a:lnTo>
                    <a:pt x="41" y="3980"/>
                  </a:lnTo>
                  <a:lnTo>
                    <a:pt x="49" y="3985"/>
                  </a:lnTo>
                  <a:lnTo>
                    <a:pt x="58" y="3988"/>
                  </a:lnTo>
                  <a:lnTo>
                    <a:pt x="66" y="3991"/>
                  </a:lnTo>
                  <a:lnTo>
                    <a:pt x="75" y="3993"/>
                  </a:lnTo>
                  <a:lnTo>
                    <a:pt x="85" y="3995"/>
                  </a:lnTo>
                  <a:lnTo>
                    <a:pt x="96" y="3996"/>
                  </a:lnTo>
                  <a:lnTo>
                    <a:pt x="942" y="3996"/>
                  </a:lnTo>
                  <a:lnTo>
                    <a:pt x="1789" y="3996"/>
                  </a:lnTo>
                  <a:lnTo>
                    <a:pt x="2635" y="3996"/>
                  </a:lnTo>
                  <a:lnTo>
                    <a:pt x="3482" y="3996"/>
                  </a:lnTo>
                  <a:lnTo>
                    <a:pt x="3493" y="3995"/>
                  </a:lnTo>
                  <a:lnTo>
                    <a:pt x="3503" y="3993"/>
                  </a:lnTo>
                  <a:lnTo>
                    <a:pt x="3512" y="3991"/>
                  </a:lnTo>
                  <a:lnTo>
                    <a:pt x="3521" y="3988"/>
                  </a:lnTo>
                  <a:lnTo>
                    <a:pt x="3529" y="3985"/>
                  </a:lnTo>
                  <a:lnTo>
                    <a:pt x="3537" y="3980"/>
                  </a:lnTo>
                  <a:lnTo>
                    <a:pt x="3545" y="3975"/>
                  </a:lnTo>
                  <a:lnTo>
                    <a:pt x="3552" y="3968"/>
                  </a:lnTo>
                  <a:lnTo>
                    <a:pt x="3557" y="3961"/>
                  </a:lnTo>
                  <a:lnTo>
                    <a:pt x="3563" y="3955"/>
                  </a:lnTo>
                  <a:lnTo>
                    <a:pt x="3567" y="3947"/>
                  </a:lnTo>
                  <a:lnTo>
                    <a:pt x="3572" y="3938"/>
                  </a:lnTo>
                  <a:lnTo>
                    <a:pt x="3574" y="3929"/>
                  </a:lnTo>
                  <a:lnTo>
                    <a:pt x="3576" y="3919"/>
                  </a:lnTo>
                  <a:lnTo>
                    <a:pt x="3577" y="3909"/>
                  </a:lnTo>
                  <a:lnTo>
                    <a:pt x="3578" y="3899"/>
                  </a:lnTo>
                  <a:lnTo>
                    <a:pt x="3578" y="3634"/>
                  </a:lnTo>
                  <a:lnTo>
                    <a:pt x="3577" y="3624"/>
                  </a:lnTo>
                  <a:lnTo>
                    <a:pt x="3576" y="3614"/>
                  </a:lnTo>
                  <a:lnTo>
                    <a:pt x="3574" y="3605"/>
                  </a:lnTo>
                  <a:lnTo>
                    <a:pt x="3572" y="3595"/>
                  </a:lnTo>
                  <a:lnTo>
                    <a:pt x="3567" y="3587"/>
                  </a:lnTo>
                  <a:lnTo>
                    <a:pt x="3563" y="3579"/>
                  </a:lnTo>
                  <a:lnTo>
                    <a:pt x="3557" y="3572"/>
                  </a:lnTo>
                  <a:lnTo>
                    <a:pt x="3552" y="3565"/>
                  </a:lnTo>
                  <a:lnTo>
                    <a:pt x="3545" y="3559"/>
                  </a:lnTo>
                  <a:lnTo>
                    <a:pt x="3537" y="3554"/>
                  </a:lnTo>
                  <a:lnTo>
                    <a:pt x="3529" y="3549"/>
                  </a:lnTo>
                  <a:lnTo>
                    <a:pt x="3521" y="3545"/>
                  </a:lnTo>
                  <a:lnTo>
                    <a:pt x="3512" y="3542"/>
                  </a:lnTo>
                  <a:lnTo>
                    <a:pt x="3503" y="3539"/>
                  </a:lnTo>
                  <a:lnTo>
                    <a:pt x="3493" y="3538"/>
                  </a:lnTo>
                  <a:lnTo>
                    <a:pt x="3482" y="3538"/>
                  </a:lnTo>
                  <a:lnTo>
                    <a:pt x="2635" y="3538"/>
                  </a:lnTo>
                  <a:lnTo>
                    <a:pt x="1789" y="3538"/>
                  </a:lnTo>
                  <a:lnTo>
                    <a:pt x="942" y="3538"/>
                  </a:lnTo>
                  <a:lnTo>
                    <a:pt x="96" y="3538"/>
                  </a:lnTo>
                  <a:lnTo>
                    <a:pt x="85" y="3538"/>
                  </a:lnTo>
                  <a:lnTo>
                    <a:pt x="75" y="3539"/>
                  </a:lnTo>
                  <a:lnTo>
                    <a:pt x="66" y="3542"/>
                  </a:lnTo>
                  <a:lnTo>
                    <a:pt x="58" y="3545"/>
                  </a:lnTo>
                  <a:lnTo>
                    <a:pt x="49" y="3549"/>
                  </a:lnTo>
                  <a:lnTo>
                    <a:pt x="41" y="3554"/>
                  </a:lnTo>
                  <a:lnTo>
                    <a:pt x="33" y="3559"/>
                  </a:lnTo>
                  <a:lnTo>
                    <a:pt x="27" y="3565"/>
                  </a:lnTo>
                  <a:lnTo>
                    <a:pt x="21" y="3572"/>
                  </a:lnTo>
                  <a:lnTo>
                    <a:pt x="16" y="3579"/>
                  </a:lnTo>
                  <a:lnTo>
                    <a:pt x="11" y="3587"/>
                  </a:lnTo>
                  <a:lnTo>
                    <a:pt x="8" y="3595"/>
                  </a:lnTo>
                  <a:lnTo>
                    <a:pt x="4" y="3605"/>
                  </a:lnTo>
                  <a:lnTo>
                    <a:pt x="2" y="3614"/>
                  </a:lnTo>
                  <a:lnTo>
                    <a:pt x="1" y="3624"/>
                  </a:lnTo>
                  <a:lnTo>
                    <a:pt x="0" y="3634"/>
                  </a:lnTo>
                  <a:lnTo>
                    <a:pt x="0" y="3899"/>
                  </a:lnTo>
                  <a:close/>
                  <a:moveTo>
                    <a:pt x="0" y="361"/>
                  </a:moveTo>
                  <a:lnTo>
                    <a:pt x="1" y="371"/>
                  </a:lnTo>
                  <a:lnTo>
                    <a:pt x="2" y="381"/>
                  </a:lnTo>
                  <a:lnTo>
                    <a:pt x="4" y="391"/>
                  </a:lnTo>
                  <a:lnTo>
                    <a:pt x="8" y="400"/>
                  </a:lnTo>
                  <a:lnTo>
                    <a:pt x="11" y="409"/>
                  </a:lnTo>
                  <a:lnTo>
                    <a:pt x="16" y="416"/>
                  </a:lnTo>
                  <a:lnTo>
                    <a:pt x="21" y="423"/>
                  </a:lnTo>
                  <a:lnTo>
                    <a:pt x="27" y="430"/>
                  </a:lnTo>
                  <a:lnTo>
                    <a:pt x="33" y="436"/>
                  </a:lnTo>
                  <a:lnTo>
                    <a:pt x="41" y="441"/>
                  </a:lnTo>
                  <a:lnTo>
                    <a:pt x="49" y="446"/>
                  </a:lnTo>
                  <a:lnTo>
                    <a:pt x="58" y="450"/>
                  </a:lnTo>
                  <a:lnTo>
                    <a:pt x="66" y="453"/>
                  </a:lnTo>
                  <a:lnTo>
                    <a:pt x="75" y="455"/>
                  </a:lnTo>
                  <a:lnTo>
                    <a:pt x="85" y="456"/>
                  </a:lnTo>
                  <a:lnTo>
                    <a:pt x="96" y="456"/>
                  </a:lnTo>
                  <a:lnTo>
                    <a:pt x="942" y="456"/>
                  </a:lnTo>
                  <a:lnTo>
                    <a:pt x="1789" y="456"/>
                  </a:lnTo>
                  <a:lnTo>
                    <a:pt x="2635" y="456"/>
                  </a:lnTo>
                  <a:lnTo>
                    <a:pt x="3482" y="456"/>
                  </a:lnTo>
                  <a:lnTo>
                    <a:pt x="3493" y="456"/>
                  </a:lnTo>
                  <a:lnTo>
                    <a:pt x="3503" y="455"/>
                  </a:lnTo>
                  <a:lnTo>
                    <a:pt x="3512" y="453"/>
                  </a:lnTo>
                  <a:lnTo>
                    <a:pt x="3521" y="450"/>
                  </a:lnTo>
                  <a:lnTo>
                    <a:pt x="3529" y="446"/>
                  </a:lnTo>
                  <a:lnTo>
                    <a:pt x="3537" y="441"/>
                  </a:lnTo>
                  <a:lnTo>
                    <a:pt x="3545" y="436"/>
                  </a:lnTo>
                  <a:lnTo>
                    <a:pt x="3552" y="430"/>
                  </a:lnTo>
                  <a:lnTo>
                    <a:pt x="3557" y="423"/>
                  </a:lnTo>
                  <a:lnTo>
                    <a:pt x="3563" y="416"/>
                  </a:lnTo>
                  <a:lnTo>
                    <a:pt x="3567" y="409"/>
                  </a:lnTo>
                  <a:lnTo>
                    <a:pt x="3572" y="400"/>
                  </a:lnTo>
                  <a:lnTo>
                    <a:pt x="3574" y="391"/>
                  </a:lnTo>
                  <a:lnTo>
                    <a:pt x="3576" y="381"/>
                  </a:lnTo>
                  <a:lnTo>
                    <a:pt x="3577" y="371"/>
                  </a:lnTo>
                  <a:lnTo>
                    <a:pt x="3578" y="361"/>
                  </a:lnTo>
                  <a:lnTo>
                    <a:pt x="3578" y="95"/>
                  </a:lnTo>
                  <a:lnTo>
                    <a:pt x="3577" y="85"/>
                  </a:lnTo>
                  <a:lnTo>
                    <a:pt x="3576" y="75"/>
                  </a:lnTo>
                  <a:lnTo>
                    <a:pt x="3574" y="65"/>
                  </a:lnTo>
                  <a:lnTo>
                    <a:pt x="3572" y="57"/>
                  </a:lnTo>
                  <a:lnTo>
                    <a:pt x="3567" y="49"/>
                  </a:lnTo>
                  <a:lnTo>
                    <a:pt x="3563" y="41"/>
                  </a:lnTo>
                  <a:lnTo>
                    <a:pt x="3557" y="33"/>
                  </a:lnTo>
                  <a:lnTo>
                    <a:pt x="3552" y="27"/>
                  </a:lnTo>
                  <a:lnTo>
                    <a:pt x="3545" y="20"/>
                  </a:lnTo>
                  <a:lnTo>
                    <a:pt x="3537" y="16"/>
                  </a:lnTo>
                  <a:lnTo>
                    <a:pt x="3529" y="11"/>
                  </a:lnTo>
                  <a:lnTo>
                    <a:pt x="3521" y="7"/>
                  </a:lnTo>
                  <a:lnTo>
                    <a:pt x="3512" y="3"/>
                  </a:lnTo>
                  <a:lnTo>
                    <a:pt x="3503" y="1"/>
                  </a:lnTo>
                  <a:lnTo>
                    <a:pt x="3493" y="0"/>
                  </a:lnTo>
                  <a:lnTo>
                    <a:pt x="3482" y="0"/>
                  </a:lnTo>
                  <a:lnTo>
                    <a:pt x="2635" y="0"/>
                  </a:lnTo>
                  <a:lnTo>
                    <a:pt x="1789" y="0"/>
                  </a:lnTo>
                  <a:lnTo>
                    <a:pt x="942" y="0"/>
                  </a:lnTo>
                  <a:lnTo>
                    <a:pt x="96" y="0"/>
                  </a:lnTo>
                  <a:lnTo>
                    <a:pt x="85" y="0"/>
                  </a:lnTo>
                  <a:lnTo>
                    <a:pt x="75" y="1"/>
                  </a:lnTo>
                  <a:lnTo>
                    <a:pt x="66" y="3"/>
                  </a:lnTo>
                  <a:lnTo>
                    <a:pt x="58" y="7"/>
                  </a:lnTo>
                  <a:lnTo>
                    <a:pt x="49" y="11"/>
                  </a:lnTo>
                  <a:lnTo>
                    <a:pt x="41" y="16"/>
                  </a:lnTo>
                  <a:lnTo>
                    <a:pt x="33" y="20"/>
                  </a:lnTo>
                  <a:lnTo>
                    <a:pt x="27" y="27"/>
                  </a:lnTo>
                  <a:lnTo>
                    <a:pt x="21" y="33"/>
                  </a:lnTo>
                  <a:lnTo>
                    <a:pt x="16" y="41"/>
                  </a:lnTo>
                  <a:lnTo>
                    <a:pt x="11" y="49"/>
                  </a:lnTo>
                  <a:lnTo>
                    <a:pt x="8" y="57"/>
                  </a:lnTo>
                  <a:lnTo>
                    <a:pt x="4" y="65"/>
                  </a:lnTo>
                  <a:lnTo>
                    <a:pt x="2" y="75"/>
                  </a:lnTo>
                  <a:lnTo>
                    <a:pt x="1" y="85"/>
                  </a:lnTo>
                  <a:lnTo>
                    <a:pt x="0" y="95"/>
                  </a:lnTo>
                  <a:lnTo>
                    <a:pt x="0" y="36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Skatta Sans Regular" pitchFamily="50" charset="0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B651368-5B4E-4C0D-ACA3-AEB6243CB91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579338" y="2067802"/>
              <a:ext cx="1260000" cy="1073166"/>
            </a:xfrm>
            <a:custGeom>
              <a:avLst/>
              <a:gdLst>
                <a:gd name="T0" fmla="*/ 2264 w 3082"/>
                <a:gd name="T1" fmla="*/ 744 h 2625"/>
                <a:gd name="T2" fmla="*/ 2266 w 3082"/>
                <a:gd name="T3" fmla="*/ 977 h 2625"/>
                <a:gd name="T4" fmla="*/ 2059 w 3082"/>
                <a:gd name="T5" fmla="*/ 1141 h 2625"/>
                <a:gd name="T6" fmla="*/ 2128 w 3082"/>
                <a:gd name="T7" fmla="*/ 961 h 2625"/>
                <a:gd name="T8" fmla="*/ 2534 w 3082"/>
                <a:gd name="T9" fmla="*/ 737 h 2625"/>
                <a:gd name="T10" fmla="*/ 2516 w 3082"/>
                <a:gd name="T11" fmla="*/ 927 h 2625"/>
                <a:gd name="T12" fmla="*/ 2383 w 3082"/>
                <a:gd name="T13" fmla="*/ 1154 h 2625"/>
                <a:gd name="T14" fmla="*/ 2470 w 3082"/>
                <a:gd name="T15" fmla="*/ 1025 h 2625"/>
                <a:gd name="T16" fmla="*/ 733 w 3082"/>
                <a:gd name="T17" fmla="*/ 1006 h 2625"/>
                <a:gd name="T18" fmla="*/ 885 w 3082"/>
                <a:gd name="T19" fmla="*/ 1154 h 2625"/>
                <a:gd name="T20" fmla="*/ 60 w 3082"/>
                <a:gd name="T21" fmla="*/ 1150 h 2625"/>
                <a:gd name="T22" fmla="*/ 1819 w 3082"/>
                <a:gd name="T23" fmla="*/ 1010 h 2625"/>
                <a:gd name="T24" fmla="*/ 1910 w 3082"/>
                <a:gd name="T25" fmla="*/ 1155 h 2625"/>
                <a:gd name="T26" fmla="*/ 1110 w 3082"/>
                <a:gd name="T27" fmla="*/ 1070 h 2625"/>
                <a:gd name="T28" fmla="*/ 1273 w 3082"/>
                <a:gd name="T29" fmla="*/ 1060 h 2625"/>
                <a:gd name="T30" fmla="*/ 962 w 3082"/>
                <a:gd name="T31" fmla="*/ 1091 h 2625"/>
                <a:gd name="T32" fmla="*/ 1547 w 3082"/>
                <a:gd name="T33" fmla="*/ 832 h 2625"/>
                <a:gd name="T34" fmla="*/ 1673 w 3082"/>
                <a:gd name="T35" fmla="*/ 911 h 2625"/>
                <a:gd name="T36" fmla="*/ 1380 w 3082"/>
                <a:gd name="T37" fmla="*/ 739 h 2625"/>
                <a:gd name="T38" fmla="*/ 3022 w 3082"/>
                <a:gd name="T39" fmla="*/ 1141 h 2625"/>
                <a:gd name="T40" fmla="*/ 706 w 3082"/>
                <a:gd name="T41" fmla="*/ 2392 h 2625"/>
                <a:gd name="T42" fmla="*/ 702 w 3082"/>
                <a:gd name="T43" fmla="*/ 2624 h 2625"/>
                <a:gd name="T44" fmla="*/ 1320 w 3082"/>
                <a:gd name="T45" fmla="*/ 2090 h 2625"/>
                <a:gd name="T46" fmla="*/ 1026 w 3082"/>
                <a:gd name="T47" fmla="*/ 2625 h 2625"/>
                <a:gd name="T48" fmla="*/ 1151 w 3082"/>
                <a:gd name="T49" fmla="*/ 2177 h 2625"/>
                <a:gd name="T50" fmla="*/ 1200 w 3082"/>
                <a:gd name="T51" fmla="*/ 2104 h 2625"/>
                <a:gd name="T52" fmla="*/ 1429 w 3082"/>
                <a:gd name="T53" fmla="*/ 2214 h 2625"/>
                <a:gd name="T54" fmla="*/ 1980 w 3082"/>
                <a:gd name="T55" fmla="*/ 2526 h 2625"/>
                <a:gd name="T56" fmla="*/ 1928 w 3082"/>
                <a:gd name="T57" fmla="*/ 2207 h 2625"/>
                <a:gd name="T58" fmla="*/ 2141 w 3082"/>
                <a:gd name="T59" fmla="*/ 2491 h 2625"/>
                <a:gd name="T60" fmla="*/ 1928 w 3082"/>
                <a:gd name="T61" fmla="*/ 2207 h 2625"/>
                <a:gd name="T62" fmla="*/ 2436 w 3082"/>
                <a:gd name="T63" fmla="*/ 2096 h 2625"/>
                <a:gd name="T64" fmla="*/ 2188 w 3082"/>
                <a:gd name="T65" fmla="*/ 2624 h 2625"/>
                <a:gd name="T66" fmla="*/ 2236 w 3082"/>
                <a:gd name="T67" fmla="*/ 2169 h 2625"/>
                <a:gd name="T68" fmla="*/ 2314 w 3082"/>
                <a:gd name="T69" fmla="*/ 2123 h 2625"/>
                <a:gd name="T70" fmla="*/ 1320 w 3082"/>
                <a:gd name="T71" fmla="*/ 177 h 2625"/>
                <a:gd name="T72" fmla="*/ 1094 w 3082"/>
                <a:gd name="T73" fmla="*/ 230 h 2625"/>
                <a:gd name="T74" fmla="*/ 1361 w 3082"/>
                <a:gd name="T75" fmla="*/ 54 h 2625"/>
                <a:gd name="T76" fmla="*/ 1345 w 3082"/>
                <a:gd name="T77" fmla="*/ 391 h 2625"/>
                <a:gd name="T78" fmla="*/ 1007 w 3082"/>
                <a:gd name="T79" fmla="*/ 313 h 2625"/>
                <a:gd name="T80" fmla="*/ 1174 w 3082"/>
                <a:gd name="T81" fmla="*/ 2 h 2625"/>
                <a:gd name="T82" fmla="*/ 1786 w 3082"/>
                <a:gd name="T83" fmla="*/ 89 h 2625"/>
                <a:gd name="T84" fmla="*/ 1490 w 3082"/>
                <a:gd name="T85" fmla="*/ 99 h 2625"/>
                <a:gd name="T86" fmla="*/ 2149 w 3082"/>
                <a:gd name="T87" fmla="*/ 9 h 2625"/>
                <a:gd name="T88" fmla="*/ 908 w 3082"/>
                <a:gd name="T89" fmla="*/ 365 h 2625"/>
                <a:gd name="T90" fmla="*/ 816 w 3082"/>
                <a:gd name="T91" fmla="*/ 336 h 2625"/>
                <a:gd name="T92" fmla="*/ 2672 w 3082"/>
                <a:gd name="T93" fmla="*/ 1878 h 2625"/>
                <a:gd name="T94" fmla="*/ 1737 w 3082"/>
                <a:gd name="T95" fmla="*/ 1879 h 2625"/>
                <a:gd name="T96" fmla="*/ 2104 w 3082"/>
                <a:gd name="T97" fmla="*/ 1888 h 2625"/>
                <a:gd name="T98" fmla="*/ 2174 w 3082"/>
                <a:gd name="T99" fmla="*/ 1888 h 2625"/>
                <a:gd name="T100" fmla="*/ 2719 w 3082"/>
                <a:gd name="T101" fmla="*/ 1481 h 2625"/>
                <a:gd name="T102" fmla="*/ 333 w 3082"/>
                <a:gd name="T103" fmla="*/ 1634 h 2625"/>
                <a:gd name="T104" fmla="*/ 110 w 3082"/>
                <a:gd name="T105" fmla="*/ 1707 h 2625"/>
                <a:gd name="T106" fmla="*/ 383 w 3082"/>
                <a:gd name="T107" fmla="*/ 1524 h 2625"/>
                <a:gd name="T108" fmla="*/ 351 w 3082"/>
                <a:gd name="T109" fmla="*/ 1860 h 2625"/>
                <a:gd name="T110" fmla="*/ 17 w 3082"/>
                <a:gd name="T111" fmla="*/ 1766 h 2625"/>
                <a:gd name="T112" fmla="*/ 200 w 3082"/>
                <a:gd name="T113" fmla="*/ 1464 h 2625"/>
                <a:gd name="T114" fmla="*/ 974 w 3082"/>
                <a:gd name="T115" fmla="*/ 1638 h 2625"/>
                <a:gd name="T116" fmla="*/ 1221 w 3082"/>
                <a:gd name="T117" fmla="*/ 1494 h 2625"/>
                <a:gd name="T118" fmla="*/ 1083 w 3082"/>
                <a:gd name="T119" fmla="*/ 1612 h 2625"/>
                <a:gd name="T120" fmla="*/ 1173 w 3082"/>
                <a:gd name="T121" fmla="*/ 1878 h 2625"/>
                <a:gd name="T122" fmla="*/ 1067 w 3082"/>
                <a:gd name="T123" fmla="*/ 1808 h 2625"/>
                <a:gd name="T124" fmla="*/ 777 w 3082"/>
                <a:gd name="T125" fmla="*/ 1480 h 26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082" h="2625">
                  <a:moveTo>
                    <a:pt x="1319" y="1480"/>
                  </a:moveTo>
                  <a:lnTo>
                    <a:pt x="1319" y="1478"/>
                  </a:lnTo>
                  <a:lnTo>
                    <a:pt x="1320" y="1476"/>
                  </a:lnTo>
                  <a:lnTo>
                    <a:pt x="1322" y="1473"/>
                  </a:lnTo>
                  <a:lnTo>
                    <a:pt x="1323" y="1472"/>
                  </a:lnTo>
                  <a:lnTo>
                    <a:pt x="1325" y="1471"/>
                  </a:lnTo>
                  <a:lnTo>
                    <a:pt x="1329" y="1470"/>
                  </a:lnTo>
                  <a:lnTo>
                    <a:pt x="1411" y="1470"/>
                  </a:lnTo>
                  <a:lnTo>
                    <a:pt x="1415" y="1471"/>
                  </a:lnTo>
                  <a:lnTo>
                    <a:pt x="1419" y="1473"/>
                  </a:lnTo>
                  <a:lnTo>
                    <a:pt x="1420" y="1474"/>
                  </a:lnTo>
                  <a:lnTo>
                    <a:pt x="1421" y="1476"/>
                  </a:lnTo>
                  <a:lnTo>
                    <a:pt x="1421" y="1478"/>
                  </a:lnTo>
                  <a:lnTo>
                    <a:pt x="1421" y="1480"/>
                  </a:lnTo>
                  <a:lnTo>
                    <a:pt x="1421" y="1879"/>
                  </a:lnTo>
                  <a:lnTo>
                    <a:pt x="1421" y="1881"/>
                  </a:lnTo>
                  <a:lnTo>
                    <a:pt x="1421" y="1883"/>
                  </a:lnTo>
                  <a:lnTo>
                    <a:pt x="1419" y="1886"/>
                  </a:lnTo>
                  <a:lnTo>
                    <a:pt x="1417" y="1887"/>
                  </a:lnTo>
                  <a:lnTo>
                    <a:pt x="1415" y="1888"/>
                  </a:lnTo>
                  <a:lnTo>
                    <a:pt x="1411" y="1889"/>
                  </a:lnTo>
                  <a:lnTo>
                    <a:pt x="1329" y="1889"/>
                  </a:lnTo>
                  <a:lnTo>
                    <a:pt x="1325" y="1888"/>
                  </a:lnTo>
                  <a:lnTo>
                    <a:pt x="1322" y="1886"/>
                  </a:lnTo>
                  <a:lnTo>
                    <a:pt x="1321" y="1885"/>
                  </a:lnTo>
                  <a:lnTo>
                    <a:pt x="1320" y="1883"/>
                  </a:lnTo>
                  <a:lnTo>
                    <a:pt x="1319" y="1881"/>
                  </a:lnTo>
                  <a:lnTo>
                    <a:pt x="1319" y="1879"/>
                  </a:lnTo>
                  <a:lnTo>
                    <a:pt x="1319" y="1480"/>
                  </a:lnTo>
                  <a:close/>
                  <a:moveTo>
                    <a:pt x="2184" y="729"/>
                  </a:moveTo>
                  <a:lnTo>
                    <a:pt x="2195" y="729"/>
                  </a:lnTo>
                  <a:lnTo>
                    <a:pt x="2206" y="730"/>
                  </a:lnTo>
                  <a:lnTo>
                    <a:pt x="2217" y="731"/>
                  </a:lnTo>
                  <a:lnTo>
                    <a:pt x="2227" y="733"/>
                  </a:lnTo>
                  <a:lnTo>
                    <a:pt x="2237" y="735"/>
                  </a:lnTo>
                  <a:lnTo>
                    <a:pt x="2246" y="737"/>
                  </a:lnTo>
                  <a:lnTo>
                    <a:pt x="2253" y="739"/>
                  </a:lnTo>
                  <a:lnTo>
                    <a:pt x="2259" y="741"/>
                  </a:lnTo>
                  <a:lnTo>
                    <a:pt x="2262" y="742"/>
                  </a:lnTo>
                  <a:lnTo>
                    <a:pt x="2264" y="744"/>
                  </a:lnTo>
                  <a:lnTo>
                    <a:pt x="2265" y="745"/>
                  </a:lnTo>
                  <a:lnTo>
                    <a:pt x="2266" y="747"/>
                  </a:lnTo>
                  <a:lnTo>
                    <a:pt x="2267" y="749"/>
                  </a:lnTo>
                  <a:lnTo>
                    <a:pt x="2267" y="752"/>
                  </a:lnTo>
                  <a:lnTo>
                    <a:pt x="2267" y="757"/>
                  </a:lnTo>
                  <a:lnTo>
                    <a:pt x="2248" y="818"/>
                  </a:lnTo>
                  <a:lnTo>
                    <a:pt x="2247" y="821"/>
                  </a:lnTo>
                  <a:lnTo>
                    <a:pt x="2246" y="823"/>
                  </a:lnTo>
                  <a:lnTo>
                    <a:pt x="2245" y="825"/>
                  </a:lnTo>
                  <a:lnTo>
                    <a:pt x="2243" y="826"/>
                  </a:lnTo>
                  <a:lnTo>
                    <a:pt x="2241" y="827"/>
                  </a:lnTo>
                  <a:lnTo>
                    <a:pt x="2239" y="827"/>
                  </a:lnTo>
                  <a:lnTo>
                    <a:pt x="2233" y="827"/>
                  </a:lnTo>
                  <a:lnTo>
                    <a:pt x="2223" y="823"/>
                  </a:lnTo>
                  <a:lnTo>
                    <a:pt x="2213" y="821"/>
                  </a:lnTo>
                  <a:lnTo>
                    <a:pt x="2204" y="819"/>
                  </a:lnTo>
                  <a:lnTo>
                    <a:pt x="2194" y="818"/>
                  </a:lnTo>
                  <a:lnTo>
                    <a:pt x="2188" y="819"/>
                  </a:lnTo>
                  <a:lnTo>
                    <a:pt x="2185" y="819"/>
                  </a:lnTo>
                  <a:lnTo>
                    <a:pt x="2182" y="820"/>
                  </a:lnTo>
                  <a:lnTo>
                    <a:pt x="2180" y="821"/>
                  </a:lnTo>
                  <a:lnTo>
                    <a:pt x="2177" y="823"/>
                  </a:lnTo>
                  <a:lnTo>
                    <a:pt x="2173" y="826"/>
                  </a:lnTo>
                  <a:lnTo>
                    <a:pt x="2170" y="829"/>
                  </a:lnTo>
                  <a:lnTo>
                    <a:pt x="2169" y="831"/>
                  </a:lnTo>
                  <a:lnTo>
                    <a:pt x="2168" y="834"/>
                  </a:lnTo>
                  <a:lnTo>
                    <a:pt x="2166" y="839"/>
                  </a:lnTo>
                  <a:lnTo>
                    <a:pt x="2166" y="844"/>
                  </a:lnTo>
                  <a:lnTo>
                    <a:pt x="2167" y="850"/>
                  </a:lnTo>
                  <a:lnTo>
                    <a:pt x="2168" y="856"/>
                  </a:lnTo>
                  <a:lnTo>
                    <a:pt x="2171" y="862"/>
                  </a:lnTo>
                  <a:lnTo>
                    <a:pt x="2175" y="867"/>
                  </a:lnTo>
                  <a:lnTo>
                    <a:pt x="2179" y="872"/>
                  </a:lnTo>
                  <a:lnTo>
                    <a:pt x="2184" y="878"/>
                  </a:lnTo>
                  <a:lnTo>
                    <a:pt x="2195" y="890"/>
                  </a:lnTo>
                  <a:lnTo>
                    <a:pt x="2228" y="927"/>
                  </a:lnTo>
                  <a:lnTo>
                    <a:pt x="2238" y="938"/>
                  </a:lnTo>
                  <a:lnTo>
                    <a:pt x="2248" y="950"/>
                  </a:lnTo>
                  <a:lnTo>
                    <a:pt x="2257" y="963"/>
                  </a:lnTo>
                  <a:lnTo>
                    <a:pt x="2266" y="977"/>
                  </a:lnTo>
                  <a:lnTo>
                    <a:pt x="2270" y="985"/>
                  </a:lnTo>
                  <a:lnTo>
                    <a:pt x="2273" y="992"/>
                  </a:lnTo>
                  <a:lnTo>
                    <a:pt x="2276" y="1000"/>
                  </a:lnTo>
                  <a:lnTo>
                    <a:pt x="2279" y="1007"/>
                  </a:lnTo>
                  <a:lnTo>
                    <a:pt x="2281" y="1015"/>
                  </a:lnTo>
                  <a:lnTo>
                    <a:pt x="2282" y="1023"/>
                  </a:lnTo>
                  <a:lnTo>
                    <a:pt x="2283" y="1031"/>
                  </a:lnTo>
                  <a:lnTo>
                    <a:pt x="2284" y="1039"/>
                  </a:lnTo>
                  <a:lnTo>
                    <a:pt x="2284" y="1047"/>
                  </a:lnTo>
                  <a:lnTo>
                    <a:pt x="2283" y="1054"/>
                  </a:lnTo>
                  <a:lnTo>
                    <a:pt x="2282" y="1061"/>
                  </a:lnTo>
                  <a:lnTo>
                    <a:pt x="2281" y="1068"/>
                  </a:lnTo>
                  <a:lnTo>
                    <a:pt x="2280" y="1075"/>
                  </a:lnTo>
                  <a:lnTo>
                    <a:pt x="2278" y="1081"/>
                  </a:lnTo>
                  <a:lnTo>
                    <a:pt x="2274" y="1093"/>
                  </a:lnTo>
                  <a:lnTo>
                    <a:pt x="2268" y="1104"/>
                  </a:lnTo>
                  <a:lnTo>
                    <a:pt x="2265" y="1109"/>
                  </a:lnTo>
                  <a:lnTo>
                    <a:pt x="2262" y="1114"/>
                  </a:lnTo>
                  <a:lnTo>
                    <a:pt x="2258" y="1119"/>
                  </a:lnTo>
                  <a:lnTo>
                    <a:pt x="2255" y="1123"/>
                  </a:lnTo>
                  <a:lnTo>
                    <a:pt x="2246" y="1131"/>
                  </a:lnTo>
                  <a:lnTo>
                    <a:pt x="2237" y="1139"/>
                  </a:lnTo>
                  <a:lnTo>
                    <a:pt x="2227" y="1145"/>
                  </a:lnTo>
                  <a:lnTo>
                    <a:pt x="2217" y="1150"/>
                  </a:lnTo>
                  <a:lnTo>
                    <a:pt x="2205" y="1154"/>
                  </a:lnTo>
                  <a:lnTo>
                    <a:pt x="2193" y="1158"/>
                  </a:lnTo>
                  <a:lnTo>
                    <a:pt x="2187" y="1159"/>
                  </a:lnTo>
                  <a:lnTo>
                    <a:pt x="2181" y="1160"/>
                  </a:lnTo>
                  <a:lnTo>
                    <a:pt x="2168" y="1161"/>
                  </a:lnTo>
                  <a:lnTo>
                    <a:pt x="2155" y="1162"/>
                  </a:lnTo>
                  <a:lnTo>
                    <a:pt x="2143" y="1162"/>
                  </a:lnTo>
                  <a:lnTo>
                    <a:pt x="2131" y="1161"/>
                  </a:lnTo>
                  <a:lnTo>
                    <a:pt x="2118" y="1159"/>
                  </a:lnTo>
                  <a:lnTo>
                    <a:pt x="2106" y="1157"/>
                  </a:lnTo>
                  <a:lnTo>
                    <a:pt x="2094" y="1154"/>
                  </a:lnTo>
                  <a:lnTo>
                    <a:pt x="2083" y="1151"/>
                  </a:lnTo>
                  <a:lnTo>
                    <a:pt x="2073" y="1148"/>
                  </a:lnTo>
                  <a:lnTo>
                    <a:pt x="2064" y="1144"/>
                  </a:lnTo>
                  <a:lnTo>
                    <a:pt x="2062" y="1143"/>
                  </a:lnTo>
                  <a:lnTo>
                    <a:pt x="2059" y="1141"/>
                  </a:lnTo>
                  <a:lnTo>
                    <a:pt x="2058" y="1140"/>
                  </a:lnTo>
                  <a:lnTo>
                    <a:pt x="2057" y="1138"/>
                  </a:lnTo>
                  <a:lnTo>
                    <a:pt x="2057" y="1136"/>
                  </a:lnTo>
                  <a:lnTo>
                    <a:pt x="2056" y="1134"/>
                  </a:lnTo>
                  <a:lnTo>
                    <a:pt x="2057" y="1131"/>
                  </a:lnTo>
                  <a:lnTo>
                    <a:pt x="2077" y="1065"/>
                  </a:lnTo>
                  <a:lnTo>
                    <a:pt x="2078" y="1062"/>
                  </a:lnTo>
                  <a:lnTo>
                    <a:pt x="2079" y="1060"/>
                  </a:lnTo>
                  <a:lnTo>
                    <a:pt x="2080" y="1058"/>
                  </a:lnTo>
                  <a:lnTo>
                    <a:pt x="2082" y="1057"/>
                  </a:lnTo>
                  <a:lnTo>
                    <a:pt x="2084" y="1057"/>
                  </a:lnTo>
                  <a:lnTo>
                    <a:pt x="2086" y="1057"/>
                  </a:lnTo>
                  <a:lnTo>
                    <a:pt x="2088" y="1057"/>
                  </a:lnTo>
                  <a:lnTo>
                    <a:pt x="2091" y="1058"/>
                  </a:lnTo>
                  <a:lnTo>
                    <a:pt x="2098" y="1062"/>
                  </a:lnTo>
                  <a:lnTo>
                    <a:pt x="2106" y="1064"/>
                  </a:lnTo>
                  <a:lnTo>
                    <a:pt x="2113" y="1067"/>
                  </a:lnTo>
                  <a:lnTo>
                    <a:pt x="2120" y="1069"/>
                  </a:lnTo>
                  <a:lnTo>
                    <a:pt x="2128" y="1070"/>
                  </a:lnTo>
                  <a:lnTo>
                    <a:pt x="2135" y="1071"/>
                  </a:lnTo>
                  <a:lnTo>
                    <a:pt x="2142" y="1072"/>
                  </a:lnTo>
                  <a:lnTo>
                    <a:pt x="2148" y="1072"/>
                  </a:lnTo>
                  <a:lnTo>
                    <a:pt x="2157" y="1071"/>
                  </a:lnTo>
                  <a:lnTo>
                    <a:pt x="2161" y="1071"/>
                  </a:lnTo>
                  <a:lnTo>
                    <a:pt x="2165" y="1070"/>
                  </a:lnTo>
                  <a:lnTo>
                    <a:pt x="2171" y="1067"/>
                  </a:lnTo>
                  <a:lnTo>
                    <a:pt x="2176" y="1064"/>
                  </a:lnTo>
                  <a:lnTo>
                    <a:pt x="2180" y="1060"/>
                  </a:lnTo>
                  <a:lnTo>
                    <a:pt x="2182" y="1057"/>
                  </a:lnTo>
                  <a:lnTo>
                    <a:pt x="2183" y="1055"/>
                  </a:lnTo>
                  <a:lnTo>
                    <a:pt x="2185" y="1049"/>
                  </a:lnTo>
                  <a:lnTo>
                    <a:pt x="2186" y="1042"/>
                  </a:lnTo>
                  <a:lnTo>
                    <a:pt x="2185" y="1037"/>
                  </a:lnTo>
                  <a:lnTo>
                    <a:pt x="2184" y="1031"/>
                  </a:lnTo>
                  <a:lnTo>
                    <a:pt x="2181" y="1025"/>
                  </a:lnTo>
                  <a:lnTo>
                    <a:pt x="2178" y="1020"/>
                  </a:lnTo>
                  <a:lnTo>
                    <a:pt x="2175" y="1014"/>
                  </a:lnTo>
                  <a:lnTo>
                    <a:pt x="2170" y="1008"/>
                  </a:lnTo>
                  <a:lnTo>
                    <a:pt x="2161" y="997"/>
                  </a:lnTo>
                  <a:lnTo>
                    <a:pt x="2128" y="961"/>
                  </a:lnTo>
                  <a:lnTo>
                    <a:pt x="2116" y="948"/>
                  </a:lnTo>
                  <a:lnTo>
                    <a:pt x="2106" y="935"/>
                  </a:lnTo>
                  <a:lnTo>
                    <a:pt x="2095" y="922"/>
                  </a:lnTo>
                  <a:lnTo>
                    <a:pt x="2091" y="915"/>
                  </a:lnTo>
                  <a:lnTo>
                    <a:pt x="2086" y="908"/>
                  </a:lnTo>
                  <a:lnTo>
                    <a:pt x="2082" y="900"/>
                  </a:lnTo>
                  <a:lnTo>
                    <a:pt x="2079" y="893"/>
                  </a:lnTo>
                  <a:lnTo>
                    <a:pt x="2076" y="885"/>
                  </a:lnTo>
                  <a:lnTo>
                    <a:pt x="2073" y="877"/>
                  </a:lnTo>
                  <a:lnTo>
                    <a:pt x="2071" y="868"/>
                  </a:lnTo>
                  <a:lnTo>
                    <a:pt x="2070" y="864"/>
                  </a:lnTo>
                  <a:lnTo>
                    <a:pt x="2069" y="859"/>
                  </a:lnTo>
                  <a:lnTo>
                    <a:pt x="2068" y="850"/>
                  </a:lnTo>
                  <a:lnTo>
                    <a:pt x="2068" y="841"/>
                  </a:lnTo>
                  <a:lnTo>
                    <a:pt x="2068" y="829"/>
                  </a:lnTo>
                  <a:lnTo>
                    <a:pt x="2070" y="817"/>
                  </a:lnTo>
                  <a:lnTo>
                    <a:pt x="2073" y="806"/>
                  </a:lnTo>
                  <a:lnTo>
                    <a:pt x="2077" y="795"/>
                  </a:lnTo>
                  <a:lnTo>
                    <a:pt x="2081" y="785"/>
                  </a:lnTo>
                  <a:lnTo>
                    <a:pt x="2087" y="776"/>
                  </a:lnTo>
                  <a:lnTo>
                    <a:pt x="2094" y="768"/>
                  </a:lnTo>
                  <a:lnTo>
                    <a:pt x="2101" y="760"/>
                  </a:lnTo>
                  <a:lnTo>
                    <a:pt x="2105" y="756"/>
                  </a:lnTo>
                  <a:lnTo>
                    <a:pt x="2109" y="753"/>
                  </a:lnTo>
                  <a:lnTo>
                    <a:pt x="2118" y="747"/>
                  </a:lnTo>
                  <a:lnTo>
                    <a:pt x="2123" y="744"/>
                  </a:lnTo>
                  <a:lnTo>
                    <a:pt x="2128" y="741"/>
                  </a:lnTo>
                  <a:lnTo>
                    <a:pt x="2138" y="737"/>
                  </a:lnTo>
                  <a:lnTo>
                    <a:pt x="2148" y="734"/>
                  </a:lnTo>
                  <a:lnTo>
                    <a:pt x="2160" y="731"/>
                  </a:lnTo>
                  <a:lnTo>
                    <a:pt x="2166" y="730"/>
                  </a:lnTo>
                  <a:lnTo>
                    <a:pt x="2172" y="730"/>
                  </a:lnTo>
                  <a:lnTo>
                    <a:pt x="2184" y="729"/>
                  </a:lnTo>
                  <a:close/>
                  <a:moveTo>
                    <a:pt x="2472" y="729"/>
                  </a:moveTo>
                  <a:lnTo>
                    <a:pt x="2483" y="729"/>
                  </a:lnTo>
                  <a:lnTo>
                    <a:pt x="2495" y="730"/>
                  </a:lnTo>
                  <a:lnTo>
                    <a:pt x="2505" y="731"/>
                  </a:lnTo>
                  <a:lnTo>
                    <a:pt x="2516" y="733"/>
                  </a:lnTo>
                  <a:lnTo>
                    <a:pt x="2525" y="735"/>
                  </a:lnTo>
                  <a:lnTo>
                    <a:pt x="2534" y="737"/>
                  </a:lnTo>
                  <a:lnTo>
                    <a:pt x="2542" y="739"/>
                  </a:lnTo>
                  <a:lnTo>
                    <a:pt x="2548" y="741"/>
                  </a:lnTo>
                  <a:lnTo>
                    <a:pt x="2550" y="742"/>
                  </a:lnTo>
                  <a:lnTo>
                    <a:pt x="2552" y="744"/>
                  </a:lnTo>
                  <a:lnTo>
                    <a:pt x="2554" y="745"/>
                  </a:lnTo>
                  <a:lnTo>
                    <a:pt x="2555" y="747"/>
                  </a:lnTo>
                  <a:lnTo>
                    <a:pt x="2555" y="749"/>
                  </a:lnTo>
                  <a:lnTo>
                    <a:pt x="2556" y="752"/>
                  </a:lnTo>
                  <a:lnTo>
                    <a:pt x="2555" y="757"/>
                  </a:lnTo>
                  <a:lnTo>
                    <a:pt x="2537" y="818"/>
                  </a:lnTo>
                  <a:lnTo>
                    <a:pt x="2536" y="821"/>
                  </a:lnTo>
                  <a:lnTo>
                    <a:pt x="2534" y="823"/>
                  </a:lnTo>
                  <a:lnTo>
                    <a:pt x="2533" y="825"/>
                  </a:lnTo>
                  <a:lnTo>
                    <a:pt x="2531" y="826"/>
                  </a:lnTo>
                  <a:lnTo>
                    <a:pt x="2529" y="827"/>
                  </a:lnTo>
                  <a:lnTo>
                    <a:pt x="2527" y="827"/>
                  </a:lnTo>
                  <a:lnTo>
                    <a:pt x="2522" y="827"/>
                  </a:lnTo>
                  <a:lnTo>
                    <a:pt x="2511" y="823"/>
                  </a:lnTo>
                  <a:lnTo>
                    <a:pt x="2501" y="821"/>
                  </a:lnTo>
                  <a:lnTo>
                    <a:pt x="2492" y="819"/>
                  </a:lnTo>
                  <a:lnTo>
                    <a:pt x="2483" y="818"/>
                  </a:lnTo>
                  <a:lnTo>
                    <a:pt x="2476" y="819"/>
                  </a:lnTo>
                  <a:lnTo>
                    <a:pt x="2473" y="819"/>
                  </a:lnTo>
                  <a:lnTo>
                    <a:pt x="2471" y="820"/>
                  </a:lnTo>
                  <a:lnTo>
                    <a:pt x="2468" y="821"/>
                  </a:lnTo>
                  <a:lnTo>
                    <a:pt x="2466" y="823"/>
                  </a:lnTo>
                  <a:lnTo>
                    <a:pt x="2462" y="826"/>
                  </a:lnTo>
                  <a:lnTo>
                    <a:pt x="2459" y="829"/>
                  </a:lnTo>
                  <a:lnTo>
                    <a:pt x="2457" y="831"/>
                  </a:lnTo>
                  <a:lnTo>
                    <a:pt x="2456" y="834"/>
                  </a:lnTo>
                  <a:lnTo>
                    <a:pt x="2455" y="839"/>
                  </a:lnTo>
                  <a:lnTo>
                    <a:pt x="2454" y="844"/>
                  </a:lnTo>
                  <a:lnTo>
                    <a:pt x="2455" y="850"/>
                  </a:lnTo>
                  <a:lnTo>
                    <a:pt x="2457" y="856"/>
                  </a:lnTo>
                  <a:lnTo>
                    <a:pt x="2459" y="862"/>
                  </a:lnTo>
                  <a:lnTo>
                    <a:pt x="2463" y="867"/>
                  </a:lnTo>
                  <a:lnTo>
                    <a:pt x="2467" y="872"/>
                  </a:lnTo>
                  <a:lnTo>
                    <a:pt x="2472" y="878"/>
                  </a:lnTo>
                  <a:lnTo>
                    <a:pt x="2483" y="890"/>
                  </a:lnTo>
                  <a:lnTo>
                    <a:pt x="2516" y="927"/>
                  </a:lnTo>
                  <a:lnTo>
                    <a:pt x="2526" y="938"/>
                  </a:lnTo>
                  <a:lnTo>
                    <a:pt x="2536" y="950"/>
                  </a:lnTo>
                  <a:lnTo>
                    <a:pt x="2546" y="963"/>
                  </a:lnTo>
                  <a:lnTo>
                    <a:pt x="2554" y="977"/>
                  </a:lnTo>
                  <a:lnTo>
                    <a:pt x="2558" y="985"/>
                  </a:lnTo>
                  <a:lnTo>
                    <a:pt x="2561" y="992"/>
                  </a:lnTo>
                  <a:lnTo>
                    <a:pt x="2564" y="1000"/>
                  </a:lnTo>
                  <a:lnTo>
                    <a:pt x="2567" y="1007"/>
                  </a:lnTo>
                  <a:lnTo>
                    <a:pt x="2569" y="1015"/>
                  </a:lnTo>
                  <a:lnTo>
                    <a:pt x="2571" y="1023"/>
                  </a:lnTo>
                  <a:lnTo>
                    <a:pt x="2572" y="1031"/>
                  </a:lnTo>
                  <a:lnTo>
                    <a:pt x="2572" y="1039"/>
                  </a:lnTo>
                  <a:lnTo>
                    <a:pt x="2572" y="1047"/>
                  </a:lnTo>
                  <a:lnTo>
                    <a:pt x="2571" y="1054"/>
                  </a:lnTo>
                  <a:lnTo>
                    <a:pt x="2571" y="1061"/>
                  </a:lnTo>
                  <a:lnTo>
                    <a:pt x="2569" y="1068"/>
                  </a:lnTo>
                  <a:lnTo>
                    <a:pt x="2568" y="1075"/>
                  </a:lnTo>
                  <a:lnTo>
                    <a:pt x="2566" y="1081"/>
                  </a:lnTo>
                  <a:lnTo>
                    <a:pt x="2562" y="1093"/>
                  </a:lnTo>
                  <a:lnTo>
                    <a:pt x="2557" y="1104"/>
                  </a:lnTo>
                  <a:lnTo>
                    <a:pt x="2554" y="1109"/>
                  </a:lnTo>
                  <a:lnTo>
                    <a:pt x="2550" y="1114"/>
                  </a:lnTo>
                  <a:lnTo>
                    <a:pt x="2547" y="1119"/>
                  </a:lnTo>
                  <a:lnTo>
                    <a:pt x="2543" y="1123"/>
                  </a:lnTo>
                  <a:lnTo>
                    <a:pt x="2535" y="1131"/>
                  </a:lnTo>
                  <a:lnTo>
                    <a:pt x="2526" y="1139"/>
                  </a:lnTo>
                  <a:lnTo>
                    <a:pt x="2516" y="1145"/>
                  </a:lnTo>
                  <a:lnTo>
                    <a:pt x="2510" y="1148"/>
                  </a:lnTo>
                  <a:lnTo>
                    <a:pt x="2505" y="1150"/>
                  </a:lnTo>
                  <a:lnTo>
                    <a:pt x="2494" y="1154"/>
                  </a:lnTo>
                  <a:lnTo>
                    <a:pt x="2482" y="1158"/>
                  </a:lnTo>
                  <a:lnTo>
                    <a:pt x="2476" y="1159"/>
                  </a:lnTo>
                  <a:lnTo>
                    <a:pt x="2469" y="1160"/>
                  </a:lnTo>
                  <a:lnTo>
                    <a:pt x="2456" y="1161"/>
                  </a:lnTo>
                  <a:lnTo>
                    <a:pt x="2443" y="1162"/>
                  </a:lnTo>
                  <a:lnTo>
                    <a:pt x="2431" y="1162"/>
                  </a:lnTo>
                  <a:lnTo>
                    <a:pt x="2419" y="1161"/>
                  </a:lnTo>
                  <a:lnTo>
                    <a:pt x="2407" y="1159"/>
                  </a:lnTo>
                  <a:lnTo>
                    <a:pt x="2395" y="1157"/>
                  </a:lnTo>
                  <a:lnTo>
                    <a:pt x="2383" y="1154"/>
                  </a:lnTo>
                  <a:lnTo>
                    <a:pt x="2372" y="1151"/>
                  </a:lnTo>
                  <a:lnTo>
                    <a:pt x="2362" y="1148"/>
                  </a:lnTo>
                  <a:lnTo>
                    <a:pt x="2353" y="1144"/>
                  </a:lnTo>
                  <a:lnTo>
                    <a:pt x="2350" y="1143"/>
                  </a:lnTo>
                  <a:lnTo>
                    <a:pt x="2348" y="1141"/>
                  </a:lnTo>
                  <a:lnTo>
                    <a:pt x="2346" y="1140"/>
                  </a:lnTo>
                  <a:lnTo>
                    <a:pt x="2345" y="1138"/>
                  </a:lnTo>
                  <a:lnTo>
                    <a:pt x="2345" y="1136"/>
                  </a:lnTo>
                  <a:lnTo>
                    <a:pt x="2345" y="1134"/>
                  </a:lnTo>
                  <a:lnTo>
                    <a:pt x="2346" y="1131"/>
                  </a:lnTo>
                  <a:lnTo>
                    <a:pt x="2365" y="1065"/>
                  </a:lnTo>
                  <a:lnTo>
                    <a:pt x="2366" y="1062"/>
                  </a:lnTo>
                  <a:lnTo>
                    <a:pt x="2367" y="1060"/>
                  </a:lnTo>
                  <a:lnTo>
                    <a:pt x="2369" y="1058"/>
                  </a:lnTo>
                  <a:lnTo>
                    <a:pt x="2370" y="1057"/>
                  </a:lnTo>
                  <a:lnTo>
                    <a:pt x="2372" y="1057"/>
                  </a:lnTo>
                  <a:lnTo>
                    <a:pt x="2374" y="1057"/>
                  </a:lnTo>
                  <a:lnTo>
                    <a:pt x="2377" y="1057"/>
                  </a:lnTo>
                  <a:lnTo>
                    <a:pt x="2379" y="1058"/>
                  </a:lnTo>
                  <a:lnTo>
                    <a:pt x="2387" y="1062"/>
                  </a:lnTo>
                  <a:lnTo>
                    <a:pt x="2394" y="1064"/>
                  </a:lnTo>
                  <a:lnTo>
                    <a:pt x="2401" y="1067"/>
                  </a:lnTo>
                  <a:lnTo>
                    <a:pt x="2409" y="1069"/>
                  </a:lnTo>
                  <a:lnTo>
                    <a:pt x="2416" y="1070"/>
                  </a:lnTo>
                  <a:lnTo>
                    <a:pt x="2423" y="1071"/>
                  </a:lnTo>
                  <a:lnTo>
                    <a:pt x="2430" y="1072"/>
                  </a:lnTo>
                  <a:lnTo>
                    <a:pt x="2437" y="1072"/>
                  </a:lnTo>
                  <a:lnTo>
                    <a:pt x="2446" y="1071"/>
                  </a:lnTo>
                  <a:lnTo>
                    <a:pt x="2449" y="1071"/>
                  </a:lnTo>
                  <a:lnTo>
                    <a:pt x="2453" y="1070"/>
                  </a:lnTo>
                  <a:lnTo>
                    <a:pt x="2460" y="1067"/>
                  </a:lnTo>
                  <a:lnTo>
                    <a:pt x="2465" y="1064"/>
                  </a:lnTo>
                  <a:lnTo>
                    <a:pt x="2469" y="1060"/>
                  </a:lnTo>
                  <a:lnTo>
                    <a:pt x="2470" y="1057"/>
                  </a:lnTo>
                  <a:lnTo>
                    <a:pt x="2472" y="1055"/>
                  </a:lnTo>
                  <a:lnTo>
                    <a:pt x="2473" y="1049"/>
                  </a:lnTo>
                  <a:lnTo>
                    <a:pt x="2474" y="1042"/>
                  </a:lnTo>
                  <a:lnTo>
                    <a:pt x="2473" y="1037"/>
                  </a:lnTo>
                  <a:lnTo>
                    <a:pt x="2472" y="1031"/>
                  </a:lnTo>
                  <a:lnTo>
                    <a:pt x="2470" y="1025"/>
                  </a:lnTo>
                  <a:lnTo>
                    <a:pt x="2467" y="1020"/>
                  </a:lnTo>
                  <a:lnTo>
                    <a:pt x="2463" y="1014"/>
                  </a:lnTo>
                  <a:lnTo>
                    <a:pt x="2459" y="1008"/>
                  </a:lnTo>
                  <a:lnTo>
                    <a:pt x="2449" y="997"/>
                  </a:lnTo>
                  <a:lnTo>
                    <a:pt x="2416" y="961"/>
                  </a:lnTo>
                  <a:lnTo>
                    <a:pt x="2405" y="948"/>
                  </a:lnTo>
                  <a:lnTo>
                    <a:pt x="2394" y="935"/>
                  </a:lnTo>
                  <a:lnTo>
                    <a:pt x="2384" y="922"/>
                  </a:lnTo>
                  <a:lnTo>
                    <a:pt x="2379" y="915"/>
                  </a:lnTo>
                  <a:lnTo>
                    <a:pt x="2375" y="908"/>
                  </a:lnTo>
                  <a:lnTo>
                    <a:pt x="2371" y="900"/>
                  </a:lnTo>
                  <a:lnTo>
                    <a:pt x="2367" y="893"/>
                  </a:lnTo>
                  <a:lnTo>
                    <a:pt x="2364" y="885"/>
                  </a:lnTo>
                  <a:lnTo>
                    <a:pt x="2361" y="877"/>
                  </a:lnTo>
                  <a:lnTo>
                    <a:pt x="2359" y="868"/>
                  </a:lnTo>
                  <a:lnTo>
                    <a:pt x="2358" y="864"/>
                  </a:lnTo>
                  <a:lnTo>
                    <a:pt x="2358" y="859"/>
                  </a:lnTo>
                  <a:lnTo>
                    <a:pt x="2357" y="850"/>
                  </a:lnTo>
                  <a:lnTo>
                    <a:pt x="2356" y="841"/>
                  </a:lnTo>
                  <a:lnTo>
                    <a:pt x="2357" y="829"/>
                  </a:lnTo>
                  <a:lnTo>
                    <a:pt x="2358" y="817"/>
                  </a:lnTo>
                  <a:lnTo>
                    <a:pt x="2361" y="806"/>
                  </a:lnTo>
                  <a:lnTo>
                    <a:pt x="2365" y="795"/>
                  </a:lnTo>
                  <a:lnTo>
                    <a:pt x="2370" y="785"/>
                  </a:lnTo>
                  <a:lnTo>
                    <a:pt x="2375" y="776"/>
                  </a:lnTo>
                  <a:lnTo>
                    <a:pt x="2382" y="768"/>
                  </a:lnTo>
                  <a:lnTo>
                    <a:pt x="2389" y="760"/>
                  </a:lnTo>
                  <a:lnTo>
                    <a:pt x="2393" y="756"/>
                  </a:lnTo>
                  <a:lnTo>
                    <a:pt x="2397" y="753"/>
                  </a:lnTo>
                  <a:lnTo>
                    <a:pt x="2406" y="747"/>
                  </a:lnTo>
                  <a:lnTo>
                    <a:pt x="2411" y="744"/>
                  </a:lnTo>
                  <a:lnTo>
                    <a:pt x="2416" y="741"/>
                  </a:lnTo>
                  <a:lnTo>
                    <a:pt x="2426" y="737"/>
                  </a:lnTo>
                  <a:lnTo>
                    <a:pt x="2437" y="734"/>
                  </a:lnTo>
                  <a:lnTo>
                    <a:pt x="2448" y="731"/>
                  </a:lnTo>
                  <a:lnTo>
                    <a:pt x="2454" y="730"/>
                  </a:lnTo>
                  <a:lnTo>
                    <a:pt x="2460" y="730"/>
                  </a:lnTo>
                  <a:lnTo>
                    <a:pt x="2472" y="729"/>
                  </a:lnTo>
                  <a:close/>
                  <a:moveTo>
                    <a:pt x="633" y="1006"/>
                  </a:moveTo>
                  <a:lnTo>
                    <a:pt x="733" y="1006"/>
                  </a:lnTo>
                  <a:lnTo>
                    <a:pt x="683" y="875"/>
                  </a:lnTo>
                  <a:lnTo>
                    <a:pt x="633" y="1006"/>
                  </a:lnTo>
                  <a:close/>
                  <a:moveTo>
                    <a:pt x="763" y="1088"/>
                  </a:moveTo>
                  <a:lnTo>
                    <a:pt x="603" y="1088"/>
                  </a:lnTo>
                  <a:lnTo>
                    <a:pt x="581" y="1145"/>
                  </a:lnTo>
                  <a:lnTo>
                    <a:pt x="580" y="1148"/>
                  </a:lnTo>
                  <a:lnTo>
                    <a:pt x="579" y="1150"/>
                  </a:lnTo>
                  <a:lnTo>
                    <a:pt x="577" y="1151"/>
                  </a:lnTo>
                  <a:lnTo>
                    <a:pt x="576" y="1153"/>
                  </a:lnTo>
                  <a:lnTo>
                    <a:pt x="572" y="1154"/>
                  </a:lnTo>
                  <a:lnTo>
                    <a:pt x="568" y="1155"/>
                  </a:lnTo>
                  <a:lnTo>
                    <a:pt x="489" y="1155"/>
                  </a:lnTo>
                  <a:lnTo>
                    <a:pt x="486" y="1155"/>
                  </a:lnTo>
                  <a:lnTo>
                    <a:pt x="484" y="1154"/>
                  </a:lnTo>
                  <a:lnTo>
                    <a:pt x="482" y="1153"/>
                  </a:lnTo>
                  <a:lnTo>
                    <a:pt x="481" y="1151"/>
                  </a:lnTo>
                  <a:lnTo>
                    <a:pt x="479" y="1149"/>
                  </a:lnTo>
                  <a:lnTo>
                    <a:pt x="479" y="1147"/>
                  </a:lnTo>
                  <a:lnTo>
                    <a:pt x="479" y="1144"/>
                  </a:lnTo>
                  <a:lnTo>
                    <a:pt x="480" y="1141"/>
                  </a:lnTo>
                  <a:lnTo>
                    <a:pt x="636" y="746"/>
                  </a:lnTo>
                  <a:lnTo>
                    <a:pt x="637" y="743"/>
                  </a:lnTo>
                  <a:lnTo>
                    <a:pt x="638" y="741"/>
                  </a:lnTo>
                  <a:lnTo>
                    <a:pt x="641" y="738"/>
                  </a:lnTo>
                  <a:lnTo>
                    <a:pt x="645" y="737"/>
                  </a:lnTo>
                  <a:lnTo>
                    <a:pt x="647" y="736"/>
                  </a:lnTo>
                  <a:lnTo>
                    <a:pt x="649" y="736"/>
                  </a:lnTo>
                  <a:lnTo>
                    <a:pt x="719" y="736"/>
                  </a:lnTo>
                  <a:lnTo>
                    <a:pt x="724" y="737"/>
                  </a:lnTo>
                  <a:lnTo>
                    <a:pt x="728" y="738"/>
                  </a:lnTo>
                  <a:lnTo>
                    <a:pt x="730" y="741"/>
                  </a:lnTo>
                  <a:lnTo>
                    <a:pt x="732" y="743"/>
                  </a:lnTo>
                  <a:lnTo>
                    <a:pt x="733" y="746"/>
                  </a:lnTo>
                  <a:lnTo>
                    <a:pt x="889" y="1141"/>
                  </a:lnTo>
                  <a:lnTo>
                    <a:pt x="890" y="1144"/>
                  </a:lnTo>
                  <a:lnTo>
                    <a:pt x="890" y="1147"/>
                  </a:lnTo>
                  <a:lnTo>
                    <a:pt x="890" y="1149"/>
                  </a:lnTo>
                  <a:lnTo>
                    <a:pt x="889" y="1151"/>
                  </a:lnTo>
                  <a:lnTo>
                    <a:pt x="887" y="1153"/>
                  </a:lnTo>
                  <a:lnTo>
                    <a:pt x="885" y="1154"/>
                  </a:lnTo>
                  <a:lnTo>
                    <a:pt x="883" y="1155"/>
                  </a:lnTo>
                  <a:lnTo>
                    <a:pt x="880" y="1155"/>
                  </a:lnTo>
                  <a:lnTo>
                    <a:pt x="800" y="1155"/>
                  </a:lnTo>
                  <a:lnTo>
                    <a:pt x="796" y="1154"/>
                  </a:lnTo>
                  <a:lnTo>
                    <a:pt x="794" y="1154"/>
                  </a:lnTo>
                  <a:lnTo>
                    <a:pt x="792" y="1153"/>
                  </a:lnTo>
                  <a:lnTo>
                    <a:pt x="790" y="1151"/>
                  </a:lnTo>
                  <a:lnTo>
                    <a:pt x="788" y="1150"/>
                  </a:lnTo>
                  <a:lnTo>
                    <a:pt x="787" y="1148"/>
                  </a:lnTo>
                  <a:lnTo>
                    <a:pt x="786" y="1145"/>
                  </a:lnTo>
                  <a:lnTo>
                    <a:pt x="763" y="1088"/>
                  </a:lnTo>
                  <a:close/>
                  <a:moveTo>
                    <a:pt x="292" y="912"/>
                  </a:moveTo>
                  <a:lnTo>
                    <a:pt x="428" y="1142"/>
                  </a:lnTo>
                  <a:lnTo>
                    <a:pt x="429" y="1144"/>
                  </a:lnTo>
                  <a:lnTo>
                    <a:pt x="429" y="1146"/>
                  </a:lnTo>
                  <a:lnTo>
                    <a:pt x="429" y="1148"/>
                  </a:lnTo>
                  <a:lnTo>
                    <a:pt x="429" y="1150"/>
                  </a:lnTo>
                  <a:lnTo>
                    <a:pt x="428" y="1152"/>
                  </a:lnTo>
                  <a:lnTo>
                    <a:pt x="426" y="1154"/>
                  </a:lnTo>
                  <a:lnTo>
                    <a:pt x="424" y="1154"/>
                  </a:lnTo>
                  <a:lnTo>
                    <a:pt x="421" y="1155"/>
                  </a:lnTo>
                  <a:lnTo>
                    <a:pt x="325" y="1155"/>
                  </a:lnTo>
                  <a:lnTo>
                    <a:pt x="321" y="1154"/>
                  </a:lnTo>
                  <a:lnTo>
                    <a:pt x="316" y="1152"/>
                  </a:lnTo>
                  <a:lnTo>
                    <a:pt x="315" y="1151"/>
                  </a:lnTo>
                  <a:lnTo>
                    <a:pt x="313" y="1150"/>
                  </a:lnTo>
                  <a:lnTo>
                    <a:pt x="310" y="1145"/>
                  </a:lnTo>
                  <a:lnTo>
                    <a:pt x="214" y="979"/>
                  </a:lnTo>
                  <a:lnTo>
                    <a:pt x="161" y="1044"/>
                  </a:lnTo>
                  <a:lnTo>
                    <a:pt x="161" y="1145"/>
                  </a:lnTo>
                  <a:lnTo>
                    <a:pt x="161" y="1147"/>
                  </a:lnTo>
                  <a:lnTo>
                    <a:pt x="160" y="1149"/>
                  </a:lnTo>
                  <a:lnTo>
                    <a:pt x="158" y="1152"/>
                  </a:lnTo>
                  <a:lnTo>
                    <a:pt x="157" y="1153"/>
                  </a:lnTo>
                  <a:lnTo>
                    <a:pt x="155" y="1154"/>
                  </a:lnTo>
                  <a:lnTo>
                    <a:pt x="151" y="1155"/>
                  </a:lnTo>
                  <a:lnTo>
                    <a:pt x="69" y="1155"/>
                  </a:lnTo>
                  <a:lnTo>
                    <a:pt x="65" y="1154"/>
                  </a:lnTo>
                  <a:lnTo>
                    <a:pt x="62" y="1152"/>
                  </a:lnTo>
                  <a:lnTo>
                    <a:pt x="60" y="1150"/>
                  </a:lnTo>
                  <a:lnTo>
                    <a:pt x="60" y="1149"/>
                  </a:lnTo>
                  <a:lnTo>
                    <a:pt x="59" y="1147"/>
                  </a:lnTo>
                  <a:lnTo>
                    <a:pt x="59" y="1145"/>
                  </a:lnTo>
                  <a:lnTo>
                    <a:pt x="59" y="746"/>
                  </a:lnTo>
                  <a:lnTo>
                    <a:pt x="59" y="744"/>
                  </a:lnTo>
                  <a:lnTo>
                    <a:pt x="60" y="742"/>
                  </a:lnTo>
                  <a:lnTo>
                    <a:pt x="62" y="739"/>
                  </a:lnTo>
                  <a:lnTo>
                    <a:pt x="63" y="738"/>
                  </a:lnTo>
                  <a:lnTo>
                    <a:pt x="65" y="737"/>
                  </a:lnTo>
                  <a:lnTo>
                    <a:pt x="69" y="736"/>
                  </a:lnTo>
                  <a:lnTo>
                    <a:pt x="151" y="736"/>
                  </a:lnTo>
                  <a:lnTo>
                    <a:pt x="155" y="737"/>
                  </a:lnTo>
                  <a:lnTo>
                    <a:pt x="158" y="739"/>
                  </a:lnTo>
                  <a:lnTo>
                    <a:pt x="159" y="740"/>
                  </a:lnTo>
                  <a:lnTo>
                    <a:pt x="160" y="742"/>
                  </a:lnTo>
                  <a:lnTo>
                    <a:pt x="161" y="744"/>
                  </a:lnTo>
                  <a:lnTo>
                    <a:pt x="161" y="746"/>
                  </a:lnTo>
                  <a:lnTo>
                    <a:pt x="161" y="921"/>
                  </a:lnTo>
                  <a:lnTo>
                    <a:pt x="304" y="746"/>
                  </a:lnTo>
                  <a:lnTo>
                    <a:pt x="308" y="742"/>
                  </a:lnTo>
                  <a:lnTo>
                    <a:pt x="310" y="740"/>
                  </a:lnTo>
                  <a:lnTo>
                    <a:pt x="312" y="739"/>
                  </a:lnTo>
                  <a:lnTo>
                    <a:pt x="314" y="738"/>
                  </a:lnTo>
                  <a:lnTo>
                    <a:pt x="317" y="737"/>
                  </a:lnTo>
                  <a:lnTo>
                    <a:pt x="319" y="736"/>
                  </a:lnTo>
                  <a:lnTo>
                    <a:pt x="322" y="736"/>
                  </a:lnTo>
                  <a:lnTo>
                    <a:pt x="418" y="736"/>
                  </a:lnTo>
                  <a:lnTo>
                    <a:pt x="421" y="737"/>
                  </a:lnTo>
                  <a:lnTo>
                    <a:pt x="423" y="738"/>
                  </a:lnTo>
                  <a:lnTo>
                    <a:pt x="425" y="739"/>
                  </a:lnTo>
                  <a:lnTo>
                    <a:pt x="426" y="741"/>
                  </a:lnTo>
                  <a:lnTo>
                    <a:pt x="426" y="744"/>
                  </a:lnTo>
                  <a:lnTo>
                    <a:pt x="426" y="746"/>
                  </a:lnTo>
                  <a:lnTo>
                    <a:pt x="425" y="749"/>
                  </a:lnTo>
                  <a:lnTo>
                    <a:pt x="424" y="751"/>
                  </a:lnTo>
                  <a:lnTo>
                    <a:pt x="292" y="912"/>
                  </a:lnTo>
                  <a:close/>
                  <a:moveTo>
                    <a:pt x="1819" y="1010"/>
                  </a:moveTo>
                  <a:lnTo>
                    <a:pt x="1872" y="1010"/>
                  </a:lnTo>
                  <a:lnTo>
                    <a:pt x="1845" y="883"/>
                  </a:lnTo>
                  <a:lnTo>
                    <a:pt x="1819" y="1010"/>
                  </a:lnTo>
                  <a:close/>
                  <a:moveTo>
                    <a:pt x="1887" y="1088"/>
                  </a:moveTo>
                  <a:lnTo>
                    <a:pt x="1805" y="1088"/>
                  </a:lnTo>
                  <a:lnTo>
                    <a:pt x="1793" y="1145"/>
                  </a:lnTo>
                  <a:lnTo>
                    <a:pt x="1792" y="1147"/>
                  </a:lnTo>
                  <a:lnTo>
                    <a:pt x="1791" y="1149"/>
                  </a:lnTo>
                  <a:lnTo>
                    <a:pt x="1788" y="1152"/>
                  </a:lnTo>
                  <a:lnTo>
                    <a:pt x="1787" y="1153"/>
                  </a:lnTo>
                  <a:lnTo>
                    <a:pt x="1785" y="1154"/>
                  </a:lnTo>
                  <a:lnTo>
                    <a:pt x="1783" y="1155"/>
                  </a:lnTo>
                  <a:lnTo>
                    <a:pt x="1781" y="1155"/>
                  </a:lnTo>
                  <a:lnTo>
                    <a:pt x="1708" y="1155"/>
                  </a:lnTo>
                  <a:lnTo>
                    <a:pt x="1706" y="1155"/>
                  </a:lnTo>
                  <a:lnTo>
                    <a:pt x="1704" y="1154"/>
                  </a:lnTo>
                  <a:lnTo>
                    <a:pt x="1702" y="1153"/>
                  </a:lnTo>
                  <a:lnTo>
                    <a:pt x="1701" y="1152"/>
                  </a:lnTo>
                  <a:lnTo>
                    <a:pt x="1700" y="1150"/>
                  </a:lnTo>
                  <a:lnTo>
                    <a:pt x="1700" y="1147"/>
                  </a:lnTo>
                  <a:lnTo>
                    <a:pt x="1701" y="1141"/>
                  </a:lnTo>
                  <a:lnTo>
                    <a:pt x="1793" y="746"/>
                  </a:lnTo>
                  <a:lnTo>
                    <a:pt x="1793" y="744"/>
                  </a:lnTo>
                  <a:lnTo>
                    <a:pt x="1794" y="742"/>
                  </a:lnTo>
                  <a:lnTo>
                    <a:pt x="1797" y="739"/>
                  </a:lnTo>
                  <a:lnTo>
                    <a:pt x="1799" y="738"/>
                  </a:lnTo>
                  <a:lnTo>
                    <a:pt x="1801" y="737"/>
                  </a:lnTo>
                  <a:lnTo>
                    <a:pt x="1806" y="736"/>
                  </a:lnTo>
                  <a:lnTo>
                    <a:pt x="1887" y="736"/>
                  </a:lnTo>
                  <a:lnTo>
                    <a:pt x="1889" y="736"/>
                  </a:lnTo>
                  <a:lnTo>
                    <a:pt x="1892" y="737"/>
                  </a:lnTo>
                  <a:lnTo>
                    <a:pt x="1896" y="739"/>
                  </a:lnTo>
                  <a:lnTo>
                    <a:pt x="1898" y="742"/>
                  </a:lnTo>
                  <a:lnTo>
                    <a:pt x="1899" y="744"/>
                  </a:lnTo>
                  <a:lnTo>
                    <a:pt x="1900" y="746"/>
                  </a:lnTo>
                  <a:lnTo>
                    <a:pt x="1992" y="1141"/>
                  </a:lnTo>
                  <a:lnTo>
                    <a:pt x="1993" y="1147"/>
                  </a:lnTo>
                  <a:lnTo>
                    <a:pt x="1992" y="1150"/>
                  </a:lnTo>
                  <a:lnTo>
                    <a:pt x="1992" y="1152"/>
                  </a:lnTo>
                  <a:lnTo>
                    <a:pt x="1990" y="1153"/>
                  </a:lnTo>
                  <a:lnTo>
                    <a:pt x="1989" y="1154"/>
                  </a:lnTo>
                  <a:lnTo>
                    <a:pt x="1984" y="1155"/>
                  </a:lnTo>
                  <a:lnTo>
                    <a:pt x="1910" y="1155"/>
                  </a:lnTo>
                  <a:lnTo>
                    <a:pt x="1906" y="1154"/>
                  </a:lnTo>
                  <a:lnTo>
                    <a:pt x="1902" y="1152"/>
                  </a:lnTo>
                  <a:lnTo>
                    <a:pt x="1901" y="1151"/>
                  </a:lnTo>
                  <a:lnTo>
                    <a:pt x="1900" y="1149"/>
                  </a:lnTo>
                  <a:lnTo>
                    <a:pt x="1899" y="1147"/>
                  </a:lnTo>
                  <a:lnTo>
                    <a:pt x="1898" y="1145"/>
                  </a:lnTo>
                  <a:lnTo>
                    <a:pt x="1887" y="1088"/>
                  </a:lnTo>
                  <a:close/>
                  <a:moveTo>
                    <a:pt x="937" y="991"/>
                  </a:moveTo>
                  <a:lnTo>
                    <a:pt x="937" y="746"/>
                  </a:lnTo>
                  <a:lnTo>
                    <a:pt x="937" y="744"/>
                  </a:lnTo>
                  <a:lnTo>
                    <a:pt x="938" y="742"/>
                  </a:lnTo>
                  <a:lnTo>
                    <a:pt x="940" y="739"/>
                  </a:lnTo>
                  <a:lnTo>
                    <a:pt x="941" y="738"/>
                  </a:lnTo>
                  <a:lnTo>
                    <a:pt x="943" y="737"/>
                  </a:lnTo>
                  <a:lnTo>
                    <a:pt x="947" y="736"/>
                  </a:lnTo>
                  <a:lnTo>
                    <a:pt x="1029" y="736"/>
                  </a:lnTo>
                  <a:lnTo>
                    <a:pt x="1033" y="737"/>
                  </a:lnTo>
                  <a:lnTo>
                    <a:pt x="1037" y="739"/>
                  </a:lnTo>
                  <a:lnTo>
                    <a:pt x="1038" y="740"/>
                  </a:lnTo>
                  <a:lnTo>
                    <a:pt x="1039" y="742"/>
                  </a:lnTo>
                  <a:lnTo>
                    <a:pt x="1039" y="744"/>
                  </a:lnTo>
                  <a:lnTo>
                    <a:pt x="1039" y="746"/>
                  </a:lnTo>
                  <a:lnTo>
                    <a:pt x="1039" y="986"/>
                  </a:lnTo>
                  <a:lnTo>
                    <a:pt x="1040" y="996"/>
                  </a:lnTo>
                  <a:lnTo>
                    <a:pt x="1041" y="1005"/>
                  </a:lnTo>
                  <a:lnTo>
                    <a:pt x="1042" y="1014"/>
                  </a:lnTo>
                  <a:lnTo>
                    <a:pt x="1044" y="1022"/>
                  </a:lnTo>
                  <a:lnTo>
                    <a:pt x="1047" y="1030"/>
                  </a:lnTo>
                  <a:lnTo>
                    <a:pt x="1050" y="1037"/>
                  </a:lnTo>
                  <a:lnTo>
                    <a:pt x="1054" y="1043"/>
                  </a:lnTo>
                  <a:lnTo>
                    <a:pt x="1058" y="1049"/>
                  </a:lnTo>
                  <a:lnTo>
                    <a:pt x="1063" y="1054"/>
                  </a:lnTo>
                  <a:lnTo>
                    <a:pt x="1068" y="1058"/>
                  </a:lnTo>
                  <a:lnTo>
                    <a:pt x="1074" y="1062"/>
                  </a:lnTo>
                  <a:lnTo>
                    <a:pt x="1077" y="1063"/>
                  </a:lnTo>
                  <a:lnTo>
                    <a:pt x="1080" y="1065"/>
                  </a:lnTo>
                  <a:lnTo>
                    <a:pt x="1087" y="1067"/>
                  </a:lnTo>
                  <a:lnTo>
                    <a:pt x="1094" y="1069"/>
                  </a:lnTo>
                  <a:lnTo>
                    <a:pt x="1102" y="1070"/>
                  </a:lnTo>
                  <a:lnTo>
                    <a:pt x="1110" y="1070"/>
                  </a:lnTo>
                  <a:lnTo>
                    <a:pt x="1118" y="1070"/>
                  </a:lnTo>
                  <a:lnTo>
                    <a:pt x="1126" y="1069"/>
                  </a:lnTo>
                  <a:lnTo>
                    <a:pt x="1133" y="1067"/>
                  </a:lnTo>
                  <a:lnTo>
                    <a:pt x="1140" y="1065"/>
                  </a:lnTo>
                  <a:lnTo>
                    <a:pt x="1146" y="1062"/>
                  </a:lnTo>
                  <a:lnTo>
                    <a:pt x="1149" y="1060"/>
                  </a:lnTo>
                  <a:lnTo>
                    <a:pt x="1152" y="1058"/>
                  </a:lnTo>
                  <a:lnTo>
                    <a:pt x="1157" y="1054"/>
                  </a:lnTo>
                  <a:lnTo>
                    <a:pt x="1162" y="1049"/>
                  </a:lnTo>
                  <a:lnTo>
                    <a:pt x="1166" y="1043"/>
                  </a:lnTo>
                  <a:lnTo>
                    <a:pt x="1170" y="1037"/>
                  </a:lnTo>
                  <a:lnTo>
                    <a:pt x="1173" y="1030"/>
                  </a:lnTo>
                  <a:lnTo>
                    <a:pt x="1176" y="1022"/>
                  </a:lnTo>
                  <a:lnTo>
                    <a:pt x="1178" y="1014"/>
                  </a:lnTo>
                  <a:lnTo>
                    <a:pt x="1180" y="1005"/>
                  </a:lnTo>
                  <a:lnTo>
                    <a:pt x="1180" y="996"/>
                  </a:lnTo>
                  <a:lnTo>
                    <a:pt x="1181" y="986"/>
                  </a:lnTo>
                  <a:lnTo>
                    <a:pt x="1181" y="746"/>
                  </a:lnTo>
                  <a:lnTo>
                    <a:pt x="1181" y="744"/>
                  </a:lnTo>
                  <a:lnTo>
                    <a:pt x="1182" y="742"/>
                  </a:lnTo>
                  <a:lnTo>
                    <a:pt x="1184" y="739"/>
                  </a:lnTo>
                  <a:lnTo>
                    <a:pt x="1185" y="738"/>
                  </a:lnTo>
                  <a:lnTo>
                    <a:pt x="1187" y="737"/>
                  </a:lnTo>
                  <a:lnTo>
                    <a:pt x="1191" y="736"/>
                  </a:lnTo>
                  <a:lnTo>
                    <a:pt x="1273" y="736"/>
                  </a:lnTo>
                  <a:lnTo>
                    <a:pt x="1277" y="737"/>
                  </a:lnTo>
                  <a:lnTo>
                    <a:pt x="1280" y="739"/>
                  </a:lnTo>
                  <a:lnTo>
                    <a:pt x="1281" y="740"/>
                  </a:lnTo>
                  <a:lnTo>
                    <a:pt x="1282" y="742"/>
                  </a:lnTo>
                  <a:lnTo>
                    <a:pt x="1283" y="744"/>
                  </a:lnTo>
                  <a:lnTo>
                    <a:pt x="1283" y="746"/>
                  </a:lnTo>
                  <a:lnTo>
                    <a:pt x="1283" y="991"/>
                  </a:lnTo>
                  <a:lnTo>
                    <a:pt x="1283" y="1002"/>
                  </a:lnTo>
                  <a:lnTo>
                    <a:pt x="1283" y="1007"/>
                  </a:lnTo>
                  <a:lnTo>
                    <a:pt x="1282" y="1013"/>
                  </a:lnTo>
                  <a:lnTo>
                    <a:pt x="1281" y="1023"/>
                  </a:lnTo>
                  <a:lnTo>
                    <a:pt x="1280" y="1033"/>
                  </a:lnTo>
                  <a:lnTo>
                    <a:pt x="1278" y="1042"/>
                  </a:lnTo>
                  <a:lnTo>
                    <a:pt x="1275" y="1051"/>
                  </a:lnTo>
                  <a:lnTo>
                    <a:pt x="1273" y="1060"/>
                  </a:lnTo>
                  <a:lnTo>
                    <a:pt x="1270" y="1068"/>
                  </a:lnTo>
                  <a:lnTo>
                    <a:pt x="1266" y="1076"/>
                  </a:lnTo>
                  <a:lnTo>
                    <a:pt x="1262" y="1084"/>
                  </a:lnTo>
                  <a:lnTo>
                    <a:pt x="1254" y="1098"/>
                  </a:lnTo>
                  <a:lnTo>
                    <a:pt x="1249" y="1104"/>
                  </a:lnTo>
                  <a:lnTo>
                    <a:pt x="1244" y="1110"/>
                  </a:lnTo>
                  <a:lnTo>
                    <a:pt x="1239" y="1116"/>
                  </a:lnTo>
                  <a:lnTo>
                    <a:pt x="1233" y="1121"/>
                  </a:lnTo>
                  <a:lnTo>
                    <a:pt x="1227" y="1126"/>
                  </a:lnTo>
                  <a:lnTo>
                    <a:pt x="1221" y="1131"/>
                  </a:lnTo>
                  <a:lnTo>
                    <a:pt x="1214" y="1135"/>
                  </a:lnTo>
                  <a:lnTo>
                    <a:pt x="1207" y="1139"/>
                  </a:lnTo>
                  <a:lnTo>
                    <a:pt x="1200" y="1143"/>
                  </a:lnTo>
                  <a:lnTo>
                    <a:pt x="1193" y="1146"/>
                  </a:lnTo>
                  <a:lnTo>
                    <a:pt x="1178" y="1152"/>
                  </a:lnTo>
                  <a:lnTo>
                    <a:pt x="1170" y="1154"/>
                  </a:lnTo>
                  <a:lnTo>
                    <a:pt x="1162" y="1156"/>
                  </a:lnTo>
                  <a:lnTo>
                    <a:pt x="1154" y="1158"/>
                  </a:lnTo>
                  <a:lnTo>
                    <a:pt x="1145" y="1159"/>
                  </a:lnTo>
                  <a:lnTo>
                    <a:pt x="1137" y="1160"/>
                  </a:lnTo>
                  <a:lnTo>
                    <a:pt x="1128" y="1161"/>
                  </a:lnTo>
                  <a:lnTo>
                    <a:pt x="1119" y="1162"/>
                  </a:lnTo>
                  <a:lnTo>
                    <a:pt x="1110" y="1162"/>
                  </a:lnTo>
                  <a:lnTo>
                    <a:pt x="1092" y="1161"/>
                  </a:lnTo>
                  <a:lnTo>
                    <a:pt x="1075" y="1159"/>
                  </a:lnTo>
                  <a:lnTo>
                    <a:pt x="1066" y="1158"/>
                  </a:lnTo>
                  <a:lnTo>
                    <a:pt x="1058" y="1156"/>
                  </a:lnTo>
                  <a:lnTo>
                    <a:pt x="1042" y="1152"/>
                  </a:lnTo>
                  <a:lnTo>
                    <a:pt x="1035" y="1149"/>
                  </a:lnTo>
                  <a:lnTo>
                    <a:pt x="1027" y="1146"/>
                  </a:lnTo>
                  <a:lnTo>
                    <a:pt x="1020" y="1143"/>
                  </a:lnTo>
                  <a:lnTo>
                    <a:pt x="1013" y="1139"/>
                  </a:lnTo>
                  <a:lnTo>
                    <a:pt x="1006" y="1135"/>
                  </a:lnTo>
                  <a:lnTo>
                    <a:pt x="1000" y="1131"/>
                  </a:lnTo>
                  <a:lnTo>
                    <a:pt x="993" y="1126"/>
                  </a:lnTo>
                  <a:lnTo>
                    <a:pt x="987" y="1121"/>
                  </a:lnTo>
                  <a:lnTo>
                    <a:pt x="982" y="1116"/>
                  </a:lnTo>
                  <a:lnTo>
                    <a:pt x="976" y="1110"/>
                  </a:lnTo>
                  <a:lnTo>
                    <a:pt x="966" y="1098"/>
                  </a:lnTo>
                  <a:lnTo>
                    <a:pt x="962" y="1091"/>
                  </a:lnTo>
                  <a:lnTo>
                    <a:pt x="958" y="1084"/>
                  </a:lnTo>
                  <a:lnTo>
                    <a:pt x="954" y="1076"/>
                  </a:lnTo>
                  <a:lnTo>
                    <a:pt x="951" y="1068"/>
                  </a:lnTo>
                  <a:lnTo>
                    <a:pt x="948" y="1060"/>
                  </a:lnTo>
                  <a:lnTo>
                    <a:pt x="945" y="1051"/>
                  </a:lnTo>
                  <a:lnTo>
                    <a:pt x="943" y="1042"/>
                  </a:lnTo>
                  <a:lnTo>
                    <a:pt x="941" y="1033"/>
                  </a:lnTo>
                  <a:lnTo>
                    <a:pt x="939" y="1023"/>
                  </a:lnTo>
                  <a:lnTo>
                    <a:pt x="938" y="1013"/>
                  </a:lnTo>
                  <a:lnTo>
                    <a:pt x="937" y="1002"/>
                  </a:lnTo>
                  <a:lnTo>
                    <a:pt x="937" y="991"/>
                  </a:lnTo>
                  <a:close/>
                  <a:moveTo>
                    <a:pt x="1479" y="824"/>
                  </a:moveTo>
                  <a:lnTo>
                    <a:pt x="1479" y="934"/>
                  </a:lnTo>
                  <a:lnTo>
                    <a:pt x="1514" y="934"/>
                  </a:lnTo>
                  <a:lnTo>
                    <a:pt x="1520" y="933"/>
                  </a:lnTo>
                  <a:lnTo>
                    <a:pt x="1526" y="933"/>
                  </a:lnTo>
                  <a:lnTo>
                    <a:pt x="1532" y="932"/>
                  </a:lnTo>
                  <a:lnTo>
                    <a:pt x="1538" y="930"/>
                  </a:lnTo>
                  <a:lnTo>
                    <a:pt x="1543" y="928"/>
                  </a:lnTo>
                  <a:lnTo>
                    <a:pt x="1547" y="926"/>
                  </a:lnTo>
                  <a:lnTo>
                    <a:pt x="1551" y="923"/>
                  </a:lnTo>
                  <a:lnTo>
                    <a:pt x="1555" y="919"/>
                  </a:lnTo>
                  <a:lnTo>
                    <a:pt x="1559" y="916"/>
                  </a:lnTo>
                  <a:lnTo>
                    <a:pt x="1562" y="912"/>
                  </a:lnTo>
                  <a:lnTo>
                    <a:pt x="1564" y="907"/>
                  </a:lnTo>
                  <a:lnTo>
                    <a:pt x="1566" y="902"/>
                  </a:lnTo>
                  <a:lnTo>
                    <a:pt x="1568" y="897"/>
                  </a:lnTo>
                  <a:lnTo>
                    <a:pt x="1569" y="891"/>
                  </a:lnTo>
                  <a:lnTo>
                    <a:pt x="1570" y="885"/>
                  </a:lnTo>
                  <a:lnTo>
                    <a:pt x="1570" y="879"/>
                  </a:lnTo>
                  <a:lnTo>
                    <a:pt x="1570" y="872"/>
                  </a:lnTo>
                  <a:lnTo>
                    <a:pt x="1569" y="866"/>
                  </a:lnTo>
                  <a:lnTo>
                    <a:pt x="1568" y="861"/>
                  </a:lnTo>
                  <a:lnTo>
                    <a:pt x="1566" y="855"/>
                  </a:lnTo>
                  <a:lnTo>
                    <a:pt x="1564" y="850"/>
                  </a:lnTo>
                  <a:lnTo>
                    <a:pt x="1562" y="846"/>
                  </a:lnTo>
                  <a:lnTo>
                    <a:pt x="1559" y="842"/>
                  </a:lnTo>
                  <a:lnTo>
                    <a:pt x="1555" y="838"/>
                  </a:lnTo>
                  <a:lnTo>
                    <a:pt x="1551" y="835"/>
                  </a:lnTo>
                  <a:lnTo>
                    <a:pt x="1547" y="832"/>
                  </a:lnTo>
                  <a:lnTo>
                    <a:pt x="1543" y="829"/>
                  </a:lnTo>
                  <a:lnTo>
                    <a:pt x="1538" y="827"/>
                  </a:lnTo>
                  <a:lnTo>
                    <a:pt x="1535" y="826"/>
                  </a:lnTo>
                  <a:lnTo>
                    <a:pt x="1532" y="826"/>
                  </a:lnTo>
                  <a:lnTo>
                    <a:pt x="1526" y="825"/>
                  </a:lnTo>
                  <a:lnTo>
                    <a:pt x="1520" y="824"/>
                  </a:lnTo>
                  <a:lnTo>
                    <a:pt x="1514" y="824"/>
                  </a:lnTo>
                  <a:lnTo>
                    <a:pt x="1479" y="824"/>
                  </a:lnTo>
                  <a:close/>
                  <a:moveTo>
                    <a:pt x="1514" y="736"/>
                  </a:moveTo>
                  <a:lnTo>
                    <a:pt x="1532" y="737"/>
                  </a:lnTo>
                  <a:lnTo>
                    <a:pt x="1549" y="738"/>
                  </a:lnTo>
                  <a:lnTo>
                    <a:pt x="1557" y="740"/>
                  </a:lnTo>
                  <a:lnTo>
                    <a:pt x="1565" y="741"/>
                  </a:lnTo>
                  <a:lnTo>
                    <a:pt x="1580" y="745"/>
                  </a:lnTo>
                  <a:lnTo>
                    <a:pt x="1588" y="748"/>
                  </a:lnTo>
                  <a:lnTo>
                    <a:pt x="1595" y="750"/>
                  </a:lnTo>
                  <a:lnTo>
                    <a:pt x="1608" y="757"/>
                  </a:lnTo>
                  <a:lnTo>
                    <a:pt x="1620" y="764"/>
                  </a:lnTo>
                  <a:lnTo>
                    <a:pt x="1626" y="768"/>
                  </a:lnTo>
                  <a:lnTo>
                    <a:pt x="1631" y="773"/>
                  </a:lnTo>
                  <a:lnTo>
                    <a:pt x="1637" y="777"/>
                  </a:lnTo>
                  <a:lnTo>
                    <a:pt x="1641" y="782"/>
                  </a:lnTo>
                  <a:lnTo>
                    <a:pt x="1646" y="787"/>
                  </a:lnTo>
                  <a:lnTo>
                    <a:pt x="1650" y="793"/>
                  </a:lnTo>
                  <a:lnTo>
                    <a:pt x="1654" y="798"/>
                  </a:lnTo>
                  <a:lnTo>
                    <a:pt x="1658" y="804"/>
                  </a:lnTo>
                  <a:lnTo>
                    <a:pt x="1661" y="811"/>
                  </a:lnTo>
                  <a:lnTo>
                    <a:pt x="1664" y="817"/>
                  </a:lnTo>
                  <a:lnTo>
                    <a:pt x="1667" y="824"/>
                  </a:lnTo>
                  <a:lnTo>
                    <a:pt x="1669" y="831"/>
                  </a:lnTo>
                  <a:lnTo>
                    <a:pt x="1671" y="838"/>
                  </a:lnTo>
                  <a:lnTo>
                    <a:pt x="1673" y="846"/>
                  </a:lnTo>
                  <a:lnTo>
                    <a:pt x="1674" y="854"/>
                  </a:lnTo>
                  <a:lnTo>
                    <a:pt x="1675" y="862"/>
                  </a:lnTo>
                  <a:lnTo>
                    <a:pt x="1676" y="870"/>
                  </a:lnTo>
                  <a:lnTo>
                    <a:pt x="1676" y="879"/>
                  </a:lnTo>
                  <a:lnTo>
                    <a:pt x="1676" y="887"/>
                  </a:lnTo>
                  <a:lnTo>
                    <a:pt x="1675" y="896"/>
                  </a:lnTo>
                  <a:lnTo>
                    <a:pt x="1674" y="904"/>
                  </a:lnTo>
                  <a:lnTo>
                    <a:pt x="1673" y="911"/>
                  </a:lnTo>
                  <a:lnTo>
                    <a:pt x="1669" y="926"/>
                  </a:lnTo>
                  <a:lnTo>
                    <a:pt x="1667" y="933"/>
                  </a:lnTo>
                  <a:lnTo>
                    <a:pt x="1664" y="940"/>
                  </a:lnTo>
                  <a:lnTo>
                    <a:pt x="1658" y="953"/>
                  </a:lnTo>
                  <a:lnTo>
                    <a:pt x="1654" y="959"/>
                  </a:lnTo>
                  <a:lnTo>
                    <a:pt x="1650" y="965"/>
                  </a:lnTo>
                  <a:lnTo>
                    <a:pt x="1642" y="975"/>
                  </a:lnTo>
                  <a:lnTo>
                    <a:pt x="1632" y="985"/>
                  </a:lnTo>
                  <a:lnTo>
                    <a:pt x="1626" y="989"/>
                  </a:lnTo>
                  <a:lnTo>
                    <a:pt x="1620" y="993"/>
                  </a:lnTo>
                  <a:lnTo>
                    <a:pt x="1614" y="997"/>
                  </a:lnTo>
                  <a:lnTo>
                    <a:pt x="1608" y="1001"/>
                  </a:lnTo>
                  <a:lnTo>
                    <a:pt x="1595" y="1007"/>
                  </a:lnTo>
                  <a:lnTo>
                    <a:pt x="1588" y="1009"/>
                  </a:lnTo>
                  <a:lnTo>
                    <a:pt x="1580" y="1012"/>
                  </a:lnTo>
                  <a:lnTo>
                    <a:pt x="1565" y="1016"/>
                  </a:lnTo>
                  <a:lnTo>
                    <a:pt x="1557" y="1018"/>
                  </a:lnTo>
                  <a:lnTo>
                    <a:pt x="1549" y="1019"/>
                  </a:lnTo>
                  <a:lnTo>
                    <a:pt x="1532" y="1021"/>
                  </a:lnTo>
                  <a:lnTo>
                    <a:pt x="1523" y="1021"/>
                  </a:lnTo>
                  <a:lnTo>
                    <a:pt x="1514" y="1021"/>
                  </a:lnTo>
                  <a:lnTo>
                    <a:pt x="1479" y="1021"/>
                  </a:lnTo>
                  <a:lnTo>
                    <a:pt x="1479" y="1145"/>
                  </a:lnTo>
                  <a:lnTo>
                    <a:pt x="1479" y="1147"/>
                  </a:lnTo>
                  <a:lnTo>
                    <a:pt x="1479" y="1149"/>
                  </a:lnTo>
                  <a:lnTo>
                    <a:pt x="1477" y="1152"/>
                  </a:lnTo>
                  <a:lnTo>
                    <a:pt x="1475" y="1153"/>
                  </a:lnTo>
                  <a:lnTo>
                    <a:pt x="1473" y="1154"/>
                  </a:lnTo>
                  <a:lnTo>
                    <a:pt x="1469" y="1155"/>
                  </a:lnTo>
                  <a:lnTo>
                    <a:pt x="1387" y="1155"/>
                  </a:lnTo>
                  <a:lnTo>
                    <a:pt x="1383" y="1154"/>
                  </a:lnTo>
                  <a:lnTo>
                    <a:pt x="1380" y="1152"/>
                  </a:lnTo>
                  <a:lnTo>
                    <a:pt x="1379" y="1150"/>
                  </a:lnTo>
                  <a:lnTo>
                    <a:pt x="1378" y="1149"/>
                  </a:lnTo>
                  <a:lnTo>
                    <a:pt x="1377" y="1147"/>
                  </a:lnTo>
                  <a:lnTo>
                    <a:pt x="1377" y="1145"/>
                  </a:lnTo>
                  <a:lnTo>
                    <a:pt x="1377" y="746"/>
                  </a:lnTo>
                  <a:lnTo>
                    <a:pt x="1377" y="744"/>
                  </a:lnTo>
                  <a:lnTo>
                    <a:pt x="1378" y="742"/>
                  </a:lnTo>
                  <a:lnTo>
                    <a:pt x="1380" y="739"/>
                  </a:lnTo>
                  <a:lnTo>
                    <a:pt x="1381" y="738"/>
                  </a:lnTo>
                  <a:lnTo>
                    <a:pt x="1383" y="737"/>
                  </a:lnTo>
                  <a:lnTo>
                    <a:pt x="1387" y="736"/>
                  </a:lnTo>
                  <a:lnTo>
                    <a:pt x="1514" y="736"/>
                  </a:lnTo>
                  <a:close/>
                  <a:moveTo>
                    <a:pt x="2767" y="1006"/>
                  </a:moveTo>
                  <a:lnTo>
                    <a:pt x="2866" y="1006"/>
                  </a:lnTo>
                  <a:lnTo>
                    <a:pt x="2817" y="875"/>
                  </a:lnTo>
                  <a:lnTo>
                    <a:pt x="2767" y="1006"/>
                  </a:lnTo>
                  <a:close/>
                  <a:moveTo>
                    <a:pt x="2897" y="1088"/>
                  </a:moveTo>
                  <a:lnTo>
                    <a:pt x="2737" y="1088"/>
                  </a:lnTo>
                  <a:lnTo>
                    <a:pt x="2715" y="1145"/>
                  </a:lnTo>
                  <a:lnTo>
                    <a:pt x="2714" y="1148"/>
                  </a:lnTo>
                  <a:lnTo>
                    <a:pt x="2713" y="1150"/>
                  </a:lnTo>
                  <a:lnTo>
                    <a:pt x="2711" y="1151"/>
                  </a:lnTo>
                  <a:lnTo>
                    <a:pt x="2710" y="1153"/>
                  </a:lnTo>
                  <a:lnTo>
                    <a:pt x="2706" y="1154"/>
                  </a:lnTo>
                  <a:lnTo>
                    <a:pt x="2701" y="1155"/>
                  </a:lnTo>
                  <a:lnTo>
                    <a:pt x="2623" y="1155"/>
                  </a:lnTo>
                  <a:lnTo>
                    <a:pt x="2620" y="1155"/>
                  </a:lnTo>
                  <a:lnTo>
                    <a:pt x="2618" y="1154"/>
                  </a:lnTo>
                  <a:lnTo>
                    <a:pt x="2616" y="1153"/>
                  </a:lnTo>
                  <a:lnTo>
                    <a:pt x="2614" y="1151"/>
                  </a:lnTo>
                  <a:lnTo>
                    <a:pt x="2613" y="1149"/>
                  </a:lnTo>
                  <a:lnTo>
                    <a:pt x="2613" y="1147"/>
                  </a:lnTo>
                  <a:lnTo>
                    <a:pt x="2613" y="1144"/>
                  </a:lnTo>
                  <a:lnTo>
                    <a:pt x="2614" y="1141"/>
                  </a:lnTo>
                  <a:lnTo>
                    <a:pt x="2769" y="746"/>
                  </a:lnTo>
                  <a:lnTo>
                    <a:pt x="2770" y="743"/>
                  </a:lnTo>
                  <a:lnTo>
                    <a:pt x="2772" y="741"/>
                  </a:lnTo>
                  <a:lnTo>
                    <a:pt x="2775" y="738"/>
                  </a:lnTo>
                  <a:lnTo>
                    <a:pt x="2779" y="737"/>
                  </a:lnTo>
                  <a:lnTo>
                    <a:pt x="2781" y="736"/>
                  </a:lnTo>
                  <a:lnTo>
                    <a:pt x="2783" y="736"/>
                  </a:lnTo>
                  <a:lnTo>
                    <a:pt x="2853" y="736"/>
                  </a:lnTo>
                  <a:lnTo>
                    <a:pt x="2858" y="737"/>
                  </a:lnTo>
                  <a:lnTo>
                    <a:pt x="2861" y="738"/>
                  </a:lnTo>
                  <a:lnTo>
                    <a:pt x="2864" y="741"/>
                  </a:lnTo>
                  <a:lnTo>
                    <a:pt x="2865" y="743"/>
                  </a:lnTo>
                  <a:lnTo>
                    <a:pt x="2866" y="746"/>
                  </a:lnTo>
                  <a:lnTo>
                    <a:pt x="3022" y="1141"/>
                  </a:lnTo>
                  <a:lnTo>
                    <a:pt x="3023" y="1144"/>
                  </a:lnTo>
                  <a:lnTo>
                    <a:pt x="3023" y="1147"/>
                  </a:lnTo>
                  <a:lnTo>
                    <a:pt x="3023" y="1149"/>
                  </a:lnTo>
                  <a:lnTo>
                    <a:pt x="3021" y="1151"/>
                  </a:lnTo>
                  <a:lnTo>
                    <a:pt x="3020" y="1153"/>
                  </a:lnTo>
                  <a:lnTo>
                    <a:pt x="3018" y="1154"/>
                  </a:lnTo>
                  <a:lnTo>
                    <a:pt x="3016" y="1155"/>
                  </a:lnTo>
                  <a:lnTo>
                    <a:pt x="3013" y="1155"/>
                  </a:lnTo>
                  <a:lnTo>
                    <a:pt x="2933" y="1155"/>
                  </a:lnTo>
                  <a:lnTo>
                    <a:pt x="2928" y="1154"/>
                  </a:lnTo>
                  <a:lnTo>
                    <a:pt x="2926" y="1154"/>
                  </a:lnTo>
                  <a:lnTo>
                    <a:pt x="2925" y="1153"/>
                  </a:lnTo>
                  <a:lnTo>
                    <a:pt x="2923" y="1151"/>
                  </a:lnTo>
                  <a:lnTo>
                    <a:pt x="2921" y="1150"/>
                  </a:lnTo>
                  <a:lnTo>
                    <a:pt x="2920" y="1148"/>
                  </a:lnTo>
                  <a:lnTo>
                    <a:pt x="2919" y="1145"/>
                  </a:lnTo>
                  <a:lnTo>
                    <a:pt x="2897" y="1088"/>
                  </a:lnTo>
                  <a:close/>
                  <a:moveTo>
                    <a:pt x="696" y="2625"/>
                  </a:moveTo>
                  <a:lnTo>
                    <a:pt x="614" y="2625"/>
                  </a:lnTo>
                  <a:lnTo>
                    <a:pt x="610" y="2624"/>
                  </a:lnTo>
                  <a:lnTo>
                    <a:pt x="607" y="2622"/>
                  </a:lnTo>
                  <a:lnTo>
                    <a:pt x="605" y="2621"/>
                  </a:lnTo>
                  <a:lnTo>
                    <a:pt x="605" y="2619"/>
                  </a:lnTo>
                  <a:lnTo>
                    <a:pt x="604" y="2617"/>
                  </a:lnTo>
                  <a:lnTo>
                    <a:pt x="604" y="2615"/>
                  </a:lnTo>
                  <a:lnTo>
                    <a:pt x="604" y="2217"/>
                  </a:lnTo>
                  <a:lnTo>
                    <a:pt x="604" y="2214"/>
                  </a:lnTo>
                  <a:lnTo>
                    <a:pt x="605" y="2212"/>
                  </a:lnTo>
                  <a:lnTo>
                    <a:pt x="607" y="2209"/>
                  </a:lnTo>
                  <a:lnTo>
                    <a:pt x="608" y="2208"/>
                  </a:lnTo>
                  <a:lnTo>
                    <a:pt x="610" y="2207"/>
                  </a:lnTo>
                  <a:lnTo>
                    <a:pt x="614" y="2207"/>
                  </a:lnTo>
                  <a:lnTo>
                    <a:pt x="696" y="2207"/>
                  </a:lnTo>
                  <a:lnTo>
                    <a:pt x="700" y="2207"/>
                  </a:lnTo>
                  <a:lnTo>
                    <a:pt x="703" y="2209"/>
                  </a:lnTo>
                  <a:lnTo>
                    <a:pt x="704" y="2211"/>
                  </a:lnTo>
                  <a:lnTo>
                    <a:pt x="705" y="2212"/>
                  </a:lnTo>
                  <a:lnTo>
                    <a:pt x="706" y="2214"/>
                  </a:lnTo>
                  <a:lnTo>
                    <a:pt x="706" y="2217"/>
                  </a:lnTo>
                  <a:lnTo>
                    <a:pt x="706" y="2392"/>
                  </a:lnTo>
                  <a:lnTo>
                    <a:pt x="850" y="2216"/>
                  </a:lnTo>
                  <a:lnTo>
                    <a:pt x="854" y="2212"/>
                  </a:lnTo>
                  <a:lnTo>
                    <a:pt x="856" y="2210"/>
                  </a:lnTo>
                  <a:lnTo>
                    <a:pt x="858" y="2209"/>
                  </a:lnTo>
                  <a:lnTo>
                    <a:pt x="860" y="2208"/>
                  </a:lnTo>
                  <a:lnTo>
                    <a:pt x="863" y="2207"/>
                  </a:lnTo>
                  <a:lnTo>
                    <a:pt x="865" y="2207"/>
                  </a:lnTo>
                  <a:lnTo>
                    <a:pt x="868" y="2207"/>
                  </a:lnTo>
                  <a:lnTo>
                    <a:pt x="964" y="2207"/>
                  </a:lnTo>
                  <a:lnTo>
                    <a:pt x="967" y="2207"/>
                  </a:lnTo>
                  <a:lnTo>
                    <a:pt x="969" y="2208"/>
                  </a:lnTo>
                  <a:lnTo>
                    <a:pt x="971" y="2210"/>
                  </a:lnTo>
                  <a:lnTo>
                    <a:pt x="972" y="2212"/>
                  </a:lnTo>
                  <a:lnTo>
                    <a:pt x="972" y="2214"/>
                  </a:lnTo>
                  <a:lnTo>
                    <a:pt x="972" y="2216"/>
                  </a:lnTo>
                  <a:lnTo>
                    <a:pt x="971" y="2219"/>
                  </a:lnTo>
                  <a:lnTo>
                    <a:pt x="970" y="2221"/>
                  </a:lnTo>
                  <a:lnTo>
                    <a:pt x="838" y="2382"/>
                  </a:lnTo>
                  <a:lnTo>
                    <a:pt x="974" y="2612"/>
                  </a:lnTo>
                  <a:lnTo>
                    <a:pt x="975" y="2614"/>
                  </a:lnTo>
                  <a:lnTo>
                    <a:pt x="975" y="2617"/>
                  </a:lnTo>
                  <a:lnTo>
                    <a:pt x="975" y="2619"/>
                  </a:lnTo>
                  <a:lnTo>
                    <a:pt x="975" y="2621"/>
                  </a:lnTo>
                  <a:lnTo>
                    <a:pt x="974" y="2623"/>
                  </a:lnTo>
                  <a:lnTo>
                    <a:pt x="972" y="2624"/>
                  </a:lnTo>
                  <a:lnTo>
                    <a:pt x="970" y="2625"/>
                  </a:lnTo>
                  <a:lnTo>
                    <a:pt x="967" y="2625"/>
                  </a:lnTo>
                  <a:lnTo>
                    <a:pt x="871" y="2625"/>
                  </a:lnTo>
                  <a:lnTo>
                    <a:pt x="867" y="2625"/>
                  </a:lnTo>
                  <a:lnTo>
                    <a:pt x="862" y="2623"/>
                  </a:lnTo>
                  <a:lnTo>
                    <a:pt x="861" y="2622"/>
                  </a:lnTo>
                  <a:lnTo>
                    <a:pt x="859" y="2620"/>
                  </a:lnTo>
                  <a:lnTo>
                    <a:pt x="856" y="2616"/>
                  </a:lnTo>
                  <a:lnTo>
                    <a:pt x="759" y="2450"/>
                  </a:lnTo>
                  <a:lnTo>
                    <a:pt x="706" y="2514"/>
                  </a:lnTo>
                  <a:lnTo>
                    <a:pt x="706" y="2615"/>
                  </a:lnTo>
                  <a:lnTo>
                    <a:pt x="706" y="2617"/>
                  </a:lnTo>
                  <a:lnTo>
                    <a:pt x="705" y="2619"/>
                  </a:lnTo>
                  <a:lnTo>
                    <a:pt x="703" y="2622"/>
                  </a:lnTo>
                  <a:lnTo>
                    <a:pt x="702" y="2624"/>
                  </a:lnTo>
                  <a:lnTo>
                    <a:pt x="700" y="2624"/>
                  </a:lnTo>
                  <a:lnTo>
                    <a:pt x="696" y="2625"/>
                  </a:lnTo>
                  <a:close/>
                  <a:moveTo>
                    <a:pt x="1288" y="2177"/>
                  </a:moveTo>
                  <a:lnTo>
                    <a:pt x="1283" y="2177"/>
                  </a:lnTo>
                  <a:lnTo>
                    <a:pt x="1278" y="2176"/>
                  </a:lnTo>
                  <a:lnTo>
                    <a:pt x="1273" y="2175"/>
                  </a:lnTo>
                  <a:lnTo>
                    <a:pt x="1268" y="2173"/>
                  </a:lnTo>
                  <a:lnTo>
                    <a:pt x="1260" y="2169"/>
                  </a:lnTo>
                  <a:lnTo>
                    <a:pt x="1256" y="2166"/>
                  </a:lnTo>
                  <a:lnTo>
                    <a:pt x="1253" y="2163"/>
                  </a:lnTo>
                  <a:lnTo>
                    <a:pt x="1249" y="2160"/>
                  </a:lnTo>
                  <a:lnTo>
                    <a:pt x="1247" y="2156"/>
                  </a:lnTo>
                  <a:lnTo>
                    <a:pt x="1244" y="2152"/>
                  </a:lnTo>
                  <a:lnTo>
                    <a:pt x="1242" y="2148"/>
                  </a:lnTo>
                  <a:lnTo>
                    <a:pt x="1241" y="2143"/>
                  </a:lnTo>
                  <a:lnTo>
                    <a:pt x="1240" y="2138"/>
                  </a:lnTo>
                  <a:lnTo>
                    <a:pt x="1239" y="2133"/>
                  </a:lnTo>
                  <a:lnTo>
                    <a:pt x="1239" y="2128"/>
                  </a:lnTo>
                  <a:lnTo>
                    <a:pt x="1239" y="2123"/>
                  </a:lnTo>
                  <a:lnTo>
                    <a:pt x="1240" y="2118"/>
                  </a:lnTo>
                  <a:lnTo>
                    <a:pt x="1241" y="2113"/>
                  </a:lnTo>
                  <a:lnTo>
                    <a:pt x="1242" y="2108"/>
                  </a:lnTo>
                  <a:lnTo>
                    <a:pt x="1244" y="2104"/>
                  </a:lnTo>
                  <a:lnTo>
                    <a:pt x="1247" y="2100"/>
                  </a:lnTo>
                  <a:lnTo>
                    <a:pt x="1249" y="2096"/>
                  </a:lnTo>
                  <a:lnTo>
                    <a:pt x="1253" y="2093"/>
                  </a:lnTo>
                  <a:lnTo>
                    <a:pt x="1256" y="2090"/>
                  </a:lnTo>
                  <a:lnTo>
                    <a:pt x="1260" y="2087"/>
                  </a:lnTo>
                  <a:lnTo>
                    <a:pt x="1264" y="2084"/>
                  </a:lnTo>
                  <a:lnTo>
                    <a:pt x="1268" y="2082"/>
                  </a:lnTo>
                  <a:lnTo>
                    <a:pt x="1273" y="2081"/>
                  </a:lnTo>
                  <a:lnTo>
                    <a:pt x="1278" y="2080"/>
                  </a:lnTo>
                  <a:lnTo>
                    <a:pt x="1283" y="2079"/>
                  </a:lnTo>
                  <a:lnTo>
                    <a:pt x="1288" y="2079"/>
                  </a:lnTo>
                  <a:lnTo>
                    <a:pt x="1294" y="2079"/>
                  </a:lnTo>
                  <a:lnTo>
                    <a:pt x="1299" y="2080"/>
                  </a:lnTo>
                  <a:lnTo>
                    <a:pt x="1304" y="2081"/>
                  </a:lnTo>
                  <a:lnTo>
                    <a:pt x="1308" y="2082"/>
                  </a:lnTo>
                  <a:lnTo>
                    <a:pt x="1317" y="2087"/>
                  </a:lnTo>
                  <a:lnTo>
                    <a:pt x="1320" y="2090"/>
                  </a:lnTo>
                  <a:lnTo>
                    <a:pt x="1324" y="2093"/>
                  </a:lnTo>
                  <a:lnTo>
                    <a:pt x="1327" y="2096"/>
                  </a:lnTo>
                  <a:lnTo>
                    <a:pt x="1330" y="2100"/>
                  </a:lnTo>
                  <a:lnTo>
                    <a:pt x="1332" y="2104"/>
                  </a:lnTo>
                  <a:lnTo>
                    <a:pt x="1334" y="2108"/>
                  </a:lnTo>
                  <a:lnTo>
                    <a:pt x="1336" y="2113"/>
                  </a:lnTo>
                  <a:lnTo>
                    <a:pt x="1337" y="2118"/>
                  </a:lnTo>
                  <a:lnTo>
                    <a:pt x="1338" y="2123"/>
                  </a:lnTo>
                  <a:lnTo>
                    <a:pt x="1338" y="2128"/>
                  </a:lnTo>
                  <a:lnTo>
                    <a:pt x="1338" y="2133"/>
                  </a:lnTo>
                  <a:lnTo>
                    <a:pt x="1337" y="2138"/>
                  </a:lnTo>
                  <a:lnTo>
                    <a:pt x="1336" y="2143"/>
                  </a:lnTo>
                  <a:lnTo>
                    <a:pt x="1334" y="2148"/>
                  </a:lnTo>
                  <a:lnTo>
                    <a:pt x="1332" y="2152"/>
                  </a:lnTo>
                  <a:lnTo>
                    <a:pt x="1330" y="2156"/>
                  </a:lnTo>
                  <a:lnTo>
                    <a:pt x="1327" y="2160"/>
                  </a:lnTo>
                  <a:lnTo>
                    <a:pt x="1324" y="2163"/>
                  </a:lnTo>
                  <a:lnTo>
                    <a:pt x="1320" y="2166"/>
                  </a:lnTo>
                  <a:lnTo>
                    <a:pt x="1317" y="2169"/>
                  </a:lnTo>
                  <a:lnTo>
                    <a:pt x="1313" y="2171"/>
                  </a:lnTo>
                  <a:lnTo>
                    <a:pt x="1308" y="2173"/>
                  </a:lnTo>
                  <a:lnTo>
                    <a:pt x="1304" y="2175"/>
                  </a:lnTo>
                  <a:lnTo>
                    <a:pt x="1299" y="2176"/>
                  </a:lnTo>
                  <a:lnTo>
                    <a:pt x="1294" y="2177"/>
                  </a:lnTo>
                  <a:lnTo>
                    <a:pt x="1288" y="2177"/>
                  </a:lnTo>
                  <a:close/>
                  <a:moveTo>
                    <a:pt x="1173" y="2477"/>
                  </a:moveTo>
                  <a:lnTo>
                    <a:pt x="1272" y="2477"/>
                  </a:lnTo>
                  <a:lnTo>
                    <a:pt x="1223" y="2345"/>
                  </a:lnTo>
                  <a:lnTo>
                    <a:pt x="1173" y="2477"/>
                  </a:lnTo>
                  <a:close/>
                  <a:moveTo>
                    <a:pt x="1303" y="2558"/>
                  </a:moveTo>
                  <a:lnTo>
                    <a:pt x="1143" y="2558"/>
                  </a:lnTo>
                  <a:lnTo>
                    <a:pt x="1121" y="2616"/>
                  </a:lnTo>
                  <a:lnTo>
                    <a:pt x="1120" y="2618"/>
                  </a:lnTo>
                  <a:lnTo>
                    <a:pt x="1119" y="2620"/>
                  </a:lnTo>
                  <a:lnTo>
                    <a:pt x="1117" y="2622"/>
                  </a:lnTo>
                  <a:lnTo>
                    <a:pt x="1115" y="2623"/>
                  </a:lnTo>
                  <a:lnTo>
                    <a:pt x="1112" y="2625"/>
                  </a:lnTo>
                  <a:lnTo>
                    <a:pt x="1107" y="2625"/>
                  </a:lnTo>
                  <a:lnTo>
                    <a:pt x="1029" y="2625"/>
                  </a:lnTo>
                  <a:lnTo>
                    <a:pt x="1026" y="2625"/>
                  </a:lnTo>
                  <a:lnTo>
                    <a:pt x="1024" y="2624"/>
                  </a:lnTo>
                  <a:lnTo>
                    <a:pt x="1022" y="2623"/>
                  </a:lnTo>
                  <a:lnTo>
                    <a:pt x="1020" y="2622"/>
                  </a:lnTo>
                  <a:lnTo>
                    <a:pt x="1019" y="2620"/>
                  </a:lnTo>
                  <a:lnTo>
                    <a:pt x="1019" y="2617"/>
                  </a:lnTo>
                  <a:lnTo>
                    <a:pt x="1019" y="2615"/>
                  </a:lnTo>
                  <a:lnTo>
                    <a:pt x="1020" y="2612"/>
                  </a:lnTo>
                  <a:lnTo>
                    <a:pt x="1175" y="2216"/>
                  </a:lnTo>
                  <a:lnTo>
                    <a:pt x="1176" y="2214"/>
                  </a:lnTo>
                  <a:lnTo>
                    <a:pt x="1178" y="2212"/>
                  </a:lnTo>
                  <a:lnTo>
                    <a:pt x="1181" y="2209"/>
                  </a:lnTo>
                  <a:lnTo>
                    <a:pt x="1184" y="2207"/>
                  </a:lnTo>
                  <a:lnTo>
                    <a:pt x="1187" y="2207"/>
                  </a:lnTo>
                  <a:lnTo>
                    <a:pt x="1189" y="2207"/>
                  </a:lnTo>
                  <a:lnTo>
                    <a:pt x="1259" y="2207"/>
                  </a:lnTo>
                  <a:lnTo>
                    <a:pt x="1263" y="2207"/>
                  </a:lnTo>
                  <a:lnTo>
                    <a:pt x="1267" y="2209"/>
                  </a:lnTo>
                  <a:lnTo>
                    <a:pt x="1270" y="2212"/>
                  </a:lnTo>
                  <a:lnTo>
                    <a:pt x="1271" y="2214"/>
                  </a:lnTo>
                  <a:lnTo>
                    <a:pt x="1272" y="2216"/>
                  </a:lnTo>
                  <a:lnTo>
                    <a:pt x="1428" y="2612"/>
                  </a:lnTo>
                  <a:lnTo>
                    <a:pt x="1429" y="2615"/>
                  </a:lnTo>
                  <a:lnTo>
                    <a:pt x="1429" y="2617"/>
                  </a:lnTo>
                  <a:lnTo>
                    <a:pt x="1428" y="2620"/>
                  </a:lnTo>
                  <a:lnTo>
                    <a:pt x="1427" y="2622"/>
                  </a:lnTo>
                  <a:lnTo>
                    <a:pt x="1426" y="2623"/>
                  </a:lnTo>
                  <a:lnTo>
                    <a:pt x="1424" y="2624"/>
                  </a:lnTo>
                  <a:lnTo>
                    <a:pt x="1421" y="2625"/>
                  </a:lnTo>
                  <a:lnTo>
                    <a:pt x="1419" y="2625"/>
                  </a:lnTo>
                  <a:lnTo>
                    <a:pt x="1339" y="2625"/>
                  </a:lnTo>
                  <a:lnTo>
                    <a:pt x="1334" y="2625"/>
                  </a:lnTo>
                  <a:lnTo>
                    <a:pt x="1332" y="2624"/>
                  </a:lnTo>
                  <a:lnTo>
                    <a:pt x="1330" y="2623"/>
                  </a:lnTo>
                  <a:lnTo>
                    <a:pt x="1329" y="2622"/>
                  </a:lnTo>
                  <a:lnTo>
                    <a:pt x="1327" y="2620"/>
                  </a:lnTo>
                  <a:lnTo>
                    <a:pt x="1326" y="2618"/>
                  </a:lnTo>
                  <a:lnTo>
                    <a:pt x="1325" y="2616"/>
                  </a:lnTo>
                  <a:lnTo>
                    <a:pt x="1303" y="2558"/>
                  </a:lnTo>
                  <a:close/>
                  <a:moveTo>
                    <a:pt x="1156" y="2177"/>
                  </a:moveTo>
                  <a:lnTo>
                    <a:pt x="1151" y="2177"/>
                  </a:lnTo>
                  <a:lnTo>
                    <a:pt x="1146" y="2176"/>
                  </a:lnTo>
                  <a:lnTo>
                    <a:pt x="1141" y="2175"/>
                  </a:lnTo>
                  <a:lnTo>
                    <a:pt x="1136" y="2173"/>
                  </a:lnTo>
                  <a:lnTo>
                    <a:pt x="1128" y="2169"/>
                  </a:lnTo>
                  <a:lnTo>
                    <a:pt x="1124" y="2166"/>
                  </a:lnTo>
                  <a:lnTo>
                    <a:pt x="1121" y="2163"/>
                  </a:lnTo>
                  <a:lnTo>
                    <a:pt x="1118" y="2160"/>
                  </a:lnTo>
                  <a:lnTo>
                    <a:pt x="1115" y="2156"/>
                  </a:lnTo>
                  <a:lnTo>
                    <a:pt x="1112" y="2152"/>
                  </a:lnTo>
                  <a:lnTo>
                    <a:pt x="1110" y="2148"/>
                  </a:lnTo>
                  <a:lnTo>
                    <a:pt x="1109" y="2143"/>
                  </a:lnTo>
                  <a:lnTo>
                    <a:pt x="1108" y="2138"/>
                  </a:lnTo>
                  <a:lnTo>
                    <a:pt x="1107" y="2133"/>
                  </a:lnTo>
                  <a:lnTo>
                    <a:pt x="1107" y="2128"/>
                  </a:lnTo>
                  <a:lnTo>
                    <a:pt x="1107" y="2123"/>
                  </a:lnTo>
                  <a:lnTo>
                    <a:pt x="1108" y="2118"/>
                  </a:lnTo>
                  <a:lnTo>
                    <a:pt x="1109" y="2113"/>
                  </a:lnTo>
                  <a:lnTo>
                    <a:pt x="1110" y="2108"/>
                  </a:lnTo>
                  <a:lnTo>
                    <a:pt x="1112" y="2104"/>
                  </a:lnTo>
                  <a:lnTo>
                    <a:pt x="1115" y="2100"/>
                  </a:lnTo>
                  <a:lnTo>
                    <a:pt x="1118" y="2096"/>
                  </a:lnTo>
                  <a:lnTo>
                    <a:pt x="1121" y="2093"/>
                  </a:lnTo>
                  <a:lnTo>
                    <a:pt x="1124" y="2090"/>
                  </a:lnTo>
                  <a:lnTo>
                    <a:pt x="1128" y="2087"/>
                  </a:lnTo>
                  <a:lnTo>
                    <a:pt x="1132" y="2084"/>
                  </a:lnTo>
                  <a:lnTo>
                    <a:pt x="1136" y="2082"/>
                  </a:lnTo>
                  <a:lnTo>
                    <a:pt x="1141" y="2081"/>
                  </a:lnTo>
                  <a:lnTo>
                    <a:pt x="1146" y="2080"/>
                  </a:lnTo>
                  <a:lnTo>
                    <a:pt x="1151" y="2079"/>
                  </a:lnTo>
                  <a:lnTo>
                    <a:pt x="1156" y="2079"/>
                  </a:lnTo>
                  <a:lnTo>
                    <a:pt x="1162" y="2079"/>
                  </a:lnTo>
                  <a:lnTo>
                    <a:pt x="1167" y="2080"/>
                  </a:lnTo>
                  <a:lnTo>
                    <a:pt x="1172" y="2081"/>
                  </a:lnTo>
                  <a:lnTo>
                    <a:pt x="1176" y="2082"/>
                  </a:lnTo>
                  <a:lnTo>
                    <a:pt x="1185" y="2087"/>
                  </a:lnTo>
                  <a:lnTo>
                    <a:pt x="1189" y="2090"/>
                  </a:lnTo>
                  <a:lnTo>
                    <a:pt x="1192" y="2093"/>
                  </a:lnTo>
                  <a:lnTo>
                    <a:pt x="1195" y="2096"/>
                  </a:lnTo>
                  <a:lnTo>
                    <a:pt x="1198" y="2100"/>
                  </a:lnTo>
                  <a:lnTo>
                    <a:pt x="1200" y="2104"/>
                  </a:lnTo>
                  <a:lnTo>
                    <a:pt x="1202" y="2108"/>
                  </a:lnTo>
                  <a:lnTo>
                    <a:pt x="1204" y="2113"/>
                  </a:lnTo>
                  <a:lnTo>
                    <a:pt x="1205" y="2118"/>
                  </a:lnTo>
                  <a:lnTo>
                    <a:pt x="1206" y="2123"/>
                  </a:lnTo>
                  <a:lnTo>
                    <a:pt x="1206" y="2128"/>
                  </a:lnTo>
                  <a:lnTo>
                    <a:pt x="1206" y="2133"/>
                  </a:lnTo>
                  <a:lnTo>
                    <a:pt x="1205" y="2138"/>
                  </a:lnTo>
                  <a:lnTo>
                    <a:pt x="1204" y="2143"/>
                  </a:lnTo>
                  <a:lnTo>
                    <a:pt x="1202" y="2148"/>
                  </a:lnTo>
                  <a:lnTo>
                    <a:pt x="1200" y="2152"/>
                  </a:lnTo>
                  <a:lnTo>
                    <a:pt x="1198" y="2156"/>
                  </a:lnTo>
                  <a:lnTo>
                    <a:pt x="1195" y="2160"/>
                  </a:lnTo>
                  <a:lnTo>
                    <a:pt x="1192" y="2163"/>
                  </a:lnTo>
                  <a:lnTo>
                    <a:pt x="1189" y="2166"/>
                  </a:lnTo>
                  <a:lnTo>
                    <a:pt x="1185" y="2169"/>
                  </a:lnTo>
                  <a:lnTo>
                    <a:pt x="1181" y="2171"/>
                  </a:lnTo>
                  <a:lnTo>
                    <a:pt x="1176" y="2173"/>
                  </a:lnTo>
                  <a:lnTo>
                    <a:pt x="1172" y="2175"/>
                  </a:lnTo>
                  <a:lnTo>
                    <a:pt x="1167" y="2176"/>
                  </a:lnTo>
                  <a:lnTo>
                    <a:pt x="1162" y="2177"/>
                  </a:lnTo>
                  <a:lnTo>
                    <a:pt x="1156" y="2177"/>
                  </a:lnTo>
                  <a:close/>
                  <a:moveTo>
                    <a:pt x="1624" y="2446"/>
                  </a:moveTo>
                  <a:lnTo>
                    <a:pt x="1624" y="2615"/>
                  </a:lnTo>
                  <a:lnTo>
                    <a:pt x="1624" y="2617"/>
                  </a:lnTo>
                  <a:lnTo>
                    <a:pt x="1623" y="2619"/>
                  </a:lnTo>
                  <a:lnTo>
                    <a:pt x="1622" y="2622"/>
                  </a:lnTo>
                  <a:lnTo>
                    <a:pt x="1620" y="2623"/>
                  </a:lnTo>
                  <a:lnTo>
                    <a:pt x="1619" y="2624"/>
                  </a:lnTo>
                  <a:lnTo>
                    <a:pt x="1617" y="2625"/>
                  </a:lnTo>
                  <a:lnTo>
                    <a:pt x="1615" y="2625"/>
                  </a:lnTo>
                  <a:lnTo>
                    <a:pt x="1536" y="2625"/>
                  </a:lnTo>
                  <a:lnTo>
                    <a:pt x="1532" y="2624"/>
                  </a:lnTo>
                  <a:lnTo>
                    <a:pt x="1529" y="2622"/>
                  </a:lnTo>
                  <a:lnTo>
                    <a:pt x="1527" y="2619"/>
                  </a:lnTo>
                  <a:lnTo>
                    <a:pt x="1527" y="2617"/>
                  </a:lnTo>
                  <a:lnTo>
                    <a:pt x="1526" y="2615"/>
                  </a:lnTo>
                  <a:lnTo>
                    <a:pt x="1526" y="2446"/>
                  </a:lnTo>
                  <a:lnTo>
                    <a:pt x="1430" y="2220"/>
                  </a:lnTo>
                  <a:lnTo>
                    <a:pt x="1429" y="2217"/>
                  </a:lnTo>
                  <a:lnTo>
                    <a:pt x="1429" y="2214"/>
                  </a:lnTo>
                  <a:lnTo>
                    <a:pt x="1429" y="2212"/>
                  </a:lnTo>
                  <a:lnTo>
                    <a:pt x="1430" y="2210"/>
                  </a:lnTo>
                  <a:lnTo>
                    <a:pt x="1431" y="2209"/>
                  </a:lnTo>
                  <a:lnTo>
                    <a:pt x="1432" y="2208"/>
                  </a:lnTo>
                  <a:lnTo>
                    <a:pt x="1434" y="2207"/>
                  </a:lnTo>
                  <a:lnTo>
                    <a:pt x="1437" y="2207"/>
                  </a:lnTo>
                  <a:lnTo>
                    <a:pt x="1516" y="2207"/>
                  </a:lnTo>
                  <a:lnTo>
                    <a:pt x="1520" y="2207"/>
                  </a:lnTo>
                  <a:lnTo>
                    <a:pt x="1523" y="2208"/>
                  </a:lnTo>
                  <a:lnTo>
                    <a:pt x="1524" y="2209"/>
                  </a:lnTo>
                  <a:lnTo>
                    <a:pt x="1526" y="2210"/>
                  </a:lnTo>
                  <a:lnTo>
                    <a:pt x="1528" y="2211"/>
                  </a:lnTo>
                  <a:lnTo>
                    <a:pt x="1529" y="2213"/>
                  </a:lnTo>
                  <a:lnTo>
                    <a:pt x="1530" y="2215"/>
                  </a:lnTo>
                  <a:lnTo>
                    <a:pt x="1577" y="2342"/>
                  </a:lnTo>
                  <a:lnTo>
                    <a:pt x="1621" y="2215"/>
                  </a:lnTo>
                  <a:lnTo>
                    <a:pt x="1622" y="2213"/>
                  </a:lnTo>
                  <a:lnTo>
                    <a:pt x="1623" y="2211"/>
                  </a:lnTo>
                  <a:lnTo>
                    <a:pt x="1625" y="2210"/>
                  </a:lnTo>
                  <a:lnTo>
                    <a:pt x="1627" y="2209"/>
                  </a:lnTo>
                  <a:lnTo>
                    <a:pt x="1629" y="2208"/>
                  </a:lnTo>
                  <a:lnTo>
                    <a:pt x="1631" y="2207"/>
                  </a:lnTo>
                  <a:lnTo>
                    <a:pt x="1635" y="2207"/>
                  </a:lnTo>
                  <a:lnTo>
                    <a:pt x="1712" y="2207"/>
                  </a:lnTo>
                  <a:lnTo>
                    <a:pt x="1714" y="2207"/>
                  </a:lnTo>
                  <a:lnTo>
                    <a:pt x="1716" y="2208"/>
                  </a:lnTo>
                  <a:lnTo>
                    <a:pt x="1717" y="2209"/>
                  </a:lnTo>
                  <a:lnTo>
                    <a:pt x="1718" y="2210"/>
                  </a:lnTo>
                  <a:lnTo>
                    <a:pt x="1719" y="2212"/>
                  </a:lnTo>
                  <a:lnTo>
                    <a:pt x="1719" y="2214"/>
                  </a:lnTo>
                  <a:lnTo>
                    <a:pt x="1719" y="2217"/>
                  </a:lnTo>
                  <a:lnTo>
                    <a:pt x="1718" y="2220"/>
                  </a:lnTo>
                  <a:lnTo>
                    <a:pt x="1624" y="2446"/>
                  </a:lnTo>
                  <a:close/>
                  <a:moveTo>
                    <a:pt x="1929" y="2536"/>
                  </a:moveTo>
                  <a:lnTo>
                    <a:pt x="1941" y="2536"/>
                  </a:lnTo>
                  <a:lnTo>
                    <a:pt x="1947" y="2535"/>
                  </a:lnTo>
                  <a:lnTo>
                    <a:pt x="1953" y="2534"/>
                  </a:lnTo>
                  <a:lnTo>
                    <a:pt x="1964" y="2532"/>
                  </a:lnTo>
                  <a:lnTo>
                    <a:pt x="1975" y="2528"/>
                  </a:lnTo>
                  <a:lnTo>
                    <a:pt x="1980" y="2526"/>
                  </a:lnTo>
                  <a:lnTo>
                    <a:pt x="1985" y="2524"/>
                  </a:lnTo>
                  <a:lnTo>
                    <a:pt x="1995" y="2519"/>
                  </a:lnTo>
                  <a:lnTo>
                    <a:pt x="2004" y="2512"/>
                  </a:lnTo>
                  <a:lnTo>
                    <a:pt x="2012" y="2505"/>
                  </a:lnTo>
                  <a:lnTo>
                    <a:pt x="2019" y="2497"/>
                  </a:lnTo>
                  <a:lnTo>
                    <a:pt x="2026" y="2488"/>
                  </a:lnTo>
                  <a:lnTo>
                    <a:pt x="2032" y="2478"/>
                  </a:lnTo>
                  <a:lnTo>
                    <a:pt x="2034" y="2473"/>
                  </a:lnTo>
                  <a:lnTo>
                    <a:pt x="2036" y="2467"/>
                  </a:lnTo>
                  <a:lnTo>
                    <a:pt x="2038" y="2461"/>
                  </a:lnTo>
                  <a:lnTo>
                    <a:pt x="2040" y="2455"/>
                  </a:lnTo>
                  <a:lnTo>
                    <a:pt x="2043" y="2443"/>
                  </a:lnTo>
                  <a:lnTo>
                    <a:pt x="2045" y="2430"/>
                  </a:lnTo>
                  <a:lnTo>
                    <a:pt x="2045" y="2423"/>
                  </a:lnTo>
                  <a:lnTo>
                    <a:pt x="2045" y="2416"/>
                  </a:lnTo>
                  <a:lnTo>
                    <a:pt x="2045" y="2402"/>
                  </a:lnTo>
                  <a:lnTo>
                    <a:pt x="2043" y="2388"/>
                  </a:lnTo>
                  <a:lnTo>
                    <a:pt x="2040" y="2376"/>
                  </a:lnTo>
                  <a:lnTo>
                    <a:pt x="2036" y="2364"/>
                  </a:lnTo>
                  <a:lnTo>
                    <a:pt x="2032" y="2354"/>
                  </a:lnTo>
                  <a:lnTo>
                    <a:pt x="2026" y="2344"/>
                  </a:lnTo>
                  <a:lnTo>
                    <a:pt x="2023" y="2339"/>
                  </a:lnTo>
                  <a:lnTo>
                    <a:pt x="2019" y="2335"/>
                  </a:lnTo>
                  <a:lnTo>
                    <a:pt x="2012" y="2326"/>
                  </a:lnTo>
                  <a:lnTo>
                    <a:pt x="2008" y="2323"/>
                  </a:lnTo>
                  <a:lnTo>
                    <a:pt x="2004" y="2319"/>
                  </a:lnTo>
                  <a:lnTo>
                    <a:pt x="1995" y="2313"/>
                  </a:lnTo>
                  <a:lnTo>
                    <a:pt x="1990" y="2310"/>
                  </a:lnTo>
                  <a:lnTo>
                    <a:pt x="1985" y="2308"/>
                  </a:lnTo>
                  <a:lnTo>
                    <a:pt x="1980" y="2305"/>
                  </a:lnTo>
                  <a:lnTo>
                    <a:pt x="1975" y="2303"/>
                  </a:lnTo>
                  <a:lnTo>
                    <a:pt x="1964" y="2300"/>
                  </a:lnTo>
                  <a:lnTo>
                    <a:pt x="1953" y="2297"/>
                  </a:lnTo>
                  <a:lnTo>
                    <a:pt x="1947" y="2296"/>
                  </a:lnTo>
                  <a:lnTo>
                    <a:pt x="1941" y="2296"/>
                  </a:lnTo>
                  <a:lnTo>
                    <a:pt x="1929" y="2295"/>
                  </a:lnTo>
                  <a:lnTo>
                    <a:pt x="1888" y="2295"/>
                  </a:lnTo>
                  <a:lnTo>
                    <a:pt x="1888" y="2536"/>
                  </a:lnTo>
                  <a:lnTo>
                    <a:pt x="1929" y="2536"/>
                  </a:lnTo>
                  <a:close/>
                  <a:moveTo>
                    <a:pt x="1928" y="2207"/>
                  </a:moveTo>
                  <a:lnTo>
                    <a:pt x="1941" y="2207"/>
                  </a:lnTo>
                  <a:lnTo>
                    <a:pt x="1953" y="2207"/>
                  </a:lnTo>
                  <a:lnTo>
                    <a:pt x="1966" y="2209"/>
                  </a:lnTo>
                  <a:lnTo>
                    <a:pt x="1978" y="2210"/>
                  </a:lnTo>
                  <a:lnTo>
                    <a:pt x="1989" y="2212"/>
                  </a:lnTo>
                  <a:lnTo>
                    <a:pt x="2001" y="2215"/>
                  </a:lnTo>
                  <a:lnTo>
                    <a:pt x="2011" y="2218"/>
                  </a:lnTo>
                  <a:lnTo>
                    <a:pt x="2022" y="2222"/>
                  </a:lnTo>
                  <a:lnTo>
                    <a:pt x="2032" y="2225"/>
                  </a:lnTo>
                  <a:lnTo>
                    <a:pt x="2042" y="2230"/>
                  </a:lnTo>
                  <a:lnTo>
                    <a:pt x="2051" y="2235"/>
                  </a:lnTo>
                  <a:lnTo>
                    <a:pt x="2061" y="2240"/>
                  </a:lnTo>
                  <a:lnTo>
                    <a:pt x="2069" y="2245"/>
                  </a:lnTo>
                  <a:lnTo>
                    <a:pt x="2078" y="2251"/>
                  </a:lnTo>
                  <a:lnTo>
                    <a:pt x="2085" y="2257"/>
                  </a:lnTo>
                  <a:lnTo>
                    <a:pt x="2093" y="2264"/>
                  </a:lnTo>
                  <a:lnTo>
                    <a:pt x="2100" y="2271"/>
                  </a:lnTo>
                  <a:lnTo>
                    <a:pt x="2107" y="2279"/>
                  </a:lnTo>
                  <a:lnTo>
                    <a:pt x="2113" y="2286"/>
                  </a:lnTo>
                  <a:lnTo>
                    <a:pt x="2119" y="2294"/>
                  </a:lnTo>
                  <a:lnTo>
                    <a:pt x="2121" y="2299"/>
                  </a:lnTo>
                  <a:lnTo>
                    <a:pt x="2124" y="2303"/>
                  </a:lnTo>
                  <a:lnTo>
                    <a:pt x="2129" y="2312"/>
                  </a:lnTo>
                  <a:lnTo>
                    <a:pt x="2133" y="2321"/>
                  </a:lnTo>
                  <a:lnTo>
                    <a:pt x="2137" y="2330"/>
                  </a:lnTo>
                  <a:lnTo>
                    <a:pt x="2141" y="2340"/>
                  </a:lnTo>
                  <a:lnTo>
                    <a:pt x="2144" y="2350"/>
                  </a:lnTo>
                  <a:lnTo>
                    <a:pt x="2147" y="2360"/>
                  </a:lnTo>
                  <a:lnTo>
                    <a:pt x="2149" y="2371"/>
                  </a:lnTo>
                  <a:lnTo>
                    <a:pt x="2151" y="2382"/>
                  </a:lnTo>
                  <a:lnTo>
                    <a:pt x="2152" y="2393"/>
                  </a:lnTo>
                  <a:lnTo>
                    <a:pt x="2153" y="2404"/>
                  </a:lnTo>
                  <a:lnTo>
                    <a:pt x="2153" y="2416"/>
                  </a:lnTo>
                  <a:lnTo>
                    <a:pt x="2153" y="2427"/>
                  </a:lnTo>
                  <a:lnTo>
                    <a:pt x="2152" y="2439"/>
                  </a:lnTo>
                  <a:lnTo>
                    <a:pt x="2151" y="2450"/>
                  </a:lnTo>
                  <a:lnTo>
                    <a:pt x="2149" y="2461"/>
                  </a:lnTo>
                  <a:lnTo>
                    <a:pt x="2147" y="2471"/>
                  </a:lnTo>
                  <a:lnTo>
                    <a:pt x="2144" y="2481"/>
                  </a:lnTo>
                  <a:lnTo>
                    <a:pt x="2141" y="2491"/>
                  </a:lnTo>
                  <a:lnTo>
                    <a:pt x="2137" y="2501"/>
                  </a:lnTo>
                  <a:lnTo>
                    <a:pt x="2133" y="2511"/>
                  </a:lnTo>
                  <a:lnTo>
                    <a:pt x="2129" y="2520"/>
                  </a:lnTo>
                  <a:lnTo>
                    <a:pt x="2124" y="2528"/>
                  </a:lnTo>
                  <a:lnTo>
                    <a:pt x="2119" y="2537"/>
                  </a:lnTo>
                  <a:lnTo>
                    <a:pt x="2113" y="2545"/>
                  </a:lnTo>
                  <a:lnTo>
                    <a:pt x="2107" y="2553"/>
                  </a:lnTo>
                  <a:lnTo>
                    <a:pt x="2100" y="2560"/>
                  </a:lnTo>
                  <a:lnTo>
                    <a:pt x="2093" y="2567"/>
                  </a:lnTo>
                  <a:lnTo>
                    <a:pt x="2085" y="2574"/>
                  </a:lnTo>
                  <a:lnTo>
                    <a:pt x="2078" y="2580"/>
                  </a:lnTo>
                  <a:lnTo>
                    <a:pt x="2069" y="2586"/>
                  </a:lnTo>
                  <a:lnTo>
                    <a:pt x="2061" y="2592"/>
                  </a:lnTo>
                  <a:lnTo>
                    <a:pt x="2051" y="2597"/>
                  </a:lnTo>
                  <a:lnTo>
                    <a:pt x="2042" y="2602"/>
                  </a:lnTo>
                  <a:lnTo>
                    <a:pt x="2032" y="2606"/>
                  </a:lnTo>
                  <a:lnTo>
                    <a:pt x="2022" y="2610"/>
                  </a:lnTo>
                  <a:lnTo>
                    <a:pt x="2011" y="2613"/>
                  </a:lnTo>
                  <a:lnTo>
                    <a:pt x="2001" y="2616"/>
                  </a:lnTo>
                  <a:lnTo>
                    <a:pt x="1989" y="2619"/>
                  </a:lnTo>
                  <a:lnTo>
                    <a:pt x="1978" y="2621"/>
                  </a:lnTo>
                  <a:lnTo>
                    <a:pt x="1966" y="2623"/>
                  </a:lnTo>
                  <a:lnTo>
                    <a:pt x="1953" y="2624"/>
                  </a:lnTo>
                  <a:lnTo>
                    <a:pt x="1941" y="2625"/>
                  </a:lnTo>
                  <a:lnTo>
                    <a:pt x="1928" y="2625"/>
                  </a:lnTo>
                  <a:lnTo>
                    <a:pt x="1795" y="2625"/>
                  </a:lnTo>
                  <a:lnTo>
                    <a:pt x="1791" y="2624"/>
                  </a:lnTo>
                  <a:lnTo>
                    <a:pt x="1788" y="2622"/>
                  </a:lnTo>
                  <a:lnTo>
                    <a:pt x="1787" y="2621"/>
                  </a:lnTo>
                  <a:lnTo>
                    <a:pt x="1786" y="2619"/>
                  </a:lnTo>
                  <a:lnTo>
                    <a:pt x="1785" y="2617"/>
                  </a:lnTo>
                  <a:lnTo>
                    <a:pt x="1785" y="2615"/>
                  </a:lnTo>
                  <a:lnTo>
                    <a:pt x="1785" y="2217"/>
                  </a:lnTo>
                  <a:lnTo>
                    <a:pt x="1785" y="2214"/>
                  </a:lnTo>
                  <a:lnTo>
                    <a:pt x="1786" y="2212"/>
                  </a:lnTo>
                  <a:lnTo>
                    <a:pt x="1788" y="2209"/>
                  </a:lnTo>
                  <a:lnTo>
                    <a:pt x="1789" y="2208"/>
                  </a:lnTo>
                  <a:lnTo>
                    <a:pt x="1791" y="2207"/>
                  </a:lnTo>
                  <a:lnTo>
                    <a:pt x="1795" y="2207"/>
                  </a:lnTo>
                  <a:lnTo>
                    <a:pt x="1928" y="2207"/>
                  </a:lnTo>
                  <a:close/>
                  <a:moveTo>
                    <a:pt x="2397" y="2177"/>
                  </a:moveTo>
                  <a:lnTo>
                    <a:pt x="2392" y="2177"/>
                  </a:lnTo>
                  <a:lnTo>
                    <a:pt x="2386" y="2176"/>
                  </a:lnTo>
                  <a:lnTo>
                    <a:pt x="2382" y="2175"/>
                  </a:lnTo>
                  <a:lnTo>
                    <a:pt x="2377" y="2173"/>
                  </a:lnTo>
                  <a:lnTo>
                    <a:pt x="2368" y="2169"/>
                  </a:lnTo>
                  <a:lnTo>
                    <a:pt x="2365" y="2166"/>
                  </a:lnTo>
                  <a:lnTo>
                    <a:pt x="2361" y="2163"/>
                  </a:lnTo>
                  <a:lnTo>
                    <a:pt x="2358" y="2160"/>
                  </a:lnTo>
                  <a:lnTo>
                    <a:pt x="2355" y="2156"/>
                  </a:lnTo>
                  <a:lnTo>
                    <a:pt x="2353" y="2152"/>
                  </a:lnTo>
                  <a:lnTo>
                    <a:pt x="2351" y="2148"/>
                  </a:lnTo>
                  <a:lnTo>
                    <a:pt x="2349" y="2143"/>
                  </a:lnTo>
                  <a:lnTo>
                    <a:pt x="2348" y="2138"/>
                  </a:lnTo>
                  <a:lnTo>
                    <a:pt x="2347" y="2133"/>
                  </a:lnTo>
                  <a:lnTo>
                    <a:pt x="2347" y="2128"/>
                  </a:lnTo>
                  <a:lnTo>
                    <a:pt x="2347" y="2123"/>
                  </a:lnTo>
                  <a:lnTo>
                    <a:pt x="2348" y="2118"/>
                  </a:lnTo>
                  <a:lnTo>
                    <a:pt x="2349" y="2113"/>
                  </a:lnTo>
                  <a:lnTo>
                    <a:pt x="2351" y="2108"/>
                  </a:lnTo>
                  <a:lnTo>
                    <a:pt x="2353" y="2104"/>
                  </a:lnTo>
                  <a:lnTo>
                    <a:pt x="2355" y="2100"/>
                  </a:lnTo>
                  <a:lnTo>
                    <a:pt x="2358" y="2096"/>
                  </a:lnTo>
                  <a:lnTo>
                    <a:pt x="2361" y="2093"/>
                  </a:lnTo>
                  <a:lnTo>
                    <a:pt x="2365" y="2090"/>
                  </a:lnTo>
                  <a:lnTo>
                    <a:pt x="2368" y="2087"/>
                  </a:lnTo>
                  <a:lnTo>
                    <a:pt x="2373" y="2084"/>
                  </a:lnTo>
                  <a:lnTo>
                    <a:pt x="2377" y="2082"/>
                  </a:lnTo>
                  <a:lnTo>
                    <a:pt x="2382" y="2081"/>
                  </a:lnTo>
                  <a:lnTo>
                    <a:pt x="2386" y="2080"/>
                  </a:lnTo>
                  <a:lnTo>
                    <a:pt x="2392" y="2079"/>
                  </a:lnTo>
                  <a:lnTo>
                    <a:pt x="2397" y="2079"/>
                  </a:lnTo>
                  <a:lnTo>
                    <a:pt x="2402" y="2079"/>
                  </a:lnTo>
                  <a:lnTo>
                    <a:pt x="2407" y="2080"/>
                  </a:lnTo>
                  <a:lnTo>
                    <a:pt x="2412" y="2081"/>
                  </a:lnTo>
                  <a:lnTo>
                    <a:pt x="2417" y="2082"/>
                  </a:lnTo>
                  <a:lnTo>
                    <a:pt x="2425" y="2087"/>
                  </a:lnTo>
                  <a:lnTo>
                    <a:pt x="2429" y="2090"/>
                  </a:lnTo>
                  <a:lnTo>
                    <a:pt x="2433" y="2093"/>
                  </a:lnTo>
                  <a:lnTo>
                    <a:pt x="2436" y="2096"/>
                  </a:lnTo>
                  <a:lnTo>
                    <a:pt x="2438" y="2100"/>
                  </a:lnTo>
                  <a:lnTo>
                    <a:pt x="2441" y="2104"/>
                  </a:lnTo>
                  <a:lnTo>
                    <a:pt x="2443" y="2108"/>
                  </a:lnTo>
                  <a:lnTo>
                    <a:pt x="2444" y="2113"/>
                  </a:lnTo>
                  <a:lnTo>
                    <a:pt x="2446" y="2118"/>
                  </a:lnTo>
                  <a:lnTo>
                    <a:pt x="2446" y="2123"/>
                  </a:lnTo>
                  <a:lnTo>
                    <a:pt x="2447" y="2128"/>
                  </a:lnTo>
                  <a:lnTo>
                    <a:pt x="2446" y="2133"/>
                  </a:lnTo>
                  <a:lnTo>
                    <a:pt x="2446" y="2138"/>
                  </a:lnTo>
                  <a:lnTo>
                    <a:pt x="2444" y="2143"/>
                  </a:lnTo>
                  <a:lnTo>
                    <a:pt x="2443" y="2148"/>
                  </a:lnTo>
                  <a:lnTo>
                    <a:pt x="2441" y="2152"/>
                  </a:lnTo>
                  <a:lnTo>
                    <a:pt x="2438" y="2156"/>
                  </a:lnTo>
                  <a:lnTo>
                    <a:pt x="2436" y="2160"/>
                  </a:lnTo>
                  <a:lnTo>
                    <a:pt x="2433" y="2163"/>
                  </a:lnTo>
                  <a:lnTo>
                    <a:pt x="2429" y="2166"/>
                  </a:lnTo>
                  <a:lnTo>
                    <a:pt x="2425" y="2169"/>
                  </a:lnTo>
                  <a:lnTo>
                    <a:pt x="2421" y="2171"/>
                  </a:lnTo>
                  <a:lnTo>
                    <a:pt x="2417" y="2173"/>
                  </a:lnTo>
                  <a:lnTo>
                    <a:pt x="2412" y="2175"/>
                  </a:lnTo>
                  <a:lnTo>
                    <a:pt x="2407" y="2176"/>
                  </a:lnTo>
                  <a:lnTo>
                    <a:pt x="2402" y="2177"/>
                  </a:lnTo>
                  <a:lnTo>
                    <a:pt x="2397" y="2177"/>
                  </a:lnTo>
                  <a:close/>
                  <a:moveTo>
                    <a:pt x="2303" y="2480"/>
                  </a:moveTo>
                  <a:lnTo>
                    <a:pt x="2357" y="2480"/>
                  </a:lnTo>
                  <a:lnTo>
                    <a:pt x="2331" y="2354"/>
                  </a:lnTo>
                  <a:lnTo>
                    <a:pt x="2303" y="2480"/>
                  </a:lnTo>
                  <a:close/>
                  <a:moveTo>
                    <a:pt x="2372" y="2558"/>
                  </a:moveTo>
                  <a:lnTo>
                    <a:pt x="2289" y="2558"/>
                  </a:lnTo>
                  <a:lnTo>
                    <a:pt x="2277" y="2615"/>
                  </a:lnTo>
                  <a:lnTo>
                    <a:pt x="2276" y="2618"/>
                  </a:lnTo>
                  <a:lnTo>
                    <a:pt x="2275" y="2620"/>
                  </a:lnTo>
                  <a:lnTo>
                    <a:pt x="2273" y="2623"/>
                  </a:lnTo>
                  <a:lnTo>
                    <a:pt x="2271" y="2624"/>
                  </a:lnTo>
                  <a:lnTo>
                    <a:pt x="2269" y="2625"/>
                  </a:lnTo>
                  <a:lnTo>
                    <a:pt x="2267" y="2625"/>
                  </a:lnTo>
                  <a:lnTo>
                    <a:pt x="2265" y="2625"/>
                  </a:lnTo>
                  <a:lnTo>
                    <a:pt x="2192" y="2625"/>
                  </a:lnTo>
                  <a:lnTo>
                    <a:pt x="2190" y="2625"/>
                  </a:lnTo>
                  <a:lnTo>
                    <a:pt x="2188" y="2624"/>
                  </a:lnTo>
                  <a:lnTo>
                    <a:pt x="2187" y="2623"/>
                  </a:lnTo>
                  <a:lnTo>
                    <a:pt x="2185" y="2622"/>
                  </a:lnTo>
                  <a:lnTo>
                    <a:pt x="2184" y="2620"/>
                  </a:lnTo>
                  <a:lnTo>
                    <a:pt x="2184" y="2618"/>
                  </a:lnTo>
                  <a:lnTo>
                    <a:pt x="2185" y="2612"/>
                  </a:lnTo>
                  <a:lnTo>
                    <a:pt x="2277" y="2217"/>
                  </a:lnTo>
                  <a:lnTo>
                    <a:pt x="2278" y="2214"/>
                  </a:lnTo>
                  <a:lnTo>
                    <a:pt x="2279" y="2212"/>
                  </a:lnTo>
                  <a:lnTo>
                    <a:pt x="2281" y="2209"/>
                  </a:lnTo>
                  <a:lnTo>
                    <a:pt x="2283" y="2208"/>
                  </a:lnTo>
                  <a:lnTo>
                    <a:pt x="2285" y="2207"/>
                  </a:lnTo>
                  <a:lnTo>
                    <a:pt x="2290" y="2207"/>
                  </a:lnTo>
                  <a:lnTo>
                    <a:pt x="2372" y="2207"/>
                  </a:lnTo>
                  <a:lnTo>
                    <a:pt x="2375" y="2207"/>
                  </a:lnTo>
                  <a:lnTo>
                    <a:pt x="2377" y="2207"/>
                  </a:lnTo>
                  <a:lnTo>
                    <a:pt x="2381" y="2209"/>
                  </a:lnTo>
                  <a:lnTo>
                    <a:pt x="2384" y="2212"/>
                  </a:lnTo>
                  <a:lnTo>
                    <a:pt x="2384" y="2214"/>
                  </a:lnTo>
                  <a:lnTo>
                    <a:pt x="2385" y="2217"/>
                  </a:lnTo>
                  <a:lnTo>
                    <a:pt x="2477" y="2612"/>
                  </a:lnTo>
                  <a:lnTo>
                    <a:pt x="2478" y="2618"/>
                  </a:lnTo>
                  <a:lnTo>
                    <a:pt x="2478" y="2620"/>
                  </a:lnTo>
                  <a:lnTo>
                    <a:pt x="2477" y="2622"/>
                  </a:lnTo>
                  <a:lnTo>
                    <a:pt x="2476" y="2623"/>
                  </a:lnTo>
                  <a:lnTo>
                    <a:pt x="2474" y="2624"/>
                  </a:lnTo>
                  <a:lnTo>
                    <a:pt x="2470" y="2625"/>
                  </a:lnTo>
                  <a:lnTo>
                    <a:pt x="2395" y="2625"/>
                  </a:lnTo>
                  <a:lnTo>
                    <a:pt x="2391" y="2625"/>
                  </a:lnTo>
                  <a:lnTo>
                    <a:pt x="2388" y="2623"/>
                  </a:lnTo>
                  <a:lnTo>
                    <a:pt x="2386" y="2621"/>
                  </a:lnTo>
                  <a:lnTo>
                    <a:pt x="2385" y="2620"/>
                  </a:lnTo>
                  <a:lnTo>
                    <a:pt x="2384" y="2618"/>
                  </a:lnTo>
                  <a:lnTo>
                    <a:pt x="2383" y="2615"/>
                  </a:lnTo>
                  <a:lnTo>
                    <a:pt x="2372" y="2558"/>
                  </a:lnTo>
                  <a:close/>
                  <a:moveTo>
                    <a:pt x="2264" y="2177"/>
                  </a:moveTo>
                  <a:lnTo>
                    <a:pt x="2259" y="2177"/>
                  </a:lnTo>
                  <a:lnTo>
                    <a:pt x="2254" y="2176"/>
                  </a:lnTo>
                  <a:lnTo>
                    <a:pt x="2249" y="2175"/>
                  </a:lnTo>
                  <a:lnTo>
                    <a:pt x="2244" y="2173"/>
                  </a:lnTo>
                  <a:lnTo>
                    <a:pt x="2236" y="2169"/>
                  </a:lnTo>
                  <a:lnTo>
                    <a:pt x="2232" y="2166"/>
                  </a:lnTo>
                  <a:lnTo>
                    <a:pt x="2228" y="2163"/>
                  </a:lnTo>
                  <a:lnTo>
                    <a:pt x="2225" y="2160"/>
                  </a:lnTo>
                  <a:lnTo>
                    <a:pt x="2222" y="2156"/>
                  </a:lnTo>
                  <a:lnTo>
                    <a:pt x="2220" y="2152"/>
                  </a:lnTo>
                  <a:lnTo>
                    <a:pt x="2218" y="2148"/>
                  </a:lnTo>
                  <a:lnTo>
                    <a:pt x="2216" y="2143"/>
                  </a:lnTo>
                  <a:lnTo>
                    <a:pt x="2215" y="2138"/>
                  </a:lnTo>
                  <a:lnTo>
                    <a:pt x="2215" y="2133"/>
                  </a:lnTo>
                  <a:lnTo>
                    <a:pt x="2214" y="2128"/>
                  </a:lnTo>
                  <a:lnTo>
                    <a:pt x="2215" y="2123"/>
                  </a:lnTo>
                  <a:lnTo>
                    <a:pt x="2215" y="2118"/>
                  </a:lnTo>
                  <a:lnTo>
                    <a:pt x="2216" y="2113"/>
                  </a:lnTo>
                  <a:lnTo>
                    <a:pt x="2218" y="2108"/>
                  </a:lnTo>
                  <a:lnTo>
                    <a:pt x="2220" y="2104"/>
                  </a:lnTo>
                  <a:lnTo>
                    <a:pt x="2222" y="2100"/>
                  </a:lnTo>
                  <a:lnTo>
                    <a:pt x="2225" y="2096"/>
                  </a:lnTo>
                  <a:lnTo>
                    <a:pt x="2228" y="2093"/>
                  </a:lnTo>
                  <a:lnTo>
                    <a:pt x="2232" y="2090"/>
                  </a:lnTo>
                  <a:lnTo>
                    <a:pt x="2236" y="2087"/>
                  </a:lnTo>
                  <a:lnTo>
                    <a:pt x="2240" y="2084"/>
                  </a:lnTo>
                  <a:lnTo>
                    <a:pt x="2244" y="2082"/>
                  </a:lnTo>
                  <a:lnTo>
                    <a:pt x="2249" y="2081"/>
                  </a:lnTo>
                  <a:lnTo>
                    <a:pt x="2254" y="2080"/>
                  </a:lnTo>
                  <a:lnTo>
                    <a:pt x="2259" y="2079"/>
                  </a:lnTo>
                  <a:lnTo>
                    <a:pt x="2264" y="2079"/>
                  </a:lnTo>
                  <a:lnTo>
                    <a:pt x="2269" y="2079"/>
                  </a:lnTo>
                  <a:lnTo>
                    <a:pt x="2274" y="2080"/>
                  </a:lnTo>
                  <a:lnTo>
                    <a:pt x="2279" y="2081"/>
                  </a:lnTo>
                  <a:lnTo>
                    <a:pt x="2284" y="2082"/>
                  </a:lnTo>
                  <a:lnTo>
                    <a:pt x="2292" y="2087"/>
                  </a:lnTo>
                  <a:lnTo>
                    <a:pt x="2296" y="2090"/>
                  </a:lnTo>
                  <a:lnTo>
                    <a:pt x="2300" y="2093"/>
                  </a:lnTo>
                  <a:lnTo>
                    <a:pt x="2303" y="2096"/>
                  </a:lnTo>
                  <a:lnTo>
                    <a:pt x="2306" y="2100"/>
                  </a:lnTo>
                  <a:lnTo>
                    <a:pt x="2308" y="2104"/>
                  </a:lnTo>
                  <a:lnTo>
                    <a:pt x="2310" y="2108"/>
                  </a:lnTo>
                  <a:lnTo>
                    <a:pt x="2313" y="2113"/>
                  </a:lnTo>
                  <a:lnTo>
                    <a:pt x="2314" y="2118"/>
                  </a:lnTo>
                  <a:lnTo>
                    <a:pt x="2314" y="2123"/>
                  </a:lnTo>
                  <a:lnTo>
                    <a:pt x="2315" y="2128"/>
                  </a:lnTo>
                  <a:lnTo>
                    <a:pt x="2314" y="2133"/>
                  </a:lnTo>
                  <a:lnTo>
                    <a:pt x="2314" y="2138"/>
                  </a:lnTo>
                  <a:lnTo>
                    <a:pt x="2313" y="2143"/>
                  </a:lnTo>
                  <a:lnTo>
                    <a:pt x="2310" y="2148"/>
                  </a:lnTo>
                  <a:lnTo>
                    <a:pt x="2308" y="2152"/>
                  </a:lnTo>
                  <a:lnTo>
                    <a:pt x="2306" y="2156"/>
                  </a:lnTo>
                  <a:lnTo>
                    <a:pt x="2303" y="2160"/>
                  </a:lnTo>
                  <a:lnTo>
                    <a:pt x="2300" y="2163"/>
                  </a:lnTo>
                  <a:lnTo>
                    <a:pt x="2296" y="2166"/>
                  </a:lnTo>
                  <a:lnTo>
                    <a:pt x="2292" y="2169"/>
                  </a:lnTo>
                  <a:lnTo>
                    <a:pt x="2288" y="2171"/>
                  </a:lnTo>
                  <a:lnTo>
                    <a:pt x="2284" y="2173"/>
                  </a:lnTo>
                  <a:lnTo>
                    <a:pt x="2279" y="2175"/>
                  </a:lnTo>
                  <a:lnTo>
                    <a:pt x="2274" y="2176"/>
                  </a:lnTo>
                  <a:lnTo>
                    <a:pt x="2269" y="2177"/>
                  </a:lnTo>
                  <a:lnTo>
                    <a:pt x="2264" y="2177"/>
                  </a:lnTo>
                  <a:close/>
                  <a:moveTo>
                    <a:pt x="1209" y="341"/>
                  </a:moveTo>
                  <a:lnTo>
                    <a:pt x="1221" y="341"/>
                  </a:lnTo>
                  <a:lnTo>
                    <a:pt x="1233" y="339"/>
                  </a:lnTo>
                  <a:lnTo>
                    <a:pt x="1244" y="336"/>
                  </a:lnTo>
                  <a:lnTo>
                    <a:pt x="1250" y="334"/>
                  </a:lnTo>
                  <a:lnTo>
                    <a:pt x="1255" y="332"/>
                  </a:lnTo>
                  <a:lnTo>
                    <a:pt x="1265" y="327"/>
                  </a:lnTo>
                  <a:lnTo>
                    <a:pt x="1275" y="322"/>
                  </a:lnTo>
                  <a:lnTo>
                    <a:pt x="1284" y="315"/>
                  </a:lnTo>
                  <a:lnTo>
                    <a:pt x="1292" y="307"/>
                  </a:lnTo>
                  <a:lnTo>
                    <a:pt x="1299" y="299"/>
                  </a:lnTo>
                  <a:lnTo>
                    <a:pt x="1306" y="289"/>
                  </a:lnTo>
                  <a:lnTo>
                    <a:pt x="1311" y="279"/>
                  </a:lnTo>
                  <a:lnTo>
                    <a:pt x="1316" y="268"/>
                  </a:lnTo>
                  <a:lnTo>
                    <a:pt x="1318" y="262"/>
                  </a:lnTo>
                  <a:lnTo>
                    <a:pt x="1320" y="256"/>
                  </a:lnTo>
                  <a:lnTo>
                    <a:pt x="1323" y="243"/>
                  </a:lnTo>
                  <a:lnTo>
                    <a:pt x="1324" y="230"/>
                  </a:lnTo>
                  <a:lnTo>
                    <a:pt x="1325" y="223"/>
                  </a:lnTo>
                  <a:lnTo>
                    <a:pt x="1325" y="216"/>
                  </a:lnTo>
                  <a:lnTo>
                    <a:pt x="1324" y="202"/>
                  </a:lnTo>
                  <a:lnTo>
                    <a:pt x="1323" y="189"/>
                  </a:lnTo>
                  <a:lnTo>
                    <a:pt x="1320" y="177"/>
                  </a:lnTo>
                  <a:lnTo>
                    <a:pt x="1318" y="171"/>
                  </a:lnTo>
                  <a:lnTo>
                    <a:pt x="1316" y="165"/>
                  </a:lnTo>
                  <a:lnTo>
                    <a:pt x="1311" y="154"/>
                  </a:lnTo>
                  <a:lnTo>
                    <a:pt x="1306" y="144"/>
                  </a:lnTo>
                  <a:lnTo>
                    <a:pt x="1299" y="134"/>
                  </a:lnTo>
                  <a:lnTo>
                    <a:pt x="1296" y="130"/>
                  </a:lnTo>
                  <a:lnTo>
                    <a:pt x="1292" y="126"/>
                  </a:lnTo>
                  <a:lnTo>
                    <a:pt x="1288" y="122"/>
                  </a:lnTo>
                  <a:lnTo>
                    <a:pt x="1284" y="118"/>
                  </a:lnTo>
                  <a:lnTo>
                    <a:pt x="1279" y="114"/>
                  </a:lnTo>
                  <a:lnTo>
                    <a:pt x="1275" y="111"/>
                  </a:lnTo>
                  <a:lnTo>
                    <a:pt x="1265" y="105"/>
                  </a:lnTo>
                  <a:lnTo>
                    <a:pt x="1260" y="103"/>
                  </a:lnTo>
                  <a:lnTo>
                    <a:pt x="1255" y="100"/>
                  </a:lnTo>
                  <a:lnTo>
                    <a:pt x="1250" y="98"/>
                  </a:lnTo>
                  <a:lnTo>
                    <a:pt x="1244" y="97"/>
                  </a:lnTo>
                  <a:lnTo>
                    <a:pt x="1233" y="94"/>
                  </a:lnTo>
                  <a:lnTo>
                    <a:pt x="1221" y="92"/>
                  </a:lnTo>
                  <a:lnTo>
                    <a:pt x="1215" y="92"/>
                  </a:lnTo>
                  <a:lnTo>
                    <a:pt x="1209" y="92"/>
                  </a:lnTo>
                  <a:lnTo>
                    <a:pt x="1197" y="92"/>
                  </a:lnTo>
                  <a:lnTo>
                    <a:pt x="1185" y="94"/>
                  </a:lnTo>
                  <a:lnTo>
                    <a:pt x="1174" y="97"/>
                  </a:lnTo>
                  <a:lnTo>
                    <a:pt x="1169" y="98"/>
                  </a:lnTo>
                  <a:lnTo>
                    <a:pt x="1163" y="100"/>
                  </a:lnTo>
                  <a:lnTo>
                    <a:pt x="1153" y="105"/>
                  </a:lnTo>
                  <a:lnTo>
                    <a:pt x="1144" y="111"/>
                  </a:lnTo>
                  <a:lnTo>
                    <a:pt x="1135" y="118"/>
                  </a:lnTo>
                  <a:lnTo>
                    <a:pt x="1127" y="126"/>
                  </a:lnTo>
                  <a:lnTo>
                    <a:pt x="1119" y="134"/>
                  </a:lnTo>
                  <a:lnTo>
                    <a:pt x="1113" y="144"/>
                  </a:lnTo>
                  <a:lnTo>
                    <a:pt x="1107" y="154"/>
                  </a:lnTo>
                  <a:lnTo>
                    <a:pt x="1102" y="165"/>
                  </a:lnTo>
                  <a:lnTo>
                    <a:pt x="1100" y="171"/>
                  </a:lnTo>
                  <a:lnTo>
                    <a:pt x="1098" y="177"/>
                  </a:lnTo>
                  <a:lnTo>
                    <a:pt x="1096" y="189"/>
                  </a:lnTo>
                  <a:lnTo>
                    <a:pt x="1094" y="202"/>
                  </a:lnTo>
                  <a:lnTo>
                    <a:pt x="1093" y="209"/>
                  </a:lnTo>
                  <a:lnTo>
                    <a:pt x="1093" y="216"/>
                  </a:lnTo>
                  <a:lnTo>
                    <a:pt x="1094" y="230"/>
                  </a:lnTo>
                  <a:lnTo>
                    <a:pt x="1096" y="243"/>
                  </a:lnTo>
                  <a:lnTo>
                    <a:pt x="1098" y="256"/>
                  </a:lnTo>
                  <a:lnTo>
                    <a:pt x="1100" y="262"/>
                  </a:lnTo>
                  <a:lnTo>
                    <a:pt x="1102" y="268"/>
                  </a:lnTo>
                  <a:lnTo>
                    <a:pt x="1107" y="279"/>
                  </a:lnTo>
                  <a:lnTo>
                    <a:pt x="1113" y="289"/>
                  </a:lnTo>
                  <a:lnTo>
                    <a:pt x="1119" y="299"/>
                  </a:lnTo>
                  <a:lnTo>
                    <a:pt x="1123" y="303"/>
                  </a:lnTo>
                  <a:lnTo>
                    <a:pt x="1127" y="307"/>
                  </a:lnTo>
                  <a:lnTo>
                    <a:pt x="1131" y="311"/>
                  </a:lnTo>
                  <a:lnTo>
                    <a:pt x="1135" y="315"/>
                  </a:lnTo>
                  <a:lnTo>
                    <a:pt x="1139" y="318"/>
                  </a:lnTo>
                  <a:lnTo>
                    <a:pt x="1144" y="322"/>
                  </a:lnTo>
                  <a:lnTo>
                    <a:pt x="1153" y="327"/>
                  </a:lnTo>
                  <a:lnTo>
                    <a:pt x="1158" y="330"/>
                  </a:lnTo>
                  <a:lnTo>
                    <a:pt x="1163" y="332"/>
                  </a:lnTo>
                  <a:lnTo>
                    <a:pt x="1169" y="334"/>
                  </a:lnTo>
                  <a:lnTo>
                    <a:pt x="1174" y="336"/>
                  </a:lnTo>
                  <a:lnTo>
                    <a:pt x="1185" y="339"/>
                  </a:lnTo>
                  <a:lnTo>
                    <a:pt x="1197" y="341"/>
                  </a:lnTo>
                  <a:lnTo>
                    <a:pt x="1203" y="341"/>
                  </a:lnTo>
                  <a:lnTo>
                    <a:pt x="1209" y="341"/>
                  </a:lnTo>
                  <a:close/>
                  <a:moveTo>
                    <a:pt x="1209" y="0"/>
                  </a:moveTo>
                  <a:lnTo>
                    <a:pt x="1221" y="0"/>
                  </a:lnTo>
                  <a:lnTo>
                    <a:pt x="1233" y="1"/>
                  </a:lnTo>
                  <a:lnTo>
                    <a:pt x="1244" y="2"/>
                  </a:lnTo>
                  <a:lnTo>
                    <a:pt x="1256" y="4"/>
                  </a:lnTo>
                  <a:lnTo>
                    <a:pt x="1267" y="6"/>
                  </a:lnTo>
                  <a:lnTo>
                    <a:pt x="1277" y="9"/>
                  </a:lnTo>
                  <a:lnTo>
                    <a:pt x="1288" y="12"/>
                  </a:lnTo>
                  <a:lnTo>
                    <a:pt x="1298" y="16"/>
                  </a:lnTo>
                  <a:lnTo>
                    <a:pt x="1308" y="20"/>
                  </a:lnTo>
                  <a:lnTo>
                    <a:pt x="1318" y="25"/>
                  </a:lnTo>
                  <a:lnTo>
                    <a:pt x="1327" y="30"/>
                  </a:lnTo>
                  <a:lnTo>
                    <a:pt x="1336" y="35"/>
                  </a:lnTo>
                  <a:lnTo>
                    <a:pt x="1345" y="41"/>
                  </a:lnTo>
                  <a:lnTo>
                    <a:pt x="1349" y="44"/>
                  </a:lnTo>
                  <a:lnTo>
                    <a:pt x="1353" y="47"/>
                  </a:lnTo>
                  <a:lnTo>
                    <a:pt x="1357" y="51"/>
                  </a:lnTo>
                  <a:lnTo>
                    <a:pt x="1361" y="54"/>
                  </a:lnTo>
                  <a:lnTo>
                    <a:pt x="1369" y="61"/>
                  </a:lnTo>
                  <a:lnTo>
                    <a:pt x="1373" y="65"/>
                  </a:lnTo>
                  <a:lnTo>
                    <a:pt x="1376" y="69"/>
                  </a:lnTo>
                  <a:lnTo>
                    <a:pt x="1383" y="76"/>
                  </a:lnTo>
                  <a:lnTo>
                    <a:pt x="1390" y="84"/>
                  </a:lnTo>
                  <a:lnTo>
                    <a:pt x="1393" y="89"/>
                  </a:lnTo>
                  <a:lnTo>
                    <a:pt x="1396" y="93"/>
                  </a:lnTo>
                  <a:lnTo>
                    <a:pt x="1401" y="102"/>
                  </a:lnTo>
                  <a:lnTo>
                    <a:pt x="1407" y="111"/>
                  </a:lnTo>
                  <a:lnTo>
                    <a:pt x="1411" y="120"/>
                  </a:lnTo>
                  <a:lnTo>
                    <a:pt x="1416" y="130"/>
                  </a:lnTo>
                  <a:lnTo>
                    <a:pt x="1418" y="135"/>
                  </a:lnTo>
                  <a:lnTo>
                    <a:pt x="1420" y="140"/>
                  </a:lnTo>
                  <a:lnTo>
                    <a:pt x="1423" y="150"/>
                  </a:lnTo>
                  <a:lnTo>
                    <a:pt x="1426" y="160"/>
                  </a:lnTo>
                  <a:lnTo>
                    <a:pt x="1428" y="171"/>
                  </a:lnTo>
                  <a:lnTo>
                    <a:pt x="1430" y="182"/>
                  </a:lnTo>
                  <a:lnTo>
                    <a:pt x="1432" y="193"/>
                  </a:lnTo>
                  <a:lnTo>
                    <a:pt x="1432" y="199"/>
                  </a:lnTo>
                  <a:lnTo>
                    <a:pt x="1432" y="205"/>
                  </a:lnTo>
                  <a:lnTo>
                    <a:pt x="1433" y="216"/>
                  </a:lnTo>
                  <a:lnTo>
                    <a:pt x="1432" y="228"/>
                  </a:lnTo>
                  <a:lnTo>
                    <a:pt x="1432" y="239"/>
                  </a:lnTo>
                  <a:lnTo>
                    <a:pt x="1430" y="251"/>
                  </a:lnTo>
                  <a:lnTo>
                    <a:pt x="1428" y="262"/>
                  </a:lnTo>
                  <a:lnTo>
                    <a:pt x="1426" y="272"/>
                  </a:lnTo>
                  <a:lnTo>
                    <a:pt x="1423" y="283"/>
                  </a:lnTo>
                  <a:lnTo>
                    <a:pt x="1420" y="293"/>
                  </a:lnTo>
                  <a:lnTo>
                    <a:pt x="1416" y="303"/>
                  </a:lnTo>
                  <a:lnTo>
                    <a:pt x="1411" y="313"/>
                  </a:lnTo>
                  <a:lnTo>
                    <a:pt x="1407" y="322"/>
                  </a:lnTo>
                  <a:lnTo>
                    <a:pt x="1401" y="331"/>
                  </a:lnTo>
                  <a:lnTo>
                    <a:pt x="1396" y="340"/>
                  </a:lnTo>
                  <a:lnTo>
                    <a:pt x="1390" y="348"/>
                  </a:lnTo>
                  <a:lnTo>
                    <a:pt x="1383" y="356"/>
                  </a:lnTo>
                  <a:lnTo>
                    <a:pt x="1376" y="364"/>
                  </a:lnTo>
                  <a:lnTo>
                    <a:pt x="1369" y="372"/>
                  </a:lnTo>
                  <a:lnTo>
                    <a:pt x="1361" y="379"/>
                  </a:lnTo>
                  <a:lnTo>
                    <a:pt x="1353" y="385"/>
                  </a:lnTo>
                  <a:lnTo>
                    <a:pt x="1345" y="391"/>
                  </a:lnTo>
                  <a:lnTo>
                    <a:pt x="1336" y="397"/>
                  </a:lnTo>
                  <a:lnTo>
                    <a:pt x="1327" y="403"/>
                  </a:lnTo>
                  <a:lnTo>
                    <a:pt x="1318" y="408"/>
                  </a:lnTo>
                  <a:lnTo>
                    <a:pt x="1308" y="412"/>
                  </a:lnTo>
                  <a:lnTo>
                    <a:pt x="1298" y="417"/>
                  </a:lnTo>
                  <a:lnTo>
                    <a:pt x="1288" y="420"/>
                  </a:lnTo>
                  <a:lnTo>
                    <a:pt x="1277" y="424"/>
                  </a:lnTo>
                  <a:lnTo>
                    <a:pt x="1267" y="426"/>
                  </a:lnTo>
                  <a:lnTo>
                    <a:pt x="1256" y="429"/>
                  </a:lnTo>
                  <a:lnTo>
                    <a:pt x="1244" y="430"/>
                  </a:lnTo>
                  <a:lnTo>
                    <a:pt x="1233" y="432"/>
                  </a:lnTo>
                  <a:lnTo>
                    <a:pt x="1221" y="433"/>
                  </a:lnTo>
                  <a:lnTo>
                    <a:pt x="1209" y="433"/>
                  </a:lnTo>
                  <a:lnTo>
                    <a:pt x="1197" y="433"/>
                  </a:lnTo>
                  <a:lnTo>
                    <a:pt x="1186" y="432"/>
                  </a:lnTo>
                  <a:lnTo>
                    <a:pt x="1174" y="430"/>
                  </a:lnTo>
                  <a:lnTo>
                    <a:pt x="1163" y="429"/>
                  </a:lnTo>
                  <a:lnTo>
                    <a:pt x="1152" y="426"/>
                  </a:lnTo>
                  <a:lnTo>
                    <a:pt x="1141" y="424"/>
                  </a:lnTo>
                  <a:lnTo>
                    <a:pt x="1130" y="420"/>
                  </a:lnTo>
                  <a:lnTo>
                    <a:pt x="1120" y="417"/>
                  </a:lnTo>
                  <a:lnTo>
                    <a:pt x="1110" y="412"/>
                  </a:lnTo>
                  <a:lnTo>
                    <a:pt x="1100" y="408"/>
                  </a:lnTo>
                  <a:lnTo>
                    <a:pt x="1091" y="403"/>
                  </a:lnTo>
                  <a:lnTo>
                    <a:pt x="1082" y="397"/>
                  </a:lnTo>
                  <a:lnTo>
                    <a:pt x="1073" y="391"/>
                  </a:lnTo>
                  <a:lnTo>
                    <a:pt x="1069" y="388"/>
                  </a:lnTo>
                  <a:lnTo>
                    <a:pt x="1065" y="385"/>
                  </a:lnTo>
                  <a:lnTo>
                    <a:pt x="1061" y="382"/>
                  </a:lnTo>
                  <a:lnTo>
                    <a:pt x="1057" y="379"/>
                  </a:lnTo>
                  <a:lnTo>
                    <a:pt x="1049" y="372"/>
                  </a:lnTo>
                  <a:lnTo>
                    <a:pt x="1046" y="368"/>
                  </a:lnTo>
                  <a:lnTo>
                    <a:pt x="1042" y="364"/>
                  </a:lnTo>
                  <a:lnTo>
                    <a:pt x="1035" y="356"/>
                  </a:lnTo>
                  <a:lnTo>
                    <a:pt x="1029" y="348"/>
                  </a:lnTo>
                  <a:lnTo>
                    <a:pt x="1026" y="344"/>
                  </a:lnTo>
                  <a:lnTo>
                    <a:pt x="1023" y="340"/>
                  </a:lnTo>
                  <a:lnTo>
                    <a:pt x="1017" y="331"/>
                  </a:lnTo>
                  <a:lnTo>
                    <a:pt x="1012" y="322"/>
                  </a:lnTo>
                  <a:lnTo>
                    <a:pt x="1007" y="313"/>
                  </a:lnTo>
                  <a:lnTo>
                    <a:pt x="1003" y="303"/>
                  </a:lnTo>
                  <a:lnTo>
                    <a:pt x="1001" y="298"/>
                  </a:lnTo>
                  <a:lnTo>
                    <a:pt x="999" y="293"/>
                  </a:lnTo>
                  <a:lnTo>
                    <a:pt x="995" y="283"/>
                  </a:lnTo>
                  <a:lnTo>
                    <a:pt x="992" y="272"/>
                  </a:lnTo>
                  <a:lnTo>
                    <a:pt x="990" y="262"/>
                  </a:lnTo>
                  <a:lnTo>
                    <a:pt x="988" y="251"/>
                  </a:lnTo>
                  <a:lnTo>
                    <a:pt x="987" y="239"/>
                  </a:lnTo>
                  <a:lnTo>
                    <a:pt x="986" y="234"/>
                  </a:lnTo>
                  <a:lnTo>
                    <a:pt x="986" y="228"/>
                  </a:lnTo>
                  <a:lnTo>
                    <a:pt x="986" y="216"/>
                  </a:lnTo>
                  <a:lnTo>
                    <a:pt x="986" y="205"/>
                  </a:lnTo>
                  <a:lnTo>
                    <a:pt x="987" y="193"/>
                  </a:lnTo>
                  <a:lnTo>
                    <a:pt x="988" y="182"/>
                  </a:lnTo>
                  <a:lnTo>
                    <a:pt x="990" y="171"/>
                  </a:lnTo>
                  <a:lnTo>
                    <a:pt x="992" y="160"/>
                  </a:lnTo>
                  <a:lnTo>
                    <a:pt x="995" y="150"/>
                  </a:lnTo>
                  <a:lnTo>
                    <a:pt x="999" y="140"/>
                  </a:lnTo>
                  <a:lnTo>
                    <a:pt x="1003" y="130"/>
                  </a:lnTo>
                  <a:lnTo>
                    <a:pt x="1007" y="120"/>
                  </a:lnTo>
                  <a:lnTo>
                    <a:pt x="1012" y="111"/>
                  </a:lnTo>
                  <a:lnTo>
                    <a:pt x="1017" y="102"/>
                  </a:lnTo>
                  <a:lnTo>
                    <a:pt x="1023" y="93"/>
                  </a:lnTo>
                  <a:lnTo>
                    <a:pt x="1029" y="84"/>
                  </a:lnTo>
                  <a:lnTo>
                    <a:pt x="1035" y="76"/>
                  </a:lnTo>
                  <a:lnTo>
                    <a:pt x="1042" y="69"/>
                  </a:lnTo>
                  <a:lnTo>
                    <a:pt x="1049" y="61"/>
                  </a:lnTo>
                  <a:lnTo>
                    <a:pt x="1057" y="54"/>
                  </a:lnTo>
                  <a:lnTo>
                    <a:pt x="1065" y="47"/>
                  </a:lnTo>
                  <a:lnTo>
                    <a:pt x="1073" y="41"/>
                  </a:lnTo>
                  <a:lnTo>
                    <a:pt x="1082" y="35"/>
                  </a:lnTo>
                  <a:lnTo>
                    <a:pt x="1091" y="30"/>
                  </a:lnTo>
                  <a:lnTo>
                    <a:pt x="1100" y="25"/>
                  </a:lnTo>
                  <a:lnTo>
                    <a:pt x="1110" y="20"/>
                  </a:lnTo>
                  <a:lnTo>
                    <a:pt x="1120" y="16"/>
                  </a:lnTo>
                  <a:lnTo>
                    <a:pt x="1130" y="12"/>
                  </a:lnTo>
                  <a:lnTo>
                    <a:pt x="1141" y="9"/>
                  </a:lnTo>
                  <a:lnTo>
                    <a:pt x="1152" y="6"/>
                  </a:lnTo>
                  <a:lnTo>
                    <a:pt x="1163" y="4"/>
                  </a:lnTo>
                  <a:lnTo>
                    <a:pt x="1174" y="2"/>
                  </a:lnTo>
                  <a:lnTo>
                    <a:pt x="1186" y="1"/>
                  </a:lnTo>
                  <a:lnTo>
                    <a:pt x="1197" y="0"/>
                  </a:lnTo>
                  <a:lnTo>
                    <a:pt x="1209" y="0"/>
                  </a:lnTo>
                  <a:close/>
                  <a:moveTo>
                    <a:pt x="2022" y="7"/>
                  </a:moveTo>
                  <a:lnTo>
                    <a:pt x="2026" y="8"/>
                  </a:lnTo>
                  <a:lnTo>
                    <a:pt x="2028" y="8"/>
                  </a:lnTo>
                  <a:lnTo>
                    <a:pt x="2029" y="10"/>
                  </a:lnTo>
                  <a:lnTo>
                    <a:pt x="2030" y="11"/>
                  </a:lnTo>
                  <a:lnTo>
                    <a:pt x="2031" y="13"/>
                  </a:lnTo>
                  <a:lnTo>
                    <a:pt x="2031" y="16"/>
                  </a:lnTo>
                  <a:lnTo>
                    <a:pt x="2031" y="19"/>
                  </a:lnTo>
                  <a:lnTo>
                    <a:pt x="2017" y="88"/>
                  </a:lnTo>
                  <a:lnTo>
                    <a:pt x="2015" y="93"/>
                  </a:lnTo>
                  <a:lnTo>
                    <a:pt x="2013" y="96"/>
                  </a:lnTo>
                  <a:lnTo>
                    <a:pt x="2012" y="97"/>
                  </a:lnTo>
                  <a:lnTo>
                    <a:pt x="2010" y="98"/>
                  </a:lnTo>
                  <a:lnTo>
                    <a:pt x="2008" y="99"/>
                  </a:lnTo>
                  <a:lnTo>
                    <a:pt x="2005" y="99"/>
                  </a:lnTo>
                  <a:lnTo>
                    <a:pt x="1950" y="99"/>
                  </a:lnTo>
                  <a:lnTo>
                    <a:pt x="1950" y="416"/>
                  </a:lnTo>
                  <a:lnTo>
                    <a:pt x="1949" y="418"/>
                  </a:lnTo>
                  <a:lnTo>
                    <a:pt x="1949" y="420"/>
                  </a:lnTo>
                  <a:lnTo>
                    <a:pt x="1947" y="423"/>
                  </a:lnTo>
                  <a:lnTo>
                    <a:pt x="1945" y="424"/>
                  </a:lnTo>
                  <a:lnTo>
                    <a:pt x="1944" y="425"/>
                  </a:lnTo>
                  <a:lnTo>
                    <a:pt x="1940" y="426"/>
                  </a:lnTo>
                  <a:lnTo>
                    <a:pt x="1861" y="426"/>
                  </a:lnTo>
                  <a:lnTo>
                    <a:pt x="1858" y="425"/>
                  </a:lnTo>
                  <a:lnTo>
                    <a:pt x="1855" y="423"/>
                  </a:lnTo>
                  <a:lnTo>
                    <a:pt x="1854" y="421"/>
                  </a:lnTo>
                  <a:lnTo>
                    <a:pt x="1853" y="420"/>
                  </a:lnTo>
                  <a:lnTo>
                    <a:pt x="1853" y="418"/>
                  </a:lnTo>
                  <a:lnTo>
                    <a:pt x="1853" y="416"/>
                  </a:lnTo>
                  <a:lnTo>
                    <a:pt x="1853" y="99"/>
                  </a:lnTo>
                  <a:lnTo>
                    <a:pt x="1796" y="99"/>
                  </a:lnTo>
                  <a:lnTo>
                    <a:pt x="1792" y="98"/>
                  </a:lnTo>
                  <a:lnTo>
                    <a:pt x="1789" y="96"/>
                  </a:lnTo>
                  <a:lnTo>
                    <a:pt x="1787" y="93"/>
                  </a:lnTo>
                  <a:lnTo>
                    <a:pt x="1786" y="91"/>
                  </a:lnTo>
                  <a:lnTo>
                    <a:pt x="1786" y="89"/>
                  </a:lnTo>
                  <a:lnTo>
                    <a:pt x="1786" y="17"/>
                  </a:lnTo>
                  <a:lnTo>
                    <a:pt x="1786" y="15"/>
                  </a:lnTo>
                  <a:lnTo>
                    <a:pt x="1787" y="13"/>
                  </a:lnTo>
                  <a:lnTo>
                    <a:pt x="1789" y="10"/>
                  </a:lnTo>
                  <a:lnTo>
                    <a:pt x="1790" y="9"/>
                  </a:lnTo>
                  <a:lnTo>
                    <a:pt x="1792" y="8"/>
                  </a:lnTo>
                  <a:lnTo>
                    <a:pt x="1796" y="7"/>
                  </a:lnTo>
                  <a:lnTo>
                    <a:pt x="2022" y="7"/>
                  </a:lnTo>
                  <a:close/>
                  <a:moveTo>
                    <a:pt x="1716" y="7"/>
                  </a:moveTo>
                  <a:lnTo>
                    <a:pt x="1720" y="8"/>
                  </a:lnTo>
                  <a:lnTo>
                    <a:pt x="1722" y="8"/>
                  </a:lnTo>
                  <a:lnTo>
                    <a:pt x="1723" y="10"/>
                  </a:lnTo>
                  <a:lnTo>
                    <a:pt x="1724" y="11"/>
                  </a:lnTo>
                  <a:lnTo>
                    <a:pt x="1725" y="13"/>
                  </a:lnTo>
                  <a:lnTo>
                    <a:pt x="1725" y="16"/>
                  </a:lnTo>
                  <a:lnTo>
                    <a:pt x="1725" y="19"/>
                  </a:lnTo>
                  <a:lnTo>
                    <a:pt x="1711" y="88"/>
                  </a:lnTo>
                  <a:lnTo>
                    <a:pt x="1710" y="93"/>
                  </a:lnTo>
                  <a:lnTo>
                    <a:pt x="1707" y="96"/>
                  </a:lnTo>
                  <a:lnTo>
                    <a:pt x="1706" y="97"/>
                  </a:lnTo>
                  <a:lnTo>
                    <a:pt x="1704" y="98"/>
                  </a:lnTo>
                  <a:lnTo>
                    <a:pt x="1702" y="99"/>
                  </a:lnTo>
                  <a:lnTo>
                    <a:pt x="1699" y="99"/>
                  </a:lnTo>
                  <a:lnTo>
                    <a:pt x="1653" y="99"/>
                  </a:lnTo>
                  <a:lnTo>
                    <a:pt x="1653" y="416"/>
                  </a:lnTo>
                  <a:lnTo>
                    <a:pt x="1653" y="418"/>
                  </a:lnTo>
                  <a:lnTo>
                    <a:pt x="1652" y="420"/>
                  </a:lnTo>
                  <a:lnTo>
                    <a:pt x="1650" y="423"/>
                  </a:lnTo>
                  <a:lnTo>
                    <a:pt x="1649" y="424"/>
                  </a:lnTo>
                  <a:lnTo>
                    <a:pt x="1647" y="425"/>
                  </a:lnTo>
                  <a:lnTo>
                    <a:pt x="1644" y="426"/>
                  </a:lnTo>
                  <a:lnTo>
                    <a:pt x="1565" y="426"/>
                  </a:lnTo>
                  <a:lnTo>
                    <a:pt x="1561" y="425"/>
                  </a:lnTo>
                  <a:lnTo>
                    <a:pt x="1558" y="423"/>
                  </a:lnTo>
                  <a:lnTo>
                    <a:pt x="1557" y="421"/>
                  </a:lnTo>
                  <a:lnTo>
                    <a:pt x="1557" y="420"/>
                  </a:lnTo>
                  <a:lnTo>
                    <a:pt x="1556" y="418"/>
                  </a:lnTo>
                  <a:lnTo>
                    <a:pt x="1556" y="416"/>
                  </a:lnTo>
                  <a:lnTo>
                    <a:pt x="1556" y="99"/>
                  </a:lnTo>
                  <a:lnTo>
                    <a:pt x="1490" y="99"/>
                  </a:lnTo>
                  <a:lnTo>
                    <a:pt x="1486" y="98"/>
                  </a:lnTo>
                  <a:lnTo>
                    <a:pt x="1483" y="96"/>
                  </a:lnTo>
                  <a:lnTo>
                    <a:pt x="1481" y="93"/>
                  </a:lnTo>
                  <a:lnTo>
                    <a:pt x="1481" y="91"/>
                  </a:lnTo>
                  <a:lnTo>
                    <a:pt x="1480" y="89"/>
                  </a:lnTo>
                  <a:lnTo>
                    <a:pt x="1480" y="17"/>
                  </a:lnTo>
                  <a:lnTo>
                    <a:pt x="1481" y="15"/>
                  </a:lnTo>
                  <a:lnTo>
                    <a:pt x="1481" y="13"/>
                  </a:lnTo>
                  <a:lnTo>
                    <a:pt x="1483" y="10"/>
                  </a:lnTo>
                  <a:lnTo>
                    <a:pt x="1484" y="9"/>
                  </a:lnTo>
                  <a:lnTo>
                    <a:pt x="1486" y="8"/>
                  </a:lnTo>
                  <a:lnTo>
                    <a:pt x="1490" y="7"/>
                  </a:lnTo>
                  <a:lnTo>
                    <a:pt x="1716" y="7"/>
                  </a:lnTo>
                  <a:close/>
                  <a:moveTo>
                    <a:pt x="2168" y="281"/>
                  </a:moveTo>
                  <a:lnTo>
                    <a:pt x="2222" y="281"/>
                  </a:lnTo>
                  <a:lnTo>
                    <a:pt x="2195" y="154"/>
                  </a:lnTo>
                  <a:lnTo>
                    <a:pt x="2168" y="281"/>
                  </a:lnTo>
                  <a:close/>
                  <a:moveTo>
                    <a:pt x="2236" y="359"/>
                  </a:moveTo>
                  <a:lnTo>
                    <a:pt x="2154" y="359"/>
                  </a:lnTo>
                  <a:lnTo>
                    <a:pt x="2142" y="416"/>
                  </a:lnTo>
                  <a:lnTo>
                    <a:pt x="2142" y="418"/>
                  </a:lnTo>
                  <a:lnTo>
                    <a:pt x="2141" y="420"/>
                  </a:lnTo>
                  <a:lnTo>
                    <a:pt x="2138" y="423"/>
                  </a:lnTo>
                  <a:lnTo>
                    <a:pt x="2136" y="424"/>
                  </a:lnTo>
                  <a:lnTo>
                    <a:pt x="2135" y="425"/>
                  </a:lnTo>
                  <a:lnTo>
                    <a:pt x="2133" y="426"/>
                  </a:lnTo>
                  <a:lnTo>
                    <a:pt x="2131" y="426"/>
                  </a:lnTo>
                  <a:lnTo>
                    <a:pt x="2058" y="426"/>
                  </a:lnTo>
                  <a:lnTo>
                    <a:pt x="2056" y="425"/>
                  </a:lnTo>
                  <a:lnTo>
                    <a:pt x="2054" y="425"/>
                  </a:lnTo>
                  <a:lnTo>
                    <a:pt x="2052" y="424"/>
                  </a:lnTo>
                  <a:lnTo>
                    <a:pt x="2051" y="422"/>
                  </a:lnTo>
                  <a:lnTo>
                    <a:pt x="2050" y="421"/>
                  </a:lnTo>
                  <a:lnTo>
                    <a:pt x="2049" y="418"/>
                  </a:lnTo>
                  <a:lnTo>
                    <a:pt x="2050" y="412"/>
                  </a:lnTo>
                  <a:lnTo>
                    <a:pt x="2142" y="17"/>
                  </a:lnTo>
                  <a:lnTo>
                    <a:pt x="2143" y="15"/>
                  </a:lnTo>
                  <a:lnTo>
                    <a:pt x="2144" y="13"/>
                  </a:lnTo>
                  <a:lnTo>
                    <a:pt x="2147" y="10"/>
                  </a:lnTo>
                  <a:lnTo>
                    <a:pt x="2149" y="9"/>
                  </a:lnTo>
                  <a:lnTo>
                    <a:pt x="2151" y="8"/>
                  </a:lnTo>
                  <a:lnTo>
                    <a:pt x="2155" y="7"/>
                  </a:lnTo>
                  <a:lnTo>
                    <a:pt x="2236" y="7"/>
                  </a:lnTo>
                  <a:lnTo>
                    <a:pt x="2239" y="7"/>
                  </a:lnTo>
                  <a:lnTo>
                    <a:pt x="2241" y="8"/>
                  </a:lnTo>
                  <a:lnTo>
                    <a:pt x="2245" y="10"/>
                  </a:lnTo>
                  <a:lnTo>
                    <a:pt x="2248" y="13"/>
                  </a:lnTo>
                  <a:lnTo>
                    <a:pt x="2249" y="15"/>
                  </a:lnTo>
                  <a:lnTo>
                    <a:pt x="2249" y="17"/>
                  </a:lnTo>
                  <a:lnTo>
                    <a:pt x="2343" y="412"/>
                  </a:lnTo>
                  <a:lnTo>
                    <a:pt x="2343" y="418"/>
                  </a:lnTo>
                  <a:lnTo>
                    <a:pt x="2343" y="421"/>
                  </a:lnTo>
                  <a:lnTo>
                    <a:pt x="2342" y="422"/>
                  </a:lnTo>
                  <a:lnTo>
                    <a:pt x="2341" y="424"/>
                  </a:lnTo>
                  <a:lnTo>
                    <a:pt x="2339" y="425"/>
                  </a:lnTo>
                  <a:lnTo>
                    <a:pt x="2335" y="426"/>
                  </a:lnTo>
                  <a:lnTo>
                    <a:pt x="2260" y="426"/>
                  </a:lnTo>
                  <a:lnTo>
                    <a:pt x="2256" y="425"/>
                  </a:lnTo>
                  <a:lnTo>
                    <a:pt x="2252" y="423"/>
                  </a:lnTo>
                  <a:lnTo>
                    <a:pt x="2251" y="422"/>
                  </a:lnTo>
                  <a:lnTo>
                    <a:pt x="2249" y="420"/>
                  </a:lnTo>
                  <a:lnTo>
                    <a:pt x="2248" y="418"/>
                  </a:lnTo>
                  <a:lnTo>
                    <a:pt x="2248" y="416"/>
                  </a:lnTo>
                  <a:lnTo>
                    <a:pt x="2236" y="359"/>
                  </a:lnTo>
                  <a:close/>
                  <a:moveTo>
                    <a:pt x="912" y="4"/>
                  </a:moveTo>
                  <a:lnTo>
                    <a:pt x="915" y="5"/>
                  </a:lnTo>
                  <a:lnTo>
                    <a:pt x="918" y="7"/>
                  </a:lnTo>
                  <a:lnTo>
                    <a:pt x="919" y="9"/>
                  </a:lnTo>
                  <a:lnTo>
                    <a:pt x="920" y="10"/>
                  </a:lnTo>
                  <a:lnTo>
                    <a:pt x="921" y="12"/>
                  </a:lnTo>
                  <a:lnTo>
                    <a:pt x="921" y="14"/>
                  </a:lnTo>
                  <a:lnTo>
                    <a:pt x="921" y="291"/>
                  </a:lnTo>
                  <a:lnTo>
                    <a:pt x="921" y="301"/>
                  </a:lnTo>
                  <a:lnTo>
                    <a:pt x="920" y="310"/>
                  </a:lnTo>
                  <a:lnTo>
                    <a:pt x="919" y="320"/>
                  </a:lnTo>
                  <a:lnTo>
                    <a:pt x="918" y="328"/>
                  </a:lnTo>
                  <a:lnTo>
                    <a:pt x="917" y="336"/>
                  </a:lnTo>
                  <a:lnTo>
                    <a:pt x="915" y="344"/>
                  </a:lnTo>
                  <a:lnTo>
                    <a:pt x="911" y="359"/>
                  </a:lnTo>
                  <a:lnTo>
                    <a:pt x="908" y="365"/>
                  </a:lnTo>
                  <a:lnTo>
                    <a:pt x="906" y="372"/>
                  </a:lnTo>
                  <a:lnTo>
                    <a:pt x="899" y="383"/>
                  </a:lnTo>
                  <a:lnTo>
                    <a:pt x="896" y="388"/>
                  </a:lnTo>
                  <a:lnTo>
                    <a:pt x="893" y="393"/>
                  </a:lnTo>
                  <a:lnTo>
                    <a:pt x="885" y="401"/>
                  </a:lnTo>
                  <a:lnTo>
                    <a:pt x="877" y="408"/>
                  </a:lnTo>
                  <a:lnTo>
                    <a:pt x="872" y="411"/>
                  </a:lnTo>
                  <a:lnTo>
                    <a:pt x="868" y="414"/>
                  </a:lnTo>
                  <a:lnTo>
                    <a:pt x="858" y="419"/>
                  </a:lnTo>
                  <a:lnTo>
                    <a:pt x="849" y="422"/>
                  </a:lnTo>
                  <a:lnTo>
                    <a:pt x="839" y="425"/>
                  </a:lnTo>
                  <a:lnTo>
                    <a:pt x="829" y="427"/>
                  </a:lnTo>
                  <a:lnTo>
                    <a:pt x="819" y="428"/>
                  </a:lnTo>
                  <a:lnTo>
                    <a:pt x="808" y="428"/>
                  </a:lnTo>
                  <a:lnTo>
                    <a:pt x="796" y="428"/>
                  </a:lnTo>
                  <a:lnTo>
                    <a:pt x="784" y="427"/>
                  </a:lnTo>
                  <a:lnTo>
                    <a:pt x="774" y="425"/>
                  </a:lnTo>
                  <a:lnTo>
                    <a:pt x="764" y="423"/>
                  </a:lnTo>
                  <a:lnTo>
                    <a:pt x="759" y="421"/>
                  </a:lnTo>
                  <a:lnTo>
                    <a:pt x="756" y="419"/>
                  </a:lnTo>
                  <a:lnTo>
                    <a:pt x="753" y="415"/>
                  </a:lnTo>
                  <a:lnTo>
                    <a:pt x="752" y="411"/>
                  </a:lnTo>
                  <a:lnTo>
                    <a:pt x="739" y="353"/>
                  </a:lnTo>
                  <a:lnTo>
                    <a:pt x="738" y="350"/>
                  </a:lnTo>
                  <a:lnTo>
                    <a:pt x="739" y="347"/>
                  </a:lnTo>
                  <a:lnTo>
                    <a:pt x="739" y="345"/>
                  </a:lnTo>
                  <a:lnTo>
                    <a:pt x="741" y="344"/>
                  </a:lnTo>
                  <a:lnTo>
                    <a:pt x="742" y="342"/>
                  </a:lnTo>
                  <a:lnTo>
                    <a:pt x="744" y="341"/>
                  </a:lnTo>
                  <a:lnTo>
                    <a:pt x="746" y="341"/>
                  </a:lnTo>
                  <a:lnTo>
                    <a:pt x="749" y="341"/>
                  </a:lnTo>
                  <a:lnTo>
                    <a:pt x="763" y="344"/>
                  </a:lnTo>
                  <a:lnTo>
                    <a:pt x="773" y="346"/>
                  </a:lnTo>
                  <a:lnTo>
                    <a:pt x="785" y="346"/>
                  </a:lnTo>
                  <a:lnTo>
                    <a:pt x="791" y="346"/>
                  </a:lnTo>
                  <a:lnTo>
                    <a:pt x="797" y="345"/>
                  </a:lnTo>
                  <a:lnTo>
                    <a:pt x="803" y="344"/>
                  </a:lnTo>
                  <a:lnTo>
                    <a:pt x="808" y="342"/>
                  </a:lnTo>
                  <a:lnTo>
                    <a:pt x="812" y="339"/>
                  </a:lnTo>
                  <a:lnTo>
                    <a:pt x="816" y="336"/>
                  </a:lnTo>
                  <a:lnTo>
                    <a:pt x="817" y="335"/>
                  </a:lnTo>
                  <a:lnTo>
                    <a:pt x="819" y="333"/>
                  </a:lnTo>
                  <a:lnTo>
                    <a:pt x="821" y="328"/>
                  </a:lnTo>
                  <a:lnTo>
                    <a:pt x="824" y="323"/>
                  </a:lnTo>
                  <a:lnTo>
                    <a:pt x="825" y="318"/>
                  </a:lnTo>
                  <a:lnTo>
                    <a:pt x="827" y="311"/>
                  </a:lnTo>
                  <a:lnTo>
                    <a:pt x="828" y="304"/>
                  </a:lnTo>
                  <a:lnTo>
                    <a:pt x="829" y="297"/>
                  </a:lnTo>
                  <a:lnTo>
                    <a:pt x="829" y="288"/>
                  </a:lnTo>
                  <a:lnTo>
                    <a:pt x="830" y="269"/>
                  </a:lnTo>
                  <a:lnTo>
                    <a:pt x="830" y="14"/>
                  </a:lnTo>
                  <a:lnTo>
                    <a:pt x="830" y="12"/>
                  </a:lnTo>
                  <a:lnTo>
                    <a:pt x="830" y="10"/>
                  </a:lnTo>
                  <a:lnTo>
                    <a:pt x="832" y="7"/>
                  </a:lnTo>
                  <a:lnTo>
                    <a:pt x="833" y="6"/>
                  </a:lnTo>
                  <a:lnTo>
                    <a:pt x="835" y="5"/>
                  </a:lnTo>
                  <a:lnTo>
                    <a:pt x="837" y="5"/>
                  </a:lnTo>
                  <a:lnTo>
                    <a:pt x="838" y="4"/>
                  </a:lnTo>
                  <a:lnTo>
                    <a:pt x="912" y="4"/>
                  </a:lnTo>
                  <a:close/>
                  <a:moveTo>
                    <a:pt x="2826" y="1740"/>
                  </a:moveTo>
                  <a:lnTo>
                    <a:pt x="2925" y="1740"/>
                  </a:lnTo>
                  <a:lnTo>
                    <a:pt x="2875" y="1609"/>
                  </a:lnTo>
                  <a:lnTo>
                    <a:pt x="2826" y="1740"/>
                  </a:lnTo>
                  <a:close/>
                  <a:moveTo>
                    <a:pt x="2956" y="1822"/>
                  </a:moveTo>
                  <a:lnTo>
                    <a:pt x="2796" y="1822"/>
                  </a:lnTo>
                  <a:lnTo>
                    <a:pt x="2774" y="1879"/>
                  </a:lnTo>
                  <a:lnTo>
                    <a:pt x="2773" y="1882"/>
                  </a:lnTo>
                  <a:lnTo>
                    <a:pt x="2771" y="1884"/>
                  </a:lnTo>
                  <a:lnTo>
                    <a:pt x="2770" y="1885"/>
                  </a:lnTo>
                  <a:lnTo>
                    <a:pt x="2768" y="1887"/>
                  </a:lnTo>
                  <a:lnTo>
                    <a:pt x="2764" y="1888"/>
                  </a:lnTo>
                  <a:lnTo>
                    <a:pt x="2760" y="1889"/>
                  </a:lnTo>
                  <a:lnTo>
                    <a:pt x="2681" y="1889"/>
                  </a:lnTo>
                  <a:lnTo>
                    <a:pt x="2679" y="1889"/>
                  </a:lnTo>
                  <a:lnTo>
                    <a:pt x="2677" y="1888"/>
                  </a:lnTo>
                  <a:lnTo>
                    <a:pt x="2675" y="1887"/>
                  </a:lnTo>
                  <a:lnTo>
                    <a:pt x="2673" y="1885"/>
                  </a:lnTo>
                  <a:lnTo>
                    <a:pt x="2672" y="1883"/>
                  </a:lnTo>
                  <a:lnTo>
                    <a:pt x="2671" y="1881"/>
                  </a:lnTo>
                  <a:lnTo>
                    <a:pt x="2672" y="1878"/>
                  </a:lnTo>
                  <a:lnTo>
                    <a:pt x="2673" y="1875"/>
                  </a:lnTo>
                  <a:lnTo>
                    <a:pt x="2828" y="1480"/>
                  </a:lnTo>
                  <a:lnTo>
                    <a:pt x="2829" y="1477"/>
                  </a:lnTo>
                  <a:lnTo>
                    <a:pt x="2830" y="1475"/>
                  </a:lnTo>
                  <a:lnTo>
                    <a:pt x="2833" y="1472"/>
                  </a:lnTo>
                  <a:lnTo>
                    <a:pt x="2837" y="1471"/>
                  </a:lnTo>
                  <a:lnTo>
                    <a:pt x="2839" y="1470"/>
                  </a:lnTo>
                  <a:lnTo>
                    <a:pt x="2842" y="1470"/>
                  </a:lnTo>
                  <a:lnTo>
                    <a:pt x="2911" y="1470"/>
                  </a:lnTo>
                  <a:lnTo>
                    <a:pt x="2916" y="1471"/>
                  </a:lnTo>
                  <a:lnTo>
                    <a:pt x="2920" y="1472"/>
                  </a:lnTo>
                  <a:lnTo>
                    <a:pt x="2923" y="1475"/>
                  </a:lnTo>
                  <a:lnTo>
                    <a:pt x="2924" y="1477"/>
                  </a:lnTo>
                  <a:lnTo>
                    <a:pt x="2925" y="1480"/>
                  </a:lnTo>
                  <a:lnTo>
                    <a:pt x="3081" y="1875"/>
                  </a:lnTo>
                  <a:lnTo>
                    <a:pt x="3082" y="1878"/>
                  </a:lnTo>
                  <a:lnTo>
                    <a:pt x="3082" y="1881"/>
                  </a:lnTo>
                  <a:lnTo>
                    <a:pt x="3081" y="1883"/>
                  </a:lnTo>
                  <a:lnTo>
                    <a:pt x="3080" y="1885"/>
                  </a:lnTo>
                  <a:lnTo>
                    <a:pt x="3079" y="1887"/>
                  </a:lnTo>
                  <a:lnTo>
                    <a:pt x="3077" y="1888"/>
                  </a:lnTo>
                  <a:lnTo>
                    <a:pt x="3074" y="1889"/>
                  </a:lnTo>
                  <a:lnTo>
                    <a:pt x="3072" y="1889"/>
                  </a:lnTo>
                  <a:lnTo>
                    <a:pt x="2991" y="1889"/>
                  </a:lnTo>
                  <a:lnTo>
                    <a:pt x="2987" y="1888"/>
                  </a:lnTo>
                  <a:lnTo>
                    <a:pt x="2985" y="1888"/>
                  </a:lnTo>
                  <a:lnTo>
                    <a:pt x="2983" y="1887"/>
                  </a:lnTo>
                  <a:lnTo>
                    <a:pt x="2981" y="1885"/>
                  </a:lnTo>
                  <a:lnTo>
                    <a:pt x="2980" y="1884"/>
                  </a:lnTo>
                  <a:lnTo>
                    <a:pt x="2979" y="1882"/>
                  </a:lnTo>
                  <a:lnTo>
                    <a:pt x="2978" y="1879"/>
                  </a:lnTo>
                  <a:lnTo>
                    <a:pt x="2956" y="1822"/>
                  </a:lnTo>
                  <a:close/>
                  <a:moveTo>
                    <a:pt x="1829" y="1889"/>
                  </a:moveTo>
                  <a:lnTo>
                    <a:pt x="1747" y="1889"/>
                  </a:lnTo>
                  <a:lnTo>
                    <a:pt x="1743" y="1888"/>
                  </a:lnTo>
                  <a:lnTo>
                    <a:pt x="1739" y="1886"/>
                  </a:lnTo>
                  <a:lnTo>
                    <a:pt x="1738" y="1885"/>
                  </a:lnTo>
                  <a:lnTo>
                    <a:pt x="1737" y="1883"/>
                  </a:lnTo>
                  <a:lnTo>
                    <a:pt x="1737" y="1881"/>
                  </a:lnTo>
                  <a:lnTo>
                    <a:pt x="1737" y="1879"/>
                  </a:lnTo>
                  <a:lnTo>
                    <a:pt x="1737" y="1480"/>
                  </a:lnTo>
                  <a:lnTo>
                    <a:pt x="1737" y="1478"/>
                  </a:lnTo>
                  <a:lnTo>
                    <a:pt x="1737" y="1476"/>
                  </a:lnTo>
                  <a:lnTo>
                    <a:pt x="1739" y="1473"/>
                  </a:lnTo>
                  <a:lnTo>
                    <a:pt x="1741" y="1472"/>
                  </a:lnTo>
                  <a:lnTo>
                    <a:pt x="1743" y="1471"/>
                  </a:lnTo>
                  <a:lnTo>
                    <a:pt x="1747" y="1470"/>
                  </a:lnTo>
                  <a:lnTo>
                    <a:pt x="1829" y="1470"/>
                  </a:lnTo>
                  <a:lnTo>
                    <a:pt x="1833" y="1471"/>
                  </a:lnTo>
                  <a:lnTo>
                    <a:pt x="1836" y="1473"/>
                  </a:lnTo>
                  <a:lnTo>
                    <a:pt x="1837" y="1474"/>
                  </a:lnTo>
                  <a:lnTo>
                    <a:pt x="1838" y="1476"/>
                  </a:lnTo>
                  <a:lnTo>
                    <a:pt x="1839" y="1478"/>
                  </a:lnTo>
                  <a:lnTo>
                    <a:pt x="1839" y="1480"/>
                  </a:lnTo>
                  <a:lnTo>
                    <a:pt x="1839" y="1655"/>
                  </a:lnTo>
                  <a:lnTo>
                    <a:pt x="1982" y="1480"/>
                  </a:lnTo>
                  <a:lnTo>
                    <a:pt x="1986" y="1476"/>
                  </a:lnTo>
                  <a:lnTo>
                    <a:pt x="1987" y="1474"/>
                  </a:lnTo>
                  <a:lnTo>
                    <a:pt x="1990" y="1473"/>
                  </a:lnTo>
                  <a:lnTo>
                    <a:pt x="1992" y="1472"/>
                  </a:lnTo>
                  <a:lnTo>
                    <a:pt x="1994" y="1471"/>
                  </a:lnTo>
                  <a:lnTo>
                    <a:pt x="1997" y="1470"/>
                  </a:lnTo>
                  <a:lnTo>
                    <a:pt x="2000" y="1470"/>
                  </a:lnTo>
                  <a:lnTo>
                    <a:pt x="2095" y="1470"/>
                  </a:lnTo>
                  <a:lnTo>
                    <a:pt x="2098" y="1471"/>
                  </a:lnTo>
                  <a:lnTo>
                    <a:pt x="2101" y="1472"/>
                  </a:lnTo>
                  <a:lnTo>
                    <a:pt x="2102" y="1473"/>
                  </a:lnTo>
                  <a:lnTo>
                    <a:pt x="2103" y="1475"/>
                  </a:lnTo>
                  <a:lnTo>
                    <a:pt x="2104" y="1478"/>
                  </a:lnTo>
                  <a:lnTo>
                    <a:pt x="2104" y="1480"/>
                  </a:lnTo>
                  <a:lnTo>
                    <a:pt x="2103" y="1483"/>
                  </a:lnTo>
                  <a:lnTo>
                    <a:pt x="2101" y="1485"/>
                  </a:lnTo>
                  <a:lnTo>
                    <a:pt x="1970" y="1646"/>
                  </a:lnTo>
                  <a:lnTo>
                    <a:pt x="2105" y="1876"/>
                  </a:lnTo>
                  <a:lnTo>
                    <a:pt x="2107" y="1878"/>
                  </a:lnTo>
                  <a:lnTo>
                    <a:pt x="2107" y="1880"/>
                  </a:lnTo>
                  <a:lnTo>
                    <a:pt x="2107" y="1883"/>
                  </a:lnTo>
                  <a:lnTo>
                    <a:pt x="2106" y="1885"/>
                  </a:lnTo>
                  <a:lnTo>
                    <a:pt x="2105" y="1886"/>
                  </a:lnTo>
                  <a:lnTo>
                    <a:pt x="2104" y="1888"/>
                  </a:lnTo>
                  <a:lnTo>
                    <a:pt x="2102" y="1888"/>
                  </a:lnTo>
                  <a:lnTo>
                    <a:pt x="2099" y="1889"/>
                  </a:lnTo>
                  <a:lnTo>
                    <a:pt x="2003" y="1889"/>
                  </a:lnTo>
                  <a:lnTo>
                    <a:pt x="1998" y="1888"/>
                  </a:lnTo>
                  <a:lnTo>
                    <a:pt x="1994" y="1887"/>
                  </a:lnTo>
                  <a:lnTo>
                    <a:pt x="1992" y="1885"/>
                  </a:lnTo>
                  <a:lnTo>
                    <a:pt x="1991" y="1884"/>
                  </a:lnTo>
                  <a:lnTo>
                    <a:pt x="1988" y="1879"/>
                  </a:lnTo>
                  <a:lnTo>
                    <a:pt x="1892" y="1713"/>
                  </a:lnTo>
                  <a:lnTo>
                    <a:pt x="1839" y="1778"/>
                  </a:lnTo>
                  <a:lnTo>
                    <a:pt x="1839" y="1879"/>
                  </a:lnTo>
                  <a:lnTo>
                    <a:pt x="1839" y="1881"/>
                  </a:lnTo>
                  <a:lnTo>
                    <a:pt x="1838" y="1883"/>
                  </a:lnTo>
                  <a:lnTo>
                    <a:pt x="1836" y="1886"/>
                  </a:lnTo>
                  <a:lnTo>
                    <a:pt x="1835" y="1887"/>
                  </a:lnTo>
                  <a:lnTo>
                    <a:pt x="1833" y="1888"/>
                  </a:lnTo>
                  <a:lnTo>
                    <a:pt x="1829" y="1889"/>
                  </a:lnTo>
                  <a:close/>
                  <a:moveTo>
                    <a:pt x="2168" y="1480"/>
                  </a:moveTo>
                  <a:lnTo>
                    <a:pt x="2168" y="1478"/>
                  </a:lnTo>
                  <a:lnTo>
                    <a:pt x="2168" y="1476"/>
                  </a:lnTo>
                  <a:lnTo>
                    <a:pt x="2171" y="1473"/>
                  </a:lnTo>
                  <a:lnTo>
                    <a:pt x="2172" y="1472"/>
                  </a:lnTo>
                  <a:lnTo>
                    <a:pt x="2174" y="1471"/>
                  </a:lnTo>
                  <a:lnTo>
                    <a:pt x="2178" y="1470"/>
                  </a:lnTo>
                  <a:lnTo>
                    <a:pt x="2260" y="1470"/>
                  </a:lnTo>
                  <a:lnTo>
                    <a:pt x="2264" y="1471"/>
                  </a:lnTo>
                  <a:lnTo>
                    <a:pt x="2267" y="1473"/>
                  </a:lnTo>
                  <a:lnTo>
                    <a:pt x="2268" y="1474"/>
                  </a:lnTo>
                  <a:lnTo>
                    <a:pt x="2269" y="1476"/>
                  </a:lnTo>
                  <a:lnTo>
                    <a:pt x="2270" y="1478"/>
                  </a:lnTo>
                  <a:lnTo>
                    <a:pt x="2270" y="1480"/>
                  </a:lnTo>
                  <a:lnTo>
                    <a:pt x="2270" y="1879"/>
                  </a:lnTo>
                  <a:lnTo>
                    <a:pt x="2270" y="1881"/>
                  </a:lnTo>
                  <a:lnTo>
                    <a:pt x="2269" y="1883"/>
                  </a:lnTo>
                  <a:lnTo>
                    <a:pt x="2267" y="1886"/>
                  </a:lnTo>
                  <a:lnTo>
                    <a:pt x="2266" y="1887"/>
                  </a:lnTo>
                  <a:lnTo>
                    <a:pt x="2264" y="1888"/>
                  </a:lnTo>
                  <a:lnTo>
                    <a:pt x="2260" y="1889"/>
                  </a:lnTo>
                  <a:lnTo>
                    <a:pt x="2178" y="1889"/>
                  </a:lnTo>
                  <a:lnTo>
                    <a:pt x="2174" y="1888"/>
                  </a:lnTo>
                  <a:lnTo>
                    <a:pt x="2171" y="1886"/>
                  </a:lnTo>
                  <a:lnTo>
                    <a:pt x="2169" y="1885"/>
                  </a:lnTo>
                  <a:lnTo>
                    <a:pt x="2168" y="1883"/>
                  </a:lnTo>
                  <a:lnTo>
                    <a:pt x="2168" y="1881"/>
                  </a:lnTo>
                  <a:lnTo>
                    <a:pt x="2168" y="1879"/>
                  </a:lnTo>
                  <a:lnTo>
                    <a:pt x="2168" y="1480"/>
                  </a:lnTo>
                  <a:close/>
                  <a:moveTo>
                    <a:pt x="2470" y="1879"/>
                  </a:moveTo>
                  <a:lnTo>
                    <a:pt x="2323" y="1484"/>
                  </a:lnTo>
                  <a:lnTo>
                    <a:pt x="2322" y="1481"/>
                  </a:lnTo>
                  <a:lnTo>
                    <a:pt x="2322" y="1478"/>
                  </a:lnTo>
                  <a:lnTo>
                    <a:pt x="2322" y="1476"/>
                  </a:lnTo>
                  <a:lnTo>
                    <a:pt x="2323" y="1474"/>
                  </a:lnTo>
                  <a:lnTo>
                    <a:pt x="2325" y="1472"/>
                  </a:lnTo>
                  <a:lnTo>
                    <a:pt x="2327" y="1471"/>
                  </a:lnTo>
                  <a:lnTo>
                    <a:pt x="2329" y="1470"/>
                  </a:lnTo>
                  <a:lnTo>
                    <a:pt x="2332" y="1470"/>
                  </a:lnTo>
                  <a:lnTo>
                    <a:pt x="2415" y="1470"/>
                  </a:lnTo>
                  <a:lnTo>
                    <a:pt x="2419" y="1471"/>
                  </a:lnTo>
                  <a:lnTo>
                    <a:pt x="2421" y="1471"/>
                  </a:lnTo>
                  <a:lnTo>
                    <a:pt x="2423" y="1472"/>
                  </a:lnTo>
                  <a:lnTo>
                    <a:pt x="2425" y="1474"/>
                  </a:lnTo>
                  <a:lnTo>
                    <a:pt x="2426" y="1475"/>
                  </a:lnTo>
                  <a:lnTo>
                    <a:pt x="2428" y="1477"/>
                  </a:lnTo>
                  <a:lnTo>
                    <a:pt x="2429" y="1480"/>
                  </a:lnTo>
                  <a:lnTo>
                    <a:pt x="2521" y="1734"/>
                  </a:lnTo>
                  <a:lnTo>
                    <a:pt x="2614" y="1480"/>
                  </a:lnTo>
                  <a:lnTo>
                    <a:pt x="2615" y="1477"/>
                  </a:lnTo>
                  <a:lnTo>
                    <a:pt x="2616" y="1475"/>
                  </a:lnTo>
                  <a:lnTo>
                    <a:pt x="2618" y="1474"/>
                  </a:lnTo>
                  <a:lnTo>
                    <a:pt x="2619" y="1472"/>
                  </a:lnTo>
                  <a:lnTo>
                    <a:pt x="2623" y="1471"/>
                  </a:lnTo>
                  <a:lnTo>
                    <a:pt x="2627" y="1470"/>
                  </a:lnTo>
                  <a:lnTo>
                    <a:pt x="2709" y="1470"/>
                  </a:lnTo>
                  <a:lnTo>
                    <a:pt x="2711" y="1470"/>
                  </a:lnTo>
                  <a:lnTo>
                    <a:pt x="2714" y="1471"/>
                  </a:lnTo>
                  <a:lnTo>
                    <a:pt x="2716" y="1472"/>
                  </a:lnTo>
                  <a:lnTo>
                    <a:pt x="2717" y="1474"/>
                  </a:lnTo>
                  <a:lnTo>
                    <a:pt x="2718" y="1476"/>
                  </a:lnTo>
                  <a:lnTo>
                    <a:pt x="2719" y="1478"/>
                  </a:lnTo>
                  <a:lnTo>
                    <a:pt x="2719" y="1481"/>
                  </a:lnTo>
                  <a:lnTo>
                    <a:pt x="2718" y="1484"/>
                  </a:lnTo>
                  <a:lnTo>
                    <a:pt x="2571" y="1879"/>
                  </a:lnTo>
                  <a:lnTo>
                    <a:pt x="2569" y="1883"/>
                  </a:lnTo>
                  <a:lnTo>
                    <a:pt x="2567" y="1885"/>
                  </a:lnTo>
                  <a:lnTo>
                    <a:pt x="2566" y="1886"/>
                  </a:lnTo>
                  <a:lnTo>
                    <a:pt x="2564" y="1887"/>
                  </a:lnTo>
                  <a:lnTo>
                    <a:pt x="2562" y="1888"/>
                  </a:lnTo>
                  <a:lnTo>
                    <a:pt x="2560" y="1889"/>
                  </a:lnTo>
                  <a:lnTo>
                    <a:pt x="2557" y="1889"/>
                  </a:lnTo>
                  <a:lnTo>
                    <a:pt x="2484" y="1889"/>
                  </a:lnTo>
                  <a:lnTo>
                    <a:pt x="2481" y="1889"/>
                  </a:lnTo>
                  <a:lnTo>
                    <a:pt x="2479" y="1888"/>
                  </a:lnTo>
                  <a:lnTo>
                    <a:pt x="2475" y="1886"/>
                  </a:lnTo>
                  <a:lnTo>
                    <a:pt x="2473" y="1885"/>
                  </a:lnTo>
                  <a:lnTo>
                    <a:pt x="2472" y="1883"/>
                  </a:lnTo>
                  <a:lnTo>
                    <a:pt x="2470" y="1879"/>
                  </a:lnTo>
                  <a:close/>
                  <a:moveTo>
                    <a:pt x="224" y="1804"/>
                  </a:moveTo>
                  <a:lnTo>
                    <a:pt x="236" y="1804"/>
                  </a:lnTo>
                  <a:lnTo>
                    <a:pt x="247" y="1802"/>
                  </a:lnTo>
                  <a:lnTo>
                    <a:pt x="259" y="1799"/>
                  </a:lnTo>
                  <a:lnTo>
                    <a:pt x="264" y="1797"/>
                  </a:lnTo>
                  <a:lnTo>
                    <a:pt x="269" y="1795"/>
                  </a:lnTo>
                  <a:lnTo>
                    <a:pt x="280" y="1791"/>
                  </a:lnTo>
                  <a:lnTo>
                    <a:pt x="289" y="1785"/>
                  </a:lnTo>
                  <a:lnTo>
                    <a:pt x="298" y="1778"/>
                  </a:lnTo>
                  <a:lnTo>
                    <a:pt x="306" y="1770"/>
                  </a:lnTo>
                  <a:lnTo>
                    <a:pt x="314" y="1762"/>
                  </a:lnTo>
                  <a:lnTo>
                    <a:pt x="320" y="1752"/>
                  </a:lnTo>
                  <a:lnTo>
                    <a:pt x="326" y="1742"/>
                  </a:lnTo>
                  <a:lnTo>
                    <a:pt x="331" y="1731"/>
                  </a:lnTo>
                  <a:lnTo>
                    <a:pt x="333" y="1725"/>
                  </a:lnTo>
                  <a:lnTo>
                    <a:pt x="334" y="1719"/>
                  </a:lnTo>
                  <a:lnTo>
                    <a:pt x="337" y="1707"/>
                  </a:lnTo>
                  <a:lnTo>
                    <a:pt x="339" y="1693"/>
                  </a:lnTo>
                  <a:lnTo>
                    <a:pt x="339" y="1687"/>
                  </a:lnTo>
                  <a:lnTo>
                    <a:pt x="340" y="1680"/>
                  </a:lnTo>
                  <a:lnTo>
                    <a:pt x="339" y="1666"/>
                  </a:lnTo>
                  <a:lnTo>
                    <a:pt x="337" y="1652"/>
                  </a:lnTo>
                  <a:lnTo>
                    <a:pt x="334" y="1640"/>
                  </a:lnTo>
                  <a:lnTo>
                    <a:pt x="333" y="1634"/>
                  </a:lnTo>
                  <a:lnTo>
                    <a:pt x="331" y="1628"/>
                  </a:lnTo>
                  <a:lnTo>
                    <a:pt x="326" y="1617"/>
                  </a:lnTo>
                  <a:lnTo>
                    <a:pt x="320" y="1607"/>
                  </a:lnTo>
                  <a:lnTo>
                    <a:pt x="314" y="1597"/>
                  </a:lnTo>
                  <a:lnTo>
                    <a:pt x="310" y="1593"/>
                  </a:lnTo>
                  <a:lnTo>
                    <a:pt x="306" y="1589"/>
                  </a:lnTo>
                  <a:lnTo>
                    <a:pt x="302" y="1585"/>
                  </a:lnTo>
                  <a:lnTo>
                    <a:pt x="298" y="1581"/>
                  </a:lnTo>
                  <a:lnTo>
                    <a:pt x="294" y="1578"/>
                  </a:lnTo>
                  <a:lnTo>
                    <a:pt x="289" y="1574"/>
                  </a:lnTo>
                  <a:lnTo>
                    <a:pt x="280" y="1568"/>
                  </a:lnTo>
                  <a:lnTo>
                    <a:pt x="275" y="1566"/>
                  </a:lnTo>
                  <a:lnTo>
                    <a:pt x="269" y="1564"/>
                  </a:lnTo>
                  <a:lnTo>
                    <a:pt x="264" y="1562"/>
                  </a:lnTo>
                  <a:lnTo>
                    <a:pt x="259" y="1560"/>
                  </a:lnTo>
                  <a:lnTo>
                    <a:pt x="247" y="1557"/>
                  </a:lnTo>
                  <a:lnTo>
                    <a:pt x="236" y="1555"/>
                  </a:lnTo>
                  <a:lnTo>
                    <a:pt x="230" y="1555"/>
                  </a:lnTo>
                  <a:lnTo>
                    <a:pt x="224" y="1555"/>
                  </a:lnTo>
                  <a:lnTo>
                    <a:pt x="212" y="1555"/>
                  </a:lnTo>
                  <a:lnTo>
                    <a:pt x="200" y="1557"/>
                  </a:lnTo>
                  <a:lnTo>
                    <a:pt x="189" y="1560"/>
                  </a:lnTo>
                  <a:lnTo>
                    <a:pt x="183" y="1562"/>
                  </a:lnTo>
                  <a:lnTo>
                    <a:pt x="178" y="1564"/>
                  </a:lnTo>
                  <a:lnTo>
                    <a:pt x="168" y="1568"/>
                  </a:lnTo>
                  <a:lnTo>
                    <a:pt x="158" y="1574"/>
                  </a:lnTo>
                  <a:lnTo>
                    <a:pt x="149" y="1581"/>
                  </a:lnTo>
                  <a:lnTo>
                    <a:pt x="141" y="1589"/>
                  </a:lnTo>
                  <a:lnTo>
                    <a:pt x="134" y="1597"/>
                  </a:lnTo>
                  <a:lnTo>
                    <a:pt x="127" y="1607"/>
                  </a:lnTo>
                  <a:lnTo>
                    <a:pt x="121" y="1617"/>
                  </a:lnTo>
                  <a:lnTo>
                    <a:pt x="117" y="1628"/>
                  </a:lnTo>
                  <a:lnTo>
                    <a:pt x="115" y="1634"/>
                  </a:lnTo>
                  <a:lnTo>
                    <a:pt x="113" y="1640"/>
                  </a:lnTo>
                  <a:lnTo>
                    <a:pt x="110" y="1652"/>
                  </a:lnTo>
                  <a:lnTo>
                    <a:pt x="108" y="1666"/>
                  </a:lnTo>
                  <a:lnTo>
                    <a:pt x="108" y="1672"/>
                  </a:lnTo>
                  <a:lnTo>
                    <a:pt x="108" y="1680"/>
                  </a:lnTo>
                  <a:lnTo>
                    <a:pt x="108" y="1693"/>
                  </a:lnTo>
                  <a:lnTo>
                    <a:pt x="110" y="1707"/>
                  </a:lnTo>
                  <a:lnTo>
                    <a:pt x="113" y="1719"/>
                  </a:lnTo>
                  <a:lnTo>
                    <a:pt x="115" y="1725"/>
                  </a:lnTo>
                  <a:lnTo>
                    <a:pt x="117" y="1731"/>
                  </a:lnTo>
                  <a:lnTo>
                    <a:pt x="121" y="1742"/>
                  </a:lnTo>
                  <a:lnTo>
                    <a:pt x="127" y="1752"/>
                  </a:lnTo>
                  <a:lnTo>
                    <a:pt x="134" y="1762"/>
                  </a:lnTo>
                  <a:lnTo>
                    <a:pt x="137" y="1766"/>
                  </a:lnTo>
                  <a:lnTo>
                    <a:pt x="141" y="1770"/>
                  </a:lnTo>
                  <a:lnTo>
                    <a:pt x="145" y="1774"/>
                  </a:lnTo>
                  <a:lnTo>
                    <a:pt x="149" y="1778"/>
                  </a:lnTo>
                  <a:lnTo>
                    <a:pt x="154" y="1781"/>
                  </a:lnTo>
                  <a:lnTo>
                    <a:pt x="158" y="1785"/>
                  </a:lnTo>
                  <a:lnTo>
                    <a:pt x="168" y="1791"/>
                  </a:lnTo>
                  <a:lnTo>
                    <a:pt x="173" y="1793"/>
                  </a:lnTo>
                  <a:lnTo>
                    <a:pt x="178" y="1795"/>
                  </a:lnTo>
                  <a:lnTo>
                    <a:pt x="183" y="1797"/>
                  </a:lnTo>
                  <a:lnTo>
                    <a:pt x="189" y="1799"/>
                  </a:lnTo>
                  <a:lnTo>
                    <a:pt x="200" y="1802"/>
                  </a:lnTo>
                  <a:lnTo>
                    <a:pt x="212" y="1804"/>
                  </a:lnTo>
                  <a:lnTo>
                    <a:pt x="218" y="1804"/>
                  </a:lnTo>
                  <a:lnTo>
                    <a:pt x="224" y="1804"/>
                  </a:lnTo>
                  <a:close/>
                  <a:moveTo>
                    <a:pt x="224" y="1463"/>
                  </a:moveTo>
                  <a:lnTo>
                    <a:pt x="236" y="1463"/>
                  </a:lnTo>
                  <a:lnTo>
                    <a:pt x="247" y="1464"/>
                  </a:lnTo>
                  <a:lnTo>
                    <a:pt x="259" y="1465"/>
                  </a:lnTo>
                  <a:lnTo>
                    <a:pt x="270" y="1467"/>
                  </a:lnTo>
                  <a:lnTo>
                    <a:pt x="281" y="1470"/>
                  </a:lnTo>
                  <a:lnTo>
                    <a:pt x="292" y="1472"/>
                  </a:lnTo>
                  <a:lnTo>
                    <a:pt x="302" y="1476"/>
                  </a:lnTo>
                  <a:lnTo>
                    <a:pt x="313" y="1479"/>
                  </a:lnTo>
                  <a:lnTo>
                    <a:pt x="323" y="1483"/>
                  </a:lnTo>
                  <a:lnTo>
                    <a:pt x="332" y="1488"/>
                  </a:lnTo>
                  <a:lnTo>
                    <a:pt x="342" y="1493"/>
                  </a:lnTo>
                  <a:lnTo>
                    <a:pt x="351" y="1499"/>
                  </a:lnTo>
                  <a:lnTo>
                    <a:pt x="359" y="1504"/>
                  </a:lnTo>
                  <a:lnTo>
                    <a:pt x="364" y="1507"/>
                  </a:lnTo>
                  <a:lnTo>
                    <a:pt x="368" y="1511"/>
                  </a:lnTo>
                  <a:lnTo>
                    <a:pt x="372" y="1514"/>
                  </a:lnTo>
                  <a:lnTo>
                    <a:pt x="376" y="1517"/>
                  </a:lnTo>
                  <a:lnTo>
                    <a:pt x="383" y="1524"/>
                  </a:lnTo>
                  <a:lnTo>
                    <a:pt x="387" y="1528"/>
                  </a:lnTo>
                  <a:lnTo>
                    <a:pt x="391" y="1532"/>
                  </a:lnTo>
                  <a:lnTo>
                    <a:pt x="398" y="1539"/>
                  </a:lnTo>
                  <a:lnTo>
                    <a:pt x="404" y="1548"/>
                  </a:lnTo>
                  <a:lnTo>
                    <a:pt x="407" y="1552"/>
                  </a:lnTo>
                  <a:lnTo>
                    <a:pt x="410" y="1556"/>
                  </a:lnTo>
                  <a:lnTo>
                    <a:pt x="416" y="1565"/>
                  </a:lnTo>
                  <a:lnTo>
                    <a:pt x="421" y="1574"/>
                  </a:lnTo>
                  <a:lnTo>
                    <a:pt x="426" y="1583"/>
                  </a:lnTo>
                  <a:lnTo>
                    <a:pt x="430" y="1593"/>
                  </a:lnTo>
                  <a:lnTo>
                    <a:pt x="432" y="1598"/>
                  </a:lnTo>
                  <a:lnTo>
                    <a:pt x="434" y="1603"/>
                  </a:lnTo>
                  <a:lnTo>
                    <a:pt x="437" y="1613"/>
                  </a:lnTo>
                  <a:lnTo>
                    <a:pt x="440" y="1623"/>
                  </a:lnTo>
                  <a:lnTo>
                    <a:pt x="443" y="1634"/>
                  </a:lnTo>
                  <a:lnTo>
                    <a:pt x="445" y="1645"/>
                  </a:lnTo>
                  <a:lnTo>
                    <a:pt x="446" y="1656"/>
                  </a:lnTo>
                  <a:lnTo>
                    <a:pt x="446" y="1662"/>
                  </a:lnTo>
                  <a:lnTo>
                    <a:pt x="447" y="1668"/>
                  </a:lnTo>
                  <a:lnTo>
                    <a:pt x="447" y="1680"/>
                  </a:lnTo>
                  <a:lnTo>
                    <a:pt x="447" y="1691"/>
                  </a:lnTo>
                  <a:lnTo>
                    <a:pt x="446" y="1703"/>
                  </a:lnTo>
                  <a:lnTo>
                    <a:pt x="445" y="1714"/>
                  </a:lnTo>
                  <a:lnTo>
                    <a:pt x="443" y="1725"/>
                  </a:lnTo>
                  <a:lnTo>
                    <a:pt x="440" y="1736"/>
                  </a:lnTo>
                  <a:lnTo>
                    <a:pt x="437" y="1746"/>
                  </a:lnTo>
                  <a:lnTo>
                    <a:pt x="434" y="1756"/>
                  </a:lnTo>
                  <a:lnTo>
                    <a:pt x="430" y="1766"/>
                  </a:lnTo>
                  <a:lnTo>
                    <a:pt x="426" y="1776"/>
                  </a:lnTo>
                  <a:lnTo>
                    <a:pt x="421" y="1785"/>
                  </a:lnTo>
                  <a:lnTo>
                    <a:pt x="416" y="1794"/>
                  </a:lnTo>
                  <a:lnTo>
                    <a:pt x="410" y="1803"/>
                  </a:lnTo>
                  <a:lnTo>
                    <a:pt x="404" y="1811"/>
                  </a:lnTo>
                  <a:lnTo>
                    <a:pt x="398" y="1820"/>
                  </a:lnTo>
                  <a:lnTo>
                    <a:pt x="391" y="1827"/>
                  </a:lnTo>
                  <a:lnTo>
                    <a:pt x="383" y="1835"/>
                  </a:lnTo>
                  <a:lnTo>
                    <a:pt x="376" y="1842"/>
                  </a:lnTo>
                  <a:lnTo>
                    <a:pt x="368" y="1848"/>
                  </a:lnTo>
                  <a:lnTo>
                    <a:pt x="359" y="1855"/>
                  </a:lnTo>
                  <a:lnTo>
                    <a:pt x="351" y="1860"/>
                  </a:lnTo>
                  <a:lnTo>
                    <a:pt x="342" y="1866"/>
                  </a:lnTo>
                  <a:lnTo>
                    <a:pt x="332" y="1871"/>
                  </a:lnTo>
                  <a:lnTo>
                    <a:pt x="323" y="1876"/>
                  </a:lnTo>
                  <a:lnTo>
                    <a:pt x="313" y="1880"/>
                  </a:lnTo>
                  <a:lnTo>
                    <a:pt x="302" y="1883"/>
                  </a:lnTo>
                  <a:lnTo>
                    <a:pt x="292" y="1887"/>
                  </a:lnTo>
                  <a:lnTo>
                    <a:pt x="281" y="1889"/>
                  </a:lnTo>
                  <a:lnTo>
                    <a:pt x="270" y="1892"/>
                  </a:lnTo>
                  <a:lnTo>
                    <a:pt x="259" y="1894"/>
                  </a:lnTo>
                  <a:lnTo>
                    <a:pt x="247" y="1895"/>
                  </a:lnTo>
                  <a:lnTo>
                    <a:pt x="236" y="1896"/>
                  </a:lnTo>
                  <a:lnTo>
                    <a:pt x="224" y="1896"/>
                  </a:lnTo>
                  <a:lnTo>
                    <a:pt x="212" y="1896"/>
                  </a:lnTo>
                  <a:lnTo>
                    <a:pt x="200" y="1895"/>
                  </a:lnTo>
                  <a:lnTo>
                    <a:pt x="188" y="1894"/>
                  </a:lnTo>
                  <a:lnTo>
                    <a:pt x="177" y="1892"/>
                  </a:lnTo>
                  <a:lnTo>
                    <a:pt x="166" y="1889"/>
                  </a:lnTo>
                  <a:lnTo>
                    <a:pt x="155" y="1887"/>
                  </a:lnTo>
                  <a:lnTo>
                    <a:pt x="145" y="1883"/>
                  </a:lnTo>
                  <a:lnTo>
                    <a:pt x="135" y="1880"/>
                  </a:lnTo>
                  <a:lnTo>
                    <a:pt x="125" y="1876"/>
                  </a:lnTo>
                  <a:lnTo>
                    <a:pt x="115" y="1871"/>
                  </a:lnTo>
                  <a:lnTo>
                    <a:pt x="106" y="1866"/>
                  </a:lnTo>
                  <a:lnTo>
                    <a:pt x="97" y="1860"/>
                  </a:lnTo>
                  <a:lnTo>
                    <a:pt x="88" y="1855"/>
                  </a:lnTo>
                  <a:lnTo>
                    <a:pt x="84" y="1852"/>
                  </a:lnTo>
                  <a:lnTo>
                    <a:pt x="79" y="1848"/>
                  </a:lnTo>
                  <a:lnTo>
                    <a:pt x="75" y="1845"/>
                  </a:lnTo>
                  <a:lnTo>
                    <a:pt x="71" y="1842"/>
                  </a:lnTo>
                  <a:lnTo>
                    <a:pt x="64" y="1835"/>
                  </a:lnTo>
                  <a:lnTo>
                    <a:pt x="60" y="1831"/>
                  </a:lnTo>
                  <a:lnTo>
                    <a:pt x="56" y="1827"/>
                  </a:lnTo>
                  <a:lnTo>
                    <a:pt x="50" y="1820"/>
                  </a:lnTo>
                  <a:lnTo>
                    <a:pt x="43" y="1811"/>
                  </a:lnTo>
                  <a:lnTo>
                    <a:pt x="40" y="1807"/>
                  </a:lnTo>
                  <a:lnTo>
                    <a:pt x="37" y="1803"/>
                  </a:lnTo>
                  <a:lnTo>
                    <a:pt x="31" y="1794"/>
                  </a:lnTo>
                  <a:lnTo>
                    <a:pt x="26" y="1785"/>
                  </a:lnTo>
                  <a:lnTo>
                    <a:pt x="21" y="1776"/>
                  </a:lnTo>
                  <a:lnTo>
                    <a:pt x="17" y="1766"/>
                  </a:lnTo>
                  <a:lnTo>
                    <a:pt x="15" y="1761"/>
                  </a:lnTo>
                  <a:lnTo>
                    <a:pt x="13" y="1756"/>
                  </a:lnTo>
                  <a:lnTo>
                    <a:pt x="10" y="1746"/>
                  </a:lnTo>
                  <a:lnTo>
                    <a:pt x="7" y="1736"/>
                  </a:lnTo>
                  <a:lnTo>
                    <a:pt x="4" y="1725"/>
                  </a:lnTo>
                  <a:lnTo>
                    <a:pt x="3" y="1714"/>
                  </a:lnTo>
                  <a:lnTo>
                    <a:pt x="1" y="1703"/>
                  </a:lnTo>
                  <a:lnTo>
                    <a:pt x="1" y="1697"/>
                  </a:lnTo>
                  <a:lnTo>
                    <a:pt x="0" y="1691"/>
                  </a:lnTo>
                  <a:lnTo>
                    <a:pt x="0" y="1680"/>
                  </a:lnTo>
                  <a:lnTo>
                    <a:pt x="0" y="1668"/>
                  </a:lnTo>
                  <a:lnTo>
                    <a:pt x="1" y="1656"/>
                  </a:lnTo>
                  <a:lnTo>
                    <a:pt x="3" y="1645"/>
                  </a:lnTo>
                  <a:lnTo>
                    <a:pt x="4" y="1634"/>
                  </a:lnTo>
                  <a:lnTo>
                    <a:pt x="7" y="1623"/>
                  </a:lnTo>
                  <a:lnTo>
                    <a:pt x="10" y="1613"/>
                  </a:lnTo>
                  <a:lnTo>
                    <a:pt x="13" y="1603"/>
                  </a:lnTo>
                  <a:lnTo>
                    <a:pt x="17" y="1593"/>
                  </a:lnTo>
                  <a:lnTo>
                    <a:pt x="21" y="1583"/>
                  </a:lnTo>
                  <a:lnTo>
                    <a:pt x="26" y="1574"/>
                  </a:lnTo>
                  <a:lnTo>
                    <a:pt x="31" y="1565"/>
                  </a:lnTo>
                  <a:lnTo>
                    <a:pt x="37" y="1556"/>
                  </a:lnTo>
                  <a:lnTo>
                    <a:pt x="43" y="1548"/>
                  </a:lnTo>
                  <a:lnTo>
                    <a:pt x="50" y="1539"/>
                  </a:lnTo>
                  <a:lnTo>
                    <a:pt x="56" y="1532"/>
                  </a:lnTo>
                  <a:lnTo>
                    <a:pt x="64" y="1524"/>
                  </a:lnTo>
                  <a:lnTo>
                    <a:pt x="71" y="1517"/>
                  </a:lnTo>
                  <a:lnTo>
                    <a:pt x="79" y="1511"/>
                  </a:lnTo>
                  <a:lnTo>
                    <a:pt x="88" y="1504"/>
                  </a:lnTo>
                  <a:lnTo>
                    <a:pt x="97" y="1499"/>
                  </a:lnTo>
                  <a:lnTo>
                    <a:pt x="106" y="1493"/>
                  </a:lnTo>
                  <a:lnTo>
                    <a:pt x="115" y="1488"/>
                  </a:lnTo>
                  <a:lnTo>
                    <a:pt x="125" y="1483"/>
                  </a:lnTo>
                  <a:lnTo>
                    <a:pt x="135" y="1479"/>
                  </a:lnTo>
                  <a:lnTo>
                    <a:pt x="145" y="1476"/>
                  </a:lnTo>
                  <a:lnTo>
                    <a:pt x="155" y="1472"/>
                  </a:lnTo>
                  <a:lnTo>
                    <a:pt x="166" y="1470"/>
                  </a:lnTo>
                  <a:lnTo>
                    <a:pt x="177" y="1467"/>
                  </a:lnTo>
                  <a:lnTo>
                    <a:pt x="188" y="1465"/>
                  </a:lnTo>
                  <a:lnTo>
                    <a:pt x="200" y="1464"/>
                  </a:lnTo>
                  <a:lnTo>
                    <a:pt x="212" y="1463"/>
                  </a:lnTo>
                  <a:lnTo>
                    <a:pt x="224" y="1463"/>
                  </a:lnTo>
                  <a:close/>
                  <a:moveTo>
                    <a:pt x="1090" y="1810"/>
                  </a:moveTo>
                  <a:lnTo>
                    <a:pt x="1096" y="1809"/>
                  </a:lnTo>
                  <a:lnTo>
                    <a:pt x="1102" y="1809"/>
                  </a:lnTo>
                  <a:lnTo>
                    <a:pt x="1112" y="1807"/>
                  </a:lnTo>
                  <a:lnTo>
                    <a:pt x="1116" y="1806"/>
                  </a:lnTo>
                  <a:lnTo>
                    <a:pt x="1120" y="1804"/>
                  </a:lnTo>
                  <a:lnTo>
                    <a:pt x="1128" y="1800"/>
                  </a:lnTo>
                  <a:lnTo>
                    <a:pt x="1131" y="1798"/>
                  </a:lnTo>
                  <a:lnTo>
                    <a:pt x="1133" y="1795"/>
                  </a:lnTo>
                  <a:lnTo>
                    <a:pt x="1136" y="1792"/>
                  </a:lnTo>
                  <a:lnTo>
                    <a:pt x="1138" y="1789"/>
                  </a:lnTo>
                  <a:lnTo>
                    <a:pt x="1139" y="1786"/>
                  </a:lnTo>
                  <a:lnTo>
                    <a:pt x="1140" y="1782"/>
                  </a:lnTo>
                  <a:lnTo>
                    <a:pt x="1141" y="1779"/>
                  </a:lnTo>
                  <a:lnTo>
                    <a:pt x="1141" y="1775"/>
                  </a:lnTo>
                  <a:lnTo>
                    <a:pt x="1141" y="1771"/>
                  </a:lnTo>
                  <a:lnTo>
                    <a:pt x="1140" y="1767"/>
                  </a:lnTo>
                  <a:lnTo>
                    <a:pt x="1139" y="1763"/>
                  </a:lnTo>
                  <a:lnTo>
                    <a:pt x="1138" y="1760"/>
                  </a:lnTo>
                  <a:lnTo>
                    <a:pt x="1134" y="1754"/>
                  </a:lnTo>
                  <a:lnTo>
                    <a:pt x="1130" y="1749"/>
                  </a:lnTo>
                  <a:lnTo>
                    <a:pt x="1127" y="1747"/>
                  </a:lnTo>
                  <a:lnTo>
                    <a:pt x="1124" y="1744"/>
                  </a:lnTo>
                  <a:lnTo>
                    <a:pt x="1120" y="1742"/>
                  </a:lnTo>
                  <a:lnTo>
                    <a:pt x="1116" y="1740"/>
                  </a:lnTo>
                  <a:lnTo>
                    <a:pt x="1099" y="1732"/>
                  </a:lnTo>
                  <a:lnTo>
                    <a:pt x="1038" y="1703"/>
                  </a:lnTo>
                  <a:lnTo>
                    <a:pt x="1031" y="1699"/>
                  </a:lnTo>
                  <a:lnTo>
                    <a:pt x="1023" y="1695"/>
                  </a:lnTo>
                  <a:lnTo>
                    <a:pt x="1016" y="1691"/>
                  </a:lnTo>
                  <a:lnTo>
                    <a:pt x="1010" y="1686"/>
                  </a:lnTo>
                  <a:lnTo>
                    <a:pt x="1003" y="1680"/>
                  </a:lnTo>
                  <a:lnTo>
                    <a:pt x="997" y="1674"/>
                  </a:lnTo>
                  <a:lnTo>
                    <a:pt x="992" y="1668"/>
                  </a:lnTo>
                  <a:lnTo>
                    <a:pt x="986" y="1661"/>
                  </a:lnTo>
                  <a:lnTo>
                    <a:pt x="982" y="1654"/>
                  </a:lnTo>
                  <a:lnTo>
                    <a:pt x="978" y="1646"/>
                  </a:lnTo>
                  <a:lnTo>
                    <a:pt x="974" y="1638"/>
                  </a:lnTo>
                  <a:lnTo>
                    <a:pt x="971" y="1629"/>
                  </a:lnTo>
                  <a:lnTo>
                    <a:pt x="969" y="1620"/>
                  </a:lnTo>
                  <a:lnTo>
                    <a:pt x="967" y="1610"/>
                  </a:lnTo>
                  <a:lnTo>
                    <a:pt x="966" y="1600"/>
                  </a:lnTo>
                  <a:lnTo>
                    <a:pt x="965" y="1590"/>
                  </a:lnTo>
                  <a:lnTo>
                    <a:pt x="966" y="1583"/>
                  </a:lnTo>
                  <a:lnTo>
                    <a:pt x="966" y="1576"/>
                  </a:lnTo>
                  <a:lnTo>
                    <a:pt x="967" y="1570"/>
                  </a:lnTo>
                  <a:lnTo>
                    <a:pt x="968" y="1563"/>
                  </a:lnTo>
                  <a:lnTo>
                    <a:pt x="971" y="1551"/>
                  </a:lnTo>
                  <a:lnTo>
                    <a:pt x="973" y="1545"/>
                  </a:lnTo>
                  <a:lnTo>
                    <a:pt x="976" y="1539"/>
                  </a:lnTo>
                  <a:lnTo>
                    <a:pt x="979" y="1534"/>
                  </a:lnTo>
                  <a:lnTo>
                    <a:pt x="982" y="1528"/>
                  </a:lnTo>
                  <a:lnTo>
                    <a:pt x="988" y="1518"/>
                  </a:lnTo>
                  <a:lnTo>
                    <a:pt x="996" y="1508"/>
                  </a:lnTo>
                  <a:lnTo>
                    <a:pt x="1005" y="1499"/>
                  </a:lnTo>
                  <a:lnTo>
                    <a:pt x="1015" y="1491"/>
                  </a:lnTo>
                  <a:lnTo>
                    <a:pt x="1026" y="1484"/>
                  </a:lnTo>
                  <a:lnTo>
                    <a:pt x="1037" y="1478"/>
                  </a:lnTo>
                  <a:lnTo>
                    <a:pt x="1044" y="1475"/>
                  </a:lnTo>
                  <a:lnTo>
                    <a:pt x="1050" y="1473"/>
                  </a:lnTo>
                  <a:lnTo>
                    <a:pt x="1063" y="1469"/>
                  </a:lnTo>
                  <a:lnTo>
                    <a:pt x="1070" y="1467"/>
                  </a:lnTo>
                  <a:lnTo>
                    <a:pt x="1077" y="1466"/>
                  </a:lnTo>
                  <a:lnTo>
                    <a:pt x="1085" y="1464"/>
                  </a:lnTo>
                  <a:lnTo>
                    <a:pt x="1092" y="1464"/>
                  </a:lnTo>
                  <a:lnTo>
                    <a:pt x="1107" y="1463"/>
                  </a:lnTo>
                  <a:lnTo>
                    <a:pt x="1122" y="1464"/>
                  </a:lnTo>
                  <a:lnTo>
                    <a:pt x="1137" y="1465"/>
                  </a:lnTo>
                  <a:lnTo>
                    <a:pt x="1145" y="1466"/>
                  </a:lnTo>
                  <a:lnTo>
                    <a:pt x="1152" y="1467"/>
                  </a:lnTo>
                  <a:lnTo>
                    <a:pt x="1159" y="1468"/>
                  </a:lnTo>
                  <a:lnTo>
                    <a:pt x="1166" y="1470"/>
                  </a:lnTo>
                  <a:lnTo>
                    <a:pt x="1180" y="1474"/>
                  </a:lnTo>
                  <a:lnTo>
                    <a:pt x="1193" y="1479"/>
                  </a:lnTo>
                  <a:lnTo>
                    <a:pt x="1206" y="1484"/>
                  </a:lnTo>
                  <a:lnTo>
                    <a:pt x="1217" y="1490"/>
                  </a:lnTo>
                  <a:lnTo>
                    <a:pt x="1219" y="1492"/>
                  </a:lnTo>
                  <a:lnTo>
                    <a:pt x="1221" y="1494"/>
                  </a:lnTo>
                  <a:lnTo>
                    <a:pt x="1222" y="1496"/>
                  </a:lnTo>
                  <a:lnTo>
                    <a:pt x="1223" y="1498"/>
                  </a:lnTo>
                  <a:lnTo>
                    <a:pt x="1223" y="1502"/>
                  </a:lnTo>
                  <a:lnTo>
                    <a:pt x="1221" y="1507"/>
                  </a:lnTo>
                  <a:lnTo>
                    <a:pt x="1197" y="1562"/>
                  </a:lnTo>
                  <a:lnTo>
                    <a:pt x="1194" y="1567"/>
                  </a:lnTo>
                  <a:lnTo>
                    <a:pt x="1192" y="1569"/>
                  </a:lnTo>
                  <a:lnTo>
                    <a:pt x="1191" y="1570"/>
                  </a:lnTo>
                  <a:lnTo>
                    <a:pt x="1186" y="1570"/>
                  </a:lnTo>
                  <a:lnTo>
                    <a:pt x="1184" y="1570"/>
                  </a:lnTo>
                  <a:lnTo>
                    <a:pt x="1181" y="1569"/>
                  </a:lnTo>
                  <a:lnTo>
                    <a:pt x="1172" y="1565"/>
                  </a:lnTo>
                  <a:lnTo>
                    <a:pt x="1164" y="1561"/>
                  </a:lnTo>
                  <a:lnTo>
                    <a:pt x="1156" y="1558"/>
                  </a:lnTo>
                  <a:lnTo>
                    <a:pt x="1147" y="1555"/>
                  </a:lnTo>
                  <a:lnTo>
                    <a:pt x="1139" y="1552"/>
                  </a:lnTo>
                  <a:lnTo>
                    <a:pt x="1130" y="1551"/>
                  </a:lnTo>
                  <a:lnTo>
                    <a:pt x="1121" y="1550"/>
                  </a:lnTo>
                  <a:lnTo>
                    <a:pt x="1111" y="1549"/>
                  </a:lnTo>
                  <a:lnTo>
                    <a:pt x="1101" y="1550"/>
                  </a:lnTo>
                  <a:lnTo>
                    <a:pt x="1092" y="1552"/>
                  </a:lnTo>
                  <a:lnTo>
                    <a:pt x="1088" y="1553"/>
                  </a:lnTo>
                  <a:lnTo>
                    <a:pt x="1085" y="1555"/>
                  </a:lnTo>
                  <a:lnTo>
                    <a:pt x="1078" y="1559"/>
                  </a:lnTo>
                  <a:lnTo>
                    <a:pt x="1075" y="1561"/>
                  </a:lnTo>
                  <a:lnTo>
                    <a:pt x="1073" y="1564"/>
                  </a:lnTo>
                  <a:lnTo>
                    <a:pt x="1071" y="1567"/>
                  </a:lnTo>
                  <a:lnTo>
                    <a:pt x="1069" y="1570"/>
                  </a:lnTo>
                  <a:lnTo>
                    <a:pt x="1068" y="1573"/>
                  </a:lnTo>
                  <a:lnTo>
                    <a:pt x="1067" y="1576"/>
                  </a:lnTo>
                  <a:lnTo>
                    <a:pt x="1067" y="1580"/>
                  </a:lnTo>
                  <a:lnTo>
                    <a:pt x="1067" y="1583"/>
                  </a:lnTo>
                  <a:lnTo>
                    <a:pt x="1067" y="1587"/>
                  </a:lnTo>
                  <a:lnTo>
                    <a:pt x="1067" y="1590"/>
                  </a:lnTo>
                  <a:lnTo>
                    <a:pt x="1069" y="1597"/>
                  </a:lnTo>
                  <a:lnTo>
                    <a:pt x="1073" y="1602"/>
                  </a:lnTo>
                  <a:lnTo>
                    <a:pt x="1075" y="1605"/>
                  </a:lnTo>
                  <a:lnTo>
                    <a:pt x="1077" y="1608"/>
                  </a:lnTo>
                  <a:lnTo>
                    <a:pt x="1080" y="1610"/>
                  </a:lnTo>
                  <a:lnTo>
                    <a:pt x="1083" y="1612"/>
                  </a:lnTo>
                  <a:lnTo>
                    <a:pt x="1090" y="1617"/>
                  </a:lnTo>
                  <a:lnTo>
                    <a:pt x="1098" y="1621"/>
                  </a:lnTo>
                  <a:lnTo>
                    <a:pt x="1108" y="1626"/>
                  </a:lnTo>
                  <a:lnTo>
                    <a:pt x="1170" y="1655"/>
                  </a:lnTo>
                  <a:lnTo>
                    <a:pt x="1178" y="1659"/>
                  </a:lnTo>
                  <a:lnTo>
                    <a:pt x="1185" y="1663"/>
                  </a:lnTo>
                  <a:lnTo>
                    <a:pt x="1193" y="1667"/>
                  </a:lnTo>
                  <a:lnTo>
                    <a:pt x="1199" y="1672"/>
                  </a:lnTo>
                  <a:lnTo>
                    <a:pt x="1206" y="1678"/>
                  </a:lnTo>
                  <a:lnTo>
                    <a:pt x="1212" y="1684"/>
                  </a:lnTo>
                  <a:lnTo>
                    <a:pt x="1217" y="1690"/>
                  </a:lnTo>
                  <a:lnTo>
                    <a:pt x="1222" y="1696"/>
                  </a:lnTo>
                  <a:lnTo>
                    <a:pt x="1225" y="1700"/>
                  </a:lnTo>
                  <a:lnTo>
                    <a:pt x="1227" y="1703"/>
                  </a:lnTo>
                  <a:lnTo>
                    <a:pt x="1231" y="1711"/>
                  </a:lnTo>
                  <a:lnTo>
                    <a:pt x="1234" y="1719"/>
                  </a:lnTo>
                  <a:lnTo>
                    <a:pt x="1237" y="1727"/>
                  </a:lnTo>
                  <a:lnTo>
                    <a:pt x="1239" y="1731"/>
                  </a:lnTo>
                  <a:lnTo>
                    <a:pt x="1240" y="1736"/>
                  </a:lnTo>
                  <a:lnTo>
                    <a:pt x="1241" y="1745"/>
                  </a:lnTo>
                  <a:lnTo>
                    <a:pt x="1242" y="1755"/>
                  </a:lnTo>
                  <a:lnTo>
                    <a:pt x="1243" y="1766"/>
                  </a:lnTo>
                  <a:lnTo>
                    <a:pt x="1243" y="1773"/>
                  </a:lnTo>
                  <a:lnTo>
                    <a:pt x="1242" y="1780"/>
                  </a:lnTo>
                  <a:lnTo>
                    <a:pt x="1240" y="1793"/>
                  </a:lnTo>
                  <a:lnTo>
                    <a:pt x="1238" y="1799"/>
                  </a:lnTo>
                  <a:lnTo>
                    <a:pt x="1236" y="1806"/>
                  </a:lnTo>
                  <a:lnTo>
                    <a:pt x="1232" y="1818"/>
                  </a:lnTo>
                  <a:lnTo>
                    <a:pt x="1229" y="1824"/>
                  </a:lnTo>
                  <a:lnTo>
                    <a:pt x="1226" y="1829"/>
                  </a:lnTo>
                  <a:lnTo>
                    <a:pt x="1222" y="1835"/>
                  </a:lnTo>
                  <a:lnTo>
                    <a:pt x="1218" y="1840"/>
                  </a:lnTo>
                  <a:lnTo>
                    <a:pt x="1214" y="1845"/>
                  </a:lnTo>
                  <a:lnTo>
                    <a:pt x="1210" y="1850"/>
                  </a:lnTo>
                  <a:lnTo>
                    <a:pt x="1206" y="1855"/>
                  </a:lnTo>
                  <a:lnTo>
                    <a:pt x="1201" y="1859"/>
                  </a:lnTo>
                  <a:lnTo>
                    <a:pt x="1196" y="1863"/>
                  </a:lnTo>
                  <a:lnTo>
                    <a:pt x="1190" y="1867"/>
                  </a:lnTo>
                  <a:lnTo>
                    <a:pt x="1179" y="1875"/>
                  </a:lnTo>
                  <a:lnTo>
                    <a:pt x="1173" y="1878"/>
                  </a:lnTo>
                  <a:lnTo>
                    <a:pt x="1166" y="1881"/>
                  </a:lnTo>
                  <a:lnTo>
                    <a:pt x="1160" y="1884"/>
                  </a:lnTo>
                  <a:lnTo>
                    <a:pt x="1153" y="1886"/>
                  </a:lnTo>
                  <a:lnTo>
                    <a:pt x="1139" y="1890"/>
                  </a:lnTo>
                  <a:lnTo>
                    <a:pt x="1132" y="1892"/>
                  </a:lnTo>
                  <a:lnTo>
                    <a:pt x="1124" y="1893"/>
                  </a:lnTo>
                  <a:lnTo>
                    <a:pt x="1117" y="1895"/>
                  </a:lnTo>
                  <a:lnTo>
                    <a:pt x="1109" y="1895"/>
                  </a:lnTo>
                  <a:lnTo>
                    <a:pt x="1093" y="1896"/>
                  </a:lnTo>
                  <a:lnTo>
                    <a:pt x="1075" y="1895"/>
                  </a:lnTo>
                  <a:lnTo>
                    <a:pt x="1066" y="1894"/>
                  </a:lnTo>
                  <a:lnTo>
                    <a:pt x="1057" y="1893"/>
                  </a:lnTo>
                  <a:lnTo>
                    <a:pt x="1048" y="1891"/>
                  </a:lnTo>
                  <a:lnTo>
                    <a:pt x="1040" y="1890"/>
                  </a:lnTo>
                  <a:lnTo>
                    <a:pt x="1031" y="1887"/>
                  </a:lnTo>
                  <a:lnTo>
                    <a:pt x="1023" y="1885"/>
                  </a:lnTo>
                  <a:lnTo>
                    <a:pt x="1007" y="1880"/>
                  </a:lnTo>
                  <a:lnTo>
                    <a:pt x="992" y="1873"/>
                  </a:lnTo>
                  <a:lnTo>
                    <a:pt x="977" y="1866"/>
                  </a:lnTo>
                  <a:lnTo>
                    <a:pt x="964" y="1859"/>
                  </a:lnTo>
                  <a:lnTo>
                    <a:pt x="961" y="1857"/>
                  </a:lnTo>
                  <a:lnTo>
                    <a:pt x="959" y="1854"/>
                  </a:lnTo>
                  <a:lnTo>
                    <a:pt x="958" y="1852"/>
                  </a:lnTo>
                  <a:lnTo>
                    <a:pt x="957" y="1850"/>
                  </a:lnTo>
                  <a:lnTo>
                    <a:pt x="958" y="1846"/>
                  </a:lnTo>
                  <a:lnTo>
                    <a:pt x="960" y="1842"/>
                  </a:lnTo>
                  <a:lnTo>
                    <a:pt x="984" y="1787"/>
                  </a:lnTo>
                  <a:lnTo>
                    <a:pt x="987" y="1782"/>
                  </a:lnTo>
                  <a:lnTo>
                    <a:pt x="989" y="1780"/>
                  </a:lnTo>
                  <a:lnTo>
                    <a:pt x="990" y="1779"/>
                  </a:lnTo>
                  <a:lnTo>
                    <a:pt x="993" y="1778"/>
                  </a:lnTo>
                  <a:lnTo>
                    <a:pt x="995" y="1778"/>
                  </a:lnTo>
                  <a:lnTo>
                    <a:pt x="997" y="1779"/>
                  </a:lnTo>
                  <a:lnTo>
                    <a:pt x="1000" y="1780"/>
                  </a:lnTo>
                  <a:lnTo>
                    <a:pt x="1012" y="1787"/>
                  </a:lnTo>
                  <a:lnTo>
                    <a:pt x="1023" y="1792"/>
                  </a:lnTo>
                  <a:lnTo>
                    <a:pt x="1034" y="1797"/>
                  </a:lnTo>
                  <a:lnTo>
                    <a:pt x="1045" y="1802"/>
                  </a:lnTo>
                  <a:lnTo>
                    <a:pt x="1056" y="1805"/>
                  </a:lnTo>
                  <a:lnTo>
                    <a:pt x="1067" y="1808"/>
                  </a:lnTo>
                  <a:lnTo>
                    <a:pt x="1079" y="1809"/>
                  </a:lnTo>
                  <a:lnTo>
                    <a:pt x="1090" y="1810"/>
                  </a:lnTo>
                  <a:close/>
                  <a:moveTo>
                    <a:pt x="512" y="1480"/>
                  </a:moveTo>
                  <a:lnTo>
                    <a:pt x="512" y="1478"/>
                  </a:lnTo>
                  <a:lnTo>
                    <a:pt x="513" y="1476"/>
                  </a:lnTo>
                  <a:lnTo>
                    <a:pt x="515" y="1473"/>
                  </a:lnTo>
                  <a:lnTo>
                    <a:pt x="516" y="1472"/>
                  </a:lnTo>
                  <a:lnTo>
                    <a:pt x="518" y="1471"/>
                  </a:lnTo>
                  <a:lnTo>
                    <a:pt x="522" y="1470"/>
                  </a:lnTo>
                  <a:lnTo>
                    <a:pt x="606" y="1470"/>
                  </a:lnTo>
                  <a:lnTo>
                    <a:pt x="609" y="1471"/>
                  </a:lnTo>
                  <a:lnTo>
                    <a:pt x="612" y="1473"/>
                  </a:lnTo>
                  <a:lnTo>
                    <a:pt x="613" y="1474"/>
                  </a:lnTo>
                  <a:lnTo>
                    <a:pt x="614" y="1476"/>
                  </a:lnTo>
                  <a:lnTo>
                    <a:pt x="614" y="1478"/>
                  </a:lnTo>
                  <a:lnTo>
                    <a:pt x="615" y="1480"/>
                  </a:lnTo>
                  <a:lnTo>
                    <a:pt x="615" y="1797"/>
                  </a:lnTo>
                  <a:lnTo>
                    <a:pt x="689" y="1797"/>
                  </a:lnTo>
                  <a:lnTo>
                    <a:pt x="693" y="1797"/>
                  </a:lnTo>
                  <a:lnTo>
                    <a:pt x="696" y="1799"/>
                  </a:lnTo>
                  <a:lnTo>
                    <a:pt x="697" y="1801"/>
                  </a:lnTo>
                  <a:lnTo>
                    <a:pt x="697" y="1803"/>
                  </a:lnTo>
                  <a:lnTo>
                    <a:pt x="698" y="1804"/>
                  </a:lnTo>
                  <a:lnTo>
                    <a:pt x="698" y="1807"/>
                  </a:lnTo>
                  <a:lnTo>
                    <a:pt x="698" y="1879"/>
                  </a:lnTo>
                  <a:lnTo>
                    <a:pt x="698" y="1881"/>
                  </a:lnTo>
                  <a:lnTo>
                    <a:pt x="697" y="1883"/>
                  </a:lnTo>
                  <a:lnTo>
                    <a:pt x="696" y="1886"/>
                  </a:lnTo>
                  <a:lnTo>
                    <a:pt x="694" y="1887"/>
                  </a:lnTo>
                  <a:lnTo>
                    <a:pt x="693" y="1888"/>
                  </a:lnTo>
                  <a:lnTo>
                    <a:pt x="691" y="1889"/>
                  </a:lnTo>
                  <a:lnTo>
                    <a:pt x="689" y="1889"/>
                  </a:lnTo>
                  <a:lnTo>
                    <a:pt x="522" y="1889"/>
                  </a:lnTo>
                  <a:lnTo>
                    <a:pt x="518" y="1888"/>
                  </a:lnTo>
                  <a:lnTo>
                    <a:pt x="515" y="1886"/>
                  </a:lnTo>
                  <a:lnTo>
                    <a:pt x="513" y="1883"/>
                  </a:lnTo>
                  <a:lnTo>
                    <a:pt x="512" y="1881"/>
                  </a:lnTo>
                  <a:lnTo>
                    <a:pt x="512" y="1879"/>
                  </a:lnTo>
                  <a:lnTo>
                    <a:pt x="512" y="1480"/>
                  </a:lnTo>
                  <a:close/>
                  <a:moveTo>
                    <a:pt x="777" y="1480"/>
                  </a:moveTo>
                  <a:lnTo>
                    <a:pt x="777" y="1478"/>
                  </a:lnTo>
                  <a:lnTo>
                    <a:pt x="778" y="1476"/>
                  </a:lnTo>
                  <a:lnTo>
                    <a:pt x="780" y="1473"/>
                  </a:lnTo>
                  <a:lnTo>
                    <a:pt x="781" y="1472"/>
                  </a:lnTo>
                  <a:lnTo>
                    <a:pt x="783" y="1471"/>
                  </a:lnTo>
                  <a:lnTo>
                    <a:pt x="787" y="1470"/>
                  </a:lnTo>
                  <a:lnTo>
                    <a:pt x="869" y="1470"/>
                  </a:lnTo>
                  <a:lnTo>
                    <a:pt x="873" y="1471"/>
                  </a:lnTo>
                  <a:lnTo>
                    <a:pt x="876" y="1473"/>
                  </a:lnTo>
                  <a:lnTo>
                    <a:pt x="878" y="1474"/>
                  </a:lnTo>
                  <a:lnTo>
                    <a:pt x="879" y="1476"/>
                  </a:lnTo>
                  <a:lnTo>
                    <a:pt x="879" y="1478"/>
                  </a:lnTo>
                  <a:lnTo>
                    <a:pt x="879" y="1480"/>
                  </a:lnTo>
                  <a:lnTo>
                    <a:pt x="879" y="1879"/>
                  </a:lnTo>
                  <a:lnTo>
                    <a:pt x="879" y="1881"/>
                  </a:lnTo>
                  <a:lnTo>
                    <a:pt x="879" y="1883"/>
                  </a:lnTo>
                  <a:lnTo>
                    <a:pt x="876" y="1886"/>
                  </a:lnTo>
                  <a:lnTo>
                    <a:pt x="875" y="1887"/>
                  </a:lnTo>
                  <a:lnTo>
                    <a:pt x="873" y="1888"/>
                  </a:lnTo>
                  <a:lnTo>
                    <a:pt x="869" y="1889"/>
                  </a:lnTo>
                  <a:lnTo>
                    <a:pt x="787" y="1889"/>
                  </a:lnTo>
                  <a:lnTo>
                    <a:pt x="783" y="1888"/>
                  </a:lnTo>
                  <a:lnTo>
                    <a:pt x="780" y="1886"/>
                  </a:lnTo>
                  <a:lnTo>
                    <a:pt x="779" y="1885"/>
                  </a:lnTo>
                  <a:lnTo>
                    <a:pt x="778" y="1883"/>
                  </a:lnTo>
                  <a:lnTo>
                    <a:pt x="777" y="1881"/>
                  </a:lnTo>
                  <a:lnTo>
                    <a:pt x="777" y="1879"/>
                  </a:lnTo>
                  <a:lnTo>
                    <a:pt x="777" y="14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80094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lhuet Blu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A2D0D422-DA5D-47B8-9C1D-53B8788EA241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RIA - RKL yrittäjäpäivä 1.11.202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0148927-3435-4F7D-ABDF-7627D06F6934}"/>
              </a:ext>
            </a:extLst>
          </p:cNvPr>
          <p:cNvGrpSpPr/>
          <p:nvPr userDrawn="1"/>
        </p:nvGrpSpPr>
        <p:grpSpPr>
          <a:xfrm>
            <a:off x="0" y="4077072"/>
            <a:ext cx="9874285" cy="1872000"/>
            <a:chOff x="0" y="4077072"/>
            <a:chExt cx="9874285" cy="1872000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3D5CA6BC-B95B-4DCC-A876-2FE4BFA44B58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0" y="4077072"/>
              <a:ext cx="9874285" cy="1872000"/>
            </a:xfrm>
            <a:custGeom>
              <a:avLst/>
              <a:gdLst>
                <a:gd name="T0" fmla="*/ 10894 w 23040"/>
                <a:gd name="T1" fmla="*/ 3037 h 4369"/>
                <a:gd name="T2" fmla="*/ 10931 w 23040"/>
                <a:gd name="T3" fmla="*/ 2661 h 4369"/>
                <a:gd name="T4" fmla="*/ 13479 w 23040"/>
                <a:gd name="T5" fmla="*/ 2241 h 4369"/>
                <a:gd name="T6" fmla="*/ 12981 w 23040"/>
                <a:gd name="T7" fmla="*/ 1865 h 4369"/>
                <a:gd name="T8" fmla="*/ 13222 w 23040"/>
                <a:gd name="T9" fmla="*/ 1543 h 4369"/>
                <a:gd name="T10" fmla="*/ 13525 w 23040"/>
                <a:gd name="T11" fmla="*/ 3907 h 4369"/>
                <a:gd name="T12" fmla="*/ 12729 w 23040"/>
                <a:gd name="T13" fmla="*/ 3813 h 4369"/>
                <a:gd name="T14" fmla="*/ 10912 w 23040"/>
                <a:gd name="T15" fmla="*/ 2402 h 4369"/>
                <a:gd name="T16" fmla="*/ 16652 w 23040"/>
                <a:gd name="T17" fmla="*/ 970 h 4369"/>
                <a:gd name="T18" fmla="*/ 16232 w 23040"/>
                <a:gd name="T19" fmla="*/ 332 h 4369"/>
                <a:gd name="T20" fmla="*/ 15103 w 23040"/>
                <a:gd name="T21" fmla="*/ 2262 h 4369"/>
                <a:gd name="T22" fmla="*/ 12814 w 23040"/>
                <a:gd name="T23" fmla="*/ 2991 h 4369"/>
                <a:gd name="T24" fmla="*/ 11678 w 23040"/>
                <a:gd name="T25" fmla="*/ 3172 h 4369"/>
                <a:gd name="T26" fmla="*/ 12355 w 23040"/>
                <a:gd name="T27" fmla="*/ 2838 h 4369"/>
                <a:gd name="T28" fmla="*/ 12184 w 23040"/>
                <a:gd name="T29" fmla="*/ 4304 h 4369"/>
                <a:gd name="T30" fmla="*/ 11739 w 23040"/>
                <a:gd name="T31" fmla="*/ 2627 h 4369"/>
                <a:gd name="T32" fmla="*/ 11666 w 23040"/>
                <a:gd name="T33" fmla="*/ 2291 h 4369"/>
                <a:gd name="T34" fmla="*/ 11184 w 23040"/>
                <a:gd name="T35" fmla="*/ 3107 h 4369"/>
                <a:gd name="T36" fmla="*/ 11469 w 23040"/>
                <a:gd name="T37" fmla="*/ 1044 h 4369"/>
                <a:gd name="T38" fmla="*/ 13150 w 23040"/>
                <a:gd name="T39" fmla="*/ 754 h 4369"/>
                <a:gd name="T40" fmla="*/ 16863 w 23040"/>
                <a:gd name="T41" fmla="*/ 4331 h 4369"/>
                <a:gd name="T42" fmla="*/ 14362 w 23040"/>
                <a:gd name="T43" fmla="*/ 3771 h 4369"/>
                <a:gd name="T44" fmla="*/ 14362 w 23040"/>
                <a:gd name="T45" fmla="*/ 3373 h 4369"/>
                <a:gd name="T46" fmla="*/ 14105 w 23040"/>
                <a:gd name="T47" fmla="*/ 3277 h 4369"/>
                <a:gd name="T48" fmla="*/ 14091 w 23040"/>
                <a:gd name="T49" fmla="*/ 2881 h 4369"/>
                <a:gd name="T50" fmla="*/ 20731 w 23040"/>
                <a:gd name="T51" fmla="*/ 4008 h 4369"/>
                <a:gd name="T52" fmla="*/ 19002 w 23040"/>
                <a:gd name="T53" fmla="*/ 3795 h 4369"/>
                <a:gd name="T54" fmla="*/ 19052 w 23040"/>
                <a:gd name="T55" fmla="*/ 3549 h 4369"/>
                <a:gd name="T56" fmla="*/ 19727 w 23040"/>
                <a:gd name="T57" fmla="*/ 3547 h 4369"/>
                <a:gd name="T58" fmla="*/ 21772 w 23040"/>
                <a:gd name="T59" fmla="*/ 1759 h 4369"/>
                <a:gd name="T60" fmla="*/ 20169 w 23040"/>
                <a:gd name="T61" fmla="*/ 1874 h 4369"/>
                <a:gd name="T62" fmla="*/ 18388 w 23040"/>
                <a:gd name="T63" fmla="*/ 2546 h 4369"/>
                <a:gd name="T64" fmla="*/ 19509 w 23040"/>
                <a:gd name="T65" fmla="*/ 3625 h 4369"/>
                <a:gd name="T66" fmla="*/ 18969 w 23040"/>
                <a:gd name="T67" fmla="*/ 3381 h 4369"/>
                <a:gd name="T68" fmla="*/ 2798 w 23040"/>
                <a:gd name="T69" fmla="*/ 3193 h 4369"/>
                <a:gd name="T70" fmla="*/ 440 w 23040"/>
                <a:gd name="T71" fmla="*/ 2751 h 4369"/>
                <a:gd name="T72" fmla="*/ 2868 w 23040"/>
                <a:gd name="T73" fmla="*/ 4141 h 4369"/>
                <a:gd name="T74" fmla="*/ 837 w 23040"/>
                <a:gd name="T75" fmla="*/ 3250 h 4369"/>
                <a:gd name="T76" fmla="*/ 823 w 23040"/>
                <a:gd name="T77" fmla="*/ 3336 h 4369"/>
                <a:gd name="T78" fmla="*/ 1107 w 23040"/>
                <a:gd name="T79" fmla="*/ 3717 h 4369"/>
                <a:gd name="T80" fmla="*/ 1080 w 23040"/>
                <a:gd name="T81" fmla="*/ 3810 h 4369"/>
                <a:gd name="T82" fmla="*/ 188 w 23040"/>
                <a:gd name="T83" fmla="*/ 1799 h 4369"/>
                <a:gd name="T84" fmla="*/ 2556 w 23040"/>
                <a:gd name="T85" fmla="*/ 2016 h 4369"/>
                <a:gd name="T86" fmla="*/ 2583 w 23040"/>
                <a:gd name="T87" fmla="*/ 2578 h 4369"/>
                <a:gd name="T88" fmla="*/ 8182 w 23040"/>
                <a:gd name="T89" fmla="*/ 2792 h 4369"/>
                <a:gd name="T90" fmla="*/ 9070 w 23040"/>
                <a:gd name="T91" fmla="*/ 2753 h 4369"/>
                <a:gd name="T92" fmla="*/ 6863 w 23040"/>
                <a:gd name="T93" fmla="*/ 2176 h 4369"/>
                <a:gd name="T94" fmla="*/ 6215 w 23040"/>
                <a:gd name="T95" fmla="*/ 2702 h 4369"/>
                <a:gd name="T96" fmla="*/ 7097 w 23040"/>
                <a:gd name="T97" fmla="*/ 2957 h 4369"/>
                <a:gd name="T98" fmla="*/ 6454 w 23040"/>
                <a:gd name="T99" fmla="*/ 3498 h 4369"/>
                <a:gd name="T100" fmla="*/ 6384 w 23040"/>
                <a:gd name="T101" fmla="*/ 4003 h 4369"/>
                <a:gd name="T102" fmla="*/ 8037 w 23040"/>
                <a:gd name="T103" fmla="*/ 2925 h 4369"/>
                <a:gd name="T104" fmla="*/ 8332 w 23040"/>
                <a:gd name="T105" fmla="*/ 3308 h 4369"/>
                <a:gd name="T106" fmla="*/ 8296 w 23040"/>
                <a:gd name="T107" fmla="*/ 3424 h 4369"/>
                <a:gd name="T108" fmla="*/ 8598 w 23040"/>
                <a:gd name="T109" fmla="*/ 3792 h 4369"/>
                <a:gd name="T110" fmla="*/ 5650 w 23040"/>
                <a:gd name="T111" fmla="*/ 1956 h 4369"/>
                <a:gd name="T112" fmla="*/ 8119 w 23040"/>
                <a:gd name="T113" fmla="*/ 245 h 4369"/>
                <a:gd name="T114" fmla="*/ 4680 w 23040"/>
                <a:gd name="T115" fmla="*/ 942 h 4369"/>
                <a:gd name="T116" fmla="*/ 5027 w 23040"/>
                <a:gd name="T117" fmla="*/ 2616 h 4369"/>
                <a:gd name="T118" fmla="*/ 4991 w 23040"/>
                <a:gd name="T119" fmla="*/ 2732 h 4369"/>
                <a:gd name="T120" fmla="*/ 5292 w 23040"/>
                <a:gd name="T121" fmla="*/ 3101 h 4369"/>
                <a:gd name="T122" fmla="*/ 5252 w 23040"/>
                <a:gd name="T123" fmla="*/ 3235 h 4369"/>
                <a:gd name="T124" fmla="*/ 3326 w 23040"/>
                <a:gd name="T125" fmla="*/ 3951 h 4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040" h="4369">
                  <a:moveTo>
                    <a:pt x="10933" y="3163"/>
                  </a:moveTo>
                  <a:lnTo>
                    <a:pt x="10933" y="3274"/>
                  </a:lnTo>
                  <a:lnTo>
                    <a:pt x="10931" y="3283"/>
                  </a:lnTo>
                  <a:lnTo>
                    <a:pt x="10926" y="3290"/>
                  </a:lnTo>
                  <a:lnTo>
                    <a:pt x="10920" y="3294"/>
                  </a:lnTo>
                  <a:lnTo>
                    <a:pt x="10912" y="3295"/>
                  </a:lnTo>
                  <a:lnTo>
                    <a:pt x="10906" y="3294"/>
                  </a:lnTo>
                  <a:lnTo>
                    <a:pt x="10899" y="3290"/>
                  </a:lnTo>
                  <a:lnTo>
                    <a:pt x="10894" y="3283"/>
                  </a:lnTo>
                  <a:lnTo>
                    <a:pt x="10893" y="3274"/>
                  </a:lnTo>
                  <a:lnTo>
                    <a:pt x="10893" y="3163"/>
                  </a:lnTo>
                  <a:lnTo>
                    <a:pt x="10894" y="3154"/>
                  </a:lnTo>
                  <a:lnTo>
                    <a:pt x="10899" y="3148"/>
                  </a:lnTo>
                  <a:lnTo>
                    <a:pt x="10906" y="3144"/>
                  </a:lnTo>
                  <a:lnTo>
                    <a:pt x="10912" y="3143"/>
                  </a:lnTo>
                  <a:lnTo>
                    <a:pt x="10920" y="3144"/>
                  </a:lnTo>
                  <a:lnTo>
                    <a:pt x="10926" y="3148"/>
                  </a:lnTo>
                  <a:lnTo>
                    <a:pt x="10931" y="3154"/>
                  </a:lnTo>
                  <a:lnTo>
                    <a:pt x="10933" y="3163"/>
                  </a:lnTo>
                  <a:close/>
                  <a:moveTo>
                    <a:pt x="10670" y="3163"/>
                  </a:moveTo>
                  <a:lnTo>
                    <a:pt x="10670" y="3274"/>
                  </a:lnTo>
                  <a:lnTo>
                    <a:pt x="10669" y="3283"/>
                  </a:lnTo>
                  <a:lnTo>
                    <a:pt x="10663" y="3290"/>
                  </a:lnTo>
                  <a:lnTo>
                    <a:pt x="10657" y="3294"/>
                  </a:lnTo>
                  <a:lnTo>
                    <a:pt x="10649" y="3295"/>
                  </a:lnTo>
                  <a:lnTo>
                    <a:pt x="10643" y="3294"/>
                  </a:lnTo>
                  <a:lnTo>
                    <a:pt x="10637" y="3290"/>
                  </a:lnTo>
                  <a:lnTo>
                    <a:pt x="10631" y="3283"/>
                  </a:lnTo>
                  <a:lnTo>
                    <a:pt x="10630" y="3274"/>
                  </a:lnTo>
                  <a:lnTo>
                    <a:pt x="10630" y="3163"/>
                  </a:lnTo>
                  <a:lnTo>
                    <a:pt x="10631" y="3154"/>
                  </a:lnTo>
                  <a:lnTo>
                    <a:pt x="10637" y="3148"/>
                  </a:lnTo>
                  <a:lnTo>
                    <a:pt x="10643" y="3144"/>
                  </a:lnTo>
                  <a:lnTo>
                    <a:pt x="10649" y="3143"/>
                  </a:lnTo>
                  <a:lnTo>
                    <a:pt x="10657" y="3144"/>
                  </a:lnTo>
                  <a:lnTo>
                    <a:pt x="10663" y="3148"/>
                  </a:lnTo>
                  <a:lnTo>
                    <a:pt x="10669" y="3154"/>
                  </a:lnTo>
                  <a:lnTo>
                    <a:pt x="10670" y="3163"/>
                  </a:lnTo>
                  <a:close/>
                  <a:moveTo>
                    <a:pt x="10407" y="3163"/>
                  </a:moveTo>
                  <a:lnTo>
                    <a:pt x="10407" y="3274"/>
                  </a:lnTo>
                  <a:lnTo>
                    <a:pt x="10404" y="3283"/>
                  </a:lnTo>
                  <a:lnTo>
                    <a:pt x="10401" y="3290"/>
                  </a:lnTo>
                  <a:lnTo>
                    <a:pt x="10394" y="3294"/>
                  </a:lnTo>
                  <a:lnTo>
                    <a:pt x="10386" y="3295"/>
                  </a:lnTo>
                  <a:lnTo>
                    <a:pt x="10379" y="3294"/>
                  </a:lnTo>
                  <a:lnTo>
                    <a:pt x="10372" y="3290"/>
                  </a:lnTo>
                  <a:lnTo>
                    <a:pt x="10369" y="3283"/>
                  </a:lnTo>
                  <a:lnTo>
                    <a:pt x="10366" y="3274"/>
                  </a:lnTo>
                  <a:lnTo>
                    <a:pt x="10366" y="3163"/>
                  </a:lnTo>
                  <a:lnTo>
                    <a:pt x="10369" y="3154"/>
                  </a:lnTo>
                  <a:lnTo>
                    <a:pt x="10372" y="3148"/>
                  </a:lnTo>
                  <a:lnTo>
                    <a:pt x="10379" y="3144"/>
                  </a:lnTo>
                  <a:lnTo>
                    <a:pt x="10386" y="3143"/>
                  </a:lnTo>
                  <a:lnTo>
                    <a:pt x="10394" y="3144"/>
                  </a:lnTo>
                  <a:lnTo>
                    <a:pt x="10401" y="3148"/>
                  </a:lnTo>
                  <a:lnTo>
                    <a:pt x="10404" y="3154"/>
                  </a:lnTo>
                  <a:lnTo>
                    <a:pt x="10407" y="3163"/>
                  </a:lnTo>
                  <a:close/>
                  <a:moveTo>
                    <a:pt x="10143" y="3163"/>
                  </a:moveTo>
                  <a:lnTo>
                    <a:pt x="10143" y="3274"/>
                  </a:lnTo>
                  <a:lnTo>
                    <a:pt x="10142" y="3283"/>
                  </a:lnTo>
                  <a:lnTo>
                    <a:pt x="10138" y="3290"/>
                  </a:lnTo>
                  <a:lnTo>
                    <a:pt x="10131" y="3294"/>
                  </a:lnTo>
                  <a:lnTo>
                    <a:pt x="10124" y="3295"/>
                  </a:lnTo>
                  <a:lnTo>
                    <a:pt x="10116" y="3294"/>
                  </a:lnTo>
                  <a:lnTo>
                    <a:pt x="10109" y="3290"/>
                  </a:lnTo>
                  <a:lnTo>
                    <a:pt x="10106" y="3283"/>
                  </a:lnTo>
                  <a:lnTo>
                    <a:pt x="10103" y="3274"/>
                  </a:lnTo>
                  <a:lnTo>
                    <a:pt x="10103" y="3163"/>
                  </a:lnTo>
                  <a:lnTo>
                    <a:pt x="10106" y="3154"/>
                  </a:lnTo>
                  <a:lnTo>
                    <a:pt x="10109" y="3148"/>
                  </a:lnTo>
                  <a:lnTo>
                    <a:pt x="10116" y="3144"/>
                  </a:lnTo>
                  <a:lnTo>
                    <a:pt x="10124" y="3143"/>
                  </a:lnTo>
                  <a:lnTo>
                    <a:pt x="10131" y="3144"/>
                  </a:lnTo>
                  <a:lnTo>
                    <a:pt x="10138" y="3148"/>
                  </a:lnTo>
                  <a:lnTo>
                    <a:pt x="10142" y="3154"/>
                  </a:lnTo>
                  <a:lnTo>
                    <a:pt x="10143" y="3163"/>
                  </a:lnTo>
                  <a:close/>
                  <a:moveTo>
                    <a:pt x="9880" y="3163"/>
                  </a:moveTo>
                  <a:lnTo>
                    <a:pt x="9880" y="3274"/>
                  </a:lnTo>
                  <a:lnTo>
                    <a:pt x="9879" y="3283"/>
                  </a:lnTo>
                  <a:lnTo>
                    <a:pt x="9874" y="3290"/>
                  </a:lnTo>
                  <a:lnTo>
                    <a:pt x="9867" y="3294"/>
                  </a:lnTo>
                  <a:lnTo>
                    <a:pt x="9861" y="3295"/>
                  </a:lnTo>
                  <a:lnTo>
                    <a:pt x="9853" y="3294"/>
                  </a:lnTo>
                  <a:lnTo>
                    <a:pt x="9847" y="3290"/>
                  </a:lnTo>
                  <a:lnTo>
                    <a:pt x="9841" y="3283"/>
                  </a:lnTo>
                  <a:lnTo>
                    <a:pt x="9840" y="3274"/>
                  </a:lnTo>
                  <a:lnTo>
                    <a:pt x="9840" y="3163"/>
                  </a:lnTo>
                  <a:lnTo>
                    <a:pt x="9841" y="3154"/>
                  </a:lnTo>
                  <a:lnTo>
                    <a:pt x="9847" y="3148"/>
                  </a:lnTo>
                  <a:lnTo>
                    <a:pt x="9853" y="3144"/>
                  </a:lnTo>
                  <a:lnTo>
                    <a:pt x="9861" y="3143"/>
                  </a:lnTo>
                  <a:lnTo>
                    <a:pt x="9867" y="3144"/>
                  </a:lnTo>
                  <a:lnTo>
                    <a:pt x="9874" y="3148"/>
                  </a:lnTo>
                  <a:lnTo>
                    <a:pt x="9879" y="3154"/>
                  </a:lnTo>
                  <a:lnTo>
                    <a:pt x="9880" y="3163"/>
                  </a:lnTo>
                  <a:close/>
                  <a:moveTo>
                    <a:pt x="9617" y="3163"/>
                  </a:moveTo>
                  <a:lnTo>
                    <a:pt x="9617" y="3274"/>
                  </a:lnTo>
                  <a:lnTo>
                    <a:pt x="9616" y="3283"/>
                  </a:lnTo>
                  <a:lnTo>
                    <a:pt x="9611" y="3290"/>
                  </a:lnTo>
                  <a:lnTo>
                    <a:pt x="9604" y="3294"/>
                  </a:lnTo>
                  <a:lnTo>
                    <a:pt x="9598" y="3295"/>
                  </a:lnTo>
                  <a:lnTo>
                    <a:pt x="9590" y="3294"/>
                  </a:lnTo>
                  <a:lnTo>
                    <a:pt x="9584" y="3290"/>
                  </a:lnTo>
                  <a:lnTo>
                    <a:pt x="9579" y="3283"/>
                  </a:lnTo>
                  <a:lnTo>
                    <a:pt x="9577" y="3274"/>
                  </a:lnTo>
                  <a:lnTo>
                    <a:pt x="9577" y="3163"/>
                  </a:lnTo>
                  <a:lnTo>
                    <a:pt x="9579" y="3154"/>
                  </a:lnTo>
                  <a:lnTo>
                    <a:pt x="9584" y="3148"/>
                  </a:lnTo>
                  <a:lnTo>
                    <a:pt x="9590" y="3144"/>
                  </a:lnTo>
                  <a:lnTo>
                    <a:pt x="9598" y="3143"/>
                  </a:lnTo>
                  <a:lnTo>
                    <a:pt x="9604" y="3144"/>
                  </a:lnTo>
                  <a:lnTo>
                    <a:pt x="9611" y="3148"/>
                  </a:lnTo>
                  <a:lnTo>
                    <a:pt x="9616" y="3154"/>
                  </a:lnTo>
                  <a:lnTo>
                    <a:pt x="9617" y="3163"/>
                  </a:lnTo>
                  <a:close/>
                  <a:moveTo>
                    <a:pt x="10933" y="2916"/>
                  </a:moveTo>
                  <a:lnTo>
                    <a:pt x="10933" y="3028"/>
                  </a:lnTo>
                  <a:lnTo>
                    <a:pt x="10931" y="3037"/>
                  </a:lnTo>
                  <a:lnTo>
                    <a:pt x="10926" y="3043"/>
                  </a:lnTo>
                  <a:lnTo>
                    <a:pt x="10920" y="3047"/>
                  </a:lnTo>
                  <a:lnTo>
                    <a:pt x="10912" y="3048"/>
                  </a:lnTo>
                  <a:lnTo>
                    <a:pt x="10906" y="3047"/>
                  </a:lnTo>
                  <a:lnTo>
                    <a:pt x="10899" y="3043"/>
                  </a:lnTo>
                  <a:lnTo>
                    <a:pt x="10894" y="3037"/>
                  </a:lnTo>
                  <a:lnTo>
                    <a:pt x="10893" y="3028"/>
                  </a:lnTo>
                  <a:lnTo>
                    <a:pt x="10893" y="2916"/>
                  </a:lnTo>
                  <a:lnTo>
                    <a:pt x="10894" y="2907"/>
                  </a:lnTo>
                  <a:lnTo>
                    <a:pt x="10899" y="2901"/>
                  </a:lnTo>
                  <a:lnTo>
                    <a:pt x="10906" y="2897"/>
                  </a:lnTo>
                  <a:lnTo>
                    <a:pt x="10912" y="2896"/>
                  </a:lnTo>
                  <a:lnTo>
                    <a:pt x="10920" y="2897"/>
                  </a:lnTo>
                  <a:lnTo>
                    <a:pt x="10926" y="2901"/>
                  </a:lnTo>
                  <a:lnTo>
                    <a:pt x="10931" y="2907"/>
                  </a:lnTo>
                  <a:lnTo>
                    <a:pt x="10933" y="2916"/>
                  </a:lnTo>
                  <a:close/>
                  <a:moveTo>
                    <a:pt x="10670" y="2916"/>
                  </a:moveTo>
                  <a:lnTo>
                    <a:pt x="10670" y="3028"/>
                  </a:lnTo>
                  <a:lnTo>
                    <a:pt x="10669" y="3037"/>
                  </a:lnTo>
                  <a:lnTo>
                    <a:pt x="10663" y="3043"/>
                  </a:lnTo>
                  <a:lnTo>
                    <a:pt x="10657" y="3047"/>
                  </a:lnTo>
                  <a:lnTo>
                    <a:pt x="10649" y="3048"/>
                  </a:lnTo>
                  <a:lnTo>
                    <a:pt x="10643" y="3047"/>
                  </a:lnTo>
                  <a:lnTo>
                    <a:pt x="10637" y="3043"/>
                  </a:lnTo>
                  <a:lnTo>
                    <a:pt x="10631" y="3037"/>
                  </a:lnTo>
                  <a:lnTo>
                    <a:pt x="10630" y="3028"/>
                  </a:lnTo>
                  <a:lnTo>
                    <a:pt x="10630" y="2916"/>
                  </a:lnTo>
                  <a:lnTo>
                    <a:pt x="10631" y="2907"/>
                  </a:lnTo>
                  <a:lnTo>
                    <a:pt x="10637" y="2901"/>
                  </a:lnTo>
                  <a:lnTo>
                    <a:pt x="10643" y="2897"/>
                  </a:lnTo>
                  <a:lnTo>
                    <a:pt x="10649" y="2896"/>
                  </a:lnTo>
                  <a:lnTo>
                    <a:pt x="10657" y="2897"/>
                  </a:lnTo>
                  <a:lnTo>
                    <a:pt x="10663" y="2901"/>
                  </a:lnTo>
                  <a:lnTo>
                    <a:pt x="10669" y="2907"/>
                  </a:lnTo>
                  <a:lnTo>
                    <a:pt x="10670" y="2916"/>
                  </a:lnTo>
                  <a:close/>
                  <a:moveTo>
                    <a:pt x="10407" y="2916"/>
                  </a:moveTo>
                  <a:lnTo>
                    <a:pt x="10407" y="3028"/>
                  </a:lnTo>
                  <a:lnTo>
                    <a:pt x="10404" y="3037"/>
                  </a:lnTo>
                  <a:lnTo>
                    <a:pt x="10401" y="3043"/>
                  </a:lnTo>
                  <a:lnTo>
                    <a:pt x="10394" y="3047"/>
                  </a:lnTo>
                  <a:lnTo>
                    <a:pt x="10386" y="3048"/>
                  </a:lnTo>
                  <a:lnTo>
                    <a:pt x="10379" y="3047"/>
                  </a:lnTo>
                  <a:lnTo>
                    <a:pt x="10372" y="3043"/>
                  </a:lnTo>
                  <a:lnTo>
                    <a:pt x="10369" y="3037"/>
                  </a:lnTo>
                  <a:lnTo>
                    <a:pt x="10366" y="3028"/>
                  </a:lnTo>
                  <a:lnTo>
                    <a:pt x="10366" y="2916"/>
                  </a:lnTo>
                  <a:lnTo>
                    <a:pt x="10369" y="2907"/>
                  </a:lnTo>
                  <a:lnTo>
                    <a:pt x="10372" y="2901"/>
                  </a:lnTo>
                  <a:lnTo>
                    <a:pt x="10379" y="2897"/>
                  </a:lnTo>
                  <a:lnTo>
                    <a:pt x="10386" y="2896"/>
                  </a:lnTo>
                  <a:lnTo>
                    <a:pt x="10394" y="2897"/>
                  </a:lnTo>
                  <a:lnTo>
                    <a:pt x="10401" y="2901"/>
                  </a:lnTo>
                  <a:lnTo>
                    <a:pt x="10404" y="2907"/>
                  </a:lnTo>
                  <a:lnTo>
                    <a:pt x="10407" y="2916"/>
                  </a:lnTo>
                  <a:close/>
                  <a:moveTo>
                    <a:pt x="10143" y="2916"/>
                  </a:moveTo>
                  <a:lnTo>
                    <a:pt x="10143" y="3028"/>
                  </a:lnTo>
                  <a:lnTo>
                    <a:pt x="10142" y="3037"/>
                  </a:lnTo>
                  <a:lnTo>
                    <a:pt x="10138" y="3043"/>
                  </a:lnTo>
                  <a:lnTo>
                    <a:pt x="10131" y="3047"/>
                  </a:lnTo>
                  <a:lnTo>
                    <a:pt x="10124" y="3048"/>
                  </a:lnTo>
                  <a:lnTo>
                    <a:pt x="10116" y="3047"/>
                  </a:lnTo>
                  <a:lnTo>
                    <a:pt x="10109" y="3043"/>
                  </a:lnTo>
                  <a:lnTo>
                    <a:pt x="10106" y="3037"/>
                  </a:lnTo>
                  <a:lnTo>
                    <a:pt x="10103" y="3028"/>
                  </a:lnTo>
                  <a:lnTo>
                    <a:pt x="10103" y="2916"/>
                  </a:lnTo>
                  <a:lnTo>
                    <a:pt x="10106" y="2907"/>
                  </a:lnTo>
                  <a:lnTo>
                    <a:pt x="10109" y="2901"/>
                  </a:lnTo>
                  <a:lnTo>
                    <a:pt x="10116" y="2897"/>
                  </a:lnTo>
                  <a:lnTo>
                    <a:pt x="10124" y="2896"/>
                  </a:lnTo>
                  <a:lnTo>
                    <a:pt x="10131" y="2897"/>
                  </a:lnTo>
                  <a:lnTo>
                    <a:pt x="10138" y="2901"/>
                  </a:lnTo>
                  <a:lnTo>
                    <a:pt x="10142" y="2907"/>
                  </a:lnTo>
                  <a:lnTo>
                    <a:pt x="10143" y="2916"/>
                  </a:lnTo>
                  <a:close/>
                  <a:moveTo>
                    <a:pt x="9880" y="2916"/>
                  </a:moveTo>
                  <a:lnTo>
                    <a:pt x="9880" y="3028"/>
                  </a:lnTo>
                  <a:lnTo>
                    <a:pt x="9879" y="3037"/>
                  </a:lnTo>
                  <a:lnTo>
                    <a:pt x="9874" y="3043"/>
                  </a:lnTo>
                  <a:lnTo>
                    <a:pt x="9867" y="3047"/>
                  </a:lnTo>
                  <a:lnTo>
                    <a:pt x="9861" y="3048"/>
                  </a:lnTo>
                  <a:lnTo>
                    <a:pt x="9853" y="3047"/>
                  </a:lnTo>
                  <a:lnTo>
                    <a:pt x="9847" y="3043"/>
                  </a:lnTo>
                  <a:lnTo>
                    <a:pt x="9841" y="3037"/>
                  </a:lnTo>
                  <a:lnTo>
                    <a:pt x="9840" y="3028"/>
                  </a:lnTo>
                  <a:lnTo>
                    <a:pt x="9840" y="2916"/>
                  </a:lnTo>
                  <a:lnTo>
                    <a:pt x="9841" y="2907"/>
                  </a:lnTo>
                  <a:lnTo>
                    <a:pt x="9847" y="2901"/>
                  </a:lnTo>
                  <a:lnTo>
                    <a:pt x="9853" y="2897"/>
                  </a:lnTo>
                  <a:lnTo>
                    <a:pt x="9861" y="2896"/>
                  </a:lnTo>
                  <a:lnTo>
                    <a:pt x="9867" y="2897"/>
                  </a:lnTo>
                  <a:lnTo>
                    <a:pt x="9874" y="2901"/>
                  </a:lnTo>
                  <a:lnTo>
                    <a:pt x="9879" y="2907"/>
                  </a:lnTo>
                  <a:lnTo>
                    <a:pt x="9880" y="2916"/>
                  </a:lnTo>
                  <a:close/>
                  <a:moveTo>
                    <a:pt x="9617" y="2916"/>
                  </a:moveTo>
                  <a:lnTo>
                    <a:pt x="9617" y="3028"/>
                  </a:lnTo>
                  <a:lnTo>
                    <a:pt x="9616" y="3037"/>
                  </a:lnTo>
                  <a:lnTo>
                    <a:pt x="9611" y="3043"/>
                  </a:lnTo>
                  <a:lnTo>
                    <a:pt x="9604" y="3047"/>
                  </a:lnTo>
                  <a:lnTo>
                    <a:pt x="9598" y="3048"/>
                  </a:lnTo>
                  <a:lnTo>
                    <a:pt x="9590" y="3047"/>
                  </a:lnTo>
                  <a:lnTo>
                    <a:pt x="9584" y="3043"/>
                  </a:lnTo>
                  <a:lnTo>
                    <a:pt x="9579" y="3037"/>
                  </a:lnTo>
                  <a:lnTo>
                    <a:pt x="9577" y="3028"/>
                  </a:lnTo>
                  <a:lnTo>
                    <a:pt x="9577" y="2916"/>
                  </a:lnTo>
                  <a:lnTo>
                    <a:pt x="9579" y="2907"/>
                  </a:lnTo>
                  <a:lnTo>
                    <a:pt x="9584" y="2901"/>
                  </a:lnTo>
                  <a:lnTo>
                    <a:pt x="9590" y="2897"/>
                  </a:lnTo>
                  <a:lnTo>
                    <a:pt x="9598" y="2896"/>
                  </a:lnTo>
                  <a:lnTo>
                    <a:pt x="9604" y="2897"/>
                  </a:lnTo>
                  <a:lnTo>
                    <a:pt x="9611" y="2901"/>
                  </a:lnTo>
                  <a:lnTo>
                    <a:pt x="9616" y="2907"/>
                  </a:lnTo>
                  <a:lnTo>
                    <a:pt x="9617" y="2916"/>
                  </a:lnTo>
                  <a:close/>
                  <a:moveTo>
                    <a:pt x="10933" y="2670"/>
                  </a:moveTo>
                  <a:lnTo>
                    <a:pt x="10933" y="2782"/>
                  </a:lnTo>
                  <a:lnTo>
                    <a:pt x="10931" y="2790"/>
                  </a:lnTo>
                  <a:lnTo>
                    <a:pt x="10926" y="2796"/>
                  </a:lnTo>
                  <a:lnTo>
                    <a:pt x="10920" y="2800"/>
                  </a:lnTo>
                  <a:lnTo>
                    <a:pt x="10912" y="2801"/>
                  </a:lnTo>
                  <a:lnTo>
                    <a:pt x="10906" y="2800"/>
                  </a:lnTo>
                  <a:lnTo>
                    <a:pt x="10899" y="2796"/>
                  </a:lnTo>
                  <a:lnTo>
                    <a:pt x="10894" y="2790"/>
                  </a:lnTo>
                  <a:lnTo>
                    <a:pt x="10893" y="2782"/>
                  </a:lnTo>
                  <a:lnTo>
                    <a:pt x="10893" y="2670"/>
                  </a:lnTo>
                  <a:lnTo>
                    <a:pt x="10894" y="2661"/>
                  </a:lnTo>
                  <a:lnTo>
                    <a:pt x="10899" y="2654"/>
                  </a:lnTo>
                  <a:lnTo>
                    <a:pt x="10906" y="2650"/>
                  </a:lnTo>
                  <a:lnTo>
                    <a:pt x="10912" y="2649"/>
                  </a:lnTo>
                  <a:lnTo>
                    <a:pt x="10920" y="2650"/>
                  </a:lnTo>
                  <a:lnTo>
                    <a:pt x="10926" y="2654"/>
                  </a:lnTo>
                  <a:lnTo>
                    <a:pt x="10931" y="2661"/>
                  </a:lnTo>
                  <a:lnTo>
                    <a:pt x="10933" y="2670"/>
                  </a:lnTo>
                  <a:close/>
                  <a:moveTo>
                    <a:pt x="10670" y="2670"/>
                  </a:moveTo>
                  <a:lnTo>
                    <a:pt x="10670" y="2782"/>
                  </a:lnTo>
                  <a:lnTo>
                    <a:pt x="10669" y="2790"/>
                  </a:lnTo>
                  <a:lnTo>
                    <a:pt x="10663" y="2796"/>
                  </a:lnTo>
                  <a:lnTo>
                    <a:pt x="10657" y="2800"/>
                  </a:lnTo>
                  <a:lnTo>
                    <a:pt x="10649" y="2801"/>
                  </a:lnTo>
                  <a:lnTo>
                    <a:pt x="10643" y="2800"/>
                  </a:lnTo>
                  <a:lnTo>
                    <a:pt x="10637" y="2796"/>
                  </a:lnTo>
                  <a:lnTo>
                    <a:pt x="10631" y="2790"/>
                  </a:lnTo>
                  <a:lnTo>
                    <a:pt x="10630" y="2782"/>
                  </a:lnTo>
                  <a:lnTo>
                    <a:pt x="10630" y="2670"/>
                  </a:lnTo>
                  <a:lnTo>
                    <a:pt x="10631" y="2661"/>
                  </a:lnTo>
                  <a:lnTo>
                    <a:pt x="10637" y="2654"/>
                  </a:lnTo>
                  <a:lnTo>
                    <a:pt x="10643" y="2650"/>
                  </a:lnTo>
                  <a:lnTo>
                    <a:pt x="10649" y="2649"/>
                  </a:lnTo>
                  <a:lnTo>
                    <a:pt x="10657" y="2650"/>
                  </a:lnTo>
                  <a:lnTo>
                    <a:pt x="10663" y="2654"/>
                  </a:lnTo>
                  <a:lnTo>
                    <a:pt x="10669" y="2661"/>
                  </a:lnTo>
                  <a:lnTo>
                    <a:pt x="10670" y="2670"/>
                  </a:lnTo>
                  <a:close/>
                  <a:moveTo>
                    <a:pt x="10407" y="2670"/>
                  </a:moveTo>
                  <a:lnTo>
                    <a:pt x="10407" y="2782"/>
                  </a:lnTo>
                  <a:lnTo>
                    <a:pt x="10404" y="2790"/>
                  </a:lnTo>
                  <a:lnTo>
                    <a:pt x="10401" y="2796"/>
                  </a:lnTo>
                  <a:lnTo>
                    <a:pt x="10394" y="2800"/>
                  </a:lnTo>
                  <a:lnTo>
                    <a:pt x="10386" y="2801"/>
                  </a:lnTo>
                  <a:lnTo>
                    <a:pt x="10379" y="2800"/>
                  </a:lnTo>
                  <a:lnTo>
                    <a:pt x="10372" y="2796"/>
                  </a:lnTo>
                  <a:lnTo>
                    <a:pt x="10369" y="2790"/>
                  </a:lnTo>
                  <a:lnTo>
                    <a:pt x="10366" y="2782"/>
                  </a:lnTo>
                  <a:lnTo>
                    <a:pt x="10366" y="2670"/>
                  </a:lnTo>
                  <a:lnTo>
                    <a:pt x="10369" y="2661"/>
                  </a:lnTo>
                  <a:lnTo>
                    <a:pt x="10372" y="2654"/>
                  </a:lnTo>
                  <a:lnTo>
                    <a:pt x="10379" y="2650"/>
                  </a:lnTo>
                  <a:lnTo>
                    <a:pt x="10386" y="2649"/>
                  </a:lnTo>
                  <a:lnTo>
                    <a:pt x="10394" y="2650"/>
                  </a:lnTo>
                  <a:lnTo>
                    <a:pt x="10401" y="2654"/>
                  </a:lnTo>
                  <a:lnTo>
                    <a:pt x="10404" y="2661"/>
                  </a:lnTo>
                  <a:lnTo>
                    <a:pt x="10407" y="2670"/>
                  </a:lnTo>
                  <a:close/>
                  <a:moveTo>
                    <a:pt x="10143" y="2670"/>
                  </a:moveTo>
                  <a:lnTo>
                    <a:pt x="10143" y="2782"/>
                  </a:lnTo>
                  <a:lnTo>
                    <a:pt x="10142" y="2790"/>
                  </a:lnTo>
                  <a:lnTo>
                    <a:pt x="10138" y="2796"/>
                  </a:lnTo>
                  <a:lnTo>
                    <a:pt x="10131" y="2800"/>
                  </a:lnTo>
                  <a:lnTo>
                    <a:pt x="10124" y="2801"/>
                  </a:lnTo>
                  <a:lnTo>
                    <a:pt x="10116" y="2800"/>
                  </a:lnTo>
                  <a:lnTo>
                    <a:pt x="10109" y="2796"/>
                  </a:lnTo>
                  <a:lnTo>
                    <a:pt x="10106" y="2790"/>
                  </a:lnTo>
                  <a:lnTo>
                    <a:pt x="10103" y="2782"/>
                  </a:lnTo>
                  <a:lnTo>
                    <a:pt x="10103" y="2670"/>
                  </a:lnTo>
                  <a:lnTo>
                    <a:pt x="10106" y="2661"/>
                  </a:lnTo>
                  <a:lnTo>
                    <a:pt x="10109" y="2654"/>
                  </a:lnTo>
                  <a:lnTo>
                    <a:pt x="10116" y="2650"/>
                  </a:lnTo>
                  <a:lnTo>
                    <a:pt x="10124" y="2649"/>
                  </a:lnTo>
                  <a:lnTo>
                    <a:pt x="10131" y="2650"/>
                  </a:lnTo>
                  <a:lnTo>
                    <a:pt x="10138" y="2654"/>
                  </a:lnTo>
                  <a:lnTo>
                    <a:pt x="10142" y="2661"/>
                  </a:lnTo>
                  <a:lnTo>
                    <a:pt x="10143" y="2670"/>
                  </a:lnTo>
                  <a:close/>
                  <a:moveTo>
                    <a:pt x="9880" y="2670"/>
                  </a:moveTo>
                  <a:lnTo>
                    <a:pt x="9880" y="2782"/>
                  </a:lnTo>
                  <a:lnTo>
                    <a:pt x="9879" y="2790"/>
                  </a:lnTo>
                  <a:lnTo>
                    <a:pt x="9874" y="2796"/>
                  </a:lnTo>
                  <a:lnTo>
                    <a:pt x="9867" y="2800"/>
                  </a:lnTo>
                  <a:lnTo>
                    <a:pt x="9861" y="2801"/>
                  </a:lnTo>
                  <a:lnTo>
                    <a:pt x="9853" y="2800"/>
                  </a:lnTo>
                  <a:lnTo>
                    <a:pt x="9847" y="2796"/>
                  </a:lnTo>
                  <a:lnTo>
                    <a:pt x="9841" y="2790"/>
                  </a:lnTo>
                  <a:lnTo>
                    <a:pt x="9840" y="2782"/>
                  </a:lnTo>
                  <a:lnTo>
                    <a:pt x="9840" y="2670"/>
                  </a:lnTo>
                  <a:lnTo>
                    <a:pt x="9841" y="2661"/>
                  </a:lnTo>
                  <a:lnTo>
                    <a:pt x="9847" y="2654"/>
                  </a:lnTo>
                  <a:lnTo>
                    <a:pt x="9853" y="2650"/>
                  </a:lnTo>
                  <a:lnTo>
                    <a:pt x="9861" y="2649"/>
                  </a:lnTo>
                  <a:lnTo>
                    <a:pt x="9867" y="2650"/>
                  </a:lnTo>
                  <a:lnTo>
                    <a:pt x="9874" y="2654"/>
                  </a:lnTo>
                  <a:lnTo>
                    <a:pt x="9879" y="2661"/>
                  </a:lnTo>
                  <a:lnTo>
                    <a:pt x="9880" y="2670"/>
                  </a:lnTo>
                  <a:close/>
                  <a:moveTo>
                    <a:pt x="9617" y="2670"/>
                  </a:moveTo>
                  <a:lnTo>
                    <a:pt x="9617" y="2782"/>
                  </a:lnTo>
                  <a:lnTo>
                    <a:pt x="9616" y="2790"/>
                  </a:lnTo>
                  <a:lnTo>
                    <a:pt x="9611" y="2796"/>
                  </a:lnTo>
                  <a:lnTo>
                    <a:pt x="9604" y="2800"/>
                  </a:lnTo>
                  <a:lnTo>
                    <a:pt x="9598" y="2801"/>
                  </a:lnTo>
                  <a:lnTo>
                    <a:pt x="9590" y="2800"/>
                  </a:lnTo>
                  <a:lnTo>
                    <a:pt x="9584" y="2796"/>
                  </a:lnTo>
                  <a:lnTo>
                    <a:pt x="9579" y="2790"/>
                  </a:lnTo>
                  <a:lnTo>
                    <a:pt x="9577" y="2782"/>
                  </a:lnTo>
                  <a:lnTo>
                    <a:pt x="9577" y="2670"/>
                  </a:lnTo>
                  <a:lnTo>
                    <a:pt x="9579" y="2661"/>
                  </a:lnTo>
                  <a:lnTo>
                    <a:pt x="9584" y="2654"/>
                  </a:lnTo>
                  <a:lnTo>
                    <a:pt x="9590" y="2650"/>
                  </a:lnTo>
                  <a:lnTo>
                    <a:pt x="9598" y="2649"/>
                  </a:lnTo>
                  <a:lnTo>
                    <a:pt x="9604" y="2650"/>
                  </a:lnTo>
                  <a:lnTo>
                    <a:pt x="9611" y="2654"/>
                  </a:lnTo>
                  <a:lnTo>
                    <a:pt x="9616" y="2661"/>
                  </a:lnTo>
                  <a:lnTo>
                    <a:pt x="9617" y="2670"/>
                  </a:lnTo>
                  <a:close/>
                  <a:moveTo>
                    <a:pt x="13776" y="2113"/>
                  </a:moveTo>
                  <a:lnTo>
                    <a:pt x="13776" y="2226"/>
                  </a:lnTo>
                  <a:lnTo>
                    <a:pt x="13774" y="2235"/>
                  </a:lnTo>
                  <a:lnTo>
                    <a:pt x="13769" y="2241"/>
                  </a:lnTo>
                  <a:lnTo>
                    <a:pt x="13763" y="2245"/>
                  </a:lnTo>
                  <a:lnTo>
                    <a:pt x="13756" y="2246"/>
                  </a:lnTo>
                  <a:lnTo>
                    <a:pt x="13749" y="2245"/>
                  </a:lnTo>
                  <a:lnTo>
                    <a:pt x="13742" y="2241"/>
                  </a:lnTo>
                  <a:lnTo>
                    <a:pt x="13737" y="2235"/>
                  </a:lnTo>
                  <a:lnTo>
                    <a:pt x="13736" y="2226"/>
                  </a:lnTo>
                  <a:lnTo>
                    <a:pt x="13736" y="2113"/>
                  </a:lnTo>
                  <a:lnTo>
                    <a:pt x="13737" y="2106"/>
                  </a:lnTo>
                  <a:lnTo>
                    <a:pt x="13742" y="2099"/>
                  </a:lnTo>
                  <a:lnTo>
                    <a:pt x="13749" y="2095"/>
                  </a:lnTo>
                  <a:lnTo>
                    <a:pt x="13756" y="2094"/>
                  </a:lnTo>
                  <a:lnTo>
                    <a:pt x="13763" y="2095"/>
                  </a:lnTo>
                  <a:lnTo>
                    <a:pt x="13769" y="2099"/>
                  </a:lnTo>
                  <a:lnTo>
                    <a:pt x="13774" y="2106"/>
                  </a:lnTo>
                  <a:lnTo>
                    <a:pt x="13776" y="2113"/>
                  </a:lnTo>
                  <a:close/>
                  <a:moveTo>
                    <a:pt x="13513" y="2113"/>
                  </a:moveTo>
                  <a:lnTo>
                    <a:pt x="13513" y="2226"/>
                  </a:lnTo>
                  <a:lnTo>
                    <a:pt x="13511" y="2235"/>
                  </a:lnTo>
                  <a:lnTo>
                    <a:pt x="13506" y="2241"/>
                  </a:lnTo>
                  <a:lnTo>
                    <a:pt x="13500" y="2245"/>
                  </a:lnTo>
                  <a:lnTo>
                    <a:pt x="13492" y="2246"/>
                  </a:lnTo>
                  <a:lnTo>
                    <a:pt x="13486" y="2245"/>
                  </a:lnTo>
                  <a:lnTo>
                    <a:pt x="13479" y="2241"/>
                  </a:lnTo>
                  <a:lnTo>
                    <a:pt x="13474" y="2235"/>
                  </a:lnTo>
                  <a:lnTo>
                    <a:pt x="13473" y="2226"/>
                  </a:lnTo>
                  <a:lnTo>
                    <a:pt x="13473" y="2113"/>
                  </a:lnTo>
                  <a:lnTo>
                    <a:pt x="13474" y="2106"/>
                  </a:lnTo>
                  <a:lnTo>
                    <a:pt x="13479" y="2099"/>
                  </a:lnTo>
                  <a:lnTo>
                    <a:pt x="13486" y="2095"/>
                  </a:lnTo>
                  <a:lnTo>
                    <a:pt x="13492" y="2094"/>
                  </a:lnTo>
                  <a:lnTo>
                    <a:pt x="13500" y="2095"/>
                  </a:lnTo>
                  <a:lnTo>
                    <a:pt x="13506" y="2099"/>
                  </a:lnTo>
                  <a:lnTo>
                    <a:pt x="13511" y="2106"/>
                  </a:lnTo>
                  <a:lnTo>
                    <a:pt x="13513" y="2113"/>
                  </a:lnTo>
                  <a:close/>
                  <a:moveTo>
                    <a:pt x="13250" y="2113"/>
                  </a:moveTo>
                  <a:lnTo>
                    <a:pt x="13250" y="2226"/>
                  </a:lnTo>
                  <a:lnTo>
                    <a:pt x="13247" y="2235"/>
                  </a:lnTo>
                  <a:lnTo>
                    <a:pt x="13243" y="2241"/>
                  </a:lnTo>
                  <a:lnTo>
                    <a:pt x="13237" y="2245"/>
                  </a:lnTo>
                  <a:lnTo>
                    <a:pt x="13229" y="2246"/>
                  </a:lnTo>
                  <a:lnTo>
                    <a:pt x="13222" y="2245"/>
                  </a:lnTo>
                  <a:lnTo>
                    <a:pt x="13215" y="2241"/>
                  </a:lnTo>
                  <a:lnTo>
                    <a:pt x="13211" y="2235"/>
                  </a:lnTo>
                  <a:lnTo>
                    <a:pt x="13210" y="2226"/>
                  </a:lnTo>
                  <a:lnTo>
                    <a:pt x="13210" y="2113"/>
                  </a:lnTo>
                  <a:lnTo>
                    <a:pt x="13211" y="2106"/>
                  </a:lnTo>
                  <a:lnTo>
                    <a:pt x="13215" y="2099"/>
                  </a:lnTo>
                  <a:lnTo>
                    <a:pt x="13222" y="2095"/>
                  </a:lnTo>
                  <a:lnTo>
                    <a:pt x="13229" y="2094"/>
                  </a:lnTo>
                  <a:lnTo>
                    <a:pt x="13237" y="2095"/>
                  </a:lnTo>
                  <a:lnTo>
                    <a:pt x="13243" y="2099"/>
                  </a:lnTo>
                  <a:lnTo>
                    <a:pt x="13247" y="2106"/>
                  </a:lnTo>
                  <a:lnTo>
                    <a:pt x="13250" y="2113"/>
                  </a:lnTo>
                  <a:close/>
                  <a:moveTo>
                    <a:pt x="12987" y="2113"/>
                  </a:moveTo>
                  <a:lnTo>
                    <a:pt x="12987" y="2226"/>
                  </a:lnTo>
                  <a:lnTo>
                    <a:pt x="12984" y="2235"/>
                  </a:lnTo>
                  <a:lnTo>
                    <a:pt x="12981" y="2241"/>
                  </a:lnTo>
                  <a:lnTo>
                    <a:pt x="12974" y="2245"/>
                  </a:lnTo>
                  <a:lnTo>
                    <a:pt x="12966" y="2246"/>
                  </a:lnTo>
                  <a:lnTo>
                    <a:pt x="12959" y="2245"/>
                  </a:lnTo>
                  <a:lnTo>
                    <a:pt x="12952" y="2241"/>
                  </a:lnTo>
                  <a:lnTo>
                    <a:pt x="12948" y="2235"/>
                  </a:lnTo>
                  <a:lnTo>
                    <a:pt x="12946" y="2226"/>
                  </a:lnTo>
                  <a:lnTo>
                    <a:pt x="12946" y="2113"/>
                  </a:lnTo>
                  <a:lnTo>
                    <a:pt x="12948" y="2106"/>
                  </a:lnTo>
                  <a:lnTo>
                    <a:pt x="12952" y="2099"/>
                  </a:lnTo>
                  <a:lnTo>
                    <a:pt x="12959" y="2095"/>
                  </a:lnTo>
                  <a:lnTo>
                    <a:pt x="12966" y="2094"/>
                  </a:lnTo>
                  <a:lnTo>
                    <a:pt x="12974" y="2095"/>
                  </a:lnTo>
                  <a:lnTo>
                    <a:pt x="12981" y="2099"/>
                  </a:lnTo>
                  <a:lnTo>
                    <a:pt x="12984" y="2106"/>
                  </a:lnTo>
                  <a:lnTo>
                    <a:pt x="12987" y="2113"/>
                  </a:lnTo>
                  <a:close/>
                  <a:moveTo>
                    <a:pt x="13776" y="1879"/>
                  </a:moveTo>
                  <a:lnTo>
                    <a:pt x="13776" y="1992"/>
                  </a:lnTo>
                  <a:lnTo>
                    <a:pt x="13774" y="2001"/>
                  </a:lnTo>
                  <a:lnTo>
                    <a:pt x="13769" y="2007"/>
                  </a:lnTo>
                  <a:lnTo>
                    <a:pt x="13763" y="2011"/>
                  </a:lnTo>
                  <a:lnTo>
                    <a:pt x="13756" y="2012"/>
                  </a:lnTo>
                  <a:lnTo>
                    <a:pt x="13749" y="2011"/>
                  </a:lnTo>
                  <a:lnTo>
                    <a:pt x="13742" y="2007"/>
                  </a:lnTo>
                  <a:lnTo>
                    <a:pt x="13737" y="2001"/>
                  </a:lnTo>
                  <a:lnTo>
                    <a:pt x="13736" y="1992"/>
                  </a:lnTo>
                  <a:lnTo>
                    <a:pt x="13736" y="1879"/>
                  </a:lnTo>
                  <a:lnTo>
                    <a:pt x="13737" y="1872"/>
                  </a:lnTo>
                  <a:lnTo>
                    <a:pt x="13742" y="1865"/>
                  </a:lnTo>
                  <a:lnTo>
                    <a:pt x="13749" y="1861"/>
                  </a:lnTo>
                  <a:lnTo>
                    <a:pt x="13756" y="1860"/>
                  </a:lnTo>
                  <a:lnTo>
                    <a:pt x="13763" y="1861"/>
                  </a:lnTo>
                  <a:lnTo>
                    <a:pt x="13769" y="1865"/>
                  </a:lnTo>
                  <a:lnTo>
                    <a:pt x="13774" y="1872"/>
                  </a:lnTo>
                  <a:lnTo>
                    <a:pt x="13776" y="1879"/>
                  </a:lnTo>
                  <a:close/>
                  <a:moveTo>
                    <a:pt x="13513" y="1879"/>
                  </a:moveTo>
                  <a:lnTo>
                    <a:pt x="13513" y="1992"/>
                  </a:lnTo>
                  <a:lnTo>
                    <a:pt x="13511" y="2001"/>
                  </a:lnTo>
                  <a:lnTo>
                    <a:pt x="13506" y="2007"/>
                  </a:lnTo>
                  <a:lnTo>
                    <a:pt x="13500" y="2011"/>
                  </a:lnTo>
                  <a:lnTo>
                    <a:pt x="13492" y="2012"/>
                  </a:lnTo>
                  <a:lnTo>
                    <a:pt x="13486" y="2011"/>
                  </a:lnTo>
                  <a:lnTo>
                    <a:pt x="13479" y="2007"/>
                  </a:lnTo>
                  <a:lnTo>
                    <a:pt x="13474" y="2001"/>
                  </a:lnTo>
                  <a:lnTo>
                    <a:pt x="13473" y="1992"/>
                  </a:lnTo>
                  <a:lnTo>
                    <a:pt x="13473" y="1879"/>
                  </a:lnTo>
                  <a:lnTo>
                    <a:pt x="13474" y="1872"/>
                  </a:lnTo>
                  <a:lnTo>
                    <a:pt x="13479" y="1865"/>
                  </a:lnTo>
                  <a:lnTo>
                    <a:pt x="13486" y="1861"/>
                  </a:lnTo>
                  <a:lnTo>
                    <a:pt x="13492" y="1860"/>
                  </a:lnTo>
                  <a:lnTo>
                    <a:pt x="13500" y="1861"/>
                  </a:lnTo>
                  <a:lnTo>
                    <a:pt x="13506" y="1865"/>
                  </a:lnTo>
                  <a:lnTo>
                    <a:pt x="13511" y="1872"/>
                  </a:lnTo>
                  <a:lnTo>
                    <a:pt x="13513" y="1879"/>
                  </a:lnTo>
                  <a:close/>
                  <a:moveTo>
                    <a:pt x="13250" y="1879"/>
                  </a:moveTo>
                  <a:lnTo>
                    <a:pt x="13250" y="1992"/>
                  </a:lnTo>
                  <a:lnTo>
                    <a:pt x="13247" y="2001"/>
                  </a:lnTo>
                  <a:lnTo>
                    <a:pt x="13243" y="2007"/>
                  </a:lnTo>
                  <a:lnTo>
                    <a:pt x="13237" y="2011"/>
                  </a:lnTo>
                  <a:lnTo>
                    <a:pt x="13229" y="2012"/>
                  </a:lnTo>
                  <a:lnTo>
                    <a:pt x="13222" y="2011"/>
                  </a:lnTo>
                  <a:lnTo>
                    <a:pt x="13215" y="2007"/>
                  </a:lnTo>
                  <a:lnTo>
                    <a:pt x="13211" y="2001"/>
                  </a:lnTo>
                  <a:lnTo>
                    <a:pt x="13210" y="1992"/>
                  </a:lnTo>
                  <a:lnTo>
                    <a:pt x="13210" y="1879"/>
                  </a:lnTo>
                  <a:lnTo>
                    <a:pt x="13211" y="1872"/>
                  </a:lnTo>
                  <a:lnTo>
                    <a:pt x="13215" y="1865"/>
                  </a:lnTo>
                  <a:lnTo>
                    <a:pt x="13222" y="1861"/>
                  </a:lnTo>
                  <a:lnTo>
                    <a:pt x="13229" y="1860"/>
                  </a:lnTo>
                  <a:lnTo>
                    <a:pt x="13237" y="1861"/>
                  </a:lnTo>
                  <a:lnTo>
                    <a:pt x="13243" y="1865"/>
                  </a:lnTo>
                  <a:lnTo>
                    <a:pt x="13247" y="1872"/>
                  </a:lnTo>
                  <a:lnTo>
                    <a:pt x="13250" y="1879"/>
                  </a:lnTo>
                  <a:close/>
                  <a:moveTo>
                    <a:pt x="12987" y="1879"/>
                  </a:moveTo>
                  <a:lnTo>
                    <a:pt x="12987" y="1992"/>
                  </a:lnTo>
                  <a:lnTo>
                    <a:pt x="12984" y="2001"/>
                  </a:lnTo>
                  <a:lnTo>
                    <a:pt x="12981" y="2007"/>
                  </a:lnTo>
                  <a:lnTo>
                    <a:pt x="12974" y="2011"/>
                  </a:lnTo>
                  <a:lnTo>
                    <a:pt x="12966" y="2012"/>
                  </a:lnTo>
                  <a:lnTo>
                    <a:pt x="12959" y="2011"/>
                  </a:lnTo>
                  <a:lnTo>
                    <a:pt x="12952" y="2007"/>
                  </a:lnTo>
                  <a:lnTo>
                    <a:pt x="12948" y="2001"/>
                  </a:lnTo>
                  <a:lnTo>
                    <a:pt x="12946" y="1992"/>
                  </a:lnTo>
                  <a:lnTo>
                    <a:pt x="12946" y="1879"/>
                  </a:lnTo>
                  <a:lnTo>
                    <a:pt x="12948" y="1872"/>
                  </a:lnTo>
                  <a:lnTo>
                    <a:pt x="12952" y="1865"/>
                  </a:lnTo>
                  <a:lnTo>
                    <a:pt x="12959" y="1861"/>
                  </a:lnTo>
                  <a:lnTo>
                    <a:pt x="12966" y="1860"/>
                  </a:lnTo>
                  <a:lnTo>
                    <a:pt x="12974" y="1861"/>
                  </a:lnTo>
                  <a:lnTo>
                    <a:pt x="12981" y="1865"/>
                  </a:lnTo>
                  <a:lnTo>
                    <a:pt x="12984" y="1872"/>
                  </a:lnTo>
                  <a:lnTo>
                    <a:pt x="12987" y="1879"/>
                  </a:lnTo>
                  <a:close/>
                  <a:moveTo>
                    <a:pt x="13776" y="1645"/>
                  </a:moveTo>
                  <a:lnTo>
                    <a:pt x="13776" y="1758"/>
                  </a:lnTo>
                  <a:lnTo>
                    <a:pt x="13774" y="1767"/>
                  </a:lnTo>
                  <a:lnTo>
                    <a:pt x="13769" y="1773"/>
                  </a:lnTo>
                  <a:lnTo>
                    <a:pt x="13763" y="1777"/>
                  </a:lnTo>
                  <a:lnTo>
                    <a:pt x="13756" y="1778"/>
                  </a:lnTo>
                  <a:lnTo>
                    <a:pt x="13749" y="1777"/>
                  </a:lnTo>
                  <a:lnTo>
                    <a:pt x="13742" y="1773"/>
                  </a:lnTo>
                  <a:lnTo>
                    <a:pt x="13737" y="1767"/>
                  </a:lnTo>
                  <a:lnTo>
                    <a:pt x="13736" y="1758"/>
                  </a:lnTo>
                  <a:lnTo>
                    <a:pt x="13736" y="1645"/>
                  </a:lnTo>
                  <a:lnTo>
                    <a:pt x="13737" y="1636"/>
                  </a:lnTo>
                  <a:lnTo>
                    <a:pt x="13742" y="1631"/>
                  </a:lnTo>
                  <a:lnTo>
                    <a:pt x="13749" y="1627"/>
                  </a:lnTo>
                  <a:lnTo>
                    <a:pt x="13756" y="1626"/>
                  </a:lnTo>
                  <a:lnTo>
                    <a:pt x="13763" y="1627"/>
                  </a:lnTo>
                  <a:lnTo>
                    <a:pt x="13769" y="1631"/>
                  </a:lnTo>
                  <a:lnTo>
                    <a:pt x="13774" y="1636"/>
                  </a:lnTo>
                  <a:lnTo>
                    <a:pt x="13776" y="1645"/>
                  </a:lnTo>
                  <a:close/>
                  <a:moveTo>
                    <a:pt x="13513" y="1645"/>
                  </a:moveTo>
                  <a:lnTo>
                    <a:pt x="13513" y="1758"/>
                  </a:lnTo>
                  <a:lnTo>
                    <a:pt x="13511" y="1767"/>
                  </a:lnTo>
                  <a:lnTo>
                    <a:pt x="13506" y="1773"/>
                  </a:lnTo>
                  <a:lnTo>
                    <a:pt x="13500" y="1777"/>
                  </a:lnTo>
                  <a:lnTo>
                    <a:pt x="13492" y="1778"/>
                  </a:lnTo>
                  <a:lnTo>
                    <a:pt x="13486" y="1777"/>
                  </a:lnTo>
                  <a:lnTo>
                    <a:pt x="13479" y="1773"/>
                  </a:lnTo>
                  <a:lnTo>
                    <a:pt x="13474" y="1767"/>
                  </a:lnTo>
                  <a:lnTo>
                    <a:pt x="13473" y="1758"/>
                  </a:lnTo>
                  <a:lnTo>
                    <a:pt x="13473" y="1645"/>
                  </a:lnTo>
                  <a:lnTo>
                    <a:pt x="13474" y="1636"/>
                  </a:lnTo>
                  <a:lnTo>
                    <a:pt x="13479" y="1631"/>
                  </a:lnTo>
                  <a:lnTo>
                    <a:pt x="13486" y="1627"/>
                  </a:lnTo>
                  <a:lnTo>
                    <a:pt x="13492" y="1626"/>
                  </a:lnTo>
                  <a:lnTo>
                    <a:pt x="13500" y="1627"/>
                  </a:lnTo>
                  <a:lnTo>
                    <a:pt x="13506" y="1631"/>
                  </a:lnTo>
                  <a:lnTo>
                    <a:pt x="13511" y="1636"/>
                  </a:lnTo>
                  <a:lnTo>
                    <a:pt x="13513" y="1645"/>
                  </a:lnTo>
                  <a:close/>
                  <a:moveTo>
                    <a:pt x="13250" y="1645"/>
                  </a:moveTo>
                  <a:lnTo>
                    <a:pt x="13250" y="1758"/>
                  </a:lnTo>
                  <a:lnTo>
                    <a:pt x="13247" y="1767"/>
                  </a:lnTo>
                  <a:lnTo>
                    <a:pt x="13243" y="1773"/>
                  </a:lnTo>
                  <a:lnTo>
                    <a:pt x="13237" y="1777"/>
                  </a:lnTo>
                  <a:lnTo>
                    <a:pt x="13229" y="1778"/>
                  </a:lnTo>
                  <a:lnTo>
                    <a:pt x="13222" y="1777"/>
                  </a:lnTo>
                  <a:lnTo>
                    <a:pt x="13215" y="1773"/>
                  </a:lnTo>
                  <a:lnTo>
                    <a:pt x="13211" y="1767"/>
                  </a:lnTo>
                  <a:lnTo>
                    <a:pt x="13210" y="1758"/>
                  </a:lnTo>
                  <a:lnTo>
                    <a:pt x="13210" y="1645"/>
                  </a:lnTo>
                  <a:lnTo>
                    <a:pt x="13211" y="1636"/>
                  </a:lnTo>
                  <a:lnTo>
                    <a:pt x="13215" y="1631"/>
                  </a:lnTo>
                  <a:lnTo>
                    <a:pt x="13222" y="1627"/>
                  </a:lnTo>
                  <a:lnTo>
                    <a:pt x="13229" y="1626"/>
                  </a:lnTo>
                  <a:lnTo>
                    <a:pt x="13237" y="1627"/>
                  </a:lnTo>
                  <a:lnTo>
                    <a:pt x="13243" y="1631"/>
                  </a:lnTo>
                  <a:lnTo>
                    <a:pt x="13247" y="1636"/>
                  </a:lnTo>
                  <a:lnTo>
                    <a:pt x="13250" y="1645"/>
                  </a:lnTo>
                  <a:close/>
                  <a:moveTo>
                    <a:pt x="12987" y="1645"/>
                  </a:moveTo>
                  <a:lnTo>
                    <a:pt x="12987" y="1758"/>
                  </a:lnTo>
                  <a:lnTo>
                    <a:pt x="12984" y="1767"/>
                  </a:lnTo>
                  <a:lnTo>
                    <a:pt x="12981" y="1773"/>
                  </a:lnTo>
                  <a:lnTo>
                    <a:pt x="12974" y="1777"/>
                  </a:lnTo>
                  <a:lnTo>
                    <a:pt x="12966" y="1778"/>
                  </a:lnTo>
                  <a:lnTo>
                    <a:pt x="12959" y="1777"/>
                  </a:lnTo>
                  <a:lnTo>
                    <a:pt x="12952" y="1773"/>
                  </a:lnTo>
                  <a:lnTo>
                    <a:pt x="12948" y="1767"/>
                  </a:lnTo>
                  <a:lnTo>
                    <a:pt x="12946" y="1758"/>
                  </a:lnTo>
                  <a:lnTo>
                    <a:pt x="12946" y="1645"/>
                  </a:lnTo>
                  <a:lnTo>
                    <a:pt x="12948" y="1636"/>
                  </a:lnTo>
                  <a:lnTo>
                    <a:pt x="12952" y="1631"/>
                  </a:lnTo>
                  <a:lnTo>
                    <a:pt x="12959" y="1627"/>
                  </a:lnTo>
                  <a:lnTo>
                    <a:pt x="12966" y="1626"/>
                  </a:lnTo>
                  <a:lnTo>
                    <a:pt x="12974" y="1627"/>
                  </a:lnTo>
                  <a:lnTo>
                    <a:pt x="12981" y="1631"/>
                  </a:lnTo>
                  <a:lnTo>
                    <a:pt x="12984" y="1636"/>
                  </a:lnTo>
                  <a:lnTo>
                    <a:pt x="12987" y="1645"/>
                  </a:lnTo>
                  <a:close/>
                  <a:moveTo>
                    <a:pt x="13776" y="1411"/>
                  </a:moveTo>
                  <a:lnTo>
                    <a:pt x="13776" y="1524"/>
                  </a:lnTo>
                  <a:lnTo>
                    <a:pt x="13774" y="1533"/>
                  </a:lnTo>
                  <a:lnTo>
                    <a:pt x="13769" y="1539"/>
                  </a:lnTo>
                  <a:lnTo>
                    <a:pt x="13763" y="1543"/>
                  </a:lnTo>
                  <a:lnTo>
                    <a:pt x="13756" y="1544"/>
                  </a:lnTo>
                  <a:lnTo>
                    <a:pt x="13749" y="1543"/>
                  </a:lnTo>
                  <a:lnTo>
                    <a:pt x="13742" y="1539"/>
                  </a:lnTo>
                  <a:lnTo>
                    <a:pt x="13737" y="1533"/>
                  </a:lnTo>
                  <a:lnTo>
                    <a:pt x="13736" y="1524"/>
                  </a:lnTo>
                  <a:lnTo>
                    <a:pt x="13736" y="1411"/>
                  </a:lnTo>
                  <a:lnTo>
                    <a:pt x="13737" y="1402"/>
                  </a:lnTo>
                  <a:lnTo>
                    <a:pt x="13742" y="1397"/>
                  </a:lnTo>
                  <a:lnTo>
                    <a:pt x="13749" y="1393"/>
                  </a:lnTo>
                  <a:lnTo>
                    <a:pt x="13756" y="1392"/>
                  </a:lnTo>
                  <a:lnTo>
                    <a:pt x="13763" y="1393"/>
                  </a:lnTo>
                  <a:lnTo>
                    <a:pt x="13769" y="1397"/>
                  </a:lnTo>
                  <a:lnTo>
                    <a:pt x="13774" y="1402"/>
                  </a:lnTo>
                  <a:lnTo>
                    <a:pt x="13776" y="1411"/>
                  </a:lnTo>
                  <a:close/>
                  <a:moveTo>
                    <a:pt x="13513" y="1411"/>
                  </a:moveTo>
                  <a:lnTo>
                    <a:pt x="13513" y="1524"/>
                  </a:lnTo>
                  <a:lnTo>
                    <a:pt x="13511" y="1533"/>
                  </a:lnTo>
                  <a:lnTo>
                    <a:pt x="13506" y="1539"/>
                  </a:lnTo>
                  <a:lnTo>
                    <a:pt x="13500" y="1543"/>
                  </a:lnTo>
                  <a:lnTo>
                    <a:pt x="13492" y="1544"/>
                  </a:lnTo>
                  <a:lnTo>
                    <a:pt x="13486" y="1543"/>
                  </a:lnTo>
                  <a:lnTo>
                    <a:pt x="13479" y="1539"/>
                  </a:lnTo>
                  <a:lnTo>
                    <a:pt x="13474" y="1533"/>
                  </a:lnTo>
                  <a:lnTo>
                    <a:pt x="13473" y="1524"/>
                  </a:lnTo>
                  <a:lnTo>
                    <a:pt x="13473" y="1411"/>
                  </a:lnTo>
                  <a:lnTo>
                    <a:pt x="13474" y="1402"/>
                  </a:lnTo>
                  <a:lnTo>
                    <a:pt x="13479" y="1397"/>
                  </a:lnTo>
                  <a:lnTo>
                    <a:pt x="13486" y="1393"/>
                  </a:lnTo>
                  <a:lnTo>
                    <a:pt x="13492" y="1392"/>
                  </a:lnTo>
                  <a:lnTo>
                    <a:pt x="13500" y="1393"/>
                  </a:lnTo>
                  <a:lnTo>
                    <a:pt x="13506" y="1397"/>
                  </a:lnTo>
                  <a:lnTo>
                    <a:pt x="13511" y="1402"/>
                  </a:lnTo>
                  <a:lnTo>
                    <a:pt x="13513" y="1411"/>
                  </a:lnTo>
                  <a:close/>
                  <a:moveTo>
                    <a:pt x="13250" y="1411"/>
                  </a:moveTo>
                  <a:lnTo>
                    <a:pt x="13250" y="1524"/>
                  </a:lnTo>
                  <a:lnTo>
                    <a:pt x="13247" y="1533"/>
                  </a:lnTo>
                  <a:lnTo>
                    <a:pt x="13243" y="1539"/>
                  </a:lnTo>
                  <a:lnTo>
                    <a:pt x="13237" y="1543"/>
                  </a:lnTo>
                  <a:lnTo>
                    <a:pt x="13229" y="1544"/>
                  </a:lnTo>
                  <a:lnTo>
                    <a:pt x="13222" y="1543"/>
                  </a:lnTo>
                  <a:lnTo>
                    <a:pt x="13215" y="1539"/>
                  </a:lnTo>
                  <a:lnTo>
                    <a:pt x="13211" y="1533"/>
                  </a:lnTo>
                  <a:lnTo>
                    <a:pt x="13210" y="1524"/>
                  </a:lnTo>
                  <a:lnTo>
                    <a:pt x="13210" y="1411"/>
                  </a:lnTo>
                  <a:lnTo>
                    <a:pt x="13211" y="1402"/>
                  </a:lnTo>
                  <a:lnTo>
                    <a:pt x="13215" y="1397"/>
                  </a:lnTo>
                  <a:lnTo>
                    <a:pt x="13222" y="1393"/>
                  </a:lnTo>
                  <a:lnTo>
                    <a:pt x="13229" y="1392"/>
                  </a:lnTo>
                  <a:lnTo>
                    <a:pt x="13237" y="1393"/>
                  </a:lnTo>
                  <a:lnTo>
                    <a:pt x="13243" y="1397"/>
                  </a:lnTo>
                  <a:lnTo>
                    <a:pt x="13247" y="1402"/>
                  </a:lnTo>
                  <a:lnTo>
                    <a:pt x="13250" y="1411"/>
                  </a:lnTo>
                  <a:close/>
                  <a:moveTo>
                    <a:pt x="12987" y="1411"/>
                  </a:moveTo>
                  <a:lnTo>
                    <a:pt x="12987" y="1524"/>
                  </a:lnTo>
                  <a:lnTo>
                    <a:pt x="12984" y="1533"/>
                  </a:lnTo>
                  <a:lnTo>
                    <a:pt x="12981" y="1539"/>
                  </a:lnTo>
                  <a:lnTo>
                    <a:pt x="12974" y="1543"/>
                  </a:lnTo>
                  <a:lnTo>
                    <a:pt x="12966" y="1544"/>
                  </a:lnTo>
                  <a:lnTo>
                    <a:pt x="12959" y="1543"/>
                  </a:lnTo>
                  <a:lnTo>
                    <a:pt x="12952" y="1539"/>
                  </a:lnTo>
                  <a:lnTo>
                    <a:pt x="12948" y="1533"/>
                  </a:lnTo>
                  <a:lnTo>
                    <a:pt x="12946" y="1524"/>
                  </a:lnTo>
                  <a:lnTo>
                    <a:pt x="12946" y="1411"/>
                  </a:lnTo>
                  <a:lnTo>
                    <a:pt x="12948" y="1402"/>
                  </a:lnTo>
                  <a:lnTo>
                    <a:pt x="12952" y="1397"/>
                  </a:lnTo>
                  <a:lnTo>
                    <a:pt x="12959" y="1393"/>
                  </a:lnTo>
                  <a:lnTo>
                    <a:pt x="12966" y="1392"/>
                  </a:lnTo>
                  <a:lnTo>
                    <a:pt x="12974" y="1393"/>
                  </a:lnTo>
                  <a:lnTo>
                    <a:pt x="12981" y="1397"/>
                  </a:lnTo>
                  <a:lnTo>
                    <a:pt x="12984" y="1402"/>
                  </a:lnTo>
                  <a:lnTo>
                    <a:pt x="12987" y="1411"/>
                  </a:lnTo>
                  <a:close/>
                  <a:moveTo>
                    <a:pt x="13776" y="1177"/>
                  </a:moveTo>
                  <a:lnTo>
                    <a:pt x="13776" y="1290"/>
                  </a:lnTo>
                  <a:lnTo>
                    <a:pt x="13774" y="1299"/>
                  </a:lnTo>
                  <a:lnTo>
                    <a:pt x="13769" y="1305"/>
                  </a:lnTo>
                  <a:lnTo>
                    <a:pt x="13763" y="1309"/>
                  </a:lnTo>
                  <a:lnTo>
                    <a:pt x="13756" y="1309"/>
                  </a:lnTo>
                  <a:lnTo>
                    <a:pt x="13749" y="1309"/>
                  </a:lnTo>
                  <a:lnTo>
                    <a:pt x="13742" y="1305"/>
                  </a:lnTo>
                  <a:lnTo>
                    <a:pt x="13737" y="1299"/>
                  </a:lnTo>
                  <a:lnTo>
                    <a:pt x="13736" y="1290"/>
                  </a:lnTo>
                  <a:lnTo>
                    <a:pt x="13736" y="1177"/>
                  </a:lnTo>
                  <a:lnTo>
                    <a:pt x="13737" y="1168"/>
                  </a:lnTo>
                  <a:lnTo>
                    <a:pt x="13742" y="1163"/>
                  </a:lnTo>
                  <a:lnTo>
                    <a:pt x="13749" y="1159"/>
                  </a:lnTo>
                  <a:lnTo>
                    <a:pt x="13756" y="1158"/>
                  </a:lnTo>
                  <a:lnTo>
                    <a:pt x="13763" y="1159"/>
                  </a:lnTo>
                  <a:lnTo>
                    <a:pt x="13769" y="1163"/>
                  </a:lnTo>
                  <a:lnTo>
                    <a:pt x="13774" y="1168"/>
                  </a:lnTo>
                  <a:lnTo>
                    <a:pt x="13776" y="1177"/>
                  </a:lnTo>
                  <a:close/>
                  <a:moveTo>
                    <a:pt x="13513" y="1177"/>
                  </a:moveTo>
                  <a:lnTo>
                    <a:pt x="13513" y="1290"/>
                  </a:lnTo>
                  <a:lnTo>
                    <a:pt x="13511" y="1299"/>
                  </a:lnTo>
                  <a:lnTo>
                    <a:pt x="13506" y="1305"/>
                  </a:lnTo>
                  <a:lnTo>
                    <a:pt x="13500" y="1309"/>
                  </a:lnTo>
                  <a:lnTo>
                    <a:pt x="13492" y="1309"/>
                  </a:lnTo>
                  <a:lnTo>
                    <a:pt x="13486" y="1309"/>
                  </a:lnTo>
                  <a:lnTo>
                    <a:pt x="13479" y="1305"/>
                  </a:lnTo>
                  <a:lnTo>
                    <a:pt x="13474" y="1299"/>
                  </a:lnTo>
                  <a:lnTo>
                    <a:pt x="13473" y="1290"/>
                  </a:lnTo>
                  <a:lnTo>
                    <a:pt x="13473" y="1177"/>
                  </a:lnTo>
                  <a:lnTo>
                    <a:pt x="13474" y="1168"/>
                  </a:lnTo>
                  <a:lnTo>
                    <a:pt x="13479" y="1163"/>
                  </a:lnTo>
                  <a:lnTo>
                    <a:pt x="13486" y="1159"/>
                  </a:lnTo>
                  <a:lnTo>
                    <a:pt x="13492" y="1158"/>
                  </a:lnTo>
                  <a:lnTo>
                    <a:pt x="13500" y="1159"/>
                  </a:lnTo>
                  <a:lnTo>
                    <a:pt x="13506" y="1163"/>
                  </a:lnTo>
                  <a:lnTo>
                    <a:pt x="13511" y="1168"/>
                  </a:lnTo>
                  <a:lnTo>
                    <a:pt x="13513" y="1177"/>
                  </a:lnTo>
                  <a:close/>
                  <a:moveTo>
                    <a:pt x="13250" y="1177"/>
                  </a:moveTo>
                  <a:lnTo>
                    <a:pt x="13250" y="1290"/>
                  </a:lnTo>
                  <a:lnTo>
                    <a:pt x="13247" y="1299"/>
                  </a:lnTo>
                  <a:lnTo>
                    <a:pt x="13243" y="1305"/>
                  </a:lnTo>
                  <a:lnTo>
                    <a:pt x="13237" y="1309"/>
                  </a:lnTo>
                  <a:lnTo>
                    <a:pt x="13229" y="1309"/>
                  </a:lnTo>
                  <a:lnTo>
                    <a:pt x="13222" y="1309"/>
                  </a:lnTo>
                  <a:lnTo>
                    <a:pt x="13215" y="1305"/>
                  </a:lnTo>
                  <a:lnTo>
                    <a:pt x="13211" y="1299"/>
                  </a:lnTo>
                  <a:lnTo>
                    <a:pt x="13210" y="1290"/>
                  </a:lnTo>
                  <a:lnTo>
                    <a:pt x="13210" y="1177"/>
                  </a:lnTo>
                  <a:lnTo>
                    <a:pt x="13211" y="1168"/>
                  </a:lnTo>
                  <a:lnTo>
                    <a:pt x="13215" y="1163"/>
                  </a:lnTo>
                  <a:lnTo>
                    <a:pt x="13222" y="1159"/>
                  </a:lnTo>
                  <a:lnTo>
                    <a:pt x="13229" y="1158"/>
                  </a:lnTo>
                  <a:lnTo>
                    <a:pt x="13237" y="1159"/>
                  </a:lnTo>
                  <a:lnTo>
                    <a:pt x="13243" y="1163"/>
                  </a:lnTo>
                  <a:lnTo>
                    <a:pt x="13247" y="1168"/>
                  </a:lnTo>
                  <a:lnTo>
                    <a:pt x="13250" y="1177"/>
                  </a:lnTo>
                  <a:close/>
                  <a:moveTo>
                    <a:pt x="12987" y="1177"/>
                  </a:moveTo>
                  <a:lnTo>
                    <a:pt x="12987" y="1290"/>
                  </a:lnTo>
                  <a:lnTo>
                    <a:pt x="12984" y="1299"/>
                  </a:lnTo>
                  <a:lnTo>
                    <a:pt x="12981" y="1305"/>
                  </a:lnTo>
                  <a:lnTo>
                    <a:pt x="12974" y="1309"/>
                  </a:lnTo>
                  <a:lnTo>
                    <a:pt x="12966" y="1309"/>
                  </a:lnTo>
                  <a:lnTo>
                    <a:pt x="12959" y="1309"/>
                  </a:lnTo>
                  <a:lnTo>
                    <a:pt x="12952" y="1305"/>
                  </a:lnTo>
                  <a:lnTo>
                    <a:pt x="12948" y="1299"/>
                  </a:lnTo>
                  <a:lnTo>
                    <a:pt x="12946" y="1290"/>
                  </a:lnTo>
                  <a:lnTo>
                    <a:pt x="12946" y="1177"/>
                  </a:lnTo>
                  <a:lnTo>
                    <a:pt x="12948" y="1168"/>
                  </a:lnTo>
                  <a:lnTo>
                    <a:pt x="12952" y="1163"/>
                  </a:lnTo>
                  <a:lnTo>
                    <a:pt x="12959" y="1159"/>
                  </a:lnTo>
                  <a:lnTo>
                    <a:pt x="12966" y="1158"/>
                  </a:lnTo>
                  <a:lnTo>
                    <a:pt x="12974" y="1159"/>
                  </a:lnTo>
                  <a:lnTo>
                    <a:pt x="12981" y="1163"/>
                  </a:lnTo>
                  <a:lnTo>
                    <a:pt x="12984" y="1168"/>
                  </a:lnTo>
                  <a:lnTo>
                    <a:pt x="12987" y="1177"/>
                  </a:lnTo>
                  <a:close/>
                  <a:moveTo>
                    <a:pt x="13538" y="3927"/>
                  </a:moveTo>
                  <a:lnTo>
                    <a:pt x="13538" y="4038"/>
                  </a:lnTo>
                  <a:lnTo>
                    <a:pt x="13536" y="4047"/>
                  </a:lnTo>
                  <a:lnTo>
                    <a:pt x="13532" y="4053"/>
                  </a:lnTo>
                  <a:lnTo>
                    <a:pt x="13525" y="4057"/>
                  </a:lnTo>
                  <a:lnTo>
                    <a:pt x="13518" y="4058"/>
                  </a:lnTo>
                  <a:lnTo>
                    <a:pt x="13510" y="4057"/>
                  </a:lnTo>
                  <a:lnTo>
                    <a:pt x="13504" y="4053"/>
                  </a:lnTo>
                  <a:lnTo>
                    <a:pt x="13500" y="4047"/>
                  </a:lnTo>
                  <a:lnTo>
                    <a:pt x="13497" y="4038"/>
                  </a:lnTo>
                  <a:lnTo>
                    <a:pt x="13497" y="3927"/>
                  </a:lnTo>
                  <a:lnTo>
                    <a:pt x="13500" y="3918"/>
                  </a:lnTo>
                  <a:lnTo>
                    <a:pt x="13504" y="3911"/>
                  </a:lnTo>
                  <a:lnTo>
                    <a:pt x="13510" y="3907"/>
                  </a:lnTo>
                  <a:lnTo>
                    <a:pt x="13518" y="3906"/>
                  </a:lnTo>
                  <a:lnTo>
                    <a:pt x="13525" y="3907"/>
                  </a:lnTo>
                  <a:lnTo>
                    <a:pt x="13532" y="3911"/>
                  </a:lnTo>
                  <a:lnTo>
                    <a:pt x="13536" y="3918"/>
                  </a:lnTo>
                  <a:lnTo>
                    <a:pt x="13538" y="3927"/>
                  </a:lnTo>
                  <a:close/>
                  <a:moveTo>
                    <a:pt x="13274" y="3927"/>
                  </a:moveTo>
                  <a:lnTo>
                    <a:pt x="13274" y="4038"/>
                  </a:lnTo>
                  <a:lnTo>
                    <a:pt x="13273" y="4047"/>
                  </a:lnTo>
                  <a:lnTo>
                    <a:pt x="13269" y="4053"/>
                  </a:lnTo>
                  <a:lnTo>
                    <a:pt x="13263" y="4057"/>
                  </a:lnTo>
                  <a:lnTo>
                    <a:pt x="13255" y="4058"/>
                  </a:lnTo>
                  <a:lnTo>
                    <a:pt x="13247" y="4057"/>
                  </a:lnTo>
                  <a:lnTo>
                    <a:pt x="13241" y="4053"/>
                  </a:lnTo>
                  <a:lnTo>
                    <a:pt x="13237" y="4047"/>
                  </a:lnTo>
                  <a:lnTo>
                    <a:pt x="13234" y="4038"/>
                  </a:lnTo>
                  <a:lnTo>
                    <a:pt x="13234" y="3927"/>
                  </a:lnTo>
                  <a:lnTo>
                    <a:pt x="13237" y="3918"/>
                  </a:lnTo>
                  <a:lnTo>
                    <a:pt x="13241" y="3911"/>
                  </a:lnTo>
                  <a:lnTo>
                    <a:pt x="13247" y="3907"/>
                  </a:lnTo>
                  <a:lnTo>
                    <a:pt x="13255" y="3906"/>
                  </a:lnTo>
                  <a:lnTo>
                    <a:pt x="13263" y="3907"/>
                  </a:lnTo>
                  <a:lnTo>
                    <a:pt x="13269" y="3911"/>
                  </a:lnTo>
                  <a:lnTo>
                    <a:pt x="13273" y="3918"/>
                  </a:lnTo>
                  <a:lnTo>
                    <a:pt x="13274" y="3927"/>
                  </a:lnTo>
                  <a:close/>
                  <a:moveTo>
                    <a:pt x="13011" y="3927"/>
                  </a:moveTo>
                  <a:lnTo>
                    <a:pt x="13011" y="4038"/>
                  </a:lnTo>
                  <a:lnTo>
                    <a:pt x="13010" y="4047"/>
                  </a:lnTo>
                  <a:lnTo>
                    <a:pt x="13005" y="4053"/>
                  </a:lnTo>
                  <a:lnTo>
                    <a:pt x="12998" y="4057"/>
                  </a:lnTo>
                  <a:lnTo>
                    <a:pt x="12992" y="4058"/>
                  </a:lnTo>
                  <a:lnTo>
                    <a:pt x="12984" y="4057"/>
                  </a:lnTo>
                  <a:lnTo>
                    <a:pt x="12978" y="4053"/>
                  </a:lnTo>
                  <a:lnTo>
                    <a:pt x="12973" y="4047"/>
                  </a:lnTo>
                  <a:lnTo>
                    <a:pt x="12972" y="4038"/>
                  </a:lnTo>
                  <a:lnTo>
                    <a:pt x="12972" y="3927"/>
                  </a:lnTo>
                  <a:lnTo>
                    <a:pt x="12973" y="3918"/>
                  </a:lnTo>
                  <a:lnTo>
                    <a:pt x="12978" y="3911"/>
                  </a:lnTo>
                  <a:lnTo>
                    <a:pt x="12984" y="3907"/>
                  </a:lnTo>
                  <a:lnTo>
                    <a:pt x="12992" y="3906"/>
                  </a:lnTo>
                  <a:lnTo>
                    <a:pt x="12998" y="3907"/>
                  </a:lnTo>
                  <a:lnTo>
                    <a:pt x="13005" y="3911"/>
                  </a:lnTo>
                  <a:lnTo>
                    <a:pt x="13010" y="3918"/>
                  </a:lnTo>
                  <a:lnTo>
                    <a:pt x="13011" y="3927"/>
                  </a:lnTo>
                  <a:close/>
                  <a:moveTo>
                    <a:pt x="12748" y="3927"/>
                  </a:moveTo>
                  <a:lnTo>
                    <a:pt x="12748" y="4038"/>
                  </a:lnTo>
                  <a:lnTo>
                    <a:pt x="12747" y="4047"/>
                  </a:lnTo>
                  <a:lnTo>
                    <a:pt x="12742" y="4053"/>
                  </a:lnTo>
                  <a:lnTo>
                    <a:pt x="12736" y="4057"/>
                  </a:lnTo>
                  <a:lnTo>
                    <a:pt x="12729" y="4058"/>
                  </a:lnTo>
                  <a:lnTo>
                    <a:pt x="12721" y="4057"/>
                  </a:lnTo>
                  <a:lnTo>
                    <a:pt x="12715" y="4053"/>
                  </a:lnTo>
                  <a:lnTo>
                    <a:pt x="12710" y="4047"/>
                  </a:lnTo>
                  <a:lnTo>
                    <a:pt x="12709" y="4038"/>
                  </a:lnTo>
                  <a:lnTo>
                    <a:pt x="12709" y="3927"/>
                  </a:lnTo>
                  <a:lnTo>
                    <a:pt x="12710" y="3918"/>
                  </a:lnTo>
                  <a:lnTo>
                    <a:pt x="12715" y="3911"/>
                  </a:lnTo>
                  <a:lnTo>
                    <a:pt x="12721" y="3907"/>
                  </a:lnTo>
                  <a:lnTo>
                    <a:pt x="12729" y="3906"/>
                  </a:lnTo>
                  <a:lnTo>
                    <a:pt x="12736" y="3907"/>
                  </a:lnTo>
                  <a:lnTo>
                    <a:pt x="12742" y="3911"/>
                  </a:lnTo>
                  <a:lnTo>
                    <a:pt x="12747" y="3918"/>
                  </a:lnTo>
                  <a:lnTo>
                    <a:pt x="12748" y="3927"/>
                  </a:lnTo>
                  <a:close/>
                  <a:moveTo>
                    <a:pt x="13538" y="3681"/>
                  </a:moveTo>
                  <a:lnTo>
                    <a:pt x="13538" y="3792"/>
                  </a:lnTo>
                  <a:lnTo>
                    <a:pt x="13536" y="3801"/>
                  </a:lnTo>
                  <a:lnTo>
                    <a:pt x="13532" y="3808"/>
                  </a:lnTo>
                  <a:lnTo>
                    <a:pt x="13525" y="3811"/>
                  </a:lnTo>
                  <a:lnTo>
                    <a:pt x="13518" y="3813"/>
                  </a:lnTo>
                  <a:lnTo>
                    <a:pt x="13510" y="3811"/>
                  </a:lnTo>
                  <a:lnTo>
                    <a:pt x="13504" y="3808"/>
                  </a:lnTo>
                  <a:lnTo>
                    <a:pt x="13500" y="3801"/>
                  </a:lnTo>
                  <a:lnTo>
                    <a:pt x="13497" y="3792"/>
                  </a:lnTo>
                  <a:lnTo>
                    <a:pt x="13497" y="3681"/>
                  </a:lnTo>
                  <a:lnTo>
                    <a:pt x="13500" y="3672"/>
                  </a:lnTo>
                  <a:lnTo>
                    <a:pt x="13504" y="3666"/>
                  </a:lnTo>
                  <a:lnTo>
                    <a:pt x="13510" y="3662"/>
                  </a:lnTo>
                  <a:lnTo>
                    <a:pt x="13518" y="3661"/>
                  </a:lnTo>
                  <a:lnTo>
                    <a:pt x="13525" y="3662"/>
                  </a:lnTo>
                  <a:lnTo>
                    <a:pt x="13532" y="3666"/>
                  </a:lnTo>
                  <a:lnTo>
                    <a:pt x="13536" y="3672"/>
                  </a:lnTo>
                  <a:lnTo>
                    <a:pt x="13538" y="3681"/>
                  </a:lnTo>
                  <a:close/>
                  <a:moveTo>
                    <a:pt x="13274" y="3681"/>
                  </a:moveTo>
                  <a:lnTo>
                    <a:pt x="13274" y="3792"/>
                  </a:lnTo>
                  <a:lnTo>
                    <a:pt x="13273" y="3801"/>
                  </a:lnTo>
                  <a:lnTo>
                    <a:pt x="13269" y="3808"/>
                  </a:lnTo>
                  <a:lnTo>
                    <a:pt x="13263" y="3811"/>
                  </a:lnTo>
                  <a:lnTo>
                    <a:pt x="13255" y="3813"/>
                  </a:lnTo>
                  <a:lnTo>
                    <a:pt x="13247" y="3811"/>
                  </a:lnTo>
                  <a:lnTo>
                    <a:pt x="13241" y="3808"/>
                  </a:lnTo>
                  <a:lnTo>
                    <a:pt x="13237" y="3801"/>
                  </a:lnTo>
                  <a:lnTo>
                    <a:pt x="13234" y="3792"/>
                  </a:lnTo>
                  <a:lnTo>
                    <a:pt x="13234" y="3681"/>
                  </a:lnTo>
                  <a:lnTo>
                    <a:pt x="13237" y="3672"/>
                  </a:lnTo>
                  <a:lnTo>
                    <a:pt x="13241" y="3666"/>
                  </a:lnTo>
                  <a:lnTo>
                    <a:pt x="13247" y="3662"/>
                  </a:lnTo>
                  <a:lnTo>
                    <a:pt x="13255" y="3661"/>
                  </a:lnTo>
                  <a:lnTo>
                    <a:pt x="13263" y="3662"/>
                  </a:lnTo>
                  <a:lnTo>
                    <a:pt x="13269" y="3666"/>
                  </a:lnTo>
                  <a:lnTo>
                    <a:pt x="13273" y="3672"/>
                  </a:lnTo>
                  <a:lnTo>
                    <a:pt x="13274" y="3681"/>
                  </a:lnTo>
                  <a:close/>
                  <a:moveTo>
                    <a:pt x="13011" y="3681"/>
                  </a:moveTo>
                  <a:lnTo>
                    <a:pt x="13011" y="3792"/>
                  </a:lnTo>
                  <a:lnTo>
                    <a:pt x="13010" y="3801"/>
                  </a:lnTo>
                  <a:lnTo>
                    <a:pt x="13005" y="3808"/>
                  </a:lnTo>
                  <a:lnTo>
                    <a:pt x="12998" y="3811"/>
                  </a:lnTo>
                  <a:lnTo>
                    <a:pt x="12992" y="3813"/>
                  </a:lnTo>
                  <a:lnTo>
                    <a:pt x="12984" y="3811"/>
                  </a:lnTo>
                  <a:lnTo>
                    <a:pt x="12978" y="3808"/>
                  </a:lnTo>
                  <a:lnTo>
                    <a:pt x="12973" y="3801"/>
                  </a:lnTo>
                  <a:lnTo>
                    <a:pt x="12972" y="3792"/>
                  </a:lnTo>
                  <a:lnTo>
                    <a:pt x="12972" y="3681"/>
                  </a:lnTo>
                  <a:lnTo>
                    <a:pt x="12973" y="3672"/>
                  </a:lnTo>
                  <a:lnTo>
                    <a:pt x="12978" y="3666"/>
                  </a:lnTo>
                  <a:lnTo>
                    <a:pt x="12984" y="3662"/>
                  </a:lnTo>
                  <a:lnTo>
                    <a:pt x="12992" y="3661"/>
                  </a:lnTo>
                  <a:lnTo>
                    <a:pt x="12998" y="3662"/>
                  </a:lnTo>
                  <a:lnTo>
                    <a:pt x="13005" y="3666"/>
                  </a:lnTo>
                  <a:lnTo>
                    <a:pt x="13010" y="3672"/>
                  </a:lnTo>
                  <a:lnTo>
                    <a:pt x="13011" y="3681"/>
                  </a:lnTo>
                  <a:close/>
                  <a:moveTo>
                    <a:pt x="12748" y="3681"/>
                  </a:moveTo>
                  <a:lnTo>
                    <a:pt x="12748" y="3792"/>
                  </a:lnTo>
                  <a:lnTo>
                    <a:pt x="12747" y="3801"/>
                  </a:lnTo>
                  <a:lnTo>
                    <a:pt x="12742" y="3808"/>
                  </a:lnTo>
                  <a:lnTo>
                    <a:pt x="12736" y="3811"/>
                  </a:lnTo>
                  <a:lnTo>
                    <a:pt x="12729" y="3813"/>
                  </a:lnTo>
                  <a:lnTo>
                    <a:pt x="12721" y="3811"/>
                  </a:lnTo>
                  <a:lnTo>
                    <a:pt x="12715" y="3808"/>
                  </a:lnTo>
                  <a:lnTo>
                    <a:pt x="12710" y="3801"/>
                  </a:lnTo>
                  <a:lnTo>
                    <a:pt x="12709" y="3792"/>
                  </a:lnTo>
                  <a:lnTo>
                    <a:pt x="12709" y="3681"/>
                  </a:lnTo>
                  <a:lnTo>
                    <a:pt x="12710" y="3672"/>
                  </a:lnTo>
                  <a:lnTo>
                    <a:pt x="12715" y="3666"/>
                  </a:lnTo>
                  <a:lnTo>
                    <a:pt x="12721" y="3662"/>
                  </a:lnTo>
                  <a:lnTo>
                    <a:pt x="12729" y="3661"/>
                  </a:lnTo>
                  <a:lnTo>
                    <a:pt x="12736" y="3662"/>
                  </a:lnTo>
                  <a:lnTo>
                    <a:pt x="12742" y="3666"/>
                  </a:lnTo>
                  <a:lnTo>
                    <a:pt x="12747" y="3672"/>
                  </a:lnTo>
                  <a:lnTo>
                    <a:pt x="12748" y="3681"/>
                  </a:lnTo>
                  <a:close/>
                  <a:moveTo>
                    <a:pt x="13538" y="3436"/>
                  </a:moveTo>
                  <a:lnTo>
                    <a:pt x="13538" y="3547"/>
                  </a:lnTo>
                  <a:lnTo>
                    <a:pt x="13536" y="3556"/>
                  </a:lnTo>
                  <a:lnTo>
                    <a:pt x="13532" y="3562"/>
                  </a:lnTo>
                  <a:lnTo>
                    <a:pt x="13525" y="3566"/>
                  </a:lnTo>
                  <a:lnTo>
                    <a:pt x="13518" y="3567"/>
                  </a:lnTo>
                  <a:lnTo>
                    <a:pt x="13510" y="3566"/>
                  </a:lnTo>
                  <a:lnTo>
                    <a:pt x="13504" y="3562"/>
                  </a:lnTo>
                  <a:lnTo>
                    <a:pt x="13500" y="3556"/>
                  </a:lnTo>
                  <a:lnTo>
                    <a:pt x="13497" y="3547"/>
                  </a:lnTo>
                  <a:lnTo>
                    <a:pt x="13497" y="3436"/>
                  </a:lnTo>
                  <a:lnTo>
                    <a:pt x="13500" y="3427"/>
                  </a:lnTo>
                  <a:lnTo>
                    <a:pt x="13504" y="3420"/>
                  </a:lnTo>
                  <a:lnTo>
                    <a:pt x="13510" y="3416"/>
                  </a:lnTo>
                  <a:lnTo>
                    <a:pt x="13518" y="3415"/>
                  </a:lnTo>
                  <a:lnTo>
                    <a:pt x="13525" y="3416"/>
                  </a:lnTo>
                  <a:lnTo>
                    <a:pt x="13532" y="3420"/>
                  </a:lnTo>
                  <a:lnTo>
                    <a:pt x="13536" y="3427"/>
                  </a:lnTo>
                  <a:lnTo>
                    <a:pt x="13538" y="3436"/>
                  </a:lnTo>
                  <a:close/>
                  <a:moveTo>
                    <a:pt x="13274" y="3436"/>
                  </a:moveTo>
                  <a:lnTo>
                    <a:pt x="13274" y="3547"/>
                  </a:lnTo>
                  <a:lnTo>
                    <a:pt x="13273" y="3556"/>
                  </a:lnTo>
                  <a:lnTo>
                    <a:pt x="13269" y="3562"/>
                  </a:lnTo>
                  <a:lnTo>
                    <a:pt x="13263" y="3566"/>
                  </a:lnTo>
                  <a:lnTo>
                    <a:pt x="13255" y="3567"/>
                  </a:lnTo>
                  <a:lnTo>
                    <a:pt x="13247" y="3566"/>
                  </a:lnTo>
                  <a:lnTo>
                    <a:pt x="13241" y="3562"/>
                  </a:lnTo>
                  <a:lnTo>
                    <a:pt x="13237" y="3556"/>
                  </a:lnTo>
                  <a:lnTo>
                    <a:pt x="13234" y="3547"/>
                  </a:lnTo>
                  <a:lnTo>
                    <a:pt x="13234" y="3436"/>
                  </a:lnTo>
                  <a:lnTo>
                    <a:pt x="13237" y="3427"/>
                  </a:lnTo>
                  <a:lnTo>
                    <a:pt x="13241" y="3420"/>
                  </a:lnTo>
                  <a:lnTo>
                    <a:pt x="13247" y="3416"/>
                  </a:lnTo>
                  <a:lnTo>
                    <a:pt x="13255" y="3415"/>
                  </a:lnTo>
                  <a:lnTo>
                    <a:pt x="13263" y="3416"/>
                  </a:lnTo>
                  <a:lnTo>
                    <a:pt x="13269" y="3420"/>
                  </a:lnTo>
                  <a:lnTo>
                    <a:pt x="13273" y="3427"/>
                  </a:lnTo>
                  <a:lnTo>
                    <a:pt x="13274" y="3436"/>
                  </a:lnTo>
                  <a:close/>
                  <a:moveTo>
                    <a:pt x="13011" y="3436"/>
                  </a:moveTo>
                  <a:lnTo>
                    <a:pt x="13011" y="3547"/>
                  </a:lnTo>
                  <a:lnTo>
                    <a:pt x="13010" y="3556"/>
                  </a:lnTo>
                  <a:lnTo>
                    <a:pt x="13005" y="3562"/>
                  </a:lnTo>
                  <a:lnTo>
                    <a:pt x="12998" y="3566"/>
                  </a:lnTo>
                  <a:lnTo>
                    <a:pt x="12992" y="3567"/>
                  </a:lnTo>
                  <a:lnTo>
                    <a:pt x="12984" y="3566"/>
                  </a:lnTo>
                  <a:lnTo>
                    <a:pt x="12978" y="3562"/>
                  </a:lnTo>
                  <a:lnTo>
                    <a:pt x="12973" y="3556"/>
                  </a:lnTo>
                  <a:lnTo>
                    <a:pt x="12972" y="3547"/>
                  </a:lnTo>
                  <a:lnTo>
                    <a:pt x="12972" y="3436"/>
                  </a:lnTo>
                  <a:lnTo>
                    <a:pt x="12973" y="3427"/>
                  </a:lnTo>
                  <a:lnTo>
                    <a:pt x="12978" y="3420"/>
                  </a:lnTo>
                  <a:lnTo>
                    <a:pt x="12984" y="3416"/>
                  </a:lnTo>
                  <a:lnTo>
                    <a:pt x="12992" y="3415"/>
                  </a:lnTo>
                  <a:lnTo>
                    <a:pt x="12998" y="3416"/>
                  </a:lnTo>
                  <a:lnTo>
                    <a:pt x="13005" y="3420"/>
                  </a:lnTo>
                  <a:lnTo>
                    <a:pt x="13010" y="3427"/>
                  </a:lnTo>
                  <a:lnTo>
                    <a:pt x="13011" y="3436"/>
                  </a:lnTo>
                  <a:close/>
                  <a:moveTo>
                    <a:pt x="12748" y="3436"/>
                  </a:moveTo>
                  <a:lnTo>
                    <a:pt x="12748" y="3547"/>
                  </a:lnTo>
                  <a:lnTo>
                    <a:pt x="12747" y="3556"/>
                  </a:lnTo>
                  <a:lnTo>
                    <a:pt x="12742" y="3562"/>
                  </a:lnTo>
                  <a:lnTo>
                    <a:pt x="12736" y="3566"/>
                  </a:lnTo>
                  <a:lnTo>
                    <a:pt x="12729" y="3567"/>
                  </a:lnTo>
                  <a:lnTo>
                    <a:pt x="12721" y="3566"/>
                  </a:lnTo>
                  <a:lnTo>
                    <a:pt x="12715" y="3562"/>
                  </a:lnTo>
                  <a:lnTo>
                    <a:pt x="12710" y="3556"/>
                  </a:lnTo>
                  <a:lnTo>
                    <a:pt x="12709" y="3547"/>
                  </a:lnTo>
                  <a:lnTo>
                    <a:pt x="12709" y="3436"/>
                  </a:lnTo>
                  <a:lnTo>
                    <a:pt x="12710" y="3427"/>
                  </a:lnTo>
                  <a:lnTo>
                    <a:pt x="12715" y="3420"/>
                  </a:lnTo>
                  <a:lnTo>
                    <a:pt x="12721" y="3416"/>
                  </a:lnTo>
                  <a:lnTo>
                    <a:pt x="12729" y="3415"/>
                  </a:lnTo>
                  <a:lnTo>
                    <a:pt x="12736" y="3416"/>
                  </a:lnTo>
                  <a:lnTo>
                    <a:pt x="12742" y="3420"/>
                  </a:lnTo>
                  <a:lnTo>
                    <a:pt x="12747" y="3427"/>
                  </a:lnTo>
                  <a:lnTo>
                    <a:pt x="12748" y="3436"/>
                  </a:lnTo>
                  <a:close/>
                  <a:moveTo>
                    <a:pt x="12486" y="3436"/>
                  </a:moveTo>
                  <a:lnTo>
                    <a:pt x="12486" y="3547"/>
                  </a:lnTo>
                  <a:lnTo>
                    <a:pt x="12484" y="3556"/>
                  </a:lnTo>
                  <a:lnTo>
                    <a:pt x="12479" y="3562"/>
                  </a:lnTo>
                  <a:lnTo>
                    <a:pt x="12473" y="3566"/>
                  </a:lnTo>
                  <a:lnTo>
                    <a:pt x="12465" y="3567"/>
                  </a:lnTo>
                  <a:lnTo>
                    <a:pt x="12459" y="3566"/>
                  </a:lnTo>
                  <a:lnTo>
                    <a:pt x="12452" y="3562"/>
                  </a:lnTo>
                  <a:lnTo>
                    <a:pt x="12447" y="3556"/>
                  </a:lnTo>
                  <a:lnTo>
                    <a:pt x="12446" y="3547"/>
                  </a:lnTo>
                  <a:lnTo>
                    <a:pt x="12446" y="3436"/>
                  </a:lnTo>
                  <a:lnTo>
                    <a:pt x="12447" y="3427"/>
                  </a:lnTo>
                  <a:lnTo>
                    <a:pt x="12452" y="3420"/>
                  </a:lnTo>
                  <a:lnTo>
                    <a:pt x="12459" y="3416"/>
                  </a:lnTo>
                  <a:lnTo>
                    <a:pt x="12465" y="3415"/>
                  </a:lnTo>
                  <a:lnTo>
                    <a:pt x="12473" y="3416"/>
                  </a:lnTo>
                  <a:lnTo>
                    <a:pt x="12479" y="3420"/>
                  </a:lnTo>
                  <a:lnTo>
                    <a:pt x="12484" y="3427"/>
                  </a:lnTo>
                  <a:lnTo>
                    <a:pt x="12486" y="3436"/>
                  </a:lnTo>
                  <a:close/>
                  <a:moveTo>
                    <a:pt x="10933" y="2423"/>
                  </a:moveTo>
                  <a:lnTo>
                    <a:pt x="10933" y="2535"/>
                  </a:lnTo>
                  <a:lnTo>
                    <a:pt x="10931" y="2543"/>
                  </a:lnTo>
                  <a:lnTo>
                    <a:pt x="10926" y="2549"/>
                  </a:lnTo>
                  <a:lnTo>
                    <a:pt x="10920" y="2553"/>
                  </a:lnTo>
                  <a:lnTo>
                    <a:pt x="10912" y="2555"/>
                  </a:lnTo>
                  <a:lnTo>
                    <a:pt x="10906" y="2553"/>
                  </a:lnTo>
                  <a:lnTo>
                    <a:pt x="10899" y="2549"/>
                  </a:lnTo>
                  <a:lnTo>
                    <a:pt x="10894" y="2543"/>
                  </a:lnTo>
                  <a:lnTo>
                    <a:pt x="10893" y="2535"/>
                  </a:lnTo>
                  <a:lnTo>
                    <a:pt x="10893" y="2423"/>
                  </a:lnTo>
                  <a:lnTo>
                    <a:pt x="10894" y="2414"/>
                  </a:lnTo>
                  <a:lnTo>
                    <a:pt x="10899" y="2407"/>
                  </a:lnTo>
                  <a:lnTo>
                    <a:pt x="10906" y="2404"/>
                  </a:lnTo>
                  <a:lnTo>
                    <a:pt x="10912" y="2402"/>
                  </a:lnTo>
                  <a:lnTo>
                    <a:pt x="10920" y="2404"/>
                  </a:lnTo>
                  <a:lnTo>
                    <a:pt x="10926" y="2407"/>
                  </a:lnTo>
                  <a:lnTo>
                    <a:pt x="10931" y="2414"/>
                  </a:lnTo>
                  <a:lnTo>
                    <a:pt x="10933" y="2423"/>
                  </a:lnTo>
                  <a:close/>
                  <a:moveTo>
                    <a:pt x="10670" y="2423"/>
                  </a:moveTo>
                  <a:lnTo>
                    <a:pt x="10670" y="2535"/>
                  </a:lnTo>
                  <a:lnTo>
                    <a:pt x="10669" y="2543"/>
                  </a:lnTo>
                  <a:lnTo>
                    <a:pt x="10663" y="2549"/>
                  </a:lnTo>
                  <a:lnTo>
                    <a:pt x="10657" y="2553"/>
                  </a:lnTo>
                  <a:lnTo>
                    <a:pt x="10649" y="2555"/>
                  </a:lnTo>
                  <a:lnTo>
                    <a:pt x="10643" y="2553"/>
                  </a:lnTo>
                  <a:lnTo>
                    <a:pt x="10637" y="2549"/>
                  </a:lnTo>
                  <a:lnTo>
                    <a:pt x="10631" y="2543"/>
                  </a:lnTo>
                  <a:lnTo>
                    <a:pt x="10630" y="2535"/>
                  </a:lnTo>
                  <a:lnTo>
                    <a:pt x="10630" y="2423"/>
                  </a:lnTo>
                  <a:lnTo>
                    <a:pt x="10631" y="2414"/>
                  </a:lnTo>
                  <a:lnTo>
                    <a:pt x="10637" y="2407"/>
                  </a:lnTo>
                  <a:lnTo>
                    <a:pt x="10643" y="2404"/>
                  </a:lnTo>
                  <a:lnTo>
                    <a:pt x="10649" y="2402"/>
                  </a:lnTo>
                  <a:lnTo>
                    <a:pt x="10657" y="2404"/>
                  </a:lnTo>
                  <a:lnTo>
                    <a:pt x="10663" y="2407"/>
                  </a:lnTo>
                  <a:lnTo>
                    <a:pt x="10669" y="2414"/>
                  </a:lnTo>
                  <a:lnTo>
                    <a:pt x="10670" y="2423"/>
                  </a:lnTo>
                  <a:close/>
                  <a:moveTo>
                    <a:pt x="10407" y="2423"/>
                  </a:moveTo>
                  <a:lnTo>
                    <a:pt x="10407" y="2535"/>
                  </a:lnTo>
                  <a:lnTo>
                    <a:pt x="10404" y="2543"/>
                  </a:lnTo>
                  <a:lnTo>
                    <a:pt x="10401" y="2549"/>
                  </a:lnTo>
                  <a:lnTo>
                    <a:pt x="10394" y="2553"/>
                  </a:lnTo>
                  <a:lnTo>
                    <a:pt x="10386" y="2555"/>
                  </a:lnTo>
                  <a:lnTo>
                    <a:pt x="10379" y="2553"/>
                  </a:lnTo>
                  <a:lnTo>
                    <a:pt x="10372" y="2549"/>
                  </a:lnTo>
                  <a:lnTo>
                    <a:pt x="10369" y="2543"/>
                  </a:lnTo>
                  <a:lnTo>
                    <a:pt x="10366" y="2535"/>
                  </a:lnTo>
                  <a:lnTo>
                    <a:pt x="10366" y="2423"/>
                  </a:lnTo>
                  <a:lnTo>
                    <a:pt x="10369" y="2414"/>
                  </a:lnTo>
                  <a:lnTo>
                    <a:pt x="10372" y="2407"/>
                  </a:lnTo>
                  <a:lnTo>
                    <a:pt x="10379" y="2404"/>
                  </a:lnTo>
                  <a:lnTo>
                    <a:pt x="10386" y="2402"/>
                  </a:lnTo>
                  <a:lnTo>
                    <a:pt x="10394" y="2404"/>
                  </a:lnTo>
                  <a:lnTo>
                    <a:pt x="10401" y="2407"/>
                  </a:lnTo>
                  <a:lnTo>
                    <a:pt x="10404" y="2414"/>
                  </a:lnTo>
                  <a:lnTo>
                    <a:pt x="10407" y="2423"/>
                  </a:lnTo>
                  <a:close/>
                  <a:moveTo>
                    <a:pt x="10143" y="2423"/>
                  </a:moveTo>
                  <a:lnTo>
                    <a:pt x="10143" y="2535"/>
                  </a:lnTo>
                  <a:lnTo>
                    <a:pt x="10142" y="2543"/>
                  </a:lnTo>
                  <a:lnTo>
                    <a:pt x="10138" y="2549"/>
                  </a:lnTo>
                  <a:lnTo>
                    <a:pt x="10131" y="2553"/>
                  </a:lnTo>
                  <a:lnTo>
                    <a:pt x="10124" y="2555"/>
                  </a:lnTo>
                  <a:lnTo>
                    <a:pt x="10116" y="2553"/>
                  </a:lnTo>
                  <a:lnTo>
                    <a:pt x="10109" y="2549"/>
                  </a:lnTo>
                  <a:lnTo>
                    <a:pt x="10106" y="2543"/>
                  </a:lnTo>
                  <a:lnTo>
                    <a:pt x="10103" y="2535"/>
                  </a:lnTo>
                  <a:lnTo>
                    <a:pt x="10103" y="2423"/>
                  </a:lnTo>
                  <a:lnTo>
                    <a:pt x="10106" y="2414"/>
                  </a:lnTo>
                  <a:lnTo>
                    <a:pt x="10109" y="2407"/>
                  </a:lnTo>
                  <a:lnTo>
                    <a:pt x="10116" y="2404"/>
                  </a:lnTo>
                  <a:lnTo>
                    <a:pt x="10124" y="2402"/>
                  </a:lnTo>
                  <a:lnTo>
                    <a:pt x="10131" y="2404"/>
                  </a:lnTo>
                  <a:lnTo>
                    <a:pt x="10138" y="2407"/>
                  </a:lnTo>
                  <a:lnTo>
                    <a:pt x="10142" y="2414"/>
                  </a:lnTo>
                  <a:lnTo>
                    <a:pt x="10143" y="2423"/>
                  </a:lnTo>
                  <a:close/>
                  <a:moveTo>
                    <a:pt x="9880" y="2423"/>
                  </a:moveTo>
                  <a:lnTo>
                    <a:pt x="9880" y="2535"/>
                  </a:lnTo>
                  <a:lnTo>
                    <a:pt x="9879" y="2543"/>
                  </a:lnTo>
                  <a:lnTo>
                    <a:pt x="9874" y="2549"/>
                  </a:lnTo>
                  <a:lnTo>
                    <a:pt x="9867" y="2553"/>
                  </a:lnTo>
                  <a:lnTo>
                    <a:pt x="9861" y="2555"/>
                  </a:lnTo>
                  <a:lnTo>
                    <a:pt x="9853" y="2553"/>
                  </a:lnTo>
                  <a:lnTo>
                    <a:pt x="9847" y="2549"/>
                  </a:lnTo>
                  <a:lnTo>
                    <a:pt x="9841" y="2543"/>
                  </a:lnTo>
                  <a:lnTo>
                    <a:pt x="9840" y="2535"/>
                  </a:lnTo>
                  <a:lnTo>
                    <a:pt x="9840" y="2423"/>
                  </a:lnTo>
                  <a:lnTo>
                    <a:pt x="9841" y="2414"/>
                  </a:lnTo>
                  <a:lnTo>
                    <a:pt x="9847" y="2407"/>
                  </a:lnTo>
                  <a:lnTo>
                    <a:pt x="9853" y="2404"/>
                  </a:lnTo>
                  <a:lnTo>
                    <a:pt x="9861" y="2402"/>
                  </a:lnTo>
                  <a:lnTo>
                    <a:pt x="9867" y="2404"/>
                  </a:lnTo>
                  <a:lnTo>
                    <a:pt x="9874" y="2407"/>
                  </a:lnTo>
                  <a:lnTo>
                    <a:pt x="9879" y="2414"/>
                  </a:lnTo>
                  <a:lnTo>
                    <a:pt x="9880" y="2423"/>
                  </a:lnTo>
                  <a:close/>
                  <a:moveTo>
                    <a:pt x="9617" y="2423"/>
                  </a:moveTo>
                  <a:lnTo>
                    <a:pt x="9617" y="2535"/>
                  </a:lnTo>
                  <a:lnTo>
                    <a:pt x="9616" y="2543"/>
                  </a:lnTo>
                  <a:lnTo>
                    <a:pt x="9611" y="2549"/>
                  </a:lnTo>
                  <a:lnTo>
                    <a:pt x="9604" y="2553"/>
                  </a:lnTo>
                  <a:lnTo>
                    <a:pt x="9598" y="2555"/>
                  </a:lnTo>
                  <a:lnTo>
                    <a:pt x="9590" y="2553"/>
                  </a:lnTo>
                  <a:lnTo>
                    <a:pt x="9584" y="2549"/>
                  </a:lnTo>
                  <a:lnTo>
                    <a:pt x="9579" y="2543"/>
                  </a:lnTo>
                  <a:lnTo>
                    <a:pt x="9577" y="2535"/>
                  </a:lnTo>
                  <a:lnTo>
                    <a:pt x="9577" y="2423"/>
                  </a:lnTo>
                  <a:lnTo>
                    <a:pt x="9579" y="2414"/>
                  </a:lnTo>
                  <a:lnTo>
                    <a:pt x="9584" y="2407"/>
                  </a:lnTo>
                  <a:lnTo>
                    <a:pt x="9590" y="2404"/>
                  </a:lnTo>
                  <a:lnTo>
                    <a:pt x="9598" y="2402"/>
                  </a:lnTo>
                  <a:lnTo>
                    <a:pt x="9604" y="2404"/>
                  </a:lnTo>
                  <a:lnTo>
                    <a:pt x="9611" y="2407"/>
                  </a:lnTo>
                  <a:lnTo>
                    <a:pt x="9616" y="2414"/>
                  </a:lnTo>
                  <a:lnTo>
                    <a:pt x="9617" y="2423"/>
                  </a:lnTo>
                  <a:close/>
                  <a:moveTo>
                    <a:pt x="16589" y="796"/>
                  </a:moveTo>
                  <a:lnTo>
                    <a:pt x="16589" y="847"/>
                  </a:lnTo>
                  <a:lnTo>
                    <a:pt x="16588" y="859"/>
                  </a:lnTo>
                  <a:lnTo>
                    <a:pt x="16584" y="869"/>
                  </a:lnTo>
                  <a:lnTo>
                    <a:pt x="16576" y="878"/>
                  </a:lnTo>
                  <a:lnTo>
                    <a:pt x="16566" y="883"/>
                  </a:lnTo>
                  <a:lnTo>
                    <a:pt x="16556" y="890"/>
                  </a:lnTo>
                  <a:lnTo>
                    <a:pt x="16547" y="896"/>
                  </a:lnTo>
                  <a:lnTo>
                    <a:pt x="16534" y="913"/>
                  </a:lnTo>
                  <a:lnTo>
                    <a:pt x="16529" y="923"/>
                  </a:lnTo>
                  <a:lnTo>
                    <a:pt x="16526" y="934"/>
                  </a:lnTo>
                  <a:lnTo>
                    <a:pt x="16526" y="956"/>
                  </a:lnTo>
                  <a:lnTo>
                    <a:pt x="16530" y="968"/>
                  </a:lnTo>
                  <a:lnTo>
                    <a:pt x="16535" y="978"/>
                  </a:lnTo>
                  <a:lnTo>
                    <a:pt x="16541" y="987"/>
                  </a:lnTo>
                  <a:lnTo>
                    <a:pt x="16549" y="996"/>
                  </a:lnTo>
                  <a:lnTo>
                    <a:pt x="16568" y="1006"/>
                  </a:lnTo>
                  <a:lnTo>
                    <a:pt x="16591" y="1011"/>
                  </a:lnTo>
                  <a:lnTo>
                    <a:pt x="16604" y="1009"/>
                  </a:lnTo>
                  <a:lnTo>
                    <a:pt x="16617" y="1005"/>
                  </a:lnTo>
                  <a:lnTo>
                    <a:pt x="16629" y="1000"/>
                  </a:lnTo>
                  <a:lnTo>
                    <a:pt x="16638" y="991"/>
                  </a:lnTo>
                  <a:lnTo>
                    <a:pt x="16647" y="982"/>
                  </a:lnTo>
                  <a:lnTo>
                    <a:pt x="16652" y="970"/>
                  </a:lnTo>
                  <a:lnTo>
                    <a:pt x="16656" y="957"/>
                  </a:lnTo>
                  <a:lnTo>
                    <a:pt x="16657" y="945"/>
                  </a:lnTo>
                  <a:lnTo>
                    <a:pt x="16659" y="936"/>
                  </a:lnTo>
                  <a:lnTo>
                    <a:pt x="16663" y="929"/>
                  </a:lnTo>
                  <a:lnTo>
                    <a:pt x="16670" y="925"/>
                  </a:lnTo>
                  <a:lnTo>
                    <a:pt x="16677" y="924"/>
                  </a:lnTo>
                  <a:lnTo>
                    <a:pt x="16685" y="925"/>
                  </a:lnTo>
                  <a:lnTo>
                    <a:pt x="16691" y="929"/>
                  </a:lnTo>
                  <a:lnTo>
                    <a:pt x="16695" y="936"/>
                  </a:lnTo>
                  <a:lnTo>
                    <a:pt x="16698" y="945"/>
                  </a:lnTo>
                  <a:lnTo>
                    <a:pt x="16695" y="966"/>
                  </a:lnTo>
                  <a:lnTo>
                    <a:pt x="16689" y="986"/>
                  </a:lnTo>
                  <a:lnTo>
                    <a:pt x="16679" y="1003"/>
                  </a:lnTo>
                  <a:lnTo>
                    <a:pt x="16666" y="1020"/>
                  </a:lnTo>
                  <a:lnTo>
                    <a:pt x="16650" y="1033"/>
                  </a:lnTo>
                  <a:lnTo>
                    <a:pt x="16632" y="1042"/>
                  </a:lnTo>
                  <a:lnTo>
                    <a:pt x="16612" y="1048"/>
                  </a:lnTo>
                  <a:lnTo>
                    <a:pt x="16591" y="1051"/>
                  </a:lnTo>
                  <a:lnTo>
                    <a:pt x="16572" y="1048"/>
                  </a:lnTo>
                  <a:lnTo>
                    <a:pt x="16556" y="1044"/>
                  </a:lnTo>
                  <a:lnTo>
                    <a:pt x="16539" y="1037"/>
                  </a:lnTo>
                  <a:lnTo>
                    <a:pt x="16523" y="1025"/>
                  </a:lnTo>
                  <a:lnTo>
                    <a:pt x="16511" y="1014"/>
                  </a:lnTo>
                  <a:lnTo>
                    <a:pt x="16500" y="998"/>
                  </a:lnTo>
                  <a:lnTo>
                    <a:pt x="16495" y="991"/>
                  </a:lnTo>
                  <a:lnTo>
                    <a:pt x="16491" y="982"/>
                  </a:lnTo>
                  <a:lnTo>
                    <a:pt x="16488" y="964"/>
                  </a:lnTo>
                  <a:lnTo>
                    <a:pt x="16485" y="945"/>
                  </a:lnTo>
                  <a:lnTo>
                    <a:pt x="16486" y="928"/>
                  </a:lnTo>
                  <a:lnTo>
                    <a:pt x="16490" y="910"/>
                  </a:lnTo>
                  <a:lnTo>
                    <a:pt x="16498" y="895"/>
                  </a:lnTo>
                  <a:lnTo>
                    <a:pt x="16507" y="879"/>
                  </a:lnTo>
                  <a:lnTo>
                    <a:pt x="16518" y="867"/>
                  </a:lnTo>
                  <a:lnTo>
                    <a:pt x="16532" y="856"/>
                  </a:lnTo>
                  <a:lnTo>
                    <a:pt x="16549" y="847"/>
                  </a:lnTo>
                  <a:lnTo>
                    <a:pt x="16549" y="796"/>
                  </a:lnTo>
                  <a:lnTo>
                    <a:pt x="16550" y="787"/>
                  </a:lnTo>
                  <a:lnTo>
                    <a:pt x="16556" y="782"/>
                  </a:lnTo>
                  <a:lnTo>
                    <a:pt x="16562" y="778"/>
                  </a:lnTo>
                  <a:lnTo>
                    <a:pt x="16568" y="777"/>
                  </a:lnTo>
                  <a:lnTo>
                    <a:pt x="16576" y="778"/>
                  </a:lnTo>
                  <a:lnTo>
                    <a:pt x="16582" y="782"/>
                  </a:lnTo>
                  <a:lnTo>
                    <a:pt x="16588" y="787"/>
                  </a:lnTo>
                  <a:lnTo>
                    <a:pt x="16589" y="796"/>
                  </a:lnTo>
                  <a:close/>
                  <a:moveTo>
                    <a:pt x="17183" y="112"/>
                  </a:moveTo>
                  <a:lnTo>
                    <a:pt x="17100" y="225"/>
                  </a:lnTo>
                  <a:lnTo>
                    <a:pt x="17100" y="309"/>
                  </a:lnTo>
                  <a:lnTo>
                    <a:pt x="17183" y="309"/>
                  </a:lnTo>
                  <a:lnTo>
                    <a:pt x="17183" y="112"/>
                  </a:lnTo>
                  <a:close/>
                  <a:moveTo>
                    <a:pt x="17059" y="309"/>
                  </a:moveTo>
                  <a:lnTo>
                    <a:pt x="17059" y="218"/>
                  </a:lnTo>
                  <a:lnTo>
                    <a:pt x="17063" y="207"/>
                  </a:lnTo>
                  <a:lnTo>
                    <a:pt x="17175" y="55"/>
                  </a:lnTo>
                  <a:lnTo>
                    <a:pt x="16382" y="309"/>
                  </a:lnTo>
                  <a:lnTo>
                    <a:pt x="16906" y="309"/>
                  </a:lnTo>
                  <a:lnTo>
                    <a:pt x="17015" y="309"/>
                  </a:lnTo>
                  <a:lnTo>
                    <a:pt x="17059" y="309"/>
                  </a:lnTo>
                  <a:close/>
                  <a:moveTo>
                    <a:pt x="17222" y="309"/>
                  </a:moveTo>
                  <a:lnTo>
                    <a:pt x="17388" y="309"/>
                  </a:lnTo>
                  <a:lnTo>
                    <a:pt x="17222" y="80"/>
                  </a:lnTo>
                  <a:lnTo>
                    <a:pt x="17222" y="309"/>
                  </a:lnTo>
                  <a:close/>
                  <a:moveTo>
                    <a:pt x="17183" y="481"/>
                  </a:moveTo>
                  <a:lnTo>
                    <a:pt x="17015" y="481"/>
                  </a:lnTo>
                  <a:lnTo>
                    <a:pt x="17007" y="478"/>
                  </a:lnTo>
                  <a:lnTo>
                    <a:pt x="17000" y="474"/>
                  </a:lnTo>
                  <a:lnTo>
                    <a:pt x="16995" y="468"/>
                  </a:lnTo>
                  <a:lnTo>
                    <a:pt x="16994" y="460"/>
                  </a:lnTo>
                  <a:lnTo>
                    <a:pt x="16994" y="349"/>
                  </a:lnTo>
                  <a:lnTo>
                    <a:pt x="16926" y="349"/>
                  </a:lnTo>
                  <a:lnTo>
                    <a:pt x="16926" y="552"/>
                  </a:lnTo>
                  <a:lnTo>
                    <a:pt x="17067" y="552"/>
                  </a:lnTo>
                  <a:lnTo>
                    <a:pt x="17183" y="552"/>
                  </a:lnTo>
                  <a:lnTo>
                    <a:pt x="17183" y="481"/>
                  </a:lnTo>
                  <a:close/>
                  <a:moveTo>
                    <a:pt x="17222" y="349"/>
                  </a:moveTo>
                  <a:lnTo>
                    <a:pt x="17222" y="460"/>
                  </a:lnTo>
                  <a:lnTo>
                    <a:pt x="17222" y="573"/>
                  </a:lnTo>
                  <a:lnTo>
                    <a:pt x="17222" y="1413"/>
                  </a:lnTo>
                  <a:lnTo>
                    <a:pt x="17222" y="2253"/>
                  </a:lnTo>
                  <a:lnTo>
                    <a:pt x="17220" y="2262"/>
                  </a:lnTo>
                  <a:lnTo>
                    <a:pt x="17216" y="2268"/>
                  </a:lnTo>
                  <a:lnTo>
                    <a:pt x="17209" y="2272"/>
                  </a:lnTo>
                  <a:lnTo>
                    <a:pt x="17202" y="2273"/>
                  </a:lnTo>
                  <a:lnTo>
                    <a:pt x="17194" y="2272"/>
                  </a:lnTo>
                  <a:lnTo>
                    <a:pt x="17188" y="2268"/>
                  </a:lnTo>
                  <a:lnTo>
                    <a:pt x="17184" y="2262"/>
                  </a:lnTo>
                  <a:lnTo>
                    <a:pt x="17183" y="2253"/>
                  </a:lnTo>
                  <a:lnTo>
                    <a:pt x="17183" y="1422"/>
                  </a:lnTo>
                  <a:lnTo>
                    <a:pt x="17183" y="592"/>
                  </a:lnTo>
                  <a:lnTo>
                    <a:pt x="17088" y="592"/>
                  </a:lnTo>
                  <a:lnTo>
                    <a:pt x="17088" y="1422"/>
                  </a:lnTo>
                  <a:lnTo>
                    <a:pt x="17088" y="2253"/>
                  </a:lnTo>
                  <a:lnTo>
                    <a:pt x="17085" y="2262"/>
                  </a:lnTo>
                  <a:lnTo>
                    <a:pt x="17081" y="2268"/>
                  </a:lnTo>
                  <a:lnTo>
                    <a:pt x="17075" y="2272"/>
                  </a:lnTo>
                  <a:lnTo>
                    <a:pt x="17067" y="2273"/>
                  </a:lnTo>
                  <a:lnTo>
                    <a:pt x="17059" y="2272"/>
                  </a:lnTo>
                  <a:lnTo>
                    <a:pt x="17053" y="2268"/>
                  </a:lnTo>
                  <a:lnTo>
                    <a:pt x="17049" y="2262"/>
                  </a:lnTo>
                  <a:lnTo>
                    <a:pt x="17047" y="2253"/>
                  </a:lnTo>
                  <a:lnTo>
                    <a:pt x="17047" y="1422"/>
                  </a:lnTo>
                  <a:lnTo>
                    <a:pt x="17047" y="592"/>
                  </a:lnTo>
                  <a:lnTo>
                    <a:pt x="16906" y="592"/>
                  </a:lnTo>
                  <a:lnTo>
                    <a:pt x="16898" y="590"/>
                  </a:lnTo>
                  <a:lnTo>
                    <a:pt x="16891" y="587"/>
                  </a:lnTo>
                  <a:lnTo>
                    <a:pt x="16888" y="580"/>
                  </a:lnTo>
                  <a:lnTo>
                    <a:pt x="16886" y="573"/>
                  </a:lnTo>
                  <a:lnTo>
                    <a:pt x="16886" y="349"/>
                  </a:lnTo>
                  <a:lnTo>
                    <a:pt x="16584" y="349"/>
                  </a:lnTo>
                  <a:lnTo>
                    <a:pt x="16584" y="740"/>
                  </a:lnTo>
                  <a:lnTo>
                    <a:pt x="16581" y="749"/>
                  </a:lnTo>
                  <a:lnTo>
                    <a:pt x="16577" y="755"/>
                  </a:lnTo>
                  <a:lnTo>
                    <a:pt x="16571" y="759"/>
                  </a:lnTo>
                  <a:lnTo>
                    <a:pt x="16563" y="761"/>
                  </a:lnTo>
                  <a:lnTo>
                    <a:pt x="16556" y="759"/>
                  </a:lnTo>
                  <a:lnTo>
                    <a:pt x="16549" y="755"/>
                  </a:lnTo>
                  <a:lnTo>
                    <a:pt x="16545" y="749"/>
                  </a:lnTo>
                  <a:lnTo>
                    <a:pt x="16544" y="740"/>
                  </a:lnTo>
                  <a:lnTo>
                    <a:pt x="16544" y="349"/>
                  </a:lnTo>
                  <a:lnTo>
                    <a:pt x="16255" y="349"/>
                  </a:lnTo>
                  <a:lnTo>
                    <a:pt x="16246" y="348"/>
                  </a:lnTo>
                  <a:lnTo>
                    <a:pt x="16239" y="344"/>
                  </a:lnTo>
                  <a:lnTo>
                    <a:pt x="16235" y="339"/>
                  </a:lnTo>
                  <a:lnTo>
                    <a:pt x="16232" y="332"/>
                  </a:lnTo>
                  <a:lnTo>
                    <a:pt x="16232" y="326"/>
                  </a:lnTo>
                  <a:lnTo>
                    <a:pt x="16235" y="319"/>
                  </a:lnTo>
                  <a:lnTo>
                    <a:pt x="16241" y="314"/>
                  </a:lnTo>
                  <a:lnTo>
                    <a:pt x="16249" y="310"/>
                  </a:lnTo>
                  <a:lnTo>
                    <a:pt x="17184" y="9"/>
                  </a:lnTo>
                  <a:lnTo>
                    <a:pt x="17188" y="5"/>
                  </a:lnTo>
                  <a:lnTo>
                    <a:pt x="17192" y="2"/>
                  </a:lnTo>
                  <a:lnTo>
                    <a:pt x="17203" y="0"/>
                  </a:lnTo>
                  <a:lnTo>
                    <a:pt x="17213" y="2"/>
                  </a:lnTo>
                  <a:lnTo>
                    <a:pt x="17220" y="10"/>
                  </a:lnTo>
                  <a:lnTo>
                    <a:pt x="17443" y="317"/>
                  </a:lnTo>
                  <a:lnTo>
                    <a:pt x="17447" y="323"/>
                  </a:lnTo>
                  <a:lnTo>
                    <a:pt x="17449" y="328"/>
                  </a:lnTo>
                  <a:lnTo>
                    <a:pt x="17447" y="339"/>
                  </a:lnTo>
                  <a:lnTo>
                    <a:pt x="17440" y="346"/>
                  </a:lnTo>
                  <a:lnTo>
                    <a:pt x="17427" y="349"/>
                  </a:lnTo>
                  <a:lnTo>
                    <a:pt x="17222" y="349"/>
                  </a:lnTo>
                  <a:close/>
                  <a:moveTo>
                    <a:pt x="17183" y="349"/>
                  </a:moveTo>
                  <a:lnTo>
                    <a:pt x="17034" y="349"/>
                  </a:lnTo>
                  <a:lnTo>
                    <a:pt x="17034" y="440"/>
                  </a:lnTo>
                  <a:lnTo>
                    <a:pt x="17183" y="440"/>
                  </a:lnTo>
                  <a:lnTo>
                    <a:pt x="17183" y="349"/>
                  </a:lnTo>
                  <a:close/>
                  <a:moveTo>
                    <a:pt x="15662" y="1363"/>
                  </a:moveTo>
                  <a:lnTo>
                    <a:pt x="15676" y="1370"/>
                  </a:lnTo>
                  <a:lnTo>
                    <a:pt x="15687" y="1379"/>
                  </a:lnTo>
                  <a:lnTo>
                    <a:pt x="15696" y="1391"/>
                  </a:lnTo>
                  <a:lnTo>
                    <a:pt x="15704" y="1404"/>
                  </a:lnTo>
                  <a:lnTo>
                    <a:pt x="15709" y="1417"/>
                  </a:lnTo>
                  <a:lnTo>
                    <a:pt x="15713" y="1431"/>
                  </a:lnTo>
                  <a:lnTo>
                    <a:pt x="15713" y="1461"/>
                  </a:lnTo>
                  <a:lnTo>
                    <a:pt x="15709" y="1477"/>
                  </a:lnTo>
                  <a:lnTo>
                    <a:pt x="15702" y="1491"/>
                  </a:lnTo>
                  <a:lnTo>
                    <a:pt x="15693" y="1503"/>
                  </a:lnTo>
                  <a:lnTo>
                    <a:pt x="15681" y="1515"/>
                  </a:lnTo>
                  <a:lnTo>
                    <a:pt x="15668" y="1524"/>
                  </a:lnTo>
                  <a:lnTo>
                    <a:pt x="15654" y="1530"/>
                  </a:lnTo>
                  <a:lnTo>
                    <a:pt x="15640" y="1534"/>
                  </a:lnTo>
                  <a:lnTo>
                    <a:pt x="15623" y="1535"/>
                  </a:lnTo>
                  <a:lnTo>
                    <a:pt x="15605" y="1534"/>
                  </a:lnTo>
                  <a:lnTo>
                    <a:pt x="15589" y="1529"/>
                  </a:lnTo>
                  <a:lnTo>
                    <a:pt x="15573" y="1520"/>
                  </a:lnTo>
                  <a:lnTo>
                    <a:pt x="15559" y="1509"/>
                  </a:lnTo>
                  <a:lnTo>
                    <a:pt x="15549" y="1496"/>
                  </a:lnTo>
                  <a:lnTo>
                    <a:pt x="15540" y="1480"/>
                  </a:lnTo>
                  <a:lnTo>
                    <a:pt x="15535" y="1464"/>
                  </a:lnTo>
                  <a:lnTo>
                    <a:pt x="15532" y="1445"/>
                  </a:lnTo>
                  <a:lnTo>
                    <a:pt x="15535" y="1437"/>
                  </a:lnTo>
                  <a:lnTo>
                    <a:pt x="15539" y="1431"/>
                  </a:lnTo>
                  <a:lnTo>
                    <a:pt x="15545" y="1427"/>
                  </a:lnTo>
                  <a:lnTo>
                    <a:pt x="15553" y="1425"/>
                  </a:lnTo>
                  <a:lnTo>
                    <a:pt x="15560" y="1427"/>
                  </a:lnTo>
                  <a:lnTo>
                    <a:pt x="15567" y="1431"/>
                  </a:lnTo>
                  <a:lnTo>
                    <a:pt x="15571" y="1437"/>
                  </a:lnTo>
                  <a:lnTo>
                    <a:pt x="15573" y="1445"/>
                  </a:lnTo>
                  <a:lnTo>
                    <a:pt x="15573" y="1455"/>
                  </a:lnTo>
                  <a:lnTo>
                    <a:pt x="15577" y="1465"/>
                  </a:lnTo>
                  <a:lnTo>
                    <a:pt x="15581" y="1474"/>
                  </a:lnTo>
                  <a:lnTo>
                    <a:pt x="15587" y="1480"/>
                  </a:lnTo>
                  <a:lnTo>
                    <a:pt x="15595" y="1487"/>
                  </a:lnTo>
                  <a:lnTo>
                    <a:pt x="15604" y="1492"/>
                  </a:lnTo>
                  <a:lnTo>
                    <a:pt x="15623" y="1496"/>
                  </a:lnTo>
                  <a:lnTo>
                    <a:pt x="15641" y="1492"/>
                  </a:lnTo>
                  <a:lnTo>
                    <a:pt x="15655" y="1484"/>
                  </a:lnTo>
                  <a:lnTo>
                    <a:pt x="15662" y="1478"/>
                  </a:lnTo>
                  <a:lnTo>
                    <a:pt x="15667" y="1470"/>
                  </a:lnTo>
                  <a:lnTo>
                    <a:pt x="15673" y="1455"/>
                  </a:lnTo>
                  <a:lnTo>
                    <a:pt x="15675" y="1436"/>
                  </a:lnTo>
                  <a:lnTo>
                    <a:pt x="15669" y="1423"/>
                  </a:lnTo>
                  <a:lnTo>
                    <a:pt x="15662" y="1413"/>
                  </a:lnTo>
                  <a:lnTo>
                    <a:pt x="15652" y="1405"/>
                  </a:lnTo>
                  <a:lnTo>
                    <a:pt x="15631" y="1390"/>
                  </a:lnTo>
                  <a:lnTo>
                    <a:pt x="15625" y="1379"/>
                  </a:lnTo>
                  <a:lnTo>
                    <a:pt x="15622" y="1365"/>
                  </a:lnTo>
                  <a:lnTo>
                    <a:pt x="15622" y="1323"/>
                  </a:lnTo>
                  <a:lnTo>
                    <a:pt x="15623" y="1314"/>
                  </a:lnTo>
                  <a:lnTo>
                    <a:pt x="15628" y="1308"/>
                  </a:lnTo>
                  <a:lnTo>
                    <a:pt x="15635" y="1305"/>
                  </a:lnTo>
                  <a:lnTo>
                    <a:pt x="15643" y="1304"/>
                  </a:lnTo>
                  <a:lnTo>
                    <a:pt x="15649" y="1305"/>
                  </a:lnTo>
                  <a:lnTo>
                    <a:pt x="15655" y="1308"/>
                  </a:lnTo>
                  <a:lnTo>
                    <a:pt x="15660" y="1314"/>
                  </a:lnTo>
                  <a:lnTo>
                    <a:pt x="15662" y="1323"/>
                  </a:lnTo>
                  <a:lnTo>
                    <a:pt x="15662" y="1363"/>
                  </a:lnTo>
                  <a:close/>
                  <a:moveTo>
                    <a:pt x="15667" y="963"/>
                  </a:moveTo>
                  <a:lnTo>
                    <a:pt x="15667" y="1277"/>
                  </a:lnTo>
                  <a:lnTo>
                    <a:pt x="15664" y="1286"/>
                  </a:lnTo>
                  <a:lnTo>
                    <a:pt x="15660" y="1292"/>
                  </a:lnTo>
                  <a:lnTo>
                    <a:pt x="15654" y="1296"/>
                  </a:lnTo>
                  <a:lnTo>
                    <a:pt x="15646" y="1298"/>
                  </a:lnTo>
                  <a:lnTo>
                    <a:pt x="15639" y="1296"/>
                  </a:lnTo>
                  <a:lnTo>
                    <a:pt x="15632" y="1292"/>
                  </a:lnTo>
                  <a:lnTo>
                    <a:pt x="15628" y="1286"/>
                  </a:lnTo>
                  <a:lnTo>
                    <a:pt x="15627" y="1277"/>
                  </a:lnTo>
                  <a:lnTo>
                    <a:pt x="15627" y="963"/>
                  </a:lnTo>
                  <a:lnTo>
                    <a:pt x="15385" y="963"/>
                  </a:lnTo>
                  <a:lnTo>
                    <a:pt x="15385" y="1139"/>
                  </a:lnTo>
                  <a:lnTo>
                    <a:pt x="15384" y="1147"/>
                  </a:lnTo>
                  <a:lnTo>
                    <a:pt x="15378" y="1153"/>
                  </a:lnTo>
                  <a:lnTo>
                    <a:pt x="15372" y="1157"/>
                  </a:lnTo>
                  <a:lnTo>
                    <a:pt x="15366" y="1158"/>
                  </a:lnTo>
                  <a:lnTo>
                    <a:pt x="15253" y="1158"/>
                  </a:lnTo>
                  <a:lnTo>
                    <a:pt x="15253" y="1705"/>
                  </a:lnTo>
                  <a:lnTo>
                    <a:pt x="15253" y="2253"/>
                  </a:lnTo>
                  <a:lnTo>
                    <a:pt x="15250" y="2262"/>
                  </a:lnTo>
                  <a:lnTo>
                    <a:pt x="15246" y="2268"/>
                  </a:lnTo>
                  <a:lnTo>
                    <a:pt x="15240" y="2272"/>
                  </a:lnTo>
                  <a:lnTo>
                    <a:pt x="15232" y="2273"/>
                  </a:lnTo>
                  <a:lnTo>
                    <a:pt x="15225" y="2272"/>
                  </a:lnTo>
                  <a:lnTo>
                    <a:pt x="15218" y="2268"/>
                  </a:lnTo>
                  <a:lnTo>
                    <a:pt x="15214" y="2262"/>
                  </a:lnTo>
                  <a:lnTo>
                    <a:pt x="15213" y="2253"/>
                  </a:lnTo>
                  <a:lnTo>
                    <a:pt x="15213" y="1705"/>
                  </a:lnTo>
                  <a:lnTo>
                    <a:pt x="15213" y="1158"/>
                  </a:lnTo>
                  <a:lnTo>
                    <a:pt x="15141" y="1158"/>
                  </a:lnTo>
                  <a:lnTo>
                    <a:pt x="15141" y="1705"/>
                  </a:lnTo>
                  <a:lnTo>
                    <a:pt x="15141" y="2253"/>
                  </a:lnTo>
                  <a:lnTo>
                    <a:pt x="15140" y="2262"/>
                  </a:lnTo>
                  <a:lnTo>
                    <a:pt x="15135" y="2268"/>
                  </a:lnTo>
                  <a:lnTo>
                    <a:pt x="15128" y="2272"/>
                  </a:lnTo>
                  <a:lnTo>
                    <a:pt x="15122" y="2273"/>
                  </a:lnTo>
                  <a:lnTo>
                    <a:pt x="15114" y="2272"/>
                  </a:lnTo>
                  <a:lnTo>
                    <a:pt x="15108" y="2268"/>
                  </a:lnTo>
                  <a:lnTo>
                    <a:pt x="15103" y="2262"/>
                  </a:lnTo>
                  <a:lnTo>
                    <a:pt x="15101" y="2253"/>
                  </a:lnTo>
                  <a:lnTo>
                    <a:pt x="15101" y="1695"/>
                  </a:lnTo>
                  <a:lnTo>
                    <a:pt x="15101" y="1139"/>
                  </a:lnTo>
                  <a:lnTo>
                    <a:pt x="15101" y="1047"/>
                  </a:lnTo>
                  <a:lnTo>
                    <a:pt x="15101" y="963"/>
                  </a:lnTo>
                  <a:lnTo>
                    <a:pt x="14931" y="963"/>
                  </a:lnTo>
                  <a:lnTo>
                    <a:pt x="14918" y="960"/>
                  </a:lnTo>
                  <a:lnTo>
                    <a:pt x="14913" y="956"/>
                  </a:lnTo>
                  <a:lnTo>
                    <a:pt x="14910" y="952"/>
                  </a:lnTo>
                  <a:lnTo>
                    <a:pt x="14909" y="947"/>
                  </a:lnTo>
                  <a:lnTo>
                    <a:pt x="14909" y="942"/>
                  </a:lnTo>
                  <a:lnTo>
                    <a:pt x="14914" y="931"/>
                  </a:lnTo>
                  <a:lnTo>
                    <a:pt x="15105" y="680"/>
                  </a:lnTo>
                  <a:lnTo>
                    <a:pt x="15116" y="675"/>
                  </a:lnTo>
                  <a:lnTo>
                    <a:pt x="15127" y="674"/>
                  </a:lnTo>
                  <a:lnTo>
                    <a:pt x="15907" y="924"/>
                  </a:lnTo>
                  <a:lnTo>
                    <a:pt x="15920" y="933"/>
                  </a:lnTo>
                  <a:lnTo>
                    <a:pt x="15922" y="940"/>
                  </a:lnTo>
                  <a:lnTo>
                    <a:pt x="15923" y="946"/>
                  </a:lnTo>
                  <a:lnTo>
                    <a:pt x="15921" y="952"/>
                  </a:lnTo>
                  <a:lnTo>
                    <a:pt x="15916" y="957"/>
                  </a:lnTo>
                  <a:lnTo>
                    <a:pt x="15909" y="961"/>
                  </a:lnTo>
                  <a:lnTo>
                    <a:pt x="15900" y="963"/>
                  </a:lnTo>
                  <a:lnTo>
                    <a:pt x="15667" y="963"/>
                  </a:lnTo>
                  <a:close/>
                  <a:moveTo>
                    <a:pt x="15167" y="727"/>
                  </a:moveTo>
                  <a:lnTo>
                    <a:pt x="15240" y="828"/>
                  </a:lnTo>
                  <a:lnTo>
                    <a:pt x="15244" y="840"/>
                  </a:lnTo>
                  <a:lnTo>
                    <a:pt x="15244" y="923"/>
                  </a:lnTo>
                  <a:lnTo>
                    <a:pt x="15276" y="923"/>
                  </a:lnTo>
                  <a:lnTo>
                    <a:pt x="15366" y="923"/>
                  </a:lnTo>
                  <a:lnTo>
                    <a:pt x="15773" y="923"/>
                  </a:lnTo>
                  <a:lnTo>
                    <a:pt x="15167" y="727"/>
                  </a:lnTo>
                  <a:close/>
                  <a:moveTo>
                    <a:pt x="15203" y="923"/>
                  </a:moveTo>
                  <a:lnTo>
                    <a:pt x="15203" y="846"/>
                  </a:lnTo>
                  <a:lnTo>
                    <a:pt x="15141" y="762"/>
                  </a:lnTo>
                  <a:lnTo>
                    <a:pt x="15141" y="923"/>
                  </a:lnTo>
                  <a:lnTo>
                    <a:pt x="15203" y="923"/>
                  </a:lnTo>
                  <a:close/>
                  <a:moveTo>
                    <a:pt x="15101" y="752"/>
                  </a:moveTo>
                  <a:lnTo>
                    <a:pt x="14971" y="923"/>
                  </a:lnTo>
                  <a:lnTo>
                    <a:pt x="15101" y="923"/>
                  </a:lnTo>
                  <a:lnTo>
                    <a:pt x="15101" y="752"/>
                  </a:lnTo>
                  <a:close/>
                  <a:moveTo>
                    <a:pt x="15296" y="963"/>
                  </a:moveTo>
                  <a:lnTo>
                    <a:pt x="15296" y="1047"/>
                  </a:lnTo>
                  <a:lnTo>
                    <a:pt x="15295" y="1055"/>
                  </a:lnTo>
                  <a:lnTo>
                    <a:pt x="15290" y="1061"/>
                  </a:lnTo>
                  <a:lnTo>
                    <a:pt x="15283" y="1065"/>
                  </a:lnTo>
                  <a:lnTo>
                    <a:pt x="15276" y="1066"/>
                  </a:lnTo>
                  <a:lnTo>
                    <a:pt x="15141" y="1066"/>
                  </a:lnTo>
                  <a:lnTo>
                    <a:pt x="15141" y="1119"/>
                  </a:lnTo>
                  <a:lnTo>
                    <a:pt x="15232" y="1119"/>
                  </a:lnTo>
                  <a:lnTo>
                    <a:pt x="15345" y="1119"/>
                  </a:lnTo>
                  <a:lnTo>
                    <a:pt x="15345" y="963"/>
                  </a:lnTo>
                  <a:lnTo>
                    <a:pt x="15296" y="963"/>
                  </a:lnTo>
                  <a:close/>
                  <a:moveTo>
                    <a:pt x="15257" y="963"/>
                  </a:moveTo>
                  <a:lnTo>
                    <a:pt x="15141" y="963"/>
                  </a:lnTo>
                  <a:lnTo>
                    <a:pt x="15141" y="1027"/>
                  </a:lnTo>
                  <a:lnTo>
                    <a:pt x="15257" y="1027"/>
                  </a:lnTo>
                  <a:lnTo>
                    <a:pt x="15257" y="963"/>
                  </a:lnTo>
                  <a:close/>
                  <a:moveTo>
                    <a:pt x="12486" y="3681"/>
                  </a:moveTo>
                  <a:lnTo>
                    <a:pt x="12486" y="3792"/>
                  </a:lnTo>
                  <a:lnTo>
                    <a:pt x="12484" y="3800"/>
                  </a:lnTo>
                  <a:lnTo>
                    <a:pt x="12482" y="3805"/>
                  </a:lnTo>
                  <a:lnTo>
                    <a:pt x="12523" y="3838"/>
                  </a:lnTo>
                  <a:lnTo>
                    <a:pt x="12559" y="3875"/>
                  </a:lnTo>
                  <a:lnTo>
                    <a:pt x="12592" y="3918"/>
                  </a:lnTo>
                  <a:lnTo>
                    <a:pt x="12606" y="3939"/>
                  </a:lnTo>
                  <a:lnTo>
                    <a:pt x="12619" y="3962"/>
                  </a:lnTo>
                  <a:lnTo>
                    <a:pt x="12641" y="4011"/>
                  </a:lnTo>
                  <a:lnTo>
                    <a:pt x="12657" y="4062"/>
                  </a:lnTo>
                  <a:lnTo>
                    <a:pt x="12666" y="4116"/>
                  </a:lnTo>
                  <a:lnTo>
                    <a:pt x="12670" y="4171"/>
                  </a:lnTo>
                  <a:lnTo>
                    <a:pt x="12666" y="4226"/>
                  </a:lnTo>
                  <a:lnTo>
                    <a:pt x="12661" y="4265"/>
                  </a:lnTo>
                  <a:lnTo>
                    <a:pt x="12654" y="4304"/>
                  </a:lnTo>
                  <a:lnTo>
                    <a:pt x="13197" y="4304"/>
                  </a:lnTo>
                  <a:lnTo>
                    <a:pt x="13741" y="4304"/>
                  </a:lnTo>
                  <a:lnTo>
                    <a:pt x="13741" y="3764"/>
                  </a:lnTo>
                  <a:lnTo>
                    <a:pt x="13741" y="3225"/>
                  </a:lnTo>
                  <a:lnTo>
                    <a:pt x="13183" y="3225"/>
                  </a:lnTo>
                  <a:lnTo>
                    <a:pt x="12625" y="3225"/>
                  </a:lnTo>
                  <a:lnTo>
                    <a:pt x="12616" y="3222"/>
                  </a:lnTo>
                  <a:lnTo>
                    <a:pt x="12610" y="3218"/>
                  </a:lnTo>
                  <a:lnTo>
                    <a:pt x="12606" y="3212"/>
                  </a:lnTo>
                  <a:lnTo>
                    <a:pt x="12606" y="3204"/>
                  </a:lnTo>
                  <a:lnTo>
                    <a:pt x="12606" y="3196"/>
                  </a:lnTo>
                  <a:lnTo>
                    <a:pt x="12610" y="3190"/>
                  </a:lnTo>
                  <a:lnTo>
                    <a:pt x="12616" y="3186"/>
                  </a:lnTo>
                  <a:lnTo>
                    <a:pt x="12625" y="3184"/>
                  </a:lnTo>
                  <a:lnTo>
                    <a:pt x="12793" y="3184"/>
                  </a:lnTo>
                  <a:lnTo>
                    <a:pt x="12793" y="3031"/>
                  </a:lnTo>
                  <a:lnTo>
                    <a:pt x="12353" y="3031"/>
                  </a:lnTo>
                  <a:lnTo>
                    <a:pt x="12353" y="3184"/>
                  </a:lnTo>
                  <a:lnTo>
                    <a:pt x="12493" y="3184"/>
                  </a:lnTo>
                  <a:lnTo>
                    <a:pt x="12502" y="3186"/>
                  </a:lnTo>
                  <a:lnTo>
                    <a:pt x="12509" y="3190"/>
                  </a:lnTo>
                  <a:lnTo>
                    <a:pt x="12512" y="3196"/>
                  </a:lnTo>
                  <a:lnTo>
                    <a:pt x="12514" y="3204"/>
                  </a:lnTo>
                  <a:lnTo>
                    <a:pt x="12512" y="3212"/>
                  </a:lnTo>
                  <a:lnTo>
                    <a:pt x="12509" y="3218"/>
                  </a:lnTo>
                  <a:lnTo>
                    <a:pt x="12502" y="3222"/>
                  </a:lnTo>
                  <a:lnTo>
                    <a:pt x="12493" y="3225"/>
                  </a:lnTo>
                  <a:lnTo>
                    <a:pt x="12236" y="3225"/>
                  </a:lnTo>
                  <a:lnTo>
                    <a:pt x="12236" y="3670"/>
                  </a:lnTo>
                  <a:lnTo>
                    <a:pt x="12233" y="3679"/>
                  </a:lnTo>
                  <a:lnTo>
                    <a:pt x="12229" y="3685"/>
                  </a:lnTo>
                  <a:lnTo>
                    <a:pt x="12223" y="3689"/>
                  </a:lnTo>
                  <a:lnTo>
                    <a:pt x="12215" y="3690"/>
                  </a:lnTo>
                  <a:lnTo>
                    <a:pt x="12207" y="3689"/>
                  </a:lnTo>
                  <a:lnTo>
                    <a:pt x="12201" y="3685"/>
                  </a:lnTo>
                  <a:lnTo>
                    <a:pt x="12197" y="3679"/>
                  </a:lnTo>
                  <a:lnTo>
                    <a:pt x="12194" y="3670"/>
                  </a:lnTo>
                  <a:lnTo>
                    <a:pt x="12194" y="3204"/>
                  </a:lnTo>
                  <a:lnTo>
                    <a:pt x="12197" y="3196"/>
                  </a:lnTo>
                  <a:lnTo>
                    <a:pt x="12201" y="3190"/>
                  </a:lnTo>
                  <a:lnTo>
                    <a:pt x="12207" y="3186"/>
                  </a:lnTo>
                  <a:lnTo>
                    <a:pt x="12215" y="3184"/>
                  </a:lnTo>
                  <a:lnTo>
                    <a:pt x="12314" y="3184"/>
                  </a:lnTo>
                  <a:lnTo>
                    <a:pt x="12314" y="3011"/>
                  </a:lnTo>
                  <a:lnTo>
                    <a:pt x="12315" y="3003"/>
                  </a:lnTo>
                  <a:lnTo>
                    <a:pt x="12319" y="2997"/>
                  </a:lnTo>
                  <a:lnTo>
                    <a:pt x="12325" y="2993"/>
                  </a:lnTo>
                  <a:lnTo>
                    <a:pt x="12333" y="2991"/>
                  </a:lnTo>
                  <a:lnTo>
                    <a:pt x="12814" y="2991"/>
                  </a:lnTo>
                  <a:lnTo>
                    <a:pt x="12822" y="2993"/>
                  </a:lnTo>
                  <a:lnTo>
                    <a:pt x="12828" y="2997"/>
                  </a:lnTo>
                  <a:lnTo>
                    <a:pt x="12832" y="3003"/>
                  </a:lnTo>
                  <a:lnTo>
                    <a:pt x="12833" y="3011"/>
                  </a:lnTo>
                  <a:lnTo>
                    <a:pt x="12833" y="3184"/>
                  </a:lnTo>
                  <a:lnTo>
                    <a:pt x="13761" y="3184"/>
                  </a:lnTo>
                  <a:lnTo>
                    <a:pt x="13769" y="3186"/>
                  </a:lnTo>
                  <a:lnTo>
                    <a:pt x="13776" y="3190"/>
                  </a:lnTo>
                  <a:lnTo>
                    <a:pt x="13779" y="3196"/>
                  </a:lnTo>
                  <a:lnTo>
                    <a:pt x="13782" y="3204"/>
                  </a:lnTo>
                  <a:lnTo>
                    <a:pt x="13782" y="3764"/>
                  </a:lnTo>
                  <a:lnTo>
                    <a:pt x="13782" y="4324"/>
                  </a:lnTo>
                  <a:lnTo>
                    <a:pt x="13779" y="4332"/>
                  </a:lnTo>
                  <a:lnTo>
                    <a:pt x="13776" y="4338"/>
                  </a:lnTo>
                  <a:lnTo>
                    <a:pt x="13769" y="4342"/>
                  </a:lnTo>
                  <a:lnTo>
                    <a:pt x="13761" y="4343"/>
                  </a:lnTo>
                  <a:lnTo>
                    <a:pt x="13197" y="4343"/>
                  </a:lnTo>
                  <a:lnTo>
                    <a:pt x="12633" y="4343"/>
                  </a:lnTo>
                  <a:lnTo>
                    <a:pt x="12628" y="4347"/>
                  </a:lnTo>
                  <a:lnTo>
                    <a:pt x="12621" y="4349"/>
                  </a:lnTo>
                  <a:lnTo>
                    <a:pt x="12016" y="4349"/>
                  </a:lnTo>
                  <a:lnTo>
                    <a:pt x="11412" y="4349"/>
                  </a:lnTo>
                  <a:lnTo>
                    <a:pt x="11403" y="4346"/>
                  </a:lnTo>
                  <a:lnTo>
                    <a:pt x="11397" y="4341"/>
                  </a:lnTo>
                  <a:lnTo>
                    <a:pt x="11388" y="4334"/>
                  </a:lnTo>
                  <a:lnTo>
                    <a:pt x="11385" y="4329"/>
                  </a:lnTo>
                  <a:lnTo>
                    <a:pt x="11385" y="4323"/>
                  </a:lnTo>
                  <a:lnTo>
                    <a:pt x="11385" y="3936"/>
                  </a:lnTo>
                  <a:lnTo>
                    <a:pt x="11346" y="3930"/>
                  </a:lnTo>
                  <a:lnTo>
                    <a:pt x="11307" y="3924"/>
                  </a:lnTo>
                  <a:lnTo>
                    <a:pt x="11271" y="3913"/>
                  </a:lnTo>
                  <a:lnTo>
                    <a:pt x="11235" y="3898"/>
                  </a:lnTo>
                  <a:lnTo>
                    <a:pt x="11202" y="3881"/>
                  </a:lnTo>
                  <a:lnTo>
                    <a:pt x="11171" y="3860"/>
                  </a:lnTo>
                  <a:lnTo>
                    <a:pt x="11142" y="3837"/>
                  </a:lnTo>
                  <a:lnTo>
                    <a:pt x="11115" y="3811"/>
                  </a:lnTo>
                  <a:lnTo>
                    <a:pt x="11090" y="3783"/>
                  </a:lnTo>
                  <a:lnTo>
                    <a:pt x="11069" y="3753"/>
                  </a:lnTo>
                  <a:lnTo>
                    <a:pt x="11049" y="3721"/>
                  </a:lnTo>
                  <a:lnTo>
                    <a:pt x="11034" y="3686"/>
                  </a:lnTo>
                  <a:lnTo>
                    <a:pt x="11021" y="3650"/>
                  </a:lnTo>
                  <a:lnTo>
                    <a:pt x="11011" y="3613"/>
                  </a:lnTo>
                  <a:lnTo>
                    <a:pt x="11006" y="3575"/>
                  </a:lnTo>
                  <a:lnTo>
                    <a:pt x="11005" y="3535"/>
                  </a:lnTo>
                  <a:lnTo>
                    <a:pt x="11006" y="3494"/>
                  </a:lnTo>
                  <a:lnTo>
                    <a:pt x="11012" y="3453"/>
                  </a:lnTo>
                  <a:lnTo>
                    <a:pt x="11022" y="3415"/>
                  </a:lnTo>
                  <a:lnTo>
                    <a:pt x="11035" y="3379"/>
                  </a:lnTo>
                  <a:lnTo>
                    <a:pt x="11052" y="3343"/>
                  </a:lnTo>
                  <a:lnTo>
                    <a:pt x="11072" y="3310"/>
                  </a:lnTo>
                  <a:lnTo>
                    <a:pt x="11096" y="3280"/>
                  </a:lnTo>
                  <a:lnTo>
                    <a:pt x="11121" y="3251"/>
                  </a:lnTo>
                  <a:lnTo>
                    <a:pt x="11151" y="3226"/>
                  </a:lnTo>
                  <a:lnTo>
                    <a:pt x="11181" y="3203"/>
                  </a:lnTo>
                  <a:lnTo>
                    <a:pt x="11214" y="3182"/>
                  </a:lnTo>
                  <a:lnTo>
                    <a:pt x="11249" y="3166"/>
                  </a:lnTo>
                  <a:lnTo>
                    <a:pt x="11287" y="3152"/>
                  </a:lnTo>
                  <a:lnTo>
                    <a:pt x="11325" y="3143"/>
                  </a:lnTo>
                  <a:lnTo>
                    <a:pt x="11365" y="3136"/>
                  </a:lnTo>
                  <a:lnTo>
                    <a:pt x="11406" y="3134"/>
                  </a:lnTo>
                  <a:lnTo>
                    <a:pt x="11447" y="3136"/>
                  </a:lnTo>
                  <a:lnTo>
                    <a:pt x="11487" y="3143"/>
                  </a:lnTo>
                  <a:lnTo>
                    <a:pt x="11525" y="3152"/>
                  </a:lnTo>
                  <a:lnTo>
                    <a:pt x="11562" y="3166"/>
                  </a:lnTo>
                  <a:lnTo>
                    <a:pt x="11597" y="3182"/>
                  </a:lnTo>
                  <a:lnTo>
                    <a:pt x="11630" y="3203"/>
                  </a:lnTo>
                  <a:lnTo>
                    <a:pt x="11661" y="3226"/>
                  </a:lnTo>
                  <a:lnTo>
                    <a:pt x="11689" y="3251"/>
                  </a:lnTo>
                  <a:lnTo>
                    <a:pt x="11716" y="3280"/>
                  </a:lnTo>
                  <a:lnTo>
                    <a:pt x="11739" y="3310"/>
                  </a:lnTo>
                  <a:lnTo>
                    <a:pt x="11759" y="3343"/>
                  </a:lnTo>
                  <a:lnTo>
                    <a:pt x="11775" y="3379"/>
                  </a:lnTo>
                  <a:lnTo>
                    <a:pt x="11789" y="3415"/>
                  </a:lnTo>
                  <a:lnTo>
                    <a:pt x="11800" y="3453"/>
                  </a:lnTo>
                  <a:lnTo>
                    <a:pt x="11805" y="3494"/>
                  </a:lnTo>
                  <a:lnTo>
                    <a:pt x="11807" y="3535"/>
                  </a:lnTo>
                  <a:lnTo>
                    <a:pt x="11806" y="3575"/>
                  </a:lnTo>
                  <a:lnTo>
                    <a:pt x="11800" y="3613"/>
                  </a:lnTo>
                  <a:lnTo>
                    <a:pt x="11791" y="3650"/>
                  </a:lnTo>
                  <a:lnTo>
                    <a:pt x="11778" y="3686"/>
                  </a:lnTo>
                  <a:lnTo>
                    <a:pt x="11761" y="3721"/>
                  </a:lnTo>
                  <a:lnTo>
                    <a:pt x="11743" y="3753"/>
                  </a:lnTo>
                  <a:lnTo>
                    <a:pt x="11720" y="3783"/>
                  </a:lnTo>
                  <a:lnTo>
                    <a:pt x="11696" y="3811"/>
                  </a:lnTo>
                  <a:lnTo>
                    <a:pt x="11669" y="3837"/>
                  </a:lnTo>
                  <a:lnTo>
                    <a:pt x="11639" y="3860"/>
                  </a:lnTo>
                  <a:lnTo>
                    <a:pt x="11608" y="3881"/>
                  </a:lnTo>
                  <a:lnTo>
                    <a:pt x="11575" y="3898"/>
                  </a:lnTo>
                  <a:lnTo>
                    <a:pt x="11539" y="3913"/>
                  </a:lnTo>
                  <a:lnTo>
                    <a:pt x="11502" y="3924"/>
                  </a:lnTo>
                  <a:lnTo>
                    <a:pt x="11465" y="3932"/>
                  </a:lnTo>
                  <a:lnTo>
                    <a:pt x="11425" y="3936"/>
                  </a:lnTo>
                  <a:lnTo>
                    <a:pt x="11425" y="4205"/>
                  </a:lnTo>
                  <a:lnTo>
                    <a:pt x="11443" y="4178"/>
                  </a:lnTo>
                  <a:lnTo>
                    <a:pt x="11464" y="4153"/>
                  </a:lnTo>
                  <a:lnTo>
                    <a:pt x="11488" y="4130"/>
                  </a:lnTo>
                  <a:lnTo>
                    <a:pt x="11516" y="4108"/>
                  </a:lnTo>
                  <a:lnTo>
                    <a:pt x="11549" y="4090"/>
                  </a:lnTo>
                  <a:lnTo>
                    <a:pt x="11585" y="4076"/>
                  </a:lnTo>
                  <a:lnTo>
                    <a:pt x="11625" y="4067"/>
                  </a:lnTo>
                  <a:lnTo>
                    <a:pt x="11646" y="4065"/>
                  </a:lnTo>
                  <a:lnTo>
                    <a:pt x="11669" y="4065"/>
                  </a:lnTo>
                  <a:lnTo>
                    <a:pt x="11685" y="4066"/>
                  </a:lnTo>
                  <a:lnTo>
                    <a:pt x="11702" y="4069"/>
                  </a:lnTo>
                  <a:lnTo>
                    <a:pt x="11719" y="4074"/>
                  </a:lnTo>
                  <a:lnTo>
                    <a:pt x="11734" y="4080"/>
                  </a:lnTo>
                  <a:lnTo>
                    <a:pt x="11766" y="4092"/>
                  </a:lnTo>
                  <a:lnTo>
                    <a:pt x="11783" y="4095"/>
                  </a:lnTo>
                  <a:lnTo>
                    <a:pt x="11800" y="4097"/>
                  </a:lnTo>
                  <a:lnTo>
                    <a:pt x="11814" y="4095"/>
                  </a:lnTo>
                  <a:lnTo>
                    <a:pt x="11825" y="4090"/>
                  </a:lnTo>
                  <a:lnTo>
                    <a:pt x="11837" y="4084"/>
                  </a:lnTo>
                  <a:lnTo>
                    <a:pt x="11847" y="4076"/>
                  </a:lnTo>
                  <a:lnTo>
                    <a:pt x="11847" y="3213"/>
                  </a:lnTo>
                  <a:lnTo>
                    <a:pt x="11833" y="3208"/>
                  </a:lnTo>
                  <a:lnTo>
                    <a:pt x="11820" y="3199"/>
                  </a:lnTo>
                  <a:lnTo>
                    <a:pt x="11796" y="3182"/>
                  </a:lnTo>
                  <a:lnTo>
                    <a:pt x="11784" y="3173"/>
                  </a:lnTo>
                  <a:lnTo>
                    <a:pt x="11771" y="3167"/>
                  </a:lnTo>
                  <a:lnTo>
                    <a:pt x="11757" y="3163"/>
                  </a:lnTo>
                  <a:lnTo>
                    <a:pt x="11742" y="3163"/>
                  </a:lnTo>
                  <a:lnTo>
                    <a:pt x="11696" y="3170"/>
                  </a:lnTo>
                  <a:lnTo>
                    <a:pt x="11678" y="3172"/>
                  </a:lnTo>
                  <a:lnTo>
                    <a:pt x="11661" y="3171"/>
                  </a:lnTo>
                  <a:lnTo>
                    <a:pt x="11646" y="3166"/>
                  </a:lnTo>
                  <a:lnTo>
                    <a:pt x="11632" y="3156"/>
                  </a:lnTo>
                  <a:lnTo>
                    <a:pt x="11624" y="3148"/>
                  </a:lnTo>
                  <a:lnTo>
                    <a:pt x="11617" y="3139"/>
                  </a:lnTo>
                  <a:lnTo>
                    <a:pt x="11602" y="3115"/>
                  </a:lnTo>
                  <a:lnTo>
                    <a:pt x="11591" y="3093"/>
                  </a:lnTo>
                  <a:lnTo>
                    <a:pt x="11580" y="3079"/>
                  </a:lnTo>
                  <a:lnTo>
                    <a:pt x="11570" y="3070"/>
                  </a:lnTo>
                  <a:lnTo>
                    <a:pt x="11561" y="3065"/>
                  </a:lnTo>
                  <a:lnTo>
                    <a:pt x="11537" y="3060"/>
                  </a:lnTo>
                  <a:lnTo>
                    <a:pt x="11520" y="3055"/>
                  </a:lnTo>
                  <a:lnTo>
                    <a:pt x="11498" y="3047"/>
                  </a:lnTo>
                  <a:lnTo>
                    <a:pt x="11475" y="3033"/>
                  </a:lnTo>
                  <a:lnTo>
                    <a:pt x="11467" y="3024"/>
                  </a:lnTo>
                  <a:lnTo>
                    <a:pt x="11462" y="3015"/>
                  </a:lnTo>
                  <a:lnTo>
                    <a:pt x="11456" y="2996"/>
                  </a:lnTo>
                  <a:lnTo>
                    <a:pt x="11453" y="2974"/>
                  </a:lnTo>
                  <a:lnTo>
                    <a:pt x="11453" y="2953"/>
                  </a:lnTo>
                  <a:lnTo>
                    <a:pt x="11451" y="2933"/>
                  </a:lnTo>
                  <a:lnTo>
                    <a:pt x="11446" y="2913"/>
                  </a:lnTo>
                  <a:lnTo>
                    <a:pt x="11440" y="2904"/>
                  </a:lnTo>
                  <a:lnTo>
                    <a:pt x="11434" y="2896"/>
                  </a:lnTo>
                  <a:lnTo>
                    <a:pt x="11399" y="2864"/>
                  </a:lnTo>
                  <a:lnTo>
                    <a:pt x="11387" y="2851"/>
                  </a:lnTo>
                  <a:lnTo>
                    <a:pt x="11376" y="2837"/>
                  </a:lnTo>
                  <a:lnTo>
                    <a:pt x="11371" y="2823"/>
                  </a:lnTo>
                  <a:lnTo>
                    <a:pt x="11370" y="2805"/>
                  </a:lnTo>
                  <a:lnTo>
                    <a:pt x="11375" y="2783"/>
                  </a:lnTo>
                  <a:lnTo>
                    <a:pt x="11384" y="2757"/>
                  </a:lnTo>
                  <a:lnTo>
                    <a:pt x="11394" y="2734"/>
                  </a:lnTo>
                  <a:lnTo>
                    <a:pt x="11398" y="2722"/>
                  </a:lnTo>
                  <a:lnTo>
                    <a:pt x="11401" y="2711"/>
                  </a:lnTo>
                  <a:lnTo>
                    <a:pt x="11397" y="2689"/>
                  </a:lnTo>
                  <a:lnTo>
                    <a:pt x="11389" y="2670"/>
                  </a:lnTo>
                  <a:lnTo>
                    <a:pt x="11380" y="2650"/>
                  </a:lnTo>
                  <a:lnTo>
                    <a:pt x="11373" y="2633"/>
                  </a:lnTo>
                  <a:lnTo>
                    <a:pt x="11369" y="2613"/>
                  </a:lnTo>
                  <a:lnTo>
                    <a:pt x="11373" y="2593"/>
                  </a:lnTo>
                  <a:lnTo>
                    <a:pt x="11378" y="2581"/>
                  </a:lnTo>
                  <a:lnTo>
                    <a:pt x="11387" y="2570"/>
                  </a:lnTo>
                  <a:lnTo>
                    <a:pt x="11412" y="2543"/>
                  </a:lnTo>
                  <a:lnTo>
                    <a:pt x="11430" y="2526"/>
                  </a:lnTo>
                  <a:lnTo>
                    <a:pt x="11442" y="2512"/>
                  </a:lnTo>
                  <a:lnTo>
                    <a:pt x="11448" y="2502"/>
                  </a:lnTo>
                  <a:lnTo>
                    <a:pt x="11451" y="2492"/>
                  </a:lnTo>
                  <a:lnTo>
                    <a:pt x="11452" y="2466"/>
                  </a:lnTo>
                  <a:lnTo>
                    <a:pt x="11456" y="2427"/>
                  </a:lnTo>
                  <a:lnTo>
                    <a:pt x="11460" y="2413"/>
                  </a:lnTo>
                  <a:lnTo>
                    <a:pt x="11465" y="2401"/>
                  </a:lnTo>
                  <a:lnTo>
                    <a:pt x="11471" y="2392"/>
                  </a:lnTo>
                  <a:lnTo>
                    <a:pt x="11479" y="2384"/>
                  </a:lnTo>
                  <a:lnTo>
                    <a:pt x="11497" y="2374"/>
                  </a:lnTo>
                  <a:lnTo>
                    <a:pt x="11516" y="2368"/>
                  </a:lnTo>
                  <a:lnTo>
                    <a:pt x="11537" y="2363"/>
                  </a:lnTo>
                  <a:lnTo>
                    <a:pt x="11557" y="2356"/>
                  </a:lnTo>
                  <a:lnTo>
                    <a:pt x="11566" y="2351"/>
                  </a:lnTo>
                  <a:lnTo>
                    <a:pt x="11575" y="2346"/>
                  </a:lnTo>
                  <a:lnTo>
                    <a:pt x="11582" y="2340"/>
                  </a:lnTo>
                  <a:lnTo>
                    <a:pt x="11589" y="2331"/>
                  </a:lnTo>
                  <a:lnTo>
                    <a:pt x="11612" y="2291"/>
                  </a:lnTo>
                  <a:lnTo>
                    <a:pt x="11623" y="2275"/>
                  </a:lnTo>
                  <a:lnTo>
                    <a:pt x="11633" y="2263"/>
                  </a:lnTo>
                  <a:lnTo>
                    <a:pt x="11647" y="2254"/>
                  </a:lnTo>
                  <a:lnTo>
                    <a:pt x="11664" y="2249"/>
                  </a:lnTo>
                  <a:lnTo>
                    <a:pt x="11685" y="2248"/>
                  </a:lnTo>
                  <a:lnTo>
                    <a:pt x="11714" y="2251"/>
                  </a:lnTo>
                  <a:lnTo>
                    <a:pt x="11743" y="2257"/>
                  </a:lnTo>
                  <a:lnTo>
                    <a:pt x="11762" y="2257"/>
                  </a:lnTo>
                  <a:lnTo>
                    <a:pt x="11780" y="2249"/>
                  </a:lnTo>
                  <a:lnTo>
                    <a:pt x="11805" y="2231"/>
                  </a:lnTo>
                  <a:lnTo>
                    <a:pt x="11832" y="2213"/>
                  </a:lnTo>
                  <a:lnTo>
                    <a:pt x="11848" y="2207"/>
                  </a:lnTo>
                  <a:lnTo>
                    <a:pt x="11866" y="2204"/>
                  </a:lnTo>
                  <a:lnTo>
                    <a:pt x="11885" y="2207"/>
                  </a:lnTo>
                  <a:lnTo>
                    <a:pt x="11901" y="2213"/>
                  </a:lnTo>
                  <a:lnTo>
                    <a:pt x="11916" y="2222"/>
                  </a:lnTo>
                  <a:lnTo>
                    <a:pt x="11930" y="2232"/>
                  </a:lnTo>
                  <a:lnTo>
                    <a:pt x="11943" y="2243"/>
                  </a:lnTo>
                  <a:lnTo>
                    <a:pt x="11959" y="2251"/>
                  </a:lnTo>
                  <a:lnTo>
                    <a:pt x="11974" y="2257"/>
                  </a:lnTo>
                  <a:lnTo>
                    <a:pt x="11992" y="2257"/>
                  </a:lnTo>
                  <a:lnTo>
                    <a:pt x="12037" y="2250"/>
                  </a:lnTo>
                  <a:lnTo>
                    <a:pt x="12056" y="2248"/>
                  </a:lnTo>
                  <a:lnTo>
                    <a:pt x="12073" y="2249"/>
                  </a:lnTo>
                  <a:lnTo>
                    <a:pt x="12088" y="2254"/>
                  </a:lnTo>
                  <a:lnTo>
                    <a:pt x="12102" y="2264"/>
                  </a:lnTo>
                  <a:lnTo>
                    <a:pt x="12109" y="2272"/>
                  </a:lnTo>
                  <a:lnTo>
                    <a:pt x="12116" y="2281"/>
                  </a:lnTo>
                  <a:lnTo>
                    <a:pt x="12130" y="2305"/>
                  </a:lnTo>
                  <a:lnTo>
                    <a:pt x="12143" y="2327"/>
                  </a:lnTo>
                  <a:lnTo>
                    <a:pt x="12153" y="2341"/>
                  </a:lnTo>
                  <a:lnTo>
                    <a:pt x="12162" y="2350"/>
                  </a:lnTo>
                  <a:lnTo>
                    <a:pt x="12173" y="2355"/>
                  </a:lnTo>
                  <a:lnTo>
                    <a:pt x="12197" y="2360"/>
                  </a:lnTo>
                  <a:lnTo>
                    <a:pt x="12214" y="2365"/>
                  </a:lnTo>
                  <a:lnTo>
                    <a:pt x="12234" y="2373"/>
                  </a:lnTo>
                  <a:lnTo>
                    <a:pt x="12257" y="2388"/>
                  </a:lnTo>
                  <a:lnTo>
                    <a:pt x="12265" y="2396"/>
                  </a:lnTo>
                  <a:lnTo>
                    <a:pt x="12271" y="2405"/>
                  </a:lnTo>
                  <a:lnTo>
                    <a:pt x="12278" y="2425"/>
                  </a:lnTo>
                  <a:lnTo>
                    <a:pt x="12279" y="2446"/>
                  </a:lnTo>
                  <a:lnTo>
                    <a:pt x="12280" y="2466"/>
                  </a:lnTo>
                  <a:lnTo>
                    <a:pt x="12282" y="2488"/>
                  </a:lnTo>
                  <a:lnTo>
                    <a:pt x="12287" y="2507"/>
                  </a:lnTo>
                  <a:lnTo>
                    <a:pt x="12292" y="2516"/>
                  </a:lnTo>
                  <a:lnTo>
                    <a:pt x="12300" y="2524"/>
                  </a:lnTo>
                  <a:lnTo>
                    <a:pt x="12333" y="2556"/>
                  </a:lnTo>
                  <a:lnTo>
                    <a:pt x="12347" y="2569"/>
                  </a:lnTo>
                  <a:lnTo>
                    <a:pt x="12356" y="2583"/>
                  </a:lnTo>
                  <a:lnTo>
                    <a:pt x="12361" y="2598"/>
                  </a:lnTo>
                  <a:lnTo>
                    <a:pt x="12362" y="2615"/>
                  </a:lnTo>
                  <a:lnTo>
                    <a:pt x="12359" y="2636"/>
                  </a:lnTo>
                  <a:lnTo>
                    <a:pt x="12348" y="2663"/>
                  </a:lnTo>
                  <a:lnTo>
                    <a:pt x="12337" y="2690"/>
                  </a:lnTo>
                  <a:lnTo>
                    <a:pt x="12333" y="2711"/>
                  </a:lnTo>
                  <a:lnTo>
                    <a:pt x="12336" y="2731"/>
                  </a:lnTo>
                  <a:lnTo>
                    <a:pt x="12343" y="2750"/>
                  </a:lnTo>
                  <a:lnTo>
                    <a:pt x="12352" y="2769"/>
                  </a:lnTo>
                  <a:lnTo>
                    <a:pt x="12360" y="2787"/>
                  </a:lnTo>
                  <a:lnTo>
                    <a:pt x="12364" y="2806"/>
                  </a:lnTo>
                  <a:lnTo>
                    <a:pt x="12360" y="2828"/>
                  </a:lnTo>
                  <a:lnTo>
                    <a:pt x="12355" y="2838"/>
                  </a:lnTo>
                  <a:lnTo>
                    <a:pt x="12347" y="2851"/>
                  </a:lnTo>
                  <a:lnTo>
                    <a:pt x="12321" y="2877"/>
                  </a:lnTo>
                  <a:lnTo>
                    <a:pt x="12302" y="2893"/>
                  </a:lnTo>
                  <a:lnTo>
                    <a:pt x="12291" y="2907"/>
                  </a:lnTo>
                  <a:lnTo>
                    <a:pt x="12284" y="2918"/>
                  </a:lnTo>
                  <a:lnTo>
                    <a:pt x="12282" y="2929"/>
                  </a:lnTo>
                  <a:lnTo>
                    <a:pt x="12282" y="2953"/>
                  </a:lnTo>
                  <a:lnTo>
                    <a:pt x="12278" y="2993"/>
                  </a:lnTo>
                  <a:lnTo>
                    <a:pt x="12274" y="3007"/>
                  </a:lnTo>
                  <a:lnTo>
                    <a:pt x="12269" y="3019"/>
                  </a:lnTo>
                  <a:lnTo>
                    <a:pt x="12262" y="3028"/>
                  </a:lnTo>
                  <a:lnTo>
                    <a:pt x="12255" y="3035"/>
                  </a:lnTo>
                  <a:lnTo>
                    <a:pt x="12237" y="3046"/>
                  </a:lnTo>
                  <a:lnTo>
                    <a:pt x="12216" y="3053"/>
                  </a:lnTo>
                  <a:lnTo>
                    <a:pt x="12196" y="3058"/>
                  </a:lnTo>
                  <a:lnTo>
                    <a:pt x="12177" y="3065"/>
                  </a:lnTo>
                  <a:lnTo>
                    <a:pt x="12168" y="3069"/>
                  </a:lnTo>
                  <a:lnTo>
                    <a:pt x="12159" y="3074"/>
                  </a:lnTo>
                  <a:lnTo>
                    <a:pt x="12151" y="3081"/>
                  </a:lnTo>
                  <a:lnTo>
                    <a:pt x="12144" y="3089"/>
                  </a:lnTo>
                  <a:lnTo>
                    <a:pt x="12121" y="3130"/>
                  </a:lnTo>
                  <a:lnTo>
                    <a:pt x="12111" y="3145"/>
                  </a:lnTo>
                  <a:lnTo>
                    <a:pt x="12100" y="3158"/>
                  </a:lnTo>
                  <a:lnTo>
                    <a:pt x="12087" y="3167"/>
                  </a:lnTo>
                  <a:lnTo>
                    <a:pt x="12070" y="3171"/>
                  </a:lnTo>
                  <a:lnTo>
                    <a:pt x="12048" y="3172"/>
                  </a:lnTo>
                  <a:lnTo>
                    <a:pt x="12020" y="3168"/>
                  </a:lnTo>
                  <a:lnTo>
                    <a:pt x="11989" y="3163"/>
                  </a:lnTo>
                  <a:lnTo>
                    <a:pt x="11971" y="3163"/>
                  </a:lnTo>
                  <a:lnTo>
                    <a:pt x="11953" y="3172"/>
                  </a:lnTo>
                  <a:lnTo>
                    <a:pt x="11929" y="3189"/>
                  </a:lnTo>
                  <a:lnTo>
                    <a:pt x="11910" y="3202"/>
                  </a:lnTo>
                  <a:lnTo>
                    <a:pt x="11887" y="3213"/>
                  </a:lnTo>
                  <a:lnTo>
                    <a:pt x="11887" y="4017"/>
                  </a:lnTo>
                  <a:lnTo>
                    <a:pt x="11933" y="3925"/>
                  </a:lnTo>
                  <a:lnTo>
                    <a:pt x="11961" y="3877"/>
                  </a:lnTo>
                  <a:lnTo>
                    <a:pt x="11994" y="3829"/>
                  </a:lnTo>
                  <a:lnTo>
                    <a:pt x="12014" y="3808"/>
                  </a:lnTo>
                  <a:lnTo>
                    <a:pt x="12035" y="3787"/>
                  </a:lnTo>
                  <a:lnTo>
                    <a:pt x="12060" y="3769"/>
                  </a:lnTo>
                  <a:lnTo>
                    <a:pt x="12073" y="3762"/>
                  </a:lnTo>
                  <a:lnTo>
                    <a:pt x="12085" y="3754"/>
                  </a:lnTo>
                  <a:lnTo>
                    <a:pt x="12115" y="3741"/>
                  </a:lnTo>
                  <a:lnTo>
                    <a:pt x="12148" y="3731"/>
                  </a:lnTo>
                  <a:lnTo>
                    <a:pt x="12184" y="3725"/>
                  </a:lnTo>
                  <a:lnTo>
                    <a:pt x="12224" y="3723"/>
                  </a:lnTo>
                  <a:lnTo>
                    <a:pt x="12283" y="3727"/>
                  </a:lnTo>
                  <a:lnTo>
                    <a:pt x="12341" y="3739"/>
                  </a:lnTo>
                  <a:lnTo>
                    <a:pt x="12368" y="3748"/>
                  </a:lnTo>
                  <a:lnTo>
                    <a:pt x="12395" y="3758"/>
                  </a:lnTo>
                  <a:lnTo>
                    <a:pt x="12420" y="3769"/>
                  </a:lnTo>
                  <a:lnTo>
                    <a:pt x="12446" y="3782"/>
                  </a:lnTo>
                  <a:lnTo>
                    <a:pt x="12446" y="3681"/>
                  </a:lnTo>
                  <a:lnTo>
                    <a:pt x="12447" y="3672"/>
                  </a:lnTo>
                  <a:lnTo>
                    <a:pt x="12452" y="3666"/>
                  </a:lnTo>
                  <a:lnTo>
                    <a:pt x="12459" y="3662"/>
                  </a:lnTo>
                  <a:lnTo>
                    <a:pt x="12465" y="3661"/>
                  </a:lnTo>
                  <a:lnTo>
                    <a:pt x="12473" y="3662"/>
                  </a:lnTo>
                  <a:lnTo>
                    <a:pt x="12479" y="3666"/>
                  </a:lnTo>
                  <a:lnTo>
                    <a:pt x="12484" y="3672"/>
                  </a:lnTo>
                  <a:lnTo>
                    <a:pt x="12486" y="3681"/>
                  </a:lnTo>
                  <a:close/>
                  <a:moveTo>
                    <a:pt x="12630" y="4171"/>
                  </a:moveTo>
                  <a:lnTo>
                    <a:pt x="12628" y="4130"/>
                  </a:lnTo>
                  <a:lnTo>
                    <a:pt x="12621" y="4089"/>
                  </a:lnTo>
                  <a:lnTo>
                    <a:pt x="12613" y="4051"/>
                  </a:lnTo>
                  <a:lnTo>
                    <a:pt x="12598" y="4012"/>
                  </a:lnTo>
                  <a:lnTo>
                    <a:pt x="12582" y="3976"/>
                  </a:lnTo>
                  <a:lnTo>
                    <a:pt x="12561" y="3943"/>
                  </a:lnTo>
                  <a:lnTo>
                    <a:pt x="12537" y="3911"/>
                  </a:lnTo>
                  <a:lnTo>
                    <a:pt x="12511" y="3883"/>
                  </a:lnTo>
                  <a:lnTo>
                    <a:pt x="12482" y="3856"/>
                  </a:lnTo>
                  <a:lnTo>
                    <a:pt x="12451" y="3833"/>
                  </a:lnTo>
                  <a:lnTo>
                    <a:pt x="12418" y="3813"/>
                  </a:lnTo>
                  <a:lnTo>
                    <a:pt x="12382" y="3795"/>
                  </a:lnTo>
                  <a:lnTo>
                    <a:pt x="12345" y="3781"/>
                  </a:lnTo>
                  <a:lnTo>
                    <a:pt x="12306" y="3772"/>
                  </a:lnTo>
                  <a:lnTo>
                    <a:pt x="12265" y="3765"/>
                  </a:lnTo>
                  <a:lnTo>
                    <a:pt x="12224" y="3763"/>
                  </a:lnTo>
                  <a:lnTo>
                    <a:pt x="12197" y="3764"/>
                  </a:lnTo>
                  <a:lnTo>
                    <a:pt x="12173" y="3767"/>
                  </a:lnTo>
                  <a:lnTo>
                    <a:pt x="12150" y="3772"/>
                  </a:lnTo>
                  <a:lnTo>
                    <a:pt x="12128" y="3780"/>
                  </a:lnTo>
                  <a:lnTo>
                    <a:pt x="12089" y="3797"/>
                  </a:lnTo>
                  <a:lnTo>
                    <a:pt x="12073" y="3809"/>
                  </a:lnTo>
                  <a:lnTo>
                    <a:pt x="12057" y="3822"/>
                  </a:lnTo>
                  <a:lnTo>
                    <a:pt x="12029" y="3850"/>
                  </a:lnTo>
                  <a:lnTo>
                    <a:pt x="12005" y="3881"/>
                  </a:lnTo>
                  <a:lnTo>
                    <a:pt x="11984" y="3915"/>
                  </a:lnTo>
                  <a:lnTo>
                    <a:pt x="11965" y="3950"/>
                  </a:lnTo>
                  <a:lnTo>
                    <a:pt x="11932" y="4017"/>
                  </a:lnTo>
                  <a:lnTo>
                    <a:pt x="11915" y="4049"/>
                  </a:lnTo>
                  <a:lnTo>
                    <a:pt x="11897" y="4077"/>
                  </a:lnTo>
                  <a:lnTo>
                    <a:pt x="11878" y="4102"/>
                  </a:lnTo>
                  <a:lnTo>
                    <a:pt x="11866" y="4112"/>
                  </a:lnTo>
                  <a:lnTo>
                    <a:pt x="11855" y="4120"/>
                  </a:lnTo>
                  <a:lnTo>
                    <a:pt x="11843" y="4127"/>
                  </a:lnTo>
                  <a:lnTo>
                    <a:pt x="11830" y="4132"/>
                  </a:lnTo>
                  <a:lnTo>
                    <a:pt x="11800" y="4136"/>
                  </a:lnTo>
                  <a:lnTo>
                    <a:pt x="11783" y="4135"/>
                  </a:lnTo>
                  <a:lnTo>
                    <a:pt x="11766" y="4131"/>
                  </a:lnTo>
                  <a:lnTo>
                    <a:pt x="11750" y="4126"/>
                  </a:lnTo>
                  <a:lnTo>
                    <a:pt x="11734" y="4120"/>
                  </a:lnTo>
                  <a:lnTo>
                    <a:pt x="11702" y="4109"/>
                  </a:lnTo>
                  <a:lnTo>
                    <a:pt x="11685" y="4106"/>
                  </a:lnTo>
                  <a:lnTo>
                    <a:pt x="11669" y="4104"/>
                  </a:lnTo>
                  <a:lnTo>
                    <a:pt x="11625" y="4108"/>
                  </a:lnTo>
                  <a:lnTo>
                    <a:pt x="11603" y="4112"/>
                  </a:lnTo>
                  <a:lnTo>
                    <a:pt x="11584" y="4118"/>
                  </a:lnTo>
                  <a:lnTo>
                    <a:pt x="11565" y="4127"/>
                  </a:lnTo>
                  <a:lnTo>
                    <a:pt x="11546" y="4136"/>
                  </a:lnTo>
                  <a:lnTo>
                    <a:pt x="11529" y="4148"/>
                  </a:lnTo>
                  <a:lnTo>
                    <a:pt x="11512" y="4161"/>
                  </a:lnTo>
                  <a:lnTo>
                    <a:pt x="11498" y="4175"/>
                  </a:lnTo>
                  <a:lnTo>
                    <a:pt x="11484" y="4190"/>
                  </a:lnTo>
                  <a:lnTo>
                    <a:pt x="11471" y="4208"/>
                  </a:lnTo>
                  <a:lnTo>
                    <a:pt x="11461" y="4226"/>
                  </a:lnTo>
                  <a:lnTo>
                    <a:pt x="11452" y="4245"/>
                  </a:lnTo>
                  <a:lnTo>
                    <a:pt x="11444" y="4265"/>
                  </a:lnTo>
                  <a:lnTo>
                    <a:pt x="11438" y="4286"/>
                  </a:lnTo>
                  <a:lnTo>
                    <a:pt x="11434" y="4309"/>
                  </a:lnTo>
                  <a:lnTo>
                    <a:pt x="12171" y="4309"/>
                  </a:lnTo>
                  <a:lnTo>
                    <a:pt x="12177" y="4305"/>
                  </a:lnTo>
                  <a:lnTo>
                    <a:pt x="12184" y="4304"/>
                  </a:lnTo>
                  <a:lnTo>
                    <a:pt x="12609" y="4304"/>
                  </a:lnTo>
                  <a:lnTo>
                    <a:pt x="12618" y="4271"/>
                  </a:lnTo>
                  <a:lnTo>
                    <a:pt x="12625" y="4239"/>
                  </a:lnTo>
                  <a:lnTo>
                    <a:pt x="12629" y="4204"/>
                  </a:lnTo>
                  <a:lnTo>
                    <a:pt x="12630" y="4171"/>
                  </a:lnTo>
                  <a:close/>
                  <a:moveTo>
                    <a:pt x="11425" y="3810"/>
                  </a:moveTo>
                  <a:lnTo>
                    <a:pt x="11524" y="3712"/>
                  </a:lnTo>
                  <a:lnTo>
                    <a:pt x="11532" y="3707"/>
                  </a:lnTo>
                  <a:lnTo>
                    <a:pt x="11539" y="3705"/>
                  </a:lnTo>
                  <a:lnTo>
                    <a:pt x="11547" y="3707"/>
                  </a:lnTo>
                  <a:lnTo>
                    <a:pt x="11553" y="3712"/>
                  </a:lnTo>
                  <a:lnTo>
                    <a:pt x="11557" y="3717"/>
                  </a:lnTo>
                  <a:lnTo>
                    <a:pt x="11558" y="3725"/>
                  </a:lnTo>
                  <a:lnTo>
                    <a:pt x="11557" y="3732"/>
                  </a:lnTo>
                  <a:lnTo>
                    <a:pt x="11553" y="3740"/>
                  </a:lnTo>
                  <a:lnTo>
                    <a:pt x="11426" y="3866"/>
                  </a:lnTo>
                  <a:lnTo>
                    <a:pt x="11425" y="3895"/>
                  </a:lnTo>
                  <a:lnTo>
                    <a:pt x="11460" y="3892"/>
                  </a:lnTo>
                  <a:lnTo>
                    <a:pt x="11494" y="3884"/>
                  </a:lnTo>
                  <a:lnTo>
                    <a:pt x="11528" y="3874"/>
                  </a:lnTo>
                  <a:lnTo>
                    <a:pt x="11558" y="3861"/>
                  </a:lnTo>
                  <a:lnTo>
                    <a:pt x="11589" y="3846"/>
                  </a:lnTo>
                  <a:lnTo>
                    <a:pt x="11617" y="3828"/>
                  </a:lnTo>
                  <a:lnTo>
                    <a:pt x="11643" y="3806"/>
                  </a:lnTo>
                  <a:lnTo>
                    <a:pt x="11667" y="3783"/>
                  </a:lnTo>
                  <a:lnTo>
                    <a:pt x="11689" y="3758"/>
                  </a:lnTo>
                  <a:lnTo>
                    <a:pt x="11710" y="3731"/>
                  </a:lnTo>
                  <a:lnTo>
                    <a:pt x="11726" y="3702"/>
                  </a:lnTo>
                  <a:lnTo>
                    <a:pt x="11741" y="3671"/>
                  </a:lnTo>
                  <a:lnTo>
                    <a:pt x="11752" y="3639"/>
                  </a:lnTo>
                  <a:lnTo>
                    <a:pt x="11761" y="3606"/>
                  </a:lnTo>
                  <a:lnTo>
                    <a:pt x="11766" y="3571"/>
                  </a:lnTo>
                  <a:lnTo>
                    <a:pt x="11767" y="3535"/>
                  </a:lnTo>
                  <a:lnTo>
                    <a:pt x="11765" y="3498"/>
                  </a:lnTo>
                  <a:lnTo>
                    <a:pt x="11760" y="3462"/>
                  </a:lnTo>
                  <a:lnTo>
                    <a:pt x="11751" y="3428"/>
                  </a:lnTo>
                  <a:lnTo>
                    <a:pt x="11739" y="3395"/>
                  </a:lnTo>
                  <a:lnTo>
                    <a:pt x="11724" y="3363"/>
                  </a:lnTo>
                  <a:lnTo>
                    <a:pt x="11706" y="3333"/>
                  </a:lnTo>
                  <a:lnTo>
                    <a:pt x="11684" y="3305"/>
                  </a:lnTo>
                  <a:lnTo>
                    <a:pt x="11661" y="3280"/>
                  </a:lnTo>
                  <a:lnTo>
                    <a:pt x="11635" y="3257"/>
                  </a:lnTo>
                  <a:lnTo>
                    <a:pt x="11608" y="3236"/>
                  </a:lnTo>
                  <a:lnTo>
                    <a:pt x="11578" y="3218"/>
                  </a:lnTo>
                  <a:lnTo>
                    <a:pt x="11547" y="3203"/>
                  </a:lnTo>
                  <a:lnTo>
                    <a:pt x="11530" y="3196"/>
                  </a:lnTo>
                  <a:lnTo>
                    <a:pt x="11514" y="3190"/>
                  </a:lnTo>
                  <a:lnTo>
                    <a:pt x="11479" y="3181"/>
                  </a:lnTo>
                  <a:lnTo>
                    <a:pt x="11443" y="3176"/>
                  </a:lnTo>
                  <a:lnTo>
                    <a:pt x="11406" y="3175"/>
                  </a:lnTo>
                  <a:lnTo>
                    <a:pt x="11369" y="3176"/>
                  </a:lnTo>
                  <a:lnTo>
                    <a:pt x="11333" y="3181"/>
                  </a:lnTo>
                  <a:lnTo>
                    <a:pt x="11298" y="3190"/>
                  </a:lnTo>
                  <a:lnTo>
                    <a:pt x="11265" y="3203"/>
                  </a:lnTo>
                  <a:lnTo>
                    <a:pt x="11233" y="3218"/>
                  </a:lnTo>
                  <a:lnTo>
                    <a:pt x="11203" y="3236"/>
                  </a:lnTo>
                  <a:lnTo>
                    <a:pt x="11175" y="3257"/>
                  </a:lnTo>
                  <a:lnTo>
                    <a:pt x="11149" y="3280"/>
                  </a:lnTo>
                  <a:lnTo>
                    <a:pt x="11126" y="3305"/>
                  </a:lnTo>
                  <a:lnTo>
                    <a:pt x="11106" y="3333"/>
                  </a:lnTo>
                  <a:lnTo>
                    <a:pt x="11088" y="3363"/>
                  </a:lnTo>
                  <a:lnTo>
                    <a:pt x="11072" y="3395"/>
                  </a:lnTo>
                  <a:lnTo>
                    <a:pt x="11066" y="3411"/>
                  </a:lnTo>
                  <a:lnTo>
                    <a:pt x="11060" y="3428"/>
                  </a:lnTo>
                  <a:lnTo>
                    <a:pt x="11051" y="3462"/>
                  </a:lnTo>
                  <a:lnTo>
                    <a:pt x="11046" y="3498"/>
                  </a:lnTo>
                  <a:lnTo>
                    <a:pt x="11044" y="3535"/>
                  </a:lnTo>
                  <a:lnTo>
                    <a:pt x="11046" y="3570"/>
                  </a:lnTo>
                  <a:lnTo>
                    <a:pt x="11051" y="3606"/>
                  </a:lnTo>
                  <a:lnTo>
                    <a:pt x="11060" y="3639"/>
                  </a:lnTo>
                  <a:lnTo>
                    <a:pt x="11070" y="3671"/>
                  </a:lnTo>
                  <a:lnTo>
                    <a:pt x="11085" y="3702"/>
                  </a:lnTo>
                  <a:lnTo>
                    <a:pt x="11102" y="3731"/>
                  </a:lnTo>
                  <a:lnTo>
                    <a:pt x="11121" y="3758"/>
                  </a:lnTo>
                  <a:lnTo>
                    <a:pt x="11143" y="3783"/>
                  </a:lnTo>
                  <a:lnTo>
                    <a:pt x="11167" y="3806"/>
                  </a:lnTo>
                  <a:lnTo>
                    <a:pt x="11193" y="3827"/>
                  </a:lnTo>
                  <a:lnTo>
                    <a:pt x="11221" y="3846"/>
                  </a:lnTo>
                  <a:lnTo>
                    <a:pt x="11252" y="3861"/>
                  </a:lnTo>
                  <a:lnTo>
                    <a:pt x="11283" y="3874"/>
                  </a:lnTo>
                  <a:lnTo>
                    <a:pt x="11316" y="3884"/>
                  </a:lnTo>
                  <a:lnTo>
                    <a:pt x="11349" y="3891"/>
                  </a:lnTo>
                  <a:lnTo>
                    <a:pt x="11385" y="3895"/>
                  </a:lnTo>
                  <a:lnTo>
                    <a:pt x="11385" y="3757"/>
                  </a:lnTo>
                  <a:lnTo>
                    <a:pt x="11258" y="3631"/>
                  </a:lnTo>
                  <a:lnTo>
                    <a:pt x="11253" y="3624"/>
                  </a:lnTo>
                  <a:lnTo>
                    <a:pt x="11252" y="3616"/>
                  </a:lnTo>
                  <a:lnTo>
                    <a:pt x="11255" y="3608"/>
                  </a:lnTo>
                  <a:lnTo>
                    <a:pt x="11258" y="3602"/>
                  </a:lnTo>
                  <a:lnTo>
                    <a:pt x="11265" y="3598"/>
                  </a:lnTo>
                  <a:lnTo>
                    <a:pt x="11271" y="3597"/>
                  </a:lnTo>
                  <a:lnTo>
                    <a:pt x="11279" y="3598"/>
                  </a:lnTo>
                  <a:lnTo>
                    <a:pt x="11287" y="3602"/>
                  </a:lnTo>
                  <a:lnTo>
                    <a:pt x="11385" y="3700"/>
                  </a:lnTo>
                  <a:lnTo>
                    <a:pt x="11385" y="3589"/>
                  </a:lnTo>
                  <a:lnTo>
                    <a:pt x="11385" y="3581"/>
                  </a:lnTo>
                  <a:lnTo>
                    <a:pt x="11385" y="3447"/>
                  </a:lnTo>
                  <a:lnTo>
                    <a:pt x="11387" y="3439"/>
                  </a:lnTo>
                  <a:lnTo>
                    <a:pt x="11392" y="3433"/>
                  </a:lnTo>
                  <a:lnTo>
                    <a:pt x="11398" y="3429"/>
                  </a:lnTo>
                  <a:lnTo>
                    <a:pt x="11405" y="3428"/>
                  </a:lnTo>
                  <a:lnTo>
                    <a:pt x="11412" y="3429"/>
                  </a:lnTo>
                  <a:lnTo>
                    <a:pt x="11419" y="3433"/>
                  </a:lnTo>
                  <a:lnTo>
                    <a:pt x="11424" y="3439"/>
                  </a:lnTo>
                  <a:lnTo>
                    <a:pt x="11425" y="3447"/>
                  </a:lnTo>
                  <a:lnTo>
                    <a:pt x="11425" y="3537"/>
                  </a:lnTo>
                  <a:lnTo>
                    <a:pt x="11517" y="3445"/>
                  </a:lnTo>
                  <a:lnTo>
                    <a:pt x="11525" y="3439"/>
                  </a:lnTo>
                  <a:lnTo>
                    <a:pt x="11533" y="3438"/>
                  </a:lnTo>
                  <a:lnTo>
                    <a:pt x="11541" y="3441"/>
                  </a:lnTo>
                  <a:lnTo>
                    <a:pt x="11546" y="3445"/>
                  </a:lnTo>
                  <a:lnTo>
                    <a:pt x="11551" y="3451"/>
                  </a:lnTo>
                  <a:lnTo>
                    <a:pt x="11552" y="3457"/>
                  </a:lnTo>
                  <a:lnTo>
                    <a:pt x="11551" y="3465"/>
                  </a:lnTo>
                  <a:lnTo>
                    <a:pt x="11546" y="3473"/>
                  </a:lnTo>
                  <a:lnTo>
                    <a:pt x="11425" y="3593"/>
                  </a:lnTo>
                  <a:lnTo>
                    <a:pt x="11425" y="3810"/>
                  </a:lnTo>
                  <a:close/>
                  <a:moveTo>
                    <a:pt x="11847" y="2875"/>
                  </a:moveTo>
                  <a:lnTo>
                    <a:pt x="11847" y="2753"/>
                  </a:lnTo>
                  <a:lnTo>
                    <a:pt x="11743" y="2650"/>
                  </a:lnTo>
                  <a:lnTo>
                    <a:pt x="11738" y="2643"/>
                  </a:lnTo>
                  <a:lnTo>
                    <a:pt x="11737" y="2635"/>
                  </a:lnTo>
                  <a:lnTo>
                    <a:pt x="11739" y="2627"/>
                  </a:lnTo>
                  <a:lnTo>
                    <a:pt x="11743" y="2622"/>
                  </a:lnTo>
                  <a:lnTo>
                    <a:pt x="11750" y="2617"/>
                  </a:lnTo>
                  <a:lnTo>
                    <a:pt x="11757" y="2616"/>
                  </a:lnTo>
                  <a:lnTo>
                    <a:pt x="11764" y="2617"/>
                  </a:lnTo>
                  <a:lnTo>
                    <a:pt x="11771" y="2622"/>
                  </a:lnTo>
                  <a:lnTo>
                    <a:pt x="11847" y="2696"/>
                  </a:lnTo>
                  <a:lnTo>
                    <a:pt x="11847" y="2643"/>
                  </a:lnTo>
                  <a:lnTo>
                    <a:pt x="11848" y="2634"/>
                  </a:lnTo>
                  <a:lnTo>
                    <a:pt x="11853" y="2627"/>
                  </a:lnTo>
                  <a:lnTo>
                    <a:pt x="11860" y="2624"/>
                  </a:lnTo>
                  <a:lnTo>
                    <a:pt x="11866" y="2622"/>
                  </a:lnTo>
                  <a:lnTo>
                    <a:pt x="11874" y="2624"/>
                  </a:lnTo>
                  <a:lnTo>
                    <a:pt x="11880" y="2627"/>
                  </a:lnTo>
                  <a:lnTo>
                    <a:pt x="11885" y="2634"/>
                  </a:lnTo>
                  <a:lnTo>
                    <a:pt x="11887" y="2643"/>
                  </a:lnTo>
                  <a:lnTo>
                    <a:pt x="11887" y="2741"/>
                  </a:lnTo>
                  <a:lnTo>
                    <a:pt x="11887" y="2748"/>
                  </a:lnTo>
                  <a:lnTo>
                    <a:pt x="11887" y="2831"/>
                  </a:lnTo>
                  <a:lnTo>
                    <a:pt x="12024" y="2693"/>
                  </a:lnTo>
                  <a:lnTo>
                    <a:pt x="12032" y="2688"/>
                  </a:lnTo>
                  <a:lnTo>
                    <a:pt x="12039" y="2686"/>
                  </a:lnTo>
                  <a:lnTo>
                    <a:pt x="12047" y="2689"/>
                  </a:lnTo>
                  <a:lnTo>
                    <a:pt x="12052" y="2693"/>
                  </a:lnTo>
                  <a:lnTo>
                    <a:pt x="12057" y="2699"/>
                  </a:lnTo>
                  <a:lnTo>
                    <a:pt x="12059" y="2707"/>
                  </a:lnTo>
                  <a:lnTo>
                    <a:pt x="12057" y="2714"/>
                  </a:lnTo>
                  <a:lnTo>
                    <a:pt x="12052" y="2721"/>
                  </a:lnTo>
                  <a:lnTo>
                    <a:pt x="11887" y="2887"/>
                  </a:lnTo>
                  <a:lnTo>
                    <a:pt x="11887" y="2960"/>
                  </a:lnTo>
                  <a:lnTo>
                    <a:pt x="11887" y="2968"/>
                  </a:lnTo>
                  <a:lnTo>
                    <a:pt x="11887" y="3172"/>
                  </a:lnTo>
                  <a:lnTo>
                    <a:pt x="11897" y="3164"/>
                  </a:lnTo>
                  <a:lnTo>
                    <a:pt x="11907" y="3156"/>
                  </a:lnTo>
                  <a:lnTo>
                    <a:pt x="11919" y="3147"/>
                  </a:lnTo>
                  <a:lnTo>
                    <a:pt x="11932" y="3138"/>
                  </a:lnTo>
                  <a:lnTo>
                    <a:pt x="11947" y="3130"/>
                  </a:lnTo>
                  <a:lnTo>
                    <a:pt x="11968" y="3126"/>
                  </a:lnTo>
                  <a:lnTo>
                    <a:pt x="11993" y="3125"/>
                  </a:lnTo>
                  <a:lnTo>
                    <a:pt x="12027" y="3129"/>
                  </a:lnTo>
                  <a:lnTo>
                    <a:pt x="12043" y="3131"/>
                  </a:lnTo>
                  <a:lnTo>
                    <a:pt x="12056" y="3131"/>
                  </a:lnTo>
                  <a:lnTo>
                    <a:pt x="12066" y="3129"/>
                  </a:lnTo>
                  <a:lnTo>
                    <a:pt x="12075" y="3125"/>
                  </a:lnTo>
                  <a:lnTo>
                    <a:pt x="12088" y="3112"/>
                  </a:lnTo>
                  <a:lnTo>
                    <a:pt x="12097" y="3097"/>
                  </a:lnTo>
                  <a:lnTo>
                    <a:pt x="12106" y="3078"/>
                  </a:lnTo>
                  <a:lnTo>
                    <a:pt x="12118" y="3058"/>
                  </a:lnTo>
                  <a:lnTo>
                    <a:pt x="12135" y="3040"/>
                  </a:lnTo>
                  <a:lnTo>
                    <a:pt x="12148" y="3033"/>
                  </a:lnTo>
                  <a:lnTo>
                    <a:pt x="12162" y="3026"/>
                  </a:lnTo>
                  <a:lnTo>
                    <a:pt x="12211" y="3012"/>
                  </a:lnTo>
                  <a:lnTo>
                    <a:pt x="12224" y="3007"/>
                  </a:lnTo>
                  <a:lnTo>
                    <a:pt x="12232" y="3001"/>
                  </a:lnTo>
                  <a:lnTo>
                    <a:pt x="12237" y="2992"/>
                  </a:lnTo>
                  <a:lnTo>
                    <a:pt x="12238" y="2978"/>
                  </a:lnTo>
                  <a:lnTo>
                    <a:pt x="12242" y="2928"/>
                  </a:lnTo>
                  <a:lnTo>
                    <a:pt x="12244" y="2911"/>
                  </a:lnTo>
                  <a:lnTo>
                    <a:pt x="12250" y="2897"/>
                  </a:lnTo>
                  <a:lnTo>
                    <a:pt x="12262" y="2875"/>
                  </a:lnTo>
                  <a:lnTo>
                    <a:pt x="12270" y="2868"/>
                  </a:lnTo>
                  <a:lnTo>
                    <a:pt x="12279" y="2860"/>
                  </a:lnTo>
                  <a:lnTo>
                    <a:pt x="12296" y="2847"/>
                  </a:lnTo>
                  <a:lnTo>
                    <a:pt x="12310" y="2836"/>
                  </a:lnTo>
                  <a:lnTo>
                    <a:pt x="12315" y="2828"/>
                  </a:lnTo>
                  <a:lnTo>
                    <a:pt x="12319" y="2821"/>
                  </a:lnTo>
                  <a:lnTo>
                    <a:pt x="12320" y="2812"/>
                  </a:lnTo>
                  <a:lnTo>
                    <a:pt x="12320" y="2801"/>
                  </a:lnTo>
                  <a:lnTo>
                    <a:pt x="12312" y="2773"/>
                  </a:lnTo>
                  <a:lnTo>
                    <a:pt x="12300" y="2743"/>
                  </a:lnTo>
                  <a:lnTo>
                    <a:pt x="12294" y="2727"/>
                  </a:lnTo>
                  <a:lnTo>
                    <a:pt x="12293" y="2711"/>
                  </a:lnTo>
                  <a:lnTo>
                    <a:pt x="12294" y="2693"/>
                  </a:lnTo>
                  <a:lnTo>
                    <a:pt x="12300" y="2676"/>
                  </a:lnTo>
                  <a:lnTo>
                    <a:pt x="12318" y="2629"/>
                  </a:lnTo>
                  <a:lnTo>
                    <a:pt x="12323" y="2616"/>
                  </a:lnTo>
                  <a:lnTo>
                    <a:pt x="12323" y="2606"/>
                  </a:lnTo>
                  <a:lnTo>
                    <a:pt x="12319" y="2598"/>
                  </a:lnTo>
                  <a:lnTo>
                    <a:pt x="12309" y="2588"/>
                  </a:lnTo>
                  <a:lnTo>
                    <a:pt x="12271" y="2553"/>
                  </a:lnTo>
                  <a:lnTo>
                    <a:pt x="12261" y="2540"/>
                  </a:lnTo>
                  <a:lnTo>
                    <a:pt x="12252" y="2529"/>
                  </a:lnTo>
                  <a:lnTo>
                    <a:pt x="12247" y="2516"/>
                  </a:lnTo>
                  <a:lnTo>
                    <a:pt x="12243" y="2505"/>
                  </a:lnTo>
                  <a:lnTo>
                    <a:pt x="12242" y="2483"/>
                  </a:lnTo>
                  <a:lnTo>
                    <a:pt x="12242" y="2461"/>
                  </a:lnTo>
                  <a:lnTo>
                    <a:pt x="12241" y="2443"/>
                  </a:lnTo>
                  <a:lnTo>
                    <a:pt x="12238" y="2434"/>
                  </a:lnTo>
                  <a:lnTo>
                    <a:pt x="12236" y="2427"/>
                  </a:lnTo>
                  <a:lnTo>
                    <a:pt x="12229" y="2419"/>
                  </a:lnTo>
                  <a:lnTo>
                    <a:pt x="12220" y="2413"/>
                  </a:lnTo>
                  <a:lnTo>
                    <a:pt x="12209" y="2406"/>
                  </a:lnTo>
                  <a:lnTo>
                    <a:pt x="12193" y="2401"/>
                  </a:lnTo>
                  <a:lnTo>
                    <a:pt x="12164" y="2393"/>
                  </a:lnTo>
                  <a:lnTo>
                    <a:pt x="12143" y="2384"/>
                  </a:lnTo>
                  <a:lnTo>
                    <a:pt x="12129" y="2376"/>
                  </a:lnTo>
                  <a:lnTo>
                    <a:pt x="12120" y="2365"/>
                  </a:lnTo>
                  <a:lnTo>
                    <a:pt x="12106" y="2340"/>
                  </a:lnTo>
                  <a:lnTo>
                    <a:pt x="12096" y="2322"/>
                  </a:lnTo>
                  <a:lnTo>
                    <a:pt x="12082" y="2301"/>
                  </a:lnTo>
                  <a:lnTo>
                    <a:pt x="12077" y="2295"/>
                  </a:lnTo>
                  <a:lnTo>
                    <a:pt x="12070" y="2291"/>
                  </a:lnTo>
                  <a:lnTo>
                    <a:pt x="12055" y="2287"/>
                  </a:lnTo>
                  <a:lnTo>
                    <a:pt x="12038" y="2289"/>
                  </a:lnTo>
                  <a:lnTo>
                    <a:pt x="12020" y="2292"/>
                  </a:lnTo>
                  <a:lnTo>
                    <a:pt x="12000" y="2296"/>
                  </a:lnTo>
                  <a:lnTo>
                    <a:pt x="11978" y="2296"/>
                  </a:lnTo>
                  <a:lnTo>
                    <a:pt x="11955" y="2292"/>
                  </a:lnTo>
                  <a:lnTo>
                    <a:pt x="11930" y="2281"/>
                  </a:lnTo>
                  <a:lnTo>
                    <a:pt x="11900" y="2259"/>
                  </a:lnTo>
                  <a:lnTo>
                    <a:pt x="11882" y="2248"/>
                  </a:lnTo>
                  <a:lnTo>
                    <a:pt x="11866" y="2244"/>
                  </a:lnTo>
                  <a:lnTo>
                    <a:pt x="11851" y="2246"/>
                  </a:lnTo>
                  <a:lnTo>
                    <a:pt x="11843" y="2250"/>
                  </a:lnTo>
                  <a:lnTo>
                    <a:pt x="11837" y="2254"/>
                  </a:lnTo>
                  <a:lnTo>
                    <a:pt x="11812" y="2276"/>
                  </a:lnTo>
                  <a:lnTo>
                    <a:pt x="11796" y="2286"/>
                  </a:lnTo>
                  <a:lnTo>
                    <a:pt x="11774" y="2294"/>
                  </a:lnTo>
                  <a:lnTo>
                    <a:pt x="11744" y="2295"/>
                  </a:lnTo>
                  <a:lnTo>
                    <a:pt x="11726" y="2294"/>
                  </a:lnTo>
                  <a:lnTo>
                    <a:pt x="11706" y="2291"/>
                  </a:lnTo>
                  <a:lnTo>
                    <a:pt x="11691" y="2289"/>
                  </a:lnTo>
                  <a:lnTo>
                    <a:pt x="11676" y="2289"/>
                  </a:lnTo>
                  <a:lnTo>
                    <a:pt x="11666" y="2291"/>
                  </a:lnTo>
                  <a:lnTo>
                    <a:pt x="11658" y="2295"/>
                  </a:lnTo>
                  <a:lnTo>
                    <a:pt x="11646" y="2308"/>
                  </a:lnTo>
                  <a:lnTo>
                    <a:pt x="11637" y="2324"/>
                  </a:lnTo>
                  <a:lnTo>
                    <a:pt x="11628" y="2342"/>
                  </a:lnTo>
                  <a:lnTo>
                    <a:pt x="11616" y="2361"/>
                  </a:lnTo>
                  <a:lnTo>
                    <a:pt x="11598" y="2379"/>
                  </a:lnTo>
                  <a:lnTo>
                    <a:pt x="11585" y="2387"/>
                  </a:lnTo>
                  <a:lnTo>
                    <a:pt x="11570" y="2393"/>
                  </a:lnTo>
                  <a:lnTo>
                    <a:pt x="11521" y="2409"/>
                  </a:lnTo>
                  <a:lnTo>
                    <a:pt x="11508" y="2414"/>
                  </a:lnTo>
                  <a:lnTo>
                    <a:pt x="11501" y="2419"/>
                  </a:lnTo>
                  <a:lnTo>
                    <a:pt x="11497" y="2428"/>
                  </a:lnTo>
                  <a:lnTo>
                    <a:pt x="11494" y="2442"/>
                  </a:lnTo>
                  <a:lnTo>
                    <a:pt x="11491" y="2492"/>
                  </a:lnTo>
                  <a:lnTo>
                    <a:pt x="11488" y="2509"/>
                  </a:lnTo>
                  <a:lnTo>
                    <a:pt x="11484" y="2523"/>
                  </a:lnTo>
                  <a:lnTo>
                    <a:pt x="11470" y="2544"/>
                  </a:lnTo>
                  <a:lnTo>
                    <a:pt x="11462" y="2552"/>
                  </a:lnTo>
                  <a:lnTo>
                    <a:pt x="11455" y="2560"/>
                  </a:lnTo>
                  <a:lnTo>
                    <a:pt x="11438" y="2572"/>
                  </a:lnTo>
                  <a:lnTo>
                    <a:pt x="11424" y="2585"/>
                  </a:lnTo>
                  <a:lnTo>
                    <a:pt x="11419" y="2592"/>
                  </a:lnTo>
                  <a:lnTo>
                    <a:pt x="11415" y="2599"/>
                  </a:lnTo>
                  <a:lnTo>
                    <a:pt x="11412" y="2608"/>
                  </a:lnTo>
                  <a:lnTo>
                    <a:pt x="11412" y="2620"/>
                  </a:lnTo>
                  <a:lnTo>
                    <a:pt x="11421" y="2647"/>
                  </a:lnTo>
                  <a:lnTo>
                    <a:pt x="11434" y="2677"/>
                  </a:lnTo>
                  <a:lnTo>
                    <a:pt x="11438" y="2694"/>
                  </a:lnTo>
                  <a:lnTo>
                    <a:pt x="11440" y="2711"/>
                  </a:lnTo>
                  <a:lnTo>
                    <a:pt x="11438" y="2732"/>
                  </a:lnTo>
                  <a:lnTo>
                    <a:pt x="11432" y="2751"/>
                  </a:lnTo>
                  <a:lnTo>
                    <a:pt x="11416" y="2782"/>
                  </a:lnTo>
                  <a:lnTo>
                    <a:pt x="11411" y="2797"/>
                  </a:lnTo>
                  <a:lnTo>
                    <a:pt x="11411" y="2805"/>
                  </a:lnTo>
                  <a:lnTo>
                    <a:pt x="11412" y="2812"/>
                  </a:lnTo>
                  <a:lnTo>
                    <a:pt x="11420" y="2828"/>
                  </a:lnTo>
                  <a:lnTo>
                    <a:pt x="11438" y="2847"/>
                  </a:lnTo>
                  <a:lnTo>
                    <a:pt x="11461" y="2868"/>
                  </a:lnTo>
                  <a:lnTo>
                    <a:pt x="11476" y="2884"/>
                  </a:lnTo>
                  <a:lnTo>
                    <a:pt x="11484" y="2899"/>
                  </a:lnTo>
                  <a:lnTo>
                    <a:pt x="11488" y="2911"/>
                  </a:lnTo>
                  <a:lnTo>
                    <a:pt x="11491" y="2941"/>
                  </a:lnTo>
                  <a:lnTo>
                    <a:pt x="11491" y="2960"/>
                  </a:lnTo>
                  <a:lnTo>
                    <a:pt x="11494" y="2985"/>
                  </a:lnTo>
                  <a:lnTo>
                    <a:pt x="11502" y="3000"/>
                  </a:lnTo>
                  <a:lnTo>
                    <a:pt x="11514" y="3010"/>
                  </a:lnTo>
                  <a:lnTo>
                    <a:pt x="11529" y="3015"/>
                  </a:lnTo>
                  <a:lnTo>
                    <a:pt x="11547" y="3020"/>
                  </a:lnTo>
                  <a:lnTo>
                    <a:pt x="11567" y="3026"/>
                  </a:lnTo>
                  <a:lnTo>
                    <a:pt x="11587" y="3034"/>
                  </a:lnTo>
                  <a:lnTo>
                    <a:pt x="11606" y="3048"/>
                  </a:lnTo>
                  <a:lnTo>
                    <a:pt x="11615" y="3057"/>
                  </a:lnTo>
                  <a:lnTo>
                    <a:pt x="11623" y="3069"/>
                  </a:lnTo>
                  <a:lnTo>
                    <a:pt x="11648" y="3112"/>
                  </a:lnTo>
                  <a:lnTo>
                    <a:pt x="11656" y="3124"/>
                  </a:lnTo>
                  <a:lnTo>
                    <a:pt x="11664" y="3130"/>
                  </a:lnTo>
                  <a:lnTo>
                    <a:pt x="11673" y="3133"/>
                  </a:lnTo>
                  <a:lnTo>
                    <a:pt x="11687" y="3131"/>
                  </a:lnTo>
                  <a:lnTo>
                    <a:pt x="11737" y="3124"/>
                  </a:lnTo>
                  <a:lnTo>
                    <a:pt x="11757" y="3124"/>
                  </a:lnTo>
                  <a:lnTo>
                    <a:pt x="11774" y="3126"/>
                  </a:lnTo>
                  <a:lnTo>
                    <a:pt x="11789" y="3131"/>
                  </a:lnTo>
                  <a:lnTo>
                    <a:pt x="11803" y="3139"/>
                  </a:lnTo>
                  <a:lnTo>
                    <a:pt x="11826" y="3156"/>
                  </a:lnTo>
                  <a:lnTo>
                    <a:pt x="11847" y="3171"/>
                  </a:lnTo>
                  <a:lnTo>
                    <a:pt x="11847" y="2973"/>
                  </a:lnTo>
                  <a:lnTo>
                    <a:pt x="11769" y="2895"/>
                  </a:lnTo>
                  <a:lnTo>
                    <a:pt x="11764" y="2887"/>
                  </a:lnTo>
                  <a:lnTo>
                    <a:pt x="11762" y="2879"/>
                  </a:lnTo>
                  <a:lnTo>
                    <a:pt x="11765" y="2873"/>
                  </a:lnTo>
                  <a:lnTo>
                    <a:pt x="11769" y="2867"/>
                  </a:lnTo>
                  <a:lnTo>
                    <a:pt x="11775" y="2863"/>
                  </a:lnTo>
                  <a:lnTo>
                    <a:pt x="11782" y="2860"/>
                  </a:lnTo>
                  <a:lnTo>
                    <a:pt x="11789" y="2861"/>
                  </a:lnTo>
                  <a:lnTo>
                    <a:pt x="11797" y="2867"/>
                  </a:lnTo>
                  <a:lnTo>
                    <a:pt x="11847" y="2916"/>
                  </a:lnTo>
                  <a:lnTo>
                    <a:pt x="11847" y="2882"/>
                  </a:lnTo>
                  <a:lnTo>
                    <a:pt x="11847" y="2875"/>
                  </a:lnTo>
                  <a:close/>
                  <a:moveTo>
                    <a:pt x="11887" y="2960"/>
                  </a:moveTo>
                  <a:lnTo>
                    <a:pt x="11887" y="2968"/>
                  </a:lnTo>
                  <a:lnTo>
                    <a:pt x="11887" y="2960"/>
                  </a:lnTo>
                  <a:close/>
                  <a:moveTo>
                    <a:pt x="11887" y="2741"/>
                  </a:moveTo>
                  <a:lnTo>
                    <a:pt x="11887" y="2748"/>
                  </a:lnTo>
                  <a:lnTo>
                    <a:pt x="11887" y="2741"/>
                  </a:lnTo>
                  <a:close/>
                  <a:moveTo>
                    <a:pt x="11847" y="2882"/>
                  </a:moveTo>
                  <a:lnTo>
                    <a:pt x="11847" y="2875"/>
                  </a:lnTo>
                  <a:lnTo>
                    <a:pt x="11847" y="2882"/>
                  </a:lnTo>
                  <a:close/>
                  <a:moveTo>
                    <a:pt x="9740" y="1741"/>
                  </a:moveTo>
                  <a:lnTo>
                    <a:pt x="9740" y="1619"/>
                  </a:lnTo>
                  <a:lnTo>
                    <a:pt x="9741" y="1611"/>
                  </a:lnTo>
                  <a:lnTo>
                    <a:pt x="9747" y="1604"/>
                  </a:lnTo>
                  <a:lnTo>
                    <a:pt x="9753" y="1601"/>
                  </a:lnTo>
                  <a:lnTo>
                    <a:pt x="9761" y="1599"/>
                  </a:lnTo>
                  <a:lnTo>
                    <a:pt x="10006" y="1599"/>
                  </a:lnTo>
                  <a:lnTo>
                    <a:pt x="10013" y="1601"/>
                  </a:lnTo>
                  <a:lnTo>
                    <a:pt x="10020" y="1604"/>
                  </a:lnTo>
                  <a:lnTo>
                    <a:pt x="10024" y="1611"/>
                  </a:lnTo>
                  <a:lnTo>
                    <a:pt x="10026" y="1619"/>
                  </a:lnTo>
                  <a:lnTo>
                    <a:pt x="10026" y="1741"/>
                  </a:lnTo>
                  <a:lnTo>
                    <a:pt x="10978" y="1741"/>
                  </a:lnTo>
                  <a:lnTo>
                    <a:pt x="10987" y="1744"/>
                  </a:lnTo>
                  <a:lnTo>
                    <a:pt x="10994" y="1749"/>
                  </a:lnTo>
                  <a:lnTo>
                    <a:pt x="11211" y="2048"/>
                  </a:lnTo>
                  <a:lnTo>
                    <a:pt x="11235" y="2048"/>
                  </a:lnTo>
                  <a:lnTo>
                    <a:pt x="11242" y="2051"/>
                  </a:lnTo>
                  <a:lnTo>
                    <a:pt x="11248" y="2055"/>
                  </a:lnTo>
                  <a:lnTo>
                    <a:pt x="11253" y="2061"/>
                  </a:lnTo>
                  <a:lnTo>
                    <a:pt x="11255" y="2069"/>
                  </a:lnTo>
                  <a:lnTo>
                    <a:pt x="11255" y="2241"/>
                  </a:lnTo>
                  <a:lnTo>
                    <a:pt x="11253" y="2249"/>
                  </a:lnTo>
                  <a:lnTo>
                    <a:pt x="11248" y="2255"/>
                  </a:lnTo>
                  <a:lnTo>
                    <a:pt x="11242" y="2260"/>
                  </a:lnTo>
                  <a:lnTo>
                    <a:pt x="11235" y="2262"/>
                  </a:lnTo>
                  <a:lnTo>
                    <a:pt x="11224" y="2262"/>
                  </a:lnTo>
                  <a:lnTo>
                    <a:pt x="11224" y="3107"/>
                  </a:lnTo>
                  <a:lnTo>
                    <a:pt x="11223" y="3116"/>
                  </a:lnTo>
                  <a:lnTo>
                    <a:pt x="11217" y="3122"/>
                  </a:lnTo>
                  <a:lnTo>
                    <a:pt x="11211" y="3126"/>
                  </a:lnTo>
                  <a:lnTo>
                    <a:pt x="11205" y="3127"/>
                  </a:lnTo>
                  <a:lnTo>
                    <a:pt x="11197" y="3126"/>
                  </a:lnTo>
                  <a:lnTo>
                    <a:pt x="11190" y="3122"/>
                  </a:lnTo>
                  <a:lnTo>
                    <a:pt x="11185" y="3116"/>
                  </a:lnTo>
                  <a:lnTo>
                    <a:pt x="11184" y="3107"/>
                  </a:lnTo>
                  <a:lnTo>
                    <a:pt x="11184" y="2262"/>
                  </a:lnTo>
                  <a:lnTo>
                    <a:pt x="10285" y="2262"/>
                  </a:lnTo>
                  <a:lnTo>
                    <a:pt x="9388" y="2262"/>
                  </a:lnTo>
                  <a:lnTo>
                    <a:pt x="9388" y="3282"/>
                  </a:lnTo>
                  <a:lnTo>
                    <a:pt x="9388" y="4304"/>
                  </a:lnTo>
                  <a:lnTo>
                    <a:pt x="10285" y="4304"/>
                  </a:lnTo>
                  <a:lnTo>
                    <a:pt x="11184" y="4304"/>
                  </a:lnTo>
                  <a:lnTo>
                    <a:pt x="11184" y="3976"/>
                  </a:lnTo>
                  <a:lnTo>
                    <a:pt x="11185" y="3969"/>
                  </a:lnTo>
                  <a:lnTo>
                    <a:pt x="11190" y="3962"/>
                  </a:lnTo>
                  <a:lnTo>
                    <a:pt x="11197" y="3959"/>
                  </a:lnTo>
                  <a:lnTo>
                    <a:pt x="11205" y="3957"/>
                  </a:lnTo>
                  <a:lnTo>
                    <a:pt x="11211" y="3959"/>
                  </a:lnTo>
                  <a:lnTo>
                    <a:pt x="11217" y="3962"/>
                  </a:lnTo>
                  <a:lnTo>
                    <a:pt x="11223" y="3969"/>
                  </a:lnTo>
                  <a:lnTo>
                    <a:pt x="11224" y="3976"/>
                  </a:lnTo>
                  <a:lnTo>
                    <a:pt x="11224" y="4324"/>
                  </a:lnTo>
                  <a:lnTo>
                    <a:pt x="11223" y="4332"/>
                  </a:lnTo>
                  <a:lnTo>
                    <a:pt x="11217" y="4338"/>
                  </a:lnTo>
                  <a:lnTo>
                    <a:pt x="11211" y="4342"/>
                  </a:lnTo>
                  <a:lnTo>
                    <a:pt x="11205" y="4343"/>
                  </a:lnTo>
                  <a:lnTo>
                    <a:pt x="10285" y="4343"/>
                  </a:lnTo>
                  <a:lnTo>
                    <a:pt x="9367" y="4343"/>
                  </a:lnTo>
                  <a:lnTo>
                    <a:pt x="9361" y="4342"/>
                  </a:lnTo>
                  <a:lnTo>
                    <a:pt x="9354" y="4338"/>
                  </a:lnTo>
                  <a:lnTo>
                    <a:pt x="9349" y="4332"/>
                  </a:lnTo>
                  <a:lnTo>
                    <a:pt x="9348" y="4324"/>
                  </a:lnTo>
                  <a:lnTo>
                    <a:pt x="9348" y="3808"/>
                  </a:lnTo>
                  <a:lnTo>
                    <a:pt x="9348" y="3292"/>
                  </a:lnTo>
                  <a:lnTo>
                    <a:pt x="9348" y="2777"/>
                  </a:lnTo>
                  <a:lnTo>
                    <a:pt x="9348" y="2262"/>
                  </a:lnTo>
                  <a:lnTo>
                    <a:pt x="9336" y="2262"/>
                  </a:lnTo>
                  <a:lnTo>
                    <a:pt x="9329" y="2260"/>
                  </a:lnTo>
                  <a:lnTo>
                    <a:pt x="9322" y="2255"/>
                  </a:lnTo>
                  <a:lnTo>
                    <a:pt x="9318" y="2249"/>
                  </a:lnTo>
                  <a:lnTo>
                    <a:pt x="9317" y="2241"/>
                  </a:lnTo>
                  <a:lnTo>
                    <a:pt x="9317" y="2069"/>
                  </a:lnTo>
                  <a:lnTo>
                    <a:pt x="9318" y="2061"/>
                  </a:lnTo>
                  <a:lnTo>
                    <a:pt x="9322" y="2055"/>
                  </a:lnTo>
                  <a:lnTo>
                    <a:pt x="9329" y="2051"/>
                  </a:lnTo>
                  <a:lnTo>
                    <a:pt x="9336" y="2048"/>
                  </a:lnTo>
                  <a:lnTo>
                    <a:pt x="9364" y="2048"/>
                  </a:lnTo>
                  <a:lnTo>
                    <a:pt x="9581" y="1749"/>
                  </a:lnTo>
                  <a:lnTo>
                    <a:pt x="9589" y="1744"/>
                  </a:lnTo>
                  <a:lnTo>
                    <a:pt x="9598" y="1741"/>
                  </a:lnTo>
                  <a:lnTo>
                    <a:pt x="9740" y="1741"/>
                  </a:lnTo>
                  <a:close/>
                  <a:moveTo>
                    <a:pt x="9985" y="1741"/>
                  </a:moveTo>
                  <a:lnTo>
                    <a:pt x="9985" y="1639"/>
                  </a:lnTo>
                  <a:lnTo>
                    <a:pt x="9780" y="1639"/>
                  </a:lnTo>
                  <a:lnTo>
                    <a:pt x="9780" y="1741"/>
                  </a:lnTo>
                  <a:lnTo>
                    <a:pt x="9799" y="1741"/>
                  </a:lnTo>
                  <a:lnTo>
                    <a:pt x="9808" y="1743"/>
                  </a:lnTo>
                  <a:lnTo>
                    <a:pt x="9815" y="1748"/>
                  </a:lnTo>
                  <a:lnTo>
                    <a:pt x="9818" y="1754"/>
                  </a:lnTo>
                  <a:lnTo>
                    <a:pt x="9820" y="1762"/>
                  </a:lnTo>
                  <a:lnTo>
                    <a:pt x="9818" y="1768"/>
                  </a:lnTo>
                  <a:lnTo>
                    <a:pt x="9815" y="1775"/>
                  </a:lnTo>
                  <a:lnTo>
                    <a:pt x="9808" y="1780"/>
                  </a:lnTo>
                  <a:lnTo>
                    <a:pt x="9799" y="1781"/>
                  </a:lnTo>
                  <a:lnTo>
                    <a:pt x="9607" y="1781"/>
                  </a:lnTo>
                  <a:lnTo>
                    <a:pt x="9413" y="2048"/>
                  </a:lnTo>
                  <a:lnTo>
                    <a:pt x="10288" y="2048"/>
                  </a:lnTo>
                  <a:lnTo>
                    <a:pt x="11162" y="2048"/>
                  </a:lnTo>
                  <a:lnTo>
                    <a:pt x="10967" y="1781"/>
                  </a:lnTo>
                  <a:lnTo>
                    <a:pt x="9953" y="1781"/>
                  </a:lnTo>
                  <a:lnTo>
                    <a:pt x="9944" y="1780"/>
                  </a:lnTo>
                  <a:lnTo>
                    <a:pt x="9938" y="1775"/>
                  </a:lnTo>
                  <a:lnTo>
                    <a:pt x="9934" y="1768"/>
                  </a:lnTo>
                  <a:lnTo>
                    <a:pt x="9933" y="1762"/>
                  </a:lnTo>
                  <a:lnTo>
                    <a:pt x="9934" y="1754"/>
                  </a:lnTo>
                  <a:lnTo>
                    <a:pt x="9938" y="1748"/>
                  </a:lnTo>
                  <a:lnTo>
                    <a:pt x="9944" y="1743"/>
                  </a:lnTo>
                  <a:lnTo>
                    <a:pt x="9953" y="1741"/>
                  </a:lnTo>
                  <a:lnTo>
                    <a:pt x="9985" y="1741"/>
                  </a:lnTo>
                  <a:close/>
                  <a:moveTo>
                    <a:pt x="9372" y="2089"/>
                  </a:moveTo>
                  <a:lnTo>
                    <a:pt x="9357" y="2089"/>
                  </a:lnTo>
                  <a:lnTo>
                    <a:pt x="9357" y="2222"/>
                  </a:lnTo>
                  <a:lnTo>
                    <a:pt x="10285" y="2222"/>
                  </a:lnTo>
                  <a:lnTo>
                    <a:pt x="11215" y="2222"/>
                  </a:lnTo>
                  <a:lnTo>
                    <a:pt x="11215" y="2089"/>
                  </a:lnTo>
                  <a:lnTo>
                    <a:pt x="11205" y="2089"/>
                  </a:lnTo>
                  <a:lnTo>
                    <a:pt x="11198" y="2089"/>
                  </a:lnTo>
                  <a:lnTo>
                    <a:pt x="10288" y="2089"/>
                  </a:lnTo>
                  <a:lnTo>
                    <a:pt x="9379" y="2089"/>
                  </a:lnTo>
                  <a:lnTo>
                    <a:pt x="9372" y="2089"/>
                  </a:lnTo>
                  <a:close/>
                  <a:moveTo>
                    <a:pt x="11205" y="2089"/>
                  </a:moveTo>
                  <a:lnTo>
                    <a:pt x="11198" y="2089"/>
                  </a:lnTo>
                  <a:lnTo>
                    <a:pt x="11205" y="2089"/>
                  </a:lnTo>
                  <a:close/>
                  <a:moveTo>
                    <a:pt x="9379" y="2089"/>
                  </a:moveTo>
                  <a:lnTo>
                    <a:pt x="9372" y="2089"/>
                  </a:lnTo>
                  <a:lnTo>
                    <a:pt x="9379" y="2089"/>
                  </a:lnTo>
                  <a:close/>
                  <a:moveTo>
                    <a:pt x="11106" y="1136"/>
                  </a:moveTo>
                  <a:lnTo>
                    <a:pt x="11083" y="1126"/>
                  </a:lnTo>
                  <a:lnTo>
                    <a:pt x="11056" y="1122"/>
                  </a:lnTo>
                  <a:lnTo>
                    <a:pt x="11035" y="1125"/>
                  </a:lnTo>
                  <a:lnTo>
                    <a:pt x="11017" y="1130"/>
                  </a:lnTo>
                  <a:lnTo>
                    <a:pt x="10999" y="1140"/>
                  </a:lnTo>
                  <a:lnTo>
                    <a:pt x="10985" y="1152"/>
                  </a:lnTo>
                  <a:lnTo>
                    <a:pt x="10972" y="1167"/>
                  </a:lnTo>
                  <a:lnTo>
                    <a:pt x="10963" y="1185"/>
                  </a:lnTo>
                  <a:lnTo>
                    <a:pt x="10957" y="1204"/>
                  </a:lnTo>
                  <a:lnTo>
                    <a:pt x="10956" y="1225"/>
                  </a:lnTo>
                  <a:lnTo>
                    <a:pt x="10958" y="1246"/>
                  </a:lnTo>
                  <a:lnTo>
                    <a:pt x="11683" y="1245"/>
                  </a:lnTo>
                  <a:lnTo>
                    <a:pt x="11683" y="1227"/>
                  </a:lnTo>
                  <a:lnTo>
                    <a:pt x="11682" y="1208"/>
                  </a:lnTo>
                  <a:lnTo>
                    <a:pt x="11675" y="1190"/>
                  </a:lnTo>
                  <a:lnTo>
                    <a:pt x="11666" y="1174"/>
                  </a:lnTo>
                  <a:lnTo>
                    <a:pt x="11653" y="1159"/>
                  </a:lnTo>
                  <a:lnTo>
                    <a:pt x="11647" y="1153"/>
                  </a:lnTo>
                  <a:lnTo>
                    <a:pt x="11639" y="1148"/>
                  </a:lnTo>
                  <a:lnTo>
                    <a:pt x="11621" y="1139"/>
                  </a:lnTo>
                  <a:lnTo>
                    <a:pt x="11603" y="1133"/>
                  </a:lnTo>
                  <a:lnTo>
                    <a:pt x="11583" y="1131"/>
                  </a:lnTo>
                  <a:lnTo>
                    <a:pt x="11558" y="1134"/>
                  </a:lnTo>
                  <a:lnTo>
                    <a:pt x="11542" y="1138"/>
                  </a:lnTo>
                  <a:lnTo>
                    <a:pt x="11523" y="1139"/>
                  </a:lnTo>
                  <a:lnTo>
                    <a:pt x="11489" y="1133"/>
                  </a:lnTo>
                  <a:lnTo>
                    <a:pt x="11489" y="1113"/>
                  </a:lnTo>
                  <a:lnTo>
                    <a:pt x="11487" y="1096"/>
                  </a:lnTo>
                  <a:lnTo>
                    <a:pt x="11482" y="1078"/>
                  </a:lnTo>
                  <a:lnTo>
                    <a:pt x="11476" y="1061"/>
                  </a:lnTo>
                  <a:lnTo>
                    <a:pt x="11469" y="1044"/>
                  </a:lnTo>
                  <a:lnTo>
                    <a:pt x="11460" y="1030"/>
                  </a:lnTo>
                  <a:lnTo>
                    <a:pt x="11451" y="1016"/>
                  </a:lnTo>
                  <a:lnTo>
                    <a:pt x="11439" y="1002"/>
                  </a:lnTo>
                  <a:lnTo>
                    <a:pt x="11412" y="980"/>
                  </a:lnTo>
                  <a:lnTo>
                    <a:pt x="11383" y="964"/>
                  </a:lnTo>
                  <a:lnTo>
                    <a:pt x="11366" y="957"/>
                  </a:lnTo>
                  <a:lnTo>
                    <a:pt x="11349" y="954"/>
                  </a:lnTo>
                  <a:lnTo>
                    <a:pt x="11312" y="950"/>
                  </a:lnTo>
                  <a:lnTo>
                    <a:pt x="11278" y="954"/>
                  </a:lnTo>
                  <a:lnTo>
                    <a:pt x="11261" y="957"/>
                  </a:lnTo>
                  <a:lnTo>
                    <a:pt x="11246" y="963"/>
                  </a:lnTo>
                  <a:lnTo>
                    <a:pt x="11230" y="970"/>
                  </a:lnTo>
                  <a:lnTo>
                    <a:pt x="11216" y="978"/>
                  </a:lnTo>
                  <a:lnTo>
                    <a:pt x="11190" y="998"/>
                  </a:lnTo>
                  <a:lnTo>
                    <a:pt x="11170" y="1024"/>
                  </a:lnTo>
                  <a:lnTo>
                    <a:pt x="11153" y="1053"/>
                  </a:lnTo>
                  <a:lnTo>
                    <a:pt x="11147" y="1069"/>
                  </a:lnTo>
                  <a:lnTo>
                    <a:pt x="11142" y="1085"/>
                  </a:lnTo>
                  <a:lnTo>
                    <a:pt x="11138" y="1102"/>
                  </a:lnTo>
                  <a:lnTo>
                    <a:pt x="11137" y="1120"/>
                  </a:lnTo>
                  <a:lnTo>
                    <a:pt x="11134" y="1131"/>
                  </a:lnTo>
                  <a:lnTo>
                    <a:pt x="11126" y="1138"/>
                  </a:lnTo>
                  <a:lnTo>
                    <a:pt x="11122" y="1139"/>
                  </a:lnTo>
                  <a:lnTo>
                    <a:pt x="11117" y="1140"/>
                  </a:lnTo>
                  <a:lnTo>
                    <a:pt x="11106" y="1136"/>
                  </a:lnTo>
                  <a:close/>
                  <a:moveTo>
                    <a:pt x="11528" y="1106"/>
                  </a:moveTo>
                  <a:lnTo>
                    <a:pt x="11539" y="1098"/>
                  </a:lnTo>
                  <a:lnTo>
                    <a:pt x="11555" y="1094"/>
                  </a:lnTo>
                  <a:lnTo>
                    <a:pt x="11583" y="1090"/>
                  </a:lnTo>
                  <a:lnTo>
                    <a:pt x="11611" y="1094"/>
                  </a:lnTo>
                  <a:lnTo>
                    <a:pt x="11624" y="1097"/>
                  </a:lnTo>
                  <a:lnTo>
                    <a:pt x="11637" y="1102"/>
                  </a:lnTo>
                  <a:lnTo>
                    <a:pt x="11660" y="1115"/>
                  </a:lnTo>
                  <a:lnTo>
                    <a:pt x="11682" y="1131"/>
                  </a:lnTo>
                  <a:lnTo>
                    <a:pt x="11698" y="1151"/>
                  </a:lnTo>
                  <a:lnTo>
                    <a:pt x="11712" y="1174"/>
                  </a:lnTo>
                  <a:lnTo>
                    <a:pt x="11720" y="1199"/>
                  </a:lnTo>
                  <a:lnTo>
                    <a:pt x="11723" y="1213"/>
                  </a:lnTo>
                  <a:lnTo>
                    <a:pt x="11723" y="1227"/>
                  </a:lnTo>
                  <a:lnTo>
                    <a:pt x="11723" y="1243"/>
                  </a:lnTo>
                  <a:lnTo>
                    <a:pt x="11721" y="1262"/>
                  </a:lnTo>
                  <a:lnTo>
                    <a:pt x="11714" y="1278"/>
                  </a:lnTo>
                  <a:lnTo>
                    <a:pt x="11707" y="1284"/>
                  </a:lnTo>
                  <a:lnTo>
                    <a:pt x="11700" y="1285"/>
                  </a:lnTo>
                  <a:lnTo>
                    <a:pt x="10943" y="1286"/>
                  </a:lnTo>
                  <a:lnTo>
                    <a:pt x="10934" y="1285"/>
                  </a:lnTo>
                  <a:lnTo>
                    <a:pt x="10928" y="1280"/>
                  </a:lnTo>
                  <a:lnTo>
                    <a:pt x="10924" y="1271"/>
                  </a:lnTo>
                  <a:lnTo>
                    <a:pt x="10920" y="1262"/>
                  </a:lnTo>
                  <a:lnTo>
                    <a:pt x="10916" y="1240"/>
                  </a:lnTo>
                  <a:lnTo>
                    <a:pt x="10915" y="1225"/>
                  </a:lnTo>
                  <a:lnTo>
                    <a:pt x="10919" y="1197"/>
                  </a:lnTo>
                  <a:lnTo>
                    <a:pt x="10926" y="1170"/>
                  </a:lnTo>
                  <a:lnTo>
                    <a:pt x="10939" y="1145"/>
                  </a:lnTo>
                  <a:lnTo>
                    <a:pt x="10956" y="1125"/>
                  </a:lnTo>
                  <a:lnTo>
                    <a:pt x="10978" y="1107"/>
                  </a:lnTo>
                  <a:lnTo>
                    <a:pt x="10989" y="1099"/>
                  </a:lnTo>
                  <a:lnTo>
                    <a:pt x="11001" y="1094"/>
                  </a:lnTo>
                  <a:lnTo>
                    <a:pt x="11028" y="1085"/>
                  </a:lnTo>
                  <a:lnTo>
                    <a:pt x="11042" y="1083"/>
                  </a:lnTo>
                  <a:lnTo>
                    <a:pt x="11056" y="1083"/>
                  </a:lnTo>
                  <a:lnTo>
                    <a:pt x="11079" y="1084"/>
                  </a:lnTo>
                  <a:lnTo>
                    <a:pt x="11101" y="1089"/>
                  </a:lnTo>
                  <a:lnTo>
                    <a:pt x="11110" y="1052"/>
                  </a:lnTo>
                  <a:lnTo>
                    <a:pt x="11126" y="1019"/>
                  </a:lnTo>
                  <a:lnTo>
                    <a:pt x="11147" y="988"/>
                  </a:lnTo>
                  <a:lnTo>
                    <a:pt x="11173" y="961"/>
                  </a:lnTo>
                  <a:lnTo>
                    <a:pt x="11202" y="940"/>
                  </a:lnTo>
                  <a:lnTo>
                    <a:pt x="11237" y="923"/>
                  </a:lnTo>
                  <a:lnTo>
                    <a:pt x="11274" y="913"/>
                  </a:lnTo>
                  <a:lnTo>
                    <a:pt x="11312" y="910"/>
                  </a:lnTo>
                  <a:lnTo>
                    <a:pt x="11355" y="914"/>
                  </a:lnTo>
                  <a:lnTo>
                    <a:pt x="11374" y="918"/>
                  </a:lnTo>
                  <a:lnTo>
                    <a:pt x="11393" y="925"/>
                  </a:lnTo>
                  <a:lnTo>
                    <a:pt x="11428" y="942"/>
                  </a:lnTo>
                  <a:lnTo>
                    <a:pt x="11444" y="954"/>
                  </a:lnTo>
                  <a:lnTo>
                    <a:pt x="11458" y="966"/>
                  </a:lnTo>
                  <a:lnTo>
                    <a:pt x="11473" y="980"/>
                  </a:lnTo>
                  <a:lnTo>
                    <a:pt x="11485" y="996"/>
                  </a:lnTo>
                  <a:lnTo>
                    <a:pt x="11506" y="1029"/>
                  </a:lnTo>
                  <a:lnTo>
                    <a:pt x="11514" y="1047"/>
                  </a:lnTo>
                  <a:lnTo>
                    <a:pt x="11520" y="1066"/>
                  </a:lnTo>
                  <a:lnTo>
                    <a:pt x="11525" y="1085"/>
                  </a:lnTo>
                  <a:lnTo>
                    <a:pt x="11528" y="1106"/>
                  </a:lnTo>
                  <a:close/>
                  <a:moveTo>
                    <a:pt x="13515" y="644"/>
                  </a:moveTo>
                  <a:lnTo>
                    <a:pt x="13404" y="644"/>
                  </a:lnTo>
                  <a:lnTo>
                    <a:pt x="13404" y="754"/>
                  </a:lnTo>
                  <a:lnTo>
                    <a:pt x="13515" y="754"/>
                  </a:lnTo>
                  <a:lnTo>
                    <a:pt x="13515" y="644"/>
                  </a:lnTo>
                  <a:close/>
                  <a:moveTo>
                    <a:pt x="13534" y="605"/>
                  </a:moveTo>
                  <a:lnTo>
                    <a:pt x="13542" y="606"/>
                  </a:lnTo>
                  <a:lnTo>
                    <a:pt x="13549" y="611"/>
                  </a:lnTo>
                  <a:lnTo>
                    <a:pt x="13552" y="617"/>
                  </a:lnTo>
                  <a:lnTo>
                    <a:pt x="13555" y="624"/>
                  </a:lnTo>
                  <a:lnTo>
                    <a:pt x="13555" y="754"/>
                  </a:lnTo>
                  <a:lnTo>
                    <a:pt x="14078" y="754"/>
                  </a:lnTo>
                  <a:lnTo>
                    <a:pt x="14086" y="757"/>
                  </a:lnTo>
                  <a:lnTo>
                    <a:pt x="14092" y="761"/>
                  </a:lnTo>
                  <a:lnTo>
                    <a:pt x="14097" y="767"/>
                  </a:lnTo>
                  <a:lnTo>
                    <a:pt x="14099" y="775"/>
                  </a:lnTo>
                  <a:lnTo>
                    <a:pt x="14099" y="1471"/>
                  </a:lnTo>
                  <a:lnTo>
                    <a:pt x="14099" y="2170"/>
                  </a:lnTo>
                  <a:lnTo>
                    <a:pt x="14097" y="2177"/>
                  </a:lnTo>
                  <a:lnTo>
                    <a:pt x="14092" y="2184"/>
                  </a:lnTo>
                  <a:lnTo>
                    <a:pt x="14086" y="2188"/>
                  </a:lnTo>
                  <a:lnTo>
                    <a:pt x="14078" y="2189"/>
                  </a:lnTo>
                  <a:lnTo>
                    <a:pt x="14072" y="2188"/>
                  </a:lnTo>
                  <a:lnTo>
                    <a:pt x="14065" y="2184"/>
                  </a:lnTo>
                  <a:lnTo>
                    <a:pt x="14060" y="2177"/>
                  </a:lnTo>
                  <a:lnTo>
                    <a:pt x="14059" y="2170"/>
                  </a:lnTo>
                  <a:lnTo>
                    <a:pt x="14059" y="1482"/>
                  </a:lnTo>
                  <a:lnTo>
                    <a:pt x="14059" y="795"/>
                  </a:lnTo>
                  <a:lnTo>
                    <a:pt x="13534" y="795"/>
                  </a:lnTo>
                  <a:lnTo>
                    <a:pt x="13384" y="795"/>
                  </a:lnTo>
                  <a:lnTo>
                    <a:pt x="13150" y="795"/>
                  </a:lnTo>
                  <a:lnTo>
                    <a:pt x="13141" y="793"/>
                  </a:lnTo>
                  <a:lnTo>
                    <a:pt x="13134" y="789"/>
                  </a:lnTo>
                  <a:lnTo>
                    <a:pt x="13131" y="782"/>
                  </a:lnTo>
                  <a:lnTo>
                    <a:pt x="13129" y="775"/>
                  </a:lnTo>
                  <a:lnTo>
                    <a:pt x="13131" y="767"/>
                  </a:lnTo>
                  <a:lnTo>
                    <a:pt x="13134" y="761"/>
                  </a:lnTo>
                  <a:lnTo>
                    <a:pt x="13141" y="757"/>
                  </a:lnTo>
                  <a:lnTo>
                    <a:pt x="13150" y="754"/>
                  </a:lnTo>
                  <a:lnTo>
                    <a:pt x="13201" y="754"/>
                  </a:lnTo>
                  <a:lnTo>
                    <a:pt x="13201" y="612"/>
                  </a:lnTo>
                  <a:lnTo>
                    <a:pt x="12798" y="612"/>
                  </a:lnTo>
                  <a:lnTo>
                    <a:pt x="12798" y="754"/>
                  </a:lnTo>
                  <a:lnTo>
                    <a:pt x="12852" y="754"/>
                  </a:lnTo>
                  <a:lnTo>
                    <a:pt x="12861" y="757"/>
                  </a:lnTo>
                  <a:lnTo>
                    <a:pt x="12868" y="761"/>
                  </a:lnTo>
                  <a:lnTo>
                    <a:pt x="12872" y="767"/>
                  </a:lnTo>
                  <a:lnTo>
                    <a:pt x="12873" y="775"/>
                  </a:lnTo>
                  <a:lnTo>
                    <a:pt x="12872" y="782"/>
                  </a:lnTo>
                  <a:lnTo>
                    <a:pt x="12868" y="789"/>
                  </a:lnTo>
                  <a:lnTo>
                    <a:pt x="12861" y="793"/>
                  </a:lnTo>
                  <a:lnTo>
                    <a:pt x="12852" y="795"/>
                  </a:lnTo>
                  <a:lnTo>
                    <a:pt x="12664" y="795"/>
                  </a:lnTo>
                  <a:lnTo>
                    <a:pt x="12664" y="1810"/>
                  </a:lnTo>
                  <a:lnTo>
                    <a:pt x="12664" y="2826"/>
                  </a:lnTo>
                  <a:lnTo>
                    <a:pt x="12661" y="2835"/>
                  </a:lnTo>
                  <a:lnTo>
                    <a:pt x="12657" y="2840"/>
                  </a:lnTo>
                  <a:lnTo>
                    <a:pt x="12651" y="2844"/>
                  </a:lnTo>
                  <a:lnTo>
                    <a:pt x="12643" y="2845"/>
                  </a:lnTo>
                  <a:lnTo>
                    <a:pt x="12636" y="2844"/>
                  </a:lnTo>
                  <a:lnTo>
                    <a:pt x="12629" y="2840"/>
                  </a:lnTo>
                  <a:lnTo>
                    <a:pt x="12625" y="2835"/>
                  </a:lnTo>
                  <a:lnTo>
                    <a:pt x="12624" y="2826"/>
                  </a:lnTo>
                  <a:lnTo>
                    <a:pt x="12624" y="2313"/>
                  </a:lnTo>
                  <a:lnTo>
                    <a:pt x="12624" y="1800"/>
                  </a:lnTo>
                  <a:lnTo>
                    <a:pt x="12624" y="1287"/>
                  </a:lnTo>
                  <a:lnTo>
                    <a:pt x="12624" y="775"/>
                  </a:lnTo>
                  <a:lnTo>
                    <a:pt x="12625" y="767"/>
                  </a:lnTo>
                  <a:lnTo>
                    <a:pt x="12629" y="761"/>
                  </a:lnTo>
                  <a:lnTo>
                    <a:pt x="12636" y="757"/>
                  </a:lnTo>
                  <a:lnTo>
                    <a:pt x="12643" y="754"/>
                  </a:lnTo>
                  <a:lnTo>
                    <a:pt x="12759" y="754"/>
                  </a:lnTo>
                  <a:lnTo>
                    <a:pt x="12759" y="592"/>
                  </a:lnTo>
                  <a:lnTo>
                    <a:pt x="12760" y="584"/>
                  </a:lnTo>
                  <a:lnTo>
                    <a:pt x="12764" y="578"/>
                  </a:lnTo>
                  <a:lnTo>
                    <a:pt x="12770" y="574"/>
                  </a:lnTo>
                  <a:lnTo>
                    <a:pt x="12778" y="573"/>
                  </a:lnTo>
                  <a:lnTo>
                    <a:pt x="13220" y="573"/>
                  </a:lnTo>
                  <a:lnTo>
                    <a:pt x="13228" y="574"/>
                  </a:lnTo>
                  <a:lnTo>
                    <a:pt x="13234" y="578"/>
                  </a:lnTo>
                  <a:lnTo>
                    <a:pt x="13240" y="584"/>
                  </a:lnTo>
                  <a:lnTo>
                    <a:pt x="13241" y="592"/>
                  </a:lnTo>
                  <a:lnTo>
                    <a:pt x="13241" y="754"/>
                  </a:lnTo>
                  <a:lnTo>
                    <a:pt x="13364" y="754"/>
                  </a:lnTo>
                  <a:lnTo>
                    <a:pt x="13364" y="624"/>
                  </a:lnTo>
                  <a:lnTo>
                    <a:pt x="13365" y="617"/>
                  </a:lnTo>
                  <a:lnTo>
                    <a:pt x="13370" y="611"/>
                  </a:lnTo>
                  <a:lnTo>
                    <a:pt x="13377" y="606"/>
                  </a:lnTo>
                  <a:lnTo>
                    <a:pt x="13384" y="605"/>
                  </a:lnTo>
                  <a:lnTo>
                    <a:pt x="13534" y="605"/>
                  </a:lnTo>
                  <a:close/>
                  <a:moveTo>
                    <a:pt x="15835" y="2587"/>
                  </a:moveTo>
                  <a:lnTo>
                    <a:pt x="15677" y="2587"/>
                  </a:lnTo>
                  <a:lnTo>
                    <a:pt x="15677" y="3445"/>
                  </a:lnTo>
                  <a:lnTo>
                    <a:pt x="15677" y="4304"/>
                  </a:lnTo>
                  <a:lnTo>
                    <a:pt x="16008" y="4304"/>
                  </a:lnTo>
                  <a:lnTo>
                    <a:pt x="16008" y="3419"/>
                  </a:lnTo>
                  <a:lnTo>
                    <a:pt x="16008" y="2534"/>
                  </a:lnTo>
                  <a:lnTo>
                    <a:pt x="16009" y="2525"/>
                  </a:lnTo>
                  <a:lnTo>
                    <a:pt x="16012" y="2519"/>
                  </a:lnTo>
                  <a:lnTo>
                    <a:pt x="16016" y="2515"/>
                  </a:lnTo>
                  <a:lnTo>
                    <a:pt x="16021" y="2511"/>
                  </a:lnTo>
                  <a:lnTo>
                    <a:pt x="16027" y="2511"/>
                  </a:lnTo>
                  <a:lnTo>
                    <a:pt x="16032" y="2512"/>
                  </a:lnTo>
                  <a:lnTo>
                    <a:pt x="16039" y="2516"/>
                  </a:lnTo>
                  <a:lnTo>
                    <a:pt x="16045" y="2523"/>
                  </a:lnTo>
                  <a:lnTo>
                    <a:pt x="16536" y="3199"/>
                  </a:lnTo>
                  <a:lnTo>
                    <a:pt x="16536" y="2534"/>
                  </a:lnTo>
                  <a:lnTo>
                    <a:pt x="16538" y="2525"/>
                  </a:lnTo>
                  <a:lnTo>
                    <a:pt x="16540" y="2519"/>
                  </a:lnTo>
                  <a:lnTo>
                    <a:pt x="16544" y="2515"/>
                  </a:lnTo>
                  <a:lnTo>
                    <a:pt x="16549" y="2511"/>
                  </a:lnTo>
                  <a:lnTo>
                    <a:pt x="16556" y="2511"/>
                  </a:lnTo>
                  <a:lnTo>
                    <a:pt x="16562" y="2512"/>
                  </a:lnTo>
                  <a:lnTo>
                    <a:pt x="16567" y="2516"/>
                  </a:lnTo>
                  <a:lnTo>
                    <a:pt x="16573" y="2523"/>
                  </a:lnTo>
                  <a:lnTo>
                    <a:pt x="17076" y="3214"/>
                  </a:lnTo>
                  <a:lnTo>
                    <a:pt x="17076" y="2534"/>
                  </a:lnTo>
                  <a:lnTo>
                    <a:pt x="17077" y="2525"/>
                  </a:lnTo>
                  <a:lnTo>
                    <a:pt x="17080" y="2519"/>
                  </a:lnTo>
                  <a:lnTo>
                    <a:pt x="17084" y="2515"/>
                  </a:lnTo>
                  <a:lnTo>
                    <a:pt x="17089" y="2511"/>
                  </a:lnTo>
                  <a:lnTo>
                    <a:pt x="17094" y="2511"/>
                  </a:lnTo>
                  <a:lnTo>
                    <a:pt x="17100" y="2512"/>
                  </a:lnTo>
                  <a:lnTo>
                    <a:pt x="17107" y="2516"/>
                  </a:lnTo>
                  <a:lnTo>
                    <a:pt x="17112" y="2523"/>
                  </a:lnTo>
                  <a:lnTo>
                    <a:pt x="17640" y="3249"/>
                  </a:lnTo>
                  <a:lnTo>
                    <a:pt x="17644" y="3258"/>
                  </a:lnTo>
                  <a:lnTo>
                    <a:pt x="17644" y="3265"/>
                  </a:lnTo>
                  <a:lnTo>
                    <a:pt x="17642" y="3272"/>
                  </a:lnTo>
                  <a:lnTo>
                    <a:pt x="17636" y="3277"/>
                  </a:lnTo>
                  <a:lnTo>
                    <a:pt x="17630" y="3281"/>
                  </a:lnTo>
                  <a:lnTo>
                    <a:pt x="17622" y="3281"/>
                  </a:lnTo>
                  <a:lnTo>
                    <a:pt x="17615" y="3280"/>
                  </a:lnTo>
                  <a:lnTo>
                    <a:pt x="17608" y="3273"/>
                  </a:lnTo>
                  <a:lnTo>
                    <a:pt x="17116" y="2595"/>
                  </a:lnTo>
                  <a:lnTo>
                    <a:pt x="17116" y="3262"/>
                  </a:lnTo>
                  <a:lnTo>
                    <a:pt x="17113" y="3271"/>
                  </a:lnTo>
                  <a:lnTo>
                    <a:pt x="17108" y="3278"/>
                  </a:lnTo>
                  <a:lnTo>
                    <a:pt x="17099" y="3281"/>
                  </a:lnTo>
                  <a:lnTo>
                    <a:pt x="17090" y="3281"/>
                  </a:lnTo>
                  <a:lnTo>
                    <a:pt x="17080" y="3281"/>
                  </a:lnTo>
                  <a:lnTo>
                    <a:pt x="17074" y="3278"/>
                  </a:lnTo>
                  <a:lnTo>
                    <a:pt x="17070" y="3273"/>
                  </a:lnTo>
                  <a:lnTo>
                    <a:pt x="16577" y="2595"/>
                  </a:lnTo>
                  <a:lnTo>
                    <a:pt x="16577" y="3258"/>
                  </a:lnTo>
                  <a:lnTo>
                    <a:pt x="16577" y="3264"/>
                  </a:lnTo>
                  <a:lnTo>
                    <a:pt x="16575" y="3269"/>
                  </a:lnTo>
                  <a:lnTo>
                    <a:pt x="16571" y="3276"/>
                  </a:lnTo>
                  <a:lnTo>
                    <a:pt x="16563" y="3281"/>
                  </a:lnTo>
                  <a:lnTo>
                    <a:pt x="16554" y="3281"/>
                  </a:lnTo>
                  <a:lnTo>
                    <a:pt x="16547" y="3278"/>
                  </a:lnTo>
                  <a:lnTo>
                    <a:pt x="16541" y="3276"/>
                  </a:lnTo>
                  <a:lnTo>
                    <a:pt x="16539" y="3271"/>
                  </a:lnTo>
                  <a:lnTo>
                    <a:pt x="16049" y="2595"/>
                  </a:lnTo>
                  <a:lnTo>
                    <a:pt x="16049" y="3450"/>
                  </a:lnTo>
                  <a:lnTo>
                    <a:pt x="16049" y="4304"/>
                  </a:lnTo>
                  <a:lnTo>
                    <a:pt x="16844" y="4304"/>
                  </a:lnTo>
                  <a:lnTo>
                    <a:pt x="16853" y="4305"/>
                  </a:lnTo>
                  <a:lnTo>
                    <a:pt x="16859" y="4310"/>
                  </a:lnTo>
                  <a:lnTo>
                    <a:pt x="16863" y="4317"/>
                  </a:lnTo>
                  <a:lnTo>
                    <a:pt x="16865" y="4324"/>
                  </a:lnTo>
                  <a:lnTo>
                    <a:pt x="16863" y="4331"/>
                  </a:lnTo>
                  <a:lnTo>
                    <a:pt x="16859" y="4337"/>
                  </a:lnTo>
                  <a:lnTo>
                    <a:pt x="16853" y="4342"/>
                  </a:lnTo>
                  <a:lnTo>
                    <a:pt x="16844" y="4343"/>
                  </a:lnTo>
                  <a:lnTo>
                    <a:pt x="16250" y="4343"/>
                  </a:lnTo>
                  <a:lnTo>
                    <a:pt x="15657" y="4343"/>
                  </a:lnTo>
                  <a:lnTo>
                    <a:pt x="14760" y="4343"/>
                  </a:lnTo>
                  <a:lnTo>
                    <a:pt x="13864" y="4343"/>
                  </a:lnTo>
                  <a:lnTo>
                    <a:pt x="13856" y="4342"/>
                  </a:lnTo>
                  <a:lnTo>
                    <a:pt x="13850" y="4338"/>
                  </a:lnTo>
                  <a:lnTo>
                    <a:pt x="13846" y="4332"/>
                  </a:lnTo>
                  <a:lnTo>
                    <a:pt x="13843" y="4324"/>
                  </a:lnTo>
                  <a:lnTo>
                    <a:pt x="13843" y="3455"/>
                  </a:lnTo>
                  <a:lnTo>
                    <a:pt x="13843" y="2587"/>
                  </a:lnTo>
                  <a:lnTo>
                    <a:pt x="13686" y="2587"/>
                  </a:lnTo>
                  <a:lnTo>
                    <a:pt x="13677" y="2585"/>
                  </a:lnTo>
                  <a:lnTo>
                    <a:pt x="13670" y="2581"/>
                  </a:lnTo>
                  <a:lnTo>
                    <a:pt x="13667" y="2575"/>
                  </a:lnTo>
                  <a:lnTo>
                    <a:pt x="13665" y="2567"/>
                  </a:lnTo>
                  <a:lnTo>
                    <a:pt x="13667" y="2560"/>
                  </a:lnTo>
                  <a:lnTo>
                    <a:pt x="13670" y="2553"/>
                  </a:lnTo>
                  <a:lnTo>
                    <a:pt x="13677" y="2549"/>
                  </a:lnTo>
                  <a:lnTo>
                    <a:pt x="13686" y="2547"/>
                  </a:lnTo>
                  <a:lnTo>
                    <a:pt x="13963" y="2547"/>
                  </a:lnTo>
                  <a:lnTo>
                    <a:pt x="13963" y="2374"/>
                  </a:lnTo>
                  <a:lnTo>
                    <a:pt x="13964" y="2367"/>
                  </a:lnTo>
                  <a:lnTo>
                    <a:pt x="13968" y="2360"/>
                  </a:lnTo>
                  <a:lnTo>
                    <a:pt x="13974" y="2355"/>
                  </a:lnTo>
                  <a:lnTo>
                    <a:pt x="13982" y="2354"/>
                  </a:lnTo>
                  <a:lnTo>
                    <a:pt x="14750" y="2354"/>
                  </a:lnTo>
                  <a:lnTo>
                    <a:pt x="15519" y="2354"/>
                  </a:lnTo>
                  <a:lnTo>
                    <a:pt x="15527" y="2355"/>
                  </a:lnTo>
                  <a:lnTo>
                    <a:pt x="15534" y="2360"/>
                  </a:lnTo>
                  <a:lnTo>
                    <a:pt x="15537" y="2367"/>
                  </a:lnTo>
                  <a:lnTo>
                    <a:pt x="15539" y="2374"/>
                  </a:lnTo>
                  <a:lnTo>
                    <a:pt x="15539" y="2547"/>
                  </a:lnTo>
                  <a:lnTo>
                    <a:pt x="15835" y="2547"/>
                  </a:lnTo>
                  <a:lnTo>
                    <a:pt x="15844" y="2549"/>
                  </a:lnTo>
                  <a:lnTo>
                    <a:pt x="15850" y="2553"/>
                  </a:lnTo>
                  <a:lnTo>
                    <a:pt x="15854" y="2560"/>
                  </a:lnTo>
                  <a:lnTo>
                    <a:pt x="15855" y="2567"/>
                  </a:lnTo>
                  <a:lnTo>
                    <a:pt x="15854" y="2575"/>
                  </a:lnTo>
                  <a:lnTo>
                    <a:pt x="15850" y="2581"/>
                  </a:lnTo>
                  <a:lnTo>
                    <a:pt x="15844" y="2585"/>
                  </a:lnTo>
                  <a:lnTo>
                    <a:pt x="15835" y="2587"/>
                  </a:lnTo>
                  <a:close/>
                  <a:moveTo>
                    <a:pt x="15636" y="2587"/>
                  </a:moveTo>
                  <a:lnTo>
                    <a:pt x="14760" y="2587"/>
                  </a:lnTo>
                  <a:lnTo>
                    <a:pt x="13885" y="2587"/>
                  </a:lnTo>
                  <a:lnTo>
                    <a:pt x="13885" y="3445"/>
                  </a:lnTo>
                  <a:lnTo>
                    <a:pt x="13885" y="4304"/>
                  </a:lnTo>
                  <a:lnTo>
                    <a:pt x="14760" y="4304"/>
                  </a:lnTo>
                  <a:lnTo>
                    <a:pt x="15636" y="4304"/>
                  </a:lnTo>
                  <a:lnTo>
                    <a:pt x="15636" y="3445"/>
                  </a:lnTo>
                  <a:lnTo>
                    <a:pt x="15636" y="2587"/>
                  </a:lnTo>
                  <a:close/>
                  <a:moveTo>
                    <a:pt x="14002" y="2547"/>
                  </a:moveTo>
                  <a:lnTo>
                    <a:pt x="14750" y="2547"/>
                  </a:lnTo>
                  <a:lnTo>
                    <a:pt x="15499" y="2547"/>
                  </a:lnTo>
                  <a:lnTo>
                    <a:pt x="15499" y="2393"/>
                  </a:lnTo>
                  <a:lnTo>
                    <a:pt x="14750" y="2393"/>
                  </a:lnTo>
                  <a:lnTo>
                    <a:pt x="14002" y="2393"/>
                  </a:lnTo>
                  <a:lnTo>
                    <a:pt x="14002" y="2547"/>
                  </a:lnTo>
                  <a:close/>
                  <a:moveTo>
                    <a:pt x="15171" y="3639"/>
                  </a:moveTo>
                  <a:lnTo>
                    <a:pt x="15171" y="3751"/>
                  </a:lnTo>
                  <a:lnTo>
                    <a:pt x="15168" y="3760"/>
                  </a:lnTo>
                  <a:lnTo>
                    <a:pt x="15164" y="3765"/>
                  </a:lnTo>
                  <a:lnTo>
                    <a:pt x="15158" y="3769"/>
                  </a:lnTo>
                  <a:lnTo>
                    <a:pt x="15150" y="3771"/>
                  </a:lnTo>
                  <a:lnTo>
                    <a:pt x="15142" y="3769"/>
                  </a:lnTo>
                  <a:lnTo>
                    <a:pt x="15136" y="3765"/>
                  </a:lnTo>
                  <a:lnTo>
                    <a:pt x="15132" y="3760"/>
                  </a:lnTo>
                  <a:lnTo>
                    <a:pt x="15131" y="3751"/>
                  </a:lnTo>
                  <a:lnTo>
                    <a:pt x="15131" y="3639"/>
                  </a:lnTo>
                  <a:lnTo>
                    <a:pt x="15132" y="3630"/>
                  </a:lnTo>
                  <a:lnTo>
                    <a:pt x="15136" y="3624"/>
                  </a:lnTo>
                  <a:lnTo>
                    <a:pt x="15142" y="3620"/>
                  </a:lnTo>
                  <a:lnTo>
                    <a:pt x="15150" y="3618"/>
                  </a:lnTo>
                  <a:lnTo>
                    <a:pt x="15158" y="3620"/>
                  </a:lnTo>
                  <a:lnTo>
                    <a:pt x="15164" y="3624"/>
                  </a:lnTo>
                  <a:lnTo>
                    <a:pt x="15168" y="3630"/>
                  </a:lnTo>
                  <a:lnTo>
                    <a:pt x="15171" y="3639"/>
                  </a:lnTo>
                  <a:close/>
                  <a:moveTo>
                    <a:pt x="14908" y="3639"/>
                  </a:moveTo>
                  <a:lnTo>
                    <a:pt x="14908" y="3751"/>
                  </a:lnTo>
                  <a:lnTo>
                    <a:pt x="14905" y="3760"/>
                  </a:lnTo>
                  <a:lnTo>
                    <a:pt x="14901" y="3765"/>
                  </a:lnTo>
                  <a:lnTo>
                    <a:pt x="14895" y="3769"/>
                  </a:lnTo>
                  <a:lnTo>
                    <a:pt x="14887" y="3771"/>
                  </a:lnTo>
                  <a:lnTo>
                    <a:pt x="14880" y="3769"/>
                  </a:lnTo>
                  <a:lnTo>
                    <a:pt x="14873" y="3765"/>
                  </a:lnTo>
                  <a:lnTo>
                    <a:pt x="14869" y="3760"/>
                  </a:lnTo>
                  <a:lnTo>
                    <a:pt x="14867" y="3751"/>
                  </a:lnTo>
                  <a:lnTo>
                    <a:pt x="14867" y="3639"/>
                  </a:lnTo>
                  <a:lnTo>
                    <a:pt x="14869" y="3630"/>
                  </a:lnTo>
                  <a:lnTo>
                    <a:pt x="14873" y="3624"/>
                  </a:lnTo>
                  <a:lnTo>
                    <a:pt x="14880" y="3620"/>
                  </a:lnTo>
                  <a:lnTo>
                    <a:pt x="14887" y="3618"/>
                  </a:lnTo>
                  <a:lnTo>
                    <a:pt x="14895" y="3620"/>
                  </a:lnTo>
                  <a:lnTo>
                    <a:pt x="14901" y="3624"/>
                  </a:lnTo>
                  <a:lnTo>
                    <a:pt x="14905" y="3630"/>
                  </a:lnTo>
                  <a:lnTo>
                    <a:pt x="14908" y="3639"/>
                  </a:lnTo>
                  <a:close/>
                  <a:moveTo>
                    <a:pt x="14644" y="3639"/>
                  </a:moveTo>
                  <a:lnTo>
                    <a:pt x="14644" y="3751"/>
                  </a:lnTo>
                  <a:lnTo>
                    <a:pt x="14642" y="3760"/>
                  </a:lnTo>
                  <a:lnTo>
                    <a:pt x="14637" y="3765"/>
                  </a:lnTo>
                  <a:lnTo>
                    <a:pt x="14631" y="3769"/>
                  </a:lnTo>
                  <a:lnTo>
                    <a:pt x="14624" y="3771"/>
                  </a:lnTo>
                  <a:lnTo>
                    <a:pt x="14617" y="3769"/>
                  </a:lnTo>
                  <a:lnTo>
                    <a:pt x="14610" y="3765"/>
                  </a:lnTo>
                  <a:lnTo>
                    <a:pt x="14606" y="3760"/>
                  </a:lnTo>
                  <a:lnTo>
                    <a:pt x="14604" y="3751"/>
                  </a:lnTo>
                  <a:lnTo>
                    <a:pt x="14604" y="3639"/>
                  </a:lnTo>
                  <a:lnTo>
                    <a:pt x="14606" y="3630"/>
                  </a:lnTo>
                  <a:lnTo>
                    <a:pt x="14610" y="3624"/>
                  </a:lnTo>
                  <a:lnTo>
                    <a:pt x="14617" y="3620"/>
                  </a:lnTo>
                  <a:lnTo>
                    <a:pt x="14624" y="3618"/>
                  </a:lnTo>
                  <a:lnTo>
                    <a:pt x="14631" y="3620"/>
                  </a:lnTo>
                  <a:lnTo>
                    <a:pt x="14637" y="3624"/>
                  </a:lnTo>
                  <a:lnTo>
                    <a:pt x="14642" y="3630"/>
                  </a:lnTo>
                  <a:lnTo>
                    <a:pt x="14644" y="3639"/>
                  </a:lnTo>
                  <a:close/>
                  <a:moveTo>
                    <a:pt x="14381" y="3639"/>
                  </a:moveTo>
                  <a:lnTo>
                    <a:pt x="14381" y="3751"/>
                  </a:lnTo>
                  <a:lnTo>
                    <a:pt x="14379" y="3760"/>
                  </a:lnTo>
                  <a:lnTo>
                    <a:pt x="14374" y="3765"/>
                  </a:lnTo>
                  <a:lnTo>
                    <a:pt x="14368" y="3769"/>
                  </a:lnTo>
                  <a:lnTo>
                    <a:pt x="14362" y="3771"/>
                  </a:lnTo>
                  <a:lnTo>
                    <a:pt x="14354" y="3769"/>
                  </a:lnTo>
                  <a:lnTo>
                    <a:pt x="14347" y="3765"/>
                  </a:lnTo>
                  <a:lnTo>
                    <a:pt x="14342" y="3760"/>
                  </a:lnTo>
                  <a:lnTo>
                    <a:pt x="14341" y="3751"/>
                  </a:lnTo>
                  <a:lnTo>
                    <a:pt x="14341" y="3639"/>
                  </a:lnTo>
                  <a:lnTo>
                    <a:pt x="14342" y="3630"/>
                  </a:lnTo>
                  <a:lnTo>
                    <a:pt x="14347" y="3624"/>
                  </a:lnTo>
                  <a:lnTo>
                    <a:pt x="14354" y="3620"/>
                  </a:lnTo>
                  <a:lnTo>
                    <a:pt x="14362" y="3618"/>
                  </a:lnTo>
                  <a:lnTo>
                    <a:pt x="14368" y="3620"/>
                  </a:lnTo>
                  <a:lnTo>
                    <a:pt x="14374" y="3624"/>
                  </a:lnTo>
                  <a:lnTo>
                    <a:pt x="14379" y="3630"/>
                  </a:lnTo>
                  <a:lnTo>
                    <a:pt x="14381" y="3639"/>
                  </a:lnTo>
                  <a:close/>
                  <a:moveTo>
                    <a:pt x="14118" y="3639"/>
                  </a:moveTo>
                  <a:lnTo>
                    <a:pt x="14118" y="3751"/>
                  </a:lnTo>
                  <a:lnTo>
                    <a:pt x="14117" y="3760"/>
                  </a:lnTo>
                  <a:lnTo>
                    <a:pt x="14111" y="3765"/>
                  </a:lnTo>
                  <a:lnTo>
                    <a:pt x="14105" y="3769"/>
                  </a:lnTo>
                  <a:lnTo>
                    <a:pt x="14097" y="3771"/>
                  </a:lnTo>
                  <a:lnTo>
                    <a:pt x="14091" y="3769"/>
                  </a:lnTo>
                  <a:lnTo>
                    <a:pt x="14085" y="3765"/>
                  </a:lnTo>
                  <a:lnTo>
                    <a:pt x="14079" y="3760"/>
                  </a:lnTo>
                  <a:lnTo>
                    <a:pt x="14078" y="3751"/>
                  </a:lnTo>
                  <a:lnTo>
                    <a:pt x="14078" y="3639"/>
                  </a:lnTo>
                  <a:lnTo>
                    <a:pt x="14079" y="3630"/>
                  </a:lnTo>
                  <a:lnTo>
                    <a:pt x="14085" y="3624"/>
                  </a:lnTo>
                  <a:lnTo>
                    <a:pt x="14091" y="3620"/>
                  </a:lnTo>
                  <a:lnTo>
                    <a:pt x="14097" y="3618"/>
                  </a:lnTo>
                  <a:lnTo>
                    <a:pt x="14105" y="3620"/>
                  </a:lnTo>
                  <a:lnTo>
                    <a:pt x="14111" y="3624"/>
                  </a:lnTo>
                  <a:lnTo>
                    <a:pt x="14117" y="3630"/>
                  </a:lnTo>
                  <a:lnTo>
                    <a:pt x="14118" y="3639"/>
                  </a:lnTo>
                  <a:close/>
                  <a:moveTo>
                    <a:pt x="15434" y="3392"/>
                  </a:moveTo>
                  <a:lnTo>
                    <a:pt x="15434" y="3505"/>
                  </a:lnTo>
                  <a:lnTo>
                    <a:pt x="15432" y="3514"/>
                  </a:lnTo>
                  <a:lnTo>
                    <a:pt x="15427" y="3520"/>
                  </a:lnTo>
                  <a:lnTo>
                    <a:pt x="15421" y="3524"/>
                  </a:lnTo>
                  <a:lnTo>
                    <a:pt x="15413" y="3524"/>
                  </a:lnTo>
                  <a:lnTo>
                    <a:pt x="15407" y="3524"/>
                  </a:lnTo>
                  <a:lnTo>
                    <a:pt x="15400" y="3520"/>
                  </a:lnTo>
                  <a:lnTo>
                    <a:pt x="15395" y="3514"/>
                  </a:lnTo>
                  <a:lnTo>
                    <a:pt x="15394" y="3505"/>
                  </a:lnTo>
                  <a:lnTo>
                    <a:pt x="15394" y="3392"/>
                  </a:lnTo>
                  <a:lnTo>
                    <a:pt x="15395" y="3383"/>
                  </a:lnTo>
                  <a:lnTo>
                    <a:pt x="15400" y="3378"/>
                  </a:lnTo>
                  <a:lnTo>
                    <a:pt x="15407" y="3374"/>
                  </a:lnTo>
                  <a:lnTo>
                    <a:pt x="15413" y="3373"/>
                  </a:lnTo>
                  <a:lnTo>
                    <a:pt x="15421" y="3374"/>
                  </a:lnTo>
                  <a:lnTo>
                    <a:pt x="15427" y="3378"/>
                  </a:lnTo>
                  <a:lnTo>
                    <a:pt x="15432" y="3383"/>
                  </a:lnTo>
                  <a:lnTo>
                    <a:pt x="15434" y="3392"/>
                  </a:lnTo>
                  <a:close/>
                  <a:moveTo>
                    <a:pt x="15171" y="3392"/>
                  </a:moveTo>
                  <a:lnTo>
                    <a:pt x="15171" y="3505"/>
                  </a:lnTo>
                  <a:lnTo>
                    <a:pt x="15168" y="3514"/>
                  </a:lnTo>
                  <a:lnTo>
                    <a:pt x="15164" y="3520"/>
                  </a:lnTo>
                  <a:lnTo>
                    <a:pt x="15158" y="3524"/>
                  </a:lnTo>
                  <a:lnTo>
                    <a:pt x="15150" y="3524"/>
                  </a:lnTo>
                  <a:lnTo>
                    <a:pt x="15142" y="3524"/>
                  </a:lnTo>
                  <a:lnTo>
                    <a:pt x="15136" y="3520"/>
                  </a:lnTo>
                  <a:lnTo>
                    <a:pt x="15132" y="3514"/>
                  </a:lnTo>
                  <a:lnTo>
                    <a:pt x="15131" y="3505"/>
                  </a:lnTo>
                  <a:lnTo>
                    <a:pt x="15131" y="3392"/>
                  </a:lnTo>
                  <a:lnTo>
                    <a:pt x="15132" y="3383"/>
                  </a:lnTo>
                  <a:lnTo>
                    <a:pt x="15136" y="3378"/>
                  </a:lnTo>
                  <a:lnTo>
                    <a:pt x="15142" y="3374"/>
                  </a:lnTo>
                  <a:lnTo>
                    <a:pt x="15150" y="3373"/>
                  </a:lnTo>
                  <a:lnTo>
                    <a:pt x="15158" y="3374"/>
                  </a:lnTo>
                  <a:lnTo>
                    <a:pt x="15164" y="3378"/>
                  </a:lnTo>
                  <a:lnTo>
                    <a:pt x="15168" y="3383"/>
                  </a:lnTo>
                  <a:lnTo>
                    <a:pt x="15171" y="3392"/>
                  </a:lnTo>
                  <a:close/>
                  <a:moveTo>
                    <a:pt x="14908" y="3392"/>
                  </a:moveTo>
                  <a:lnTo>
                    <a:pt x="14908" y="3505"/>
                  </a:lnTo>
                  <a:lnTo>
                    <a:pt x="14905" y="3514"/>
                  </a:lnTo>
                  <a:lnTo>
                    <a:pt x="14901" y="3520"/>
                  </a:lnTo>
                  <a:lnTo>
                    <a:pt x="14895" y="3524"/>
                  </a:lnTo>
                  <a:lnTo>
                    <a:pt x="14887" y="3524"/>
                  </a:lnTo>
                  <a:lnTo>
                    <a:pt x="14880" y="3524"/>
                  </a:lnTo>
                  <a:lnTo>
                    <a:pt x="14873" y="3520"/>
                  </a:lnTo>
                  <a:lnTo>
                    <a:pt x="14869" y="3514"/>
                  </a:lnTo>
                  <a:lnTo>
                    <a:pt x="14867" y="3505"/>
                  </a:lnTo>
                  <a:lnTo>
                    <a:pt x="14867" y="3392"/>
                  </a:lnTo>
                  <a:lnTo>
                    <a:pt x="14869" y="3383"/>
                  </a:lnTo>
                  <a:lnTo>
                    <a:pt x="14873" y="3378"/>
                  </a:lnTo>
                  <a:lnTo>
                    <a:pt x="14880" y="3374"/>
                  </a:lnTo>
                  <a:lnTo>
                    <a:pt x="14887" y="3373"/>
                  </a:lnTo>
                  <a:lnTo>
                    <a:pt x="14895" y="3374"/>
                  </a:lnTo>
                  <a:lnTo>
                    <a:pt x="14901" y="3378"/>
                  </a:lnTo>
                  <a:lnTo>
                    <a:pt x="14905" y="3383"/>
                  </a:lnTo>
                  <a:lnTo>
                    <a:pt x="14908" y="3392"/>
                  </a:lnTo>
                  <a:close/>
                  <a:moveTo>
                    <a:pt x="14644" y="3392"/>
                  </a:moveTo>
                  <a:lnTo>
                    <a:pt x="14644" y="3505"/>
                  </a:lnTo>
                  <a:lnTo>
                    <a:pt x="14642" y="3514"/>
                  </a:lnTo>
                  <a:lnTo>
                    <a:pt x="14637" y="3520"/>
                  </a:lnTo>
                  <a:lnTo>
                    <a:pt x="14631" y="3524"/>
                  </a:lnTo>
                  <a:lnTo>
                    <a:pt x="14624" y="3524"/>
                  </a:lnTo>
                  <a:lnTo>
                    <a:pt x="14617" y="3524"/>
                  </a:lnTo>
                  <a:lnTo>
                    <a:pt x="14610" y="3520"/>
                  </a:lnTo>
                  <a:lnTo>
                    <a:pt x="14606" y="3514"/>
                  </a:lnTo>
                  <a:lnTo>
                    <a:pt x="14604" y="3505"/>
                  </a:lnTo>
                  <a:lnTo>
                    <a:pt x="14604" y="3392"/>
                  </a:lnTo>
                  <a:lnTo>
                    <a:pt x="14606" y="3383"/>
                  </a:lnTo>
                  <a:lnTo>
                    <a:pt x="14610" y="3378"/>
                  </a:lnTo>
                  <a:lnTo>
                    <a:pt x="14617" y="3374"/>
                  </a:lnTo>
                  <a:lnTo>
                    <a:pt x="14624" y="3373"/>
                  </a:lnTo>
                  <a:lnTo>
                    <a:pt x="14631" y="3374"/>
                  </a:lnTo>
                  <a:lnTo>
                    <a:pt x="14637" y="3378"/>
                  </a:lnTo>
                  <a:lnTo>
                    <a:pt x="14642" y="3383"/>
                  </a:lnTo>
                  <a:lnTo>
                    <a:pt x="14644" y="3392"/>
                  </a:lnTo>
                  <a:close/>
                  <a:moveTo>
                    <a:pt x="14381" y="3392"/>
                  </a:moveTo>
                  <a:lnTo>
                    <a:pt x="14381" y="3505"/>
                  </a:lnTo>
                  <a:lnTo>
                    <a:pt x="14379" y="3514"/>
                  </a:lnTo>
                  <a:lnTo>
                    <a:pt x="14374" y="3520"/>
                  </a:lnTo>
                  <a:lnTo>
                    <a:pt x="14368" y="3524"/>
                  </a:lnTo>
                  <a:lnTo>
                    <a:pt x="14362" y="3524"/>
                  </a:lnTo>
                  <a:lnTo>
                    <a:pt x="14354" y="3524"/>
                  </a:lnTo>
                  <a:lnTo>
                    <a:pt x="14347" y="3520"/>
                  </a:lnTo>
                  <a:lnTo>
                    <a:pt x="14342" y="3514"/>
                  </a:lnTo>
                  <a:lnTo>
                    <a:pt x="14341" y="3505"/>
                  </a:lnTo>
                  <a:lnTo>
                    <a:pt x="14341" y="3392"/>
                  </a:lnTo>
                  <a:lnTo>
                    <a:pt x="14342" y="3383"/>
                  </a:lnTo>
                  <a:lnTo>
                    <a:pt x="14347" y="3378"/>
                  </a:lnTo>
                  <a:lnTo>
                    <a:pt x="14354" y="3374"/>
                  </a:lnTo>
                  <a:lnTo>
                    <a:pt x="14362" y="3373"/>
                  </a:lnTo>
                  <a:lnTo>
                    <a:pt x="14368" y="3374"/>
                  </a:lnTo>
                  <a:lnTo>
                    <a:pt x="14374" y="3378"/>
                  </a:lnTo>
                  <a:lnTo>
                    <a:pt x="14379" y="3383"/>
                  </a:lnTo>
                  <a:lnTo>
                    <a:pt x="14381" y="3392"/>
                  </a:lnTo>
                  <a:close/>
                  <a:moveTo>
                    <a:pt x="14118" y="3392"/>
                  </a:moveTo>
                  <a:lnTo>
                    <a:pt x="14118" y="3505"/>
                  </a:lnTo>
                  <a:lnTo>
                    <a:pt x="14117" y="3514"/>
                  </a:lnTo>
                  <a:lnTo>
                    <a:pt x="14111" y="3520"/>
                  </a:lnTo>
                  <a:lnTo>
                    <a:pt x="14105" y="3524"/>
                  </a:lnTo>
                  <a:lnTo>
                    <a:pt x="14097" y="3524"/>
                  </a:lnTo>
                  <a:lnTo>
                    <a:pt x="14091" y="3524"/>
                  </a:lnTo>
                  <a:lnTo>
                    <a:pt x="14085" y="3520"/>
                  </a:lnTo>
                  <a:lnTo>
                    <a:pt x="14079" y="3514"/>
                  </a:lnTo>
                  <a:lnTo>
                    <a:pt x="14078" y="3505"/>
                  </a:lnTo>
                  <a:lnTo>
                    <a:pt x="14078" y="3392"/>
                  </a:lnTo>
                  <a:lnTo>
                    <a:pt x="14079" y="3383"/>
                  </a:lnTo>
                  <a:lnTo>
                    <a:pt x="14085" y="3378"/>
                  </a:lnTo>
                  <a:lnTo>
                    <a:pt x="14091" y="3374"/>
                  </a:lnTo>
                  <a:lnTo>
                    <a:pt x="14097" y="3373"/>
                  </a:lnTo>
                  <a:lnTo>
                    <a:pt x="14105" y="3374"/>
                  </a:lnTo>
                  <a:lnTo>
                    <a:pt x="14111" y="3378"/>
                  </a:lnTo>
                  <a:lnTo>
                    <a:pt x="14117" y="3383"/>
                  </a:lnTo>
                  <a:lnTo>
                    <a:pt x="14118" y="3392"/>
                  </a:lnTo>
                  <a:close/>
                  <a:moveTo>
                    <a:pt x="15434" y="3145"/>
                  </a:moveTo>
                  <a:lnTo>
                    <a:pt x="15434" y="3258"/>
                  </a:lnTo>
                  <a:lnTo>
                    <a:pt x="15432" y="3267"/>
                  </a:lnTo>
                  <a:lnTo>
                    <a:pt x="15427" y="3273"/>
                  </a:lnTo>
                  <a:lnTo>
                    <a:pt x="15421" y="3277"/>
                  </a:lnTo>
                  <a:lnTo>
                    <a:pt x="15413" y="3278"/>
                  </a:lnTo>
                  <a:lnTo>
                    <a:pt x="15407" y="3277"/>
                  </a:lnTo>
                  <a:lnTo>
                    <a:pt x="15400" y="3273"/>
                  </a:lnTo>
                  <a:lnTo>
                    <a:pt x="15395" y="3267"/>
                  </a:lnTo>
                  <a:lnTo>
                    <a:pt x="15394" y="3258"/>
                  </a:lnTo>
                  <a:lnTo>
                    <a:pt x="15394" y="3145"/>
                  </a:lnTo>
                  <a:lnTo>
                    <a:pt x="15395" y="3138"/>
                  </a:lnTo>
                  <a:lnTo>
                    <a:pt x="15400" y="3131"/>
                  </a:lnTo>
                  <a:lnTo>
                    <a:pt x="15407" y="3127"/>
                  </a:lnTo>
                  <a:lnTo>
                    <a:pt x="15413" y="3126"/>
                  </a:lnTo>
                  <a:lnTo>
                    <a:pt x="15421" y="3127"/>
                  </a:lnTo>
                  <a:lnTo>
                    <a:pt x="15427" y="3131"/>
                  </a:lnTo>
                  <a:lnTo>
                    <a:pt x="15432" y="3138"/>
                  </a:lnTo>
                  <a:lnTo>
                    <a:pt x="15434" y="3145"/>
                  </a:lnTo>
                  <a:close/>
                  <a:moveTo>
                    <a:pt x="15171" y="3145"/>
                  </a:moveTo>
                  <a:lnTo>
                    <a:pt x="15171" y="3258"/>
                  </a:lnTo>
                  <a:lnTo>
                    <a:pt x="15168" y="3267"/>
                  </a:lnTo>
                  <a:lnTo>
                    <a:pt x="15164" y="3273"/>
                  </a:lnTo>
                  <a:lnTo>
                    <a:pt x="15158" y="3277"/>
                  </a:lnTo>
                  <a:lnTo>
                    <a:pt x="15150" y="3278"/>
                  </a:lnTo>
                  <a:lnTo>
                    <a:pt x="15142" y="3277"/>
                  </a:lnTo>
                  <a:lnTo>
                    <a:pt x="15136" y="3273"/>
                  </a:lnTo>
                  <a:lnTo>
                    <a:pt x="15132" y="3267"/>
                  </a:lnTo>
                  <a:lnTo>
                    <a:pt x="15131" y="3258"/>
                  </a:lnTo>
                  <a:lnTo>
                    <a:pt x="15131" y="3145"/>
                  </a:lnTo>
                  <a:lnTo>
                    <a:pt x="15132" y="3138"/>
                  </a:lnTo>
                  <a:lnTo>
                    <a:pt x="15136" y="3131"/>
                  </a:lnTo>
                  <a:lnTo>
                    <a:pt x="15142" y="3127"/>
                  </a:lnTo>
                  <a:lnTo>
                    <a:pt x="15150" y="3126"/>
                  </a:lnTo>
                  <a:lnTo>
                    <a:pt x="15158" y="3127"/>
                  </a:lnTo>
                  <a:lnTo>
                    <a:pt x="15164" y="3131"/>
                  </a:lnTo>
                  <a:lnTo>
                    <a:pt x="15168" y="3138"/>
                  </a:lnTo>
                  <a:lnTo>
                    <a:pt x="15171" y="3145"/>
                  </a:lnTo>
                  <a:close/>
                  <a:moveTo>
                    <a:pt x="14908" y="3145"/>
                  </a:moveTo>
                  <a:lnTo>
                    <a:pt x="14908" y="3258"/>
                  </a:lnTo>
                  <a:lnTo>
                    <a:pt x="14905" y="3267"/>
                  </a:lnTo>
                  <a:lnTo>
                    <a:pt x="14901" y="3273"/>
                  </a:lnTo>
                  <a:lnTo>
                    <a:pt x="14895" y="3277"/>
                  </a:lnTo>
                  <a:lnTo>
                    <a:pt x="14887" y="3278"/>
                  </a:lnTo>
                  <a:lnTo>
                    <a:pt x="14880" y="3277"/>
                  </a:lnTo>
                  <a:lnTo>
                    <a:pt x="14873" y="3273"/>
                  </a:lnTo>
                  <a:lnTo>
                    <a:pt x="14869" y="3267"/>
                  </a:lnTo>
                  <a:lnTo>
                    <a:pt x="14867" y="3258"/>
                  </a:lnTo>
                  <a:lnTo>
                    <a:pt x="14867" y="3145"/>
                  </a:lnTo>
                  <a:lnTo>
                    <a:pt x="14869" y="3138"/>
                  </a:lnTo>
                  <a:lnTo>
                    <a:pt x="14873" y="3131"/>
                  </a:lnTo>
                  <a:lnTo>
                    <a:pt x="14880" y="3127"/>
                  </a:lnTo>
                  <a:lnTo>
                    <a:pt x="14887" y="3126"/>
                  </a:lnTo>
                  <a:lnTo>
                    <a:pt x="14895" y="3127"/>
                  </a:lnTo>
                  <a:lnTo>
                    <a:pt x="14901" y="3131"/>
                  </a:lnTo>
                  <a:lnTo>
                    <a:pt x="14905" y="3138"/>
                  </a:lnTo>
                  <a:lnTo>
                    <a:pt x="14908" y="3145"/>
                  </a:lnTo>
                  <a:close/>
                  <a:moveTo>
                    <a:pt x="14644" y="3145"/>
                  </a:moveTo>
                  <a:lnTo>
                    <a:pt x="14644" y="3258"/>
                  </a:lnTo>
                  <a:lnTo>
                    <a:pt x="14642" y="3267"/>
                  </a:lnTo>
                  <a:lnTo>
                    <a:pt x="14637" y="3273"/>
                  </a:lnTo>
                  <a:lnTo>
                    <a:pt x="14631" y="3277"/>
                  </a:lnTo>
                  <a:lnTo>
                    <a:pt x="14624" y="3278"/>
                  </a:lnTo>
                  <a:lnTo>
                    <a:pt x="14617" y="3277"/>
                  </a:lnTo>
                  <a:lnTo>
                    <a:pt x="14610" y="3273"/>
                  </a:lnTo>
                  <a:lnTo>
                    <a:pt x="14606" y="3267"/>
                  </a:lnTo>
                  <a:lnTo>
                    <a:pt x="14604" y="3258"/>
                  </a:lnTo>
                  <a:lnTo>
                    <a:pt x="14604" y="3145"/>
                  </a:lnTo>
                  <a:lnTo>
                    <a:pt x="14606" y="3138"/>
                  </a:lnTo>
                  <a:lnTo>
                    <a:pt x="14610" y="3131"/>
                  </a:lnTo>
                  <a:lnTo>
                    <a:pt x="14617" y="3127"/>
                  </a:lnTo>
                  <a:lnTo>
                    <a:pt x="14624" y="3126"/>
                  </a:lnTo>
                  <a:lnTo>
                    <a:pt x="14631" y="3127"/>
                  </a:lnTo>
                  <a:lnTo>
                    <a:pt x="14637" y="3131"/>
                  </a:lnTo>
                  <a:lnTo>
                    <a:pt x="14642" y="3138"/>
                  </a:lnTo>
                  <a:lnTo>
                    <a:pt x="14644" y="3145"/>
                  </a:lnTo>
                  <a:close/>
                  <a:moveTo>
                    <a:pt x="14381" y="3145"/>
                  </a:moveTo>
                  <a:lnTo>
                    <a:pt x="14381" y="3258"/>
                  </a:lnTo>
                  <a:lnTo>
                    <a:pt x="14379" y="3267"/>
                  </a:lnTo>
                  <a:lnTo>
                    <a:pt x="14374" y="3273"/>
                  </a:lnTo>
                  <a:lnTo>
                    <a:pt x="14368" y="3277"/>
                  </a:lnTo>
                  <a:lnTo>
                    <a:pt x="14362" y="3278"/>
                  </a:lnTo>
                  <a:lnTo>
                    <a:pt x="14354" y="3277"/>
                  </a:lnTo>
                  <a:lnTo>
                    <a:pt x="14347" y="3273"/>
                  </a:lnTo>
                  <a:lnTo>
                    <a:pt x="14342" y="3267"/>
                  </a:lnTo>
                  <a:lnTo>
                    <a:pt x="14341" y="3258"/>
                  </a:lnTo>
                  <a:lnTo>
                    <a:pt x="14341" y="3145"/>
                  </a:lnTo>
                  <a:lnTo>
                    <a:pt x="14342" y="3138"/>
                  </a:lnTo>
                  <a:lnTo>
                    <a:pt x="14347" y="3131"/>
                  </a:lnTo>
                  <a:lnTo>
                    <a:pt x="14354" y="3127"/>
                  </a:lnTo>
                  <a:lnTo>
                    <a:pt x="14362" y="3126"/>
                  </a:lnTo>
                  <a:lnTo>
                    <a:pt x="14368" y="3127"/>
                  </a:lnTo>
                  <a:lnTo>
                    <a:pt x="14374" y="3131"/>
                  </a:lnTo>
                  <a:lnTo>
                    <a:pt x="14379" y="3138"/>
                  </a:lnTo>
                  <a:lnTo>
                    <a:pt x="14381" y="3145"/>
                  </a:lnTo>
                  <a:close/>
                  <a:moveTo>
                    <a:pt x="14118" y="3145"/>
                  </a:moveTo>
                  <a:lnTo>
                    <a:pt x="14118" y="3258"/>
                  </a:lnTo>
                  <a:lnTo>
                    <a:pt x="14117" y="3267"/>
                  </a:lnTo>
                  <a:lnTo>
                    <a:pt x="14111" y="3273"/>
                  </a:lnTo>
                  <a:lnTo>
                    <a:pt x="14105" y="3277"/>
                  </a:lnTo>
                  <a:lnTo>
                    <a:pt x="14097" y="3278"/>
                  </a:lnTo>
                  <a:lnTo>
                    <a:pt x="14091" y="3277"/>
                  </a:lnTo>
                  <a:lnTo>
                    <a:pt x="14085" y="3273"/>
                  </a:lnTo>
                  <a:lnTo>
                    <a:pt x="14079" y="3267"/>
                  </a:lnTo>
                  <a:lnTo>
                    <a:pt x="14078" y="3258"/>
                  </a:lnTo>
                  <a:lnTo>
                    <a:pt x="14078" y="3145"/>
                  </a:lnTo>
                  <a:lnTo>
                    <a:pt x="14079" y="3138"/>
                  </a:lnTo>
                  <a:lnTo>
                    <a:pt x="14085" y="3131"/>
                  </a:lnTo>
                  <a:lnTo>
                    <a:pt x="14091" y="3127"/>
                  </a:lnTo>
                  <a:lnTo>
                    <a:pt x="14097" y="3126"/>
                  </a:lnTo>
                  <a:lnTo>
                    <a:pt x="14105" y="3127"/>
                  </a:lnTo>
                  <a:lnTo>
                    <a:pt x="14111" y="3131"/>
                  </a:lnTo>
                  <a:lnTo>
                    <a:pt x="14117" y="3138"/>
                  </a:lnTo>
                  <a:lnTo>
                    <a:pt x="14118" y="3145"/>
                  </a:lnTo>
                  <a:close/>
                  <a:moveTo>
                    <a:pt x="15434" y="2900"/>
                  </a:moveTo>
                  <a:lnTo>
                    <a:pt x="15434" y="3011"/>
                  </a:lnTo>
                  <a:lnTo>
                    <a:pt x="15432" y="3020"/>
                  </a:lnTo>
                  <a:lnTo>
                    <a:pt x="15427" y="3026"/>
                  </a:lnTo>
                  <a:lnTo>
                    <a:pt x="15421" y="3030"/>
                  </a:lnTo>
                  <a:lnTo>
                    <a:pt x="15413" y="3031"/>
                  </a:lnTo>
                  <a:lnTo>
                    <a:pt x="15407" y="3030"/>
                  </a:lnTo>
                  <a:lnTo>
                    <a:pt x="15400" y="3026"/>
                  </a:lnTo>
                  <a:lnTo>
                    <a:pt x="15395" y="3020"/>
                  </a:lnTo>
                  <a:lnTo>
                    <a:pt x="15394" y="3011"/>
                  </a:lnTo>
                  <a:lnTo>
                    <a:pt x="15394" y="2900"/>
                  </a:lnTo>
                  <a:lnTo>
                    <a:pt x="15395" y="2891"/>
                  </a:lnTo>
                  <a:lnTo>
                    <a:pt x="15400" y="2884"/>
                  </a:lnTo>
                  <a:lnTo>
                    <a:pt x="15407" y="2881"/>
                  </a:lnTo>
                  <a:lnTo>
                    <a:pt x="15413" y="2879"/>
                  </a:lnTo>
                  <a:lnTo>
                    <a:pt x="15421" y="2881"/>
                  </a:lnTo>
                  <a:lnTo>
                    <a:pt x="15427" y="2884"/>
                  </a:lnTo>
                  <a:lnTo>
                    <a:pt x="15432" y="2891"/>
                  </a:lnTo>
                  <a:lnTo>
                    <a:pt x="15434" y="2900"/>
                  </a:lnTo>
                  <a:close/>
                  <a:moveTo>
                    <a:pt x="15171" y="2900"/>
                  </a:moveTo>
                  <a:lnTo>
                    <a:pt x="15171" y="3011"/>
                  </a:lnTo>
                  <a:lnTo>
                    <a:pt x="15168" y="3020"/>
                  </a:lnTo>
                  <a:lnTo>
                    <a:pt x="15164" y="3026"/>
                  </a:lnTo>
                  <a:lnTo>
                    <a:pt x="15158" y="3030"/>
                  </a:lnTo>
                  <a:lnTo>
                    <a:pt x="15150" y="3031"/>
                  </a:lnTo>
                  <a:lnTo>
                    <a:pt x="15142" y="3030"/>
                  </a:lnTo>
                  <a:lnTo>
                    <a:pt x="15136" y="3026"/>
                  </a:lnTo>
                  <a:lnTo>
                    <a:pt x="15132" y="3020"/>
                  </a:lnTo>
                  <a:lnTo>
                    <a:pt x="15131" y="3011"/>
                  </a:lnTo>
                  <a:lnTo>
                    <a:pt x="15131" y="2900"/>
                  </a:lnTo>
                  <a:lnTo>
                    <a:pt x="15132" y="2891"/>
                  </a:lnTo>
                  <a:lnTo>
                    <a:pt x="15136" y="2884"/>
                  </a:lnTo>
                  <a:lnTo>
                    <a:pt x="15142" y="2881"/>
                  </a:lnTo>
                  <a:lnTo>
                    <a:pt x="15150" y="2879"/>
                  </a:lnTo>
                  <a:lnTo>
                    <a:pt x="15158" y="2881"/>
                  </a:lnTo>
                  <a:lnTo>
                    <a:pt x="15164" y="2884"/>
                  </a:lnTo>
                  <a:lnTo>
                    <a:pt x="15168" y="2891"/>
                  </a:lnTo>
                  <a:lnTo>
                    <a:pt x="15171" y="2900"/>
                  </a:lnTo>
                  <a:close/>
                  <a:moveTo>
                    <a:pt x="14908" y="2900"/>
                  </a:moveTo>
                  <a:lnTo>
                    <a:pt x="14908" y="3011"/>
                  </a:lnTo>
                  <a:lnTo>
                    <a:pt x="14905" y="3020"/>
                  </a:lnTo>
                  <a:lnTo>
                    <a:pt x="14901" y="3026"/>
                  </a:lnTo>
                  <a:lnTo>
                    <a:pt x="14895" y="3030"/>
                  </a:lnTo>
                  <a:lnTo>
                    <a:pt x="14887" y="3031"/>
                  </a:lnTo>
                  <a:lnTo>
                    <a:pt x="14880" y="3030"/>
                  </a:lnTo>
                  <a:lnTo>
                    <a:pt x="14873" y="3026"/>
                  </a:lnTo>
                  <a:lnTo>
                    <a:pt x="14869" y="3020"/>
                  </a:lnTo>
                  <a:lnTo>
                    <a:pt x="14867" y="3011"/>
                  </a:lnTo>
                  <a:lnTo>
                    <a:pt x="14867" y="2900"/>
                  </a:lnTo>
                  <a:lnTo>
                    <a:pt x="14869" y="2891"/>
                  </a:lnTo>
                  <a:lnTo>
                    <a:pt x="14873" y="2884"/>
                  </a:lnTo>
                  <a:lnTo>
                    <a:pt x="14880" y="2881"/>
                  </a:lnTo>
                  <a:lnTo>
                    <a:pt x="14887" y="2879"/>
                  </a:lnTo>
                  <a:lnTo>
                    <a:pt x="14895" y="2881"/>
                  </a:lnTo>
                  <a:lnTo>
                    <a:pt x="14901" y="2884"/>
                  </a:lnTo>
                  <a:lnTo>
                    <a:pt x="14905" y="2891"/>
                  </a:lnTo>
                  <a:lnTo>
                    <a:pt x="14908" y="2900"/>
                  </a:lnTo>
                  <a:close/>
                  <a:moveTo>
                    <a:pt x="14644" y="2900"/>
                  </a:moveTo>
                  <a:lnTo>
                    <a:pt x="14644" y="3011"/>
                  </a:lnTo>
                  <a:lnTo>
                    <a:pt x="14642" y="3020"/>
                  </a:lnTo>
                  <a:lnTo>
                    <a:pt x="14637" y="3026"/>
                  </a:lnTo>
                  <a:lnTo>
                    <a:pt x="14631" y="3030"/>
                  </a:lnTo>
                  <a:lnTo>
                    <a:pt x="14624" y="3031"/>
                  </a:lnTo>
                  <a:lnTo>
                    <a:pt x="14617" y="3030"/>
                  </a:lnTo>
                  <a:lnTo>
                    <a:pt x="14610" y="3026"/>
                  </a:lnTo>
                  <a:lnTo>
                    <a:pt x="14606" y="3020"/>
                  </a:lnTo>
                  <a:lnTo>
                    <a:pt x="14604" y="3011"/>
                  </a:lnTo>
                  <a:lnTo>
                    <a:pt x="14604" y="2900"/>
                  </a:lnTo>
                  <a:lnTo>
                    <a:pt x="14606" y="2891"/>
                  </a:lnTo>
                  <a:lnTo>
                    <a:pt x="14610" y="2884"/>
                  </a:lnTo>
                  <a:lnTo>
                    <a:pt x="14617" y="2881"/>
                  </a:lnTo>
                  <a:lnTo>
                    <a:pt x="14624" y="2879"/>
                  </a:lnTo>
                  <a:lnTo>
                    <a:pt x="14631" y="2881"/>
                  </a:lnTo>
                  <a:lnTo>
                    <a:pt x="14637" y="2884"/>
                  </a:lnTo>
                  <a:lnTo>
                    <a:pt x="14642" y="2891"/>
                  </a:lnTo>
                  <a:lnTo>
                    <a:pt x="14644" y="2900"/>
                  </a:lnTo>
                  <a:close/>
                  <a:moveTo>
                    <a:pt x="14381" y="2900"/>
                  </a:moveTo>
                  <a:lnTo>
                    <a:pt x="14381" y="3011"/>
                  </a:lnTo>
                  <a:lnTo>
                    <a:pt x="14379" y="3020"/>
                  </a:lnTo>
                  <a:lnTo>
                    <a:pt x="14374" y="3026"/>
                  </a:lnTo>
                  <a:lnTo>
                    <a:pt x="14368" y="3030"/>
                  </a:lnTo>
                  <a:lnTo>
                    <a:pt x="14362" y="3031"/>
                  </a:lnTo>
                  <a:lnTo>
                    <a:pt x="14354" y="3030"/>
                  </a:lnTo>
                  <a:lnTo>
                    <a:pt x="14347" y="3026"/>
                  </a:lnTo>
                  <a:lnTo>
                    <a:pt x="14342" y="3020"/>
                  </a:lnTo>
                  <a:lnTo>
                    <a:pt x="14341" y="3011"/>
                  </a:lnTo>
                  <a:lnTo>
                    <a:pt x="14341" y="2900"/>
                  </a:lnTo>
                  <a:lnTo>
                    <a:pt x="14342" y="2891"/>
                  </a:lnTo>
                  <a:lnTo>
                    <a:pt x="14347" y="2884"/>
                  </a:lnTo>
                  <a:lnTo>
                    <a:pt x="14354" y="2881"/>
                  </a:lnTo>
                  <a:lnTo>
                    <a:pt x="14362" y="2879"/>
                  </a:lnTo>
                  <a:lnTo>
                    <a:pt x="14368" y="2881"/>
                  </a:lnTo>
                  <a:lnTo>
                    <a:pt x="14374" y="2884"/>
                  </a:lnTo>
                  <a:lnTo>
                    <a:pt x="14379" y="2891"/>
                  </a:lnTo>
                  <a:lnTo>
                    <a:pt x="14381" y="2900"/>
                  </a:lnTo>
                  <a:close/>
                  <a:moveTo>
                    <a:pt x="14118" y="2900"/>
                  </a:moveTo>
                  <a:lnTo>
                    <a:pt x="14118" y="3011"/>
                  </a:lnTo>
                  <a:lnTo>
                    <a:pt x="14117" y="3020"/>
                  </a:lnTo>
                  <a:lnTo>
                    <a:pt x="14111" y="3026"/>
                  </a:lnTo>
                  <a:lnTo>
                    <a:pt x="14105" y="3030"/>
                  </a:lnTo>
                  <a:lnTo>
                    <a:pt x="14097" y="3031"/>
                  </a:lnTo>
                  <a:lnTo>
                    <a:pt x="14091" y="3030"/>
                  </a:lnTo>
                  <a:lnTo>
                    <a:pt x="14085" y="3026"/>
                  </a:lnTo>
                  <a:lnTo>
                    <a:pt x="14079" y="3020"/>
                  </a:lnTo>
                  <a:lnTo>
                    <a:pt x="14078" y="3011"/>
                  </a:lnTo>
                  <a:lnTo>
                    <a:pt x="14078" y="2900"/>
                  </a:lnTo>
                  <a:lnTo>
                    <a:pt x="14079" y="2891"/>
                  </a:lnTo>
                  <a:lnTo>
                    <a:pt x="14085" y="2884"/>
                  </a:lnTo>
                  <a:lnTo>
                    <a:pt x="14091" y="2881"/>
                  </a:lnTo>
                  <a:lnTo>
                    <a:pt x="14097" y="2879"/>
                  </a:lnTo>
                  <a:lnTo>
                    <a:pt x="14105" y="2881"/>
                  </a:lnTo>
                  <a:lnTo>
                    <a:pt x="14111" y="2884"/>
                  </a:lnTo>
                  <a:lnTo>
                    <a:pt x="14117" y="2891"/>
                  </a:lnTo>
                  <a:lnTo>
                    <a:pt x="14118" y="2900"/>
                  </a:lnTo>
                  <a:close/>
                  <a:moveTo>
                    <a:pt x="15434" y="3639"/>
                  </a:moveTo>
                  <a:lnTo>
                    <a:pt x="15434" y="3751"/>
                  </a:lnTo>
                  <a:lnTo>
                    <a:pt x="15432" y="3760"/>
                  </a:lnTo>
                  <a:lnTo>
                    <a:pt x="15427" y="3765"/>
                  </a:lnTo>
                  <a:lnTo>
                    <a:pt x="15421" y="3769"/>
                  </a:lnTo>
                  <a:lnTo>
                    <a:pt x="15413" y="3771"/>
                  </a:lnTo>
                  <a:lnTo>
                    <a:pt x="15407" y="3769"/>
                  </a:lnTo>
                  <a:lnTo>
                    <a:pt x="15400" y="3765"/>
                  </a:lnTo>
                  <a:lnTo>
                    <a:pt x="15395" y="3760"/>
                  </a:lnTo>
                  <a:lnTo>
                    <a:pt x="15394" y="3751"/>
                  </a:lnTo>
                  <a:lnTo>
                    <a:pt x="15394" y="3639"/>
                  </a:lnTo>
                  <a:lnTo>
                    <a:pt x="15395" y="3630"/>
                  </a:lnTo>
                  <a:lnTo>
                    <a:pt x="15400" y="3624"/>
                  </a:lnTo>
                  <a:lnTo>
                    <a:pt x="15407" y="3620"/>
                  </a:lnTo>
                  <a:lnTo>
                    <a:pt x="15413" y="3618"/>
                  </a:lnTo>
                  <a:lnTo>
                    <a:pt x="15421" y="3620"/>
                  </a:lnTo>
                  <a:lnTo>
                    <a:pt x="15427" y="3624"/>
                  </a:lnTo>
                  <a:lnTo>
                    <a:pt x="15432" y="3630"/>
                  </a:lnTo>
                  <a:lnTo>
                    <a:pt x="15434" y="3639"/>
                  </a:lnTo>
                  <a:close/>
                  <a:moveTo>
                    <a:pt x="18172" y="964"/>
                  </a:moveTo>
                  <a:lnTo>
                    <a:pt x="17643" y="964"/>
                  </a:lnTo>
                  <a:lnTo>
                    <a:pt x="17643" y="1019"/>
                  </a:lnTo>
                  <a:lnTo>
                    <a:pt x="18172" y="1019"/>
                  </a:lnTo>
                  <a:lnTo>
                    <a:pt x="18172" y="964"/>
                  </a:lnTo>
                  <a:close/>
                  <a:moveTo>
                    <a:pt x="17665" y="1323"/>
                  </a:moveTo>
                  <a:lnTo>
                    <a:pt x="18163" y="2010"/>
                  </a:lnTo>
                  <a:lnTo>
                    <a:pt x="18134" y="1058"/>
                  </a:lnTo>
                  <a:lnTo>
                    <a:pt x="17680" y="1058"/>
                  </a:lnTo>
                  <a:lnTo>
                    <a:pt x="17665" y="1322"/>
                  </a:lnTo>
                  <a:lnTo>
                    <a:pt x="17665" y="1323"/>
                  </a:lnTo>
                  <a:close/>
                  <a:moveTo>
                    <a:pt x="17638" y="1754"/>
                  </a:moveTo>
                  <a:lnTo>
                    <a:pt x="18179" y="2500"/>
                  </a:lnTo>
                  <a:lnTo>
                    <a:pt x="18166" y="2079"/>
                  </a:lnTo>
                  <a:lnTo>
                    <a:pt x="18161" y="2074"/>
                  </a:lnTo>
                  <a:lnTo>
                    <a:pt x="17661" y="1385"/>
                  </a:lnTo>
                  <a:lnTo>
                    <a:pt x="17638" y="1754"/>
                  </a:lnTo>
                  <a:close/>
                  <a:moveTo>
                    <a:pt x="17611" y="2186"/>
                  </a:moveTo>
                  <a:lnTo>
                    <a:pt x="18194" y="2989"/>
                  </a:lnTo>
                  <a:lnTo>
                    <a:pt x="18181" y="2571"/>
                  </a:lnTo>
                  <a:lnTo>
                    <a:pt x="17634" y="1817"/>
                  </a:lnTo>
                  <a:lnTo>
                    <a:pt x="17611" y="2186"/>
                  </a:lnTo>
                  <a:close/>
                  <a:moveTo>
                    <a:pt x="22919" y="2556"/>
                  </a:moveTo>
                  <a:lnTo>
                    <a:pt x="22895" y="2525"/>
                  </a:lnTo>
                  <a:lnTo>
                    <a:pt x="22869" y="2494"/>
                  </a:lnTo>
                  <a:lnTo>
                    <a:pt x="22841" y="2464"/>
                  </a:lnTo>
                  <a:lnTo>
                    <a:pt x="22812" y="2434"/>
                  </a:lnTo>
                  <a:lnTo>
                    <a:pt x="22748" y="2377"/>
                  </a:lnTo>
                  <a:lnTo>
                    <a:pt x="22714" y="2350"/>
                  </a:lnTo>
                  <a:lnTo>
                    <a:pt x="22678" y="2323"/>
                  </a:lnTo>
                  <a:lnTo>
                    <a:pt x="22603" y="2272"/>
                  </a:lnTo>
                  <a:lnTo>
                    <a:pt x="22522" y="2225"/>
                  </a:lnTo>
                  <a:lnTo>
                    <a:pt x="22436" y="2181"/>
                  </a:lnTo>
                  <a:lnTo>
                    <a:pt x="22346" y="2142"/>
                  </a:lnTo>
                  <a:lnTo>
                    <a:pt x="22250" y="2104"/>
                  </a:lnTo>
                  <a:lnTo>
                    <a:pt x="22151" y="2072"/>
                  </a:lnTo>
                  <a:lnTo>
                    <a:pt x="22048" y="2046"/>
                  </a:lnTo>
                  <a:lnTo>
                    <a:pt x="21995" y="2033"/>
                  </a:lnTo>
                  <a:lnTo>
                    <a:pt x="21941" y="2023"/>
                  </a:lnTo>
                  <a:lnTo>
                    <a:pt x="21831" y="2003"/>
                  </a:lnTo>
                  <a:lnTo>
                    <a:pt x="21774" y="1997"/>
                  </a:lnTo>
                  <a:lnTo>
                    <a:pt x="21718" y="1991"/>
                  </a:lnTo>
                  <a:lnTo>
                    <a:pt x="21601" y="1983"/>
                  </a:lnTo>
                  <a:lnTo>
                    <a:pt x="21483" y="1980"/>
                  </a:lnTo>
                  <a:lnTo>
                    <a:pt x="21365" y="1983"/>
                  </a:lnTo>
                  <a:lnTo>
                    <a:pt x="21249" y="1991"/>
                  </a:lnTo>
                  <a:lnTo>
                    <a:pt x="21136" y="2003"/>
                  </a:lnTo>
                  <a:lnTo>
                    <a:pt x="21026" y="2023"/>
                  </a:lnTo>
                  <a:lnTo>
                    <a:pt x="20972" y="2033"/>
                  </a:lnTo>
                  <a:lnTo>
                    <a:pt x="20919" y="2046"/>
                  </a:lnTo>
                  <a:lnTo>
                    <a:pt x="20815" y="2072"/>
                  </a:lnTo>
                  <a:lnTo>
                    <a:pt x="20717" y="2104"/>
                  </a:lnTo>
                  <a:lnTo>
                    <a:pt x="20622" y="2142"/>
                  </a:lnTo>
                  <a:lnTo>
                    <a:pt x="20531" y="2181"/>
                  </a:lnTo>
                  <a:lnTo>
                    <a:pt x="20445" y="2225"/>
                  </a:lnTo>
                  <a:lnTo>
                    <a:pt x="20364" y="2272"/>
                  </a:lnTo>
                  <a:lnTo>
                    <a:pt x="20288" y="2323"/>
                  </a:lnTo>
                  <a:lnTo>
                    <a:pt x="20219" y="2377"/>
                  </a:lnTo>
                  <a:lnTo>
                    <a:pt x="20187" y="2405"/>
                  </a:lnTo>
                  <a:lnTo>
                    <a:pt x="20155" y="2434"/>
                  </a:lnTo>
                  <a:lnTo>
                    <a:pt x="20125" y="2464"/>
                  </a:lnTo>
                  <a:lnTo>
                    <a:pt x="20098" y="2494"/>
                  </a:lnTo>
                  <a:lnTo>
                    <a:pt x="20047" y="2556"/>
                  </a:lnTo>
                  <a:lnTo>
                    <a:pt x="20765" y="2556"/>
                  </a:lnTo>
                  <a:lnTo>
                    <a:pt x="21483" y="2556"/>
                  </a:lnTo>
                  <a:lnTo>
                    <a:pt x="22201" y="2556"/>
                  </a:lnTo>
                  <a:lnTo>
                    <a:pt x="22919" y="2556"/>
                  </a:lnTo>
                  <a:close/>
                  <a:moveTo>
                    <a:pt x="21733" y="1952"/>
                  </a:moveTo>
                  <a:lnTo>
                    <a:pt x="21733" y="1794"/>
                  </a:lnTo>
                  <a:lnTo>
                    <a:pt x="21235" y="1794"/>
                  </a:lnTo>
                  <a:lnTo>
                    <a:pt x="21235" y="1952"/>
                  </a:lnTo>
                  <a:lnTo>
                    <a:pt x="21295" y="1947"/>
                  </a:lnTo>
                  <a:lnTo>
                    <a:pt x="21358" y="1943"/>
                  </a:lnTo>
                  <a:lnTo>
                    <a:pt x="21420" y="1941"/>
                  </a:lnTo>
                  <a:lnTo>
                    <a:pt x="21483" y="1939"/>
                  </a:lnTo>
                  <a:lnTo>
                    <a:pt x="21609" y="1943"/>
                  </a:lnTo>
                  <a:lnTo>
                    <a:pt x="21733" y="1952"/>
                  </a:lnTo>
                  <a:close/>
                  <a:moveTo>
                    <a:pt x="20024" y="2977"/>
                  </a:moveTo>
                  <a:lnTo>
                    <a:pt x="20754" y="2977"/>
                  </a:lnTo>
                  <a:lnTo>
                    <a:pt x="21483" y="2977"/>
                  </a:lnTo>
                  <a:lnTo>
                    <a:pt x="22213" y="2977"/>
                  </a:lnTo>
                  <a:lnTo>
                    <a:pt x="22943" y="2977"/>
                  </a:lnTo>
                  <a:lnTo>
                    <a:pt x="22943" y="2750"/>
                  </a:lnTo>
                  <a:lnTo>
                    <a:pt x="22213" y="2750"/>
                  </a:lnTo>
                  <a:lnTo>
                    <a:pt x="21483" y="2750"/>
                  </a:lnTo>
                  <a:lnTo>
                    <a:pt x="20754" y="2750"/>
                  </a:lnTo>
                  <a:lnTo>
                    <a:pt x="20024" y="2750"/>
                  </a:lnTo>
                  <a:lnTo>
                    <a:pt x="20024" y="2977"/>
                  </a:lnTo>
                  <a:close/>
                  <a:moveTo>
                    <a:pt x="20768" y="4017"/>
                  </a:moveTo>
                  <a:lnTo>
                    <a:pt x="20768" y="4324"/>
                  </a:lnTo>
                  <a:lnTo>
                    <a:pt x="20974" y="4324"/>
                  </a:lnTo>
                  <a:lnTo>
                    <a:pt x="20974" y="3670"/>
                  </a:lnTo>
                  <a:lnTo>
                    <a:pt x="20974" y="3016"/>
                  </a:lnTo>
                  <a:lnTo>
                    <a:pt x="20523" y="3016"/>
                  </a:lnTo>
                  <a:lnTo>
                    <a:pt x="20523" y="3670"/>
                  </a:lnTo>
                  <a:lnTo>
                    <a:pt x="20523" y="4324"/>
                  </a:lnTo>
                  <a:lnTo>
                    <a:pt x="20728" y="4324"/>
                  </a:lnTo>
                  <a:lnTo>
                    <a:pt x="20728" y="4017"/>
                  </a:lnTo>
                  <a:lnTo>
                    <a:pt x="20731" y="4008"/>
                  </a:lnTo>
                  <a:lnTo>
                    <a:pt x="20734" y="4002"/>
                  </a:lnTo>
                  <a:lnTo>
                    <a:pt x="20741" y="3998"/>
                  </a:lnTo>
                  <a:lnTo>
                    <a:pt x="20749" y="3997"/>
                  </a:lnTo>
                  <a:lnTo>
                    <a:pt x="20756" y="3998"/>
                  </a:lnTo>
                  <a:lnTo>
                    <a:pt x="20763" y="4002"/>
                  </a:lnTo>
                  <a:lnTo>
                    <a:pt x="20767" y="4008"/>
                  </a:lnTo>
                  <a:lnTo>
                    <a:pt x="20768" y="4017"/>
                  </a:lnTo>
                  <a:close/>
                  <a:moveTo>
                    <a:pt x="21260" y="4017"/>
                  </a:moveTo>
                  <a:lnTo>
                    <a:pt x="21260" y="4324"/>
                  </a:lnTo>
                  <a:lnTo>
                    <a:pt x="21467" y="4324"/>
                  </a:lnTo>
                  <a:lnTo>
                    <a:pt x="21467" y="3670"/>
                  </a:lnTo>
                  <a:lnTo>
                    <a:pt x="21467" y="3016"/>
                  </a:lnTo>
                  <a:lnTo>
                    <a:pt x="21014" y="3016"/>
                  </a:lnTo>
                  <a:lnTo>
                    <a:pt x="21014" y="3670"/>
                  </a:lnTo>
                  <a:lnTo>
                    <a:pt x="21014" y="4324"/>
                  </a:lnTo>
                  <a:lnTo>
                    <a:pt x="21220" y="4324"/>
                  </a:lnTo>
                  <a:lnTo>
                    <a:pt x="21220" y="4017"/>
                  </a:lnTo>
                  <a:lnTo>
                    <a:pt x="21222" y="4008"/>
                  </a:lnTo>
                  <a:lnTo>
                    <a:pt x="21227" y="4002"/>
                  </a:lnTo>
                  <a:lnTo>
                    <a:pt x="21233" y="3998"/>
                  </a:lnTo>
                  <a:lnTo>
                    <a:pt x="21241" y="3997"/>
                  </a:lnTo>
                  <a:lnTo>
                    <a:pt x="21247" y="3998"/>
                  </a:lnTo>
                  <a:lnTo>
                    <a:pt x="21254" y="4002"/>
                  </a:lnTo>
                  <a:lnTo>
                    <a:pt x="21259" y="4008"/>
                  </a:lnTo>
                  <a:lnTo>
                    <a:pt x="21260" y="4017"/>
                  </a:lnTo>
                  <a:close/>
                  <a:moveTo>
                    <a:pt x="21753" y="4017"/>
                  </a:moveTo>
                  <a:lnTo>
                    <a:pt x="21753" y="4324"/>
                  </a:lnTo>
                  <a:lnTo>
                    <a:pt x="21959" y="4324"/>
                  </a:lnTo>
                  <a:lnTo>
                    <a:pt x="21959" y="3670"/>
                  </a:lnTo>
                  <a:lnTo>
                    <a:pt x="21959" y="3016"/>
                  </a:lnTo>
                  <a:lnTo>
                    <a:pt x="21506" y="3016"/>
                  </a:lnTo>
                  <a:lnTo>
                    <a:pt x="21506" y="3670"/>
                  </a:lnTo>
                  <a:lnTo>
                    <a:pt x="21506" y="4324"/>
                  </a:lnTo>
                  <a:lnTo>
                    <a:pt x="21713" y="4324"/>
                  </a:lnTo>
                  <a:lnTo>
                    <a:pt x="21713" y="4017"/>
                  </a:lnTo>
                  <a:lnTo>
                    <a:pt x="21714" y="4008"/>
                  </a:lnTo>
                  <a:lnTo>
                    <a:pt x="21719" y="4002"/>
                  </a:lnTo>
                  <a:lnTo>
                    <a:pt x="21726" y="3998"/>
                  </a:lnTo>
                  <a:lnTo>
                    <a:pt x="21732" y="3997"/>
                  </a:lnTo>
                  <a:lnTo>
                    <a:pt x="21740" y="3998"/>
                  </a:lnTo>
                  <a:lnTo>
                    <a:pt x="21746" y="4002"/>
                  </a:lnTo>
                  <a:lnTo>
                    <a:pt x="21751" y="4008"/>
                  </a:lnTo>
                  <a:lnTo>
                    <a:pt x="21753" y="4017"/>
                  </a:lnTo>
                  <a:close/>
                  <a:moveTo>
                    <a:pt x="22245" y="4017"/>
                  </a:moveTo>
                  <a:lnTo>
                    <a:pt x="22245" y="4324"/>
                  </a:lnTo>
                  <a:lnTo>
                    <a:pt x="22450" y="4324"/>
                  </a:lnTo>
                  <a:lnTo>
                    <a:pt x="22450" y="3670"/>
                  </a:lnTo>
                  <a:lnTo>
                    <a:pt x="22450" y="3016"/>
                  </a:lnTo>
                  <a:lnTo>
                    <a:pt x="21999" y="3016"/>
                  </a:lnTo>
                  <a:lnTo>
                    <a:pt x="21999" y="3670"/>
                  </a:lnTo>
                  <a:lnTo>
                    <a:pt x="21999" y="4324"/>
                  </a:lnTo>
                  <a:lnTo>
                    <a:pt x="22205" y="4324"/>
                  </a:lnTo>
                  <a:lnTo>
                    <a:pt x="22205" y="4017"/>
                  </a:lnTo>
                  <a:lnTo>
                    <a:pt x="22207" y="4008"/>
                  </a:lnTo>
                  <a:lnTo>
                    <a:pt x="22210" y="4002"/>
                  </a:lnTo>
                  <a:lnTo>
                    <a:pt x="22217" y="3998"/>
                  </a:lnTo>
                  <a:lnTo>
                    <a:pt x="22224" y="3997"/>
                  </a:lnTo>
                  <a:lnTo>
                    <a:pt x="22232" y="3998"/>
                  </a:lnTo>
                  <a:lnTo>
                    <a:pt x="22239" y="4002"/>
                  </a:lnTo>
                  <a:lnTo>
                    <a:pt x="22242" y="4008"/>
                  </a:lnTo>
                  <a:lnTo>
                    <a:pt x="22245" y="4017"/>
                  </a:lnTo>
                  <a:close/>
                  <a:moveTo>
                    <a:pt x="22737" y="4017"/>
                  </a:moveTo>
                  <a:lnTo>
                    <a:pt x="22737" y="4324"/>
                  </a:lnTo>
                  <a:lnTo>
                    <a:pt x="22943" y="4324"/>
                  </a:lnTo>
                  <a:lnTo>
                    <a:pt x="22943" y="3670"/>
                  </a:lnTo>
                  <a:lnTo>
                    <a:pt x="22943" y="3016"/>
                  </a:lnTo>
                  <a:lnTo>
                    <a:pt x="22491" y="3016"/>
                  </a:lnTo>
                  <a:lnTo>
                    <a:pt x="22491" y="3670"/>
                  </a:lnTo>
                  <a:lnTo>
                    <a:pt x="22491" y="4324"/>
                  </a:lnTo>
                  <a:lnTo>
                    <a:pt x="22696" y="4324"/>
                  </a:lnTo>
                  <a:lnTo>
                    <a:pt x="22696" y="4017"/>
                  </a:lnTo>
                  <a:lnTo>
                    <a:pt x="22699" y="4008"/>
                  </a:lnTo>
                  <a:lnTo>
                    <a:pt x="22703" y="4002"/>
                  </a:lnTo>
                  <a:lnTo>
                    <a:pt x="22709" y="3998"/>
                  </a:lnTo>
                  <a:lnTo>
                    <a:pt x="22717" y="3997"/>
                  </a:lnTo>
                  <a:lnTo>
                    <a:pt x="22725" y="3998"/>
                  </a:lnTo>
                  <a:lnTo>
                    <a:pt x="22731" y="4002"/>
                  </a:lnTo>
                  <a:lnTo>
                    <a:pt x="22735" y="4008"/>
                  </a:lnTo>
                  <a:lnTo>
                    <a:pt x="22737" y="4017"/>
                  </a:lnTo>
                  <a:close/>
                  <a:moveTo>
                    <a:pt x="21727" y="1754"/>
                  </a:moveTo>
                  <a:lnTo>
                    <a:pt x="21714" y="1740"/>
                  </a:lnTo>
                  <a:lnTo>
                    <a:pt x="21696" y="1727"/>
                  </a:lnTo>
                  <a:lnTo>
                    <a:pt x="21673" y="1714"/>
                  </a:lnTo>
                  <a:lnTo>
                    <a:pt x="21645" y="1703"/>
                  </a:lnTo>
                  <a:lnTo>
                    <a:pt x="21612" y="1693"/>
                  </a:lnTo>
                  <a:lnTo>
                    <a:pt x="21573" y="1686"/>
                  </a:lnTo>
                  <a:lnTo>
                    <a:pt x="21531" y="1681"/>
                  </a:lnTo>
                  <a:lnTo>
                    <a:pt x="21483" y="1679"/>
                  </a:lnTo>
                  <a:lnTo>
                    <a:pt x="21437" y="1681"/>
                  </a:lnTo>
                  <a:lnTo>
                    <a:pt x="21394" y="1686"/>
                  </a:lnTo>
                  <a:lnTo>
                    <a:pt x="21356" y="1693"/>
                  </a:lnTo>
                  <a:lnTo>
                    <a:pt x="21322" y="1703"/>
                  </a:lnTo>
                  <a:lnTo>
                    <a:pt x="21294" y="1714"/>
                  </a:lnTo>
                  <a:lnTo>
                    <a:pt x="21270" y="1727"/>
                  </a:lnTo>
                  <a:lnTo>
                    <a:pt x="21253" y="1740"/>
                  </a:lnTo>
                  <a:lnTo>
                    <a:pt x="21241" y="1754"/>
                  </a:lnTo>
                  <a:lnTo>
                    <a:pt x="21727" y="1754"/>
                  </a:lnTo>
                  <a:close/>
                  <a:moveTo>
                    <a:pt x="19597" y="4131"/>
                  </a:moveTo>
                  <a:lnTo>
                    <a:pt x="19564" y="4135"/>
                  </a:lnTo>
                  <a:lnTo>
                    <a:pt x="19532" y="4145"/>
                  </a:lnTo>
                  <a:lnTo>
                    <a:pt x="19500" y="4154"/>
                  </a:lnTo>
                  <a:lnTo>
                    <a:pt x="19465" y="4159"/>
                  </a:lnTo>
                  <a:lnTo>
                    <a:pt x="19436" y="4154"/>
                  </a:lnTo>
                  <a:lnTo>
                    <a:pt x="19423" y="4149"/>
                  </a:lnTo>
                  <a:lnTo>
                    <a:pt x="19410" y="4143"/>
                  </a:lnTo>
                  <a:lnTo>
                    <a:pt x="19388" y="4125"/>
                  </a:lnTo>
                  <a:lnTo>
                    <a:pt x="19369" y="4100"/>
                  </a:lnTo>
                  <a:lnTo>
                    <a:pt x="19351" y="4072"/>
                  </a:lnTo>
                  <a:lnTo>
                    <a:pt x="19334" y="4040"/>
                  </a:lnTo>
                  <a:lnTo>
                    <a:pt x="19300" y="3973"/>
                  </a:lnTo>
                  <a:lnTo>
                    <a:pt x="19282" y="3937"/>
                  </a:lnTo>
                  <a:lnTo>
                    <a:pt x="19260" y="3904"/>
                  </a:lnTo>
                  <a:lnTo>
                    <a:pt x="19235" y="3872"/>
                  </a:lnTo>
                  <a:lnTo>
                    <a:pt x="19209" y="3843"/>
                  </a:lnTo>
                  <a:lnTo>
                    <a:pt x="19175" y="3820"/>
                  </a:lnTo>
                  <a:lnTo>
                    <a:pt x="19157" y="3810"/>
                  </a:lnTo>
                  <a:lnTo>
                    <a:pt x="19138" y="3801"/>
                  </a:lnTo>
                  <a:lnTo>
                    <a:pt x="19116" y="3795"/>
                  </a:lnTo>
                  <a:lnTo>
                    <a:pt x="19093" y="3790"/>
                  </a:lnTo>
                  <a:lnTo>
                    <a:pt x="19069" y="3787"/>
                  </a:lnTo>
                  <a:lnTo>
                    <a:pt x="19042" y="3786"/>
                  </a:lnTo>
                  <a:lnTo>
                    <a:pt x="19014" y="3790"/>
                  </a:lnTo>
                  <a:lnTo>
                    <a:pt x="19002" y="3795"/>
                  </a:lnTo>
                  <a:lnTo>
                    <a:pt x="18993" y="3801"/>
                  </a:lnTo>
                  <a:lnTo>
                    <a:pt x="18974" y="3817"/>
                  </a:lnTo>
                  <a:lnTo>
                    <a:pt x="18952" y="3836"/>
                  </a:lnTo>
                  <a:lnTo>
                    <a:pt x="18925" y="3854"/>
                  </a:lnTo>
                  <a:lnTo>
                    <a:pt x="18908" y="3863"/>
                  </a:lnTo>
                  <a:lnTo>
                    <a:pt x="18889" y="3869"/>
                  </a:lnTo>
                  <a:lnTo>
                    <a:pt x="18865" y="3875"/>
                  </a:lnTo>
                  <a:lnTo>
                    <a:pt x="18838" y="3881"/>
                  </a:lnTo>
                  <a:lnTo>
                    <a:pt x="18806" y="3884"/>
                  </a:lnTo>
                  <a:lnTo>
                    <a:pt x="18769" y="3886"/>
                  </a:lnTo>
                  <a:lnTo>
                    <a:pt x="18742" y="3883"/>
                  </a:lnTo>
                  <a:lnTo>
                    <a:pt x="18720" y="3879"/>
                  </a:lnTo>
                  <a:lnTo>
                    <a:pt x="18688" y="3868"/>
                  </a:lnTo>
                  <a:lnTo>
                    <a:pt x="18662" y="3855"/>
                  </a:lnTo>
                  <a:lnTo>
                    <a:pt x="18649" y="3851"/>
                  </a:lnTo>
                  <a:lnTo>
                    <a:pt x="18637" y="3850"/>
                  </a:lnTo>
                  <a:lnTo>
                    <a:pt x="18615" y="3851"/>
                  </a:lnTo>
                  <a:lnTo>
                    <a:pt x="18594" y="3856"/>
                  </a:lnTo>
                  <a:lnTo>
                    <a:pt x="18575" y="3864"/>
                  </a:lnTo>
                  <a:lnTo>
                    <a:pt x="18557" y="3875"/>
                  </a:lnTo>
                  <a:lnTo>
                    <a:pt x="18540" y="3888"/>
                  </a:lnTo>
                  <a:lnTo>
                    <a:pt x="18524" y="3902"/>
                  </a:lnTo>
                  <a:lnTo>
                    <a:pt x="18494" y="3936"/>
                  </a:lnTo>
                  <a:lnTo>
                    <a:pt x="18467" y="3973"/>
                  </a:lnTo>
                  <a:lnTo>
                    <a:pt x="18442" y="4011"/>
                  </a:lnTo>
                  <a:lnTo>
                    <a:pt x="18416" y="4047"/>
                  </a:lnTo>
                  <a:lnTo>
                    <a:pt x="18389" y="4077"/>
                  </a:lnTo>
                  <a:lnTo>
                    <a:pt x="18366" y="4097"/>
                  </a:lnTo>
                  <a:lnTo>
                    <a:pt x="18337" y="4116"/>
                  </a:lnTo>
                  <a:lnTo>
                    <a:pt x="18266" y="4155"/>
                  </a:lnTo>
                  <a:lnTo>
                    <a:pt x="18261" y="4161"/>
                  </a:lnTo>
                  <a:lnTo>
                    <a:pt x="18253" y="4163"/>
                  </a:lnTo>
                  <a:lnTo>
                    <a:pt x="18207" y="4191"/>
                  </a:lnTo>
                  <a:lnTo>
                    <a:pt x="18169" y="4221"/>
                  </a:lnTo>
                  <a:lnTo>
                    <a:pt x="18153" y="4236"/>
                  </a:lnTo>
                  <a:lnTo>
                    <a:pt x="18147" y="4245"/>
                  </a:lnTo>
                  <a:lnTo>
                    <a:pt x="18142" y="4253"/>
                  </a:lnTo>
                  <a:lnTo>
                    <a:pt x="18134" y="4269"/>
                  </a:lnTo>
                  <a:lnTo>
                    <a:pt x="18131" y="4287"/>
                  </a:lnTo>
                  <a:lnTo>
                    <a:pt x="18133" y="4308"/>
                  </a:lnTo>
                  <a:lnTo>
                    <a:pt x="18137" y="4329"/>
                  </a:lnTo>
                  <a:lnTo>
                    <a:pt x="18256" y="4329"/>
                  </a:lnTo>
                  <a:lnTo>
                    <a:pt x="18261" y="4329"/>
                  </a:lnTo>
                  <a:lnTo>
                    <a:pt x="19046" y="4329"/>
                  </a:lnTo>
                  <a:lnTo>
                    <a:pt x="19830" y="4329"/>
                  </a:lnTo>
                  <a:lnTo>
                    <a:pt x="19825" y="4308"/>
                  </a:lnTo>
                  <a:lnTo>
                    <a:pt x="19819" y="4286"/>
                  </a:lnTo>
                  <a:lnTo>
                    <a:pt x="19810" y="4265"/>
                  </a:lnTo>
                  <a:lnTo>
                    <a:pt x="19801" y="4248"/>
                  </a:lnTo>
                  <a:lnTo>
                    <a:pt x="19778" y="4213"/>
                  </a:lnTo>
                  <a:lnTo>
                    <a:pt x="19764" y="4198"/>
                  </a:lnTo>
                  <a:lnTo>
                    <a:pt x="19748" y="4185"/>
                  </a:lnTo>
                  <a:lnTo>
                    <a:pt x="19733" y="4172"/>
                  </a:lnTo>
                  <a:lnTo>
                    <a:pt x="19716" y="4162"/>
                  </a:lnTo>
                  <a:lnTo>
                    <a:pt x="19698" y="4153"/>
                  </a:lnTo>
                  <a:lnTo>
                    <a:pt x="19679" y="4145"/>
                  </a:lnTo>
                  <a:lnTo>
                    <a:pt x="19660" y="4139"/>
                  </a:lnTo>
                  <a:lnTo>
                    <a:pt x="19639" y="4134"/>
                  </a:lnTo>
                  <a:lnTo>
                    <a:pt x="19597" y="4131"/>
                  </a:lnTo>
                  <a:close/>
                  <a:moveTo>
                    <a:pt x="18860" y="2743"/>
                  </a:moveTo>
                  <a:lnTo>
                    <a:pt x="18742" y="2904"/>
                  </a:lnTo>
                  <a:lnTo>
                    <a:pt x="18742" y="3047"/>
                  </a:lnTo>
                  <a:lnTo>
                    <a:pt x="18794" y="3040"/>
                  </a:lnTo>
                  <a:lnTo>
                    <a:pt x="18803" y="3039"/>
                  </a:lnTo>
                  <a:lnTo>
                    <a:pt x="18811" y="3043"/>
                  </a:lnTo>
                  <a:lnTo>
                    <a:pt x="18815" y="3048"/>
                  </a:lnTo>
                  <a:lnTo>
                    <a:pt x="18819" y="3056"/>
                  </a:lnTo>
                  <a:lnTo>
                    <a:pt x="18819" y="3062"/>
                  </a:lnTo>
                  <a:lnTo>
                    <a:pt x="18816" y="3070"/>
                  </a:lnTo>
                  <a:lnTo>
                    <a:pt x="18811" y="3075"/>
                  </a:lnTo>
                  <a:lnTo>
                    <a:pt x="18802" y="3079"/>
                  </a:lnTo>
                  <a:lnTo>
                    <a:pt x="18773" y="3084"/>
                  </a:lnTo>
                  <a:lnTo>
                    <a:pt x="18742" y="3086"/>
                  </a:lnTo>
                  <a:lnTo>
                    <a:pt x="18742" y="3827"/>
                  </a:lnTo>
                  <a:lnTo>
                    <a:pt x="18741" y="3836"/>
                  </a:lnTo>
                  <a:lnTo>
                    <a:pt x="18735" y="3842"/>
                  </a:lnTo>
                  <a:lnTo>
                    <a:pt x="18751" y="3845"/>
                  </a:lnTo>
                  <a:lnTo>
                    <a:pt x="18769" y="3845"/>
                  </a:lnTo>
                  <a:lnTo>
                    <a:pt x="18798" y="3845"/>
                  </a:lnTo>
                  <a:lnTo>
                    <a:pt x="18825" y="3843"/>
                  </a:lnTo>
                  <a:lnTo>
                    <a:pt x="18850" y="3840"/>
                  </a:lnTo>
                  <a:lnTo>
                    <a:pt x="18871" y="3835"/>
                  </a:lnTo>
                  <a:lnTo>
                    <a:pt x="18892" y="3826"/>
                  </a:lnTo>
                  <a:lnTo>
                    <a:pt x="18911" y="3815"/>
                  </a:lnTo>
                  <a:lnTo>
                    <a:pt x="18952" y="3782"/>
                  </a:lnTo>
                  <a:lnTo>
                    <a:pt x="18973" y="3767"/>
                  </a:lnTo>
                  <a:lnTo>
                    <a:pt x="18982" y="3760"/>
                  </a:lnTo>
                  <a:lnTo>
                    <a:pt x="18992" y="3755"/>
                  </a:lnTo>
                  <a:lnTo>
                    <a:pt x="19015" y="3748"/>
                  </a:lnTo>
                  <a:lnTo>
                    <a:pt x="19042" y="3745"/>
                  </a:lnTo>
                  <a:lnTo>
                    <a:pt x="19075" y="3748"/>
                  </a:lnTo>
                  <a:lnTo>
                    <a:pt x="19107" y="3751"/>
                  </a:lnTo>
                  <a:lnTo>
                    <a:pt x="19135" y="3758"/>
                  </a:lnTo>
                  <a:lnTo>
                    <a:pt x="19162" y="3768"/>
                  </a:lnTo>
                  <a:lnTo>
                    <a:pt x="19187" y="3780"/>
                  </a:lnTo>
                  <a:lnTo>
                    <a:pt x="19209" y="3794"/>
                  </a:lnTo>
                  <a:lnTo>
                    <a:pt x="19229" y="3809"/>
                  </a:lnTo>
                  <a:lnTo>
                    <a:pt x="19248" y="3827"/>
                  </a:lnTo>
                  <a:lnTo>
                    <a:pt x="19282" y="3866"/>
                  </a:lnTo>
                  <a:lnTo>
                    <a:pt x="19311" y="3911"/>
                  </a:lnTo>
                  <a:lnTo>
                    <a:pt x="19338" y="3960"/>
                  </a:lnTo>
                  <a:lnTo>
                    <a:pt x="19364" y="4012"/>
                  </a:lnTo>
                  <a:lnTo>
                    <a:pt x="19369" y="4021"/>
                  </a:lnTo>
                  <a:lnTo>
                    <a:pt x="19369" y="3649"/>
                  </a:lnTo>
                  <a:lnTo>
                    <a:pt x="19334" y="3663"/>
                  </a:lnTo>
                  <a:lnTo>
                    <a:pt x="19319" y="3670"/>
                  </a:lnTo>
                  <a:lnTo>
                    <a:pt x="19302" y="3676"/>
                  </a:lnTo>
                  <a:lnTo>
                    <a:pt x="19284" y="3676"/>
                  </a:lnTo>
                  <a:lnTo>
                    <a:pt x="19275" y="3675"/>
                  </a:lnTo>
                  <a:lnTo>
                    <a:pt x="19265" y="3671"/>
                  </a:lnTo>
                  <a:lnTo>
                    <a:pt x="19255" y="3666"/>
                  </a:lnTo>
                  <a:lnTo>
                    <a:pt x="19244" y="3658"/>
                  </a:lnTo>
                  <a:lnTo>
                    <a:pt x="19221" y="3634"/>
                  </a:lnTo>
                  <a:lnTo>
                    <a:pt x="19205" y="3616"/>
                  </a:lnTo>
                  <a:lnTo>
                    <a:pt x="19191" y="3604"/>
                  </a:lnTo>
                  <a:lnTo>
                    <a:pt x="19180" y="3598"/>
                  </a:lnTo>
                  <a:lnTo>
                    <a:pt x="19169" y="3595"/>
                  </a:lnTo>
                  <a:lnTo>
                    <a:pt x="19144" y="3594"/>
                  </a:lnTo>
                  <a:lnTo>
                    <a:pt x="19105" y="3590"/>
                  </a:lnTo>
                  <a:lnTo>
                    <a:pt x="19091" y="3586"/>
                  </a:lnTo>
                  <a:lnTo>
                    <a:pt x="19079" y="3581"/>
                  </a:lnTo>
                  <a:lnTo>
                    <a:pt x="19062" y="3567"/>
                  </a:lnTo>
                  <a:lnTo>
                    <a:pt x="19052" y="3549"/>
                  </a:lnTo>
                  <a:lnTo>
                    <a:pt x="19044" y="3530"/>
                  </a:lnTo>
                  <a:lnTo>
                    <a:pt x="19039" y="3510"/>
                  </a:lnTo>
                  <a:lnTo>
                    <a:pt x="19033" y="3489"/>
                  </a:lnTo>
                  <a:lnTo>
                    <a:pt x="19029" y="3480"/>
                  </a:lnTo>
                  <a:lnTo>
                    <a:pt x="19024" y="3471"/>
                  </a:lnTo>
                  <a:lnTo>
                    <a:pt x="19016" y="3464"/>
                  </a:lnTo>
                  <a:lnTo>
                    <a:pt x="19009" y="3457"/>
                  </a:lnTo>
                  <a:lnTo>
                    <a:pt x="18967" y="3434"/>
                  </a:lnTo>
                  <a:lnTo>
                    <a:pt x="18952" y="3424"/>
                  </a:lnTo>
                  <a:lnTo>
                    <a:pt x="18939" y="3414"/>
                  </a:lnTo>
                  <a:lnTo>
                    <a:pt x="18930" y="3400"/>
                  </a:lnTo>
                  <a:lnTo>
                    <a:pt x="18926" y="3383"/>
                  </a:lnTo>
                  <a:lnTo>
                    <a:pt x="18925" y="3361"/>
                  </a:lnTo>
                  <a:lnTo>
                    <a:pt x="18929" y="3333"/>
                  </a:lnTo>
                  <a:lnTo>
                    <a:pt x="18934" y="3304"/>
                  </a:lnTo>
                  <a:lnTo>
                    <a:pt x="18934" y="3285"/>
                  </a:lnTo>
                  <a:lnTo>
                    <a:pt x="18925" y="3267"/>
                  </a:lnTo>
                  <a:lnTo>
                    <a:pt x="18908" y="3242"/>
                  </a:lnTo>
                  <a:lnTo>
                    <a:pt x="18891" y="3216"/>
                  </a:lnTo>
                  <a:lnTo>
                    <a:pt x="18884" y="3199"/>
                  </a:lnTo>
                  <a:lnTo>
                    <a:pt x="18882" y="3181"/>
                  </a:lnTo>
                  <a:lnTo>
                    <a:pt x="18884" y="3162"/>
                  </a:lnTo>
                  <a:lnTo>
                    <a:pt x="18891" y="3145"/>
                  </a:lnTo>
                  <a:lnTo>
                    <a:pt x="18908" y="3118"/>
                  </a:lnTo>
                  <a:lnTo>
                    <a:pt x="18923" y="3098"/>
                  </a:lnTo>
                  <a:lnTo>
                    <a:pt x="18930" y="3083"/>
                  </a:lnTo>
                  <a:lnTo>
                    <a:pt x="18934" y="3070"/>
                  </a:lnTo>
                  <a:lnTo>
                    <a:pt x="18935" y="3060"/>
                  </a:lnTo>
                  <a:lnTo>
                    <a:pt x="18929" y="3035"/>
                  </a:lnTo>
                  <a:lnTo>
                    <a:pt x="18925" y="2996"/>
                  </a:lnTo>
                  <a:lnTo>
                    <a:pt x="18928" y="2969"/>
                  </a:lnTo>
                  <a:lnTo>
                    <a:pt x="18932" y="2959"/>
                  </a:lnTo>
                  <a:lnTo>
                    <a:pt x="18938" y="2950"/>
                  </a:lnTo>
                  <a:lnTo>
                    <a:pt x="18944" y="2942"/>
                  </a:lnTo>
                  <a:lnTo>
                    <a:pt x="18952" y="2936"/>
                  </a:lnTo>
                  <a:lnTo>
                    <a:pt x="18970" y="2924"/>
                  </a:lnTo>
                  <a:lnTo>
                    <a:pt x="19007" y="2904"/>
                  </a:lnTo>
                  <a:lnTo>
                    <a:pt x="19023" y="2891"/>
                  </a:lnTo>
                  <a:lnTo>
                    <a:pt x="19033" y="2872"/>
                  </a:lnTo>
                  <a:lnTo>
                    <a:pt x="19047" y="2828"/>
                  </a:lnTo>
                  <a:lnTo>
                    <a:pt x="19053" y="2810"/>
                  </a:lnTo>
                  <a:lnTo>
                    <a:pt x="19061" y="2796"/>
                  </a:lnTo>
                  <a:lnTo>
                    <a:pt x="19073" y="2785"/>
                  </a:lnTo>
                  <a:lnTo>
                    <a:pt x="19088" y="2776"/>
                  </a:lnTo>
                  <a:lnTo>
                    <a:pt x="19109" y="2771"/>
                  </a:lnTo>
                  <a:lnTo>
                    <a:pt x="19138" y="2768"/>
                  </a:lnTo>
                  <a:lnTo>
                    <a:pt x="19162" y="2766"/>
                  </a:lnTo>
                  <a:lnTo>
                    <a:pt x="19180" y="2763"/>
                  </a:lnTo>
                  <a:lnTo>
                    <a:pt x="19192" y="2758"/>
                  </a:lnTo>
                  <a:lnTo>
                    <a:pt x="19201" y="2751"/>
                  </a:lnTo>
                  <a:lnTo>
                    <a:pt x="19216" y="2732"/>
                  </a:lnTo>
                  <a:lnTo>
                    <a:pt x="19228" y="2719"/>
                  </a:lnTo>
                  <a:lnTo>
                    <a:pt x="19243" y="2704"/>
                  </a:lnTo>
                  <a:lnTo>
                    <a:pt x="19265" y="2690"/>
                  </a:lnTo>
                  <a:lnTo>
                    <a:pt x="19274" y="2686"/>
                  </a:lnTo>
                  <a:lnTo>
                    <a:pt x="19284" y="2685"/>
                  </a:lnTo>
                  <a:lnTo>
                    <a:pt x="19302" y="2686"/>
                  </a:lnTo>
                  <a:lnTo>
                    <a:pt x="19319" y="2691"/>
                  </a:lnTo>
                  <a:lnTo>
                    <a:pt x="19352" y="2707"/>
                  </a:lnTo>
                  <a:lnTo>
                    <a:pt x="19370" y="2713"/>
                  </a:lnTo>
                  <a:lnTo>
                    <a:pt x="19388" y="2716"/>
                  </a:lnTo>
                  <a:lnTo>
                    <a:pt x="19410" y="2712"/>
                  </a:lnTo>
                  <a:lnTo>
                    <a:pt x="19429" y="2705"/>
                  </a:lnTo>
                  <a:lnTo>
                    <a:pt x="19448" y="2696"/>
                  </a:lnTo>
                  <a:lnTo>
                    <a:pt x="19466" y="2689"/>
                  </a:lnTo>
                  <a:lnTo>
                    <a:pt x="19486" y="2685"/>
                  </a:lnTo>
                  <a:lnTo>
                    <a:pt x="19506" y="2688"/>
                  </a:lnTo>
                  <a:lnTo>
                    <a:pt x="19518" y="2694"/>
                  </a:lnTo>
                  <a:lnTo>
                    <a:pt x="19529" y="2702"/>
                  </a:lnTo>
                  <a:lnTo>
                    <a:pt x="19556" y="2727"/>
                  </a:lnTo>
                  <a:lnTo>
                    <a:pt x="19573" y="2746"/>
                  </a:lnTo>
                  <a:lnTo>
                    <a:pt x="19586" y="2758"/>
                  </a:lnTo>
                  <a:lnTo>
                    <a:pt x="19597" y="2764"/>
                  </a:lnTo>
                  <a:lnTo>
                    <a:pt x="19607" y="2767"/>
                  </a:lnTo>
                  <a:lnTo>
                    <a:pt x="19633" y="2767"/>
                  </a:lnTo>
                  <a:lnTo>
                    <a:pt x="19673" y="2771"/>
                  </a:lnTo>
                  <a:lnTo>
                    <a:pt x="19687" y="2774"/>
                  </a:lnTo>
                  <a:lnTo>
                    <a:pt x="19698" y="2780"/>
                  </a:lnTo>
                  <a:lnTo>
                    <a:pt x="19715" y="2794"/>
                  </a:lnTo>
                  <a:lnTo>
                    <a:pt x="19725" y="2812"/>
                  </a:lnTo>
                  <a:lnTo>
                    <a:pt x="19732" y="2832"/>
                  </a:lnTo>
                  <a:lnTo>
                    <a:pt x="19737" y="2852"/>
                  </a:lnTo>
                  <a:lnTo>
                    <a:pt x="19743" y="2872"/>
                  </a:lnTo>
                  <a:lnTo>
                    <a:pt x="19748" y="2881"/>
                  </a:lnTo>
                  <a:lnTo>
                    <a:pt x="19754" y="2890"/>
                  </a:lnTo>
                  <a:lnTo>
                    <a:pt x="19760" y="2897"/>
                  </a:lnTo>
                  <a:lnTo>
                    <a:pt x="19769" y="2904"/>
                  </a:lnTo>
                  <a:lnTo>
                    <a:pt x="19809" y="2927"/>
                  </a:lnTo>
                  <a:lnTo>
                    <a:pt x="19825" y="2937"/>
                  </a:lnTo>
                  <a:lnTo>
                    <a:pt x="19837" y="2948"/>
                  </a:lnTo>
                  <a:lnTo>
                    <a:pt x="19846" y="2961"/>
                  </a:lnTo>
                  <a:lnTo>
                    <a:pt x="19851" y="2978"/>
                  </a:lnTo>
                  <a:lnTo>
                    <a:pt x="19852" y="3000"/>
                  </a:lnTo>
                  <a:lnTo>
                    <a:pt x="19848" y="3028"/>
                  </a:lnTo>
                  <a:lnTo>
                    <a:pt x="19843" y="3057"/>
                  </a:lnTo>
                  <a:lnTo>
                    <a:pt x="19843" y="3076"/>
                  </a:lnTo>
                  <a:lnTo>
                    <a:pt x="19851" y="3094"/>
                  </a:lnTo>
                  <a:lnTo>
                    <a:pt x="19869" y="3118"/>
                  </a:lnTo>
                  <a:lnTo>
                    <a:pt x="19887" y="3145"/>
                  </a:lnTo>
                  <a:lnTo>
                    <a:pt x="19893" y="3162"/>
                  </a:lnTo>
                  <a:lnTo>
                    <a:pt x="19896" y="3181"/>
                  </a:lnTo>
                  <a:lnTo>
                    <a:pt x="19893" y="3199"/>
                  </a:lnTo>
                  <a:lnTo>
                    <a:pt x="19887" y="3216"/>
                  </a:lnTo>
                  <a:lnTo>
                    <a:pt x="19878" y="3230"/>
                  </a:lnTo>
                  <a:lnTo>
                    <a:pt x="19868" y="3244"/>
                  </a:lnTo>
                  <a:lnTo>
                    <a:pt x="19857" y="3258"/>
                  </a:lnTo>
                  <a:lnTo>
                    <a:pt x="19848" y="3272"/>
                  </a:lnTo>
                  <a:lnTo>
                    <a:pt x="19843" y="3287"/>
                  </a:lnTo>
                  <a:lnTo>
                    <a:pt x="19843" y="3305"/>
                  </a:lnTo>
                  <a:lnTo>
                    <a:pt x="19850" y="3351"/>
                  </a:lnTo>
                  <a:lnTo>
                    <a:pt x="19852" y="3369"/>
                  </a:lnTo>
                  <a:lnTo>
                    <a:pt x="19851" y="3386"/>
                  </a:lnTo>
                  <a:lnTo>
                    <a:pt x="19846" y="3401"/>
                  </a:lnTo>
                  <a:lnTo>
                    <a:pt x="19836" y="3415"/>
                  </a:lnTo>
                  <a:lnTo>
                    <a:pt x="19819" y="3429"/>
                  </a:lnTo>
                  <a:lnTo>
                    <a:pt x="19795" y="3445"/>
                  </a:lnTo>
                  <a:lnTo>
                    <a:pt x="19773" y="3456"/>
                  </a:lnTo>
                  <a:lnTo>
                    <a:pt x="19759" y="3466"/>
                  </a:lnTo>
                  <a:lnTo>
                    <a:pt x="19750" y="3476"/>
                  </a:lnTo>
                  <a:lnTo>
                    <a:pt x="19745" y="3485"/>
                  </a:lnTo>
                  <a:lnTo>
                    <a:pt x="19739" y="3510"/>
                  </a:lnTo>
                  <a:lnTo>
                    <a:pt x="19734" y="3526"/>
                  </a:lnTo>
                  <a:lnTo>
                    <a:pt x="19727" y="3547"/>
                  </a:lnTo>
                  <a:lnTo>
                    <a:pt x="19711" y="3570"/>
                  </a:lnTo>
                  <a:lnTo>
                    <a:pt x="19704" y="3579"/>
                  </a:lnTo>
                  <a:lnTo>
                    <a:pt x="19695" y="3584"/>
                  </a:lnTo>
                  <a:lnTo>
                    <a:pt x="19674" y="3590"/>
                  </a:lnTo>
                  <a:lnTo>
                    <a:pt x="19653" y="3593"/>
                  </a:lnTo>
                  <a:lnTo>
                    <a:pt x="19632" y="3593"/>
                  </a:lnTo>
                  <a:lnTo>
                    <a:pt x="19611" y="3594"/>
                  </a:lnTo>
                  <a:lnTo>
                    <a:pt x="19592" y="3601"/>
                  </a:lnTo>
                  <a:lnTo>
                    <a:pt x="19583" y="3606"/>
                  </a:lnTo>
                  <a:lnTo>
                    <a:pt x="19575" y="3612"/>
                  </a:lnTo>
                  <a:lnTo>
                    <a:pt x="19543" y="3647"/>
                  </a:lnTo>
                  <a:lnTo>
                    <a:pt x="19530" y="3659"/>
                  </a:lnTo>
                  <a:lnTo>
                    <a:pt x="19516" y="3668"/>
                  </a:lnTo>
                  <a:lnTo>
                    <a:pt x="19501" y="3675"/>
                  </a:lnTo>
                  <a:lnTo>
                    <a:pt x="19484" y="3676"/>
                  </a:lnTo>
                  <a:lnTo>
                    <a:pt x="19462" y="3671"/>
                  </a:lnTo>
                  <a:lnTo>
                    <a:pt x="19436" y="3661"/>
                  </a:lnTo>
                  <a:lnTo>
                    <a:pt x="19409" y="3649"/>
                  </a:lnTo>
                  <a:lnTo>
                    <a:pt x="19409" y="4083"/>
                  </a:lnTo>
                  <a:lnTo>
                    <a:pt x="19409" y="4086"/>
                  </a:lnTo>
                  <a:lnTo>
                    <a:pt x="19420" y="4099"/>
                  </a:lnTo>
                  <a:lnTo>
                    <a:pt x="19434" y="4109"/>
                  </a:lnTo>
                  <a:lnTo>
                    <a:pt x="19448" y="4117"/>
                  </a:lnTo>
                  <a:lnTo>
                    <a:pt x="19465" y="4118"/>
                  </a:lnTo>
                  <a:lnTo>
                    <a:pt x="19498" y="4115"/>
                  </a:lnTo>
                  <a:lnTo>
                    <a:pt x="19530" y="4104"/>
                  </a:lnTo>
                  <a:lnTo>
                    <a:pt x="19564" y="4095"/>
                  </a:lnTo>
                  <a:lnTo>
                    <a:pt x="19597" y="4090"/>
                  </a:lnTo>
                  <a:lnTo>
                    <a:pt x="19629" y="4093"/>
                  </a:lnTo>
                  <a:lnTo>
                    <a:pt x="19660" y="4098"/>
                  </a:lnTo>
                  <a:lnTo>
                    <a:pt x="19688" y="4106"/>
                  </a:lnTo>
                  <a:lnTo>
                    <a:pt x="19715" y="4116"/>
                  </a:lnTo>
                  <a:lnTo>
                    <a:pt x="19739" y="4130"/>
                  </a:lnTo>
                  <a:lnTo>
                    <a:pt x="19761" y="4144"/>
                  </a:lnTo>
                  <a:lnTo>
                    <a:pt x="19782" y="4161"/>
                  </a:lnTo>
                  <a:lnTo>
                    <a:pt x="19800" y="4178"/>
                  </a:lnTo>
                  <a:lnTo>
                    <a:pt x="19830" y="4217"/>
                  </a:lnTo>
                  <a:lnTo>
                    <a:pt x="19842" y="4236"/>
                  </a:lnTo>
                  <a:lnTo>
                    <a:pt x="19852" y="4255"/>
                  </a:lnTo>
                  <a:lnTo>
                    <a:pt x="19861" y="4274"/>
                  </a:lnTo>
                  <a:lnTo>
                    <a:pt x="19866" y="4292"/>
                  </a:lnTo>
                  <a:lnTo>
                    <a:pt x="19871" y="4309"/>
                  </a:lnTo>
                  <a:lnTo>
                    <a:pt x="19874" y="4324"/>
                  </a:lnTo>
                  <a:lnTo>
                    <a:pt x="20236" y="4324"/>
                  </a:lnTo>
                  <a:lnTo>
                    <a:pt x="20236" y="4017"/>
                  </a:lnTo>
                  <a:lnTo>
                    <a:pt x="20238" y="4008"/>
                  </a:lnTo>
                  <a:lnTo>
                    <a:pt x="20242" y="4002"/>
                  </a:lnTo>
                  <a:lnTo>
                    <a:pt x="20248" y="3998"/>
                  </a:lnTo>
                  <a:lnTo>
                    <a:pt x="20256" y="3997"/>
                  </a:lnTo>
                  <a:lnTo>
                    <a:pt x="20264" y="3998"/>
                  </a:lnTo>
                  <a:lnTo>
                    <a:pt x="20270" y="4002"/>
                  </a:lnTo>
                  <a:lnTo>
                    <a:pt x="20274" y="4008"/>
                  </a:lnTo>
                  <a:lnTo>
                    <a:pt x="20277" y="4017"/>
                  </a:lnTo>
                  <a:lnTo>
                    <a:pt x="20277" y="4324"/>
                  </a:lnTo>
                  <a:lnTo>
                    <a:pt x="20482" y="4324"/>
                  </a:lnTo>
                  <a:lnTo>
                    <a:pt x="20482" y="3670"/>
                  </a:lnTo>
                  <a:lnTo>
                    <a:pt x="20482" y="3016"/>
                  </a:lnTo>
                  <a:lnTo>
                    <a:pt x="20024" y="3016"/>
                  </a:lnTo>
                  <a:lnTo>
                    <a:pt x="20024" y="3584"/>
                  </a:lnTo>
                  <a:lnTo>
                    <a:pt x="20024" y="4152"/>
                  </a:lnTo>
                  <a:lnTo>
                    <a:pt x="20023" y="4161"/>
                  </a:lnTo>
                  <a:lnTo>
                    <a:pt x="20018" y="4167"/>
                  </a:lnTo>
                  <a:lnTo>
                    <a:pt x="20011" y="4171"/>
                  </a:lnTo>
                  <a:lnTo>
                    <a:pt x="20005" y="4172"/>
                  </a:lnTo>
                  <a:lnTo>
                    <a:pt x="19997" y="4171"/>
                  </a:lnTo>
                  <a:lnTo>
                    <a:pt x="19991" y="4167"/>
                  </a:lnTo>
                  <a:lnTo>
                    <a:pt x="19986" y="4161"/>
                  </a:lnTo>
                  <a:lnTo>
                    <a:pt x="19984" y="4152"/>
                  </a:lnTo>
                  <a:lnTo>
                    <a:pt x="19984" y="3451"/>
                  </a:lnTo>
                  <a:lnTo>
                    <a:pt x="19984" y="2750"/>
                  </a:lnTo>
                  <a:lnTo>
                    <a:pt x="19946" y="2750"/>
                  </a:lnTo>
                  <a:lnTo>
                    <a:pt x="19939" y="2748"/>
                  </a:lnTo>
                  <a:lnTo>
                    <a:pt x="19933" y="2744"/>
                  </a:lnTo>
                  <a:lnTo>
                    <a:pt x="19928" y="2737"/>
                  </a:lnTo>
                  <a:lnTo>
                    <a:pt x="19927" y="2730"/>
                  </a:lnTo>
                  <a:lnTo>
                    <a:pt x="19927" y="2576"/>
                  </a:lnTo>
                  <a:lnTo>
                    <a:pt x="19928" y="2569"/>
                  </a:lnTo>
                  <a:lnTo>
                    <a:pt x="19933" y="2562"/>
                  </a:lnTo>
                  <a:lnTo>
                    <a:pt x="19939" y="2558"/>
                  </a:lnTo>
                  <a:lnTo>
                    <a:pt x="19946" y="2556"/>
                  </a:lnTo>
                  <a:lnTo>
                    <a:pt x="19998" y="2556"/>
                  </a:lnTo>
                  <a:lnTo>
                    <a:pt x="20041" y="2500"/>
                  </a:lnTo>
                  <a:lnTo>
                    <a:pt x="20089" y="2443"/>
                  </a:lnTo>
                  <a:lnTo>
                    <a:pt x="20116" y="2418"/>
                  </a:lnTo>
                  <a:lnTo>
                    <a:pt x="20143" y="2391"/>
                  </a:lnTo>
                  <a:lnTo>
                    <a:pt x="20201" y="2340"/>
                  </a:lnTo>
                  <a:lnTo>
                    <a:pt x="20264" y="2292"/>
                  </a:lnTo>
                  <a:lnTo>
                    <a:pt x="20331" y="2246"/>
                  </a:lnTo>
                  <a:lnTo>
                    <a:pt x="20402" y="2203"/>
                  </a:lnTo>
                  <a:lnTo>
                    <a:pt x="20477" y="2163"/>
                  </a:lnTo>
                  <a:lnTo>
                    <a:pt x="20556" y="2126"/>
                  </a:lnTo>
                  <a:lnTo>
                    <a:pt x="20638" y="2092"/>
                  </a:lnTo>
                  <a:lnTo>
                    <a:pt x="20681" y="2075"/>
                  </a:lnTo>
                  <a:lnTo>
                    <a:pt x="20724" y="2060"/>
                  </a:lnTo>
                  <a:lnTo>
                    <a:pt x="20813" y="2033"/>
                  </a:lnTo>
                  <a:lnTo>
                    <a:pt x="20904" y="2009"/>
                  </a:lnTo>
                  <a:lnTo>
                    <a:pt x="20999" y="1987"/>
                  </a:lnTo>
                  <a:lnTo>
                    <a:pt x="21095" y="1970"/>
                  </a:lnTo>
                  <a:lnTo>
                    <a:pt x="21194" y="1956"/>
                  </a:lnTo>
                  <a:lnTo>
                    <a:pt x="21194" y="1775"/>
                  </a:lnTo>
                  <a:lnTo>
                    <a:pt x="21196" y="1759"/>
                  </a:lnTo>
                  <a:lnTo>
                    <a:pt x="21200" y="1744"/>
                  </a:lnTo>
                  <a:lnTo>
                    <a:pt x="21209" y="1730"/>
                  </a:lnTo>
                  <a:lnTo>
                    <a:pt x="21219" y="1717"/>
                  </a:lnTo>
                  <a:lnTo>
                    <a:pt x="21232" y="1705"/>
                  </a:lnTo>
                  <a:lnTo>
                    <a:pt x="21247" y="1694"/>
                  </a:lnTo>
                  <a:lnTo>
                    <a:pt x="21265" y="1684"/>
                  </a:lnTo>
                  <a:lnTo>
                    <a:pt x="21285" y="1675"/>
                  </a:lnTo>
                  <a:lnTo>
                    <a:pt x="21329" y="1659"/>
                  </a:lnTo>
                  <a:lnTo>
                    <a:pt x="21378" y="1648"/>
                  </a:lnTo>
                  <a:lnTo>
                    <a:pt x="21429" y="1642"/>
                  </a:lnTo>
                  <a:lnTo>
                    <a:pt x="21483" y="1639"/>
                  </a:lnTo>
                  <a:lnTo>
                    <a:pt x="21537" y="1642"/>
                  </a:lnTo>
                  <a:lnTo>
                    <a:pt x="21590" y="1648"/>
                  </a:lnTo>
                  <a:lnTo>
                    <a:pt x="21614" y="1653"/>
                  </a:lnTo>
                  <a:lnTo>
                    <a:pt x="21638" y="1659"/>
                  </a:lnTo>
                  <a:lnTo>
                    <a:pt x="21660" y="1666"/>
                  </a:lnTo>
                  <a:lnTo>
                    <a:pt x="21682" y="1675"/>
                  </a:lnTo>
                  <a:lnTo>
                    <a:pt x="21719" y="1694"/>
                  </a:lnTo>
                  <a:lnTo>
                    <a:pt x="21747" y="1717"/>
                  </a:lnTo>
                  <a:lnTo>
                    <a:pt x="21759" y="1730"/>
                  </a:lnTo>
                  <a:lnTo>
                    <a:pt x="21767" y="1744"/>
                  </a:lnTo>
                  <a:lnTo>
                    <a:pt x="21772" y="1759"/>
                  </a:lnTo>
                  <a:lnTo>
                    <a:pt x="21773" y="1775"/>
                  </a:lnTo>
                  <a:lnTo>
                    <a:pt x="21773" y="1956"/>
                  </a:lnTo>
                  <a:lnTo>
                    <a:pt x="21872" y="1970"/>
                  </a:lnTo>
                  <a:lnTo>
                    <a:pt x="21969" y="1987"/>
                  </a:lnTo>
                  <a:lnTo>
                    <a:pt x="22063" y="2009"/>
                  </a:lnTo>
                  <a:lnTo>
                    <a:pt x="22155" y="2033"/>
                  </a:lnTo>
                  <a:lnTo>
                    <a:pt x="22244" y="2060"/>
                  </a:lnTo>
                  <a:lnTo>
                    <a:pt x="22328" y="2092"/>
                  </a:lnTo>
                  <a:lnTo>
                    <a:pt x="22412" y="2126"/>
                  </a:lnTo>
                  <a:lnTo>
                    <a:pt x="22490" y="2163"/>
                  </a:lnTo>
                  <a:lnTo>
                    <a:pt x="22566" y="2203"/>
                  </a:lnTo>
                  <a:lnTo>
                    <a:pt x="22601" y="2225"/>
                  </a:lnTo>
                  <a:lnTo>
                    <a:pt x="22636" y="2246"/>
                  </a:lnTo>
                  <a:lnTo>
                    <a:pt x="22703" y="2292"/>
                  </a:lnTo>
                  <a:lnTo>
                    <a:pt x="22766" y="2340"/>
                  </a:lnTo>
                  <a:lnTo>
                    <a:pt x="22795" y="2365"/>
                  </a:lnTo>
                  <a:lnTo>
                    <a:pt x="22825" y="2391"/>
                  </a:lnTo>
                  <a:lnTo>
                    <a:pt x="22877" y="2445"/>
                  </a:lnTo>
                  <a:lnTo>
                    <a:pt x="22926" y="2500"/>
                  </a:lnTo>
                  <a:lnTo>
                    <a:pt x="22969" y="2556"/>
                  </a:lnTo>
                  <a:lnTo>
                    <a:pt x="23021" y="2556"/>
                  </a:lnTo>
                  <a:lnTo>
                    <a:pt x="23028" y="2558"/>
                  </a:lnTo>
                  <a:lnTo>
                    <a:pt x="23035" y="2562"/>
                  </a:lnTo>
                  <a:lnTo>
                    <a:pt x="23039" y="2569"/>
                  </a:lnTo>
                  <a:lnTo>
                    <a:pt x="23040" y="2576"/>
                  </a:lnTo>
                  <a:lnTo>
                    <a:pt x="23040" y="2730"/>
                  </a:lnTo>
                  <a:lnTo>
                    <a:pt x="23039" y="2737"/>
                  </a:lnTo>
                  <a:lnTo>
                    <a:pt x="23035" y="2744"/>
                  </a:lnTo>
                  <a:lnTo>
                    <a:pt x="23028" y="2748"/>
                  </a:lnTo>
                  <a:lnTo>
                    <a:pt x="23021" y="2750"/>
                  </a:lnTo>
                  <a:lnTo>
                    <a:pt x="22982" y="2750"/>
                  </a:lnTo>
                  <a:lnTo>
                    <a:pt x="22982" y="3547"/>
                  </a:lnTo>
                  <a:lnTo>
                    <a:pt x="22982" y="4345"/>
                  </a:lnTo>
                  <a:lnTo>
                    <a:pt x="22981" y="4352"/>
                  </a:lnTo>
                  <a:lnTo>
                    <a:pt x="22977" y="4359"/>
                  </a:lnTo>
                  <a:lnTo>
                    <a:pt x="22971" y="4363"/>
                  </a:lnTo>
                  <a:lnTo>
                    <a:pt x="22963" y="4365"/>
                  </a:lnTo>
                  <a:lnTo>
                    <a:pt x="22717" y="4365"/>
                  </a:lnTo>
                  <a:lnTo>
                    <a:pt x="21733" y="4365"/>
                  </a:lnTo>
                  <a:lnTo>
                    <a:pt x="21241" y="4365"/>
                  </a:lnTo>
                  <a:lnTo>
                    <a:pt x="20749" y="4365"/>
                  </a:lnTo>
                  <a:lnTo>
                    <a:pt x="20257" y="4365"/>
                  </a:lnTo>
                  <a:lnTo>
                    <a:pt x="19865" y="4365"/>
                  </a:lnTo>
                  <a:lnTo>
                    <a:pt x="19859" y="4368"/>
                  </a:lnTo>
                  <a:lnTo>
                    <a:pt x="19852" y="4369"/>
                  </a:lnTo>
                  <a:lnTo>
                    <a:pt x="18987" y="4369"/>
                  </a:lnTo>
                  <a:lnTo>
                    <a:pt x="18122" y="4369"/>
                  </a:lnTo>
                  <a:lnTo>
                    <a:pt x="18119" y="4369"/>
                  </a:lnTo>
                  <a:lnTo>
                    <a:pt x="17558" y="4369"/>
                  </a:lnTo>
                  <a:lnTo>
                    <a:pt x="17549" y="4366"/>
                  </a:lnTo>
                  <a:lnTo>
                    <a:pt x="17543" y="4363"/>
                  </a:lnTo>
                  <a:lnTo>
                    <a:pt x="17540" y="4356"/>
                  </a:lnTo>
                  <a:lnTo>
                    <a:pt x="17539" y="4349"/>
                  </a:lnTo>
                  <a:lnTo>
                    <a:pt x="17540" y="4341"/>
                  </a:lnTo>
                  <a:lnTo>
                    <a:pt x="17543" y="4334"/>
                  </a:lnTo>
                  <a:lnTo>
                    <a:pt x="17549" y="4331"/>
                  </a:lnTo>
                  <a:lnTo>
                    <a:pt x="17558" y="4329"/>
                  </a:lnTo>
                  <a:lnTo>
                    <a:pt x="18096" y="4329"/>
                  </a:lnTo>
                  <a:lnTo>
                    <a:pt x="18092" y="4305"/>
                  </a:lnTo>
                  <a:lnTo>
                    <a:pt x="18090" y="4287"/>
                  </a:lnTo>
                  <a:lnTo>
                    <a:pt x="18094" y="4262"/>
                  </a:lnTo>
                  <a:lnTo>
                    <a:pt x="18103" y="4237"/>
                  </a:lnTo>
                  <a:lnTo>
                    <a:pt x="18116" y="4216"/>
                  </a:lnTo>
                  <a:lnTo>
                    <a:pt x="18134" y="4196"/>
                  </a:lnTo>
                  <a:lnTo>
                    <a:pt x="18155" y="4178"/>
                  </a:lnTo>
                  <a:lnTo>
                    <a:pt x="18178" y="4162"/>
                  </a:lnTo>
                  <a:lnTo>
                    <a:pt x="18230" y="4131"/>
                  </a:lnTo>
                  <a:lnTo>
                    <a:pt x="18213" y="3595"/>
                  </a:lnTo>
                  <a:lnTo>
                    <a:pt x="18197" y="3061"/>
                  </a:lnTo>
                  <a:lnTo>
                    <a:pt x="17607" y="2249"/>
                  </a:lnTo>
                  <a:lnTo>
                    <a:pt x="17579" y="2705"/>
                  </a:lnTo>
                  <a:lnTo>
                    <a:pt x="17576" y="2714"/>
                  </a:lnTo>
                  <a:lnTo>
                    <a:pt x="17571" y="2719"/>
                  </a:lnTo>
                  <a:lnTo>
                    <a:pt x="17557" y="2725"/>
                  </a:lnTo>
                  <a:lnTo>
                    <a:pt x="17551" y="2722"/>
                  </a:lnTo>
                  <a:lnTo>
                    <a:pt x="17544" y="2718"/>
                  </a:lnTo>
                  <a:lnTo>
                    <a:pt x="17540" y="2712"/>
                  </a:lnTo>
                  <a:lnTo>
                    <a:pt x="17539" y="2703"/>
                  </a:lnTo>
                  <a:lnTo>
                    <a:pt x="17570" y="2195"/>
                  </a:lnTo>
                  <a:lnTo>
                    <a:pt x="17571" y="2188"/>
                  </a:lnTo>
                  <a:lnTo>
                    <a:pt x="17597" y="1763"/>
                  </a:lnTo>
                  <a:lnTo>
                    <a:pt x="17597" y="1755"/>
                  </a:lnTo>
                  <a:lnTo>
                    <a:pt x="17640" y="1058"/>
                  </a:lnTo>
                  <a:lnTo>
                    <a:pt x="17622" y="1058"/>
                  </a:lnTo>
                  <a:lnTo>
                    <a:pt x="17615" y="1057"/>
                  </a:lnTo>
                  <a:lnTo>
                    <a:pt x="17608" y="1053"/>
                  </a:lnTo>
                  <a:lnTo>
                    <a:pt x="17604" y="1047"/>
                  </a:lnTo>
                  <a:lnTo>
                    <a:pt x="17603" y="1039"/>
                  </a:lnTo>
                  <a:lnTo>
                    <a:pt x="17603" y="943"/>
                  </a:lnTo>
                  <a:lnTo>
                    <a:pt x="17604" y="936"/>
                  </a:lnTo>
                  <a:lnTo>
                    <a:pt x="17608" y="929"/>
                  </a:lnTo>
                  <a:lnTo>
                    <a:pt x="17615" y="925"/>
                  </a:lnTo>
                  <a:lnTo>
                    <a:pt x="17622" y="924"/>
                  </a:lnTo>
                  <a:lnTo>
                    <a:pt x="18192" y="924"/>
                  </a:lnTo>
                  <a:lnTo>
                    <a:pt x="18199" y="925"/>
                  </a:lnTo>
                  <a:lnTo>
                    <a:pt x="18206" y="929"/>
                  </a:lnTo>
                  <a:lnTo>
                    <a:pt x="18211" y="936"/>
                  </a:lnTo>
                  <a:lnTo>
                    <a:pt x="18212" y="943"/>
                  </a:lnTo>
                  <a:lnTo>
                    <a:pt x="18212" y="1039"/>
                  </a:lnTo>
                  <a:lnTo>
                    <a:pt x="18211" y="1047"/>
                  </a:lnTo>
                  <a:lnTo>
                    <a:pt x="18206" y="1053"/>
                  </a:lnTo>
                  <a:lnTo>
                    <a:pt x="18199" y="1057"/>
                  </a:lnTo>
                  <a:lnTo>
                    <a:pt x="18192" y="1058"/>
                  </a:lnTo>
                  <a:lnTo>
                    <a:pt x="18174" y="1058"/>
                  </a:lnTo>
                  <a:lnTo>
                    <a:pt x="18201" y="1919"/>
                  </a:lnTo>
                  <a:lnTo>
                    <a:pt x="18930" y="1919"/>
                  </a:lnTo>
                  <a:lnTo>
                    <a:pt x="19661" y="1919"/>
                  </a:lnTo>
                  <a:lnTo>
                    <a:pt x="19698" y="1158"/>
                  </a:lnTo>
                  <a:lnTo>
                    <a:pt x="19736" y="399"/>
                  </a:lnTo>
                  <a:lnTo>
                    <a:pt x="19738" y="392"/>
                  </a:lnTo>
                  <a:lnTo>
                    <a:pt x="19742" y="386"/>
                  </a:lnTo>
                  <a:lnTo>
                    <a:pt x="19748" y="382"/>
                  </a:lnTo>
                  <a:lnTo>
                    <a:pt x="19756" y="381"/>
                  </a:lnTo>
                  <a:lnTo>
                    <a:pt x="20084" y="381"/>
                  </a:lnTo>
                  <a:lnTo>
                    <a:pt x="20092" y="382"/>
                  </a:lnTo>
                  <a:lnTo>
                    <a:pt x="20098" y="386"/>
                  </a:lnTo>
                  <a:lnTo>
                    <a:pt x="20102" y="392"/>
                  </a:lnTo>
                  <a:lnTo>
                    <a:pt x="20105" y="399"/>
                  </a:lnTo>
                  <a:lnTo>
                    <a:pt x="20142" y="1126"/>
                  </a:lnTo>
                  <a:lnTo>
                    <a:pt x="20181" y="1855"/>
                  </a:lnTo>
                  <a:lnTo>
                    <a:pt x="20179" y="1864"/>
                  </a:lnTo>
                  <a:lnTo>
                    <a:pt x="20175" y="1870"/>
                  </a:lnTo>
                  <a:lnTo>
                    <a:pt x="20169" y="1874"/>
                  </a:lnTo>
                  <a:lnTo>
                    <a:pt x="20161" y="1877"/>
                  </a:lnTo>
                  <a:lnTo>
                    <a:pt x="20147" y="1872"/>
                  </a:lnTo>
                  <a:lnTo>
                    <a:pt x="20143" y="1867"/>
                  </a:lnTo>
                  <a:lnTo>
                    <a:pt x="20141" y="1858"/>
                  </a:lnTo>
                  <a:lnTo>
                    <a:pt x="20102" y="1139"/>
                  </a:lnTo>
                  <a:lnTo>
                    <a:pt x="20065" y="420"/>
                  </a:lnTo>
                  <a:lnTo>
                    <a:pt x="19775" y="420"/>
                  </a:lnTo>
                  <a:lnTo>
                    <a:pt x="19737" y="1180"/>
                  </a:lnTo>
                  <a:lnTo>
                    <a:pt x="19700" y="1939"/>
                  </a:lnTo>
                  <a:lnTo>
                    <a:pt x="19700" y="1942"/>
                  </a:lnTo>
                  <a:lnTo>
                    <a:pt x="19698" y="1947"/>
                  </a:lnTo>
                  <a:lnTo>
                    <a:pt x="19695" y="1952"/>
                  </a:lnTo>
                  <a:lnTo>
                    <a:pt x="19688" y="1956"/>
                  </a:lnTo>
                  <a:lnTo>
                    <a:pt x="19682" y="1959"/>
                  </a:lnTo>
                  <a:lnTo>
                    <a:pt x="18942" y="1959"/>
                  </a:lnTo>
                  <a:lnTo>
                    <a:pt x="18202" y="1959"/>
                  </a:lnTo>
                  <a:lnTo>
                    <a:pt x="18221" y="2560"/>
                  </a:lnTo>
                  <a:lnTo>
                    <a:pt x="18221" y="2567"/>
                  </a:lnTo>
                  <a:lnTo>
                    <a:pt x="18244" y="3338"/>
                  </a:lnTo>
                  <a:lnTo>
                    <a:pt x="18269" y="4111"/>
                  </a:lnTo>
                  <a:lnTo>
                    <a:pt x="18320" y="4081"/>
                  </a:lnTo>
                  <a:lnTo>
                    <a:pt x="18342" y="4066"/>
                  </a:lnTo>
                  <a:lnTo>
                    <a:pt x="18361" y="4049"/>
                  </a:lnTo>
                  <a:lnTo>
                    <a:pt x="18392" y="4015"/>
                  </a:lnTo>
                  <a:lnTo>
                    <a:pt x="18419" y="3976"/>
                  </a:lnTo>
                  <a:lnTo>
                    <a:pt x="18447" y="3936"/>
                  </a:lnTo>
                  <a:lnTo>
                    <a:pt x="18475" y="3897"/>
                  </a:lnTo>
                  <a:lnTo>
                    <a:pt x="18506" y="3863"/>
                  </a:lnTo>
                  <a:lnTo>
                    <a:pt x="18524" y="3849"/>
                  </a:lnTo>
                  <a:lnTo>
                    <a:pt x="18542" y="3835"/>
                  </a:lnTo>
                  <a:lnTo>
                    <a:pt x="18562" y="3824"/>
                  </a:lnTo>
                  <a:lnTo>
                    <a:pt x="18585" y="3817"/>
                  </a:lnTo>
                  <a:lnTo>
                    <a:pt x="18610" y="3811"/>
                  </a:lnTo>
                  <a:lnTo>
                    <a:pt x="18637" y="3810"/>
                  </a:lnTo>
                  <a:lnTo>
                    <a:pt x="18656" y="3811"/>
                  </a:lnTo>
                  <a:lnTo>
                    <a:pt x="18673" y="3817"/>
                  </a:lnTo>
                  <a:lnTo>
                    <a:pt x="18702" y="3831"/>
                  </a:lnTo>
                  <a:lnTo>
                    <a:pt x="18702" y="3827"/>
                  </a:lnTo>
                  <a:lnTo>
                    <a:pt x="18702" y="3086"/>
                  </a:lnTo>
                  <a:lnTo>
                    <a:pt x="18664" y="3083"/>
                  </a:lnTo>
                  <a:lnTo>
                    <a:pt x="18625" y="3075"/>
                  </a:lnTo>
                  <a:lnTo>
                    <a:pt x="18588" y="3065"/>
                  </a:lnTo>
                  <a:lnTo>
                    <a:pt x="18553" y="3051"/>
                  </a:lnTo>
                  <a:lnTo>
                    <a:pt x="18519" y="3033"/>
                  </a:lnTo>
                  <a:lnTo>
                    <a:pt x="18488" y="3012"/>
                  </a:lnTo>
                  <a:lnTo>
                    <a:pt x="18458" y="2989"/>
                  </a:lnTo>
                  <a:lnTo>
                    <a:pt x="18431" y="2964"/>
                  </a:lnTo>
                  <a:lnTo>
                    <a:pt x="18407" y="2936"/>
                  </a:lnTo>
                  <a:lnTo>
                    <a:pt x="18385" y="2905"/>
                  </a:lnTo>
                  <a:lnTo>
                    <a:pt x="18366" y="2873"/>
                  </a:lnTo>
                  <a:lnTo>
                    <a:pt x="18349" y="2838"/>
                  </a:lnTo>
                  <a:lnTo>
                    <a:pt x="18337" y="2803"/>
                  </a:lnTo>
                  <a:lnTo>
                    <a:pt x="18328" y="2766"/>
                  </a:lnTo>
                  <a:lnTo>
                    <a:pt x="18322" y="2726"/>
                  </a:lnTo>
                  <a:lnTo>
                    <a:pt x="18320" y="2686"/>
                  </a:lnTo>
                  <a:lnTo>
                    <a:pt x="18322" y="2645"/>
                  </a:lnTo>
                  <a:lnTo>
                    <a:pt x="18328" y="2606"/>
                  </a:lnTo>
                  <a:lnTo>
                    <a:pt x="18338" y="2567"/>
                  </a:lnTo>
                  <a:lnTo>
                    <a:pt x="18352" y="2530"/>
                  </a:lnTo>
                  <a:lnTo>
                    <a:pt x="18369" y="2496"/>
                  </a:lnTo>
                  <a:lnTo>
                    <a:pt x="18388" y="2462"/>
                  </a:lnTo>
                  <a:lnTo>
                    <a:pt x="18412" y="2432"/>
                  </a:lnTo>
                  <a:lnTo>
                    <a:pt x="18438" y="2404"/>
                  </a:lnTo>
                  <a:lnTo>
                    <a:pt x="18466" y="2377"/>
                  </a:lnTo>
                  <a:lnTo>
                    <a:pt x="18497" y="2354"/>
                  </a:lnTo>
                  <a:lnTo>
                    <a:pt x="18530" y="2335"/>
                  </a:lnTo>
                  <a:lnTo>
                    <a:pt x="18565" y="2317"/>
                  </a:lnTo>
                  <a:lnTo>
                    <a:pt x="18602" y="2304"/>
                  </a:lnTo>
                  <a:lnTo>
                    <a:pt x="18640" y="2294"/>
                  </a:lnTo>
                  <a:lnTo>
                    <a:pt x="18680" y="2287"/>
                  </a:lnTo>
                  <a:lnTo>
                    <a:pt x="18721" y="2286"/>
                  </a:lnTo>
                  <a:lnTo>
                    <a:pt x="18764" y="2287"/>
                  </a:lnTo>
                  <a:lnTo>
                    <a:pt x="18803" y="2294"/>
                  </a:lnTo>
                  <a:lnTo>
                    <a:pt x="18842" y="2304"/>
                  </a:lnTo>
                  <a:lnTo>
                    <a:pt x="18879" y="2318"/>
                  </a:lnTo>
                  <a:lnTo>
                    <a:pt x="18914" y="2335"/>
                  </a:lnTo>
                  <a:lnTo>
                    <a:pt x="18947" y="2355"/>
                  </a:lnTo>
                  <a:lnTo>
                    <a:pt x="18978" y="2378"/>
                  </a:lnTo>
                  <a:lnTo>
                    <a:pt x="19007" y="2404"/>
                  </a:lnTo>
                  <a:lnTo>
                    <a:pt x="19033" y="2433"/>
                  </a:lnTo>
                  <a:lnTo>
                    <a:pt x="19056" y="2464"/>
                  </a:lnTo>
                  <a:lnTo>
                    <a:pt x="19075" y="2497"/>
                  </a:lnTo>
                  <a:lnTo>
                    <a:pt x="19092" y="2532"/>
                  </a:lnTo>
                  <a:lnTo>
                    <a:pt x="19106" y="2569"/>
                  </a:lnTo>
                  <a:lnTo>
                    <a:pt x="19115" y="2607"/>
                  </a:lnTo>
                  <a:lnTo>
                    <a:pt x="19121" y="2645"/>
                  </a:lnTo>
                  <a:lnTo>
                    <a:pt x="19124" y="2686"/>
                  </a:lnTo>
                  <a:lnTo>
                    <a:pt x="19121" y="2695"/>
                  </a:lnTo>
                  <a:lnTo>
                    <a:pt x="19118" y="2702"/>
                  </a:lnTo>
                  <a:lnTo>
                    <a:pt x="19111" y="2705"/>
                  </a:lnTo>
                  <a:lnTo>
                    <a:pt x="19103" y="2707"/>
                  </a:lnTo>
                  <a:lnTo>
                    <a:pt x="19096" y="2705"/>
                  </a:lnTo>
                  <a:lnTo>
                    <a:pt x="19089" y="2702"/>
                  </a:lnTo>
                  <a:lnTo>
                    <a:pt x="19085" y="2695"/>
                  </a:lnTo>
                  <a:lnTo>
                    <a:pt x="19083" y="2686"/>
                  </a:lnTo>
                  <a:lnTo>
                    <a:pt x="19082" y="2650"/>
                  </a:lnTo>
                  <a:lnTo>
                    <a:pt x="19076" y="2615"/>
                  </a:lnTo>
                  <a:lnTo>
                    <a:pt x="19067" y="2580"/>
                  </a:lnTo>
                  <a:lnTo>
                    <a:pt x="19055" y="2547"/>
                  </a:lnTo>
                  <a:lnTo>
                    <a:pt x="19041" y="2515"/>
                  </a:lnTo>
                  <a:lnTo>
                    <a:pt x="19023" y="2485"/>
                  </a:lnTo>
                  <a:lnTo>
                    <a:pt x="19002" y="2457"/>
                  </a:lnTo>
                  <a:lnTo>
                    <a:pt x="18978" y="2432"/>
                  </a:lnTo>
                  <a:lnTo>
                    <a:pt x="18952" y="2409"/>
                  </a:lnTo>
                  <a:lnTo>
                    <a:pt x="18925" y="2388"/>
                  </a:lnTo>
                  <a:lnTo>
                    <a:pt x="18894" y="2369"/>
                  </a:lnTo>
                  <a:lnTo>
                    <a:pt x="18864" y="2354"/>
                  </a:lnTo>
                  <a:lnTo>
                    <a:pt x="18830" y="2342"/>
                  </a:lnTo>
                  <a:lnTo>
                    <a:pt x="18796" y="2333"/>
                  </a:lnTo>
                  <a:lnTo>
                    <a:pt x="18758" y="2328"/>
                  </a:lnTo>
                  <a:lnTo>
                    <a:pt x="18721" y="2326"/>
                  </a:lnTo>
                  <a:lnTo>
                    <a:pt x="18684" y="2328"/>
                  </a:lnTo>
                  <a:lnTo>
                    <a:pt x="18648" y="2333"/>
                  </a:lnTo>
                  <a:lnTo>
                    <a:pt x="18614" y="2342"/>
                  </a:lnTo>
                  <a:lnTo>
                    <a:pt x="18580" y="2354"/>
                  </a:lnTo>
                  <a:lnTo>
                    <a:pt x="18549" y="2369"/>
                  </a:lnTo>
                  <a:lnTo>
                    <a:pt x="18520" y="2387"/>
                  </a:lnTo>
                  <a:lnTo>
                    <a:pt x="18492" y="2407"/>
                  </a:lnTo>
                  <a:lnTo>
                    <a:pt x="18466" y="2432"/>
                  </a:lnTo>
                  <a:lnTo>
                    <a:pt x="18443" y="2457"/>
                  </a:lnTo>
                  <a:lnTo>
                    <a:pt x="18421" y="2484"/>
                  </a:lnTo>
                  <a:lnTo>
                    <a:pt x="18403" y="2515"/>
                  </a:lnTo>
                  <a:lnTo>
                    <a:pt x="18388" y="2546"/>
                  </a:lnTo>
                  <a:lnTo>
                    <a:pt x="18381" y="2562"/>
                  </a:lnTo>
                  <a:lnTo>
                    <a:pt x="18376" y="2579"/>
                  </a:lnTo>
                  <a:lnTo>
                    <a:pt x="18367" y="2613"/>
                  </a:lnTo>
                  <a:lnTo>
                    <a:pt x="18362" y="2649"/>
                  </a:lnTo>
                  <a:lnTo>
                    <a:pt x="18360" y="2686"/>
                  </a:lnTo>
                  <a:lnTo>
                    <a:pt x="18362" y="2722"/>
                  </a:lnTo>
                  <a:lnTo>
                    <a:pt x="18367" y="2757"/>
                  </a:lnTo>
                  <a:lnTo>
                    <a:pt x="18375" y="2790"/>
                  </a:lnTo>
                  <a:lnTo>
                    <a:pt x="18387" y="2823"/>
                  </a:lnTo>
                  <a:lnTo>
                    <a:pt x="18401" y="2854"/>
                  </a:lnTo>
                  <a:lnTo>
                    <a:pt x="18417" y="2882"/>
                  </a:lnTo>
                  <a:lnTo>
                    <a:pt x="18438" y="2910"/>
                  </a:lnTo>
                  <a:lnTo>
                    <a:pt x="18460" y="2936"/>
                  </a:lnTo>
                  <a:lnTo>
                    <a:pt x="18484" y="2959"/>
                  </a:lnTo>
                  <a:lnTo>
                    <a:pt x="18510" y="2979"/>
                  </a:lnTo>
                  <a:lnTo>
                    <a:pt x="18538" y="2997"/>
                  </a:lnTo>
                  <a:lnTo>
                    <a:pt x="18569" y="3014"/>
                  </a:lnTo>
                  <a:lnTo>
                    <a:pt x="18599" y="3026"/>
                  </a:lnTo>
                  <a:lnTo>
                    <a:pt x="18633" y="3037"/>
                  </a:lnTo>
                  <a:lnTo>
                    <a:pt x="18667" y="3043"/>
                  </a:lnTo>
                  <a:lnTo>
                    <a:pt x="18702" y="3047"/>
                  </a:lnTo>
                  <a:lnTo>
                    <a:pt x="18702" y="3011"/>
                  </a:lnTo>
                  <a:lnTo>
                    <a:pt x="18701" y="3008"/>
                  </a:lnTo>
                  <a:lnTo>
                    <a:pt x="18597" y="2865"/>
                  </a:lnTo>
                  <a:lnTo>
                    <a:pt x="18593" y="2858"/>
                  </a:lnTo>
                  <a:lnTo>
                    <a:pt x="18593" y="2850"/>
                  </a:lnTo>
                  <a:lnTo>
                    <a:pt x="18596" y="2842"/>
                  </a:lnTo>
                  <a:lnTo>
                    <a:pt x="18601" y="2837"/>
                  </a:lnTo>
                  <a:lnTo>
                    <a:pt x="18607" y="2835"/>
                  </a:lnTo>
                  <a:lnTo>
                    <a:pt x="18615" y="2833"/>
                  </a:lnTo>
                  <a:lnTo>
                    <a:pt x="18623" y="2836"/>
                  </a:lnTo>
                  <a:lnTo>
                    <a:pt x="18629" y="2842"/>
                  </a:lnTo>
                  <a:lnTo>
                    <a:pt x="18702" y="2943"/>
                  </a:lnTo>
                  <a:lnTo>
                    <a:pt x="18702" y="2901"/>
                  </a:lnTo>
                  <a:lnTo>
                    <a:pt x="18702" y="2895"/>
                  </a:lnTo>
                  <a:lnTo>
                    <a:pt x="18702" y="2744"/>
                  </a:lnTo>
                  <a:lnTo>
                    <a:pt x="18606" y="2611"/>
                  </a:lnTo>
                  <a:lnTo>
                    <a:pt x="18602" y="2603"/>
                  </a:lnTo>
                  <a:lnTo>
                    <a:pt x="18602" y="2595"/>
                  </a:lnTo>
                  <a:lnTo>
                    <a:pt x="18606" y="2588"/>
                  </a:lnTo>
                  <a:lnTo>
                    <a:pt x="18611" y="2583"/>
                  </a:lnTo>
                  <a:lnTo>
                    <a:pt x="18617" y="2580"/>
                  </a:lnTo>
                  <a:lnTo>
                    <a:pt x="18625" y="2579"/>
                  </a:lnTo>
                  <a:lnTo>
                    <a:pt x="18633" y="2581"/>
                  </a:lnTo>
                  <a:lnTo>
                    <a:pt x="18639" y="2588"/>
                  </a:lnTo>
                  <a:lnTo>
                    <a:pt x="18702" y="2675"/>
                  </a:lnTo>
                  <a:lnTo>
                    <a:pt x="18702" y="2599"/>
                  </a:lnTo>
                  <a:lnTo>
                    <a:pt x="18705" y="2590"/>
                  </a:lnTo>
                  <a:lnTo>
                    <a:pt x="18708" y="2584"/>
                  </a:lnTo>
                  <a:lnTo>
                    <a:pt x="18715" y="2580"/>
                  </a:lnTo>
                  <a:lnTo>
                    <a:pt x="18723" y="2579"/>
                  </a:lnTo>
                  <a:lnTo>
                    <a:pt x="18730" y="2580"/>
                  </a:lnTo>
                  <a:lnTo>
                    <a:pt x="18737" y="2584"/>
                  </a:lnTo>
                  <a:lnTo>
                    <a:pt x="18741" y="2590"/>
                  </a:lnTo>
                  <a:lnTo>
                    <a:pt x="18742" y="2599"/>
                  </a:lnTo>
                  <a:lnTo>
                    <a:pt x="18742" y="2734"/>
                  </a:lnTo>
                  <a:lnTo>
                    <a:pt x="18742" y="2740"/>
                  </a:lnTo>
                  <a:lnTo>
                    <a:pt x="18742" y="2836"/>
                  </a:lnTo>
                  <a:lnTo>
                    <a:pt x="18828" y="2718"/>
                  </a:lnTo>
                  <a:lnTo>
                    <a:pt x="18834" y="2712"/>
                  </a:lnTo>
                  <a:lnTo>
                    <a:pt x="18842" y="2711"/>
                  </a:lnTo>
                  <a:lnTo>
                    <a:pt x="18856" y="2714"/>
                  </a:lnTo>
                  <a:lnTo>
                    <a:pt x="18861" y="2719"/>
                  </a:lnTo>
                  <a:lnTo>
                    <a:pt x="18864" y="2726"/>
                  </a:lnTo>
                  <a:lnTo>
                    <a:pt x="18864" y="2734"/>
                  </a:lnTo>
                  <a:lnTo>
                    <a:pt x="18860" y="2743"/>
                  </a:lnTo>
                  <a:close/>
                  <a:moveTo>
                    <a:pt x="20006" y="2597"/>
                  </a:moveTo>
                  <a:lnTo>
                    <a:pt x="19966" y="2597"/>
                  </a:lnTo>
                  <a:lnTo>
                    <a:pt x="19966" y="2709"/>
                  </a:lnTo>
                  <a:lnTo>
                    <a:pt x="20724" y="2709"/>
                  </a:lnTo>
                  <a:lnTo>
                    <a:pt x="21483" y="2709"/>
                  </a:lnTo>
                  <a:lnTo>
                    <a:pt x="22241" y="2709"/>
                  </a:lnTo>
                  <a:lnTo>
                    <a:pt x="23000" y="2709"/>
                  </a:lnTo>
                  <a:lnTo>
                    <a:pt x="23000" y="2597"/>
                  </a:lnTo>
                  <a:lnTo>
                    <a:pt x="22962" y="2597"/>
                  </a:lnTo>
                  <a:lnTo>
                    <a:pt x="22954" y="2597"/>
                  </a:lnTo>
                  <a:lnTo>
                    <a:pt x="22218" y="2597"/>
                  </a:lnTo>
                  <a:lnTo>
                    <a:pt x="21483" y="2597"/>
                  </a:lnTo>
                  <a:lnTo>
                    <a:pt x="20747" y="2597"/>
                  </a:lnTo>
                  <a:lnTo>
                    <a:pt x="20013" y="2597"/>
                  </a:lnTo>
                  <a:lnTo>
                    <a:pt x="20006" y="2597"/>
                  </a:lnTo>
                  <a:close/>
                  <a:moveTo>
                    <a:pt x="19369" y="3221"/>
                  </a:moveTo>
                  <a:lnTo>
                    <a:pt x="19369" y="3011"/>
                  </a:lnTo>
                  <a:lnTo>
                    <a:pt x="19370" y="3002"/>
                  </a:lnTo>
                  <a:lnTo>
                    <a:pt x="19375" y="2996"/>
                  </a:lnTo>
                  <a:lnTo>
                    <a:pt x="19382" y="2992"/>
                  </a:lnTo>
                  <a:lnTo>
                    <a:pt x="19388" y="2991"/>
                  </a:lnTo>
                  <a:lnTo>
                    <a:pt x="19396" y="2992"/>
                  </a:lnTo>
                  <a:lnTo>
                    <a:pt x="19402" y="2996"/>
                  </a:lnTo>
                  <a:lnTo>
                    <a:pt x="19407" y="3002"/>
                  </a:lnTo>
                  <a:lnTo>
                    <a:pt x="19409" y="3011"/>
                  </a:lnTo>
                  <a:lnTo>
                    <a:pt x="19409" y="3162"/>
                  </a:lnTo>
                  <a:lnTo>
                    <a:pt x="19442" y="3116"/>
                  </a:lnTo>
                  <a:lnTo>
                    <a:pt x="19448" y="3111"/>
                  </a:lnTo>
                  <a:lnTo>
                    <a:pt x="19456" y="3108"/>
                  </a:lnTo>
                  <a:lnTo>
                    <a:pt x="19470" y="3112"/>
                  </a:lnTo>
                  <a:lnTo>
                    <a:pt x="19475" y="3117"/>
                  </a:lnTo>
                  <a:lnTo>
                    <a:pt x="19478" y="3124"/>
                  </a:lnTo>
                  <a:lnTo>
                    <a:pt x="19478" y="3131"/>
                  </a:lnTo>
                  <a:lnTo>
                    <a:pt x="19474" y="3140"/>
                  </a:lnTo>
                  <a:lnTo>
                    <a:pt x="19409" y="3231"/>
                  </a:lnTo>
                  <a:lnTo>
                    <a:pt x="19409" y="3413"/>
                  </a:lnTo>
                  <a:lnTo>
                    <a:pt x="19432" y="3381"/>
                  </a:lnTo>
                  <a:lnTo>
                    <a:pt x="19438" y="3374"/>
                  </a:lnTo>
                  <a:lnTo>
                    <a:pt x="19446" y="3372"/>
                  </a:lnTo>
                  <a:lnTo>
                    <a:pt x="19460" y="3375"/>
                  </a:lnTo>
                  <a:lnTo>
                    <a:pt x="19465" y="3382"/>
                  </a:lnTo>
                  <a:lnTo>
                    <a:pt x="19468" y="3388"/>
                  </a:lnTo>
                  <a:lnTo>
                    <a:pt x="19468" y="3396"/>
                  </a:lnTo>
                  <a:lnTo>
                    <a:pt x="19464" y="3404"/>
                  </a:lnTo>
                  <a:lnTo>
                    <a:pt x="19409" y="3480"/>
                  </a:lnTo>
                  <a:lnTo>
                    <a:pt x="19409" y="3491"/>
                  </a:lnTo>
                  <a:lnTo>
                    <a:pt x="19409" y="3498"/>
                  </a:lnTo>
                  <a:lnTo>
                    <a:pt x="19409" y="3608"/>
                  </a:lnTo>
                  <a:lnTo>
                    <a:pt x="19425" y="3613"/>
                  </a:lnTo>
                  <a:lnTo>
                    <a:pt x="19441" y="3620"/>
                  </a:lnTo>
                  <a:lnTo>
                    <a:pt x="19455" y="3627"/>
                  </a:lnTo>
                  <a:lnTo>
                    <a:pt x="19468" y="3632"/>
                  </a:lnTo>
                  <a:lnTo>
                    <a:pt x="19480" y="3635"/>
                  </a:lnTo>
                  <a:lnTo>
                    <a:pt x="19488" y="3635"/>
                  </a:lnTo>
                  <a:lnTo>
                    <a:pt x="19494" y="3632"/>
                  </a:lnTo>
                  <a:lnTo>
                    <a:pt x="19501" y="3630"/>
                  </a:lnTo>
                  <a:lnTo>
                    <a:pt x="19509" y="3625"/>
                  </a:lnTo>
                  <a:lnTo>
                    <a:pt x="19525" y="3608"/>
                  </a:lnTo>
                  <a:lnTo>
                    <a:pt x="19547" y="3585"/>
                  </a:lnTo>
                  <a:lnTo>
                    <a:pt x="19562" y="3570"/>
                  </a:lnTo>
                  <a:lnTo>
                    <a:pt x="19577" y="3562"/>
                  </a:lnTo>
                  <a:lnTo>
                    <a:pt x="19591" y="3558"/>
                  </a:lnTo>
                  <a:lnTo>
                    <a:pt x="19620" y="3556"/>
                  </a:lnTo>
                  <a:lnTo>
                    <a:pt x="19639" y="3554"/>
                  </a:lnTo>
                  <a:lnTo>
                    <a:pt x="19664" y="3552"/>
                  </a:lnTo>
                  <a:lnTo>
                    <a:pt x="19679" y="3544"/>
                  </a:lnTo>
                  <a:lnTo>
                    <a:pt x="19684" y="3539"/>
                  </a:lnTo>
                  <a:lnTo>
                    <a:pt x="19688" y="3533"/>
                  </a:lnTo>
                  <a:lnTo>
                    <a:pt x="19695" y="3517"/>
                  </a:lnTo>
                  <a:lnTo>
                    <a:pt x="19700" y="3499"/>
                  </a:lnTo>
                  <a:lnTo>
                    <a:pt x="19705" y="3479"/>
                  </a:lnTo>
                  <a:lnTo>
                    <a:pt x="19714" y="3460"/>
                  </a:lnTo>
                  <a:lnTo>
                    <a:pt x="19728" y="3441"/>
                  </a:lnTo>
                  <a:lnTo>
                    <a:pt x="19737" y="3432"/>
                  </a:lnTo>
                  <a:lnTo>
                    <a:pt x="19748" y="3424"/>
                  </a:lnTo>
                  <a:lnTo>
                    <a:pt x="19792" y="3398"/>
                  </a:lnTo>
                  <a:lnTo>
                    <a:pt x="19804" y="3391"/>
                  </a:lnTo>
                  <a:lnTo>
                    <a:pt x="19810" y="3383"/>
                  </a:lnTo>
                  <a:lnTo>
                    <a:pt x="19813" y="3373"/>
                  </a:lnTo>
                  <a:lnTo>
                    <a:pt x="19811" y="3360"/>
                  </a:lnTo>
                  <a:lnTo>
                    <a:pt x="19804" y="3310"/>
                  </a:lnTo>
                  <a:lnTo>
                    <a:pt x="19804" y="3286"/>
                  </a:lnTo>
                  <a:lnTo>
                    <a:pt x="19807" y="3265"/>
                  </a:lnTo>
                  <a:lnTo>
                    <a:pt x="19816" y="3248"/>
                  </a:lnTo>
                  <a:lnTo>
                    <a:pt x="19827" y="3232"/>
                  </a:lnTo>
                  <a:lnTo>
                    <a:pt x="19847" y="3207"/>
                  </a:lnTo>
                  <a:lnTo>
                    <a:pt x="19854" y="3194"/>
                  </a:lnTo>
                  <a:lnTo>
                    <a:pt x="19856" y="3181"/>
                  </a:lnTo>
                  <a:lnTo>
                    <a:pt x="19854" y="3164"/>
                  </a:lnTo>
                  <a:lnTo>
                    <a:pt x="19850" y="3158"/>
                  </a:lnTo>
                  <a:lnTo>
                    <a:pt x="19846" y="3152"/>
                  </a:lnTo>
                  <a:lnTo>
                    <a:pt x="19824" y="3126"/>
                  </a:lnTo>
                  <a:lnTo>
                    <a:pt x="19814" y="3109"/>
                  </a:lnTo>
                  <a:lnTo>
                    <a:pt x="19806" y="3088"/>
                  </a:lnTo>
                  <a:lnTo>
                    <a:pt x="19805" y="3060"/>
                  </a:lnTo>
                  <a:lnTo>
                    <a:pt x="19806" y="3042"/>
                  </a:lnTo>
                  <a:lnTo>
                    <a:pt x="19809" y="3020"/>
                  </a:lnTo>
                  <a:lnTo>
                    <a:pt x="19811" y="3005"/>
                  </a:lnTo>
                  <a:lnTo>
                    <a:pt x="19811" y="2992"/>
                  </a:lnTo>
                  <a:lnTo>
                    <a:pt x="19809" y="2982"/>
                  </a:lnTo>
                  <a:lnTo>
                    <a:pt x="19805" y="2973"/>
                  </a:lnTo>
                  <a:lnTo>
                    <a:pt x="19792" y="2960"/>
                  </a:lnTo>
                  <a:lnTo>
                    <a:pt x="19775" y="2951"/>
                  </a:lnTo>
                  <a:lnTo>
                    <a:pt x="19757" y="2942"/>
                  </a:lnTo>
                  <a:lnTo>
                    <a:pt x="19738" y="2930"/>
                  </a:lnTo>
                  <a:lnTo>
                    <a:pt x="19720" y="2913"/>
                  </a:lnTo>
                  <a:lnTo>
                    <a:pt x="19712" y="2900"/>
                  </a:lnTo>
                  <a:lnTo>
                    <a:pt x="19706" y="2884"/>
                  </a:lnTo>
                  <a:lnTo>
                    <a:pt x="19691" y="2837"/>
                  </a:lnTo>
                  <a:lnTo>
                    <a:pt x="19686" y="2824"/>
                  </a:lnTo>
                  <a:lnTo>
                    <a:pt x="19683" y="2819"/>
                  </a:lnTo>
                  <a:lnTo>
                    <a:pt x="19680" y="2815"/>
                  </a:lnTo>
                  <a:lnTo>
                    <a:pt x="19671" y="2812"/>
                  </a:lnTo>
                  <a:lnTo>
                    <a:pt x="19657" y="2810"/>
                  </a:lnTo>
                  <a:lnTo>
                    <a:pt x="19607" y="2806"/>
                  </a:lnTo>
                  <a:lnTo>
                    <a:pt x="19591" y="2803"/>
                  </a:lnTo>
                  <a:lnTo>
                    <a:pt x="19577" y="2799"/>
                  </a:lnTo>
                  <a:lnTo>
                    <a:pt x="19555" y="2786"/>
                  </a:lnTo>
                  <a:lnTo>
                    <a:pt x="19547" y="2778"/>
                  </a:lnTo>
                  <a:lnTo>
                    <a:pt x="19539" y="2769"/>
                  </a:lnTo>
                  <a:lnTo>
                    <a:pt x="19527" y="2753"/>
                  </a:lnTo>
                  <a:lnTo>
                    <a:pt x="19514" y="2739"/>
                  </a:lnTo>
                  <a:lnTo>
                    <a:pt x="19507" y="2734"/>
                  </a:lnTo>
                  <a:lnTo>
                    <a:pt x="19500" y="2730"/>
                  </a:lnTo>
                  <a:lnTo>
                    <a:pt x="19491" y="2727"/>
                  </a:lnTo>
                  <a:lnTo>
                    <a:pt x="19479" y="2728"/>
                  </a:lnTo>
                  <a:lnTo>
                    <a:pt x="19452" y="2736"/>
                  </a:lnTo>
                  <a:lnTo>
                    <a:pt x="19421" y="2749"/>
                  </a:lnTo>
                  <a:lnTo>
                    <a:pt x="19405" y="2754"/>
                  </a:lnTo>
                  <a:lnTo>
                    <a:pt x="19388" y="2755"/>
                  </a:lnTo>
                  <a:lnTo>
                    <a:pt x="19366" y="2753"/>
                  </a:lnTo>
                  <a:lnTo>
                    <a:pt x="19347" y="2746"/>
                  </a:lnTo>
                  <a:lnTo>
                    <a:pt x="19316" y="2731"/>
                  </a:lnTo>
                  <a:lnTo>
                    <a:pt x="19301" y="2727"/>
                  </a:lnTo>
                  <a:lnTo>
                    <a:pt x="19293" y="2726"/>
                  </a:lnTo>
                  <a:lnTo>
                    <a:pt x="19287" y="2727"/>
                  </a:lnTo>
                  <a:lnTo>
                    <a:pt x="19270" y="2736"/>
                  </a:lnTo>
                  <a:lnTo>
                    <a:pt x="19251" y="2753"/>
                  </a:lnTo>
                  <a:lnTo>
                    <a:pt x="19230" y="2776"/>
                  </a:lnTo>
                  <a:lnTo>
                    <a:pt x="19214" y="2791"/>
                  </a:lnTo>
                  <a:lnTo>
                    <a:pt x="19200" y="2799"/>
                  </a:lnTo>
                  <a:lnTo>
                    <a:pt x="19187" y="2804"/>
                  </a:lnTo>
                  <a:lnTo>
                    <a:pt x="19157" y="2805"/>
                  </a:lnTo>
                  <a:lnTo>
                    <a:pt x="19138" y="2806"/>
                  </a:lnTo>
                  <a:lnTo>
                    <a:pt x="19112" y="2810"/>
                  </a:lnTo>
                  <a:lnTo>
                    <a:pt x="19098" y="2817"/>
                  </a:lnTo>
                  <a:lnTo>
                    <a:pt x="19093" y="2822"/>
                  </a:lnTo>
                  <a:lnTo>
                    <a:pt x="19088" y="2828"/>
                  </a:lnTo>
                  <a:lnTo>
                    <a:pt x="19082" y="2844"/>
                  </a:lnTo>
                  <a:lnTo>
                    <a:pt x="19078" y="2863"/>
                  </a:lnTo>
                  <a:lnTo>
                    <a:pt x="19071" y="2882"/>
                  </a:lnTo>
                  <a:lnTo>
                    <a:pt x="19064" y="2902"/>
                  </a:lnTo>
                  <a:lnTo>
                    <a:pt x="19050" y="2920"/>
                  </a:lnTo>
                  <a:lnTo>
                    <a:pt x="19041" y="2929"/>
                  </a:lnTo>
                  <a:lnTo>
                    <a:pt x="19029" y="2937"/>
                  </a:lnTo>
                  <a:lnTo>
                    <a:pt x="18985" y="2962"/>
                  </a:lnTo>
                  <a:lnTo>
                    <a:pt x="18974" y="2970"/>
                  </a:lnTo>
                  <a:lnTo>
                    <a:pt x="18967" y="2978"/>
                  </a:lnTo>
                  <a:lnTo>
                    <a:pt x="18965" y="2988"/>
                  </a:lnTo>
                  <a:lnTo>
                    <a:pt x="18966" y="3002"/>
                  </a:lnTo>
                  <a:lnTo>
                    <a:pt x="18974" y="3052"/>
                  </a:lnTo>
                  <a:lnTo>
                    <a:pt x="18974" y="3079"/>
                  </a:lnTo>
                  <a:lnTo>
                    <a:pt x="18967" y="3101"/>
                  </a:lnTo>
                  <a:lnTo>
                    <a:pt x="18956" y="3121"/>
                  </a:lnTo>
                  <a:lnTo>
                    <a:pt x="18941" y="3143"/>
                  </a:lnTo>
                  <a:lnTo>
                    <a:pt x="18926" y="3164"/>
                  </a:lnTo>
                  <a:lnTo>
                    <a:pt x="18923" y="3172"/>
                  </a:lnTo>
                  <a:lnTo>
                    <a:pt x="18921" y="3181"/>
                  </a:lnTo>
                  <a:lnTo>
                    <a:pt x="18924" y="3196"/>
                  </a:lnTo>
                  <a:lnTo>
                    <a:pt x="18928" y="3204"/>
                  </a:lnTo>
                  <a:lnTo>
                    <a:pt x="18932" y="3211"/>
                  </a:lnTo>
                  <a:lnTo>
                    <a:pt x="18953" y="3235"/>
                  </a:lnTo>
                  <a:lnTo>
                    <a:pt x="18964" y="3251"/>
                  </a:lnTo>
                  <a:lnTo>
                    <a:pt x="18970" y="3273"/>
                  </a:lnTo>
                  <a:lnTo>
                    <a:pt x="18973" y="3303"/>
                  </a:lnTo>
                  <a:lnTo>
                    <a:pt x="18971" y="3320"/>
                  </a:lnTo>
                  <a:lnTo>
                    <a:pt x="18969" y="3341"/>
                  </a:lnTo>
                  <a:lnTo>
                    <a:pt x="18966" y="3356"/>
                  </a:lnTo>
                  <a:lnTo>
                    <a:pt x="18966" y="3369"/>
                  </a:lnTo>
                  <a:lnTo>
                    <a:pt x="18969" y="3381"/>
                  </a:lnTo>
                  <a:lnTo>
                    <a:pt x="18973" y="3388"/>
                  </a:lnTo>
                  <a:lnTo>
                    <a:pt x="18984" y="3401"/>
                  </a:lnTo>
                  <a:lnTo>
                    <a:pt x="19001" y="3410"/>
                  </a:lnTo>
                  <a:lnTo>
                    <a:pt x="19020" y="3419"/>
                  </a:lnTo>
                  <a:lnTo>
                    <a:pt x="19039" y="3430"/>
                  </a:lnTo>
                  <a:lnTo>
                    <a:pt x="19057" y="3448"/>
                  </a:lnTo>
                  <a:lnTo>
                    <a:pt x="19065" y="3461"/>
                  </a:lnTo>
                  <a:lnTo>
                    <a:pt x="19071" y="3476"/>
                  </a:lnTo>
                  <a:lnTo>
                    <a:pt x="19085" y="3524"/>
                  </a:lnTo>
                  <a:lnTo>
                    <a:pt x="19091" y="3538"/>
                  </a:lnTo>
                  <a:lnTo>
                    <a:pt x="19093" y="3542"/>
                  </a:lnTo>
                  <a:lnTo>
                    <a:pt x="19097" y="3546"/>
                  </a:lnTo>
                  <a:lnTo>
                    <a:pt x="19106" y="3549"/>
                  </a:lnTo>
                  <a:lnTo>
                    <a:pt x="19120" y="3551"/>
                  </a:lnTo>
                  <a:lnTo>
                    <a:pt x="19170" y="3556"/>
                  </a:lnTo>
                  <a:lnTo>
                    <a:pt x="19187" y="3558"/>
                  </a:lnTo>
                  <a:lnTo>
                    <a:pt x="19201" y="3562"/>
                  </a:lnTo>
                  <a:lnTo>
                    <a:pt x="19221" y="3576"/>
                  </a:lnTo>
                  <a:lnTo>
                    <a:pt x="19230" y="3584"/>
                  </a:lnTo>
                  <a:lnTo>
                    <a:pt x="19238" y="3592"/>
                  </a:lnTo>
                  <a:lnTo>
                    <a:pt x="19251" y="3608"/>
                  </a:lnTo>
                  <a:lnTo>
                    <a:pt x="19262" y="3622"/>
                  </a:lnTo>
                  <a:lnTo>
                    <a:pt x="19270" y="3627"/>
                  </a:lnTo>
                  <a:lnTo>
                    <a:pt x="19278" y="3631"/>
                  </a:lnTo>
                  <a:lnTo>
                    <a:pt x="19287" y="3634"/>
                  </a:lnTo>
                  <a:lnTo>
                    <a:pt x="19297" y="3634"/>
                  </a:lnTo>
                  <a:lnTo>
                    <a:pt x="19325" y="3625"/>
                  </a:lnTo>
                  <a:lnTo>
                    <a:pt x="19347" y="3616"/>
                  </a:lnTo>
                  <a:lnTo>
                    <a:pt x="19369" y="3608"/>
                  </a:lnTo>
                  <a:lnTo>
                    <a:pt x="19369" y="3506"/>
                  </a:lnTo>
                  <a:lnTo>
                    <a:pt x="19364" y="3502"/>
                  </a:lnTo>
                  <a:lnTo>
                    <a:pt x="19360" y="3498"/>
                  </a:lnTo>
                  <a:lnTo>
                    <a:pt x="19359" y="3487"/>
                  </a:lnTo>
                  <a:lnTo>
                    <a:pt x="19264" y="3358"/>
                  </a:lnTo>
                  <a:lnTo>
                    <a:pt x="19260" y="3349"/>
                  </a:lnTo>
                  <a:lnTo>
                    <a:pt x="19260" y="3341"/>
                  </a:lnTo>
                  <a:lnTo>
                    <a:pt x="19264" y="3335"/>
                  </a:lnTo>
                  <a:lnTo>
                    <a:pt x="19269" y="3329"/>
                  </a:lnTo>
                  <a:lnTo>
                    <a:pt x="19275" y="3326"/>
                  </a:lnTo>
                  <a:lnTo>
                    <a:pt x="19283" y="3326"/>
                  </a:lnTo>
                  <a:lnTo>
                    <a:pt x="19289" y="3328"/>
                  </a:lnTo>
                  <a:lnTo>
                    <a:pt x="19297" y="3333"/>
                  </a:lnTo>
                  <a:lnTo>
                    <a:pt x="19369" y="3433"/>
                  </a:lnTo>
                  <a:lnTo>
                    <a:pt x="19369" y="3320"/>
                  </a:lnTo>
                  <a:lnTo>
                    <a:pt x="19262" y="3176"/>
                  </a:lnTo>
                  <a:lnTo>
                    <a:pt x="19259" y="3167"/>
                  </a:lnTo>
                  <a:lnTo>
                    <a:pt x="19259" y="3159"/>
                  </a:lnTo>
                  <a:lnTo>
                    <a:pt x="19262" y="3153"/>
                  </a:lnTo>
                  <a:lnTo>
                    <a:pt x="19268" y="3148"/>
                  </a:lnTo>
                  <a:lnTo>
                    <a:pt x="19274" y="3144"/>
                  </a:lnTo>
                  <a:lnTo>
                    <a:pt x="19282" y="3144"/>
                  </a:lnTo>
                  <a:lnTo>
                    <a:pt x="19289" y="3147"/>
                  </a:lnTo>
                  <a:lnTo>
                    <a:pt x="19296" y="3152"/>
                  </a:lnTo>
                  <a:lnTo>
                    <a:pt x="19369" y="3253"/>
                  </a:lnTo>
                  <a:lnTo>
                    <a:pt x="19369" y="3227"/>
                  </a:lnTo>
                  <a:lnTo>
                    <a:pt x="19369" y="3221"/>
                  </a:lnTo>
                  <a:close/>
                  <a:moveTo>
                    <a:pt x="22962" y="2597"/>
                  </a:moveTo>
                  <a:lnTo>
                    <a:pt x="22954" y="2597"/>
                  </a:lnTo>
                  <a:lnTo>
                    <a:pt x="22962" y="2597"/>
                  </a:lnTo>
                  <a:close/>
                  <a:moveTo>
                    <a:pt x="20013" y="2597"/>
                  </a:moveTo>
                  <a:lnTo>
                    <a:pt x="20006" y="2597"/>
                  </a:lnTo>
                  <a:lnTo>
                    <a:pt x="20013" y="2597"/>
                  </a:lnTo>
                  <a:close/>
                  <a:moveTo>
                    <a:pt x="19409" y="3491"/>
                  </a:moveTo>
                  <a:lnTo>
                    <a:pt x="19409" y="3498"/>
                  </a:lnTo>
                  <a:lnTo>
                    <a:pt x="19409" y="3491"/>
                  </a:lnTo>
                  <a:close/>
                  <a:moveTo>
                    <a:pt x="19369" y="3227"/>
                  </a:moveTo>
                  <a:lnTo>
                    <a:pt x="19369" y="3221"/>
                  </a:lnTo>
                  <a:lnTo>
                    <a:pt x="19369" y="3227"/>
                  </a:lnTo>
                  <a:close/>
                  <a:moveTo>
                    <a:pt x="20708" y="1885"/>
                  </a:moveTo>
                  <a:lnTo>
                    <a:pt x="20672" y="1152"/>
                  </a:lnTo>
                  <a:lnTo>
                    <a:pt x="20636" y="420"/>
                  </a:lnTo>
                  <a:lnTo>
                    <a:pt x="20345" y="420"/>
                  </a:lnTo>
                  <a:lnTo>
                    <a:pt x="20306" y="1139"/>
                  </a:lnTo>
                  <a:lnTo>
                    <a:pt x="20269" y="1858"/>
                  </a:lnTo>
                  <a:lnTo>
                    <a:pt x="20268" y="1867"/>
                  </a:lnTo>
                  <a:lnTo>
                    <a:pt x="20263" y="1872"/>
                  </a:lnTo>
                  <a:lnTo>
                    <a:pt x="20256" y="1876"/>
                  </a:lnTo>
                  <a:lnTo>
                    <a:pt x="20248" y="1877"/>
                  </a:lnTo>
                  <a:lnTo>
                    <a:pt x="20241" y="1874"/>
                  </a:lnTo>
                  <a:lnTo>
                    <a:pt x="20234" y="1870"/>
                  </a:lnTo>
                  <a:lnTo>
                    <a:pt x="20231" y="1864"/>
                  </a:lnTo>
                  <a:lnTo>
                    <a:pt x="20229" y="1855"/>
                  </a:lnTo>
                  <a:lnTo>
                    <a:pt x="20268" y="1126"/>
                  </a:lnTo>
                  <a:lnTo>
                    <a:pt x="20306" y="399"/>
                  </a:lnTo>
                  <a:lnTo>
                    <a:pt x="20307" y="392"/>
                  </a:lnTo>
                  <a:lnTo>
                    <a:pt x="20313" y="386"/>
                  </a:lnTo>
                  <a:lnTo>
                    <a:pt x="20318" y="382"/>
                  </a:lnTo>
                  <a:lnTo>
                    <a:pt x="20325" y="381"/>
                  </a:lnTo>
                  <a:lnTo>
                    <a:pt x="20655" y="381"/>
                  </a:lnTo>
                  <a:lnTo>
                    <a:pt x="20661" y="382"/>
                  </a:lnTo>
                  <a:lnTo>
                    <a:pt x="20668" y="386"/>
                  </a:lnTo>
                  <a:lnTo>
                    <a:pt x="20673" y="392"/>
                  </a:lnTo>
                  <a:lnTo>
                    <a:pt x="20674" y="399"/>
                  </a:lnTo>
                  <a:lnTo>
                    <a:pt x="20710" y="1140"/>
                  </a:lnTo>
                  <a:lnTo>
                    <a:pt x="20747" y="1882"/>
                  </a:lnTo>
                  <a:lnTo>
                    <a:pt x="20746" y="1891"/>
                  </a:lnTo>
                  <a:lnTo>
                    <a:pt x="20742" y="1897"/>
                  </a:lnTo>
                  <a:lnTo>
                    <a:pt x="20736" y="1901"/>
                  </a:lnTo>
                  <a:lnTo>
                    <a:pt x="20728" y="1902"/>
                  </a:lnTo>
                  <a:lnTo>
                    <a:pt x="20715" y="1899"/>
                  </a:lnTo>
                  <a:lnTo>
                    <a:pt x="20710" y="1892"/>
                  </a:lnTo>
                  <a:lnTo>
                    <a:pt x="20708" y="1885"/>
                  </a:lnTo>
                  <a:close/>
                  <a:moveTo>
                    <a:pt x="2868" y="3476"/>
                  </a:moveTo>
                  <a:lnTo>
                    <a:pt x="2980" y="3323"/>
                  </a:lnTo>
                  <a:lnTo>
                    <a:pt x="2953" y="3268"/>
                  </a:lnTo>
                  <a:lnTo>
                    <a:pt x="2939" y="3245"/>
                  </a:lnTo>
                  <a:lnTo>
                    <a:pt x="2925" y="3225"/>
                  </a:lnTo>
                  <a:lnTo>
                    <a:pt x="2911" y="3207"/>
                  </a:lnTo>
                  <a:lnTo>
                    <a:pt x="2897" y="3193"/>
                  </a:lnTo>
                  <a:lnTo>
                    <a:pt x="2883" y="3181"/>
                  </a:lnTo>
                  <a:lnTo>
                    <a:pt x="2868" y="3175"/>
                  </a:lnTo>
                  <a:lnTo>
                    <a:pt x="2868" y="3476"/>
                  </a:lnTo>
                  <a:close/>
                  <a:moveTo>
                    <a:pt x="2998" y="3365"/>
                  </a:moveTo>
                  <a:lnTo>
                    <a:pt x="2868" y="3544"/>
                  </a:lnTo>
                  <a:lnTo>
                    <a:pt x="2868" y="3753"/>
                  </a:lnTo>
                  <a:lnTo>
                    <a:pt x="3045" y="3507"/>
                  </a:lnTo>
                  <a:lnTo>
                    <a:pt x="3027" y="3445"/>
                  </a:lnTo>
                  <a:lnTo>
                    <a:pt x="2998" y="3365"/>
                  </a:lnTo>
                  <a:close/>
                  <a:moveTo>
                    <a:pt x="2716" y="3324"/>
                  </a:moveTo>
                  <a:lnTo>
                    <a:pt x="2829" y="3479"/>
                  </a:lnTo>
                  <a:lnTo>
                    <a:pt x="2829" y="3173"/>
                  </a:lnTo>
                  <a:lnTo>
                    <a:pt x="2813" y="3181"/>
                  </a:lnTo>
                  <a:lnTo>
                    <a:pt x="2798" y="3193"/>
                  </a:lnTo>
                  <a:lnTo>
                    <a:pt x="2790" y="3199"/>
                  </a:lnTo>
                  <a:lnTo>
                    <a:pt x="2783" y="3207"/>
                  </a:lnTo>
                  <a:lnTo>
                    <a:pt x="2768" y="3225"/>
                  </a:lnTo>
                  <a:lnTo>
                    <a:pt x="2742" y="3269"/>
                  </a:lnTo>
                  <a:lnTo>
                    <a:pt x="2715" y="3323"/>
                  </a:lnTo>
                  <a:lnTo>
                    <a:pt x="2716" y="3324"/>
                  </a:lnTo>
                  <a:close/>
                  <a:moveTo>
                    <a:pt x="3060" y="3557"/>
                  </a:moveTo>
                  <a:lnTo>
                    <a:pt x="2868" y="3820"/>
                  </a:lnTo>
                  <a:lnTo>
                    <a:pt x="2868" y="4028"/>
                  </a:lnTo>
                  <a:lnTo>
                    <a:pt x="3089" y="3725"/>
                  </a:lnTo>
                  <a:lnTo>
                    <a:pt x="3094" y="3718"/>
                  </a:lnTo>
                  <a:lnTo>
                    <a:pt x="3080" y="3640"/>
                  </a:lnTo>
                  <a:lnTo>
                    <a:pt x="3060" y="3557"/>
                  </a:lnTo>
                  <a:close/>
                  <a:moveTo>
                    <a:pt x="2654" y="3515"/>
                  </a:moveTo>
                  <a:lnTo>
                    <a:pt x="2829" y="3754"/>
                  </a:lnTo>
                  <a:lnTo>
                    <a:pt x="2829" y="3547"/>
                  </a:lnTo>
                  <a:lnTo>
                    <a:pt x="2698" y="3367"/>
                  </a:lnTo>
                  <a:lnTo>
                    <a:pt x="2672" y="3437"/>
                  </a:lnTo>
                  <a:lnTo>
                    <a:pt x="2650" y="3511"/>
                  </a:lnTo>
                  <a:lnTo>
                    <a:pt x="2654" y="3515"/>
                  </a:lnTo>
                  <a:close/>
                  <a:moveTo>
                    <a:pt x="3103" y="3773"/>
                  </a:moveTo>
                  <a:lnTo>
                    <a:pt x="2868" y="4095"/>
                  </a:lnTo>
                  <a:lnTo>
                    <a:pt x="2868" y="4102"/>
                  </a:lnTo>
                  <a:lnTo>
                    <a:pt x="2893" y="4098"/>
                  </a:lnTo>
                  <a:lnTo>
                    <a:pt x="2917" y="4093"/>
                  </a:lnTo>
                  <a:lnTo>
                    <a:pt x="2940" y="4085"/>
                  </a:lnTo>
                  <a:lnTo>
                    <a:pt x="2962" y="4076"/>
                  </a:lnTo>
                  <a:lnTo>
                    <a:pt x="2983" y="4065"/>
                  </a:lnTo>
                  <a:lnTo>
                    <a:pt x="3003" y="4051"/>
                  </a:lnTo>
                  <a:lnTo>
                    <a:pt x="3021" y="4037"/>
                  </a:lnTo>
                  <a:lnTo>
                    <a:pt x="3038" y="4020"/>
                  </a:lnTo>
                  <a:lnTo>
                    <a:pt x="3067" y="3982"/>
                  </a:lnTo>
                  <a:lnTo>
                    <a:pt x="3079" y="3961"/>
                  </a:lnTo>
                  <a:lnTo>
                    <a:pt x="3089" y="3939"/>
                  </a:lnTo>
                  <a:lnTo>
                    <a:pt x="3097" y="3916"/>
                  </a:lnTo>
                  <a:lnTo>
                    <a:pt x="3103" y="3893"/>
                  </a:lnTo>
                  <a:lnTo>
                    <a:pt x="3107" y="3868"/>
                  </a:lnTo>
                  <a:lnTo>
                    <a:pt x="3108" y="3843"/>
                  </a:lnTo>
                  <a:lnTo>
                    <a:pt x="3107" y="3811"/>
                  </a:lnTo>
                  <a:lnTo>
                    <a:pt x="3103" y="3773"/>
                  </a:lnTo>
                  <a:close/>
                  <a:moveTo>
                    <a:pt x="2603" y="3719"/>
                  </a:moveTo>
                  <a:lnTo>
                    <a:pt x="2829" y="4012"/>
                  </a:lnTo>
                  <a:lnTo>
                    <a:pt x="2829" y="3822"/>
                  </a:lnTo>
                  <a:lnTo>
                    <a:pt x="2638" y="3560"/>
                  </a:lnTo>
                  <a:lnTo>
                    <a:pt x="2618" y="3644"/>
                  </a:lnTo>
                  <a:lnTo>
                    <a:pt x="2603" y="3719"/>
                  </a:lnTo>
                  <a:close/>
                  <a:moveTo>
                    <a:pt x="2784" y="1296"/>
                  </a:moveTo>
                  <a:lnTo>
                    <a:pt x="2784" y="1465"/>
                  </a:lnTo>
                  <a:lnTo>
                    <a:pt x="2781" y="1474"/>
                  </a:lnTo>
                  <a:lnTo>
                    <a:pt x="2777" y="1480"/>
                  </a:lnTo>
                  <a:lnTo>
                    <a:pt x="2771" y="1484"/>
                  </a:lnTo>
                  <a:lnTo>
                    <a:pt x="2763" y="1486"/>
                  </a:lnTo>
                  <a:lnTo>
                    <a:pt x="2756" y="1484"/>
                  </a:lnTo>
                  <a:lnTo>
                    <a:pt x="2749" y="1480"/>
                  </a:lnTo>
                  <a:lnTo>
                    <a:pt x="2745" y="1474"/>
                  </a:lnTo>
                  <a:lnTo>
                    <a:pt x="2743" y="1465"/>
                  </a:lnTo>
                  <a:lnTo>
                    <a:pt x="2743" y="1296"/>
                  </a:lnTo>
                  <a:lnTo>
                    <a:pt x="2650" y="1296"/>
                  </a:lnTo>
                  <a:lnTo>
                    <a:pt x="2650" y="1465"/>
                  </a:lnTo>
                  <a:lnTo>
                    <a:pt x="2649" y="1474"/>
                  </a:lnTo>
                  <a:lnTo>
                    <a:pt x="2644" y="1480"/>
                  </a:lnTo>
                  <a:lnTo>
                    <a:pt x="2638" y="1484"/>
                  </a:lnTo>
                  <a:lnTo>
                    <a:pt x="2631" y="1486"/>
                  </a:lnTo>
                  <a:lnTo>
                    <a:pt x="2624" y="1484"/>
                  </a:lnTo>
                  <a:lnTo>
                    <a:pt x="2617" y="1480"/>
                  </a:lnTo>
                  <a:lnTo>
                    <a:pt x="2612" y="1474"/>
                  </a:lnTo>
                  <a:lnTo>
                    <a:pt x="2611" y="1465"/>
                  </a:lnTo>
                  <a:lnTo>
                    <a:pt x="2611" y="1296"/>
                  </a:lnTo>
                  <a:lnTo>
                    <a:pt x="2518" y="1296"/>
                  </a:lnTo>
                  <a:lnTo>
                    <a:pt x="2518" y="1465"/>
                  </a:lnTo>
                  <a:lnTo>
                    <a:pt x="2516" y="1474"/>
                  </a:lnTo>
                  <a:lnTo>
                    <a:pt x="2512" y="1480"/>
                  </a:lnTo>
                  <a:lnTo>
                    <a:pt x="2506" y="1484"/>
                  </a:lnTo>
                  <a:lnTo>
                    <a:pt x="2498" y="1486"/>
                  </a:lnTo>
                  <a:lnTo>
                    <a:pt x="2490" y="1484"/>
                  </a:lnTo>
                  <a:lnTo>
                    <a:pt x="2484" y="1480"/>
                  </a:lnTo>
                  <a:lnTo>
                    <a:pt x="2480" y="1474"/>
                  </a:lnTo>
                  <a:lnTo>
                    <a:pt x="2477" y="1465"/>
                  </a:lnTo>
                  <a:lnTo>
                    <a:pt x="2477" y="1296"/>
                  </a:lnTo>
                  <a:lnTo>
                    <a:pt x="2385" y="1296"/>
                  </a:lnTo>
                  <a:lnTo>
                    <a:pt x="2385" y="1465"/>
                  </a:lnTo>
                  <a:lnTo>
                    <a:pt x="2384" y="1474"/>
                  </a:lnTo>
                  <a:lnTo>
                    <a:pt x="2379" y="1480"/>
                  </a:lnTo>
                  <a:lnTo>
                    <a:pt x="2372" y="1484"/>
                  </a:lnTo>
                  <a:lnTo>
                    <a:pt x="2366" y="1486"/>
                  </a:lnTo>
                  <a:lnTo>
                    <a:pt x="2358" y="1484"/>
                  </a:lnTo>
                  <a:lnTo>
                    <a:pt x="2352" y="1480"/>
                  </a:lnTo>
                  <a:lnTo>
                    <a:pt x="2347" y="1474"/>
                  </a:lnTo>
                  <a:lnTo>
                    <a:pt x="2345" y="1465"/>
                  </a:lnTo>
                  <a:lnTo>
                    <a:pt x="2345" y="1296"/>
                  </a:lnTo>
                  <a:lnTo>
                    <a:pt x="2282" y="1296"/>
                  </a:lnTo>
                  <a:lnTo>
                    <a:pt x="2282" y="1634"/>
                  </a:lnTo>
                  <a:lnTo>
                    <a:pt x="2852" y="1634"/>
                  </a:lnTo>
                  <a:lnTo>
                    <a:pt x="2852" y="1296"/>
                  </a:lnTo>
                  <a:lnTo>
                    <a:pt x="2784" y="1296"/>
                  </a:lnTo>
                  <a:close/>
                  <a:moveTo>
                    <a:pt x="332" y="4356"/>
                  </a:moveTo>
                  <a:lnTo>
                    <a:pt x="322" y="4359"/>
                  </a:lnTo>
                  <a:lnTo>
                    <a:pt x="313" y="4356"/>
                  </a:lnTo>
                  <a:lnTo>
                    <a:pt x="0" y="4356"/>
                  </a:lnTo>
                  <a:lnTo>
                    <a:pt x="0" y="4317"/>
                  </a:lnTo>
                  <a:lnTo>
                    <a:pt x="64" y="4317"/>
                  </a:lnTo>
                  <a:lnTo>
                    <a:pt x="64" y="3833"/>
                  </a:lnTo>
                  <a:lnTo>
                    <a:pt x="0" y="3833"/>
                  </a:lnTo>
                  <a:lnTo>
                    <a:pt x="0" y="3792"/>
                  </a:lnTo>
                  <a:lnTo>
                    <a:pt x="197" y="3792"/>
                  </a:lnTo>
                  <a:lnTo>
                    <a:pt x="206" y="3795"/>
                  </a:lnTo>
                  <a:lnTo>
                    <a:pt x="213" y="3799"/>
                  </a:lnTo>
                  <a:lnTo>
                    <a:pt x="217" y="3805"/>
                  </a:lnTo>
                  <a:lnTo>
                    <a:pt x="218" y="3813"/>
                  </a:lnTo>
                  <a:lnTo>
                    <a:pt x="217" y="3820"/>
                  </a:lnTo>
                  <a:lnTo>
                    <a:pt x="213" y="3827"/>
                  </a:lnTo>
                  <a:lnTo>
                    <a:pt x="206" y="3831"/>
                  </a:lnTo>
                  <a:lnTo>
                    <a:pt x="197" y="3833"/>
                  </a:lnTo>
                  <a:lnTo>
                    <a:pt x="104" y="3833"/>
                  </a:lnTo>
                  <a:lnTo>
                    <a:pt x="104" y="4317"/>
                  </a:lnTo>
                  <a:lnTo>
                    <a:pt x="303" y="4317"/>
                  </a:lnTo>
                  <a:lnTo>
                    <a:pt x="303" y="3544"/>
                  </a:lnTo>
                  <a:lnTo>
                    <a:pt x="303" y="2772"/>
                  </a:lnTo>
                  <a:lnTo>
                    <a:pt x="304" y="2764"/>
                  </a:lnTo>
                  <a:lnTo>
                    <a:pt x="308" y="2758"/>
                  </a:lnTo>
                  <a:lnTo>
                    <a:pt x="314" y="2753"/>
                  </a:lnTo>
                  <a:lnTo>
                    <a:pt x="322" y="2751"/>
                  </a:lnTo>
                  <a:lnTo>
                    <a:pt x="440" y="2751"/>
                  </a:lnTo>
                  <a:lnTo>
                    <a:pt x="440" y="2579"/>
                  </a:lnTo>
                  <a:lnTo>
                    <a:pt x="441" y="2571"/>
                  </a:lnTo>
                  <a:lnTo>
                    <a:pt x="446" y="2565"/>
                  </a:lnTo>
                  <a:lnTo>
                    <a:pt x="453" y="2560"/>
                  </a:lnTo>
                  <a:lnTo>
                    <a:pt x="460" y="2558"/>
                  </a:lnTo>
                  <a:lnTo>
                    <a:pt x="541" y="2558"/>
                  </a:lnTo>
                  <a:lnTo>
                    <a:pt x="1007" y="2558"/>
                  </a:lnTo>
                  <a:lnTo>
                    <a:pt x="1997" y="2558"/>
                  </a:lnTo>
                  <a:lnTo>
                    <a:pt x="2004" y="2560"/>
                  </a:lnTo>
                  <a:lnTo>
                    <a:pt x="2011" y="2565"/>
                  </a:lnTo>
                  <a:lnTo>
                    <a:pt x="2014" y="2571"/>
                  </a:lnTo>
                  <a:lnTo>
                    <a:pt x="2017" y="2579"/>
                  </a:lnTo>
                  <a:lnTo>
                    <a:pt x="2017" y="2751"/>
                  </a:lnTo>
                  <a:lnTo>
                    <a:pt x="2098" y="2751"/>
                  </a:lnTo>
                  <a:lnTo>
                    <a:pt x="2098" y="2203"/>
                  </a:lnTo>
                  <a:lnTo>
                    <a:pt x="2098" y="1654"/>
                  </a:lnTo>
                  <a:lnTo>
                    <a:pt x="2099" y="1647"/>
                  </a:lnTo>
                  <a:lnTo>
                    <a:pt x="2103" y="1640"/>
                  </a:lnTo>
                  <a:lnTo>
                    <a:pt x="2109" y="1635"/>
                  </a:lnTo>
                  <a:lnTo>
                    <a:pt x="2117" y="1634"/>
                  </a:lnTo>
                  <a:lnTo>
                    <a:pt x="2243" y="1634"/>
                  </a:lnTo>
                  <a:lnTo>
                    <a:pt x="2243" y="1276"/>
                  </a:lnTo>
                  <a:lnTo>
                    <a:pt x="2244" y="1268"/>
                  </a:lnTo>
                  <a:lnTo>
                    <a:pt x="2249" y="1262"/>
                  </a:lnTo>
                  <a:lnTo>
                    <a:pt x="2254" y="1258"/>
                  </a:lnTo>
                  <a:lnTo>
                    <a:pt x="2262" y="1257"/>
                  </a:lnTo>
                  <a:lnTo>
                    <a:pt x="2872" y="1257"/>
                  </a:lnTo>
                  <a:lnTo>
                    <a:pt x="2880" y="1258"/>
                  </a:lnTo>
                  <a:lnTo>
                    <a:pt x="2886" y="1262"/>
                  </a:lnTo>
                  <a:lnTo>
                    <a:pt x="2890" y="1268"/>
                  </a:lnTo>
                  <a:lnTo>
                    <a:pt x="2893" y="1276"/>
                  </a:lnTo>
                  <a:lnTo>
                    <a:pt x="2893" y="1634"/>
                  </a:lnTo>
                  <a:lnTo>
                    <a:pt x="3017" y="1634"/>
                  </a:lnTo>
                  <a:lnTo>
                    <a:pt x="3025" y="1635"/>
                  </a:lnTo>
                  <a:lnTo>
                    <a:pt x="3031" y="1640"/>
                  </a:lnTo>
                  <a:lnTo>
                    <a:pt x="3035" y="1647"/>
                  </a:lnTo>
                  <a:lnTo>
                    <a:pt x="3038" y="1654"/>
                  </a:lnTo>
                  <a:lnTo>
                    <a:pt x="3038" y="2434"/>
                  </a:lnTo>
                  <a:lnTo>
                    <a:pt x="3038" y="3214"/>
                  </a:lnTo>
                  <a:lnTo>
                    <a:pt x="3035" y="3223"/>
                  </a:lnTo>
                  <a:lnTo>
                    <a:pt x="3031" y="3230"/>
                  </a:lnTo>
                  <a:lnTo>
                    <a:pt x="3025" y="3234"/>
                  </a:lnTo>
                  <a:lnTo>
                    <a:pt x="3017" y="3235"/>
                  </a:lnTo>
                  <a:lnTo>
                    <a:pt x="3010" y="3234"/>
                  </a:lnTo>
                  <a:lnTo>
                    <a:pt x="3003" y="3230"/>
                  </a:lnTo>
                  <a:lnTo>
                    <a:pt x="2999" y="3223"/>
                  </a:lnTo>
                  <a:lnTo>
                    <a:pt x="2998" y="3214"/>
                  </a:lnTo>
                  <a:lnTo>
                    <a:pt x="2998" y="2443"/>
                  </a:lnTo>
                  <a:lnTo>
                    <a:pt x="2998" y="1674"/>
                  </a:lnTo>
                  <a:lnTo>
                    <a:pt x="2138" y="1674"/>
                  </a:lnTo>
                  <a:lnTo>
                    <a:pt x="2138" y="2333"/>
                  </a:lnTo>
                  <a:lnTo>
                    <a:pt x="2138" y="2994"/>
                  </a:lnTo>
                  <a:lnTo>
                    <a:pt x="2138" y="3655"/>
                  </a:lnTo>
                  <a:lnTo>
                    <a:pt x="2138" y="4317"/>
                  </a:lnTo>
                  <a:lnTo>
                    <a:pt x="2829" y="4317"/>
                  </a:lnTo>
                  <a:lnTo>
                    <a:pt x="2829" y="4141"/>
                  </a:lnTo>
                  <a:lnTo>
                    <a:pt x="2799" y="4138"/>
                  </a:lnTo>
                  <a:lnTo>
                    <a:pt x="2771" y="4132"/>
                  </a:lnTo>
                  <a:lnTo>
                    <a:pt x="2744" y="4123"/>
                  </a:lnTo>
                  <a:lnTo>
                    <a:pt x="2731" y="4118"/>
                  </a:lnTo>
                  <a:lnTo>
                    <a:pt x="2718" y="4113"/>
                  </a:lnTo>
                  <a:lnTo>
                    <a:pt x="2694" y="4099"/>
                  </a:lnTo>
                  <a:lnTo>
                    <a:pt x="2671" y="4084"/>
                  </a:lnTo>
                  <a:lnTo>
                    <a:pt x="2649" y="4067"/>
                  </a:lnTo>
                  <a:lnTo>
                    <a:pt x="2630" y="4048"/>
                  </a:lnTo>
                  <a:lnTo>
                    <a:pt x="2612" y="4026"/>
                  </a:lnTo>
                  <a:lnTo>
                    <a:pt x="2595" y="4005"/>
                  </a:lnTo>
                  <a:lnTo>
                    <a:pt x="2581" y="3980"/>
                  </a:lnTo>
                  <a:lnTo>
                    <a:pt x="2570" y="3955"/>
                  </a:lnTo>
                  <a:lnTo>
                    <a:pt x="2561" y="3929"/>
                  </a:lnTo>
                  <a:lnTo>
                    <a:pt x="2554" y="3901"/>
                  </a:lnTo>
                  <a:lnTo>
                    <a:pt x="2549" y="3873"/>
                  </a:lnTo>
                  <a:lnTo>
                    <a:pt x="2548" y="3843"/>
                  </a:lnTo>
                  <a:lnTo>
                    <a:pt x="2549" y="3813"/>
                  </a:lnTo>
                  <a:lnTo>
                    <a:pt x="2554" y="3773"/>
                  </a:lnTo>
                  <a:lnTo>
                    <a:pt x="2570" y="3675"/>
                  </a:lnTo>
                  <a:lnTo>
                    <a:pt x="2581" y="3617"/>
                  </a:lnTo>
                  <a:lnTo>
                    <a:pt x="2595" y="3558"/>
                  </a:lnTo>
                  <a:lnTo>
                    <a:pt x="2630" y="3436"/>
                  </a:lnTo>
                  <a:lnTo>
                    <a:pt x="2650" y="3377"/>
                  </a:lnTo>
                  <a:lnTo>
                    <a:pt x="2674" y="3320"/>
                  </a:lnTo>
                  <a:lnTo>
                    <a:pt x="2698" y="3268"/>
                  </a:lnTo>
                  <a:lnTo>
                    <a:pt x="2725" y="3222"/>
                  </a:lnTo>
                  <a:lnTo>
                    <a:pt x="2753" y="3185"/>
                  </a:lnTo>
                  <a:lnTo>
                    <a:pt x="2783" y="3156"/>
                  </a:lnTo>
                  <a:lnTo>
                    <a:pt x="2799" y="3144"/>
                  </a:lnTo>
                  <a:lnTo>
                    <a:pt x="2815" y="3136"/>
                  </a:lnTo>
                  <a:lnTo>
                    <a:pt x="2831" y="3133"/>
                  </a:lnTo>
                  <a:lnTo>
                    <a:pt x="2848" y="3130"/>
                  </a:lnTo>
                  <a:lnTo>
                    <a:pt x="2866" y="3133"/>
                  </a:lnTo>
                  <a:lnTo>
                    <a:pt x="2883" y="3138"/>
                  </a:lnTo>
                  <a:lnTo>
                    <a:pt x="2899" y="3145"/>
                  </a:lnTo>
                  <a:lnTo>
                    <a:pt x="2915" y="3157"/>
                  </a:lnTo>
                  <a:lnTo>
                    <a:pt x="2945" y="3187"/>
                  </a:lnTo>
                  <a:lnTo>
                    <a:pt x="2953" y="3196"/>
                  </a:lnTo>
                  <a:lnTo>
                    <a:pt x="2960" y="3205"/>
                  </a:lnTo>
                  <a:lnTo>
                    <a:pt x="2974" y="3226"/>
                  </a:lnTo>
                  <a:lnTo>
                    <a:pt x="3001" y="3272"/>
                  </a:lnTo>
                  <a:lnTo>
                    <a:pt x="3024" y="3323"/>
                  </a:lnTo>
                  <a:lnTo>
                    <a:pt x="3045" y="3377"/>
                  </a:lnTo>
                  <a:lnTo>
                    <a:pt x="3065" y="3433"/>
                  </a:lnTo>
                  <a:lnTo>
                    <a:pt x="3083" y="3492"/>
                  </a:lnTo>
                  <a:lnTo>
                    <a:pt x="3099" y="3551"/>
                  </a:lnTo>
                  <a:lnTo>
                    <a:pt x="3113" y="3609"/>
                  </a:lnTo>
                  <a:lnTo>
                    <a:pt x="3125" y="3666"/>
                  </a:lnTo>
                  <a:lnTo>
                    <a:pt x="3135" y="3719"/>
                  </a:lnTo>
                  <a:lnTo>
                    <a:pt x="3142" y="3767"/>
                  </a:lnTo>
                  <a:lnTo>
                    <a:pt x="3147" y="3809"/>
                  </a:lnTo>
                  <a:lnTo>
                    <a:pt x="3148" y="3843"/>
                  </a:lnTo>
                  <a:lnTo>
                    <a:pt x="3147" y="3873"/>
                  </a:lnTo>
                  <a:lnTo>
                    <a:pt x="3143" y="3901"/>
                  </a:lnTo>
                  <a:lnTo>
                    <a:pt x="3135" y="3929"/>
                  </a:lnTo>
                  <a:lnTo>
                    <a:pt x="3126" y="3955"/>
                  </a:lnTo>
                  <a:lnTo>
                    <a:pt x="3115" y="3980"/>
                  </a:lnTo>
                  <a:lnTo>
                    <a:pt x="3101" y="4005"/>
                  </a:lnTo>
                  <a:lnTo>
                    <a:pt x="3067" y="4048"/>
                  </a:lnTo>
                  <a:lnTo>
                    <a:pt x="3025" y="4084"/>
                  </a:lnTo>
                  <a:lnTo>
                    <a:pt x="3002" y="4099"/>
                  </a:lnTo>
                  <a:lnTo>
                    <a:pt x="2977" y="4113"/>
                  </a:lnTo>
                  <a:lnTo>
                    <a:pt x="2952" y="4123"/>
                  </a:lnTo>
                  <a:lnTo>
                    <a:pt x="2925" y="4132"/>
                  </a:lnTo>
                  <a:lnTo>
                    <a:pt x="2897" y="4138"/>
                  </a:lnTo>
                  <a:lnTo>
                    <a:pt x="2868" y="4141"/>
                  </a:lnTo>
                  <a:lnTo>
                    <a:pt x="2868" y="4317"/>
                  </a:lnTo>
                  <a:lnTo>
                    <a:pt x="2998" y="4317"/>
                  </a:lnTo>
                  <a:lnTo>
                    <a:pt x="2998" y="4193"/>
                  </a:lnTo>
                  <a:lnTo>
                    <a:pt x="2999" y="4184"/>
                  </a:lnTo>
                  <a:lnTo>
                    <a:pt x="3003" y="4177"/>
                  </a:lnTo>
                  <a:lnTo>
                    <a:pt x="3010" y="4173"/>
                  </a:lnTo>
                  <a:lnTo>
                    <a:pt x="3017" y="4172"/>
                  </a:lnTo>
                  <a:lnTo>
                    <a:pt x="3025" y="4173"/>
                  </a:lnTo>
                  <a:lnTo>
                    <a:pt x="3031" y="4177"/>
                  </a:lnTo>
                  <a:lnTo>
                    <a:pt x="3035" y="4184"/>
                  </a:lnTo>
                  <a:lnTo>
                    <a:pt x="3038" y="4193"/>
                  </a:lnTo>
                  <a:lnTo>
                    <a:pt x="3038" y="4332"/>
                  </a:lnTo>
                  <a:lnTo>
                    <a:pt x="3036" y="4340"/>
                  </a:lnTo>
                  <a:lnTo>
                    <a:pt x="3031" y="4346"/>
                  </a:lnTo>
                  <a:lnTo>
                    <a:pt x="3025" y="4354"/>
                  </a:lnTo>
                  <a:lnTo>
                    <a:pt x="3013" y="4356"/>
                  </a:lnTo>
                  <a:lnTo>
                    <a:pt x="2343" y="4356"/>
                  </a:lnTo>
                  <a:lnTo>
                    <a:pt x="1672" y="4356"/>
                  </a:lnTo>
                  <a:lnTo>
                    <a:pt x="1001" y="4356"/>
                  </a:lnTo>
                  <a:lnTo>
                    <a:pt x="332" y="4356"/>
                  </a:lnTo>
                  <a:close/>
                  <a:moveTo>
                    <a:pt x="1458" y="2791"/>
                  </a:moveTo>
                  <a:lnTo>
                    <a:pt x="900" y="2791"/>
                  </a:lnTo>
                  <a:lnTo>
                    <a:pt x="342" y="2791"/>
                  </a:lnTo>
                  <a:lnTo>
                    <a:pt x="342" y="3553"/>
                  </a:lnTo>
                  <a:lnTo>
                    <a:pt x="342" y="4317"/>
                  </a:lnTo>
                  <a:lnTo>
                    <a:pt x="1218" y="4317"/>
                  </a:lnTo>
                  <a:lnTo>
                    <a:pt x="2095" y="4317"/>
                  </a:lnTo>
                  <a:lnTo>
                    <a:pt x="2095" y="3553"/>
                  </a:lnTo>
                  <a:lnTo>
                    <a:pt x="2095" y="2791"/>
                  </a:lnTo>
                  <a:lnTo>
                    <a:pt x="1723" y="2791"/>
                  </a:lnTo>
                  <a:lnTo>
                    <a:pt x="1714" y="2790"/>
                  </a:lnTo>
                  <a:lnTo>
                    <a:pt x="1708" y="2786"/>
                  </a:lnTo>
                  <a:lnTo>
                    <a:pt x="1704" y="2780"/>
                  </a:lnTo>
                  <a:lnTo>
                    <a:pt x="1703" y="2772"/>
                  </a:lnTo>
                  <a:lnTo>
                    <a:pt x="1704" y="2764"/>
                  </a:lnTo>
                  <a:lnTo>
                    <a:pt x="1708" y="2758"/>
                  </a:lnTo>
                  <a:lnTo>
                    <a:pt x="1714" y="2754"/>
                  </a:lnTo>
                  <a:lnTo>
                    <a:pt x="1723" y="2751"/>
                  </a:lnTo>
                  <a:lnTo>
                    <a:pt x="1976" y="2751"/>
                  </a:lnTo>
                  <a:lnTo>
                    <a:pt x="1976" y="2598"/>
                  </a:lnTo>
                  <a:lnTo>
                    <a:pt x="1025" y="2598"/>
                  </a:lnTo>
                  <a:lnTo>
                    <a:pt x="1018" y="2602"/>
                  </a:lnTo>
                  <a:lnTo>
                    <a:pt x="1010" y="2603"/>
                  </a:lnTo>
                  <a:lnTo>
                    <a:pt x="544" y="2603"/>
                  </a:lnTo>
                  <a:lnTo>
                    <a:pt x="536" y="2602"/>
                  </a:lnTo>
                  <a:lnTo>
                    <a:pt x="531" y="2598"/>
                  </a:lnTo>
                  <a:lnTo>
                    <a:pt x="480" y="2598"/>
                  </a:lnTo>
                  <a:lnTo>
                    <a:pt x="480" y="2751"/>
                  </a:lnTo>
                  <a:lnTo>
                    <a:pt x="1458" y="2751"/>
                  </a:lnTo>
                  <a:lnTo>
                    <a:pt x="1467" y="2754"/>
                  </a:lnTo>
                  <a:lnTo>
                    <a:pt x="1473" y="2758"/>
                  </a:lnTo>
                  <a:lnTo>
                    <a:pt x="1477" y="2764"/>
                  </a:lnTo>
                  <a:lnTo>
                    <a:pt x="1478" y="2772"/>
                  </a:lnTo>
                  <a:lnTo>
                    <a:pt x="1477" y="2780"/>
                  </a:lnTo>
                  <a:lnTo>
                    <a:pt x="1473" y="2786"/>
                  </a:lnTo>
                  <a:lnTo>
                    <a:pt x="1467" y="2790"/>
                  </a:lnTo>
                  <a:lnTo>
                    <a:pt x="1458" y="2791"/>
                  </a:lnTo>
                  <a:close/>
                  <a:moveTo>
                    <a:pt x="2829" y="4085"/>
                  </a:moveTo>
                  <a:lnTo>
                    <a:pt x="2829" y="4077"/>
                  </a:lnTo>
                  <a:lnTo>
                    <a:pt x="2594" y="3774"/>
                  </a:lnTo>
                  <a:lnTo>
                    <a:pt x="2590" y="3814"/>
                  </a:lnTo>
                  <a:lnTo>
                    <a:pt x="2588" y="3843"/>
                  </a:lnTo>
                  <a:lnTo>
                    <a:pt x="2589" y="3868"/>
                  </a:lnTo>
                  <a:lnTo>
                    <a:pt x="2593" y="3893"/>
                  </a:lnTo>
                  <a:lnTo>
                    <a:pt x="2599" y="3916"/>
                  </a:lnTo>
                  <a:lnTo>
                    <a:pt x="2607" y="3939"/>
                  </a:lnTo>
                  <a:lnTo>
                    <a:pt x="2617" y="3961"/>
                  </a:lnTo>
                  <a:lnTo>
                    <a:pt x="2629" y="3982"/>
                  </a:lnTo>
                  <a:lnTo>
                    <a:pt x="2643" y="4002"/>
                  </a:lnTo>
                  <a:lnTo>
                    <a:pt x="2658" y="4020"/>
                  </a:lnTo>
                  <a:lnTo>
                    <a:pt x="2675" y="4037"/>
                  </a:lnTo>
                  <a:lnTo>
                    <a:pt x="2693" y="4051"/>
                  </a:lnTo>
                  <a:lnTo>
                    <a:pt x="2713" y="4065"/>
                  </a:lnTo>
                  <a:lnTo>
                    <a:pt x="2734" y="4076"/>
                  </a:lnTo>
                  <a:lnTo>
                    <a:pt x="2756" y="4085"/>
                  </a:lnTo>
                  <a:lnTo>
                    <a:pt x="2779" y="4093"/>
                  </a:lnTo>
                  <a:lnTo>
                    <a:pt x="2803" y="4098"/>
                  </a:lnTo>
                  <a:lnTo>
                    <a:pt x="2829" y="4102"/>
                  </a:lnTo>
                  <a:lnTo>
                    <a:pt x="2829" y="4093"/>
                  </a:lnTo>
                  <a:lnTo>
                    <a:pt x="2829" y="4085"/>
                  </a:lnTo>
                  <a:close/>
                  <a:moveTo>
                    <a:pt x="1903" y="3824"/>
                  </a:moveTo>
                  <a:lnTo>
                    <a:pt x="1903" y="3937"/>
                  </a:lnTo>
                  <a:lnTo>
                    <a:pt x="1902" y="3946"/>
                  </a:lnTo>
                  <a:lnTo>
                    <a:pt x="1896" y="3952"/>
                  </a:lnTo>
                  <a:lnTo>
                    <a:pt x="1890" y="3956"/>
                  </a:lnTo>
                  <a:lnTo>
                    <a:pt x="1882" y="3957"/>
                  </a:lnTo>
                  <a:lnTo>
                    <a:pt x="1876" y="3956"/>
                  </a:lnTo>
                  <a:lnTo>
                    <a:pt x="1870" y="3952"/>
                  </a:lnTo>
                  <a:lnTo>
                    <a:pt x="1864" y="3946"/>
                  </a:lnTo>
                  <a:lnTo>
                    <a:pt x="1863" y="3937"/>
                  </a:lnTo>
                  <a:lnTo>
                    <a:pt x="1863" y="3824"/>
                  </a:lnTo>
                  <a:lnTo>
                    <a:pt x="1864" y="3817"/>
                  </a:lnTo>
                  <a:lnTo>
                    <a:pt x="1870" y="3810"/>
                  </a:lnTo>
                  <a:lnTo>
                    <a:pt x="1876" y="3806"/>
                  </a:lnTo>
                  <a:lnTo>
                    <a:pt x="1882" y="3805"/>
                  </a:lnTo>
                  <a:lnTo>
                    <a:pt x="1890" y="3806"/>
                  </a:lnTo>
                  <a:lnTo>
                    <a:pt x="1896" y="3810"/>
                  </a:lnTo>
                  <a:lnTo>
                    <a:pt x="1902" y="3817"/>
                  </a:lnTo>
                  <a:lnTo>
                    <a:pt x="1903" y="3824"/>
                  </a:lnTo>
                  <a:close/>
                  <a:moveTo>
                    <a:pt x="587" y="3118"/>
                  </a:moveTo>
                  <a:lnTo>
                    <a:pt x="587" y="3231"/>
                  </a:lnTo>
                  <a:lnTo>
                    <a:pt x="586" y="3240"/>
                  </a:lnTo>
                  <a:lnTo>
                    <a:pt x="581" y="3246"/>
                  </a:lnTo>
                  <a:lnTo>
                    <a:pt x="574" y="3250"/>
                  </a:lnTo>
                  <a:lnTo>
                    <a:pt x="567" y="3251"/>
                  </a:lnTo>
                  <a:lnTo>
                    <a:pt x="560" y="3250"/>
                  </a:lnTo>
                  <a:lnTo>
                    <a:pt x="554" y="3246"/>
                  </a:lnTo>
                  <a:lnTo>
                    <a:pt x="549" y="3240"/>
                  </a:lnTo>
                  <a:lnTo>
                    <a:pt x="548" y="3231"/>
                  </a:lnTo>
                  <a:lnTo>
                    <a:pt x="548" y="3118"/>
                  </a:lnTo>
                  <a:lnTo>
                    <a:pt x="549" y="3111"/>
                  </a:lnTo>
                  <a:lnTo>
                    <a:pt x="554" y="3104"/>
                  </a:lnTo>
                  <a:lnTo>
                    <a:pt x="560" y="3101"/>
                  </a:lnTo>
                  <a:lnTo>
                    <a:pt x="567" y="3099"/>
                  </a:lnTo>
                  <a:lnTo>
                    <a:pt x="574" y="3101"/>
                  </a:lnTo>
                  <a:lnTo>
                    <a:pt x="581" y="3104"/>
                  </a:lnTo>
                  <a:lnTo>
                    <a:pt x="586" y="3111"/>
                  </a:lnTo>
                  <a:lnTo>
                    <a:pt x="587" y="3118"/>
                  </a:lnTo>
                  <a:close/>
                  <a:moveTo>
                    <a:pt x="850" y="3118"/>
                  </a:moveTo>
                  <a:lnTo>
                    <a:pt x="850" y="3231"/>
                  </a:lnTo>
                  <a:lnTo>
                    <a:pt x="849" y="3240"/>
                  </a:lnTo>
                  <a:lnTo>
                    <a:pt x="844" y="3246"/>
                  </a:lnTo>
                  <a:lnTo>
                    <a:pt x="837" y="3250"/>
                  </a:lnTo>
                  <a:lnTo>
                    <a:pt x="831" y="3251"/>
                  </a:lnTo>
                  <a:lnTo>
                    <a:pt x="823" y="3250"/>
                  </a:lnTo>
                  <a:lnTo>
                    <a:pt x="817" y="3246"/>
                  </a:lnTo>
                  <a:lnTo>
                    <a:pt x="812" y="3240"/>
                  </a:lnTo>
                  <a:lnTo>
                    <a:pt x="810" y="3231"/>
                  </a:lnTo>
                  <a:lnTo>
                    <a:pt x="810" y="3118"/>
                  </a:lnTo>
                  <a:lnTo>
                    <a:pt x="812" y="3111"/>
                  </a:lnTo>
                  <a:lnTo>
                    <a:pt x="817" y="3104"/>
                  </a:lnTo>
                  <a:lnTo>
                    <a:pt x="823" y="3101"/>
                  </a:lnTo>
                  <a:lnTo>
                    <a:pt x="831" y="3099"/>
                  </a:lnTo>
                  <a:lnTo>
                    <a:pt x="837" y="3101"/>
                  </a:lnTo>
                  <a:lnTo>
                    <a:pt x="844" y="3104"/>
                  </a:lnTo>
                  <a:lnTo>
                    <a:pt x="849" y="3111"/>
                  </a:lnTo>
                  <a:lnTo>
                    <a:pt x="850" y="3118"/>
                  </a:lnTo>
                  <a:close/>
                  <a:moveTo>
                    <a:pt x="1113" y="3118"/>
                  </a:moveTo>
                  <a:lnTo>
                    <a:pt x="1113" y="3231"/>
                  </a:lnTo>
                  <a:lnTo>
                    <a:pt x="1112" y="3240"/>
                  </a:lnTo>
                  <a:lnTo>
                    <a:pt x="1107" y="3246"/>
                  </a:lnTo>
                  <a:lnTo>
                    <a:pt x="1100" y="3250"/>
                  </a:lnTo>
                  <a:lnTo>
                    <a:pt x="1094" y="3251"/>
                  </a:lnTo>
                  <a:lnTo>
                    <a:pt x="1086" y="3250"/>
                  </a:lnTo>
                  <a:lnTo>
                    <a:pt x="1080" y="3246"/>
                  </a:lnTo>
                  <a:lnTo>
                    <a:pt x="1076" y="3240"/>
                  </a:lnTo>
                  <a:lnTo>
                    <a:pt x="1073" y="3231"/>
                  </a:lnTo>
                  <a:lnTo>
                    <a:pt x="1073" y="3118"/>
                  </a:lnTo>
                  <a:lnTo>
                    <a:pt x="1076" y="3111"/>
                  </a:lnTo>
                  <a:lnTo>
                    <a:pt x="1080" y="3104"/>
                  </a:lnTo>
                  <a:lnTo>
                    <a:pt x="1086" y="3101"/>
                  </a:lnTo>
                  <a:lnTo>
                    <a:pt x="1094" y="3099"/>
                  </a:lnTo>
                  <a:lnTo>
                    <a:pt x="1100" y="3101"/>
                  </a:lnTo>
                  <a:lnTo>
                    <a:pt x="1107" y="3104"/>
                  </a:lnTo>
                  <a:lnTo>
                    <a:pt x="1112" y="3111"/>
                  </a:lnTo>
                  <a:lnTo>
                    <a:pt x="1113" y="3118"/>
                  </a:lnTo>
                  <a:close/>
                  <a:moveTo>
                    <a:pt x="1377" y="3118"/>
                  </a:moveTo>
                  <a:lnTo>
                    <a:pt x="1377" y="3231"/>
                  </a:lnTo>
                  <a:lnTo>
                    <a:pt x="1375" y="3240"/>
                  </a:lnTo>
                  <a:lnTo>
                    <a:pt x="1371" y="3246"/>
                  </a:lnTo>
                  <a:lnTo>
                    <a:pt x="1364" y="3250"/>
                  </a:lnTo>
                  <a:lnTo>
                    <a:pt x="1357" y="3251"/>
                  </a:lnTo>
                  <a:lnTo>
                    <a:pt x="1349" y="3250"/>
                  </a:lnTo>
                  <a:lnTo>
                    <a:pt x="1343" y="3246"/>
                  </a:lnTo>
                  <a:lnTo>
                    <a:pt x="1339" y="3240"/>
                  </a:lnTo>
                  <a:lnTo>
                    <a:pt x="1336" y="3231"/>
                  </a:lnTo>
                  <a:lnTo>
                    <a:pt x="1336" y="3118"/>
                  </a:lnTo>
                  <a:lnTo>
                    <a:pt x="1339" y="3111"/>
                  </a:lnTo>
                  <a:lnTo>
                    <a:pt x="1343" y="3104"/>
                  </a:lnTo>
                  <a:lnTo>
                    <a:pt x="1349" y="3101"/>
                  </a:lnTo>
                  <a:lnTo>
                    <a:pt x="1357" y="3099"/>
                  </a:lnTo>
                  <a:lnTo>
                    <a:pt x="1364" y="3101"/>
                  </a:lnTo>
                  <a:lnTo>
                    <a:pt x="1371" y="3104"/>
                  </a:lnTo>
                  <a:lnTo>
                    <a:pt x="1375" y="3111"/>
                  </a:lnTo>
                  <a:lnTo>
                    <a:pt x="1377" y="3118"/>
                  </a:lnTo>
                  <a:close/>
                  <a:moveTo>
                    <a:pt x="1640" y="3118"/>
                  </a:moveTo>
                  <a:lnTo>
                    <a:pt x="1640" y="3231"/>
                  </a:lnTo>
                  <a:lnTo>
                    <a:pt x="1637" y="3240"/>
                  </a:lnTo>
                  <a:lnTo>
                    <a:pt x="1634" y="3246"/>
                  </a:lnTo>
                  <a:lnTo>
                    <a:pt x="1627" y="3250"/>
                  </a:lnTo>
                  <a:lnTo>
                    <a:pt x="1620" y="3251"/>
                  </a:lnTo>
                  <a:lnTo>
                    <a:pt x="1612" y="3250"/>
                  </a:lnTo>
                  <a:lnTo>
                    <a:pt x="1605" y="3246"/>
                  </a:lnTo>
                  <a:lnTo>
                    <a:pt x="1602" y="3240"/>
                  </a:lnTo>
                  <a:lnTo>
                    <a:pt x="1600" y="3231"/>
                  </a:lnTo>
                  <a:lnTo>
                    <a:pt x="1600" y="3118"/>
                  </a:lnTo>
                  <a:lnTo>
                    <a:pt x="1602" y="3111"/>
                  </a:lnTo>
                  <a:lnTo>
                    <a:pt x="1605" y="3104"/>
                  </a:lnTo>
                  <a:lnTo>
                    <a:pt x="1612" y="3101"/>
                  </a:lnTo>
                  <a:lnTo>
                    <a:pt x="1620" y="3099"/>
                  </a:lnTo>
                  <a:lnTo>
                    <a:pt x="1627" y="3101"/>
                  </a:lnTo>
                  <a:lnTo>
                    <a:pt x="1634" y="3104"/>
                  </a:lnTo>
                  <a:lnTo>
                    <a:pt x="1637" y="3111"/>
                  </a:lnTo>
                  <a:lnTo>
                    <a:pt x="1640" y="3118"/>
                  </a:lnTo>
                  <a:close/>
                  <a:moveTo>
                    <a:pt x="1903" y="3118"/>
                  </a:moveTo>
                  <a:lnTo>
                    <a:pt x="1903" y="3231"/>
                  </a:lnTo>
                  <a:lnTo>
                    <a:pt x="1902" y="3240"/>
                  </a:lnTo>
                  <a:lnTo>
                    <a:pt x="1896" y="3246"/>
                  </a:lnTo>
                  <a:lnTo>
                    <a:pt x="1890" y="3250"/>
                  </a:lnTo>
                  <a:lnTo>
                    <a:pt x="1882" y="3251"/>
                  </a:lnTo>
                  <a:lnTo>
                    <a:pt x="1876" y="3250"/>
                  </a:lnTo>
                  <a:lnTo>
                    <a:pt x="1870" y="3246"/>
                  </a:lnTo>
                  <a:lnTo>
                    <a:pt x="1864" y="3240"/>
                  </a:lnTo>
                  <a:lnTo>
                    <a:pt x="1863" y="3231"/>
                  </a:lnTo>
                  <a:lnTo>
                    <a:pt x="1863" y="3118"/>
                  </a:lnTo>
                  <a:lnTo>
                    <a:pt x="1864" y="3111"/>
                  </a:lnTo>
                  <a:lnTo>
                    <a:pt x="1870" y="3104"/>
                  </a:lnTo>
                  <a:lnTo>
                    <a:pt x="1876" y="3101"/>
                  </a:lnTo>
                  <a:lnTo>
                    <a:pt x="1882" y="3099"/>
                  </a:lnTo>
                  <a:lnTo>
                    <a:pt x="1890" y="3101"/>
                  </a:lnTo>
                  <a:lnTo>
                    <a:pt x="1896" y="3104"/>
                  </a:lnTo>
                  <a:lnTo>
                    <a:pt x="1902" y="3111"/>
                  </a:lnTo>
                  <a:lnTo>
                    <a:pt x="1903" y="3118"/>
                  </a:lnTo>
                  <a:close/>
                  <a:moveTo>
                    <a:pt x="587" y="3354"/>
                  </a:moveTo>
                  <a:lnTo>
                    <a:pt x="587" y="3466"/>
                  </a:lnTo>
                  <a:lnTo>
                    <a:pt x="586" y="3475"/>
                  </a:lnTo>
                  <a:lnTo>
                    <a:pt x="581" y="3482"/>
                  </a:lnTo>
                  <a:lnTo>
                    <a:pt x="574" y="3485"/>
                  </a:lnTo>
                  <a:lnTo>
                    <a:pt x="567" y="3487"/>
                  </a:lnTo>
                  <a:lnTo>
                    <a:pt x="560" y="3485"/>
                  </a:lnTo>
                  <a:lnTo>
                    <a:pt x="554" y="3482"/>
                  </a:lnTo>
                  <a:lnTo>
                    <a:pt x="549" y="3475"/>
                  </a:lnTo>
                  <a:lnTo>
                    <a:pt x="548" y="3466"/>
                  </a:lnTo>
                  <a:lnTo>
                    <a:pt x="548" y="3354"/>
                  </a:lnTo>
                  <a:lnTo>
                    <a:pt x="549" y="3346"/>
                  </a:lnTo>
                  <a:lnTo>
                    <a:pt x="554" y="3340"/>
                  </a:lnTo>
                  <a:lnTo>
                    <a:pt x="560" y="3336"/>
                  </a:lnTo>
                  <a:lnTo>
                    <a:pt x="567" y="3335"/>
                  </a:lnTo>
                  <a:lnTo>
                    <a:pt x="574" y="3336"/>
                  </a:lnTo>
                  <a:lnTo>
                    <a:pt x="581" y="3340"/>
                  </a:lnTo>
                  <a:lnTo>
                    <a:pt x="586" y="3346"/>
                  </a:lnTo>
                  <a:lnTo>
                    <a:pt x="587" y="3354"/>
                  </a:lnTo>
                  <a:close/>
                  <a:moveTo>
                    <a:pt x="850" y="3354"/>
                  </a:moveTo>
                  <a:lnTo>
                    <a:pt x="850" y="3466"/>
                  </a:lnTo>
                  <a:lnTo>
                    <a:pt x="849" y="3475"/>
                  </a:lnTo>
                  <a:lnTo>
                    <a:pt x="844" y="3482"/>
                  </a:lnTo>
                  <a:lnTo>
                    <a:pt x="837" y="3485"/>
                  </a:lnTo>
                  <a:lnTo>
                    <a:pt x="831" y="3487"/>
                  </a:lnTo>
                  <a:lnTo>
                    <a:pt x="823" y="3485"/>
                  </a:lnTo>
                  <a:lnTo>
                    <a:pt x="817" y="3482"/>
                  </a:lnTo>
                  <a:lnTo>
                    <a:pt x="812" y="3475"/>
                  </a:lnTo>
                  <a:lnTo>
                    <a:pt x="810" y="3466"/>
                  </a:lnTo>
                  <a:lnTo>
                    <a:pt x="810" y="3354"/>
                  </a:lnTo>
                  <a:lnTo>
                    <a:pt x="812" y="3346"/>
                  </a:lnTo>
                  <a:lnTo>
                    <a:pt x="817" y="3340"/>
                  </a:lnTo>
                  <a:lnTo>
                    <a:pt x="823" y="3336"/>
                  </a:lnTo>
                  <a:lnTo>
                    <a:pt x="831" y="3335"/>
                  </a:lnTo>
                  <a:lnTo>
                    <a:pt x="837" y="3336"/>
                  </a:lnTo>
                  <a:lnTo>
                    <a:pt x="844" y="3340"/>
                  </a:lnTo>
                  <a:lnTo>
                    <a:pt x="849" y="3346"/>
                  </a:lnTo>
                  <a:lnTo>
                    <a:pt x="850" y="3354"/>
                  </a:lnTo>
                  <a:close/>
                  <a:moveTo>
                    <a:pt x="1113" y="3354"/>
                  </a:moveTo>
                  <a:lnTo>
                    <a:pt x="1113" y="3466"/>
                  </a:lnTo>
                  <a:lnTo>
                    <a:pt x="1112" y="3475"/>
                  </a:lnTo>
                  <a:lnTo>
                    <a:pt x="1107" y="3482"/>
                  </a:lnTo>
                  <a:lnTo>
                    <a:pt x="1100" y="3485"/>
                  </a:lnTo>
                  <a:lnTo>
                    <a:pt x="1094" y="3487"/>
                  </a:lnTo>
                  <a:lnTo>
                    <a:pt x="1086" y="3485"/>
                  </a:lnTo>
                  <a:lnTo>
                    <a:pt x="1080" y="3482"/>
                  </a:lnTo>
                  <a:lnTo>
                    <a:pt x="1076" y="3475"/>
                  </a:lnTo>
                  <a:lnTo>
                    <a:pt x="1073" y="3466"/>
                  </a:lnTo>
                  <a:lnTo>
                    <a:pt x="1073" y="3354"/>
                  </a:lnTo>
                  <a:lnTo>
                    <a:pt x="1076" y="3346"/>
                  </a:lnTo>
                  <a:lnTo>
                    <a:pt x="1080" y="3340"/>
                  </a:lnTo>
                  <a:lnTo>
                    <a:pt x="1086" y="3336"/>
                  </a:lnTo>
                  <a:lnTo>
                    <a:pt x="1094" y="3335"/>
                  </a:lnTo>
                  <a:lnTo>
                    <a:pt x="1100" y="3336"/>
                  </a:lnTo>
                  <a:lnTo>
                    <a:pt x="1107" y="3340"/>
                  </a:lnTo>
                  <a:lnTo>
                    <a:pt x="1112" y="3346"/>
                  </a:lnTo>
                  <a:lnTo>
                    <a:pt x="1113" y="3354"/>
                  </a:lnTo>
                  <a:close/>
                  <a:moveTo>
                    <a:pt x="1377" y="3354"/>
                  </a:moveTo>
                  <a:lnTo>
                    <a:pt x="1377" y="3466"/>
                  </a:lnTo>
                  <a:lnTo>
                    <a:pt x="1375" y="3475"/>
                  </a:lnTo>
                  <a:lnTo>
                    <a:pt x="1371" y="3482"/>
                  </a:lnTo>
                  <a:lnTo>
                    <a:pt x="1364" y="3485"/>
                  </a:lnTo>
                  <a:lnTo>
                    <a:pt x="1357" y="3487"/>
                  </a:lnTo>
                  <a:lnTo>
                    <a:pt x="1349" y="3485"/>
                  </a:lnTo>
                  <a:lnTo>
                    <a:pt x="1343" y="3482"/>
                  </a:lnTo>
                  <a:lnTo>
                    <a:pt x="1339" y="3475"/>
                  </a:lnTo>
                  <a:lnTo>
                    <a:pt x="1336" y="3466"/>
                  </a:lnTo>
                  <a:lnTo>
                    <a:pt x="1336" y="3354"/>
                  </a:lnTo>
                  <a:lnTo>
                    <a:pt x="1339" y="3346"/>
                  </a:lnTo>
                  <a:lnTo>
                    <a:pt x="1343" y="3340"/>
                  </a:lnTo>
                  <a:lnTo>
                    <a:pt x="1349" y="3336"/>
                  </a:lnTo>
                  <a:lnTo>
                    <a:pt x="1357" y="3335"/>
                  </a:lnTo>
                  <a:lnTo>
                    <a:pt x="1364" y="3336"/>
                  </a:lnTo>
                  <a:lnTo>
                    <a:pt x="1371" y="3340"/>
                  </a:lnTo>
                  <a:lnTo>
                    <a:pt x="1375" y="3346"/>
                  </a:lnTo>
                  <a:lnTo>
                    <a:pt x="1377" y="3354"/>
                  </a:lnTo>
                  <a:close/>
                  <a:moveTo>
                    <a:pt x="1640" y="3354"/>
                  </a:moveTo>
                  <a:lnTo>
                    <a:pt x="1640" y="3466"/>
                  </a:lnTo>
                  <a:lnTo>
                    <a:pt x="1637" y="3475"/>
                  </a:lnTo>
                  <a:lnTo>
                    <a:pt x="1634" y="3482"/>
                  </a:lnTo>
                  <a:lnTo>
                    <a:pt x="1627" y="3485"/>
                  </a:lnTo>
                  <a:lnTo>
                    <a:pt x="1620" y="3487"/>
                  </a:lnTo>
                  <a:lnTo>
                    <a:pt x="1612" y="3485"/>
                  </a:lnTo>
                  <a:lnTo>
                    <a:pt x="1605" y="3482"/>
                  </a:lnTo>
                  <a:lnTo>
                    <a:pt x="1602" y="3475"/>
                  </a:lnTo>
                  <a:lnTo>
                    <a:pt x="1600" y="3466"/>
                  </a:lnTo>
                  <a:lnTo>
                    <a:pt x="1600" y="3354"/>
                  </a:lnTo>
                  <a:lnTo>
                    <a:pt x="1602" y="3346"/>
                  </a:lnTo>
                  <a:lnTo>
                    <a:pt x="1605" y="3340"/>
                  </a:lnTo>
                  <a:lnTo>
                    <a:pt x="1612" y="3336"/>
                  </a:lnTo>
                  <a:lnTo>
                    <a:pt x="1620" y="3335"/>
                  </a:lnTo>
                  <a:lnTo>
                    <a:pt x="1627" y="3336"/>
                  </a:lnTo>
                  <a:lnTo>
                    <a:pt x="1634" y="3340"/>
                  </a:lnTo>
                  <a:lnTo>
                    <a:pt x="1637" y="3346"/>
                  </a:lnTo>
                  <a:lnTo>
                    <a:pt x="1640" y="3354"/>
                  </a:lnTo>
                  <a:close/>
                  <a:moveTo>
                    <a:pt x="1903" y="3354"/>
                  </a:moveTo>
                  <a:lnTo>
                    <a:pt x="1903" y="3466"/>
                  </a:lnTo>
                  <a:lnTo>
                    <a:pt x="1902" y="3475"/>
                  </a:lnTo>
                  <a:lnTo>
                    <a:pt x="1896" y="3482"/>
                  </a:lnTo>
                  <a:lnTo>
                    <a:pt x="1890" y="3485"/>
                  </a:lnTo>
                  <a:lnTo>
                    <a:pt x="1882" y="3487"/>
                  </a:lnTo>
                  <a:lnTo>
                    <a:pt x="1876" y="3485"/>
                  </a:lnTo>
                  <a:lnTo>
                    <a:pt x="1870" y="3482"/>
                  </a:lnTo>
                  <a:lnTo>
                    <a:pt x="1864" y="3475"/>
                  </a:lnTo>
                  <a:lnTo>
                    <a:pt x="1863" y="3466"/>
                  </a:lnTo>
                  <a:lnTo>
                    <a:pt x="1863" y="3354"/>
                  </a:lnTo>
                  <a:lnTo>
                    <a:pt x="1864" y="3346"/>
                  </a:lnTo>
                  <a:lnTo>
                    <a:pt x="1870" y="3340"/>
                  </a:lnTo>
                  <a:lnTo>
                    <a:pt x="1876" y="3336"/>
                  </a:lnTo>
                  <a:lnTo>
                    <a:pt x="1882" y="3335"/>
                  </a:lnTo>
                  <a:lnTo>
                    <a:pt x="1890" y="3336"/>
                  </a:lnTo>
                  <a:lnTo>
                    <a:pt x="1896" y="3340"/>
                  </a:lnTo>
                  <a:lnTo>
                    <a:pt x="1902" y="3346"/>
                  </a:lnTo>
                  <a:lnTo>
                    <a:pt x="1903" y="3354"/>
                  </a:lnTo>
                  <a:close/>
                  <a:moveTo>
                    <a:pt x="587" y="3589"/>
                  </a:moveTo>
                  <a:lnTo>
                    <a:pt x="587" y="3702"/>
                  </a:lnTo>
                  <a:lnTo>
                    <a:pt x="586" y="3710"/>
                  </a:lnTo>
                  <a:lnTo>
                    <a:pt x="581" y="3717"/>
                  </a:lnTo>
                  <a:lnTo>
                    <a:pt x="574" y="3721"/>
                  </a:lnTo>
                  <a:lnTo>
                    <a:pt x="567" y="3722"/>
                  </a:lnTo>
                  <a:lnTo>
                    <a:pt x="560" y="3721"/>
                  </a:lnTo>
                  <a:lnTo>
                    <a:pt x="554" y="3717"/>
                  </a:lnTo>
                  <a:lnTo>
                    <a:pt x="549" y="3710"/>
                  </a:lnTo>
                  <a:lnTo>
                    <a:pt x="548" y="3702"/>
                  </a:lnTo>
                  <a:lnTo>
                    <a:pt x="548" y="3589"/>
                  </a:lnTo>
                  <a:lnTo>
                    <a:pt x="549" y="3581"/>
                  </a:lnTo>
                  <a:lnTo>
                    <a:pt x="554" y="3575"/>
                  </a:lnTo>
                  <a:lnTo>
                    <a:pt x="560" y="3571"/>
                  </a:lnTo>
                  <a:lnTo>
                    <a:pt x="567" y="3570"/>
                  </a:lnTo>
                  <a:lnTo>
                    <a:pt x="574" y="3571"/>
                  </a:lnTo>
                  <a:lnTo>
                    <a:pt x="581" y="3575"/>
                  </a:lnTo>
                  <a:lnTo>
                    <a:pt x="586" y="3581"/>
                  </a:lnTo>
                  <a:lnTo>
                    <a:pt x="587" y="3589"/>
                  </a:lnTo>
                  <a:close/>
                  <a:moveTo>
                    <a:pt x="850" y="3589"/>
                  </a:moveTo>
                  <a:lnTo>
                    <a:pt x="850" y="3702"/>
                  </a:lnTo>
                  <a:lnTo>
                    <a:pt x="849" y="3710"/>
                  </a:lnTo>
                  <a:lnTo>
                    <a:pt x="844" y="3717"/>
                  </a:lnTo>
                  <a:lnTo>
                    <a:pt x="837" y="3721"/>
                  </a:lnTo>
                  <a:lnTo>
                    <a:pt x="831" y="3722"/>
                  </a:lnTo>
                  <a:lnTo>
                    <a:pt x="823" y="3721"/>
                  </a:lnTo>
                  <a:lnTo>
                    <a:pt x="817" y="3717"/>
                  </a:lnTo>
                  <a:lnTo>
                    <a:pt x="812" y="3710"/>
                  </a:lnTo>
                  <a:lnTo>
                    <a:pt x="810" y="3702"/>
                  </a:lnTo>
                  <a:lnTo>
                    <a:pt x="810" y="3589"/>
                  </a:lnTo>
                  <a:lnTo>
                    <a:pt x="812" y="3581"/>
                  </a:lnTo>
                  <a:lnTo>
                    <a:pt x="817" y="3575"/>
                  </a:lnTo>
                  <a:lnTo>
                    <a:pt x="823" y="3571"/>
                  </a:lnTo>
                  <a:lnTo>
                    <a:pt x="831" y="3570"/>
                  </a:lnTo>
                  <a:lnTo>
                    <a:pt x="837" y="3571"/>
                  </a:lnTo>
                  <a:lnTo>
                    <a:pt x="844" y="3575"/>
                  </a:lnTo>
                  <a:lnTo>
                    <a:pt x="849" y="3581"/>
                  </a:lnTo>
                  <a:lnTo>
                    <a:pt x="850" y="3589"/>
                  </a:lnTo>
                  <a:close/>
                  <a:moveTo>
                    <a:pt x="1113" y="3589"/>
                  </a:moveTo>
                  <a:lnTo>
                    <a:pt x="1113" y="3702"/>
                  </a:lnTo>
                  <a:lnTo>
                    <a:pt x="1112" y="3710"/>
                  </a:lnTo>
                  <a:lnTo>
                    <a:pt x="1107" y="3717"/>
                  </a:lnTo>
                  <a:lnTo>
                    <a:pt x="1100" y="3721"/>
                  </a:lnTo>
                  <a:lnTo>
                    <a:pt x="1094" y="3722"/>
                  </a:lnTo>
                  <a:lnTo>
                    <a:pt x="1086" y="3721"/>
                  </a:lnTo>
                  <a:lnTo>
                    <a:pt x="1080" y="3717"/>
                  </a:lnTo>
                  <a:lnTo>
                    <a:pt x="1076" y="3710"/>
                  </a:lnTo>
                  <a:lnTo>
                    <a:pt x="1073" y="3702"/>
                  </a:lnTo>
                  <a:lnTo>
                    <a:pt x="1073" y="3589"/>
                  </a:lnTo>
                  <a:lnTo>
                    <a:pt x="1076" y="3581"/>
                  </a:lnTo>
                  <a:lnTo>
                    <a:pt x="1080" y="3575"/>
                  </a:lnTo>
                  <a:lnTo>
                    <a:pt x="1086" y="3571"/>
                  </a:lnTo>
                  <a:lnTo>
                    <a:pt x="1094" y="3570"/>
                  </a:lnTo>
                  <a:lnTo>
                    <a:pt x="1100" y="3571"/>
                  </a:lnTo>
                  <a:lnTo>
                    <a:pt x="1107" y="3575"/>
                  </a:lnTo>
                  <a:lnTo>
                    <a:pt x="1112" y="3581"/>
                  </a:lnTo>
                  <a:lnTo>
                    <a:pt x="1113" y="3589"/>
                  </a:lnTo>
                  <a:close/>
                  <a:moveTo>
                    <a:pt x="1377" y="3589"/>
                  </a:moveTo>
                  <a:lnTo>
                    <a:pt x="1377" y="3702"/>
                  </a:lnTo>
                  <a:lnTo>
                    <a:pt x="1375" y="3710"/>
                  </a:lnTo>
                  <a:lnTo>
                    <a:pt x="1371" y="3717"/>
                  </a:lnTo>
                  <a:lnTo>
                    <a:pt x="1364" y="3721"/>
                  </a:lnTo>
                  <a:lnTo>
                    <a:pt x="1357" y="3722"/>
                  </a:lnTo>
                  <a:lnTo>
                    <a:pt x="1349" y="3721"/>
                  </a:lnTo>
                  <a:lnTo>
                    <a:pt x="1343" y="3717"/>
                  </a:lnTo>
                  <a:lnTo>
                    <a:pt x="1339" y="3710"/>
                  </a:lnTo>
                  <a:lnTo>
                    <a:pt x="1336" y="3702"/>
                  </a:lnTo>
                  <a:lnTo>
                    <a:pt x="1336" y="3589"/>
                  </a:lnTo>
                  <a:lnTo>
                    <a:pt x="1339" y="3581"/>
                  </a:lnTo>
                  <a:lnTo>
                    <a:pt x="1343" y="3575"/>
                  </a:lnTo>
                  <a:lnTo>
                    <a:pt x="1349" y="3571"/>
                  </a:lnTo>
                  <a:lnTo>
                    <a:pt x="1357" y="3570"/>
                  </a:lnTo>
                  <a:lnTo>
                    <a:pt x="1364" y="3571"/>
                  </a:lnTo>
                  <a:lnTo>
                    <a:pt x="1371" y="3575"/>
                  </a:lnTo>
                  <a:lnTo>
                    <a:pt x="1375" y="3581"/>
                  </a:lnTo>
                  <a:lnTo>
                    <a:pt x="1377" y="3589"/>
                  </a:lnTo>
                  <a:close/>
                  <a:moveTo>
                    <a:pt x="1640" y="3589"/>
                  </a:moveTo>
                  <a:lnTo>
                    <a:pt x="1640" y="3702"/>
                  </a:lnTo>
                  <a:lnTo>
                    <a:pt x="1637" y="3710"/>
                  </a:lnTo>
                  <a:lnTo>
                    <a:pt x="1634" y="3717"/>
                  </a:lnTo>
                  <a:lnTo>
                    <a:pt x="1627" y="3721"/>
                  </a:lnTo>
                  <a:lnTo>
                    <a:pt x="1620" y="3722"/>
                  </a:lnTo>
                  <a:lnTo>
                    <a:pt x="1612" y="3721"/>
                  </a:lnTo>
                  <a:lnTo>
                    <a:pt x="1605" y="3717"/>
                  </a:lnTo>
                  <a:lnTo>
                    <a:pt x="1602" y="3710"/>
                  </a:lnTo>
                  <a:lnTo>
                    <a:pt x="1600" y="3702"/>
                  </a:lnTo>
                  <a:lnTo>
                    <a:pt x="1600" y="3589"/>
                  </a:lnTo>
                  <a:lnTo>
                    <a:pt x="1602" y="3581"/>
                  </a:lnTo>
                  <a:lnTo>
                    <a:pt x="1605" y="3575"/>
                  </a:lnTo>
                  <a:lnTo>
                    <a:pt x="1612" y="3571"/>
                  </a:lnTo>
                  <a:lnTo>
                    <a:pt x="1620" y="3570"/>
                  </a:lnTo>
                  <a:lnTo>
                    <a:pt x="1627" y="3571"/>
                  </a:lnTo>
                  <a:lnTo>
                    <a:pt x="1634" y="3575"/>
                  </a:lnTo>
                  <a:lnTo>
                    <a:pt x="1637" y="3581"/>
                  </a:lnTo>
                  <a:lnTo>
                    <a:pt x="1640" y="3589"/>
                  </a:lnTo>
                  <a:close/>
                  <a:moveTo>
                    <a:pt x="1903" y="3589"/>
                  </a:moveTo>
                  <a:lnTo>
                    <a:pt x="1903" y="3702"/>
                  </a:lnTo>
                  <a:lnTo>
                    <a:pt x="1902" y="3710"/>
                  </a:lnTo>
                  <a:lnTo>
                    <a:pt x="1896" y="3717"/>
                  </a:lnTo>
                  <a:lnTo>
                    <a:pt x="1890" y="3721"/>
                  </a:lnTo>
                  <a:lnTo>
                    <a:pt x="1882" y="3722"/>
                  </a:lnTo>
                  <a:lnTo>
                    <a:pt x="1876" y="3721"/>
                  </a:lnTo>
                  <a:lnTo>
                    <a:pt x="1870" y="3717"/>
                  </a:lnTo>
                  <a:lnTo>
                    <a:pt x="1864" y="3710"/>
                  </a:lnTo>
                  <a:lnTo>
                    <a:pt x="1863" y="3702"/>
                  </a:lnTo>
                  <a:lnTo>
                    <a:pt x="1863" y="3589"/>
                  </a:lnTo>
                  <a:lnTo>
                    <a:pt x="1864" y="3581"/>
                  </a:lnTo>
                  <a:lnTo>
                    <a:pt x="1870" y="3575"/>
                  </a:lnTo>
                  <a:lnTo>
                    <a:pt x="1876" y="3571"/>
                  </a:lnTo>
                  <a:lnTo>
                    <a:pt x="1882" y="3570"/>
                  </a:lnTo>
                  <a:lnTo>
                    <a:pt x="1890" y="3571"/>
                  </a:lnTo>
                  <a:lnTo>
                    <a:pt x="1896" y="3575"/>
                  </a:lnTo>
                  <a:lnTo>
                    <a:pt x="1902" y="3581"/>
                  </a:lnTo>
                  <a:lnTo>
                    <a:pt x="1903" y="3589"/>
                  </a:lnTo>
                  <a:close/>
                  <a:moveTo>
                    <a:pt x="587" y="3824"/>
                  </a:moveTo>
                  <a:lnTo>
                    <a:pt x="587" y="3937"/>
                  </a:lnTo>
                  <a:lnTo>
                    <a:pt x="586" y="3946"/>
                  </a:lnTo>
                  <a:lnTo>
                    <a:pt x="581" y="3952"/>
                  </a:lnTo>
                  <a:lnTo>
                    <a:pt x="574" y="3956"/>
                  </a:lnTo>
                  <a:lnTo>
                    <a:pt x="567" y="3957"/>
                  </a:lnTo>
                  <a:lnTo>
                    <a:pt x="560" y="3956"/>
                  </a:lnTo>
                  <a:lnTo>
                    <a:pt x="554" y="3952"/>
                  </a:lnTo>
                  <a:lnTo>
                    <a:pt x="549" y="3946"/>
                  </a:lnTo>
                  <a:lnTo>
                    <a:pt x="548" y="3937"/>
                  </a:lnTo>
                  <a:lnTo>
                    <a:pt x="548" y="3824"/>
                  </a:lnTo>
                  <a:lnTo>
                    <a:pt x="549" y="3817"/>
                  </a:lnTo>
                  <a:lnTo>
                    <a:pt x="554" y="3810"/>
                  </a:lnTo>
                  <a:lnTo>
                    <a:pt x="560" y="3806"/>
                  </a:lnTo>
                  <a:lnTo>
                    <a:pt x="567" y="3805"/>
                  </a:lnTo>
                  <a:lnTo>
                    <a:pt x="574" y="3806"/>
                  </a:lnTo>
                  <a:lnTo>
                    <a:pt x="581" y="3810"/>
                  </a:lnTo>
                  <a:lnTo>
                    <a:pt x="586" y="3817"/>
                  </a:lnTo>
                  <a:lnTo>
                    <a:pt x="587" y="3824"/>
                  </a:lnTo>
                  <a:close/>
                  <a:moveTo>
                    <a:pt x="850" y="3824"/>
                  </a:moveTo>
                  <a:lnTo>
                    <a:pt x="850" y="3937"/>
                  </a:lnTo>
                  <a:lnTo>
                    <a:pt x="849" y="3946"/>
                  </a:lnTo>
                  <a:lnTo>
                    <a:pt x="844" y="3952"/>
                  </a:lnTo>
                  <a:lnTo>
                    <a:pt x="837" y="3956"/>
                  </a:lnTo>
                  <a:lnTo>
                    <a:pt x="831" y="3957"/>
                  </a:lnTo>
                  <a:lnTo>
                    <a:pt x="823" y="3956"/>
                  </a:lnTo>
                  <a:lnTo>
                    <a:pt x="817" y="3952"/>
                  </a:lnTo>
                  <a:lnTo>
                    <a:pt x="812" y="3946"/>
                  </a:lnTo>
                  <a:lnTo>
                    <a:pt x="810" y="3937"/>
                  </a:lnTo>
                  <a:lnTo>
                    <a:pt x="810" y="3824"/>
                  </a:lnTo>
                  <a:lnTo>
                    <a:pt x="812" y="3817"/>
                  </a:lnTo>
                  <a:lnTo>
                    <a:pt x="817" y="3810"/>
                  </a:lnTo>
                  <a:lnTo>
                    <a:pt x="823" y="3806"/>
                  </a:lnTo>
                  <a:lnTo>
                    <a:pt x="831" y="3805"/>
                  </a:lnTo>
                  <a:lnTo>
                    <a:pt x="837" y="3806"/>
                  </a:lnTo>
                  <a:lnTo>
                    <a:pt x="844" y="3810"/>
                  </a:lnTo>
                  <a:lnTo>
                    <a:pt x="849" y="3817"/>
                  </a:lnTo>
                  <a:lnTo>
                    <a:pt x="850" y="3824"/>
                  </a:lnTo>
                  <a:close/>
                  <a:moveTo>
                    <a:pt x="1113" y="3824"/>
                  </a:moveTo>
                  <a:lnTo>
                    <a:pt x="1113" y="3937"/>
                  </a:lnTo>
                  <a:lnTo>
                    <a:pt x="1112" y="3946"/>
                  </a:lnTo>
                  <a:lnTo>
                    <a:pt x="1107" y="3952"/>
                  </a:lnTo>
                  <a:lnTo>
                    <a:pt x="1100" y="3956"/>
                  </a:lnTo>
                  <a:lnTo>
                    <a:pt x="1094" y="3957"/>
                  </a:lnTo>
                  <a:lnTo>
                    <a:pt x="1086" y="3956"/>
                  </a:lnTo>
                  <a:lnTo>
                    <a:pt x="1080" y="3952"/>
                  </a:lnTo>
                  <a:lnTo>
                    <a:pt x="1076" y="3946"/>
                  </a:lnTo>
                  <a:lnTo>
                    <a:pt x="1073" y="3937"/>
                  </a:lnTo>
                  <a:lnTo>
                    <a:pt x="1073" y="3824"/>
                  </a:lnTo>
                  <a:lnTo>
                    <a:pt x="1076" y="3817"/>
                  </a:lnTo>
                  <a:lnTo>
                    <a:pt x="1080" y="3810"/>
                  </a:lnTo>
                  <a:lnTo>
                    <a:pt x="1086" y="3806"/>
                  </a:lnTo>
                  <a:lnTo>
                    <a:pt x="1094" y="3805"/>
                  </a:lnTo>
                  <a:lnTo>
                    <a:pt x="1100" y="3806"/>
                  </a:lnTo>
                  <a:lnTo>
                    <a:pt x="1107" y="3810"/>
                  </a:lnTo>
                  <a:lnTo>
                    <a:pt x="1112" y="3817"/>
                  </a:lnTo>
                  <a:lnTo>
                    <a:pt x="1113" y="3824"/>
                  </a:lnTo>
                  <a:close/>
                  <a:moveTo>
                    <a:pt x="1377" y="3824"/>
                  </a:moveTo>
                  <a:lnTo>
                    <a:pt x="1377" y="3937"/>
                  </a:lnTo>
                  <a:lnTo>
                    <a:pt x="1375" y="3946"/>
                  </a:lnTo>
                  <a:lnTo>
                    <a:pt x="1371" y="3952"/>
                  </a:lnTo>
                  <a:lnTo>
                    <a:pt x="1364" y="3956"/>
                  </a:lnTo>
                  <a:lnTo>
                    <a:pt x="1357" y="3957"/>
                  </a:lnTo>
                  <a:lnTo>
                    <a:pt x="1349" y="3956"/>
                  </a:lnTo>
                  <a:lnTo>
                    <a:pt x="1343" y="3952"/>
                  </a:lnTo>
                  <a:lnTo>
                    <a:pt x="1339" y="3946"/>
                  </a:lnTo>
                  <a:lnTo>
                    <a:pt x="1336" y="3937"/>
                  </a:lnTo>
                  <a:lnTo>
                    <a:pt x="1336" y="3824"/>
                  </a:lnTo>
                  <a:lnTo>
                    <a:pt x="1339" y="3817"/>
                  </a:lnTo>
                  <a:lnTo>
                    <a:pt x="1343" y="3810"/>
                  </a:lnTo>
                  <a:lnTo>
                    <a:pt x="1349" y="3806"/>
                  </a:lnTo>
                  <a:lnTo>
                    <a:pt x="1357" y="3805"/>
                  </a:lnTo>
                  <a:lnTo>
                    <a:pt x="1364" y="3806"/>
                  </a:lnTo>
                  <a:lnTo>
                    <a:pt x="1371" y="3810"/>
                  </a:lnTo>
                  <a:lnTo>
                    <a:pt x="1375" y="3817"/>
                  </a:lnTo>
                  <a:lnTo>
                    <a:pt x="1377" y="3824"/>
                  </a:lnTo>
                  <a:close/>
                  <a:moveTo>
                    <a:pt x="1640" y="3824"/>
                  </a:moveTo>
                  <a:lnTo>
                    <a:pt x="1640" y="3937"/>
                  </a:lnTo>
                  <a:lnTo>
                    <a:pt x="1637" y="3946"/>
                  </a:lnTo>
                  <a:lnTo>
                    <a:pt x="1634" y="3952"/>
                  </a:lnTo>
                  <a:lnTo>
                    <a:pt x="1627" y="3956"/>
                  </a:lnTo>
                  <a:lnTo>
                    <a:pt x="1620" y="3957"/>
                  </a:lnTo>
                  <a:lnTo>
                    <a:pt x="1612" y="3956"/>
                  </a:lnTo>
                  <a:lnTo>
                    <a:pt x="1605" y="3952"/>
                  </a:lnTo>
                  <a:lnTo>
                    <a:pt x="1602" y="3946"/>
                  </a:lnTo>
                  <a:lnTo>
                    <a:pt x="1600" y="3937"/>
                  </a:lnTo>
                  <a:lnTo>
                    <a:pt x="1600" y="3824"/>
                  </a:lnTo>
                  <a:lnTo>
                    <a:pt x="1602" y="3817"/>
                  </a:lnTo>
                  <a:lnTo>
                    <a:pt x="1605" y="3810"/>
                  </a:lnTo>
                  <a:lnTo>
                    <a:pt x="1612" y="3806"/>
                  </a:lnTo>
                  <a:lnTo>
                    <a:pt x="1620" y="3805"/>
                  </a:lnTo>
                  <a:lnTo>
                    <a:pt x="1627" y="3806"/>
                  </a:lnTo>
                  <a:lnTo>
                    <a:pt x="1634" y="3810"/>
                  </a:lnTo>
                  <a:lnTo>
                    <a:pt x="1637" y="3817"/>
                  </a:lnTo>
                  <a:lnTo>
                    <a:pt x="1640" y="3824"/>
                  </a:lnTo>
                  <a:close/>
                  <a:moveTo>
                    <a:pt x="2829" y="4093"/>
                  </a:moveTo>
                  <a:lnTo>
                    <a:pt x="2829" y="4085"/>
                  </a:lnTo>
                  <a:lnTo>
                    <a:pt x="2829" y="4093"/>
                  </a:lnTo>
                  <a:close/>
                  <a:moveTo>
                    <a:pt x="0" y="915"/>
                  </a:moveTo>
                  <a:lnTo>
                    <a:pt x="492" y="915"/>
                  </a:lnTo>
                  <a:lnTo>
                    <a:pt x="500" y="917"/>
                  </a:lnTo>
                  <a:lnTo>
                    <a:pt x="507" y="922"/>
                  </a:lnTo>
                  <a:lnTo>
                    <a:pt x="512" y="928"/>
                  </a:lnTo>
                  <a:lnTo>
                    <a:pt x="513" y="936"/>
                  </a:lnTo>
                  <a:lnTo>
                    <a:pt x="513" y="1633"/>
                  </a:lnTo>
                  <a:lnTo>
                    <a:pt x="513" y="2329"/>
                  </a:lnTo>
                  <a:lnTo>
                    <a:pt x="512" y="2338"/>
                  </a:lnTo>
                  <a:lnTo>
                    <a:pt x="507" y="2345"/>
                  </a:lnTo>
                  <a:lnTo>
                    <a:pt x="500" y="2349"/>
                  </a:lnTo>
                  <a:lnTo>
                    <a:pt x="492" y="2350"/>
                  </a:lnTo>
                  <a:lnTo>
                    <a:pt x="486" y="2349"/>
                  </a:lnTo>
                  <a:lnTo>
                    <a:pt x="480" y="2345"/>
                  </a:lnTo>
                  <a:lnTo>
                    <a:pt x="474" y="2338"/>
                  </a:lnTo>
                  <a:lnTo>
                    <a:pt x="473" y="2329"/>
                  </a:lnTo>
                  <a:lnTo>
                    <a:pt x="473" y="1642"/>
                  </a:lnTo>
                  <a:lnTo>
                    <a:pt x="473" y="955"/>
                  </a:lnTo>
                  <a:lnTo>
                    <a:pt x="0" y="955"/>
                  </a:lnTo>
                  <a:lnTo>
                    <a:pt x="0" y="915"/>
                  </a:lnTo>
                  <a:close/>
                  <a:moveTo>
                    <a:pt x="190" y="1345"/>
                  </a:moveTo>
                  <a:lnTo>
                    <a:pt x="190" y="1450"/>
                  </a:lnTo>
                  <a:lnTo>
                    <a:pt x="188" y="1457"/>
                  </a:lnTo>
                  <a:lnTo>
                    <a:pt x="183" y="1464"/>
                  </a:lnTo>
                  <a:lnTo>
                    <a:pt x="177" y="1468"/>
                  </a:lnTo>
                  <a:lnTo>
                    <a:pt x="171" y="1469"/>
                  </a:lnTo>
                  <a:lnTo>
                    <a:pt x="163" y="1468"/>
                  </a:lnTo>
                  <a:lnTo>
                    <a:pt x="156" y="1464"/>
                  </a:lnTo>
                  <a:lnTo>
                    <a:pt x="151" y="1457"/>
                  </a:lnTo>
                  <a:lnTo>
                    <a:pt x="150" y="1450"/>
                  </a:lnTo>
                  <a:lnTo>
                    <a:pt x="150" y="1345"/>
                  </a:lnTo>
                  <a:lnTo>
                    <a:pt x="151" y="1337"/>
                  </a:lnTo>
                  <a:lnTo>
                    <a:pt x="156" y="1331"/>
                  </a:lnTo>
                  <a:lnTo>
                    <a:pt x="163" y="1327"/>
                  </a:lnTo>
                  <a:lnTo>
                    <a:pt x="171" y="1326"/>
                  </a:lnTo>
                  <a:lnTo>
                    <a:pt x="177" y="1327"/>
                  </a:lnTo>
                  <a:lnTo>
                    <a:pt x="183" y="1331"/>
                  </a:lnTo>
                  <a:lnTo>
                    <a:pt x="188" y="1337"/>
                  </a:lnTo>
                  <a:lnTo>
                    <a:pt x="190" y="1345"/>
                  </a:lnTo>
                  <a:close/>
                  <a:moveTo>
                    <a:pt x="190" y="1576"/>
                  </a:moveTo>
                  <a:lnTo>
                    <a:pt x="190" y="1680"/>
                  </a:lnTo>
                  <a:lnTo>
                    <a:pt x="188" y="1689"/>
                  </a:lnTo>
                  <a:lnTo>
                    <a:pt x="183" y="1695"/>
                  </a:lnTo>
                  <a:lnTo>
                    <a:pt x="177" y="1699"/>
                  </a:lnTo>
                  <a:lnTo>
                    <a:pt x="171" y="1700"/>
                  </a:lnTo>
                  <a:lnTo>
                    <a:pt x="163" y="1699"/>
                  </a:lnTo>
                  <a:lnTo>
                    <a:pt x="156" y="1695"/>
                  </a:lnTo>
                  <a:lnTo>
                    <a:pt x="151" y="1689"/>
                  </a:lnTo>
                  <a:lnTo>
                    <a:pt x="150" y="1680"/>
                  </a:lnTo>
                  <a:lnTo>
                    <a:pt x="150" y="1576"/>
                  </a:lnTo>
                  <a:lnTo>
                    <a:pt x="151" y="1567"/>
                  </a:lnTo>
                  <a:lnTo>
                    <a:pt x="156" y="1561"/>
                  </a:lnTo>
                  <a:lnTo>
                    <a:pt x="163" y="1558"/>
                  </a:lnTo>
                  <a:lnTo>
                    <a:pt x="171" y="1557"/>
                  </a:lnTo>
                  <a:lnTo>
                    <a:pt x="177" y="1558"/>
                  </a:lnTo>
                  <a:lnTo>
                    <a:pt x="183" y="1561"/>
                  </a:lnTo>
                  <a:lnTo>
                    <a:pt x="188" y="1567"/>
                  </a:lnTo>
                  <a:lnTo>
                    <a:pt x="190" y="1576"/>
                  </a:lnTo>
                  <a:close/>
                  <a:moveTo>
                    <a:pt x="190" y="1808"/>
                  </a:moveTo>
                  <a:lnTo>
                    <a:pt x="190" y="1911"/>
                  </a:lnTo>
                  <a:lnTo>
                    <a:pt x="188" y="1920"/>
                  </a:lnTo>
                  <a:lnTo>
                    <a:pt x="183" y="1927"/>
                  </a:lnTo>
                  <a:lnTo>
                    <a:pt x="177" y="1931"/>
                  </a:lnTo>
                  <a:lnTo>
                    <a:pt x="171" y="1932"/>
                  </a:lnTo>
                  <a:lnTo>
                    <a:pt x="163" y="1931"/>
                  </a:lnTo>
                  <a:lnTo>
                    <a:pt x="156" y="1927"/>
                  </a:lnTo>
                  <a:lnTo>
                    <a:pt x="151" y="1920"/>
                  </a:lnTo>
                  <a:lnTo>
                    <a:pt x="150" y="1911"/>
                  </a:lnTo>
                  <a:lnTo>
                    <a:pt x="150" y="1808"/>
                  </a:lnTo>
                  <a:lnTo>
                    <a:pt x="151" y="1799"/>
                  </a:lnTo>
                  <a:lnTo>
                    <a:pt x="156" y="1792"/>
                  </a:lnTo>
                  <a:lnTo>
                    <a:pt x="163" y="1789"/>
                  </a:lnTo>
                  <a:lnTo>
                    <a:pt x="171" y="1787"/>
                  </a:lnTo>
                  <a:lnTo>
                    <a:pt x="177" y="1789"/>
                  </a:lnTo>
                  <a:lnTo>
                    <a:pt x="183" y="1792"/>
                  </a:lnTo>
                  <a:lnTo>
                    <a:pt x="188" y="1799"/>
                  </a:lnTo>
                  <a:lnTo>
                    <a:pt x="190" y="1808"/>
                  </a:lnTo>
                  <a:close/>
                  <a:moveTo>
                    <a:pt x="190" y="2039"/>
                  </a:moveTo>
                  <a:lnTo>
                    <a:pt x="190" y="2143"/>
                  </a:lnTo>
                  <a:lnTo>
                    <a:pt x="188" y="2150"/>
                  </a:lnTo>
                  <a:lnTo>
                    <a:pt x="183" y="2157"/>
                  </a:lnTo>
                  <a:lnTo>
                    <a:pt x="177" y="2161"/>
                  </a:lnTo>
                  <a:lnTo>
                    <a:pt x="171" y="2162"/>
                  </a:lnTo>
                  <a:lnTo>
                    <a:pt x="163" y="2161"/>
                  </a:lnTo>
                  <a:lnTo>
                    <a:pt x="156" y="2157"/>
                  </a:lnTo>
                  <a:lnTo>
                    <a:pt x="151" y="2150"/>
                  </a:lnTo>
                  <a:lnTo>
                    <a:pt x="150" y="2143"/>
                  </a:lnTo>
                  <a:lnTo>
                    <a:pt x="150" y="2039"/>
                  </a:lnTo>
                  <a:lnTo>
                    <a:pt x="151" y="2030"/>
                  </a:lnTo>
                  <a:lnTo>
                    <a:pt x="156" y="2024"/>
                  </a:lnTo>
                  <a:lnTo>
                    <a:pt x="163" y="2020"/>
                  </a:lnTo>
                  <a:lnTo>
                    <a:pt x="171" y="2019"/>
                  </a:lnTo>
                  <a:lnTo>
                    <a:pt x="177" y="2020"/>
                  </a:lnTo>
                  <a:lnTo>
                    <a:pt x="183" y="2024"/>
                  </a:lnTo>
                  <a:lnTo>
                    <a:pt x="188" y="2030"/>
                  </a:lnTo>
                  <a:lnTo>
                    <a:pt x="190" y="2039"/>
                  </a:lnTo>
                  <a:close/>
                  <a:moveTo>
                    <a:pt x="190" y="2269"/>
                  </a:moveTo>
                  <a:lnTo>
                    <a:pt x="190" y="2373"/>
                  </a:lnTo>
                  <a:lnTo>
                    <a:pt x="188" y="2382"/>
                  </a:lnTo>
                  <a:lnTo>
                    <a:pt x="183" y="2388"/>
                  </a:lnTo>
                  <a:lnTo>
                    <a:pt x="177" y="2392"/>
                  </a:lnTo>
                  <a:lnTo>
                    <a:pt x="171" y="2393"/>
                  </a:lnTo>
                  <a:lnTo>
                    <a:pt x="163" y="2392"/>
                  </a:lnTo>
                  <a:lnTo>
                    <a:pt x="156" y="2388"/>
                  </a:lnTo>
                  <a:lnTo>
                    <a:pt x="151" y="2382"/>
                  </a:lnTo>
                  <a:lnTo>
                    <a:pt x="150" y="2373"/>
                  </a:lnTo>
                  <a:lnTo>
                    <a:pt x="150" y="2269"/>
                  </a:lnTo>
                  <a:lnTo>
                    <a:pt x="151" y="2260"/>
                  </a:lnTo>
                  <a:lnTo>
                    <a:pt x="156" y="2255"/>
                  </a:lnTo>
                  <a:lnTo>
                    <a:pt x="163" y="2251"/>
                  </a:lnTo>
                  <a:lnTo>
                    <a:pt x="171" y="2250"/>
                  </a:lnTo>
                  <a:lnTo>
                    <a:pt x="177" y="2251"/>
                  </a:lnTo>
                  <a:lnTo>
                    <a:pt x="183" y="2255"/>
                  </a:lnTo>
                  <a:lnTo>
                    <a:pt x="188" y="2260"/>
                  </a:lnTo>
                  <a:lnTo>
                    <a:pt x="190" y="2269"/>
                  </a:lnTo>
                  <a:close/>
                  <a:moveTo>
                    <a:pt x="190" y="2501"/>
                  </a:moveTo>
                  <a:lnTo>
                    <a:pt x="190" y="2604"/>
                  </a:lnTo>
                  <a:lnTo>
                    <a:pt x="188" y="2613"/>
                  </a:lnTo>
                  <a:lnTo>
                    <a:pt x="183" y="2620"/>
                  </a:lnTo>
                  <a:lnTo>
                    <a:pt x="177" y="2624"/>
                  </a:lnTo>
                  <a:lnTo>
                    <a:pt x="171" y="2625"/>
                  </a:lnTo>
                  <a:lnTo>
                    <a:pt x="163" y="2624"/>
                  </a:lnTo>
                  <a:lnTo>
                    <a:pt x="156" y="2620"/>
                  </a:lnTo>
                  <a:lnTo>
                    <a:pt x="151" y="2613"/>
                  </a:lnTo>
                  <a:lnTo>
                    <a:pt x="150" y="2604"/>
                  </a:lnTo>
                  <a:lnTo>
                    <a:pt x="150" y="2501"/>
                  </a:lnTo>
                  <a:lnTo>
                    <a:pt x="151" y="2492"/>
                  </a:lnTo>
                  <a:lnTo>
                    <a:pt x="156" y="2485"/>
                  </a:lnTo>
                  <a:lnTo>
                    <a:pt x="163" y="2482"/>
                  </a:lnTo>
                  <a:lnTo>
                    <a:pt x="171" y="2480"/>
                  </a:lnTo>
                  <a:lnTo>
                    <a:pt x="177" y="2482"/>
                  </a:lnTo>
                  <a:lnTo>
                    <a:pt x="183" y="2485"/>
                  </a:lnTo>
                  <a:lnTo>
                    <a:pt x="188" y="2492"/>
                  </a:lnTo>
                  <a:lnTo>
                    <a:pt x="190" y="2501"/>
                  </a:lnTo>
                  <a:close/>
                  <a:moveTo>
                    <a:pt x="190" y="2732"/>
                  </a:moveTo>
                  <a:lnTo>
                    <a:pt x="190" y="2836"/>
                  </a:lnTo>
                  <a:lnTo>
                    <a:pt x="188" y="2845"/>
                  </a:lnTo>
                  <a:lnTo>
                    <a:pt x="183" y="2850"/>
                  </a:lnTo>
                  <a:lnTo>
                    <a:pt x="177" y="2854"/>
                  </a:lnTo>
                  <a:lnTo>
                    <a:pt x="171" y="2855"/>
                  </a:lnTo>
                  <a:lnTo>
                    <a:pt x="163" y="2854"/>
                  </a:lnTo>
                  <a:lnTo>
                    <a:pt x="156" y="2850"/>
                  </a:lnTo>
                  <a:lnTo>
                    <a:pt x="151" y="2845"/>
                  </a:lnTo>
                  <a:lnTo>
                    <a:pt x="150" y="2836"/>
                  </a:lnTo>
                  <a:lnTo>
                    <a:pt x="150" y="2732"/>
                  </a:lnTo>
                  <a:lnTo>
                    <a:pt x="151" y="2723"/>
                  </a:lnTo>
                  <a:lnTo>
                    <a:pt x="156" y="2717"/>
                  </a:lnTo>
                  <a:lnTo>
                    <a:pt x="163" y="2713"/>
                  </a:lnTo>
                  <a:lnTo>
                    <a:pt x="171" y="2712"/>
                  </a:lnTo>
                  <a:lnTo>
                    <a:pt x="177" y="2713"/>
                  </a:lnTo>
                  <a:lnTo>
                    <a:pt x="183" y="2717"/>
                  </a:lnTo>
                  <a:lnTo>
                    <a:pt x="188" y="2723"/>
                  </a:lnTo>
                  <a:lnTo>
                    <a:pt x="190" y="2732"/>
                  </a:lnTo>
                  <a:close/>
                  <a:moveTo>
                    <a:pt x="190" y="2962"/>
                  </a:moveTo>
                  <a:lnTo>
                    <a:pt x="190" y="3066"/>
                  </a:lnTo>
                  <a:lnTo>
                    <a:pt x="188" y="3075"/>
                  </a:lnTo>
                  <a:lnTo>
                    <a:pt x="183" y="3081"/>
                  </a:lnTo>
                  <a:lnTo>
                    <a:pt x="177" y="3085"/>
                  </a:lnTo>
                  <a:lnTo>
                    <a:pt x="171" y="3086"/>
                  </a:lnTo>
                  <a:lnTo>
                    <a:pt x="163" y="3085"/>
                  </a:lnTo>
                  <a:lnTo>
                    <a:pt x="156" y="3081"/>
                  </a:lnTo>
                  <a:lnTo>
                    <a:pt x="151" y="3075"/>
                  </a:lnTo>
                  <a:lnTo>
                    <a:pt x="150" y="3066"/>
                  </a:lnTo>
                  <a:lnTo>
                    <a:pt x="150" y="2962"/>
                  </a:lnTo>
                  <a:lnTo>
                    <a:pt x="151" y="2953"/>
                  </a:lnTo>
                  <a:lnTo>
                    <a:pt x="156" y="2948"/>
                  </a:lnTo>
                  <a:lnTo>
                    <a:pt x="163" y="2945"/>
                  </a:lnTo>
                  <a:lnTo>
                    <a:pt x="171" y="2943"/>
                  </a:lnTo>
                  <a:lnTo>
                    <a:pt x="177" y="2945"/>
                  </a:lnTo>
                  <a:lnTo>
                    <a:pt x="183" y="2948"/>
                  </a:lnTo>
                  <a:lnTo>
                    <a:pt x="188" y="2953"/>
                  </a:lnTo>
                  <a:lnTo>
                    <a:pt x="190" y="2962"/>
                  </a:lnTo>
                  <a:close/>
                  <a:moveTo>
                    <a:pt x="2375" y="1897"/>
                  </a:moveTo>
                  <a:lnTo>
                    <a:pt x="2375" y="2001"/>
                  </a:lnTo>
                  <a:lnTo>
                    <a:pt x="2372" y="2010"/>
                  </a:lnTo>
                  <a:lnTo>
                    <a:pt x="2368" y="2016"/>
                  </a:lnTo>
                  <a:lnTo>
                    <a:pt x="2362" y="2020"/>
                  </a:lnTo>
                  <a:lnTo>
                    <a:pt x="2354" y="2021"/>
                  </a:lnTo>
                  <a:lnTo>
                    <a:pt x="2347" y="2020"/>
                  </a:lnTo>
                  <a:lnTo>
                    <a:pt x="2340" y="2016"/>
                  </a:lnTo>
                  <a:lnTo>
                    <a:pt x="2336" y="2010"/>
                  </a:lnTo>
                  <a:lnTo>
                    <a:pt x="2334" y="2001"/>
                  </a:lnTo>
                  <a:lnTo>
                    <a:pt x="2334" y="1897"/>
                  </a:lnTo>
                  <a:lnTo>
                    <a:pt x="2336" y="1888"/>
                  </a:lnTo>
                  <a:lnTo>
                    <a:pt x="2340" y="1882"/>
                  </a:lnTo>
                  <a:lnTo>
                    <a:pt x="2347" y="1878"/>
                  </a:lnTo>
                  <a:lnTo>
                    <a:pt x="2354" y="1877"/>
                  </a:lnTo>
                  <a:lnTo>
                    <a:pt x="2362" y="1878"/>
                  </a:lnTo>
                  <a:lnTo>
                    <a:pt x="2368" y="1882"/>
                  </a:lnTo>
                  <a:lnTo>
                    <a:pt x="2372" y="1888"/>
                  </a:lnTo>
                  <a:lnTo>
                    <a:pt x="2375" y="1897"/>
                  </a:lnTo>
                  <a:close/>
                  <a:moveTo>
                    <a:pt x="2589" y="1897"/>
                  </a:moveTo>
                  <a:lnTo>
                    <a:pt x="2589" y="2001"/>
                  </a:lnTo>
                  <a:lnTo>
                    <a:pt x="2588" y="2010"/>
                  </a:lnTo>
                  <a:lnTo>
                    <a:pt x="2583" y="2016"/>
                  </a:lnTo>
                  <a:lnTo>
                    <a:pt x="2576" y="2020"/>
                  </a:lnTo>
                  <a:lnTo>
                    <a:pt x="2570" y="2021"/>
                  </a:lnTo>
                  <a:lnTo>
                    <a:pt x="2562" y="2020"/>
                  </a:lnTo>
                  <a:lnTo>
                    <a:pt x="2556" y="2016"/>
                  </a:lnTo>
                  <a:lnTo>
                    <a:pt x="2550" y="2010"/>
                  </a:lnTo>
                  <a:lnTo>
                    <a:pt x="2549" y="2001"/>
                  </a:lnTo>
                  <a:lnTo>
                    <a:pt x="2549" y="1897"/>
                  </a:lnTo>
                  <a:lnTo>
                    <a:pt x="2550" y="1888"/>
                  </a:lnTo>
                  <a:lnTo>
                    <a:pt x="2556" y="1882"/>
                  </a:lnTo>
                  <a:lnTo>
                    <a:pt x="2562" y="1878"/>
                  </a:lnTo>
                  <a:lnTo>
                    <a:pt x="2570" y="1877"/>
                  </a:lnTo>
                  <a:lnTo>
                    <a:pt x="2576" y="1878"/>
                  </a:lnTo>
                  <a:lnTo>
                    <a:pt x="2583" y="1882"/>
                  </a:lnTo>
                  <a:lnTo>
                    <a:pt x="2588" y="1888"/>
                  </a:lnTo>
                  <a:lnTo>
                    <a:pt x="2589" y="1897"/>
                  </a:lnTo>
                  <a:close/>
                  <a:moveTo>
                    <a:pt x="2804" y="1897"/>
                  </a:moveTo>
                  <a:lnTo>
                    <a:pt x="2804" y="2001"/>
                  </a:lnTo>
                  <a:lnTo>
                    <a:pt x="2803" y="2010"/>
                  </a:lnTo>
                  <a:lnTo>
                    <a:pt x="2798" y="2016"/>
                  </a:lnTo>
                  <a:lnTo>
                    <a:pt x="2792" y="2020"/>
                  </a:lnTo>
                  <a:lnTo>
                    <a:pt x="2784" y="2021"/>
                  </a:lnTo>
                  <a:lnTo>
                    <a:pt x="2777" y="2020"/>
                  </a:lnTo>
                  <a:lnTo>
                    <a:pt x="2771" y="2016"/>
                  </a:lnTo>
                  <a:lnTo>
                    <a:pt x="2766" y="2010"/>
                  </a:lnTo>
                  <a:lnTo>
                    <a:pt x="2765" y="2001"/>
                  </a:lnTo>
                  <a:lnTo>
                    <a:pt x="2765" y="1897"/>
                  </a:lnTo>
                  <a:lnTo>
                    <a:pt x="2766" y="1888"/>
                  </a:lnTo>
                  <a:lnTo>
                    <a:pt x="2771" y="1882"/>
                  </a:lnTo>
                  <a:lnTo>
                    <a:pt x="2777" y="1878"/>
                  </a:lnTo>
                  <a:lnTo>
                    <a:pt x="2784" y="1877"/>
                  </a:lnTo>
                  <a:lnTo>
                    <a:pt x="2792" y="1878"/>
                  </a:lnTo>
                  <a:lnTo>
                    <a:pt x="2798" y="1882"/>
                  </a:lnTo>
                  <a:lnTo>
                    <a:pt x="2803" y="1888"/>
                  </a:lnTo>
                  <a:lnTo>
                    <a:pt x="2804" y="1897"/>
                  </a:lnTo>
                  <a:close/>
                  <a:moveTo>
                    <a:pt x="2375" y="2245"/>
                  </a:moveTo>
                  <a:lnTo>
                    <a:pt x="2375" y="2349"/>
                  </a:lnTo>
                  <a:lnTo>
                    <a:pt x="2372" y="2358"/>
                  </a:lnTo>
                  <a:lnTo>
                    <a:pt x="2368" y="2364"/>
                  </a:lnTo>
                  <a:lnTo>
                    <a:pt x="2362" y="2368"/>
                  </a:lnTo>
                  <a:lnTo>
                    <a:pt x="2354" y="2369"/>
                  </a:lnTo>
                  <a:lnTo>
                    <a:pt x="2347" y="2368"/>
                  </a:lnTo>
                  <a:lnTo>
                    <a:pt x="2340" y="2364"/>
                  </a:lnTo>
                  <a:lnTo>
                    <a:pt x="2336" y="2358"/>
                  </a:lnTo>
                  <a:lnTo>
                    <a:pt x="2334" y="2349"/>
                  </a:lnTo>
                  <a:lnTo>
                    <a:pt x="2334" y="2245"/>
                  </a:lnTo>
                  <a:lnTo>
                    <a:pt x="2336" y="2236"/>
                  </a:lnTo>
                  <a:lnTo>
                    <a:pt x="2340" y="2230"/>
                  </a:lnTo>
                  <a:lnTo>
                    <a:pt x="2347" y="2226"/>
                  </a:lnTo>
                  <a:lnTo>
                    <a:pt x="2354" y="2225"/>
                  </a:lnTo>
                  <a:lnTo>
                    <a:pt x="2362" y="2226"/>
                  </a:lnTo>
                  <a:lnTo>
                    <a:pt x="2368" y="2230"/>
                  </a:lnTo>
                  <a:lnTo>
                    <a:pt x="2372" y="2236"/>
                  </a:lnTo>
                  <a:lnTo>
                    <a:pt x="2375" y="2245"/>
                  </a:lnTo>
                  <a:close/>
                  <a:moveTo>
                    <a:pt x="2589" y="2245"/>
                  </a:moveTo>
                  <a:lnTo>
                    <a:pt x="2589" y="2349"/>
                  </a:lnTo>
                  <a:lnTo>
                    <a:pt x="2588" y="2358"/>
                  </a:lnTo>
                  <a:lnTo>
                    <a:pt x="2583" y="2364"/>
                  </a:lnTo>
                  <a:lnTo>
                    <a:pt x="2576" y="2368"/>
                  </a:lnTo>
                  <a:lnTo>
                    <a:pt x="2570" y="2369"/>
                  </a:lnTo>
                  <a:lnTo>
                    <a:pt x="2562" y="2368"/>
                  </a:lnTo>
                  <a:lnTo>
                    <a:pt x="2556" y="2364"/>
                  </a:lnTo>
                  <a:lnTo>
                    <a:pt x="2550" y="2358"/>
                  </a:lnTo>
                  <a:lnTo>
                    <a:pt x="2549" y="2349"/>
                  </a:lnTo>
                  <a:lnTo>
                    <a:pt x="2549" y="2245"/>
                  </a:lnTo>
                  <a:lnTo>
                    <a:pt x="2550" y="2236"/>
                  </a:lnTo>
                  <a:lnTo>
                    <a:pt x="2556" y="2230"/>
                  </a:lnTo>
                  <a:lnTo>
                    <a:pt x="2562" y="2226"/>
                  </a:lnTo>
                  <a:lnTo>
                    <a:pt x="2570" y="2225"/>
                  </a:lnTo>
                  <a:lnTo>
                    <a:pt x="2576" y="2226"/>
                  </a:lnTo>
                  <a:lnTo>
                    <a:pt x="2583" y="2230"/>
                  </a:lnTo>
                  <a:lnTo>
                    <a:pt x="2588" y="2236"/>
                  </a:lnTo>
                  <a:lnTo>
                    <a:pt x="2589" y="2245"/>
                  </a:lnTo>
                  <a:close/>
                  <a:moveTo>
                    <a:pt x="2804" y="2245"/>
                  </a:moveTo>
                  <a:lnTo>
                    <a:pt x="2804" y="2349"/>
                  </a:lnTo>
                  <a:lnTo>
                    <a:pt x="2803" y="2358"/>
                  </a:lnTo>
                  <a:lnTo>
                    <a:pt x="2798" y="2364"/>
                  </a:lnTo>
                  <a:lnTo>
                    <a:pt x="2792" y="2368"/>
                  </a:lnTo>
                  <a:lnTo>
                    <a:pt x="2784" y="2369"/>
                  </a:lnTo>
                  <a:lnTo>
                    <a:pt x="2777" y="2368"/>
                  </a:lnTo>
                  <a:lnTo>
                    <a:pt x="2771" y="2364"/>
                  </a:lnTo>
                  <a:lnTo>
                    <a:pt x="2766" y="2358"/>
                  </a:lnTo>
                  <a:lnTo>
                    <a:pt x="2765" y="2349"/>
                  </a:lnTo>
                  <a:lnTo>
                    <a:pt x="2765" y="2245"/>
                  </a:lnTo>
                  <a:lnTo>
                    <a:pt x="2766" y="2236"/>
                  </a:lnTo>
                  <a:lnTo>
                    <a:pt x="2771" y="2230"/>
                  </a:lnTo>
                  <a:lnTo>
                    <a:pt x="2777" y="2226"/>
                  </a:lnTo>
                  <a:lnTo>
                    <a:pt x="2784" y="2225"/>
                  </a:lnTo>
                  <a:lnTo>
                    <a:pt x="2792" y="2226"/>
                  </a:lnTo>
                  <a:lnTo>
                    <a:pt x="2798" y="2230"/>
                  </a:lnTo>
                  <a:lnTo>
                    <a:pt x="2803" y="2236"/>
                  </a:lnTo>
                  <a:lnTo>
                    <a:pt x="2804" y="2245"/>
                  </a:lnTo>
                  <a:close/>
                  <a:moveTo>
                    <a:pt x="2375" y="2593"/>
                  </a:moveTo>
                  <a:lnTo>
                    <a:pt x="2375" y="2696"/>
                  </a:lnTo>
                  <a:lnTo>
                    <a:pt x="2372" y="2705"/>
                  </a:lnTo>
                  <a:lnTo>
                    <a:pt x="2368" y="2712"/>
                  </a:lnTo>
                  <a:lnTo>
                    <a:pt x="2362" y="2716"/>
                  </a:lnTo>
                  <a:lnTo>
                    <a:pt x="2354" y="2717"/>
                  </a:lnTo>
                  <a:lnTo>
                    <a:pt x="2347" y="2716"/>
                  </a:lnTo>
                  <a:lnTo>
                    <a:pt x="2340" y="2712"/>
                  </a:lnTo>
                  <a:lnTo>
                    <a:pt x="2336" y="2705"/>
                  </a:lnTo>
                  <a:lnTo>
                    <a:pt x="2334" y="2696"/>
                  </a:lnTo>
                  <a:lnTo>
                    <a:pt x="2334" y="2593"/>
                  </a:lnTo>
                  <a:lnTo>
                    <a:pt x="2336" y="2584"/>
                  </a:lnTo>
                  <a:lnTo>
                    <a:pt x="2340" y="2578"/>
                  </a:lnTo>
                  <a:lnTo>
                    <a:pt x="2347" y="2574"/>
                  </a:lnTo>
                  <a:lnTo>
                    <a:pt x="2354" y="2572"/>
                  </a:lnTo>
                  <a:lnTo>
                    <a:pt x="2362" y="2574"/>
                  </a:lnTo>
                  <a:lnTo>
                    <a:pt x="2368" y="2578"/>
                  </a:lnTo>
                  <a:lnTo>
                    <a:pt x="2372" y="2584"/>
                  </a:lnTo>
                  <a:lnTo>
                    <a:pt x="2375" y="2593"/>
                  </a:lnTo>
                  <a:close/>
                  <a:moveTo>
                    <a:pt x="2589" y="2593"/>
                  </a:moveTo>
                  <a:lnTo>
                    <a:pt x="2589" y="2696"/>
                  </a:lnTo>
                  <a:lnTo>
                    <a:pt x="2588" y="2705"/>
                  </a:lnTo>
                  <a:lnTo>
                    <a:pt x="2583" y="2712"/>
                  </a:lnTo>
                  <a:lnTo>
                    <a:pt x="2576" y="2716"/>
                  </a:lnTo>
                  <a:lnTo>
                    <a:pt x="2570" y="2717"/>
                  </a:lnTo>
                  <a:lnTo>
                    <a:pt x="2562" y="2716"/>
                  </a:lnTo>
                  <a:lnTo>
                    <a:pt x="2556" y="2712"/>
                  </a:lnTo>
                  <a:lnTo>
                    <a:pt x="2550" y="2705"/>
                  </a:lnTo>
                  <a:lnTo>
                    <a:pt x="2549" y="2696"/>
                  </a:lnTo>
                  <a:lnTo>
                    <a:pt x="2549" y="2593"/>
                  </a:lnTo>
                  <a:lnTo>
                    <a:pt x="2550" y="2584"/>
                  </a:lnTo>
                  <a:lnTo>
                    <a:pt x="2556" y="2578"/>
                  </a:lnTo>
                  <a:lnTo>
                    <a:pt x="2562" y="2574"/>
                  </a:lnTo>
                  <a:lnTo>
                    <a:pt x="2570" y="2572"/>
                  </a:lnTo>
                  <a:lnTo>
                    <a:pt x="2576" y="2574"/>
                  </a:lnTo>
                  <a:lnTo>
                    <a:pt x="2583" y="2578"/>
                  </a:lnTo>
                  <a:lnTo>
                    <a:pt x="2588" y="2584"/>
                  </a:lnTo>
                  <a:lnTo>
                    <a:pt x="2589" y="2593"/>
                  </a:lnTo>
                  <a:close/>
                  <a:moveTo>
                    <a:pt x="2804" y="2593"/>
                  </a:moveTo>
                  <a:lnTo>
                    <a:pt x="2804" y="2696"/>
                  </a:lnTo>
                  <a:lnTo>
                    <a:pt x="2803" y="2705"/>
                  </a:lnTo>
                  <a:lnTo>
                    <a:pt x="2798" y="2712"/>
                  </a:lnTo>
                  <a:lnTo>
                    <a:pt x="2792" y="2716"/>
                  </a:lnTo>
                  <a:lnTo>
                    <a:pt x="2784" y="2717"/>
                  </a:lnTo>
                  <a:lnTo>
                    <a:pt x="2777" y="2716"/>
                  </a:lnTo>
                  <a:lnTo>
                    <a:pt x="2771" y="2712"/>
                  </a:lnTo>
                  <a:lnTo>
                    <a:pt x="2766" y="2705"/>
                  </a:lnTo>
                  <a:lnTo>
                    <a:pt x="2765" y="2696"/>
                  </a:lnTo>
                  <a:lnTo>
                    <a:pt x="2765" y="2593"/>
                  </a:lnTo>
                  <a:lnTo>
                    <a:pt x="2766" y="2584"/>
                  </a:lnTo>
                  <a:lnTo>
                    <a:pt x="2771" y="2578"/>
                  </a:lnTo>
                  <a:lnTo>
                    <a:pt x="2777" y="2574"/>
                  </a:lnTo>
                  <a:lnTo>
                    <a:pt x="2784" y="2572"/>
                  </a:lnTo>
                  <a:lnTo>
                    <a:pt x="2792" y="2574"/>
                  </a:lnTo>
                  <a:lnTo>
                    <a:pt x="2798" y="2578"/>
                  </a:lnTo>
                  <a:lnTo>
                    <a:pt x="2803" y="2584"/>
                  </a:lnTo>
                  <a:lnTo>
                    <a:pt x="2804" y="2593"/>
                  </a:lnTo>
                  <a:close/>
                  <a:moveTo>
                    <a:pt x="2375" y="2941"/>
                  </a:moveTo>
                  <a:lnTo>
                    <a:pt x="2375" y="3044"/>
                  </a:lnTo>
                  <a:lnTo>
                    <a:pt x="2372" y="3053"/>
                  </a:lnTo>
                  <a:lnTo>
                    <a:pt x="2368" y="3060"/>
                  </a:lnTo>
                  <a:lnTo>
                    <a:pt x="2362" y="3063"/>
                  </a:lnTo>
                  <a:lnTo>
                    <a:pt x="2354" y="3065"/>
                  </a:lnTo>
                  <a:lnTo>
                    <a:pt x="2347" y="3063"/>
                  </a:lnTo>
                  <a:lnTo>
                    <a:pt x="2340" y="3060"/>
                  </a:lnTo>
                  <a:lnTo>
                    <a:pt x="2336" y="3053"/>
                  </a:lnTo>
                  <a:lnTo>
                    <a:pt x="2334" y="3044"/>
                  </a:lnTo>
                  <a:lnTo>
                    <a:pt x="2334" y="2941"/>
                  </a:lnTo>
                  <a:lnTo>
                    <a:pt x="2336" y="2932"/>
                  </a:lnTo>
                  <a:lnTo>
                    <a:pt x="2340" y="2925"/>
                  </a:lnTo>
                  <a:lnTo>
                    <a:pt x="2347" y="2922"/>
                  </a:lnTo>
                  <a:lnTo>
                    <a:pt x="2354" y="2920"/>
                  </a:lnTo>
                  <a:lnTo>
                    <a:pt x="2362" y="2922"/>
                  </a:lnTo>
                  <a:lnTo>
                    <a:pt x="2368" y="2925"/>
                  </a:lnTo>
                  <a:lnTo>
                    <a:pt x="2372" y="2932"/>
                  </a:lnTo>
                  <a:lnTo>
                    <a:pt x="2375" y="2941"/>
                  </a:lnTo>
                  <a:close/>
                  <a:moveTo>
                    <a:pt x="2589" y="2941"/>
                  </a:moveTo>
                  <a:lnTo>
                    <a:pt x="2589" y="3044"/>
                  </a:lnTo>
                  <a:lnTo>
                    <a:pt x="2588" y="3053"/>
                  </a:lnTo>
                  <a:lnTo>
                    <a:pt x="2583" y="3060"/>
                  </a:lnTo>
                  <a:lnTo>
                    <a:pt x="2576" y="3063"/>
                  </a:lnTo>
                  <a:lnTo>
                    <a:pt x="2570" y="3065"/>
                  </a:lnTo>
                  <a:lnTo>
                    <a:pt x="2562" y="3063"/>
                  </a:lnTo>
                  <a:lnTo>
                    <a:pt x="2556" y="3060"/>
                  </a:lnTo>
                  <a:lnTo>
                    <a:pt x="2550" y="3053"/>
                  </a:lnTo>
                  <a:lnTo>
                    <a:pt x="2549" y="3044"/>
                  </a:lnTo>
                  <a:lnTo>
                    <a:pt x="2549" y="2941"/>
                  </a:lnTo>
                  <a:lnTo>
                    <a:pt x="2550" y="2932"/>
                  </a:lnTo>
                  <a:lnTo>
                    <a:pt x="2556" y="2925"/>
                  </a:lnTo>
                  <a:lnTo>
                    <a:pt x="2562" y="2922"/>
                  </a:lnTo>
                  <a:lnTo>
                    <a:pt x="2570" y="2920"/>
                  </a:lnTo>
                  <a:lnTo>
                    <a:pt x="2576" y="2922"/>
                  </a:lnTo>
                  <a:lnTo>
                    <a:pt x="2583" y="2925"/>
                  </a:lnTo>
                  <a:lnTo>
                    <a:pt x="2588" y="2932"/>
                  </a:lnTo>
                  <a:lnTo>
                    <a:pt x="2589" y="2941"/>
                  </a:lnTo>
                  <a:close/>
                  <a:moveTo>
                    <a:pt x="2804" y="2941"/>
                  </a:moveTo>
                  <a:lnTo>
                    <a:pt x="2804" y="3044"/>
                  </a:lnTo>
                  <a:lnTo>
                    <a:pt x="2803" y="3053"/>
                  </a:lnTo>
                  <a:lnTo>
                    <a:pt x="2798" y="3060"/>
                  </a:lnTo>
                  <a:lnTo>
                    <a:pt x="2792" y="3063"/>
                  </a:lnTo>
                  <a:lnTo>
                    <a:pt x="2784" y="3065"/>
                  </a:lnTo>
                  <a:lnTo>
                    <a:pt x="2777" y="3063"/>
                  </a:lnTo>
                  <a:lnTo>
                    <a:pt x="2771" y="3060"/>
                  </a:lnTo>
                  <a:lnTo>
                    <a:pt x="2766" y="3053"/>
                  </a:lnTo>
                  <a:lnTo>
                    <a:pt x="2765" y="3044"/>
                  </a:lnTo>
                  <a:lnTo>
                    <a:pt x="2765" y="2941"/>
                  </a:lnTo>
                  <a:lnTo>
                    <a:pt x="2766" y="2932"/>
                  </a:lnTo>
                  <a:lnTo>
                    <a:pt x="2771" y="2925"/>
                  </a:lnTo>
                  <a:lnTo>
                    <a:pt x="2777" y="2922"/>
                  </a:lnTo>
                  <a:lnTo>
                    <a:pt x="2784" y="2920"/>
                  </a:lnTo>
                  <a:lnTo>
                    <a:pt x="2792" y="2922"/>
                  </a:lnTo>
                  <a:lnTo>
                    <a:pt x="2798" y="2925"/>
                  </a:lnTo>
                  <a:lnTo>
                    <a:pt x="2803" y="2932"/>
                  </a:lnTo>
                  <a:lnTo>
                    <a:pt x="2804" y="2941"/>
                  </a:lnTo>
                  <a:close/>
                  <a:moveTo>
                    <a:pt x="6888" y="1521"/>
                  </a:moveTo>
                  <a:lnTo>
                    <a:pt x="6778" y="1521"/>
                  </a:lnTo>
                  <a:lnTo>
                    <a:pt x="6778" y="1631"/>
                  </a:lnTo>
                  <a:lnTo>
                    <a:pt x="6888" y="1631"/>
                  </a:lnTo>
                  <a:lnTo>
                    <a:pt x="6888" y="1521"/>
                  </a:lnTo>
                  <a:close/>
                  <a:moveTo>
                    <a:pt x="7276" y="2772"/>
                  </a:moveTo>
                  <a:lnTo>
                    <a:pt x="7276" y="2585"/>
                  </a:lnTo>
                  <a:lnTo>
                    <a:pt x="7276" y="2277"/>
                  </a:lnTo>
                  <a:lnTo>
                    <a:pt x="7277" y="2271"/>
                  </a:lnTo>
                  <a:lnTo>
                    <a:pt x="7277" y="1671"/>
                  </a:lnTo>
                  <a:lnTo>
                    <a:pt x="6909" y="1671"/>
                  </a:lnTo>
                  <a:lnTo>
                    <a:pt x="6758" y="1671"/>
                  </a:lnTo>
                  <a:lnTo>
                    <a:pt x="6469" y="1671"/>
                  </a:lnTo>
                  <a:lnTo>
                    <a:pt x="6460" y="1670"/>
                  </a:lnTo>
                  <a:lnTo>
                    <a:pt x="6454" y="1665"/>
                  </a:lnTo>
                  <a:lnTo>
                    <a:pt x="6450" y="1658"/>
                  </a:lnTo>
                  <a:lnTo>
                    <a:pt x="6449" y="1652"/>
                  </a:lnTo>
                  <a:lnTo>
                    <a:pt x="6450" y="1644"/>
                  </a:lnTo>
                  <a:lnTo>
                    <a:pt x="6454" y="1638"/>
                  </a:lnTo>
                  <a:lnTo>
                    <a:pt x="6460" y="1633"/>
                  </a:lnTo>
                  <a:lnTo>
                    <a:pt x="6469" y="1631"/>
                  </a:lnTo>
                  <a:lnTo>
                    <a:pt x="6574" y="1631"/>
                  </a:lnTo>
                  <a:lnTo>
                    <a:pt x="6574" y="1488"/>
                  </a:lnTo>
                  <a:lnTo>
                    <a:pt x="6172" y="1488"/>
                  </a:lnTo>
                  <a:lnTo>
                    <a:pt x="6172" y="1631"/>
                  </a:lnTo>
                  <a:lnTo>
                    <a:pt x="6204" y="1631"/>
                  </a:lnTo>
                  <a:lnTo>
                    <a:pt x="6213" y="1633"/>
                  </a:lnTo>
                  <a:lnTo>
                    <a:pt x="6219" y="1638"/>
                  </a:lnTo>
                  <a:lnTo>
                    <a:pt x="6223" y="1644"/>
                  </a:lnTo>
                  <a:lnTo>
                    <a:pt x="6224" y="1652"/>
                  </a:lnTo>
                  <a:lnTo>
                    <a:pt x="6223" y="1658"/>
                  </a:lnTo>
                  <a:lnTo>
                    <a:pt x="6219" y="1665"/>
                  </a:lnTo>
                  <a:lnTo>
                    <a:pt x="6213" y="1670"/>
                  </a:lnTo>
                  <a:lnTo>
                    <a:pt x="6204" y="1671"/>
                  </a:lnTo>
                  <a:lnTo>
                    <a:pt x="6037" y="1671"/>
                  </a:lnTo>
                  <a:lnTo>
                    <a:pt x="6037" y="2332"/>
                  </a:lnTo>
                  <a:lnTo>
                    <a:pt x="6037" y="2993"/>
                  </a:lnTo>
                  <a:lnTo>
                    <a:pt x="6037" y="3654"/>
                  </a:lnTo>
                  <a:lnTo>
                    <a:pt x="6037" y="4317"/>
                  </a:lnTo>
                  <a:lnTo>
                    <a:pt x="6656" y="4317"/>
                  </a:lnTo>
                  <a:lnTo>
                    <a:pt x="7276" y="4317"/>
                  </a:lnTo>
                  <a:lnTo>
                    <a:pt x="7276" y="3544"/>
                  </a:lnTo>
                  <a:lnTo>
                    <a:pt x="7276" y="2772"/>
                  </a:lnTo>
                  <a:close/>
                  <a:moveTo>
                    <a:pt x="9050" y="2792"/>
                  </a:moveTo>
                  <a:lnTo>
                    <a:pt x="8182" y="2792"/>
                  </a:lnTo>
                  <a:lnTo>
                    <a:pt x="7315" y="2792"/>
                  </a:lnTo>
                  <a:lnTo>
                    <a:pt x="7315" y="3554"/>
                  </a:lnTo>
                  <a:lnTo>
                    <a:pt x="7315" y="4317"/>
                  </a:lnTo>
                  <a:lnTo>
                    <a:pt x="8182" y="4317"/>
                  </a:lnTo>
                  <a:lnTo>
                    <a:pt x="9050" y="4317"/>
                  </a:lnTo>
                  <a:lnTo>
                    <a:pt x="9050" y="3554"/>
                  </a:lnTo>
                  <a:lnTo>
                    <a:pt x="9050" y="2792"/>
                  </a:lnTo>
                  <a:close/>
                  <a:moveTo>
                    <a:pt x="8412" y="2258"/>
                  </a:moveTo>
                  <a:lnTo>
                    <a:pt x="8412" y="2135"/>
                  </a:lnTo>
                  <a:lnTo>
                    <a:pt x="8413" y="2127"/>
                  </a:lnTo>
                  <a:lnTo>
                    <a:pt x="8418" y="2121"/>
                  </a:lnTo>
                  <a:lnTo>
                    <a:pt x="8425" y="2117"/>
                  </a:lnTo>
                  <a:lnTo>
                    <a:pt x="8432" y="2116"/>
                  </a:lnTo>
                  <a:lnTo>
                    <a:pt x="8677" y="2116"/>
                  </a:lnTo>
                  <a:lnTo>
                    <a:pt x="8685" y="2117"/>
                  </a:lnTo>
                  <a:lnTo>
                    <a:pt x="8691" y="2121"/>
                  </a:lnTo>
                  <a:lnTo>
                    <a:pt x="8695" y="2127"/>
                  </a:lnTo>
                  <a:lnTo>
                    <a:pt x="8698" y="2135"/>
                  </a:lnTo>
                  <a:lnTo>
                    <a:pt x="8698" y="2258"/>
                  </a:lnTo>
                  <a:lnTo>
                    <a:pt x="8853" y="2258"/>
                  </a:lnTo>
                  <a:lnTo>
                    <a:pt x="8868" y="2266"/>
                  </a:lnTo>
                  <a:lnTo>
                    <a:pt x="9089" y="2565"/>
                  </a:lnTo>
                  <a:lnTo>
                    <a:pt x="9100" y="2565"/>
                  </a:lnTo>
                  <a:lnTo>
                    <a:pt x="9108" y="2566"/>
                  </a:lnTo>
                  <a:lnTo>
                    <a:pt x="9114" y="2571"/>
                  </a:lnTo>
                  <a:lnTo>
                    <a:pt x="9120" y="2578"/>
                  </a:lnTo>
                  <a:lnTo>
                    <a:pt x="9121" y="2585"/>
                  </a:lnTo>
                  <a:lnTo>
                    <a:pt x="9121" y="2772"/>
                  </a:lnTo>
                  <a:lnTo>
                    <a:pt x="9120" y="2780"/>
                  </a:lnTo>
                  <a:lnTo>
                    <a:pt x="9114" y="2786"/>
                  </a:lnTo>
                  <a:lnTo>
                    <a:pt x="9108" y="2791"/>
                  </a:lnTo>
                  <a:lnTo>
                    <a:pt x="9100" y="2792"/>
                  </a:lnTo>
                  <a:lnTo>
                    <a:pt x="9090" y="2792"/>
                  </a:lnTo>
                  <a:lnTo>
                    <a:pt x="9090" y="3563"/>
                  </a:lnTo>
                  <a:lnTo>
                    <a:pt x="9090" y="4336"/>
                  </a:lnTo>
                  <a:lnTo>
                    <a:pt x="9089" y="4343"/>
                  </a:lnTo>
                  <a:lnTo>
                    <a:pt x="9084" y="4350"/>
                  </a:lnTo>
                  <a:lnTo>
                    <a:pt x="9077" y="4355"/>
                  </a:lnTo>
                  <a:lnTo>
                    <a:pt x="9070" y="4356"/>
                  </a:lnTo>
                  <a:lnTo>
                    <a:pt x="8184" y="4356"/>
                  </a:lnTo>
                  <a:lnTo>
                    <a:pt x="7297" y="4356"/>
                  </a:lnTo>
                  <a:lnTo>
                    <a:pt x="7295" y="4356"/>
                  </a:lnTo>
                  <a:lnTo>
                    <a:pt x="6656" y="4356"/>
                  </a:lnTo>
                  <a:lnTo>
                    <a:pt x="6018" y="4356"/>
                  </a:lnTo>
                  <a:lnTo>
                    <a:pt x="6010" y="4355"/>
                  </a:lnTo>
                  <a:lnTo>
                    <a:pt x="6004" y="4350"/>
                  </a:lnTo>
                  <a:lnTo>
                    <a:pt x="5999" y="4343"/>
                  </a:lnTo>
                  <a:lnTo>
                    <a:pt x="5997" y="4336"/>
                  </a:lnTo>
                  <a:lnTo>
                    <a:pt x="5997" y="3664"/>
                  </a:lnTo>
                  <a:lnTo>
                    <a:pt x="5997" y="2993"/>
                  </a:lnTo>
                  <a:lnTo>
                    <a:pt x="5997" y="2322"/>
                  </a:lnTo>
                  <a:lnTo>
                    <a:pt x="5997" y="1652"/>
                  </a:lnTo>
                  <a:lnTo>
                    <a:pt x="5999" y="1644"/>
                  </a:lnTo>
                  <a:lnTo>
                    <a:pt x="6004" y="1638"/>
                  </a:lnTo>
                  <a:lnTo>
                    <a:pt x="6010" y="1633"/>
                  </a:lnTo>
                  <a:lnTo>
                    <a:pt x="6018" y="1631"/>
                  </a:lnTo>
                  <a:lnTo>
                    <a:pt x="6132" y="1631"/>
                  </a:lnTo>
                  <a:lnTo>
                    <a:pt x="6132" y="1469"/>
                  </a:lnTo>
                  <a:lnTo>
                    <a:pt x="6133" y="1461"/>
                  </a:lnTo>
                  <a:lnTo>
                    <a:pt x="6138" y="1455"/>
                  </a:lnTo>
                  <a:lnTo>
                    <a:pt x="6145" y="1451"/>
                  </a:lnTo>
                  <a:lnTo>
                    <a:pt x="6152" y="1448"/>
                  </a:lnTo>
                  <a:lnTo>
                    <a:pt x="6595" y="1448"/>
                  </a:lnTo>
                  <a:lnTo>
                    <a:pt x="6602" y="1451"/>
                  </a:lnTo>
                  <a:lnTo>
                    <a:pt x="6609" y="1455"/>
                  </a:lnTo>
                  <a:lnTo>
                    <a:pt x="6613" y="1461"/>
                  </a:lnTo>
                  <a:lnTo>
                    <a:pt x="6614" y="1469"/>
                  </a:lnTo>
                  <a:lnTo>
                    <a:pt x="6614" y="1631"/>
                  </a:lnTo>
                  <a:lnTo>
                    <a:pt x="6738" y="1631"/>
                  </a:lnTo>
                  <a:lnTo>
                    <a:pt x="6738" y="1501"/>
                  </a:lnTo>
                  <a:lnTo>
                    <a:pt x="6740" y="1493"/>
                  </a:lnTo>
                  <a:lnTo>
                    <a:pt x="6744" y="1487"/>
                  </a:lnTo>
                  <a:lnTo>
                    <a:pt x="6750" y="1483"/>
                  </a:lnTo>
                  <a:lnTo>
                    <a:pt x="6758" y="1480"/>
                  </a:lnTo>
                  <a:lnTo>
                    <a:pt x="6909" y="1480"/>
                  </a:lnTo>
                  <a:lnTo>
                    <a:pt x="6917" y="1483"/>
                  </a:lnTo>
                  <a:lnTo>
                    <a:pt x="6923" y="1487"/>
                  </a:lnTo>
                  <a:lnTo>
                    <a:pt x="6927" y="1493"/>
                  </a:lnTo>
                  <a:lnTo>
                    <a:pt x="6928" y="1501"/>
                  </a:lnTo>
                  <a:lnTo>
                    <a:pt x="6928" y="1631"/>
                  </a:lnTo>
                  <a:lnTo>
                    <a:pt x="7297" y="1631"/>
                  </a:lnTo>
                  <a:lnTo>
                    <a:pt x="7305" y="1633"/>
                  </a:lnTo>
                  <a:lnTo>
                    <a:pt x="7312" y="1638"/>
                  </a:lnTo>
                  <a:lnTo>
                    <a:pt x="7315" y="1644"/>
                  </a:lnTo>
                  <a:lnTo>
                    <a:pt x="7317" y="1652"/>
                  </a:lnTo>
                  <a:lnTo>
                    <a:pt x="7317" y="2258"/>
                  </a:lnTo>
                  <a:lnTo>
                    <a:pt x="7864" y="2258"/>
                  </a:lnTo>
                  <a:lnTo>
                    <a:pt x="8412" y="2258"/>
                  </a:lnTo>
                  <a:close/>
                  <a:moveTo>
                    <a:pt x="8657" y="2258"/>
                  </a:moveTo>
                  <a:lnTo>
                    <a:pt x="8657" y="2156"/>
                  </a:lnTo>
                  <a:lnTo>
                    <a:pt x="8452" y="2156"/>
                  </a:lnTo>
                  <a:lnTo>
                    <a:pt x="8452" y="2258"/>
                  </a:lnTo>
                  <a:lnTo>
                    <a:pt x="8482" y="2258"/>
                  </a:lnTo>
                  <a:lnTo>
                    <a:pt x="8491" y="2259"/>
                  </a:lnTo>
                  <a:lnTo>
                    <a:pt x="8496" y="2264"/>
                  </a:lnTo>
                  <a:lnTo>
                    <a:pt x="8500" y="2271"/>
                  </a:lnTo>
                  <a:lnTo>
                    <a:pt x="8502" y="2277"/>
                  </a:lnTo>
                  <a:lnTo>
                    <a:pt x="8500" y="2285"/>
                  </a:lnTo>
                  <a:lnTo>
                    <a:pt x="8496" y="2291"/>
                  </a:lnTo>
                  <a:lnTo>
                    <a:pt x="8491" y="2296"/>
                  </a:lnTo>
                  <a:lnTo>
                    <a:pt x="8482" y="2298"/>
                  </a:lnTo>
                  <a:lnTo>
                    <a:pt x="7899" y="2298"/>
                  </a:lnTo>
                  <a:lnTo>
                    <a:pt x="7315" y="2298"/>
                  </a:lnTo>
                  <a:lnTo>
                    <a:pt x="7315" y="2565"/>
                  </a:lnTo>
                  <a:lnTo>
                    <a:pt x="8177" y="2565"/>
                  </a:lnTo>
                  <a:lnTo>
                    <a:pt x="9039" y="2565"/>
                  </a:lnTo>
                  <a:lnTo>
                    <a:pt x="8843" y="2298"/>
                  </a:lnTo>
                  <a:lnTo>
                    <a:pt x="8637" y="2298"/>
                  </a:lnTo>
                  <a:lnTo>
                    <a:pt x="8630" y="2296"/>
                  </a:lnTo>
                  <a:lnTo>
                    <a:pt x="8623" y="2291"/>
                  </a:lnTo>
                  <a:lnTo>
                    <a:pt x="8619" y="2285"/>
                  </a:lnTo>
                  <a:lnTo>
                    <a:pt x="8618" y="2277"/>
                  </a:lnTo>
                  <a:lnTo>
                    <a:pt x="8619" y="2271"/>
                  </a:lnTo>
                  <a:lnTo>
                    <a:pt x="8623" y="2264"/>
                  </a:lnTo>
                  <a:lnTo>
                    <a:pt x="8630" y="2259"/>
                  </a:lnTo>
                  <a:lnTo>
                    <a:pt x="8637" y="2258"/>
                  </a:lnTo>
                  <a:lnTo>
                    <a:pt x="8657" y="2258"/>
                  </a:lnTo>
                  <a:close/>
                  <a:moveTo>
                    <a:pt x="9075" y="2604"/>
                  </a:moveTo>
                  <a:lnTo>
                    <a:pt x="8195" y="2604"/>
                  </a:lnTo>
                  <a:lnTo>
                    <a:pt x="7315" y="2604"/>
                  </a:lnTo>
                  <a:lnTo>
                    <a:pt x="7315" y="2753"/>
                  </a:lnTo>
                  <a:lnTo>
                    <a:pt x="8192" y="2753"/>
                  </a:lnTo>
                  <a:lnTo>
                    <a:pt x="9070" y="2753"/>
                  </a:lnTo>
                  <a:lnTo>
                    <a:pt x="9081" y="2753"/>
                  </a:lnTo>
                  <a:lnTo>
                    <a:pt x="9081" y="2604"/>
                  </a:lnTo>
                  <a:lnTo>
                    <a:pt x="9075" y="2604"/>
                  </a:lnTo>
                  <a:close/>
                  <a:moveTo>
                    <a:pt x="6236" y="1893"/>
                  </a:moveTo>
                  <a:lnTo>
                    <a:pt x="6369" y="1893"/>
                  </a:lnTo>
                  <a:lnTo>
                    <a:pt x="6378" y="1895"/>
                  </a:lnTo>
                  <a:lnTo>
                    <a:pt x="6384" y="1900"/>
                  </a:lnTo>
                  <a:lnTo>
                    <a:pt x="6387" y="1906"/>
                  </a:lnTo>
                  <a:lnTo>
                    <a:pt x="6388" y="1913"/>
                  </a:lnTo>
                  <a:lnTo>
                    <a:pt x="6387" y="1920"/>
                  </a:lnTo>
                  <a:lnTo>
                    <a:pt x="6384" y="1927"/>
                  </a:lnTo>
                  <a:lnTo>
                    <a:pt x="6378" y="1932"/>
                  </a:lnTo>
                  <a:lnTo>
                    <a:pt x="6369" y="1933"/>
                  </a:lnTo>
                  <a:lnTo>
                    <a:pt x="6236" y="1933"/>
                  </a:lnTo>
                  <a:lnTo>
                    <a:pt x="6227" y="1932"/>
                  </a:lnTo>
                  <a:lnTo>
                    <a:pt x="6220" y="1927"/>
                  </a:lnTo>
                  <a:lnTo>
                    <a:pt x="6216" y="1920"/>
                  </a:lnTo>
                  <a:lnTo>
                    <a:pt x="6215" y="1913"/>
                  </a:lnTo>
                  <a:lnTo>
                    <a:pt x="6216" y="1906"/>
                  </a:lnTo>
                  <a:lnTo>
                    <a:pt x="6220" y="1900"/>
                  </a:lnTo>
                  <a:lnTo>
                    <a:pt x="6227" y="1895"/>
                  </a:lnTo>
                  <a:lnTo>
                    <a:pt x="6236" y="1893"/>
                  </a:lnTo>
                  <a:close/>
                  <a:moveTo>
                    <a:pt x="6472" y="1893"/>
                  </a:moveTo>
                  <a:lnTo>
                    <a:pt x="6605" y="1893"/>
                  </a:lnTo>
                  <a:lnTo>
                    <a:pt x="6614" y="1895"/>
                  </a:lnTo>
                  <a:lnTo>
                    <a:pt x="6620" y="1900"/>
                  </a:lnTo>
                  <a:lnTo>
                    <a:pt x="6624" y="1906"/>
                  </a:lnTo>
                  <a:lnTo>
                    <a:pt x="6626" y="1913"/>
                  </a:lnTo>
                  <a:lnTo>
                    <a:pt x="6624" y="1920"/>
                  </a:lnTo>
                  <a:lnTo>
                    <a:pt x="6620" y="1927"/>
                  </a:lnTo>
                  <a:lnTo>
                    <a:pt x="6614" y="1932"/>
                  </a:lnTo>
                  <a:lnTo>
                    <a:pt x="6605" y="1933"/>
                  </a:lnTo>
                  <a:lnTo>
                    <a:pt x="6472" y="1933"/>
                  </a:lnTo>
                  <a:lnTo>
                    <a:pt x="6464" y="1932"/>
                  </a:lnTo>
                  <a:lnTo>
                    <a:pt x="6458" y="1927"/>
                  </a:lnTo>
                  <a:lnTo>
                    <a:pt x="6454" y="1920"/>
                  </a:lnTo>
                  <a:lnTo>
                    <a:pt x="6452" y="1913"/>
                  </a:lnTo>
                  <a:lnTo>
                    <a:pt x="6454" y="1906"/>
                  </a:lnTo>
                  <a:lnTo>
                    <a:pt x="6458" y="1900"/>
                  </a:lnTo>
                  <a:lnTo>
                    <a:pt x="6464" y="1895"/>
                  </a:lnTo>
                  <a:lnTo>
                    <a:pt x="6472" y="1893"/>
                  </a:lnTo>
                  <a:close/>
                  <a:moveTo>
                    <a:pt x="6709" y="1893"/>
                  </a:moveTo>
                  <a:lnTo>
                    <a:pt x="6842" y="1893"/>
                  </a:lnTo>
                  <a:lnTo>
                    <a:pt x="6851" y="1895"/>
                  </a:lnTo>
                  <a:lnTo>
                    <a:pt x="6858" y="1900"/>
                  </a:lnTo>
                  <a:lnTo>
                    <a:pt x="6861" y="1906"/>
                  </a:lnTo>
                  <a:lnTo>
                    <a:pt x="6863" y="1913"/>
                  </a:lnTo>
                  <a:lnTo>
                    <a:pt x="6861" y="1920"/>
                  </a:lnTo>
                  <a:lnTo>
                    <a:pt x="6858" y="1927"/>
                  </a:lnTo>
                  <a:lnTo>
                    <a:pt x="6851" y="1932"/>
                  </a:lnTo>
                  <a:lnTo>
                    <a:pt x="6842" y="1933"/>
                  </a:lnTo>
                  <a:lnTo>
                    <a:pt x="6709" y="1933"/>
                  </a:lnTo>
                  <a:lnTo>
                    <a:pt x="6700" y="1932"/>
                  </a:lnTo>
                  <a:lnTo>
                    <a:pt x="6693" y="1927"/>
                  </a:lnTo>
                  <a:lnTo>
                    <a:pt x="6690" y="1920"/>
                  </a:lnTo>
                  <a:lnTo>
                    <a:pt x="6688" y="1913"/>
                  </a:lnTo>
                  <a:lnTo>
                    <a:pt x="6690" y="1906"/>
                  </a:lnTo>
                  <a:lnTo>
                    <a:pt x="6693" y="1900"/>
                  </a:lnTo>
                  <a:lnTo>
                    <a:pt x="6700" y="1895"/>
                  </a:lnTo>
                  <a:lnTo>
                    <a:pt x="6709" y="1893"/>
                  </a:lnTo>
                  <a:close/>
                  <a:moveTo>
                    <a:pt x="6946" y="1893"/>
                  </a:moveTo>
                  <a:lnTo>
                    <a:pt x="7078" y="1893"/>
                  </a:lnTo>
                  <a:lnTo>
                    <a:pt x="7087" y="1895"/>
                  </a:lnTo>
                  <a:lnTo>
                    <a:pt x="7094" y="1900"/>
                  </a:lnTo>
                  <a:lnTo>
                    <a:pt x="7097" y="1906"/>
                  </a:lnTo>
                  <a:lnTo>
                    <a:pt x="7099" y="1913"/>
                  </a:lnTo>
                  <a:lnTo>
                    <a:pt x="7097" y="1920"/>
                  </a:lnTo>
                  <a:lnTo>
                    <a:pt x="7094" y="1927"/>
                  </a:lnTo>
                  <a:lnTo>
                    <a:pt x="7087" y="1932"/>
                  </a:lnTo>
                  <a:lnTo>
                    <a:pt x="7078" y="1933"/>
                  </a:lnTo>
                  <a:lnTo>
                    <a:pt x="6946" y="1933"/>
                  </a:lnTo>
                  <a:lnTo>
                    <a:pt x="6937" y="1932"/>
                  </a:lnTo>
                  <a:lnTo>
                    <a:pt x="6931" y="1927"/>
                  </a:lnTo>
                  <a:lnTo>
                    <a:pt x="6927" y="1920"/>
                  </a:lnTo>
                  <a:lnTo>
                    <a:pt x="6926" y="1913"/>
                  </a:lnTo>
                  <a:lnTo>
                    <a:pt x="6927" y="1906"/>
                  </a:lnTo>
                  <a:lnTo>
                    <a:pt x="6931" y="1900"/>
                  </a:lnTo>
                  <a:lnTo>
                    <a:pt x="6937" y="1895"/>
                  </a:lnTo>
                  <a:lnTo>
                    <a:pt x="6946" y="1893"/>
                  </a:lnTo>
                  <a:close/>
                  <a:moveTo>
                    <a:pt x="6236" y="2156"/>
                  </a:moveTo>
                  <a:lnTo>
                    <a:pt x="6369" y="2156"/>
                  </a:lnTo>
                  <a:lnTo>
                    <a:pt x="6378" y="2158"/>
                  </a:lnTo>
                  <a:lnTo>
                    <a:pt x="6384" y="2162"/>
                  </a:lnTo>
                  <a:lnTo>
                    <a:pt x="6387" y="2168"/>
                  </a:lnTo>
                  <a:lnTo>
                    <a:pt x="6388" y="2176"/>
                  </a:lnTo>
                  <a:lnTo>
                    <a:pt x="6387" y="2184"/>
                  </a:lnTo>
                  <a:lnTo>
                    <a:pt x="6384" y="2190"/>
                  </a:lnTo>
                  <a:lnTo>
                    <a:pt x="6378" y="2194"/>
                  </a:lnTo>
                  <a:lnTo>
                    <a:pt x="6369" y="2197"/>
                  </a:lnTo>
                  <a:lnTo>
                    <a:pt x="6236" y="2197"/>
                  </a:lnTo>
                  <a:lnTo>
                    <a:pt x="6227" y="2194"/>
                  </a:lnTo>
                  <a:lnTo>
                    <a:pt x="6220" y="2190"/>
                  </a:lnTo>
                  <a:lnTo>
                    <a:pt x="6216" y="2184"/>
                  </a:lnTo>
                  <a:lnTo>
                    <a:pt x="6215" y="2176"/>
                  </a:lnTo>
                  <a:lnTo>
                    <a:pt x="6216" y="2168"/>
                  </a:lnTo>
                  <a:lnTo>
                    <a:pt x="6220" y="2162"/>
                  </a:lnTo>
                  <a:lnTo>
                    <a:pt x="6227" y="2158"/>
                  </a:lnTo>
                  <a:lnTo>
                    <a:pt x="6236" y="2156"/>
                  </a:lnTo>
                  <a:close/>
                  <a:moveTo>
                    <a:pt x="6472" y="2156"/>
                  </a:moveTo>
                  <a:lnTo>
                    <a:pt x="6605" y="2156"/>
                  </a:lnTo>
                  <a:lnTo>
                    <a:pt x="6614" y="2158"/>
                  </a:lnTo>
                  <a:lnTo>
                    <a:pt x="6620" y="2162"/>
                  </a:lnTo>
                  <a:lnTo>
                    <a:pt x="6624" y="2168"/>
                  </a:lnTo>
                  <a:lnTo>
                    <a:pt x="6626" y="2176"/>
                  </a:lnTo>
                  <a:lnTo>
                    <a:pt x="6624" y="2184"/>
                  </a:lnTo>
                  <a:lnTo>
                    <a:pt x="6620" y="2190"/>
                  </a:lnTo>
                  <a:lnTo>
                    <a:pt x="6614" y="2194"/>
                  </a:lnTo>
                  <a:lnTo>
                    <a:pt x="6605" y="2197"/>
                  </a:lnTo>
                  <a:lnTo>
                    <a:pt x="6472" y="2197"/>
                  </a:lnTo>
                  <a:lnTo>
                    <a:pt x="6464" y="2194"/>
                  </a:lnTo>
                  <a:lnTo>
                    <a:pt x="6458" y="2190"/>
                  </a:lnTo>
                  <a:lnTo>
                    <a:pt x="6454" y="2184"/>
                  </a:lnTo>
                  <a:lnTo>
                    <a:pt x="6452" y="2176"/>
                  </a:lnTo>
                  <a:lnTo>
                    <a:pt x="6454" y="2168"/>
                  </a:lnTo>
                  <a:lnTo>
                    <a:pt x="6458" y="2162"/>
                  </a:lnTo>
                  <a:lnTo>
                    <a:pt x="6464" y="2158"/>
                  </a:lnTo>
                  <a:lnTo>
                    <a:pt x="6472" y="2156"/>
                  </a:lnTo>
                  <a:close/>
                  <a:moveTo>
                    <a:pt x="6709" y="2156"/>
                  </a:moveTo>
                  <a:lnTo>
                    <a:pt x="6842" y="2156"/>
                  </a:lnTo>
                  <a:lnTo>
                    <a:pt x="6851" y="2158"/>
                  </a:lnTo>
                  <a:lnTo>
                    <a:pt x="6858" y="2162"/>
                  </a:lnTo>
                  <a:lnTo>
                    <a:pt x="6861" y="2168"/>
                  </a:lnTo>
                  <a:lnTo>
                    <a:pt x="6863" y="2176"/>
                  </a:lnTo>
                  <a:lnTo>
                    <a:pt x="6861" y="2184"/>
                  </a:lnTo>
                  <a:lnTo>
                    <a:pt x="6858" y="2190"/>
                  </a:lnTo>
                  <a:lnTo>
                    <a:pt x="6851" y="2194"/>
                  </a:lnTo>
                  <a:lnTo>
                    <a:pt x="6842" y="2197"/>
                  </a:lnTo>
                  <a:lnTo>
                    <a:pt x="6709" y="2197"/>
                  </a:lnTo>
                  <a:lnTo>
                    <a:pt x="6700" y="2194"/>
                  </a:lnTo>
                  <a:lnTo>
                    <a:pt x="6693" y="2190"/>
                  </a:lnTo>
                  <a:lnTo>
                    <a:pt x="6690" y="2184"/>
                  </a:lnTo>
                  <a:lnTo>
                    <a:pt x="6688" y="2176"/>
                  </a:lnTo>
                  <a:lnTo>
                    <a:pt x="6690" y="2168"/>
                  </a:lnTo>
                  <a:lnTo>
                    <a:pt x="6693" y="2162"/>
                  </a:lnTo>
                  <a:lnTo>
                    <a:pt x="6700" y="2158"/>
                  </a:lnTo>
                  <a:lnTo>
                    <a:pt x="6709" y="2156"/>
                  </a:lnTo>
                  <a:close/>
                  <a:moveTo>
                    <a:pt x="6946" y="2156"/>
                  </a:moveTo>
                  <a:lnTo>
                    <a:pt x="7078" y="2156"/>
                  </a:lnTo>
                  <a:lnTo>
                    <a:pt x="7087" y="2158"/>
                  </a:lnTo>
                  <a:lnTo>
                    <a:pt x="7094" y="2162"/>
                  </a:lnTo>
                  <a:lnTo>
                    <a:pt x="7097" y="2168"/>
                  </a:lnTo>
                  <a:lnTo>
                    <a:pt x="7099" y="2176"/>
                  </a:lnTo>
                  <a:lnTo>
                    <a:pt x="7097" y="2184"/>
                  </a:lnTo>
                  <a:lnTo>
                    <a:pt x="7094" y="2190"/>
                  </a:lnTo>
                  <a:lnTo>
                    <a:pt x="7087" y="2194"/>
                  </a:lnTo>
                  <a:lnTo>
                    <a:pt x="7078" y="2197"/>
                  </a:lnTo>
                  <a:lnTo>
                    <a:pt x="6946" y="2197"/>
                  </a:lnTo>
                  <a:lnTo>
                    <a:pt x="6937" y="2194"/>
                  </a:lnTo>
                  <a:lnTo>
                    <a:pt x="6931" y="2190"/>
                  </a:lnTo>
                  <a:lnTo>
                    <a:pt x="6927" y="2184"/>
                  </a:lnTo>
                  <a:lnTo>
                    <a:pt x="6926" y="2176"/>
                  </a:lnTo>
                  <a:lnTo>
                    <a:pt x="6927" y="2168"/>
                  </a:lnTo>
                  <a:lnTo>
                    <a:pt x="6931" y="2162"/>
                  </a:lnTo>
                  <a:lnTo>
                    <a:pt x="6937" y="2158"/>
                  </a:lnTo>
                  <a:lnTo>
                    <a:pt x="6946" y="2156"/>
                  </a:lnTo>
                  <a:close/>
                  <a:moveTo>
                    <a:pt x="6236" y="2419"/>
                  </a:moveTo>
                  <a:lnTo>
                    <a:pt x="6369" y="2419"/>
                  </a:lnTo>
                  <a:lnTo>
                    <a:pt x="6378" y="2420"/>
                  </a:lnTo>
                  <a:lnTo>
                    <a:pt x="6384" y="2425"/>
                  </a:lnTo>
                  <a:lnTo>
                    <a:pt x="6387" y="2432"/>
                  </a:lnTo>
                  <a:lnTo>
                    <a:pt x="6388" y="2439"/>
                  </a:lnTo>
                  <a:lnTo>
                    <a:pt x="6387" y="2446"/>
                  </a:lnTo>
                  <a:lnTo>
                    <a:pt x="6384" y="2452"/>
                  </a:lnTo>
                  <a:lnTo>
                    <a:pt x="6378" y="2457"/>
                  </a:lnTo>
                  <a:lnTo>
                    <a:pt x="6369" y="2459"/>
                  </a:lnTo>
                  <a:lnTo>
                    <a:pt x="6236" y="2459"/>
                  </a:lnTo>
                  <a:lnTo>
                    <a:pt x="6227" y="2457"/>
                  </a:lnTo>
                  <a:lnTo>
                    <a:pt x="6220" y="2452"/>
                  </a:lnTo>
                  <a:lnTo>
                    <a:pt x="6216" y="2446"/>
                  </a:lnTo>
                  <a:lnTo>
                    <a:pt x="6215" y="2439"/>
                  </a:lnTo>
                  <a:lnTo>
                    <a:pt x="6216" y="2432"/>
                  </a:lnTo>
                  <a:lnTo>
                    <a:pt x="6220" y="2425"/>
                  </a:lnTo>
                  <a:lnTo>
                    <a:pt x="6227" y="2420"/>
                  </a:lnTo>
                  <a:lnTo>
                    <a:pt x="6236" y="2419"/>
                  </a:lnTo>
                  <a:close/>
                  <a:moveTo>
                    <a:pt x="6472" y="2419"/>
                  </a:moveTo>
                  <a:lnTo>
                    <a:pt x="6605" y="2419"/>
                  </a:lnTo>
                  <a:lnTo>
                    <a:pt x="6614" y="2420"/>
                  </a:lnTo>
                  <a:lnTo>
                    <a:pt x="6620" y="2425"/>
                  </a:lnTo>
                  <a:lnTo>
                    <a:pt x="6624" y="2432"/>
                  </a:lnTo>
                  <a:lnTo>
                    <a:pt x="6626" y="2439"/>
                  </a:lnTo>
                  <a:lnTo>
                    <a:pt x="6624" y="2446"/>
                  </a:lnTo>
                  <a:lnTo>
                    <a:pt x="6620" y="2452"/>
                  </a:lnTo>
                  <a:lnTo>
                    <a:pt x="6614" y="2457"/>
                  </a:lnTo>
                  <a:lnTo>
                    <a:pt x="6605" y="2459"/>
                  </a:lnTo>
                  <a:lnTo>
                    <a:pt x="6472" y="2459"/>
                  </a:lnTo>
                  <a:lnTo>
                    <a:pt x="6464" y="2457"/>
                  </a:lnTo>
                  <a:lnTo>
                    <a:pt x="6458" y="2452"/>
                  </a:lnTo>
                  <a:lnTo>
                    <a:pt x="6454" y="2446"/>
                  </a:lnTo>
                  <a:lnTo>
                    <a:pt x="6452" y="2439"/>
                  </a:lnTo>
                  <a:lnTo>
                    <a:pt x="6454" y="2432"/>
                  </a:lnTo>
                  <a:lnTo>
                    <a:pt x="6458" y="2425"/>
                  </a:lnTo>
                  <a:lnTo>
                    <a:pt x="6464" y="2420"/>
                  </a:lnTo>
                  <a:lnTo>
                    <a:pt x="6472" y="2419"/>
                  </a:lnTo>
                  <a:close/>
                  <a:moveTo>
                    <a:pt x="6709" y="2419"/>
                  </a:moveTo>
                  <a:lnTo>
                    <a:pt x="6842" y="2419"/>
                  </a:lnTo>
                  <a:lnTo>
                    <a:pt x="6851" y="2420"/>
                  </a:lnTo>
                  <a:lnTo>
                    <a:pt x="6858" y="2425"/>
                  </a:lnTo>
                  <a:lnTo>
                    <a:pt x="6861" y="2432"/>
                  </a:lnTo>
                  <a:lnTo>
                    <a:pt x="6863" y="2439"/>
                  </a:lnTo>
                  <a:lnTo>
                    <a:pt x="6861" y="2446"/>
                  </a:lnTo>
                  <a:lnTo>
                    <a:pt x="6858" y="2452"/>
                  </a:lnTo>
                  <a:lnTo>
                    <a:pt x="6851" y="2457"/>
                  </a:lnTo>
                  <a:lnTo>
                    <a:pt x="6842" y="2459"/>
                  </a:lnTo>
                  <a:lnTo>
                    <a:pt x="6709" y="2459"/>
                  </a:lnTo>
                  <a:lnTo>
                    <a:pt x="6700" y="2457"/>
                  </a:lnTo>
                  <a:lnTo>
                    <a:pt x="6693" y="2452"/>
                  </a:lnTo>
                  <a:lnTo>
                    <a:pt x="6690" y="2446"/>
                  </a:lnTo>
                  <a:lnTo>
                    <a:pt x="6688" y="2439"/>
                  </a:lnTo>
                  <a:lnTo>
                    <a:pt x="6690" y="2432"/>
                  </a:lnTo>
                  <a:lnTo>
                    <a:pt x="6693" y="2425"/>
                  </a:lnTo>
                  <a:lnTo>
                    <a:pt x="6700" y="2420"/>
                  </a:lnTo>
                  <a:lnTo>
                    <a:pt x="6709" y="2419"/>
                  </a:lnTo>
                  <a:close/>
                  <a:moveTo>
                    <a:pt x="6946" y="2419"/>
                  </a:moveTo>
                  <a:lnTo>
                    <a:pt x="7078" y="2419"/>
                  </a:lnTo>
                  <a:lnTo>
                    <a:pt x="7087" y="2420"/>
                  </a:lnTo>
                  <a:lnTo>
                    <a:pt x="7094" y="2425"/>
                  </a:lnTo>
                  <a:lnTo>
                    <a:pt x="7097" y="2432"/>
                  </a:lnTo>
                  <a:lnTo>
                    <a:pt x="7099" y="2439"/>
                  </a:lnTo>
                  <a:lnTo>
                    <a:pt x="7097" y="2446"/>
                  </a:lnTo>
                  <a:lnTo>
                    <a:pt x="7094" y="2452"/>
                  </a:lnTo>
                  <a:lnTo>
                    <a:pt x="7087" y="2457"/>
                  </a:lnTo>
                  <a:lnTo>
                    <a:pt x="7078" y="2459"/>
                  </a:lnTo>
                  <a:lnTo>
                    <a:pt x="6946" y="2459"/>
                  </a:lnTo>
                  <a:lnTo>
                    <a:pt x="6937" y="2457"/>
                  </a:lnTo>
                  <a:lnTo>
                    <a:pt x="6931" y="2452"/>
                  </a:lnTo>
                  <a:lnTo>
                    <a:pt x="6927" y="2446"/>
                  </a:lnTo>
                  <a:lnTo>
                    <a:pt x="6926" y="2439"/>
                  </a:lnTo>
                  <a:lnTo>
                    <a:pt x="6927" y="2432"/>
                  </a:lnTo>
                  <a:lnTo>
                    <a:pt x="6931" y="2425"/>
                  </a:lnTo>
                  <a:lnTo>
                    <a:pt x="6937" y="2420"/>
                  </a:lnTo>
                  <a:lnTo>
                    <a:pt x="6946" y="2419"/>
                  </a:lnTo>
                  <a:close/>
                  <a:moveTo>
                    <a:pt x="6236" y="2682"/>
                  </a:moveTo>
                  <a:lnTo>
                    <a:pt x="6369" y="2682"/>
                  </a:lnTo>
                  <a:lnTo>
                    <a:pt x="6378" y="2684"/>
                  </a:lnTo>
                  <a:lnTo>
                    <a:pt x="6384" y="2689"/>
                  </a:lnTo>
                  <a:lnTo>
                    <a:pt x="6387" y="2695"/>
                  </a:lnTo>
                  <a:lnTo>
                    <a:pt x="6388" y="2702"/>
                  </a:lnTo>
                  <a:lnTo>
                    <a:pt x="6387" y="2709"/>
                  </a:lnTo>
                  <a:lnTo>
                    <a:pt x="6384" y="2716"/>
                  </a:lnTo>
                  <a:lnTo>
                    <a:pt x="6378" y="2721"/>
                  </a:lnTo>
                  <a:lnTo>
                    <a:pt x="6369" y="2722"/>
                  </a:lnTo>
                  <a:lnTo>
                    <a:pt x="6236" y="2722"/>
                  </a:lnTo>
                  <a:lnTo>
                    <a:pt x="6227" y="2721"/>
                  </a:lnTo>
                  <a:lnTo>
                    <a:pt x="6220" y="2716"/>
                  </a:lnTo>
                  <a:lnTo>
                    <a:pt x="6216" y="2709"/>
                  </a:lnTo>
                  <a:lnTo>
                    <a:pt x="6215" y="2702"/>
                  </a:lnTo>
                  <a:lnTo>
                    <a:pt x="6216" y="2695"/>
                  </a:lnTo>
                  <a:lnTo>
                    <a:pt x="6220" y="2689"/>
                  </a:lnTo>
                  <a:lnTo>
                    <a:pt x="6227" y="2684"/>
                  </a:lnTo>
                  <a:lnTo>
                    <a:pt x="6236" y="2682"/>
                  </a:lnTo>
                  <a:close/>
                  <a:moveTo>
                    <a:pt x="6472" y="2682"/>
                  </a:moveTo>
                  <a:lnTo>
                    <a:pt x="6605" y="2682"/>
                  </a:lnTo>
                  <a:lnTo>
                    <a:pt x="6614" y="2684"/>
                  </a:lnTo>
                  <a:lnTo>
                    <a:pt x="6620" y="2689"/>
                  </a:lnTo>
                  <a:lnTo>
                    <a:pt x="6624" y="2695"/>
                  </a:lnTo>
                  <a:lnTo>
                    <a:pt x="6626" y="2702"/>
                  </a:lnTo>
                  <a:lnTo>
                    <a:pt x="6624" y="2709"/>
                  </a:lnTo>
                  <a:lnTo>
                    <a:pt x="6620" y="2716"/>
                  </a:lnTo>
                  <a:lnTo>
                    <a:pt x="6614" y="2721"/>
                  </a:lnTo>
                  <a:lnTo>
                    <a:pt x="6605" y="2722"/>
                  </a:lnTo>
                  <a:lnTo>
                    <a:pt x="6472" y="2722"/>
                  </a:lnTo>
                  <a:lnTo>
                    <a:pt x="6464" y="2721"/>
                  </a:lnTo>
                  <a:lnTo>
                    <a:pt x="6458" y="2716"/>
                  </a:lnTo>
                  <a:lnTo>
                    <a:pt x="6454" y="2709"/>
                  </a:lnTo>
                  <a:lnTo>
                    <a:pt x="6452" y="2702"/>
                  </a:lnTo>
                  <a:lnTo>
                    <a:pt x="6454" y="2695"/>
                  </a:lnTo>
                  <a:lnTo>
                    <a:pt x="6458" y="2689"/>
                  </a:lnTo>
                  <a:lnTo>
                    <a:pt x="6464" y="2684"/>
                  </a:lnTo>
                  <a:lnTo>
                    <a:pt x="6472" y="2682"/>
                  </a:lnTo>
                  <a:close/>
                  <a:moveTo>
                    <a:pt x="6709" y="2682"/>
                  </a:moveTo>
                  <a:lnTo>
                    <a:pt x="6842" y="2682"/>
                  </a:lnTo>
                  <a:lnTo>
                    <a:pt x="6851" y="2684"/>
                  </a:lnTo>
                  <a:lnTo>
                    <a:pt x="6858" y="2689"/>
                  </a:lnTo>
                  <a:lnTo>
                    <a:pt x="6861" y="2695"/>
                  </a:lnTo>
                  <a:lnTo>
                    <a:pt x="6863" y="2702"/>
                  </a:lnTo>
                  <a:lnTo>
                    <a:pt x="6861" y="2709"/>
                  </a:lnTo>
                  <a:lnTo>
                    <a:pt x="6858" y="2716"/>
                  </a:lnTo>
                  <a:lnTo>
                    <a:pt x="6851" y="2721"/>
                  </a:lnTo>
                  <a:lnTo>
                    <a:pt x="6842" y="2722"/>
                  </a:lnTo>
                  <a:lnTo>
                    <a:pt x="6709" y="2722"/>
                  </a:lnTo>
                  <a:lnTo>
                    <a:pt x="6700" y="2721"/>
                  </a:lnTo>
                  <a:lnTo>
                    <a:pt x="6693" y="2716"/>
                  </a:lnTo>
                  <a:lnTo>
                    <a:pt x="6690" y="2709"/>
                  </a:lnTo>
                  <a:lnTo>
                    <a:pt x="6688" y="2702"/>
                  </a:lnTo>
                  <a:lnTo>
                    <a:pt x="6690" y="2695"/>
                  </a:lnTo>
                  <a:lnTo>
                    <a:pt x="6693" y="2689"/>
                  </a:lnTo>
                  <a:lnTo>
                    <a:pt x="6700" y="2684"/>
                  </a:lnTo>
                  <a:lnTo>
                    <a:pt x="6709" y="2682"/>
                  </a:lnTo>
                  <a:close/>
                  <a:moveTo>
                    <a:pt x="6946" y="2682"/>
                  </a:moveTo>
                  <a:lnTo>
                    <a:pt x="7078" y="2682"/>
                  </a:lnTo>
                  <a:lnTo>
                    <a:pt x="7087" y="2684"/>
                  </a:lnTo>
                  <a:lnTo>
                    <a:pt x="7094" y="2689"/>
                  </a:lnTo>
                  <a:lnTo>
                    <a:pt x="7097" y="2695"/>
                  </a:lnTo>
                  <a:lnTo>
                    <a:pt x="7099" y="2702"/>
                  </a:lnTo>
                  <a:lnTo>
                    <a:pt x="7097" y="2709"/>
                  </a:lnTo>
                  <a:lnTo>
                    <a:pt x="7094" y="2716"/>
                  </a:lnTo>
                  <a:lnTo>
                    <a:pt x="7087" y="2721"/>
                  </a:lnTo>
                  <a:lnTo>
                    <a:pt x="7078" y="2722"/>
                  </a:lnTo>
                  <a:lnTo>
                    <a:pt x="6946" y="2722"/>
                  </a:lnTo>
                  <a:lnTo>
                    <a:pt x="6937" y="2721"/>
                  </a:lnTo>
                  <a:lnTo>
                    <a:pt x="6931" y="2716"/>
                  </a:lnTo>
                  <a:lnTo>
                    <a:pt x="6927" y="2709"/>
                  </a:lnTo>
                  <a:lnTo>
                    <a:pt x="6926" y="2702"/>
                  </a:lnTo>
                  <a:lnTo>
                    <a:pt x="6927" y="2695"/>
                  </a:lnTo>
                  <a:lnTo>
                    <a:pt x="6931" y="2689"/>
                  </a:lnTo>
                  <a:lnTo>
                    <a:pt x="6937" y="2684"/>
                  </a:lnTo>
                  <a:lnTo>
                    <a:pt x="6946" y="2682"/>
                  </a:lnTo>
                  <a:close/>
                  <a:moveTo>
                    <a:pt x="6236" y="2946"/>
                  </a:moveTo>
                  <a:lnTo>
                    <a:pt x="6369" y="2946"/>
                  </a:lnTo>
                  <a:lnTo>
                    <a:pt x="6378" y="2947"/>
                  </a:lnTo>
                  <a:lnTo>
                    <a:pt x="6384" y="2951"/>
                  </a:lnTo>
                  <a:lnTo>
                    <a:pt x="6387" y="2957"/>
                  </a:lnTo>
                  <a:lnTo>
                    <a:pt x="6388" y="2965"/>
                  </a:lnTo>
                  <a:lnTo>
                    <a:pt x="6387" y="2973"/>
                  </a:lnTo>
                  <a:lnTo>
                    <a:pt x="6384" y="2979"/>
                  </a:lnTo>
                  <a:lnTo>
                    <a:pt x="6378" y="2983"/>
                  </a:lnTo>
                  <a:lnTo>
                    <a:pt x="6369" y="2985"/>
                  </a:lnTo>
                  <a:lnTo>
                    <a:pt x="6236" y="2985"/>
                  </a:lnTo>
                  <a:lnTo>
                    <a:pt x="6227" y="2983"/>
                  </a:lnTo>
                  <a:lnTo>
                    <a:pt x="6220" y="2979"/>
                  </a:lnTo>
                  <a:lnTo>
                    <a:pt x="6216" y="2973"/>
                  </a:lnTo>
                  <a:lnTo>
                    <a:pt x="6215" y="2965"/>
                  </a:lnTo>
                  <a:lnTo>
                    <a:pt x="6216" y="2957"/>
                  </a:lnTo>
                  <a:lnTo>
                    <a:pt x="6220" y="2951"/>
                  </a:lnTo>
                  <a:lnTo>
                    <a:pt x="6227" y="2947"/>
                  </a:lnTo>
                  <a:lnTo>
                    <a:pt x="6236" y="2946"/>
                  </a:lnTo>
                  <a:close/>
                  <a:moveTo>
                    <a:pt x="6472" y="2946"/>
                  </a:moveTo>
                  <a:lnTo>
                    <a:pt x="6605" y="2946"/>
                  </a:lnTo>
                  <a:lnTo>
                    <a:pt x="6614" y="2947"/>
                  </a:lnTo>
                  <a:lnTo>
                    <a:pt x="6620" y="2951"/>
                  </a:lnTo>
                  <a:lnTo>
                    <a:pt x="6624" y="2957"/>
                  </a:lnTo>
                  <a:lnTo>
                    <a:pt x="6626" y="2965"/>
                  </a:lnTo>
                  <a:lnTo>
                    <a:pt x="6624" y="2973"/>
                  </a:lnTo>
                  <a:lnTo>
                    <a:pt x="6620" y="2979"/>
                  </a:lnTo>
                  <a:lnTo>
                    <a:pt x="6614" y="2983"/>
                  </a:lnTo>
                  <a:lnTo>
                    <a:pt x="6605" y="2985"/>
                  </a:lnTo>
                  <a:lnTo>
                    <a:pt x="6472" y="2985"/>
                  </a:lnTo>
                  <a:lnTo>
                    <a:pt x="6464" y="2983"/>
                  </a:lnTo>
                  <a:lnTo>
                    <a:pt x="6458" y="2979"/>
                  </a:lnTo>
                  <a:lnTo>
                    <a:pt x="6454" y="2973"/>
                  </a:lnTo>
                  <a:lnTo>
                    <a:pt x="6452" y="2965"/>
                  </a:lnTo>
                  <a:lnTo>
                    <a:pt x="6454" y="2957"/>
                  </a:lnTo>
                  <a:lnTo>
                    <a:pt x="6458" y="2951"/>
                  </a:lnTo>
                  <a:lnTo>
                    <a:pt x="6464" y="2947"/>
                  </a:lnTo>
                  <a:lnTo>
                    <a:pt x="6472" y="2946"/>
                  </a:lnTo>
                  <a:close/>
                  <a:moveTo>
                    <a:pt x="6709" y="2946"/>
                  </a:moveTo>
                  <a:lnTo>
                    <a:pt x="6842" y="2946"/>
                  </a:lnTo>
                  <a:lnTo>
                    <a:pt x="6851" y="2947"/>
                  </a:lnTo>
                  <a:lnTo>
                    <a:pt x="6858" y="2951"/>
                  </a:lnTo>
                  <a:lnTo>
                    <a:pt x="6861" y="2957"/>
                  </a:lnTo>
                  <a:lnTo>
                    <a:pt x="6863" y="2965"/>
                  </a:lnTo>
                  <a:lnTo>
                    <a:pt x="6861" y="2973"/>
                  </a:lnTo>
                  <a:lnTo>
                    <a:pt x="6858" y="2979"/>
                  </a:lnTo>
                  <a:lnTo>
                    <a:pt x="6851" y="2983"/>
                  </a:lnTo>
                  <a:lnTo>
                    <a:pt x="6842" y="2985"/>
                  </a:lnTo>
                  <a:lnTo>
                    <a:pt x="6709" y="2985"/>
                  </a:lnTo>
                  <a:lnTo>
                    <a:pt x="6700" y="2983"/>
                  </a:lnTo>
                  <a:lnTo>
                    <a:pt x="6693" y="2979"/>
                  </a:lnTo>
                  <a:lnTo>
                    <a:pt x="6690" y="2973"/>
                  </a:lnTo>
                  <a:lnTo>
                    <a:pt x="6688" y="2965"/>
                  </a:lnTo>
                  <a:lnTo>
                    <a:pt x="6690" y="2957"/>
                  </a:lnTo>
                  <a:lnTo>
                    <a:pt x="6693" y="2951"/>
                  </a:lnTo>
                  <a:lnTo>
                    <a:pt x="6700" y="2947"/>
                  </a:lnTo>
                  <a:lnTo>
                    <a:pt x="6709" y="2946"/>
                  </a:lnTo>
                  <a:close/>
                  <a:moveTo>
                    <a:pt x="6946" y="2946"/>
                  </a:moveTo>
                  <a:lnTo>
                    <a:pt x="7078" y="2946"/>
                  </a:lnTo>
                  <a:lnTo>
                    <a:pt x="7087" y="2947"/>
                  </a:lnTo>
                  <a:lnTo>
                    <a:pt x="7094" y="2951"/>
                  </a:lnTo>
                  <a:lnTo>
                    <a:pt x="7097" y="2957"/>
                  </a:lnTo>
                  <a:lnTo>
                    <a:pt x="7099" y="2965"/>
                  </a:lnTo>
                  <a:lnTo>
                    <a:pt x="7097" y="2973"/>
                  </a:lnTo>
                  <a:lnTo>
                    <a:pt x="7094" y="2979"/>
                  </a:lnTo>
                  <a:lnTo>
                    <a:pt x="7087" y="2983"/>
                  </a:lnTo>
                  <a:lnTo>
                    <a:pt x="7078" y="2985"/>
                  </a:lnTo>
                  <a:lnTo>
                    <a:pt x="6946" y="2985"/>
                  </a:lnTo>
                  <a:lnTo>
                    <a:pt x="6937" y="2983"/>
                  </a:lnTo>
                  <a:lnTo>
                    <a:pt x="6931" y="2979"/>
                  </a:lnTo>
                  <a:lnTo>
                    <a:pt x="6927" y="2973"/>
                  </a:lnTo>
                  <a:lnTo>
                    <a:pt x="6926" y="2965"/>
                  </a:lnTo>
                  <a:lnTo>
                    <a:pt x="6927" y="2957"/>
                  </a:lnTo>
                  <a:lnTo>
                    <a:pt x="6931" y="2951"/>
                  </a:lnTo>
                  <a:lnTo>
                    <a:pt x="6937" y="2947"/>
                  </a:lnTo>
                  <a:lnTo>
                    <a:pt x="6946" y="2946"/>
                  </a:lnTo>
                  <a:close/>
                  <a:moveTo>
                    <a:pt x="6236" y="3208"/>
                  </a:moveTo>
                  <a:lnTo>
                    <a:pt x="6369" y="3208"/>
                  </a:lnTo>
                  <a:lnTo>
                    <a:pt x="6378" y="3211"/>
                  </a:lnTo>
                  <a:lnTo>
                    <a:pt x="6384" y="3214"/>
                  </a:lnTo>
                  <a:lnTo>
                    <a:pt x="6387" y="3221"/>
                  </a:lnTo>
                  <a:lnTo>
                    <a:pt x="6388" y="3228"/>
                  </a:lnTo>
                  <a:lnTo>
                    <a:pt x="6387" y="3236"/>
                  </a:lnTo>
                  <a:lnTo>
                    <a:pt x="6384" y="3242"/>
                  </a:lnTo>
                  <a:lnTo>
                    <a:pt x="6378" y="3246"/>
                  </a:lnTo>
                  <a:lnTo>
                    <a:pt x="6369" y="3248"/>
                  </a:lnTo>
                  <a:lnTo>
                    <a:pt x="6236" y="3248"/>
                  </a:lnTo>
                  <a:lnTo>
                    <a:pt x="6227" y="3246"/>
                  </a:lnTo>
                  <a:lnTo>
                    <a:pt x="6220" y="3242"/>
                  </a:lnTo>
                  <a:lnTo>
                    <a:pt x="6216" y="3236"/>
                  </a:lnTo>
                  <a:lnTo>
                    <a:pt x="6215" y="3228"/>
                  </a:lnTo>
                  <a:lnTo>
                    <a:pt x="6216" y="3221"/>
                  </a:lnTo>
                  <a:lnTo>
                    <a:pt x="6220" y="3214"/>
                  </a:lnTo>
                  <a:lnTo>
                    <a:pt x="6227" y="3211"/>
                  </a:lnTo>
                  <a:lnTo>
                    <a:pt x="6236" y="3208"/>
                  </a:lnTo>
                  <a:close/>
                  <a:moveTo>
                    <a:pt x="6472" y="3208"/>
                  </a:moveTo>
                  <a:lnTo>
                    <a:pt x="6605" y="3208"/>
                  </a:lnTo>
                  <a:lnTo>
                    <a:pt x="6614" y="3211"/>
                  </a:lnTo>
                  <a:lnTo>
                    <a:pt x="6620" y="3214"/>
                  </a:lnTo>
                  <a:lnTo>
                    <a:pt x="6624" y="3221"/>
                  </a:lnTo>
                  <a:lnTo>
                    <a:pt x="6626" y="3228"/>
                  </a:lnTo>
                  <a:lnTo>
                    <a:pt x="6624" y="3236"/>
                  </a:lnTo>
                  <a:lnTo>
                    <a:pt x="6620" y="3242"/>
                  </a:lnTo>
                  <a:lnTo>
                    <a:pt x="6614" y="3246"/>
                  </a:lnTo>
                  <a:lnTo>
                    <a:pt x="6605" y="3248"/>
                  </a:lnTo>
                  <a:lnTo>
                    <a:pt x="6472" y="3248"/>
                  </a:lnTo>
                  <a:lnTo>
                    <a:pt x="6464" y="3246"/>
                  </a:lnTo>
                  <a:lnTo>
                    <a:pt x="6458" y="3242"/>
                  </a:lnTo>
                  <a:lnTo>
                    <a:pt x="6454" y="3236"/>
                  </a:lnTo>
                  <a:lnTo>
                    <a:pt x="6452" y="3228"/>
                  </a:lnTo>
                  <a:lnTo>
                    <a:pt x="6454" y="3221"/>
                  </a:lnTo>
                  <a:lnTo>
                    <a:pt x="6458" y="3214"/>
                  </a:lnTo>
                  <a:lnTo>
                    <a:pt x="6464" y="3211"/>
                  </a:lnTo>
                  <a:lnTo>
                    <a:pt x="6472" y="3208"/>
                  </a:lnTo>
                  <a:close/>
                  <a:moveTo>
                    <a:pt x="6709" y="3208"/>
                  </a:moveTo>
                  <a:lnTo>
                    <a:pt x="6842" y="3208"/>
                  </a:lnTo>
                  <a:lnTo>
                    <a:pt x="6851" y="3211"/>
                  </a:lnTo>
                  <a:lnTo>
                    <a:pt x="6858" y="3214"/>
                  </a:lnTo>
                  <a:lnTo>
                    <a:pt x="6861" y="3221"/>
                  </a:lnTo>
                  <a:lnTo>
                    <a:pt x="6863" y="3228"/>
                  </a:lnTo>
                  <a:lnTo>
                    <a:pt x="6861" y="3236"/>
                  </a:lnTo>
                  <a:lnTo>
                    <a:pt x="6858" y="3242"/>
                  </a:lnTo>
                  <a:lnTo>
                    <a:pt x="6851" y="3246"/>
                  </a:lnTo>
                  <a:lnTo>
                    <a:pt x="6842" y="3248"/>
                  </a:lnTo>
                  <a:lnTo>
                    <a:pt x="6709" y="3248"/>
                  </a:lnTo>
                  <a:lnTo>
                    <a:pt x="6700" y="3246"/>
                  </a:lnTo>
                  <a:lnTo>
                    <a:pt x="6693" y="3242"/>
                  </a:lnTo>
                  <a:lnTo>
                    <a:pt x="6690" y="3236"/>
                  </a:lnTo>
                  <a:lnTo>
                    <a:pt x="6688" y="3228"/>
                  </a:lnTo>
                  <a:lnTo>
                    <a:pt x="6690" y="3221"/>
                  </a:lnTo>
                  <a:lnTo>
                    <a:pt x="6693" y="3214"/>
                  </a:lnTo>
                  <a:lnTo>
                    <a:pt x="6700" y="3211"/>
                  </a:lnTo>
                  <a:lnTo>
                    <a:pt x="6709" y="3208"/>
                  </a:lnTo>
                  <a:close/>
                  <a:moveTo>
                    <a:pt x="6946" y="3208"/>
                  </a:moveTo>
                  <a:lnTo>
                    <a:pt x="7078" y="3208"/>
                  </a:lnTo>
                  <a:lnTo>
                    <a:pt x="7087" y="3211"/>
                  </a:lnTo>
                  <a:lnTo>
                    <a:pt x="7094" y="3214"/>
                  </a:lnTo>
                  <a:lnTo>
                    <a:pt x="7097" y="3221"/>
                  </a:lnTo>
                  <a:lnTo>
                    <a:pt x="7099" y="3228"/>
                  </a:lnTo>
                  <a:lnTo>
                    <a:pt x="7097" y="3236"/>
                  </a:lnTo>
                  <a:lnTo>
                    <a:pt x="7094" y="3242"/>
                  </a:lnTo>
                  <a:lnTo>
                    <a:pt x="7087" y="3246"/>
                  </a:lnTo>
                  <a:lnTo>
                    <a:pt x="7078" y="3248"/>
                  </a:lnTo>
                  <a:lnTo>
                    <a:pt x="6946" y="3248"/>
                  </a:lnTo>
                  <a:lnTo>
                    <a:pt x="6937" y="3246"/>
                  </a:lnTo>
                  <a:lnTo>
                    <a:pt x="6931" y="3242"/>
                  </a:lnTo>
                  <a:lnTo>
                    <a:pt x="6927" y="3236"/>
                  </a:lnTo>
                  <a:lnTo>
                    <a:pt x="6926" y="3228"/>
                  </a:lnTo>
                  <a:lnTo>
                    <a:pt x="6927" y="3221"/>
                  </a:lnTo>
                  <a:lnTo>
                    <a:pt x="6931" y="3214"/>
                  </a:lnTo>
                  <a:lnTo>
                    <a:pt x="6937" y="3211"/>
                  </a:lnTo>
                  <a:lnTo>
                    <a:pt x="6946" y="3208"/>
                  </a:lnTo>
                  <a:close/>
                  <a:moveTo>
                    <a:pt x="6236" y="3471"/>
                  </a:moveTo>
                  <a:lnTo>
                    <a:pt x="6369" y="3471"/>
                  </a:lnTo>
                  <a:lnTo>
                    <a:pt x="6378" y="3473"/>
                  </a:lnTo>
                  <a:lnTo>
                    <a:pt x="6384" y="3478"/>
                  </a:lnTo>
                  <a:lnTo>
                    <a:pt x="6387" y="3484"/>
                  </a:lnTo>
                  <a:lnTo>
                    <a:pt x="6388" y="3492"/>
                  </a:lnTo>
                  <a:lnTo>
                    <a:pt x="6387" y="3498"/>
                  </a:lnTo>
                  <a:lnTo>
                    <a:pt x="6384" y="3505"/>
                  </a:lnTo>
                  <a:lnTo>
                    <a:pt x="6378" y="3510"/>
                  </a:lnTo>
                  <a:lnTo>
                    <a:pt x="6369" y="3511"/>
                  </a:lnTo>
                  <a:lnTo>
                    <a:pt x="6236" y="3511"/>
                  </a:lnTo>
                  <a:lnTo>
                    <a:pt x="6227" y="3510"/>
                  </a:lnTo>
                  <a:lnTo>
                    <a:pt x="6220" y="3505"/>
                  </a:lnTo>
                  <a:lnTo>
                    <a:pt x="6216" y="3498"/>
                  </a:lnTo>
                  <a:lnTo>
                    <a:pt x="6215" y="3492"/>
                  </a:lnTo>
                  <a:lnTo>
                    <a:pt x="6216" y="3484"/>
                  </a:lnTo>
                  <a:lnTo>
                    <a:pt x="6220" y="3478"/>
                  </a:lnTo>
                  <a:lnTo>
                    <a:pt x="6227" y="3473"/>
                  </a:lnTo>
                  <a:lnTo>
                    <a:pt x="6236" y="3471"/>
                  </a:lnTo>
                  <a:close/>
                  <a:moveTo>
                    <a:pt x="6472" y="3471"/>
                  </a:moveTo>
                  <a:lnTo>
                    <a:pt x="6605" y="3471"/>
                  </a:lnTo>
                  <a:lnTo>
                    <a:pt x="6614" y="3473"/>
                  </a:lnTo>
                  <a:lnTo>
                    <a:pt x="6620" y="3478"/>
                  </a:lnTo>
                  <a:lnTo>
                    <a:pt x="6624" y="3484"/>
                  </a:lnTo>
                  <a:lnTo>
                    <a:pt x="6626" y="3492"/>
                  </a:lnTo>
                  <a:lnTo>
                    <a:pt x="6624" y="3498"/>
                  </a:lnTo>
                  <a:lnTo>
                    <a:pt x="6620" y="3505"/>
                  </a:lnTo>
                  <a:lnTo>
                    <a:pt x="6614" y="3510"/>
                  </a:lnTo>
                  <a:lnTo>
                    <a:pt x="6605" y="3511"/>
                  </a:lnTo>
                  <a:lnTo>
                    <a:pt x="6472" y="3511"/>
                  </a:lnTo>
                  <a:lnTo>
                    <a:pt x="6464" y="3510"/>
                  </a:lnTo>
                  <a:lnTo>
                    <a:pt x="6458" y="3505"/>
                  </a:lnTo>
                  <a:lnTo>
                    <a:pt x="6454" y="3498"/>
                  </a:lnTo>
                  <a:lnTo>
                    <a:pt x="6452" y="3492"/>
                  </a:lnTo>
                  <a:lnTo>
                    <a:pt x="6454" y="3484"/>
                  </a:lnTo>
                  <a:lnTo>
                    <a:pt x="6458" y="3478"/>
                  </a:lnTo>
                  <a:lnTo>
                    <a:pt x="6464" y="3473"/>
                  </a:lnTo>
                  <a:lnTo>
                    <a:pt x="6472" y="3471"/>
                  </a:lnTo>
                  <a:close/>
                  <a:moveTo>
                    <a:pt x="6709" y="3471"/>
                  </a:moveTo>
                  <a:lnTo>
                    <a:pt x="6842" y="3471"/>
                  </a:lnTo>
                  <a:lnTo>
                    <a:pt x="6851" y="3473"/>
                  </a:lnTo>
                  <a:lnTo>
                    <a:pt x="6858" y="3478"/>
                  </a:lnTo>
                  <a:lnTo>
                    <a:pt x="6861" y="3484"/>
                  </a:lnTo>
                  <a:lnTo>
                    <a:pt x="6863" y="3492"/>
                  </a:lnTo>
                  <a:lnTo>
                    <a:pt x="6861" y="3498"/>
                  </a:lnTo>
                  <a:lnTo>
                    <a:pt x="6858" y="3505"/>
                  </a:lnTo>
                  <a:lnTo>
                    <a:pt x="6851" y="3510"/>
                  </a:lnTo>
                  <a:lnTo>
                    <a:pt x="6842" y="3511"/>
                  </a:lnTo>
                  <a:lnTo>
                    <a:pt x="6709" y="3511"/>
                  </a:lnTo>
                  <a:lnTo>
                    <a:pt x="6700" y="3510"/>
                  </a:lnTo>
                  <a:lnTo>
                    <a:pt x="6693" y="3505"/>
                  </a:lnTo>
                  <a:lnTo>
                    <a:pt x="6690" y="3498"/>
                  </a:lnTo>
                  <a:lnTo>
                    <a:pt x="6688" y="3492"/>
                  </a:lnTo>
                  <a:lnTo>
                    <a:pt x="6690" y="3484"/>
                  </a:lnTo>
                  <a:lnTo>
                    <a:pt x="6693" y="3478"/>
                  </a:lnTo>
                  <a:lnTo>
                    <a:pt x="6700" y="3473"/>
                  </a:lnTo>
                  <a:lnTo>
                    <a:pt x="6709" y="3471"/>
                  </a:lnTo>
                  <a:close/>
                  <a:moveTo>
                    <a:pt x="6946" y="3471"/>
                  </a:moveTo>
                  <a:lnTo>
                    <a:pt x="7078" y="3471"/>
                  </a:lnTo>
                  <a:lnTo>
                    <a:pt x="7087" y="3473"/>
                  </a:lnTo>
                  <a:lnTo>
                    <a:pt x="7094" y="3478"/>
                  </a:lnTo>
                  <a:lnTo>
                    <a:pt x="7097" y="3484"/>
                  </a:lnTo>
                  <a:lnTo>
                    <a:pt x="7099" y="3492"/>
                  </a:lnTo>
                  <a:lnTo>
                    <a:pt x="7097" y="3498"/>
                  </a:lnTo>
                  <a:lnTo>
                    <a:pt x="7094" y="3505"/>
                  </a:lnTo>
                  <a:lnTo>
                    <a:pt x="7087" y="3510"/>
                  </a:lnTo>
                  <a:lnTo>
                    <a:pt x="7078" y="3511"/>
                  </a:lnTo>
                  <a:lnTo>
                    <a:pt x="6946" y="3511"/>
                  </a:lnTo>
                  <a:lnTo>
                    <a:pt x="6937" y="3510"/>
                  </a:lnTo>
                  <a:lnTo>
                    <a:pt x="6931" y="3505"/>
                  </a:lnTo>
                  <a:lnTo>
                    <a:pt x="6927" y="3498"/>
                  </a:lnTo>
                  <a:lnTo>
                    <a:pt x="6926" y="3492"/>
                  </a:lnTo>
                  <a:lnTo>
                    <a:pt x="6927" y="3484"/>
                  </a:lnTo>
                  <a:lnTo>
                    <a:pt x="6931" y="3478"/>
                  </a:lnTo>
                  <a:lnTo>
                    <a:pt x="6937" y="3473"/>
                  </a:lnTo>
                  <a:lnTo>
                    <a:pt x="6946" y="3471"/>
                  </a:lnTo>
                  <a:close/>
                  <a:moveTo>
                    <a:pt x="6236" y="3735"/>
                  </a:moveTo>
                  <a:lnTo>
                    <a:pt x="6369" y="3735"/>
                  </a:lnTo>
                  <a:lnTo>
                    <a:pt x="6378" y="3736"/>
                  </a:lnTo>
                  <a:lnTo>
                    <a:pt x="6384" y="3741"/>
                  </a:lnTo>
                  <a:lnTo>
                    <a:pt x="6387" y="3748"/>
                  </a:lnTo>
                  <a:lnTo>
                    <a:pt x="6388" y="3754"/>
                  </a:lnTo>
                  <a:lnTo>
                    <a:pt x="6387" y="3762"/>
                  </a:lnTo>
                  <a:lnTo>
                    <a:pt x="6384" y="3768"/>
                  </a:lnTo>
                  <a:lnTo>
                    <a:pt x="6378" y="3773"/>
                  </a:lnTo>
                  <a:lnTo>
                    <a:pt x="6369" y="3774"/>
                  </a:lnTo>
                  <a:lnTo>
                    <a:pt x="6236" y="3774"/>
                  </a:lnTo>
                  <a:lnTo>
                    <a:pt x="6227" y="3773"/>
                  </a:lnTo>
                  <a:lnTo>
                    <a:pt x="6220" y="3768"/>
                  </a:lnTo>
                  <a:lnTo>
                    <a:pt x="6216" y="3762"/>
                  </a:lnTo>
                  <a:lnTo>
                    <a:pt x="6215" y="3754"/>
                  </a:lnTo>
                  <a:lnTo>
                    <a:pt x="6216" y="3748"/>
                  </a:lnTo>
                  <a:lnTo>
                    <a:pt x="6220" y="3741"/>
                  </a:lnTo>
                  <a:lnTo>
                    <a:pt x="6227" y="3736"/>
                  </a:lnTo>
                  <a:lnTo>
                    <a:pt x="6236" y="3735"/>
                  </a:lnTo>
                  <a:close/>
                  <a:moveTo>
                    <a:pt x="6472" y="3735"/>
                  </a:moveTo>
                  <a:lnTo>
                    <a:pt x="6605" y="3735"/>
                  </a:lnTo>
                  <a:lnTo>
                    <a:pt x="6614" y="3736"/>
                  </a:lnTo>
                  <a:lnTo>
                    <a:pt x="6620" y="3741"/>
                  </a:lnTo>
                  <a:lnTo>
                    <a:pt x="6624" y="3748"/>
                  </a:lnTo>
                  <a:lnTo>
                    <a:pt x="6626" y="3754"/>
                  </a:lnTo>
                  <a:lnTo>
                    <a:pt x="6624" y="3762"/>
                  </a:lnTo>
                  <a:lnTo>
                    <a:pt x="6620" y="3768"/>
                  </a:lnTo>
                  <a:lnTo>
                    <a:pt x="6614" y="3773"/>
                  </a:lnTo>
                  <a:lnTo>
                    <a:pt x="6605" y="3774"/>
                  </a:lnTo>
                  <a:lnTo>
                    <a:pt x="6472" y="3774"/>
                  </a:lnTo>
                  <a:lnTo>
                    <a:pt x="6464" y="3773"/>
                  </a:lnTo>
                  <a:lnTo>
                    <a:pt x="6458" y="3768"/>
                  </a:lnTo>
                  <a:lnTo>
                    <a:pt x="6454" y="3762"/>
                  </a:lnTo>
                  <a:lnTo>
                    <a:pt x="6452" y="3754"/>
                  </a:lnTo>
                  <a:lnTo>
                    <a:pt x="6454" y="3748"/>
                  </a:lnTo>
                  <a:lnTo>
                    <a:pt x="6458" y="3741"/>
                  </a:lnTo>
                  <a:lnTo>
                    <a:pt x="6464" y="3736"/>
                  </a:lnTo>
                  <a:lnTo>
                    <a:pt x="6472" y="3735"/>
                  </a:lnTo>
                  <a:close/>
                  <a:moveTo>
                    <a:pt x="6709" y="3735"/>
                  </a:moveTo>
                  <a:lnTo>
                    <a:pt x="6842" y="3735"/>
                  </a:lnTo>
                  <a:lnTo>
                    <a:pt x="6851" y="3736"/>
                  </a:lnTo>
                  <a:lnTo>
                    <a:pt x="6858" y="3741"/>
                  </a:lnTo>
                  <a:lnTo>
                    <a:pt x="6861" y="3748"/>
                  </a:lnTo>
                  <a:lnTo>
                    <a:pt x="6863" y="3754"/>
                  </a:lnTo>
                  <a:lnTo>
                    <a:pt x="6861" y="3762"/>
                  </a:lnTo>
                  <a:lnTo>
                    <a:pt x="6858" y="3768"/>
                  </a:lnTo>
                  <a:lnTo>
                    <a:pt x="6851" y="3773"/>
                  </a:lnTo>
                  <a:lnTo>
                    <a:pt x="6842" y="3774"/>
                  </a:lnTo>
                  <a:lnTo>
                    <a:pt x="6709" y="3774"/>
                  </a:lnTo>
                  <a:lnTo>
                    <a:pt x="6700" y="3773"/>
                  </a:lnTo>
                  <a:lnTo>
                    <a:pt x="6693" y="3768"/>
                  </a:lnTo>
                  <a:lnTo>
                    <a:pt x="6690" y="3762"/>
                  </a:lnTo>
                  <a:lnTo>
                    <a:pt x="6688" y="3754"/>
                  </a:lnTo>
                  <a:lnTo>
                    <a:pt x="6690" y="3748"/>
                  </a:lnTo>
                  <a:lnTo>
                    <a:pt x="6693" y="3741"/>
                  </a:lnTo>
                  <a:lnTo>
                    <a:pt x="6700" y="3736"/>
                  </a:lnTo>
                  <a:lnTo>
                    <a:pt x="6709" y="3735"/>
                  </a:lnTo>
                  <a:close/>
                  <a:moveTo>
                    <a:pt x="6946" y="3735"/>
                  </a:moveTo>
                  <a:lnTo>
                    <a:pt x="7078" y="3735"/>
                  </a:lnTo>
                  <a:lnTo>
                    <a:pt x="7087" y="3736"/>
                  </a:lnTo>
                  <a:lnTo>
                    <a:pt x="7094" y="3741"/>
                  </a:lnTo>
                  <a:lnTo>
                    <a:pt x="7097" y="3748"/>
                  </a:lnTo>
                  <a:lnTo>
                    <a:pt x="7099" y="3754"/>
                  </a:lnTo>
                  <a:lnTo>
                    <a:pt x="7097" y="3762"/>
                  </a:lnTo>
                  <a:lnTo>
                    <a:pt x="7094" y="3768"/>
                  </a:lnTo>
                  <a:lnTo>
                    <a:pt x="7087" y="3773"/>
                  </a:lnTo>
                  <a:lnTo>
                    <a:pt x="7078" y="3774"/>
                  </a:lnTo>
                  <a:lnTo>
                    <a:pt x="6946" y="3774"/>
                  </a:lnTo>
                  <a:lnTo>
                    <a:pt x="6937" y="3773"/>
                  </a:lnTo>
                  <a:lnTo>
                    <a:pt x="6931" y="3768"/>
                  </a:lnTo>
                  <a:lnTo>
                    <a:pt x="6927" y="3762"/>
                  </a:lnTo>
                  <a:lnTo>
                    <a:pt x="6926" y="3754"/>
                  </a:lnTo>
                  <a:lnTo>
                    <a:pt x="6927" y="3748"/>
                  </a:lnTo>
                  <a:lnTo>
                    <a:pt x="6931" y="3741"/>
                  </a:lnTo>
                  <a:lnTo>
                    <a:pt x="6937" y="3736"/>
                  </a:lnTo>
                  <a:lnTo>
                    <a:pt x="6946" y="3735"/>
                  </a:lnTo>
                  <a:close/>
                  <a:moveTo>
                    <a:pt x="6236" y="3997"/>
                  </a:moveTo>
                  <a:lnTo>
                    <a:pt x="6369" y="3997"/>
                  </a:lnTo>
                  <a:lnTo>
                    <a:pt x="6378" y="3999"/>
                  </a:lnTo>
                  <a:lnTo>
                    <a:pt x="6384" y="4003"/>
                  </a:lnTo>
                  <a:lnTo>
                    <a:pt x="6387" y="4010"/>
                  </a:lnTo>
                  <a:lnTo>
                    <a:pt x="6388" y="4017"/>
                  </a:lnTo>
                  <a:lnTo>
                    <a:pt x="6387" y="4025"/>
                  </a:lnTo>
                  <a:lnTo>
                    <a:pt x="6384" y="4031"/>
                  </a:lnTo>
                  <a:lnTo>
                    <a:pt x="6378" y="4035"/>
                  </a:lnTo>
                  <a:lnTo>
                    <a:pt x="6369" y="4038"/>
                  </a:lnTo>
                  <a:lnTo>
                    <a:pt x="6236" y="4038"/>
                  </a:lnTo>
                  <a:lnTo>
                    <a:pt x="6227" y="4035"/>
                  </a:lnTo>
                  <a:lnTo>
                    <a:pt x="6220" y="4031"/>
                  </a:lnTo>
                  <a:lnTo>
                    <a:pt x="6216" y="4025"/>
                  </a:lnTo>
                  <a:lnTo>
                    <a:pt x="6215" y="4017"/>
                  </a:lnTo>
                  <a:lnTo>
                    <a:pt x="6216" y="4010"/>
                  </a:lnTo>
                  <a:lnTo>
                    <a:pt x="6220" y="4003"/>
                  </a:lnTo>
                  <a:lnTo>
                    <a:pt x="6227" y="3999"/>
                  </a:lnTo>
                  <a:lnTo>
                    <a:pt x="6236" y="3997"/>
                  </a:lnTo>
                  <a:close/>
                  <a:moveTo>
                    <a:pt x="6472" y="3997"/>
                  </a:moveTo>
                  <a:lnTo>
                    <a:pt x="6605" y="3997"/>
                  </a:lnTo>
                  <a:lnTo>
                    <a:pt x="6614" y="3999"/>
                  </a:lnTo>
                  <a:lnTo>
                    <a:pt x="6620" y="4003"/>
                  </a:lnTo>
                  <a:lnTo>
                    <a:pt x="6624" y="4010"/>
                  </a:lnTo>
                  <a:lnTo>
                    <a:pt x="6626" y="4017"/>
                  </a:lnTo>
                  <a:lnTo>
                    <a:pt x="6624" y="4025"/>
                  </a:lnTo>
                  <a:lnTo>
                    <a:pt x="6620" y="4031"/>
                  </a:lnTo>
                  <a:lnTo>
                    <a:pt x="6614" y="4035"/>
                  </a:lnTo>
                  <a:lnTo>
                    <a:pt x="6605" y="4038"/>
                  </a:lnTo>
                  <a:lnTo>
                    <a:pt x="6472" y="4038"/>
                  </a:lnTo>
                  <a:lnTo>
                    <a:pt x="6464" y="4035"/>
                  </a:lnTo>
                  <a:lnTo>
                    <a:pt x="6458" y="4031"/>
                  </a:lnTo>
                  <a:lnTo>
                    <a:pt x="6454" y="4025"/>
                  </a:lnTo>
                  <a:lnTo>
                    <a:pt x="6452" y="4017"/>
                  </a:lnTo>
                  <a:lnTo>
                    <a:pt x="6454" y="4010"/>
                  </a:lnTo>
                  <a:lnTo>
                    <a:pt x="6458" y="4003"/>
                  </a:lnTo>
                  <a:lnTo>
                    <a:pt x="6464" y="3999"/>
                  </a:lnTo>
                  <a:lnTo>
                    <a:pt x="6472" y="3997"/>
                  </a:lnTo>
                  <a:close/>
                  <a:moveTo>
                    <a:pt x="6709" y="3997"/>
                  </a:moveTo>
                  <a:lnTo>
                    <a:pt x="6842" y="3997"/>
                  </a:lnTo>
                  <a:lnTo>
                    <a:pt x="6851" y="3999"/>
                  </a:lnTo>
                  <a:lnTo>
                    <a:pt x="6858" y="4003"/>
                  </a:lnTo>
                  <a:lnTo>
                    <a:pt x="6861" y="4010"/>
                  </a:lnTo>
                  <a:lnTo>
                    <a:pt x="6863" y="4017"/>
                  </a:lnTo>
                  <a:lnTo>
                    <a:pt x="6861" y="4025"/>
                  </a:lnTo>
                  <a:lnTo>
                    <a:pt x="6858" y="4031"/>
                  </a:lnTo>
                  <a:lnTo>
                    <a:pt x="6851" y="4035"/>
                  </a:lnTo>
                  <a:lnTo>
                    <a:pt x="6842" y="4038"/>
                  </a:lnTo>
                  <a:lnTo>
                    <a:pt x="6709" y="4038"/>
                  </a:lnTo>
                  <a:lnTo>
                    <a:pt x="6700" y="4035"/>
                  </a:lnTo>
                  <a:lnTo>
                    <a:pt x="6693" y="4031"/>
                  </a:lnTo>
                  <a:lnTo>
                    <a:pt x="6690" y="4025"/>
                  </a:lnTo>
                  <a:lnTo>
                    <a:pt x="6688" y="4017"/>
                  </a:lnTo>
                  <a:lnTo>
                    <a:pt x="6690" y="4010"/>
                  </a:lnTo>
                  <a:lnTo>
                    <a:pt x="6693" y="4003"/>
                  </a:lnTo>
                  <a:lnTo>
                    <a:pt x="6700" y="3999"/>
                  </a:lnTo>
                  <a:lnTo>
                    <a:pt x="6709" y="3997"/>
                  </a:lnTo>
                  <a:close/>
                  <a:moveTo>
                    <a:pt x="6946" y="3997"/>
                  </a:moveTo>
                  <a:lnTo>
                    <a:pt x="7078" y="3997"/>
                  </a:lnTo>
                  <a:lnTo>
                    <a:pt x="7087" y="3999"/>
                  </a:lnTo>
                  <a:lnTo>
                    <a:pt x="7094" y="4003"/>
                  </a:lnTo>
                  <a:lnTo>
                    <a:pt x="7097" y="4010"/>
                  </a:lnTo>
                  <a:lnTo>
                    <a:pt x="7099" y="4017"/>
                  </a:lnTo>
                  <a:lnTo>
                    <a:pt x="7097" y="4025"/>
                  </a:lnTo>
                  <a:lnTo>
                    <a:pt x="7094" y="4031"/>
                  </a:lnTo>
                  <a:lnTo>
                    <a:pt x="7087" y="4035"/>
                  </a:lnTo>
                  <a:lnTo>
                    <a:pt x="7078" y="4038"/>
                  </a:lnTo>
                  <a:lnTo>
                    <a:pt x="6946" y="4038"/>
                  </a:lnTo>
                  <a:lnTo>
                    <a:pt x="6937" y="4035"/>
                  </a:lnTo>
                  <a:lnTo>
                    <a:pt x="6931" y="4031"/>
                  </a:lnTo>
                  <a:lnTo>
                    <a:pt x="6927" y="4025"/>
                  </a:lnTo>
                  <a:lnTo>
                    <a:pt x="6926" y="4017"/>
                  </a:lnTo>
                  <a:lnTo>
                    <a:pt x="6927" y="4010"/>
                  </a:lnTo>
                  <a:lnTo>
                    <a:pt x="6931" y="4003"/>
                  </a:lnTo>
                  <a:lnTo>
                    <a:pt x="6937" y="3999"/>
                  </a:lnTo>
                  <a:lnTo>
                    <a:pt x="6946" y="3997"/>
                  </a:lnTo>
                  <a:close/>
                  <a:moveTo>
                    <a:pt x="7545" y="2941"/>
                  </a:moveTo>
                  <a:lnTo>
                    <a:pt x="7545" y="3052"/>
                  </a:lnTo>
                  <a:lnTo>
                    <a:pt x="7542" y="3061"/>
                  </a:lnTo>
                  <a:lnTo>
                    <a:pt x="7539" y="3067"/>
                  </a:lnTo>
                  <a:lnTo>
                    <a:pt x="7532" y="3071"/>
                  </a:lnTo>
                  <a:lnTo>
                    <a:pt x="7524" y="3072"/>
                  </a:lnTo>
                  <a:lnTo>
                    <a:pt x="7517" y="3071"/>
                  </a:lnTo>
                  <a:lnTo>
                    <a:pt x="7510" y="3067"/>
                  </a:lnTo>
                  <a:lnTo>
                    <a:pt x="7506" y="3061"/>
                  </a:lnTo>
                  <a:lnTo>
                    <a:pt x="7505" y="3052"/>
                  </a:lnTo>
                  <a:lnTo>
                    <a:pt x="7505" y="2941"/>
                  </a:lnTo>
                  <a:lnTo>
                    <a:pt x="7506" y="2932"/>
                  </a:lnTo>
                  <a:lnTo>
                    <a:pt x="7510" y="2925"/>
                  </a:lnTo>
                  <a:lnTo>
                    <a:pt x="7517" y="2922"/>
                  </a:lnTo>
                  <a:lnTo>
                    <a:pt x="7524" y="2920"/>
                  </a:lnTo>
                  <a:lnTo>
                    <a:pt x="7532" y="2922"/>
                  </a:lnTo>
                  <a:lnTo>
                    <a:pt x="7539" y="2925"/>
                  </a:lnTo>
                  <a:lnTo>
                    <a:pt x="7542" y="2932"/>
                  </a:lnTo>
                  <a:lnTo>
                    <a:pt x="7545" y="2941"/>
                  </a:lnTo>
                  <a:close/>
                  <a:moveTo>
                    <a:pt x="7808" y="2941"/>
                  </a:moveTo>
                  <a:lnTo>
                    <a:pt x="7808" y="3052"/>
                  </a:lnTo>
                  <a:lnTo>
                    <a:pt x="7807" y="3061"/>
                  </a:lnTo>
                  <a:lnTo>
                    <a:pt x="7801" y="3067"/>
                  </a:lnTo>
                  <a:lnTo>
                    <a:pt x="7795" y="3071"/>
                  </a:lnTo>
                  <a:lnTo>
                    <a:pt x="7787" y="3072"/>
                  </a:lnTo>
                  <a:lnTo>
                    <a:pt x="7781" y="3071"/>
                  </a:lnTo>
                  <a:lnTo>
                    <a:pt x="7774" y="3067"/>
                  </a:lnTo>
                  <a:lnTo>
                    <a:pt x="7769" y="3061"/>
                  </a:lnTo>
                  <a:lnTo>
                    <a:pt x="7768" y="3052"/>
                  </a:lnTo>
                  <a:lnTo>
                    <a:pt x="7768" y="2941"/>
                  </a:lnTo>
                  <a:lnTo>
                    <a:pt x="7769" y="2932"/>
                  </a:lnTo>
                  <a:lnTo>
                    <a:pt x="7774" y="2925"/>
                  </a:lnTo>
                  <a:lnTo>
                    <a:pt x="7781" y="2922"/>
                  </a:lnTo>
                  <a:lnTo>
                    <a:pt x="7787" y="2920"/>
                  </a:lnTo>
                  <a:lnTo>
                    <a:pt x="7795" y="2922"/>
                  </a:lnTo>
                  <a:lnTo>
                    <a:pt x="7801" y="2925"/>
                  </a:lnTo>
                  <a:lnTo>
                    <a:pt x="7807" y="2932"/>
                  </a:lnTo>
                  <a:lnTo>
                    <a:pt x="7808" y="2941"/>
                  </a:lnTo>
                  <a:close/>
                  <a:moveTo>
                    <a:pt x="8071" y="2941"/>
                  </a:moveTo>
                  <a:lnTo>
                    <a:pt x="8071" y="3052"/>
                  </a:lnTo>
                  <a:lnTo>
                    <a:pt x="8069" y="3061"/>
                  </a:lnTo>
                  <a:lnTo>
                    <a:pt x="8064" y="3067"/>
                  </a:lnTo>
                  <a:lnTo>
                    <a:pt x="8058" y="3071"/>
                  </a:lnTo>
                  <a:lnTo>
                    <a:pt x="8051" y="3072"/>
                  </a:lnTo>
                  <a:lnTo>
                    <a:pt x="8044" y="3071"/>
                  </a:lnTo>
                  <a:lnTo>
                    <a:pt x="8037" y="3067"/>
                  </a:lnTo>
                  <a:lnTo>
                    <a:pt x="8032" y="3061"/>
                  </a:lnTo>
                  <a:lnTo>
                    <a:pt x="8031" y="3052"/>
                  </a:lnTo>
                  <a:lnTo>
                    <a:pt x="8031" y="2941"/>
                  </a:lnTo>
                  <a:lnTo>
                    <a:pt x="8032" y="2932"/>
                  </a:lnTo>
                  <a:lnTo>
                    <a:pt x="8037" y="2925"/>
                  </a:lnTo>
                  <a:lnTo>
                    <a:pt x="8044" y="2922"/>
                  </a:lnTo>
                  <a:lnTo>
                    <a:pt x="8051" y="2920"/>
                  </a:lnTo>
                  <a:lnTo>
                    <a:pt x="8058" y="2922"/>
                  </a:lnTo>
                  <a:lnTo>
                    <a:pt x="8064" y="2925"/>
                  </a:lnTo>
                  <a:lnTo>
                    <a:pt x="8069" y="2932"/>
                  </a:lnTo>
                  <a:lnTo>
                    <a:pt x="8071" y="2941"/>
                  </a:lnTo>
                  <a:close/>
                  <a:moveTo>
                    <a:pt x="8334" y="2941"/>
                  </a:moveTo>
                  <a:lnTo>
                    <a:pt x="8334" y="3052"/>
                  </a:lnTo>
                  <a:lnTo>
                    <a:pt x="8332" y="3061"/>
                  </a:lnTo>
                  <a:lnTo>
                    <a:pt x="8327" y="3067"/>
                  </a:lnTo>
                  <a:lnTo>
                    <a:pt x="8322" y="3071"/>
                  </a:lnTo>
                  <a:lnTo>
                    <a:pt x="8314" y="3072"/>
                  </a:lnTo>
                  <a:lnTo>
                    <a:pt x="8307" y="3071"/>
                  </a:lnTo>
                  <a:lnTo>
                    <a:pt x="8300" y="3067"/>
                  </a:lnTo>
                  <a:lnTo>
                    <a:pt x="8296" y="3061"/>
                  </a:lnTo>
                  <a:lnTo>
                    <a:pt x="8294" y="3052"/>
                  </a:lnTo>
                  <a:lnTo>
                    <a:pt x="8294" y="2941"/>
                  </a:lnTo>
                  <a:lnTo>
                    <a:pt x="8296" y="2932"/>
                  </a:lnTo>
                  <a:lnTo>
                    <a:pt x="8300" y="2925"/>
                  </a:lnTo>
                  <a:lnTo>
                    <a:pt x="8307" y="2922"/>
                  </a:lnTo>
                  <a:lnTo>
                    <a:pt x="8314" y="2920"/>
                  </a:lnTo>
                  <a:lnTo>
                    <a:pt x="8322" y="2922"/>
                  </a:lnTo>
                  <a:lnTo>
                    <a:pt x="8327" y="2925"/>
                  </a:lnTo>
                  <a:lnTo>
                    <a:pt x="8332" y="2932"/>
                  </a:lnTo>
                  <a:lnTo>
                    <a:pt x="8334" y="2941"/>
                  </a:lnTo>
                  <a:close/>
                  <a:moveTo>
                    <a:pt x="8598" y="2941"/>
                  </a:moveTo>
                  <a:lnTo>
                    <a:pt x="8598" y="3052"/>
                  </a:lnTo>
                  <a:lnTo>
                    <a:pt x="8595" y="3061"/>
                  </a:lnTo>
                  <a:lnTo>
                    <a:pt x="8591" y="3067"/>
                  </a:lnTo>
                  <a:lnTo>
                    <a:pt x="8585" y="3071"/>
                  </a:lnTo>
                  <a:lnTo>
                    <a:pt x="8577" y="3072"/>
                  </a:lnTo>
                  <a:lnTo>
                    <a:pt x="8569" y="3071"/>
                  </a:lnTo>
                  <a:lnTo>
                    <a:pt x="8563" y="3067"/>
                  </a:lnTo>
                  <a:lnTo>
                    <a:pt x="8559" y="3061"/>
                  </a:lnTo>
                  <a:lnTo>
                    <a:pt x="8557" y="3052"/>
                  </a:lnTo>
                  <a:lnTo>
                    <a:pt x="8557" y="2941"/>
                  </a:lnTo>
                  <a:lnTo>
                    <a:pt x="8559" y="2932"/>
                  </a:lnTo>
                  <a:lnTo>
                    <a:pt x="8563" y="2925"/>
                  </a:lnTo>
                  <a:lnTo>
                    <a:pt x="8569" y="2922"/>
                  </a:lnTo>
                  <a:lnTo>
                    <a:pt x="8577" y="2920"/>
                  </a:lnTo>
                  <a:lnTo>
                    <a:pt x="8585" y="2922"/>
                  </a:lnTo>
                  <a:lnTo>
                    <a:pt x="8591" y="2925"/>
                  </a:lnTo>
                  <a:lnTo>
                    <a:pt x="8595" y="2932"/>
                  </a:lnTo>
                  <a:lnTo>
                    <a:pt x="8598" y="2941"/>
                  </a:lnTo>
                  <a:close/>
                  <a:moveTo>
                    <a:pt x="8861" y="2941"/>
                  </a:moveTo>
                  <a:lnTo>
                    <a:pt x="8861" y="3052"/>
                  </a:lnTo>
                  <a:lnTo>
                    <a:pt x="8858" y="3061"/>
                  </a:lnTo>
                  <a:lnTo>
                    <a:pt x="8854" y="3067"/>
                  </a:lnTo>
                  <a:lnTo>
                    <a:pt x="8848" y="3071"/>
                  </a:lnTo>
                  <a:lnTo>
                    <a:pt x="8840" y="3072"/>
                  </a:lnTo>
                  <a:lnTo>
                    <a:pt x="8832" y="3071"/>
                  </a:lnTo>
                  <a:lnTo>
                    <a:pt x="8826" y="3067"/>
                  </a:lnTo>
                  <a:lnTo>
                    <a:pt x="8822" y="3061"/>
                  </a:lnTo>
                  <a:lnTo>
                    <a:pt x="8821" y="3052"/>
                  </a:lnTo>
                  <a:lnTo>
                    <a:pt x="8821" y="2941"/>
                  </a:lnTo>
                  <a:lnTo>
                    <a:pt x="8822" y="2932"/>
                  </a:lnTo>
                  <a:lnTo>
                    <a:pt x="8826" y="2925"/>
                  </a:lnTo>
                  <a:lnTo>
                    <a:pt x="8832" y="2922"/>
                  </a:lnTo>
                  <a:lnTo>
                    <a:pt x="8840" y="2920"/>
                  </a:lnTo>
                  <a:lnTo>
                    <a:pt x="8848" y="2922"/>
                  </a:lnTo>
                  <a:lnTo>
                    <a:pt x="8854" y="2925"/>
                  </a:lnTo>
                  <a:lnTo>
                    <a:pt x="8858" y="2932"/>
                  </a:lnTo>
                  <a:lnTo>
                    <a:pt x="8861" y="2941"/>
                  </a:lnTo>
                  <a:close/>
                  <a:moveTo>
                    <a:pt x="7545" y="3186"/>
                  </a:moveTo>
                  <a:lnTo>
                    <a:pt x="7545" y="3299"/>
                  </a:lnTo>
                  <a:lnTo>
                    <a:pt x="7542" y="3308"/>
                  </a:lnTo>
                  <a:lnTo>
                    <a:pt x="7539" y="3314"/>
                  </a:lnTo>
                  <a:lnTo>
                    <a:pt x="7532" y="3318"/>
                  </a:lnTo>
                  <a:lnTo>
                    <a:pt x="7524" y="3319"/>
                  </a:lnTo>
                  <a:lnTo>
                    <a:pt x="7517" y="3318"/>
                  </a:lnTo>
                  <a:lnTo>
                    <a:pt x="7510" y="3314"/>
                  </a:lnTo>
                  <a:lnTo>
                    <a:pt x="7506" y="3308"/>
                  </a:lnTo>
                  <a:lnTo>
                    <a:pt x="7505" y="3299"/>
                  </a:lnTo>
                  <a:lnTo>
                    <a:pt x="7505" y="3186"/>
                  </a:lnTo>
                  <a:lnTo>
                    <a:pt x="7506" y="3179"/>
                  </a:lnTo>
                  <a:lnTo>
                    <a:pt x="7510" y="3172"/>
                  </a:lnTo>
                  <a:lnTo>
                    <a:pt x="7517" y="3168"/>
                  </a:lnTo>
                  <a:lnTo>
                    <a:pt x="7524" y="3167"/>
                  </a:lnTo>
                  <a:lnTo>
                    <a:pt x="7532" y="3168"/>
                  </a:lnTo>
                  <a:lnTo>
                    <a:pt x="7539" y="3172"/>
                  </a:lnTo>
                  <a:lnTo>
                    <a:pt x="7542" y="3179"/>
                  </a:lnTo>
                  <a:lnTo>
                    <a:pt x="7545" y="3186"/>
                  </a:lnTo>
                  <a:close/>
                  <a:moveTo>
                    <a:pt x="7808" y="3186"/>
                  </a:moveTo>
                  <a:lnTo>
                    <a:pt x="7808" y="3299"/>
                  </a:lnTo>
                  <a:lnTo>
                    <a:pt x="7807" y="3308"/>
                  </a:lnTo>
                  <a:lnTo>
                    <a:pt x="7801" y="3314"/>
                  </a:lnTo>
                  <a:lnTo>
                    <a:pt x="7795" y="3318"/>
                  </a:lnTo>
                  <a:lnTo>
                    <a:pt x="7787" y="3319"/>
                  </a:lnTo>
                  <a:lnTo>
                    <a:pt x="7781" y="3318"/>
                  </a:lnTo>
                  <a:lnTo>
                    <a:pt x="7774" y="3314"/>
                  </a:lnTo>
                  <a:lnTo>
                    <a:pt x="7769" y="3308"/>
                  </a:lnTo>
                  <a:lnTo>
                    <a:pt x="7768" y="3299"/>
                  </a:lnTo>
                  <a:lnTo>
                    <a:pt x="7768" y="3186"/>
                  </a:lnTo>
                  <a:lnTo>
                    <a:pt x="7769" y="3179"/>
                  </a:lnTo>
                  <a:lnTo>
                    <a:pt x="7774" y="3172"/>
                  </a:lnTo>
                  <a:lnTo>
                    <a:pt x="7781" y="3168"/>
                  </a:lnTo>
                  <a:lnTo>
                    <a:pt x="7787" y="3167"/>
                  </a:lnTo>
                  <a:lnTo>
                    <a:pt x="7795" y="3168"/>
                  </a:lnTo>
                  <a:lnTo>
                    <a:pt x="7801" y="3172"/>
                  </a:lnTo>
                  <a:lnTo>
                    <a:pt x="7807" y="3179"/>
                  </a:lnTo>
                  <a:lnTo>
                    <a:pt x="7808" y="3186"/>
                  </a:lnTo>
                  <a:close/>
                  <a:moveTo>
                    <a:pt x="8071" y="3186"/>
                  </a:moveTo>
                  <a:lnTo>
                    <a:pt x="8071" y="3299"/>
                  </a:lnTo>
                  <a:lnTo>
                    <a:pt x="8069" y="3308"/>
                  </a:lnTo>
                  <a:lnTo>
                    <a:pt x="8064" y="3314"/>
                  </a:lnTo>
                  <a:lnTo>
                    <a:pt x="8058" y="3318"/>
                  </a:lnTo>
                  <a:lnTo>
                    <a:pt x="8051" y="3319"/>
                  </a:lnTo>
                  <a:lnTo>
                    <a:pt x="8044" y="3318"/>
                  </a:lnTo>
                  <a:lnTo>
                    <a:pt x="8037" y="3314"/>
                  </a:lnTo>
                  <a:lnTo>
                    <a:pt x="8032" y="3308"/>
                  </a:lnTo>
                  <a:lnTo>
                    <a:pt x="8031" y="3299"/>
                  </a:lnTo>
                  <a:lnTo>
                    <a:pt x="8031" y="3186"/>
                  </a:lnTo>
                  <a:lnTo>
                    <a:pt x="8032" y="3179"/>
                  </a:lnTo>
                  <a:lnTo>
                    <a:pt x="8037" y="3172"/>
                  </a:lnTo>
                  <a:lnTo>
                    <a:pt x="8044" y="3168"/>
                  </a:lnTo>
                  <a:lnTo>
                    <a:pt x="8051" y="3167"/>
                  </a:lnTo>
                  <a:lnTo>
                    <a:pt x="8058" y="3168"/>
                  </a:lnTo>
                  <a:lnTo>
                    <a:pt x="8064" y="3172"/>
                  </a:lnTo>
                  <a:lnTo>
                    <a:pt x="8069" y="3179"/>
                  </a:lnTo>
                  <a:lnTo>
                    <a:pt x="8071" y="3186"/>
                  </a:lnTo>
                  <a:close/>
                  <a:moveTo>
                    <a:pt x="8334" y="3186"/>
                  </a:moveTo>
                  <a:lnTo>
                    <a:pt x="8334" y="3299"/>
                  </a:lnTo>
                  <a:lnTo>
                    <a:pt x="8332" y="3308"/>
                  </a:lnTo>
                  <a:lnTo>
                    <a:pt x="8327" y="3314"/>
                  </a:lnTo>
                  <a:lnTo>
                    <a:pt x="8322" y="3318"/>
                  </a:lnTo>
                  <a:lnTo>
                    <a:pt x="8314" y="3319"/>
                  </a:lnTo>
                  <a:lnTo>
                    <a:pt x="8307" y="3318"/>
                  </a:lnTo>
                  <a:lnTo>
                    <a:pt x="8300" y="3314"/>
                  </a:lnTo>
                  <a:lnTo>
                    <a:pt x="8296" y="3308"/>
                  </a:lnTo>
                  <a:lnTo>
                    <a:pt x="8294" y="3299"/>
                  </a:lnTo>
                  <a:lnTo>
                    <a:pt x="8294" y="3186"/>
                  </a:lnTo>
                  <a:lnTo>
                    <a:pt x="8296" y="3179"/>
                  </a:lnTo>
                  <a:lnTo>
                    <a:pt x="8300" y="3172"/>
                  </a:lnTo>
                  <a:lnTo>
                    <a:pt x="8307" y="3168"/>
                  </a:lnTo>
                  <a:lnTo>
                    <a:pt x="8314" y="3167"/>
                  </a:lnTo>
                  <a:lnTo>
                    <a:pt x="8322" y="3168"/>
                  </a:lnTo>
                  <a:lnTo>
                    <a:pt x="8327" y="3172"/>
                  </a:lnTo>
                  <a:lnTo>
                    <a:pt x="8332" y="3179"/>
                  </a:lnTo>
                  <a:lnTo>
                    <a:pt x="8334" y="3186"/>
                  </a:lnTo>
                  <a:close/>
                  <a:moveTo>
                    <a:pt x="8598" y="3186"/>
                  </a:moveTo>
                  <a:lnTo>
                    <a:pt x="8598" y="3299"/>
                  </a:lnTo>
                  <a:lnTo>
                    <a:pt x="8595" y="3308"/>
                  </a:lnTo>
                  <a:lnTo>
                    <a:pt x="8591" y="3314"/>
                  </a:lnTo>
                  <a:lnTo>
                    <a:pt x="8585" y="3318"/>
                  </a:lnTo>
                  <a:lnTo>
                    <a:pt x="8577" y="3319"/>
                  </a:lnTo>
                  <a:lnTo>
                    <a:pt x="8569" y="3318"/>
                  </a:lnTo>
                  <a:lnTo>
                    <a:pt x="8563" y="3314"/>
                  </a:lnTo>
                  <a:lnTo>
                    <a:pt x="8559" y="3308"/>
                  </a:lnTo>
                  <a:lnTo>
                    <a:pt x="8557" y="3299"/>
                  </a:lnTo>
                  <a:lnTo>
                    <a:pt x="8557" y="3186"/>
                  </a:lnTo>
                  <a:lnTo>
                    <a:pt x="8559" y="3179"/>
                  </a:lnTo>
                  <a:lnTo>
                    <a:pt x="8563" y="3172"/>
                  </a:lnTo>
                  <a:lnTo>
                    <a:pt x="8569" y="3168"/>
                  </a:lnTo>
                  <a:lnTo>
                    <a:pt x="8577" y="3167"/>
                  </a:lnTo>
                  <a:lnTo>
                    <a:pt x="8585" y="3168"/>
                  </a:lnTo>
                  <a:lnTo>
                    <a:pt x="8591" y="3172"/>
                  </a:lnTo>
                  <a:lnTo>
                    <a:pt x="8595" y="3179"/>
                  </a:lnTo>
                  <a:lnTo>
                    <a:pt x="8598" y="3186"/>
                  </a:lnTo>
                  <a:close/>
                  <a:moveTo>
                    <a:pt x="8861" y="3186"/>
                  </a:moveTo>
                  <a:lnTo>
                    <a:pt x="8861" y="3299"/>
                  </a:lnTo>
                  <a:lnTo>
                    <a:pt x="8858" y="3308"/>
                  </a:lnTo>
                  <a:lnTo>
                    <a:pt x="8854" y="3314"/>
                  </a:lnTo>
                  <a:lnTo>
                    <a:pt x="8848" y="3318"/>
                  </a:lnTo>
                  <a:lnTo>
                    <a:pt x="8840" y="3319"/>
                  </a:lnTo>
                  <a:lnTo>
                    <a:pt x="8832" y="3318"/>
                  </a:lnTo>
                  <a:lnTo>
                    <a:pt x="8826" y="3314"/>
                  </a:lnTo>
                  <a:lnTo>
                    <a:pt x="8822" y="3308"/>
                  </a:lnTo>
                  <a:lnTo>
                    <a:pt x="8821" y="3299"/>
                  </a:lnTo>
                  <a:lnTo>
                    <a:pt x="8821" y="3186"/>
                  </a:lnTo>
                  <a:lnTo>
                    <a:pt x="8822" y="3179"/>
                  </a:lnTo>
                  <a:lnTo>
                    <a:pt x="8826" y="3172"/>
                  </a:lnTo>
                  <a:lnTo>
                    <a:pt x="8832" y="3168"/>
                  </a:lnTo>
                  <a:lnTo>
                    <a:pt x="8840" y="3167"/>
                  </a:lnTo>
                  <a:lnTo>
                    <a:pt x="8848" y="3168"/>
                  </a:lnTo>
                  <a:lnTo>
                    <a:pt x="8854" y="3172"/>
                  </a:lnTo>
                  <a:lnTo>
                    <a:pt x="8858" y="3179"/>
                  </a:lnTo>
                  <a:lnTo>
                    <a:pt x="8861" y="3186"/>
                  </a:lnTo>
                  <a:close/>
                  <a:moveTo>
                    <a:pt x="7545" y="3433"/>
                  </a:moveTo>
                  <a:lnTo>
                    <a:pt x="7545" y="3546"/>
                  </a:lnTo>
                  <a:lnTo>
                    <a:pt x="7542" y="3554"/>
                  </a:lnTo>
                  <a:lnTo>
                    <a:pt x="7539" y="3561"/>
                  </a:lnTo>
                  <a:lnTo>
                    <a:pt x="7532" y="3565"/>
                  </a:lnTo>
                  <a:lnTo>
                    <a:pt x="7524" y="3565"/>
                  </a:lnTo>
                  <a:lnTo>
                    <a:pt x="7517" y="3565"/>
                  </a:lnTo>
                  <a:lnTo>
                    <a:pt x="7510" y="3561"/>
                  </a:lnTo>
                  <a:lnTo>
                    <a:pt x="7506" y="3554"/>
                  </a:lnTo>
                  <a:lnTo>
                    <a:pt x="7505" y="3546"/>
                  </a:lnTo>
                  <a:lnTo>
                    <a:pt x="7505" y="3433"/>
                  </a:lnTo>
                  <a:lnTo>
                    <a:pt x="7506" y="3424"/>
                  </a:lnTo>
                  <a:lnTo>
                    <a:pt x="7510" y="3419"/>
                  </a:lnTo>
                  <a:lnTo>
                    <a:pt x="7517" y="3415"/>
                  </a:lnTo>
                  <a:lnTo>
                    <a:pt x="7524" y="3414"/>
                  </a:lnTo>
                  <a:lnTo>
                    <a:pt x="7532" y="3415"/>
                  </a:lnTo>
                  <a:lnTo>
                    <a:pt x="7539" y="3419"/>
                  </a:lnTo>
                  <a:lnTo>
                    <a:pt x="7542" y="3424"/>
                  </a:lnTo>
                  <a:lnTo>
                    <a:pt x="7545" y="3433"/>
                  </a:lnTo>
                  <a:close/>
                  <a:moveTo>
                    <a:pt x="7808" y="3433"/>
                  </a:moveTo>
                  <a:lnTo>
                    <a:pt x="7808" y="3546"/>
                  </a:lnTo>
                  <a:lnTo>
                    <a:pt x="7807" y="3554"/>
                  </a:lnTo>
                  <a:lnTo>
                    <a:pt x="7801" y="3561"/>
                  </a:lnTo>
                  <a:lnTo>
                    <a:pt x="7795" y="3565"/>
                  </a:lnTo>
                  <a:lnTo>
                    <a:pt x="7787" y="3565"/>
                  </a:lnTo>
                  <a:lnTo>
                    <a:pt x="7781" y="3565"/>
                  </a:lnTo>
                  <a:lnTo>
                    <a:pt x="7774" y="3561"/>
                  </a:lnTo>
                  <a:lnTo>
                    <a:pt x="7769" y="3554"/>
                  </a:lnTo>
                  <a:lnTo>
                    <a:pt x="7768" y="3546"/>
                  </a:lnTo>
                  <a:lnTo>
                    <a:pt x="7768" y="3433"/>
                  </a:lnTo>
                  <a:lnTo>
                    <a:pt x="7769" y="3424"/>
                  </a:lnTo>
                  <a:lnTo>
                    <a:pt x="7774" y="3419"/>
                  </a:lnTo>
                  <a:lnTo>
                    <a:pt x="7781" y="3415"/>
                  </a:lnTo>
                  <a:lnTo>
                    <a:pt x="7787" y="3414"/>
                  </a:lnTo>
                  <a:lnTo>
                    <a:pt x="7795" y="3415"/>
                  </a:lnTo>
                  <a:lnTo>
                    <a:pt x="7801" y="3419"/>
                  </a:lnTo>
                  <a:lnTo>
                    <a:pt x="7807" y="3424"/>
                  </a:lnTo>
                  <a:lnTo>
                    <a:pt x="7808" y="3433"/>
                  </a:lnTo>
                  <a:close/>
                  <a:moveTo>
                    <a:pt x="8071" y="3433"/>
                  </a:moveTo>
                  <a:lnTo>
                    <a:pt x="8071" y="3546"/>
                  </a:lnTo>
                  <a:lnTo>
                    <a:pt x="8069" y="3554"/>
                  </a:lnTo>
                  <a:lnTo>
                    <a:pt x="8064" y="3561"/>
                  </a:lnTo>
                  <a:lnTo>
                    <a:pt x="8058" y="3565"/>
                  </a:lnTo>
                  <a:lnTo>
                    <a:pt x="8051" y="3565"/>
                  </a:lnTo>
                  <a:lnTo>
                    <a:pt x="8044" y="3565"/>
                  </a:lnTo>
                  <a:lnTo>
                    <a:pt x="8037" y="3561"/>
                  </a:lnTo>
                  <a:lnTo>
                    <a:pt x="8032" y="3554"/>
                  </a:lnTo>
                  <a:lnTo>
                    <a:pt x="8031" y="3546"/>
                  </a:lnTo>
                  <a:lnTo>
                    <a:pt x="8031" y="3433"/>
                  </a:lnTo>
                  <a:lnTo>
                    <a:pt x="8032" y="3424"/>
                  </a:lnTo>
                  <a:lnTo>
                    <a:pt x="8037" y="3419"/>
                  </a:lnTo>
                  <a:lnTo>
                    <a:pt x="8044" y="3415"/>
                  </a:lnTo>
                  <a:lnTo>
                    <a:pt x="8051" y="3414"/>
                  </a:lnTo>
                  <a:lnTo>
                    <a:pt x="8058" y="3415"/>
                  </a:lnTo>
                  <a:lnTo>
                    <a:pt x="8064" y="3419"/>
                  </a:lnTo>
                  <a:lnTo>
                    <a:pt x="8069" y="3424"/>
                  </a:lnTo>
                  <a:lnTo>
                    <a:pt x="8071" y="3433"/>
                  </a:lnTo>
                  <a:close/>
                  <a:moveTo>
                    <a:pt x="8334" y="3433"/>
                  </a:moveTo>
                  <a:lnTo>
                    <a:pt x="8334" y="3546"/>
                  </a:lnTo>
                  <a:lnTo>
                    <a:pt x="8332" y="3554"/>
                  </a:lnTo>
                  <a:lnTo>
                    <a:pt x="8327" y="3561"/>
                  </a:lnTo>
                  <a:lnTo>
                    <a:pt x="8322" y="3565"/>
                  </a:lnTo>
                  <a:lnTo>
                    <a:pt x="8314" y="3565"/>
                  </a:lnTo>
                  <a:lnTo>
                    <a:pt x="8307" y="3565"/>
                  </a:lnTo>
                  <a:lnTo>
                    <a:pt x="8300" y="3561"/>
                  </a:lnTo>
                  <a:lnTo>
                    <a:pt x="8296" y="3554"/>
                  </a:lnTo>
                  <a:lnTo>
                    <a:pt x="8294" y="3546"/>
                  </a:lnTo>
                  <a:lnTo>
                    <a:pt x="8294" y="3433"/>
                  </a:lnTo>
                  <a:lnTo>
                    <a:pt x="8296" y="3424"/>
                  </a:lnTo>
                  <a:lnTo>
                    <a:pt x="8300" y="3419"/>
                  </a:lnTo>
                  <a:lnTo>
                    <a:pt x="8307" y="3415"/>
                  </a:lnTo>
                  <a:lnTo>
                    <a:pt x="8314" y="3414"/>
                  </a:lnTo>
                  <a:lnTo>
                    <a:pt x="8322" y="3415"/>
                  </a:lnTo>
                  <a:lnTo>
                    <a:pt x="8327" y="3419"/>
                  </a:lnTo>
                  <a:lnTo>
                    <a:pt x="8332" y="3424"/>
                  </a:lnTo>
                  <a:lnTo>
                    <a:pt x="8334" y="3433"/>
                  </a:lnTo>
                  <a:close/>
                  <a:moveTo>
                    <a:pt x="8598" y="3433"/>
                  </a:moveTo>
                  <a:lnTo>
                    <a:pt x="8598" y="3546"/>
                  </a:lnTo>
                  <a:lnTo>
                    <a:pt x="8595" y="3554"/>
                  </a:lnTo>
                  <a:lnTo>
                    <a:pt x="8591" y="3561"/>
                  </a:lnTo>
                  <a:lnTo>
                    <a:pt x="8585" y="3565"/>
                  </a:lnTo>
                  <a:lnTo>
                    <a:pt x="8577" y="3565"/>
                  </a:lnTo>
                  <a:lnTo>
                    <a:pt x="8569" y="3565"/>
                  </a:lnTo>
                  <a:lnTo>
                    <a:pt x="8563" y="3561"/>
                  </a:lnTo>
                  <a:lnTo>
                    <a:pt x="8559" y="3554"/>
                  </a:lnTo>
                  <a:lnTo>
                    <a:pt x="8557" y="3546"/>
                  </a:lnTo>
                  <a:lnTo>
                    <a:pt x="8557" y="3433"/>
                  </a:lnTo>
                  <a:lnTo>
                    <a:pt x="8559" y="3424"/>
                  </a:lnTo>
                  <a:lnTo>
                    <a:pt x="8563" y="3419"/>
                  </a:lnTo>
                  <a:lnTo>
                    <a:pt x="8569" y="3415"/>
                  </a:lnTo>
                  <a:lnTo>
                    <a:pt x="8577" y="3414"/>
                  </a:lnTo>
                  <a:lnTo>
                    <a:pt x="8585" y="3415"/>
                  </a:lnTo>
                  <a:lnTo>
                    <a:pt x="8591" y="3419"/>
                  </a:lnTo>
                  <a:lnTo>
                    <a:pt x="8595" y="3424"/>
                  </a:lnTo>
                  <a:lnTo>
                    <a:pt x="8598" y="3433"/>
                  </a:lnTo>
                  <a:close/>
                  <a:moveTo>
                    <a:pt x="8861" y="3433"/>
                  </a:moveTo>
                  <a:lnTo>
                    <a:pt x="8861" y="3546"/>
                  </a:lnTo>
                  <a:lnTo>
                    <a:pt x="8858" y="3554"/>
                  </a:lnTo>
                  <a:lnTo>
                    <a:pt x="8854" y="3561"/>
                  </a:lnTo>
                  <a:lnTo>
                    <a:pt x="8848" y="3565"/>
                  </a:lnTo>
                  <a:lnTo>
                    <a:pt x="8840" y="3565"/>
                  </a:lnTo>
                  <a:lnTo>
                    <a:pt x="8832" y="3565"/>
                  </a:lnTo>
                  <a:lnTo>
                    <a:pt x="8826" y="3561"/>
                  </a:lnTo>
                  <a:lnTo>
                    <a:pt x="8822" y="3554"/>
                  </a:lnTo>
                  <a:lnTo>
                    <a:pt x="8821" y="3546"/>
                  </a:lnTo>
                  <a:lnTo>
                    <a:pt x="8821" y="3433"/>
                  </a:lnTo>
                  <a:lnTo>
                    <a:pt x="8822" y="3424"/>
                  </a:lnTo>
                  <a:lnTo>
                    <a:pt x="8826" y="3419"/>
                  </a:lnTo>
                  <a:lnTo>
                    <a:pt x="8832" y="3415"/>
                  </a:lnTo>
                  <a:lnTo>
                    <a:pt x="8840" y="3414"/>
                  </a:lnTo>
                  <a:lnTo>
                    <a:pt x="8848" y="3415"/>
                  </a:lnTo>
                  <a:lnTo>
                    <a:pt x="8854" y="3419"/>
                  </a:lnTo>
                  <a:lnTo>
                    <a:pt x="8858" y="3424"/>
                  </a:lnTo>
                  <a:lnTo>
                    <a:pt x="8861" y="3433"/>
                  </a:lnTo>
                  <a:close/>
                  <a:moveTo>
                    <a:pt x="7545" y="3680"/>
                  </a:moveTo>
                  <a:lnTo>
                    <a:pt x="7545" y="3792"/>
                  </a:lnTo>
                  <a:lnTo>
                    <a:pt x="7542" y="3801"/>
                  </a:lnTo>
                  <a:lnTo>
                    <a:pt x="7539" y="3806"/>
                  </a:lnTo>
                  <a:lnTo>
                    <a:pt x="7532" y="3810"/>
                  </a:lnTo>
                  <a:lnTo>
                    <a:pt x="7524" y="3811"/>
                  </a:lnTo>
                  <a:lnTo>
                    <a:pt x="7517" y="3810"/>
                  </a:lnTo>
                  <a:lnTo>
                    <a:pt x="7510" y="3806"/>
                  </a:lnTo>
                  <a:lnTo>
                    <a:pt x="7506" y="3801"/>
                  </a:lnTo>
                  <a:lnTo>
                    <a:pt x="7505" y="3792"/>
                  </a:lnTo>
                  <a:lnTo>
                    <a:pt x="7505" y="3680"/>
                  </a:lnTo>
                  <a:lnTo>
                    <a:pt x="7506" y="3671"/>
                  </a:lnTo>
                  <a:lnTo>
                    <a:pt x="7510" y="3664"/>
                  </a:lnTo>
                  <a:lnTo>
                    <a:pt x="7517" y="3661"/>
                  </a:lnTo>
                  <a:lnTo>
                    <a:pt x="7524" y="3659"/>
                  </a:lnTo>
                  <a:lnTo>
                    <a:pt x="7532" y="3661"/>
                  </a:lnTo>
                  <a:lnTo>
                    <a:pt x="7539" y="3664"/>
                  </a:lnTo>
                  <a:lnTo>
                    <a:pt x="7542" y="3671"/>
                  </a:lnTo>
                  <a:lnTo>
                    <a:pt x="7545" y="3680"/>
                  </a:lnTo>
                  <a:close/>
                  <a:moveTo>
                    <a:pt x="7808" y="3680"/>
                  </a:moveTo>
                  <a:lnTo>
                    <a:pt x="7808" y="3792"/>
                  </a:lnTo>
                  <a:lnTo>
                    <a:pt x="7807" y="3801"/>
                  </a:lnTo>
                  <a:lnTo>
                    <a:pt x="7801" y="3806"/>
                  </a:lnTo>
                  <a:lnTo>
                    <a:pt x="7795" y="3810"/>
                  </a:lnTo>
                  <a:lnTo>
                    <a:pt x="7787" y="3811"/>
                  </a:lnTo>
                  <a:lnTo>
                    <a:pt x="7781" y="3810"/>
                  </a:lnTo>
                  <a:lnTo>
                    <a:pt x="7774" y="3806"/>
                  </a:lnTo>
                  <a:lnTo>
                    <a:pt x="7769" y="3801"/>
                  </a:lnTo>
                  <a:lnTo>
                    <a:pt x="7768" y="3792"/>
                  </a:lnTo>
                  <a:lnTo>
                    <a:pt x="7768" y="3680"/>
                  </a:lnTo>
                  <a:lnTo>
                    <a:pt x="7769" y="3671"/>
                  </a:lnTo>
                  <a:lnTo>
                    <a:pt x="7774" y="3664"/>
                  </a:lnTo>
                  <a:lnTo>
                    <a:pt x="7781" y="3661"/>
                  </a:lnTo>
                  <a:lnTo>
                    <a:pt x="7787" y="3659"/>
                  </a:lnTo>
                  <a:lnTo>
                    <a:pt x="7795" y="3661"/>
                  </a:lnTo>
                  <a:lnTo>
                    <a:pt x="7801" y="3664"/>
                  </a:lnTo>
                  <a:lnTo>
                    <a:pt x="7807" y="3671"/>
                  </a:lnTo>
                  <a:lnTo>
                    <a:pt x="7808" y="3680"/>
                  </a:lnTo>
                  <a:close/>
                  <a:moveTo>
                    <a:pt x="8071" y="3680"/>
                  </a:moveTo>
                  <a:lnTo>
                    <a:pt x="8071" y="3792"/>
                  </a:lnTo>
                  <a:lnTo>
                    <a:pt x="8069" y="3801"/>
                  </a:lnTo>
                  <a:lnTo>
                    <a:pt x="8064" y="3806"/>
                  </a:lnTo>
                  <a:lnTo>
                    <a:pt x="8058" y="3810"/>
                  </a:lnTo>
                  <a:lnTo>
                    <a:pt x="8051" y="3811"/>
                  </a:lnTo>
                  <a:lnTo>
                    <a:pt x="8044" y="3810"/>
                  </a:lnTo>
                  <a:lnTo>
                    <a:pt x="8037" y="3806"/>
                  </a:lnTo>
                  <a:lnTo>
                    <a:pt x="8032" y="3801"/>
                  </a:lnTo>
                  <a:lnTo>
                    <a:pt x="8031" y="3792"/>
                  </a:lnTo>
                  <a:lnTo>
                    <a:pt x="8031" y="3680"/>
                  </a:lnTo>
                  <a:lnTo>
                    <a:pt x="8032" y="3671"/>
                  </a:lnTo>
                  <a:lnTo>
                    <a:pt x="8037" y="3664"/>
                  </a:lnTo>
                  <a:lnTo>
                    <a:pt x="8044" y="3661"/>
                  </a:lnTo>
                  <a:lnTo>
                    <a:pt x="8051" y="3659"/>
                  </a:lnTo>
                  <a:lnTo>
                    <a:pt x="8058" y="3661"/>
                  </a:lnTo>
                  <a:lnTo>
                    <a:pt x="8064" y="3664"/>
                  </a:lnTo>
                  <a:lnTo>
                    <a:pt x="8069" y="3671"/>
                  </a:lnTo>
                  <a:lnTo>
                    <a:pt x="8071" y="3680"/>
                  </a:lnTo>
                  <a:close/>
                  <a:moveTo>
                    <a:pt x="8334" y="3680"/>
                  </a:moveTo>
                  <a:lnTo>
                    <a:pt x="8334" y="3792"/>
                  </a:lnTo>
                  <a:lnTo>
                    <a:pt x="8332" y="3801"/>
                  </a:lnTo>
                  <a:lnTo>
                    <a:pt x="8327" y="3806"/>
                  </a:lnTo>
                  <a:lnTo>
                    <a:pt x="8322" y="3810"/>
                  </a:lnTo>
                  <a:lnTo>
                    <a:pt x="8314" y="3811"/>
                  </a:lnTo>
                  <a:lnTo>
                    <a:pt x="8307" y="3810"/>
                  </a:lnTo>
                  <a:lnTo>
                    <a:pt x="8300" y="3806"/>
                  </a:lnTo>
                  <a:lnTo>
                    <a:pt x="8296" y="3801"/>
                  </a:lnTo>
                  <a:lnTo>
                    <a:pt x="8294" y="3792"/>
                  </a:lnTo>
                  <a:lnTo>
                    <a:pt x="8294" y="3680"/>
                  </a:lnTo>
                  <a:lnTo>
                    <a:pt x="8296" y="3671"/>
                  </a:lnTo>
                  <a:lnTo>
                    <a:pt x="8300" y="3664"/>
                  </a:lnTo>
                  <a:lnTo>
                    <a:pt x="8307" y="3661"/>
                  </a:lnTo>
                  <a:lnTo>
                    <a:pt x="8314" y="3659"/>
                  </a:lnTo>
                  <a:lnTo>
                    <a:pt x="8322" y="3661"/>
                  </a:lnTo>
                  <a:lnTo>
                    <a:pt x="8327" y="3664"/>
                  </a:lnTo>
                  <a:lnTo>
                    <a:pt x="8332" y="3671"/>
                  </a:lnTo>
                  <a:lnTo>
                    <a:pt x="8334" y="3680"/>
                  </a:lnTo>
                  <a:close/>
                  <a:moveTo>
                    <a:pt x="8598" y="3680"/>
                  </a:moveTo>
                  <a:lnTo>
                    <a:pt x="8598" y="3792"/>
                  </a:lnTo>
                  <a:lnTo>
                    <a:pt x="8595" y="3801"/>
                  </a:lnTo>
                  <a:lnTo>
                    <a:pt x="8591" y="3806"/>
                  </a:lnTo>
                  <a:lnTo>
                    <a:pt x="8585" y="3810"/>
                  </a:lnTo>
                  <a:lnTo>
                    <a:pt x="8577" y="3811"/>
                  </a:lnTo>
                  <a:lnTo>
                    <a:pt x="8569" y="3810"/>
                  </a:lnTo>
                  <a:lnTo>
                    <a:pt x="8563" y="3806"/>
                  </a:lnTo>
                  <a:lnTo>
                    <a:pt x="8559" y="3801"/>
                  </a:lnTo>
                  <a:lnTo>
                    <a:pt x="8557" y="3792"/>
                  </a:lnTo>
                  <a:lnTo>
                    <a:pt x="8557" y="3680"/>
                  </a:lnTo>
                  <a:lnTo>
                    <a:pt x="8559" y="3671"/>
                  </a:lnTo>
                  <a:lnTo>
                    <a:pt x="8563" y="3664"/>
                  </a:lnTo>
                  <a:lnTo>
                    <a:pt x="8569" y="3661"/>
                  </a:lnTo>
                  <a:lnTo>
                    <a:pt x="8577" y="3659"/>
                  </a:lnTo>
                  <a:lnTo>
                    <a:pt x="8585" y="3661"/>
                  </a:lnTo>
                  <a:lnTo>
                    <a:pt x="8591" y="3664"/>
                  </a:lnTo>
                  <a:lnTo>
                    <a:pt x="8595" y="3671"/>
                  </a:lnTo>
                  <a:lnTo>
                    <a:pt x="8598" y="3680"/>
                  </a:lnTo>
                  <a:close/>
                  <a:moveTo>
                    <a:pt x="8861" y="3680"/>
                  </a:moveTo>
                  <a:lnTo>
                    <a:pt x="8861" y="3792"/>
                  </a:lnTo>
                  <a:lnTo>
                    <a:pt x="8858" y="3801"/>
                  </a:lnTo>
                  <a:lnTo>
                    <a:pt x="8854" y="3806"/>
                  </a:lnTo>
                  <a:lnTo>
                    <a:pt x="8848" y="3810"/>
                  </a:lnTo>
                  <a:lnTo>
                    <a:pt x="8840" y="3811"/>
                  </a:lnTo>
                  <a:lnTo>
                    <a:pt x="8832" y="3810"/>
                  </a:lnTo>
                  <a:lnTo>
                    <a:pt x="8826" y="3806"/>
                  </a:lnTo>
                  <a:lnTo>
                    <a:pt x="8822" y="3801"/>
                  </a:lnTo>
                  <a:lnTo>
                    <a:pt x="8821" y="3792"/>
                  </a:lnTo>
                  <a:lnTo>
                    <a:pt x="8821" y="3680"/>
                  </a:lnTo>
                  <a:lnTo>
                    <a:pt x="8822" y="3671"/>
                  </a:lnTo>
                  <a:lnTo>
                    <a:pt x="8826" y="3664"/>
                  </a:lnTo>
                  <a:lnTo>
                    <a:pt x="8832" y="3661"/>
                  </a:lnTo>
                  <a:lnTo>
                    <a:pt x="8840" y="3659"/>
                  </a:lnTo>
                  <a:lnTo>
                    <a:pt x="8848" y="3661"/>
                  </a:lnTo>
                  <a:lnTo>
                    <a:pt x="8854" y="3664"/>
                  </a:lnTo>
                  <a:lnTo>
                    <a:pt x="8858" y="3671"/>
                  </a:lnTo>
                  <a:lnTo>
                    <a:pt x="8861" y="3680"/>
                  </a:lnTo>
                  <a:close/>
                  <a:moveTo>
                    <a:pt x="9081" y="2604"/>
                  </a:moveTo>
                  <a:lnTo>
                    <a:pt x="9075" y="2604"/>
                  </a:lnTo>
                  <a:lnTo>
                    <a:pt x="9081" y="2604"/>
                  </a:lnTo>
                  <a:close/>
                  <a:moveTo>
                    <a:pt x="5536" y="1840"/>
                  </a:moveTo>
                  <a:lnTo>
                    <a:pt x="5109" y="1840"/>
                  </a:lnTo>
                  <a:lnTo>
                    <a:pt x="5109" y="1950"/>
                  </a:lnTo>
                  <a:lnTo>
                    <a:pt x="5536" y="1950"/>
                  </a:lnTo>
                  <a:lnTo>
                    <a:pt x="5536" y="1840"/>
                  </a:lnTo>
                  <a:close/>
                  <a:moveTo>
                    <a:pt x="4446" y="3790"/>
                  </a:moveTo>
                  <a:lnTo>
                    <a:pt x="5309" y="3790"/>
                  </a:lnTo>
                  <a:lnTo>
                    <a:pt x="5318" y="3791"/>
                  </a:lnTo>
                  <a:lnTo>
                    <a:pt x="5324" y="3796"/>
                  </a:lnTo>
                  <a:lnTo>
                    <a:pt x="5328" y="3803"/>
                  </a:lnTo>
                  <a:lnTo>
                    <a:pt x="5329" y="3809"/>
                  </a:lnTo>
                  <a:lnTo>
                    <a:pt x="5328" y="3817"/>
                  </a:lnTo>
                  <a:lnTo>
                    <a:pt x="5324" y="3823"/>
                  </a:lnTo>
                  <a:lnTo>
                    <a:pt x="5318" y="3828"/>
                  </a:lnTo>
                  <a:lnTo>
                    <a:pt x="5309" y="3829"/>
                  </a:lnTo>
                  <a:lnTo>
                    <a:pt x="5215" y="3829"/>
                  </a:lnTo>
                  <a:lnTo>
                    <a:pt x="5215" y="4317"/>
                  </a:lnTo>
                  <a:lnTo>
                    <a:pt x="5754" y="4317"/>
                  </a:lnTo>
                  <a:lnTo>
                    <a:pt x="5754" y="3782"/>
                  </a:lnTo>
                  <a:lnTo>
                    <a:pt x="5754" y="3249"/>
                  </a:lnTo>
                  <a:lnTo>
                    <a:pt x="5754" y="2716"/>
                  </a:lnTo>
                  <a:lnTo>
                    <a:pt x="5754" y="2182"/>
                  </a:lnTo>
                  <a:lnTo>
                    <a:pt x="5195" y="2182"/>
                  </a:lnTo>
                  <a:lnTo>
                    <a:pt x="4637" y="2182"/>
                  </a:lnTo>
                  <a:lnTo>
                    <a:pt x="4629" y="2181"/>
                  </a:lnTo>
                  <a:lnTo>
                    <a:pt x="4623" y="2176"/>
                  </a:lnTo>
                  <a:lnTo>
                    <a:pt x="4619" y="2170"/>
                  </a:lnTo>
                  <a:lnTo>
                    <a:pt x="4617" y="2163"/>
                  </a:lnTo>
                  <a:lnTo>
                    <a:pt x="4619" y="2156"/>
                  </a:lnTo>
                  <a:lnTo>
                    <a:pt x="4623" y="2149"/>
                  </a:lnTo>
                  <a:lnTo>
                    <a:pt x="4629" y="2144"/>
                  </a:lnTo>
                  <a:lnTo>
                    <a:pt x="4637" y="2143"/>
                  </a:lnTo>
                  <a:lnTo>
                    <a:pt x="5615" y="2143"/>
                  </a:lnTo>
                  <a:lnTo>
                    <a:pt x="5615" y="1989"/>
                  </a:lnTo>
                  <a:lnTo>
                    <a:pt x="5555" y="1989"/>
                  </a:lnTo>
                  <a:lnTo>
                    <a:pt x="5089" y="1989"/>
                  </a:lnTo>
                  <a:lnTo>
                    <a:pt x="4119" y="1989"/>
                  </a:lnTo>
                  <a:lnTo>
                    <a:pt x="4119" y="2143"/>
                  </a:lnTo>
                  <a:lnTo>
                    <a:pt x="4373" y="2143"/>
                  </a:lnTo>
                  <a:lnTo>
                    <a:pt x="4382" y="2144"/>
                  </a:lnTo>
                  <a:lnTo>
                    <a:pt x="4387" y="2149"/>
                  </a:lnTo>
                  <a:lnTo>
                    <a:pt x="4391" y="2156"/>
                  </a:lnTo>
                  <a:lnTo>
                    <a:pt x="4392" y="2163"/>
                  </a:lnTo>
                  <a:lnTo>
                    <a:pt x="4391" y="2170"/>
                  </a:lnTo>
                  <a:lnTo>
                    <a:pt x="4387" y="2176"/>
                  </a:lnTo>
                  <a:lnTo>
                    <a:pt x="4382" y="2181"/>
                  </a:lnTo>
                  <a:lnTo>
                    <a:pt x="4373" y="2182"/>
                  </a:lnTo>
                  <a:lnTo>
                    <a:pt x="4001" y="2182"/>
                  </a:lnTo>
                  <a:lnTo>
                    <a:pt x="4001" y="3195"/>
                  </a:lnTo>
                  <a:lnTo>
                    <a:pt x="3999" y="3204"/>
                  </a:lnTo>
                  <a:lnTo>
                    <a:pt x="3994" y="3211"/>
                  </a:lnTo>
                  <a:lnTo>
                    <a:pt x="3988" y="3214"/>
                  </a:lnTo>
                  <a:lnTo>
                    <a:pt x="3980" y="3216"/>
                  </a:lnTo>
                  <a:lnTo>
                    <a:pt x="3974" y="3214"/>
                  </a:lnTo>
                  <a:lnTo>
                    <a:pt x="3967" y="3211"/>
                  </a:lnTo>
                  <a:lnTo>
                    <a:pt x="3962" y="3204"/>
                  </a:lnTo>
                  <a:lnTo>
                    <a:pt x="3961" y="3195"/>
                  </a:lnTo>
                  <a:lnTo>
                    <a:pt x="3961" y="2679"/>
                  </a:lnTo>
                  <a:lnTo>
                    <a:pt x="3961" y="2163"/>
                  </a:lnTo>
                  <a:lnTo>
                    <a:pt x="3962" y="2156"/>
                  </a:lnTo>
                  <a:lnTo>
                    <a:pt x="3966" y="2149"/>
                  </a:lnTo>
                  <a:lnTo>
                    <a:pt x="3973" y="2144"/>
                  </a:lnTo>
                  <a:lnTo>
                    <a:pt x="3980" y="2143"/>
                  </a:lnTo>
                  <a:lnTo>
                    <a:pt x="4079" y="2143"/>
                  </a:lnTo>
                  <a:lnTo>
                    <a:pt x="4079" y="1970"/>
                  </a:lnTo>
                  <a:lnTo>
                    <a:pt x="4080" y="1963"/>
                  </a:lnTo>
                  <a:lnTo>
                    <a:pt x="4085" y="1956"/>
                  </a:lnTo>
                  <a:lnTo>
                    <a:pt x="4092" y="1951"/>
                  </a:lnTo>
                  <a:lnTo>
                    <a:pt x="4099" y="1950"/>
                  </a:lnTo>
                  <a:lnTo>
                    <a:pt x="5069" y="1950"/>
                  </a:lnTo>
                  <a:lnTo>
                    <a:pt x="5069" y="1819"/>
                  </a:lnTo>
                  <a:lnTo>
                    <a:pt x="5070" y="1812"/>
                  </a:lnTo>
                  <a:lnTo>
                    <a:pt x="5075" y="1805"/>
                  </a:lnTo>
                  <a:lnTo>
                    <a:pt x="5082" y="1801"/>
                  </a:lnTo>
                  <a:lnTo>
                    <a:pt x="5089" y="1799"/>
                  </a:lnTo>
                  <a:lnTo>
                    <a:pt x="5555" y="1799"/>
                  </a:lnTo>
                  <a:lnTo>
                    <a:pt x="5563" y="1801"/>
                  </a:lnTo>
                  <a:lnTo>
                    <a:pt x="5569" y="1805"/>
                  </a:lnTo>
                  <a:lnTo>
                    <a:pt x="5573" y="1812"/>
                  </a:lnTo>
                  <a:lnTo>
                    <a:pt x="5575" y="1819"/>
                  </a:lnTo>
                  <a:lnTo>
                    <a:pt x="5575" y="1950"/>
                  </a:lnTo>
                  <a:lnTo>
                    <a:pt x="5636" y="1950"/>
                  </a:lnTo>
                  <a:lnTo>
                    <a:pt x="5643" y="1951"/>
                  </a:lnTo>
                  <a:lnTo>
                    <a:pt x="5650" y="1956"/>
                  </a:lnTo>
                  <a:lnTo>
                    <a:pt x="5654" y="1963"/>
                  </a:lnTo>
                  <a:lnTo>
                    <a:pt x="5656" y="1970"/>
                  </a:lnTo>
                  <a:lnTo>
                    <a:pt x="5656" y="2143"/>
                  </a:lnTo>
                  <a:lnTo>
                    <a:pt x="5773" y="2143"/>
                  </a:lnTo>
                  <a:lnTo>
                    <a:pt x="5781" y="2144"/>
                  </a:lnTo>
                  <a:lnTo>
                    <a:pt x="5787" y="2149"/>
                  </a:lnTo>
                  <a:lnTo>
                    <a:pt x="5792" y="2156"/>
                  </a:lnTo>
                  <a:lnTo>
                    <a:pt x="5793" y="2163"/>
                  </a:lnTo>
                  <a:lnTo>
                    <a:pt x="5793" y="2705"/>
                  </a:lnTo>
                  <a:lnTo>
                    <a:pt x="5793" y="3249"/>
                  </a:lnTo>
                  <a:lnTo>
                    <a:pt x="5793" y="3792"/>
                  </a:lnTo>
                  <a:lnTo>
                    <a:pt x="5793" y="4336"/>
                  </a:lnTo>
                  <a:lnTo>
                    <a:pt x="5792" y="4343"/>
                  </a:lnTo>
                  <a:lnTo>
                    <a:pt x="5787" y="4350"/>
                  </a:lnTo>
                  <a:lnTo>
                    <a:pt x="5781" y="4355"/>
                  </a:lnTo>
                  <a:lnTo>
                    <a:pt x="5773" y="4356"/>
                  </a:lnTo>
                  <a:lnTo>
                    <a:pt x="5195" y="4356"/>
                  </a:lnTo>
                  <a:lnTo>
                    <a:pt x="4560" y="4356"/>
                  </a:lnTo>
                  <a:lnTo>
                    <a:pt x="3980" y="4356"/>
                  </a:lnTo>
                  <a:lnTo>
                    <a:pt x="3973" y="4355"/>
                  </a:lnTo>
                  <a:lnTo>
                    <a:pt x="3966" y="4350"/>
                  </a:lnTo>
                  <a:lnTo>
                    <a:pt x="3962" y="4343"/>
                  </a:lnTo>
                  <a:lnTo>
                    <a:pt x="3961" y="4336"/>
                  </a:lnTo>
                  <a:lnTo>
                    <a:pt x="3961" y="4037"/>
                  </a:lnTo>
                  <a:lnTo>
                    <a:pt x="3962" y="4028"/>
                  </a:lnTo>
                  <a:lnTo>
                    <a:pt x="3967" y="4021"/>
                  </a:lnTo>
                  <a:lnTo>
                    <a:pt x="3974" y="4017"/>
                  </a:lnTo>
                  <a:lnTo>
                    <a:pt x="3980" y="4016"/>
                  </a:lnTo>
                  <a:lnTo>
                    <a:pt x="3988" y="4017"/>
                  </a:lnTo>
                  <a:lnTo>
                    <a:pt x="3994" y="4021"/>
                  </a:lnTo>
                  <a:lnTo>
                    <a:pt x="3999" y="4028"/>
                  </a:lnTo>
                  <a:lnTo>
                    <a:pt x="4001" y="4037"/>
                  </a:lnTo>
                  <a:lnTo>
                    <a:pt x="4001" y="4317"/>
                  </a:lnTo>
                  <a:lnTo>
                    <a:pt x="4539" y="4317"/>
                  </a:lnTo>
                  <a:lnTo>
                    <a:pt x="4539" y="3829"/>
                  </a:lnTo>
                  <a:lnTo>
                    <a:pt x="4446" y="3829"/>
                  </a:lnTo>
                  <a:lnTo>
                    <a:pt x="4437" y="3828"/>
                  </a:lnTo>
                  <a:lnTo>
                    <a:pt x="4430" y="3823"/>
                  </a:lnTo>
                  <a:lnTo>
                    <a:pt x="4426" y="3817"/>
                  </a:lnTo>
                  <a:lnTo>
                    <a:pt x="4425" y="3809"/>
                  </a:lnTo>
                  <a:lnTo>
                    <a:pt x="4426" y="3803"/>
                  </a:lnTo>
                  <a:lnTo>
                    <a:pt x="4430" y="3796"/>
                  </a:lnTo>
                  <a:lnTo>
                    <a:pt x="4437" y="3791"/>
                  </a:lnTo>
                  <a:lnTo>
                    <a:pt x="4446" y="3790"/>
                  </a:lnTo>
                  <a:close/>
                  <a:moveTo>
                    <a:pt x="4897" y="3950"/>
                  </a:moveTo>
                  <a:lnTo>
                    <a:pt x="4897" y="4317"/>
                  </a:lnTo>
                  <a:lnTo>
                    <a:pt x="5175" y="4317"/>
                  </a:lnTo>
                  <a:lnTo>
                    <a:pt x="5175" y="3829"/>
                  </a:lnTo>
                  <a:lnTo>
                    <a:pt x="4579" y="3829"/>
                  </a:lnTo>
                  <a:lnTo>
                    <a:pt x="4579" y="4317"/>
                  </a:lnTo>
                  <a:lnTo>
                    <a:pt x="4857" y="4317"/>
                  </a:lnTo>
                  <a:lnTo>
                    <a:pt x="4857" y="3950"/>
                  </a:lnTo>
                  <a:lnTo>
                    <a:pt x="4859" y="3941"/>
                  </a:lnTo>
                  <a:lnTo>
                    <a:pt x="4864" y="3934"/>
                  </a:lnTo>
                  <a:lnTo>
                    <a:pt x="4870" y="3930"/>
                  </a:lnTo>
                  <a:lnTo>
                    <a:pt x="4877" y="3929"/>
                  </a:lnTo>
                  <a:lnTo>
                    <a:pt x="4884" y="3930"/>
                  </a:lnTo>
                  <a:lnTo>
                    <a:pt x="4891" y="3934"/>
                  </a:lnTo>
                  <a:lnTo>
                    <a:pt x="4896" y="3941"/>
                  </a:lnTo>
                  <a:lnTo>
                    <a:pt x="4897" y="3950"/>
                  </a:lnTo>
                  <a:close/>
                  <a:moveTo>
                    <a:pt x="8349" y="481"/>
                  </a:moveTo>
                  <a:lnTo>
                    <a:pt x="8337" y="483"/>
                  </a:lnTo>
                  <a:lnTo>
                    <a:pt x="8328" y="482"/>
                  </a:lnTo>
                  <a:lnTo>
                    <a:pt x="8321" y="475"/>
                  </a:lnTo>
                  <a:lnTo>
                    <a:pt x="8318" y="464"/>
                  </a:lnTo>
                  <a:lnTo>
                    <a:pt x="8316" y="446"/>
                  </a:lnTo>
                  <a:lnTo>
                    <a:pt x="8312" y="428"/>
                  </a:lnTo>
                  <a:lnTo>
                    <a:pt x="8299" y="394"/>
                  </a:lnTo>
                  <a:lnTo>
                    <a:pt x="8280" y="364"/>
                  </a:lnTo>
                  <a:lnTo>
                    <a:pt x="8255" y="337"/>
                  </a:lnTo>
                  <a:lnTo>
                    <a:pt x="8226" y="316"/>
                  </a:lnTo>
                  <a:lnTo>
                    <a:pt x="8192" y="299"/>
                  </a:lnTo>
                  <a:lnTo>
                    <a:pt x="8175" y="293"/>
                  </a:lnTo>
                  <a:lnTo>
                    <a:pt x="8157" y="289"/>
                  </a:lnTo>
                  <a:lnTo>
                    <a:pt x="8137" y="286"/>
                  </a:lnTo>
                  <a:lnTo>
                    <a:pt x="8119" y="285"/>
                  </a:lnTo>
                  <a:lnTo>
                    <a:pt x="8080" y="289"/>
                  </a:lnTo>
                  <a:lnTo>
                    <a:pt x="8060" y="294"/>
                  </a:lnTo>
                  <a:lnTo>
                    <a:pt x="8042" y="300"/>
                  </a:lnTo>
                  <a:lnTo>
                    <a:pt x="8008" y="318"/>
                  </a:lnTo>
                  <a:lnTo>
                    <a:pt x="7978" y="341"/>
                  </a:lnTo>
                  <a:lnTo>
                    <a:pt x="7966" y="355"/>
                  </a:lnTo>
                  <a:lnTo>
                    <a:pt x="7954" y="369"/>
                  </a:lnTo>
                  <a:lnTo>
                    <a:pt x="7935" y="403"/>
                  </a:lnTo>
                  <a:lnTo>
                    <a:pt x="7928" y="420"/>
                  </a:lnTo>
                  <a:lnTo>
                    <a:pt x="7923" y="438"/>
                  </a:lnTo>
                  <a:lnTo>
                    <a:pt x="7919" y="477"/>
                  </a:lnTo>
                  <a:lnTo>
                    <a:pt x="7867" y="477"/>
                  </a:lnTo>
                  <a:lnTo>
                    <a:pt x="7836" y="474"/>
                  </a:lnTo>
                  <a:lnTo>
                    <a:pt x="7815" y="477"/>
                  </a:lnTo>
                  <a:lnTo>
                    <a:pt x="7798" y="482"/>
                  </a:lnTo>
                  <a:lnTo>
                    <a:pt x="7780" y="492"/>
                  </a:lnTo>
                  <a:lnTo>
                    <a:pt x="7765" y="504"/>
                  </a:lnTo>
                  <a:lnTo>
                    <a:pt x="7754" y="519"/>
                  </a:lnTo>
                  <a:lnTo>
                    <a:pt x="7745" y="537"/>
                  </a:lnTo>
                  <a:lnTo>
                    <a:pt x="7740" y="556"/>
                  </a:lnTo>
                  <a:lnTo>
                    <a:pt x="7737" y="576"/>
                  </a:lnTo>
                  <a:lnTo>
                    <a:pt x="7740" y="598"/>
                  </a:lnTo>
                  <a:lnTo>
                    <a:pt x="8505" y="599"/>
                  </a:lnTo>
                  <a:lnTo>
                    <a:pt x="8508" y="574"/>
                  </a:lnTo>
                  <a:lnTo>
                    <a:pt x="8505" y="552"/>
                  </a:lnTo>
                  <a:lnTo>
                    <a:pt x="8499" y="532"/>
                  </a:lnTo>
                  <a:lnTo>
                    <a:pt x="8490" y="514"/>
                  </a:lnTo>
                  <a:lnTo>
                    <a:pt x="8477" y="497"/>
                  </a:lnTo>
                  <a:lnTo>
                    <a:pt x="8460" y="484"/>
                  </a:lnTo>
                  <a:lnTo>
                    <a:pt x="8443" y="474"/>
                  </a:lnTo>
                  <a:lnTo>
                    <a:pt x="8423" y="468"/>
                  </a:lnTo>
                  <a:lnTo>
                    <a:pt x="8401" y="465"/>
                  </a:lnTo>
                  <a:lnTo>
                    <a:pt x="8373" y="469"/>
                  </a:lnTo>
                  <a:lnTo>
                    <a:pt x="8349" y="481"/>
                  </a:lnTo>
                  <a:close/>
                  <a:moveTo>
                    <a:pt x="7880" y="455"/>
                  </a:moveTo>
                  <a:lnTo>
                    <a:pt x="7883" y="433"/>
                  </a:lnTo>
                  <a:lnTo>
                    <a:pt x="7889" y="411"/>
                  </a:lnTo>
                  <a:lnTo>
                    <a:pt x="7896" y="391"/>
                  </a:lnTo>
                  <a:lnTo>
                    <a:pt x="7905" y="372"/>
                  </a:lnTo>
                  <a:lnTo>
                    <a:pt x="7917" y="354"/>
                  </a:lnTo>
                  <a:lnTo>
                    <a:pt x="7930" y="336"/>
                  </a:lnTo>
                  <a:lnTo>
                    <a:pt x="7944" y="321"/>
                  </a:lnTo>
                  <a:lnTo>
                    <a:pt x="7959" y="305"/>
                  </a:lnTo>
                  <a:lnTo>
                    <a:pt x="7994" y="280"/>
                  </a:lnTo>
                  <a:lnTo>
                    <a:pt x="8032" y="261"/>
                  </a:lnTo>
                  <a:lnTo>
                    <a:pt x="8075" y="249"/>
                  </a:lnTo>
                  <a:lnTo>
                    <a:pt x="8119" y="245"/>
                  </a:lnTo>
                  <a:lnTo>
                    <a:pt x="8160" y="249"/>
                  </a:lnTo>
                  <a:lnTo>
                    <a:pt x="8200" y="259"/>
                  </a:lnTo>
                  <a:lnTo>
                    <a:pt x="8237" y="276"/>
                  </a:lnTo>
                  <a:lnTo>
                    <a:pt x="8254" y="286"/>
                  </a:lnTo>
                  <a:lnTo>
                    <a:pt x="8271" y="299"/>
                  </a:lnTo>
                  <a:lnTo>
                    <a:pt x="8300" y="326"/>
                  </a:lnTo>
                  <a:lnTo>
                    <a:pt x="8325" y="358"/>
                  </a:lnTo>
                  <a:lnTo>
                    <a:pt x="8335" y="376"/>
                  </a:lnTo>
                  <a:lnTo>
                    <a:pt x="8343" y="395"/>
                  </a:lnTo>
                  <a:lnTo>
                    <a:pt x="8350" y="414"/>
                  </a:lnTo>
                  <a:lnTo>
                    <a:pt x="8354" y="433"/>
                  </a:lnTo>
                  <a:lnTo>
                    <a:pt x="8377" y="428"/>
                  </a:lnTo>
                  <a:lnTo>
                    <a:pt x="8401" y="426"/>
                  </a:lnTo>
                  <a:lnTo>
                    <a:pt x="8431" y="428"/>
                  </a:lnTo>
                  <a:lnTo>
                    <a:pt x="8459" y="437"/>
                  </a:lnTo>
                  <a:lnTo>
                    <a:pt x="8484" y="451"/>
                  </a:lnTo>
                  <a:lnTo>
                    <a:pt x="8505" y="470"/>
                  </a:lnTo>
                  <a:lnTo>
                    <a:pt x="8523" y="492"/>
                  </a:lnTo>
                  <a:lnTo>
                    <a:pt x="8531" y="505"/>
                  </a:lnTo>
                  <a:lnTo>
                    <a:pt x="8536" y="518"/>
                  </a:lnTo>
                  <a:lnTo>
                    <a:pt x="8545" y="544"/>
                  </a:lnTo>
                  <a:lnTo>
                    <a:pt x="8548" y="560"/>
                  </a:lnTo>
                  <a:lnTo>
                    <a:pt x="8548" y="574"/>
                  </a:lnTo>
                  <a:lnTo>
                    <a:pt x="8548" y="592"/>
                  </a:lnTo>
                  <a:lnTo>
                    <a:pt x="8544" y="613"/>
                  </a:lnTo>
                  <a:lnTo>
                    <a:pt x="8540" y="624"/>
                  </a:lnTo>
                  <a:lnTo>
                    <a:pt x="8535" y="631"/>
                  </a:lnTo>
                  <a:lnTo>
                    <a:pt x="8528" y="638"/>
                  </a:lnTo>
                  <a:lnTo>
                    <a:pt x="8521" y="640"/>
                  </a:lnTo>
                  <a:lnTo>
                    <a:pt x="7724" y="638"/>
                  </a:lnTo>
                  <a:lnTo>
                    <a:pt x="7717" y="637"/>
                  </a:lnTo>
                  <a:lnTo>
                    <a:pt x="7710" y="631"/>
                  </a:lnTo>
                  <a:lnTo>
                    <a:pt x="7705" y="622"/>
                  </a:lnTo>
                  <a:lnTo>
                    <a:pt x="7701" y="613"/>
                  </a:lnTo>
                  <a:lnTo>
                    <a:pt x="7699" y="593"/>
                  </a:lnTo>
                  <a:lnTo>
                    <a:pt x="7698" y="576"/>
                  </a:lnTo>
                  <a:lnTo>
                    <a:pt x="7700" y="548"/>
                  </a:lnTo>
                  <a:lnTo>
                    <a:pt x="7708" y="521"/>
                  </a:lnTo>
                  <a:lnTo>
                    <a:pt x="7721" y="497"/>
                  </a:lnTo>
                  <a:lnTo>
                    <a:pt x="7737" y="477"/>
                  </a:lnTo>
                  <a:lnTo>
                    <a:pt x="7757" y="459"/>
                  </a:lnTo>
                  <a:lnTo>
                    <a:pt x="7781" y="446"/>
                  </a:lnTo>
                  <a:lnTo>
                    <a:pt x="7807" y="437"/>
                  </a:lnTo>
                  <a:lnTo>
                    <a:pt x="7836" y="434"/>
                  </a:lnTo>
                  <a:lnTo>
                    <a:pt x="7851" y="436"/>
                  </a:lnTo>
                  <a:lnTo>
                    <a:pt x="7864" y="440"/>
                  </a:lnTo>
                  <a:lnTo>
                    <a:pt x="7874" y="445"/>
                  </a:lnTo>
                  <a:lnTo>
                    <a:pt x="7880" y="455"/>
                  </a:lnTo>
                  <a:close/>
                  <a:moveTo>
                    <a:pt x="4157" y="902"/>
                  </a:moveTo>
                  <a:lnTo>
                    <a:pt x="4683" y="902"/>
                  </a:lnTo>
                  <a:lnTo>
                    <a:pt x="5210" y="902"/>
                  </a:lnTo>
                  <a:lnTo>
                    <a:pt x="5210" y="892"/>
                  </a:lnTo>
                  <a:lnTo>
                    <a:pt x="5207" y="865"/>
                  </a:lnTo>
                  <a:lnTo>
                    <a:pt x="5203" y="854"/>
                  </a:lnTo>
                  <a:lnTo>
                    <a:pt x="5200" y="841"/>
                  </a:lnTo>
                  <a:lnTo>
                    <a:pt x="5187" y="819"/>
                  </a:lnTo>
                  <a:lnTo>
                    <a:pt x="5179" y="809"/>
                  </a:lnTo>
                  <a:lnTo>
                    <a:pt x="5171" y="799"/>
                  </a:lnTo>
                  <a:lnTo>
                    <a:pt x="5151" y="784"/>
                  </a:lnTo>
                  <a:lnTo>
                    <a:pt x="5141" y="777"/>
                  </a:lnTo>
                  <a:lnTo>
                    <a:pt x="5129" y="771"/>
                  </a:lnTo>
                  <a:lnTo>
                    <a:pt x="5103" y="763"/>
                  </a:lnTo>
                  <a:lnTo>
                    <a:pt x="5077" y="761"/>
                  </a:lnTo>
                  <a:lnTo>
                    <a:pt x="5052" y="763"/>
                  </a:lnTo>
                  <a:lnTo>
                    <a:pt x="5042" y="767"/>
                  </a:lnTo>
                  <a:lnTo>
                    <a:pt x="5030" y="771"/>
                  </a:lnTo>
                  <a:lnTo>
                    <a:pt x="4996" y="791"/>
                  </a:lnTo>
                  <a:lnTo>
                    <a:pt x="4982" y="799"/>
                  </a:lnTo>
                  <a:lnTo>
                    <a:pt x="4970" y="801"/>
                  </a:lnTo>
                  <a:lnTo>
                    <a:pt x="4961" y="799"/>
                  </a:lnTo>
                  <a:lnTo>
                    <a:pt x="4955" y="786"/>
                  </a:lnTo>
                  <a:lnTo>
                    <a:pt x="4944" y="758"/>
                  </a:lnTo>
                  <a:lnTo>
                    <a:pt x="4938" y="745"/>
                  </a:lnTo>
                  <a:lnTo>
                    <a:pt x="4929" y="732"/>
                  </a:lnTo>
                  <a:lnTo>
                    <a:pt x="4911" y="711"/>
                  </a:lnTo>
                  <a:lnTo>
                    <a:pt x="4900" y="700"/>
                  </a:lnTo>
                  <a:lnTo>
                    <a:pt x="4888" y="690"/>
                  </a:lnTo>
                  <a:lnTo>
                    <a:pt x="4864" y="675"/>
                  </a:lnTo>
                  <a:lnTo>
                    <a:pt x="4837" y="662"/>
                  </a:lnTo>
                  <a:lnTo>
                    <a:pt x="4821" y="658"/>
                  </a:lnTo>
                  <a:lnTo>
                    <a:pt x="4807" y="656"/>
                  </a:lnTo>
                  <a:lnTo>
                    <a:pt x="4775" y="653"/>
                  </a:lnTo>
                  <a:lnTo>
                    <a:pt x="4751" y="656"/>
                  </a:lnTo>
                  <a:lnTo>
                    <a:pt x="4725" y="661"/>
                  </a:lnTo>
                  <a:lnTo>
                    <a:pt x="4702" y="665"/>
                  </a:lnTo>
                  <a:lnTo>
                    <a:pt x="4694" y="663"/>
                  </a:lnTo>
                  <a:lnTo>
                    <a:pt x="4688" y="660"/>
                  </a:lnTo>
                  <a:lnTo>
                    <a:pt x="4671" y="643"/>
                  </a:lnTo>
                  <a:lnTo>
                    <a:pt x="4653" y="628"/>
                  </a:lnTo>
                  <a:lnTo>
                    <a:pt x="4634" y="615"/>
                  </a:lnTo>
                  <a:lnTo>
                    <a:pt x="4614" y="605"/>
                  </a:lnTo>
                  <a:lnTo>
                    <a:pt x="4592" y="596"/>
                  </a:lnTo>
                  <a:lnTo>
                    <a:pt x="4570" y="589"/>
                  </a:lnTo>
                  <a:lnTo>
                    <a:pt x="4546" y="585"/>
                  </a:lnTo>
                  <a:lnTo>
                    <a:pt x="4521" y="584"/>
                  </a:lnTo>
                  <a:lnTo>
                    <a:pt x="4480" y="587"/>
                  </a:lnTo>
                  <a:lnTo>
                    <a:pt x="4462" y="590"/>
                  </a:lnTo>
                  <a:lnTo>
                    <a:pt x="4446" y="594"/>
                  </a:lnTo>
                  <a:lnTo>
                    <a:pt x="4416" y="607"/>
                  </a:lnTo>
                  <a:lnTo>
                    <a:pt x="4393" y="622"/>
                  </a:lnTo>
                  <a:lnTo>
                    <a:pt x="4373" y="640"/>
                  </a:lnTo>
                  <a:lnTo>
                    <a:pt x="4356" y="661"/>
                  </a:lnTo>
                  <a:lnTo>
                    <a:pt x="4343" y="683"/>
                  </a:lnTo>
                  <a:lnTo>
                    <a:pt x="4333" y="704"/>
                  </a:lnTo>
                  <a:lnTo>
                    <a:pt x="4317" y="749"/>
                  </a:lnTo>
                  <a:lnTo>
                    <a:pt x="4306" y="786"/>
                  </a:lnTo>
                  <a:lnTo>
                    <a:pt x="4293" y="812"/>
                  </a:lnTo>
                  <a:lnTo>
                    <a:pt x="4287" y="818"/>
                  </a:lnTo>
                  <a:lnTo>
                    <a:pt x="4276" y="819"/>
                  </a:lnTo>
                  <a:lnTo>
                    <a:pt x="4261" y="818"/>
                  </a:lnTo>
                  <a:lnTo>
                    <a:pt x="4242" y="819"/>
                  </a:lnTo>
                  <a:lnTo>
                    <a:pt x="4224" y="824"/>
                  </a:lnTo>
                  <a:lnTo>
                    <a:pt x="4207" y="832"/>
                  </a:lnTo>
                  <a:lnTo>
                    <a:pt x="4193" y="842"/>
                  </a:lnTo>
                  <a:lnTo>
                    <a:pt x="4180" y="854"/>
                  </a:lnTo>
                  <a:lnTo>
                    <a:pt x="4170" y="868"/>
                  </a:lnTo>
                  <a:lnTo>
                    <a:pt x="4162" y="885"/>
                  </a:lnTo>
                  <a:lnTo>
                    <a:pt x="4157" y="902"/>
                  </a:lnTo>
                  <a:close/>
                  <a:moveTo>
                    <a:pt x="5248" y="923"/>
                  </a:moveTo>
                  <a:lnTo>
                    <a:pt x="5243" y="933"/>
                  </a:lnTo>
                  <a:lnTo>
                    <a:pt x="5238" y="938"/>
                  </a:lnTo>
                  <a:lnTo>
                    <a:pt x="5227" y="942"/>
                  </a:lnTo>
                  <a:lnTo>
                    <a:pt x="4680" y="942"/>
                  </a:lnTo>
                  <a:lnTo>
                    <a:pt x="4135" y="942"/>
                  </a:lnTo>
                  <a:lnTo>
                    <a:pt x="4129" y="940"/>
                  </a:lnTo>
                  <a:lnTo>
                    <a:pt x="4123" y="936"/>
                  </a:lnTo>
                  <a:lnTo>
                    <a:pt x="4117" y="928"/>
                  </a:lnTo>
                  <a:lnTo>
                    <a:pt x="4116" y="920"/>
                  </a:lnTo>
                  <a:lnTo>
                    <a:pt x="4119" y="891"/>
                  </a:lnTo>
                  <a:lnTo>
                    <a:pt x="4128" y="864"/>
                  </a:lnTo>
                  <a:lnTo>
                    <a:pt x="4140" y="840"/>
                  </a:lnTo>
                  <a:lnTo>
                    <a:pt x="4158" y="819"/>
                  </a:lnTo>
                  <a:lnTo>
                    <a:pt x="4180" y="801"/>
                  </a:lnTo>
                  <a:lnTo>
                    <a:pt x="4205" y="789"/>
                  </a:lnTo>
                  <a:lnTo>
                    <a:pt x="4232" y="781"/>
                  </a:lnTo>
                  <a:lnTo>
                    <a:pt x="4261" y="777"/>
                  </a:lnTo>
                  <a:lnTo>
                    <a:pt x="4265" y="753"/>
                  </a:lnTo>
                  <a:lnTo>
                    <a:pt x="4270" y="730"/>
                  </a:lnTo>
                  <a:lnTo>
                    <a:pt x="4279" y="707"/>
                  </a:lnTo>
                  <a:lnTo>
                    <a:pt x="4288" y="686"/>
                  </a:lnTo>
                  <a:lnTo>
                    <a:pt x="4301" y="666"/>
                  </a:lnTo>
                  <a:lnTo>
                    <a:pt x="4314" y="647"/>
                  </a:lnTo>
                  <a:lnTo>
                    <a:pt x="4329" y="629"/>
                  </a:lnTo>
                  <a:lnTo>
                    <a:pt x="4346" y="612"/>
                  </a:lnTo>
                  <a:lnTo>
                    <a:pt x="4364" y="597"/>
                  </a:lnTo>
                  <a:lnTo>
                    <a:pt x="4383" y="584"/>
                  </a:lnTo>
                  <a:lnTo>
                    <a:pt x="4425" y="562"/>
                  </a:lnTo>
                  <a:lnTo>
                    <a:pt x="4448" y="555"/>
                  </a:lnTo>
                  <a:lnTo>
                    <a:pt x="4471" y="550"/>
                  </a:lnTo>
                  <a:lnTo>
                    <a:pt x="4496" y="546"/>
                  </a:lnTo>
                  <a:lnTo>
                    <a:pt x="4521" y="544"/>
                  </a:lnTo>
                  <a:lnTo>
                    <a:pt x="4548" y="546"/>
                  </a:lnTo>
                  <a:lnTo>
                    <a:pt x="4575" y="550"/>
                  </a:lnTo>
                  <a:lnTo>
                    <a:pt x="4625" y="565"/>
                  </a:lnTo>
                  <a:lnTo>
                    <a:pt x="4648" y="576"/>
                  </a:lnTo>
                  <a:lnTo>
                    <a:pt x="4670" y="590"/>
                  </a:lnTo>
                  <a:lnTo>
                    <a:pt x="4689" y="606"/>
                  </a:lnTo>
                  <a:lnTo>
                    <a:pt x="4709" y="622"/>
                  </a:lnTo>
                  <a:lnTo>
                    <a:pt x="4741" y="615"/>
                  </a:lnTo>
                  <a:lnTo>
                    <a:pt x="4775" y="612"/>
                  </a:lnTo>
                  <a:lnTo>
                    <a:pt x="4810" y="615"/>
                  </a:lnTo>
                  <a:lnTo>
                    <a:pt x="4827" y="619"/>
                  </a:lnTo>
                  <a:lnTo>
                    <a:pt x="4842" y="622"/>
                  </a:lnTo>
                  <a:lnTo>
                    <a:pt x="4873" y="635"/>
                  </a:lnTo>
                  <a:lnTo>
                    <a:pt x="4901" y="651"/>
                  </a:lnTo>
                  <a:lnTo>
                    <a:pt x="4927" y="671"/>
                  </a:lnTo>
                  <a:lnTo>
                    <a:pt x="4950" y="694"/>
                  </a:lnTo>
                  <a:lnTo>
                    <a:pt x="4969" y="720"/>
                  </a:lnTo>
                  <a:lnTo>
                    <a:pt x="4984" y="749"/>
                  </a:lnTo>
                  <a:lnTo>
                    <a:pt x="5005" y="738"/>
                  </a:lnTo>
                  <a:lnTo>
                    <a:pt x="5028" y="729"/>
                  </a:lnTo>
                  <a:lnTo>
                    <a:pt x="5052" y="722"/>
                  </a:lnTo>
                  <a:lnTo>
                    <a:pt x="5077" y="721"/>
                  </a:lnTo>
                  <a:lnTo>
                    <a:pt x="5112" y="725"/>
                  </a:lnTo>
                  <a:lnTo>
                    <a:pt x="5128" y="729"/>
                  </a:lnTo>
                  <a:lnTo>
                    <a:pt x="5145" y="734"/>
                  </a:lnTo>
                  <a:lnTo>
                    <a:pt x="5174" y="750"/>
                  </a:lnTo>
                  <a:lnTo>
                    <a:pt x="5200" y="771"/>
                  </a:lnTo>
                  <a:lnTo>
                    <a:pt x="5210" y="784"/>
                  </a:lnTo>
                  <a:lnTo>
                    <a:pt x="5220" y="796"/>
                  </a:lnTo>
                  <a:lnTo>
                    <a:pt x="5229" y="810"/>
                  </a:lnTo>
                  <a:lnTo>
                    <a:pt x="5237" y="826"/>
                  </a:lnTo>
                  <a:lnTo>
                    <a:pt x="5247" y="858"/>
                  </a:lnTo>
                  <a:lnTo>
                    <a:pt x="5250" y="892"/>
                  </a:lnTo>
                  <a:lnTo>
                    <a:pt x="5250" y="908"/>
                  </a:lnTo>
                  <a:lnTo>
                    <a:pt x="5248" y="923"/>
                  </a:lnTo>
                  <a:close/>
                  <a:moveTo>
                    <a:pt x="4239" y="2494"/>
                  </a:moveTo>
                  <a:lnTo>
                    <a:pt x="4239" y="2607"/>
                  </a:lnTo>
                  <a:lnTo>
                    <a:pt x="4238" y="2616"/>
                  </a:lnTo>
                  <a:lnTo>
                    <a:pt x="4233" y="2622"/>
                  </a:lnTo>
                  <a:lnTo>
                    <a:pt x="4226" y="2626"/>
                  </a:lnTo>
                  <a:lnTo>
                    <a:pt x="4219" y="2627"/>
                  </a:lnTo>
                  <a:lnTo>
                    <a:pt x="4212" y="2626"/>
                  </a:lnTo>
                  <a:lnTo>
                    <a:pt x="4206" y="2622"/>
                  </a:lnTo>
                  <a:lnTo>
                    <a:pt x="4201" y="2616"/>
                  </a:lnTo>
                  <a:lnTo>
                    <a:pt x="4199" y="2607"/>
                  </a:lnTo>
                  <a:lnTo>
                    <a:pt x="4199" y="2494"/>
                  </a:lnTo>
                  <a:lnTo>
                    <a:pt x="4201" y="2487"/>
                  </a:lnTo>
                  <a:lnTo>
                    <a:pt x="4206" y="2480"/>
                  </a:lnTo>
                  <a:lnTo>
                    <a:pt x="4212" y="2477"/>
                  </a:lnTo>
                  <a:lnTo>
                    <a:pt x="4219" y="2475"/>
                  </a:lnTo>
                  <a:lnTo>
                    <a:pt x="4226" y="2477"/>
                  </a:lnTo>
                  <a:lnTo>
                    <a:pt x="4233" y="2480"/>
                  </a:lnTo>
                  <a:lnTo>
                    <a:pt x="4238" y="2487"/>
                  </a:lnTo>
                  <a:lnTo>
                    <a:pt x="4239" y="2494"/>
                  </a:lnTo>
                  <a:close/>
                  <a:moveTo>
                    <a:pt x="4502" y="2494"/>
                  </a:moveTo>
                  <a:lnTo>
                    <a:pt x="4502" y="2607"/>
                  </a:lnTo>
                  <a:lnTo>
                    <a:pt x="4501" y="2616"/>
                  </a:lnTo>
                  <a:lnTo>
                    <a:pt x="4496" y="2622"/>
                  </a:lnTo>
                  <a:lnTo>
                    <a:pt x="4489" y="2626"/>
                  </a:lnTo>
                  <a:lnTo>
                    <a:pt x="4483" y="2627"/>
                  </a:lnTo>
                  <a:lnTo>
                    <a:pt x="4475" y="2626"/>
                  </a:lnTo>
                  <a:lnTo>
                    <a:pt x="4469" y="2622"/>
                  </a:lnTo>
                  <a:lnTo>
                    <a:pt x="4464" y="2616"/>
                  </a:lnTo>
                  <a:lnTo>
                    <a:pt x="4462" y="2607"/>
                  </a:lnTo>
                  <a:lnTo>
                    <a:pt x="4462" y="2494"/>
                  </a:lnTo>
                  <a:lnTo>
                    <a:pt x="4464" y="2487"/>
                  </a:lnTo>
                  <a:lnTo>
                    <a:pt x="4469" y="2480"/>
                  </a:lnTo>
                  <a:lnTo>
                    <a:pt x="4475" y="2477"/>
                  </a:lnTo>
                  <a:lnTo>
                    <a:pt x="4483" y="2475"/>
                  </a:lnTo>
                  <a:lnTo>
                    <a:pt x="4489" y="2477"/>
                  </a:lnTo>
                  <a:lnTo>
                    <a:pt x="4496" y="2480"/>
                  </a:lnTo>
                  <a:lnTo>
                    <a:pt x="4501" y="2487"/>
                  </a:lnTo>
                  <a:lnTo>
                    <a:pt x="4502" y="2494"/>
                  </a:lnTo>
                  <a:close/>
                  <a:moveTo>
                    <a:pt x="4765" y="2494"/>
                  </a:moveTo>
                  <a:lnTo>
                    <a:pt x="4765" y="2607"/>
                  </a:lnTo>
                  <a:lnTo>
                    <a:pt x="4764" y="2616"/>
                  </a:lnTo>
                  <a:lnTo>
                    <a:pt x="4759" y="2622"/>
                  </a:lnTo>
                  <a:lnTo>
                    <a:pt x="4752" y="2626"/>
                  </a:lnTo>
                  <a:lnTo>
                    <a:pt x="4746" y="2627"/>
                  </a:lnTo>
                  <a:lnTo>
                    <a:pt x="4738" y="2626"/>
                  </a:lnTo>
                  <a:lnTo>
                    <a:pt x="4732" y="2622"/>
                  </a:lnTo>
                  <a:lnTo>
                    <a:pt x="4728" y="2616"/>
                  </a:lnTo>
                  <a:lnTo>
                    <a:pt x="4725" y="2607"/>
                  </a:lnTo>
                  <a:lnTo>
                    <a:pt x="4725" y="2494"/>
                  </a:lnTo>
                  <a:lnTo>
                    <a:pt x="4728" y="2487"/>
                  </a:lnTo>
                  <a:lnTo>
                    <a:pt x="4732" y="2480"/>
                  </a:lnTo>
                  <a:lnTo>
                    <a:pt x="4738" y="2477"/>
                  </a:lnTo>
                  <a:lnTo>
                    <a:pt x="4746" y="2475"/>
                  </a:lnTo>
                  <a:lnTo>
                    <a:pt x="4752" y="2477"/>
                  </a:lnTo>
                  <a:lnTo>
                    <a:pt x="4759" y="2480"/>
                  </a:lnTo>
                  <a:lnTo>
                    <a:pt x="4764" y="2487"/>
                  </a:lnTo>
                  <a:lnTo>
                    <a:pt x="4765" y="2494"/>
                  </a:lnTo>
                  <a:close/>
                  <a:moveTo>
                    <a:pt x="5029" y="2494"/>
                  </a:moveTo>
                  <a:lnTo>
                    <a:pt x="5029" y="2607"/>
                  </a:lnTo>
                  <a:lnTo>
                    <a:pt x="5027" y="2616"/>
                  </a:lnTo>
                  <a:lnTo>
                    <a:pt x="5023" y="2622"/>
                  </a:lnTo>
                  <a:lnTo>
                    <a:pt x="5016" y="2626"/>
                  </a:lnTo>
                  <a:lnTo>
                    <a:pt x="5009" y="2627"/>
                  </a:lnTo>
                  <a:lnTo>
                    <a:pt x="5001" y="2626"/>
                  </a:lnTo>
                  <a:lnTo>
                    <a:pt x="4994" y="2622"/>
                  </a:lnTo>
                  <a:lnTo>
                    <a:pt x="4991" y="2616"/>
                  </a:lnTo>
                  <a:lnTo>
                    <a:pt x="4988" y="2607"/>
                  </a:lnTo>
                  <a:lnTo>
                    <a:pt x="4988" y="2494"/>
                  </a:lnTo>
                  <a:lnTo>
                    <a:pt x="4991" y="2487"/>
                  </a:lnTo>
                  <a:lnTo>
                    <a:pt x="4994" y="2480"/>
                  </a:lnTo>
                  <a:lnTo>
                    <a:pt x="5001" y="2477"/>
                  </a:lnTo>
                  <a:lnTo>
                    <a:pt x="5009" y="2475"/>
                  </a:lnTo>
                  <a:lnTo>
                    <a:pt x="5016" y="2477"/>
                  </a:lnTo>
                  <a:lnTo>
                    <a:pt x="5023" y="2480"/>
                  </a:lnTo>
                  <a:lnTo>
                    <a:pt x="5027" y="2487"/>
                  </a:lnTo>
                  <a:lnTo>
                    <a:pt x="5029" y="2494"/>
                  </a:lnTo>
                  <a:close/>
                  <a:moveTo>
                    <a:pt x="5292" y="2494"/>
                  </a:moveTo>
                  <a:lnTo>
                    <a:pt x="5292" y="2607"/>
                  </a:lnTo>
                  <a:lnTo>
                    <a:pt x="5289" y="2616"/>
                  </a:lnTo>
                  <a:lnTo>
                    <a:pt x="5286" y="2622"/>
                  </a:lnTo>
                  <a:lnTo>
                    <a:pt x="5279" y="2626"/>
                  </a:lnTo>
                  <a:lnTo>
                    <a:pt x="5271" y="2627"/>
                  </a:lnTo>
                  <a:lnTo>
                    <a:pt x="5264" y="2626"/>
                  </a:lnTo>
                  <a:lnTo>
                    <a:pt x="5257" y="2622"/>
                  </a:lnTo>
                  <a:lnTo>
                    <a:pt x="5253" y="2616"/>
                  </a:lnTo>
                  <a:lnTo>
                    <a:pt x="5252" y="2607"/>
                  </a:lnTo>
                  <a:lnTo>
                    <a:pt x="5252" y="2494"/>
                  </a:lnTo>
                  <a:lnTo>
                    <a:pt x="5253" y="2487"/>
                  </a:lnTo>
                  <a:lnTo>
                    <a:pt x="5257" y="2480"/>
                  </a:lnTo>
                  <a:lnTo>
                    <a:pt x="5264" y="2477"/>
                  </a:lnTo>
                  <a:lnTo>
                    <a:pt x="5271" y="2475"/>
                  </a:lnTo>
                  <a:lnTo>
                    <a:pt x="5279" y="2477"/>
                  </a:lnTo>
                  <a:lnTo>
                    <a:pt x="5286" y="2480"/>
                  </a:lnTo>
                  <a:lnTo>
                    <a:pt x="5289" y="2487"/>
                  </a:lnTo>
                  <a:lnTo>
                    <a:pt x="5292" y="2494"/>
                  </a:lnTo>
                  <a:close/>
                  <a:moveTo>
                    <a:pt x="5555" y="2494"/>
                  </a:moveTo>
                  <a:lnTo>
                    <a:pt x="5555" y="2607"/>
                  </a:lnTo>
                  <a:lnTo>
                    <a:pt x="5554" y="2616"/>
                  </a:lnTo>
                  <a:lnTo>
                    <a:pt x="5548" y="2622"/>
                  </a:lnTo>
                  <a:lnTo>
                    <a:pt x="5542" y="2626"/>
                  </a:lnTo>
                  <a:lnTo>
                    <a:pt x="5534" y="2627"/>
                  </a:lnTo>
                  <a:lnTo>
                    <a:pt x="5528" y="2626"/>
                  </a:lnTo>
                  <a:lnTo>
                    <a:pt x="5521" y="2622"/>
                  </a:lnTo>
                  <a:lnTo>
                    <a:pt x="5516" y="2616"/>
                  </a:lnTo>
                  <a:lnTo>
                    <a:pt x="5515" y="2607"/>
                  </a:lnTo>
                  <a:lnTo>
                    <a:pt x="5515" y="2494"/>
                  </a:lnTo>
                  <a:lnTo>
                    <a:pt x="5516" y="2487"/>
                  </a:lnTo>
                  <a:lnTo>
                    <a:pt x="5521" y="2480"/>
                  </a:lnTo>
                  <a:lnTo>
                    <a:pt x="5528" y="2477"/>
                  </a:lnTo>
                  <a:lnTo>
                    <a:pt x="5534" y="2475"/>
                  </a:lnTo>
                  <a:lnTo>
                    <a:pt x="5542" y="2477"/>
                  </a:lnTo>
                  <a:lnTo>
                    <a:pt x="5548" y="2480"/>
                  </a:lnTo>
                  <a:lnTo>
                    <a:pt x="5554" y="2487"/>
                  </a:lnTo>
                  <a:lnTo>
                    <a:pt x="5555" y="2494"/>
                  </a:lnTo>
                  <a:close/>
                  <a:moveTo>
                    <a:pt x="4239" y="2741"/>
                  </a:moveTo>
                  <a:lnTo>
                    <a:pt x="4239" y="2854"/>
                  </a:lnTo>
                  <a:lnTo>
                    <a:pt x="4238" y="2863"/>
                  </a:lnTo>
                  <a:lnTo>
                    <a:pt x="4233" y="2869"/>
                  </a:lnTo>
                  <a:lnTo>
                    <a:pt x="4226" y="2873"/>
                  </a:lnTo>
                  <a:lnTo>
                    <a:pt x="4219" y="2874"/>
                  </a:lnTo>
                  <a:lnTo>
                    <a:pt x="4212" y="2873"/>
                  </a:lnTo>
                  <a:lnTo>
                    <a:pt x="4206" y="2869"/>
                  </a:lnTo>
                  <a:lnTo>
                    <a:pt x="4201" y="2863"/>
                  </a:lnTo>
                  <a:lnTo>
                    <a:pt x="4199" y="2854"/>
                  </a:lnTo>
                  <a:lnTo>
                    <a:pt x="4199" y="2741"/>
                  </a:lnTo>
                  <a:lnTo>
                    <a:pt x="4201" y="2732"/>
                  </a:lnTo>
                  <a:lnTo>
                    <a:pt x="4206" y="2727"/>
                  </a:lnTo>
                  <a:lnTo>
                    <a:pt x="4212" y="2723"/>
                  </a:lnTo>
                  <a:lnTo>
                    <a:pt x="4219" y="2722"/>
                  </a:lnTo>
                  <a:lnTo>
                    <a:pt x="4226" y="2723"/>
                  </a:lnTo>
                  <a:lnTo>
                    <a:pt x="4233" y="2727"/>
                  </a:lnTo>
                  <a:lnTo>
                    <a:pt x="4238" y="2732"/>
                  </a:lnTo>
                  <a:lnTo>
                    <a:pt x="4239" y="2741"/>
                  </a:lnTo>
                  <a:close/>
                  <a:moveTo>
                    <a:pt x="4502" y="2741"/>
                  </a:moveTo>
                  <a:lnTo>
                    <a:pt x="4502" y="2854"/>
                  </a:lnTo>
                  <a:lnTo>
                    <a:pt x="4501" y="2863"/>
                  </a:lnTo>
                  <a:lnTo>
                    <a:pt x="4496" y="2869"/>
                  </a:lnTo>
                  <a:lnTo>
                    <a:pt x="4489" y="2873"/>
                  </a:lnTo>
                  <a:lnTo>
                    <a:pt x="4483" y="2874"/>
                  </a:lnTo>
                  <a:lnTo>
                    <a:pt x="4475" y="2873"/>
                  </a:lnTo>
                  <a:lnTo>
                    <a:pt x="4469" y="2869"/>
                  </a:lnTo>
                  <a:lnTo>
                    <a:pt x="4464" y="2863"/>
                  </a:lnTo>
                  <a:lnTo>
                    <a:pt x="4462" y="2854"/>
                  </a:lnTo>
                  <a:lnTo>
                    <a:pt x="4462" y="2741"/>
                  </a:lnTo>
                  <a:lnTo>
                    <a:pt x="4464" y="2732"/>
                  </a:lnTo>
                  <a:lnTo>
                    <a:pt x="4469" y="2727"/>
                  </a:lnTo>
                  <a:lnTo>
                    <a:pt x="4475" y="2723"/>
                  </a:lnTo>
                  <a:lnTo>
                    <a:pt x="4483" y="2722"/>
                  </a:lnTo>
                  <a:lnTo>
                    <a:pt x="4489" y="2723"/>
                  </a:lnTo>
                  <a:lnTo>
                    <a:pt x="4496" y="2727"/>
                  </a:lnTo>
                  <a:lnTo>
                    <a:pt x="4501" y="2732"/>
                  </a:lnTo>
                  <a:lnTo>
                    <a:pt x="4502" y="2741"/>
                  </a:lnTo>
                  <a:close/>
                  <a:moveTo>
                    <a:pt x="4765" y="2741"/>
                  </a:moveTo>
                  <a:lnTo>
                    <a:pt x="4765" y="2854"/>
                  </a:lnTo>
                  <a:lnTo>
                    <a:pt x="4764" y="2863"/>
                  </a:lnTo>
                  <a:lnTo>
                    <a:pt x="4759" y="2869"/>
                  </a:lnTo>
                  <a:lnTo>
                    <a:pt x="4752" y="2873"/>
                  </a:lnTo>
                  <a:lnTo>
                    <a:pt x="4746" y="2874"/>
                  </a:lnTo>
                  <a:lnTo>
                    <a:pt x="4738" y="2873"/>
                  </a:lnTo>
                  <a:lnTo>
                    <a:pt x="4732" y="2869"/>
                  </a:lnTo>
                  <a:lnTo>
                    <a:pt x="4728" y="2863"/>
                  </a:lnTo>
                  <a:lnTo>
                    <a:pt x="4725" y="2854"/>
                  </a:lnTo>
                  <a:lnTo>
                    <a:pt x="4725" y="2741"/>
                  </a:lnTo>
                  <a:lnTo>
                    <a:pt x="4728" y="2732"/>
                  </a:lnTo>
                  <a:lnTo>
                    <a:pt x="4732" y="2727"/>
                  </a:lnTo>
                  <a:lnTo>
                    <a:pt x="4738" y="2723"/>
                  </a:lnTo>
                  <a:lnTo>
                    <a:pt x="4746" y="2722"/>
                  </a:lnTo>
                  <a:lnTo>
                    <a:pt x="4752" y="2723"/>
                  </a:lnTo>
                  <a:lnTo>
                    <a:pt x="4759" y="2727"/>
                  </a:lnTo>
                  <a:lnTo>
                    <a:pt x="4764" y="2732"/>
                  </a:lnTo>
                  <a:lnTo>
                    <a:pt x="4765" y="2741"/>
                  </a:lnTo>
                  <a:close/>
                  <a:moveTo>
                    <a:pt x="5029" y="2741"/>
                  </a:moveTo>
                  <a:lnTo>
                    <a:pt x="5029" y="2854"/>
                  </a:lnTo>
                  <a:lnTo>
                    <a:pt x="5027" y="2863"/>
                  </a:lnTo>
                  <a:lnTo>
                    <a:pt x="5023" y="2869"/>
                  </a:lnTo>
                  <a:lnTo>
                    <a:pt x="5016" y="2873"/>
                  </a:lnTo>
                  <a:lnTo>
                    <a:pt x="5009" y="2874"/>
                  </a:lnTo>
                  <a:lnTo>
                    <a:pt x="5001" y="2873"/>
                  </a:lnTo>
                  <a:lnTo>
                    <a:pt x="4994" y="2869"/>
                  </a:lnTo>
                  <a:lnTo>
                    <a:pt x="4991" y="2863"/>
                  </a:lnTo>
                  <a:lnTo>
                    <a:pt x="4988" y="2854"/>
                  </a:lnTo>
                  <a:lnTo>
                    <a:pt x="4988" y="2741"/>
                  </a:lnTo>
                  <a:lnTo>
                    <a:pt x="4991" y="2732"/>
                  </a:lnTo>
                  <a:lnTo>
                    <a:pt x="4994" y="2727"/>
                  </a:lnTo>
                  <a:lnTo>
                    <a:pt x="5001" y="2723"/>
                  </a:lnTo>
                  <a:lnTo>
                    <a:pt x="5009" y="2722"/>
                  </a:lnTo>
                  <a:lnTo>
                    <a:pt x="5016" y="2723"/>
                  </a:lnTo>
                  <a:lnTo>
                    <a:pt x="5023" y="2727"/>
                  </a:lnTo>
                  <a:lnTo>
                    <a:pt x="5027" y="2732"/>
                  </a:lnTo>
                  <a:lnTo>
                    <a:pt x="5029" y="2741"/>
                  </a:lnTo>
                  <a:close/>
                  <a:moveTo>
                    <a:pt x="5292" y="2741"/>
                  </a:moveTo>
                  <a:lnTo>
                    <a:pt x="5292" y="2854"/>
                  </a:lnTo>
                  <a:lnTo>
                    <a:pt x="5289" y="2863"/>
                  </a:lnTo>
                  <a:lnTo>
                    <a:pt x="5286" y="2869"/>
                  </a:lnTo>
                  <a:lnTo>
                    <a:pt x="5279" y="2873"/>
                  </a:lnTo>
                  <a:lnTo>
                    <a:pt x="5271" y="2874"/>
                  </a:lnTo>
                  <a:lnTo>
                    <a:pt x="5264" y="2873"/>
                  </a:lnTo>
                  <a:lnTo>
                    <a:pt x="5257" y="2869"/>
                  </a:lnTo>
                  <a:lnTo>
                    <a:pt x="5253" y="2863"/>
                  </a:lnTo>
                  <a:lnTo>
                    <a:pt x="5252" y="2854"/>
                  </a:lnTo>
                  <a:lnTo>
                    <a:pt x="5252" y="2741"/>
                  </a:lnTo>
                  <a:lnTo>
                    <a:pt x="5253" y="2732"/>
                  </a:lnTo>
                  <a:lnTo>
                    <a:pt x="5257" y="2727"/>
                  </a:lnTo>
                  <a:lnTo>
                    <a:pt x="5264" y="2723"/>
                  </a:lnTo>
                  <a:lnTo>
                    <a:pt x="5271" y="2722"/>
                  </a:lnTo>
                  <a:lnTo>
                    <a:pt x="5279" y="2723"/>
                  </a:lnTo>
                  <a:lnTo>
                    <a:pt x="5286" y="2727"/>
                  </a:lnTo>
                  <a:lnTo>
                    <a:pt x="5289" y="2732"/>
                  </a:lnTo>
                  <a:lnTo>
                    <a:pt x="5292" y="2741"/>
                  </a:lnTo>
                  <a:close/>
                  <a:moveTo>
                    <a:pt x="5555" y="2741"/>
                  </a:moveTo>
                  <a:lnTo>
                    <a:pt x="5555" y="2854"/>
                  </a:lnTo>
                  <a:lnTo>
                    <a:pt x="5554" y="2863"/>
                  </a:lnTo>
                  <a:lnTo>
                    <a:pt x="5548" y="2869"/>
                  </a:lnTo>
                  <a:lnTo>
                    <a:pt x="5542" y="2873"/>
                  </a:lnTo>
                  <a:lnTo>
                    <a:pt x="5534" y="2874"/>
                  </a:lnTo>
                  <a:lnTo>
                    <a:pt x="5528" y="2873"/>
                  </a:lnTo>
                  <a:lnTo>
                    <a:pt x="5521" y="2869"/>
                  </a:lnTo>
                  <a:lnTo>
                    <a:pt x="5516" y="2863"/>
                  </a:lnTo>
                  <a:lnTo>
                    <a:pt x="5515" y="2854"/>
                  </a:lnTo>
                  <a:lnTo>
                    <a:pt x="5515" y="2741"/>
                  </a:lnTo>
                  <a:lnTo>
                    <a:pt x="5516" y="2732"/>
                  </a:lnTo>
                  <a:lnTo>
                    <a:pt x="5521" y="2727"/>
                  </a:lnTo>
                  <a:lnTo>
                    <a:pt x="5528" y="2723"/>
                  </a:lnTo>
                  <a:lnTo>
                    <a:pt x="5534" y="2722"/>
                  </a:lnTo>
                  <a:lnTo>
                    <a:pt x="5542" y="2723"/>
                  </a:lnTo>
                  <a:lnTo>
                    <a:pt x="5548" y="2727"/>
                  </a:lnTo>
                  <a:lnTo>
                    <a:pt x="5554" y="2732"/>
                  </a:lnTo>
                  <a:lnTo>
                    <a:pt x="5555" y="2741"/>
                  </a:lnTo>
                  <a:close/>
                  <a:moveTo>
                    <a:pt x="4239" y="2988"/>
                  </a:moveTo>
                  <a:lnTo>
                    <a:pt x="4239" y="3101"/>
                  </a:lnTo>
                  <a:lnTo>
                    <a:pt x="4238" y="3109"/>
                  </a:lnTo>
                  <a:lnTo>
                    <a:pt x="4233" y="3115"/>
                  </a:lnTo>
                  <a:lnTo>
                    <a:pt x="4226" y="3118"/>
                  </a:lnTo>
                  <a:lnTo>
                    <a:pt x="4219" y="3120"/>
                  </a:lnTo>
                  <a:lnTo>
                    <a:pt x="4212" y="3118"/>
                  </a:lnTo>
                  <a:lnTo>
                    <a:pt x="4206" y="3115"/>
                  </a:lnTo>
                  <a:lnTo>
                    <a:pt x="4201" y="3109"/>
                  </a:lnTo>
                  <a:lnTo>
                    <a:pt x="4199" y="3101"/>
                  </a:lnTo>
                  <a:lnTo>
                    <a:pt x="4199" y="2988"/>
                  </a:lnTo>
                  <a:lnTo>
                    <a:pt x="4201" y="2979"/>
                  </a:lnTo>
                  <a:lnTo>
                    <a:pt x="4206" y="2973"/>
                  </a:lnTo>
                  <a:lnTo>
                    <a:pt x="4212" y="2970"/>
                  </a:lnTo>
                  <a:lnTo>
                    <a:pt x="4219" y="2969"/>
                  </a:lnTo>
                  <a:lnTo>
                    <a:pt x="4226" y="2970"/>
                  </a:lnTo>
                  <a:lnTo>
                    <a:pt x="4233" y="2973"/>
                  </a:lnTo>
                  <a:lnTo>
                    <a:pt x="4238" y="2979"/>
                  </a:lnTo>
                  <a:lnTo>
                    <a:pt x="4239" y="2988"/>
                  </a:lnTo>
                  <a:close/>
                  <a:moveTo>
                    <a:pt x="4502" y="2988"/>
                  </a:moveTo>
                  <a:lnTo>
                    <a:pt x="4502" y="3101"/>
                  </a:lnTo>
                  <a:lnTo>
                    <a:pt x="4501" y="3109"/>
                  </a:lnTo>
                  <a:lnTo>
                    <a:pt x="4496" y="3115"/>
                  </a:lnTo>
                  <a:lnTo>
                    <a:pt x="4489" y="3118"/>
                  </a:lnTo>
                  <a:lnTo>
                    <a:pt x="4483" y="3120"/>
                  </a:lnTo>
                  <a:lnTo>
                    <a:pt x="4475" y="3118"/>
                  </a:lnTo>
                  <a:lnTo>
                    <a:pt x="4469" y="3115"/>
                  </a:lnTo>
                  <a:lnTo>
                    <a:pt x="4464" y="3109"/>
                  </a:lnTo>
                  <a:lnTo>
                    <a:pt x="4462" y="3101"/>
                  </a:lnTo>
                  <a:lnTo>
                    <a:pt x="4462" y="2988"/>
                  </a:lnTo>
                  <a:lnTo>
                    <a:pt x="4464" y="2979"/>
                  </a:lnTo>
                  <a:lnTo>
                    <a:pt x="4469" y="2973"/>
                  </a:lnTo>
                  <a:lnTo>
                    <a:pt x="4475" y="2970"/>
                  </a:lnTo>
                  <a:lnTo>
                    <a:pt x="4483" y="2969"/>
                  </a:lnTo>
                  <a:lnTo>
                    <a:pt x="4489" y="2970"/>
                  </a:lnTo>
                  <a:lnTo>
                    <a:pt x="4496" y="2973"/>
                  </a:lnTo>
                  <a:lnTo>
                    <a:pt x="4501" y="2979"/>
                  </a:lnTo>
                  <a:lnTo>
                    <a:pt x="4502" y="2988"/>
                  </a:lnTo>
                  <a:close/>
                  <a:moveTo>
                    <a:pt x="4765" y="2988"/>
                  </a:moveTo>
                  <a:lnTo>
                    <a:pt x="4765" y="3101"/>
                  </a:lnTo>
                  <a:lnTo>
                    <a:pt x="4764" y="3109"/>
                  </a:lnTo>
                  <a:lnTo>
                    <a:pt x="4759" y="3115"/>
                  </a:lnTo>
                  <a:lnTo>
                    <a:pt x="4752" y="3118"/>
                  </a:lnTo>
                  <a:lnTo>
                    <a:pt x="4746" y="3120"/>
                  </a:lnTo>
                  <a:lnTo>
                    <a:pt x="4738" y="3118"/>
                  </a:lnTo>
                  <a:lnTo>
                    <a:pt x="4732" y="3115"/>
                  </a:lnTo>
                  <a:lnTo>
                    <a:pt x="4728" y="3109"/>
                  </a:lnTo>
                  <a:lnTo>
                    <a:pt x="4725" y="3101"/>
                  </a:lnTo>
                  <a:lnTo>
                    <a:pt x="4725" y="2988"/>
                  </a:lnTo>
                  <a:lnTo>
                    <a:pt x="4728" y="2979"/>
                  </a:lnTo>
                  <a:lnTo>
                    <a:pt x="4732" y="2973"/>
                  </a:lnTo>
                  <a:lnTo>
                    <a:pt x="4738" y="2970"/>
                  </a:lnTo>
                  <a:lnTo>
                    <a:pt x="4746" y="2969"/>
                  </a:lnTo>
                  <a:lnTo>
                    <a:pt x="4752" y="2970"/>
                  </a:lnTo>
                  <a:lnTo>
                    <a:pt x="4759" y="2973"/>
                  </a:lnTo>
                  <a:lnTo>
                    <a:pt x="4764" y="2979"/>
                  </a:lnTo>
                  <a:lnTo>
                    <a:pt x="4765" y="2988"/>
                  </a:lnTo>
                  <a:close/>
                  <a:moveTo>
                    <a:pt x="5029" y="2988"/>
                  </a:moveTo>
                  <a:lnTo>
                    <a:pt x="5029" y="3101"/>
                  </a:lnTo>
                  <a:lnTo>
                    <a:pt x="5027" y="3109"/>
                  </a:lnTo>
                  <a:lnTo>
                    <a:pt x="5023" y="3115"/>
                  </a:lnTo>
                  <a:lnTo>
                    <a:pt x="5016" y="3118"/>
                  </a:lnTo>
                  <a:lnTo>
                    <a:pt x="5009" y="3120"/>
                  </a:lnTo>
                  <a:lnTo>
                    <a:pt x="5001" y="3118"/>
                  </a:lnTo>
                  <a:lnTo>
                    <a:pt x="4994" y="3115"/>
                  </a:lnTo>
                  <a:lnTo>
                    <a:pt x="4991" y="3109"/>
                  </a:lnTo>
                  <a:lnTo>
                    <a:pt x="4988" y="3101"/>
                  </a:lnTo>
                  <a:lnTo>
                    <a:pt x="4988" y="2988"/>
                  </a:lnTo>
                  <a:lnTo>
                    <a:pt x="4991" y="2979"/>
                  </a:lnTo>
                  <a:lnTo>
                    <a:pt x="4994" y="2973"/>
                  </a:lnTo>
                  <a:lnTo>
                    <a:pt x="5001" y="2970"/>
                  </a:lnTo>
                  <a:lnTo>
                    <a:pt x="5009" y="2969"/>
                  </a:lnTo>
                  <a:lnTo>
                    <a:pt x="5016" y="2970"/>
                  </a:lnTo>
                  <a:lnTo>
                    <a:pt x="5023" y="2973"/>
                  </a:lnTo>
                  <a:lnTo>
                    <a:pt x="5027" y="2979"/>
                  </a:lnTo>
                  <a:lnTo>
                    <a:pt x="5029" y="2988"/>
                  </a:lnTo>
                  <a:close/>
                  <a:moveTo>
                    <a:pt x="5292" y="2988"/>
                  </a:moveTo>
                  <a:lnTo>
                    <a:pt x="5292" y="3101"/>
                  </a:lnTo>
                  <a:lnTo>
                    <a:pt x="5289" y="3109"/>
                  </a:lnTo>
                  <a:lnTo>
                    <a:pt x="5286" y="3115"/>
                  </a:lnTo>
                  <a:lnTo>
                    <a:pt x="5279" y="3118"/>
                  </a:lnTo>
                  <a:lnTo>
                    <a:pt x="5271" y="3120"/>
                  </a:lnTo>
                  <a:lnTo>
                    <a:pt x="5264" y="3118"/>
                  </a:lnTo>
                  <a:lnTo>
                    <a:pt x="5257" y="3115"/>
                  </a:lnTo>
                  <a:lnTo>
                    <a:pt x="5253" y="3109"/>
                  </a:lnTo>
                  <a:lnTo>
                    <a:pt x="5252" y="3101"/>
                  </a:lnTo>
                  <a:lnTo>
                    <a:pt x="5252" y="2988"/>
                  </a:lnTo>
                  <a:lnTo>
                    <a:pt x="5253" y="2979"/>
                  </a:lnTo>
                  <a:lnTo>
                    <a:pt x="5257" y="2973"/>
                  </a:lnTo>
                  <a:lnTo>
                    <a:pt x="5264" y="2970"/>
                  </a:lnTo>
                  <a:lnTo>
                    <a:pt x="5271" y="2969"/>
                  </a:lnTo>
                  <a:lnTo>
                    <a:pt x="5279" y="2970"/>
                  </a:lnTo>
                  <a:lnTo>
                    <a:pt x="5286" y="2973"/>
                  </a:lnTo>
                  <a:lnTo>
                    <a:pt x="5289" y="2979"/>
                  </a:lnTo>
                  <a:lnTo>
                    <a:pt x="5292" y="2988"/>
                  </a:lnTo>
                  <a:close/>
                  <a:moveTo>
                    <a:pt x="5555" y="2988"/>
                  </a:moveTo>
                  <a:lnTo>
                    <a:pt x="5555" y="3101"/>
                  </a:lnTo>
                  <a:lnTo>
                    <a:pt x="5554" y="3109"/>
                  </a:lnTo>
                  <a:lnTo>
                    <a:pt x="5548" y="3115"/>
                  </a:lnTo>
                  <a:lnTo>
                    <a:pt x="5542" y="3118"/>
                  </a:lnTo>
                  <a:lnTo>
                    <a:pt x="5534" y="3120"/>
                  </a:lnTo>
                  <a:lnTo>
                    <a:pt x="5528" y="3118"/>
                  </a:lnTo>
                  <a:lnTo>
                    <a:pt x="5521" y="3115"/>
                  </a:lnTo>
                  <a:lnTo>
                    <a:pt x="5516" y="3109"/>
                  </a:lnTo>
                  <a:lnTo>
                    <a:pt x="5515" y="3101"/>
                  </a:lnTo>
                  <a:lnTo>
                    <a:pt x="5515" y="2988"/>
                  </a:lnTo>
                  <a:lnTo>
                    <a:pt x="5516" y="2979"/>
                  </a:lnTo>
                  <a:lnTo>
                    <a:pt x="5521" y="2973"/>
                  </a:lnTo>
                  <a:lnTo>
                    <a:pt x="5528" y="2970"/>
                  </a:lnTo>
                  <a:lnTo>
                    <a:pt x="5534" y="2969"/>
                  </a:lnTo>
                  <a:lnTo>
                    <a:pt x="5542" y="2970"/>
                  </a:lnTo>
                  <a:lnTo>
                    <a:pt x="5548" y="2973"/>
                  </a:lnTo>
                  <a:lnTo>
                    <a:pt x="5554" y="2979"/>
                  </a:lnTo>
                  <a:lnTo>
                    <a:pt x="5555" y="2988"/>
                  </a:lnTo>
                  <a:close/>
                  <a:moveTo>
                    <a:pt x="4239" y="3235"/>
                  </a:moveTo>
                  <a:lnTo>
                    <a:pt x="4239" y="3347"/>
                  </a:lnTo>
                  <a:lnTo>
                    <a:pt x="4238" y="3355"/>
                  </a:lnTo>
                  <a:lnTo>
                    <a:pt x="4233" y="3361"/>
                  </a:lnTo>
                  <a:lnTo>
                    <a:pt x="4226" y="3365"/>
                  </a:lnTo>
                  <a:lnTo>
                    <a:pt x="4219" y="3367"/>
                  </a:lnTo>
                  <a:lnTo>
                    <a:pt x="4212" y="3365"/>
                  </a:lnTo>
                  <a:lnTo>
                    <a:pt x="4206" y="3361"/>
                  </a:lnTo>
                  <a:lnTo>
                    <a:pt x="4201" y="3355"/>
                  </a:lnTo>
                  <a:lnTo>
                    <a:pt x="4199" y="3347"/>
                  </a:lnTo>
                  <a:lnTo>
                    <a:pt x="4199" y="3235"/>
                  </a:lnTo>
                  <a:lnTo>
                    <a:pt x="4201" y="3226"/>
                  </a:lnTo>
                  <a:lnTo>
                    <a:pt x="4206" y="3219"/>
                  </a:lnTo>
                  <a:lnTo>
                    <a:pt x="4212" y="3216"/>
                  </a:lnTo>
                  <a:lnTo>
                    <a:pt x="4219" y="3214"/>
                  </a:lnTo>
                  <a:lnTo>
                    <a:pt x="4226" y="3216"/>
                  </a:lnTo>
                  <a:lnTo>
                    <a:pt x="4233" y="3219"/>
                  </a:lnTo>
                  <a:lnTo>
                    <a:pt x="4238" y="3226"/>
                  </a:lnTo>
                  <a:lnTo>
                    <a:pt x="4239" y="3235"/>
                  </a:lnTo>
                  <a:close/>
                  <a:moveTo>
                    <a:pt x="4502" y="3235"/>
                  </a:moveTo>
                  <a:lnTo>
                    <a:pt x="4502" y="3347"/>
                  </a:lnTo>
                  <a:lnTo>
                    <a:pt x="4501" y="3355"/>
                  </a:lnTo>
                  <a:lnTo>
                    <a:pt x="4496" y="3361"/>
                  </a:lnTo>
                  <a:lnTo>
                    <a:pt x="4489" y="3365"/>
                  </a:lnTo>
                  <a:lnTo>
                    <a:pt x="4483" y="3367"/>
                  </a:lnTo>
                  <a:lnTo>
                    <a:pt x="4475" y="3365"/>
                  </a:lnTo>
                  <a:lnTo>
                    <a:pt x="4469" y="3361"/>
                  </a:lnTo>
                  <a:lnTo>
                    <a:pt x="4464" y="3355"/>
                  </a:lnTo>
                  <a:lnTo>
                    <a:pt x="4462" y="3347"/>
                  </a:lnTo>
                  <a:lnTo>
                    <a:pt x="4462" y="3235"/>
                  </a:lnTo>
                  <a:lnTo>
                    <a:pt x="4464" y="3226"/>
                  </a:lnTo>
                  <a:lnTo>
                    <a:pt x="4469" y="3219"/>
                  </a:lnTo>
                  <a:lnTo>
                    <a:pt x="4475" y="3216"/>
                  </a:lnTo>
                  <a:lnTo>
                    <a:pt x="4483" y="3214"/>
                  </a:lnTo>
                  <a:lnTo>
                    <a:pt x="4489" y="3216"/>
                  </a:lnTo>
                  <a:lnTo>
                    <a:pt x="4496" y="3219"/>
                  </a:lnTo>
                  <a:lnTo>
                    <a:pt x="4501" y="3226"/>
                  </a:lnTo>
                  <a:lnTo>
                    <a:pt x="4502" y="3235"/>
                  </a:lnTo>
                  <a:close/>
                  <a:moveTo>
                    <a:pt x="4765" y="3235"/>
                  </a:moveTo>
                  <a:lnTo>
                    <a:pt x="4765" y="3347"/>
                  </a:lnTo>
                  <a:lnTo>
                    <a:pt x="4764" y="3355"/>
                  </a:lnTo>
                  <a:lnTo>
                    <a:pt x="4759" y="3361"/>
                  </a:lnTo>
                  <a:lnTo>
                    <a:pt x="4752" y="3365"/>
                  </a:lnTo>
                  <a:lnTo>
                    <a:pt x="4746" y="3367"/>
                  </a:lnTo>
                  <a:lnTo>
                    <a:pt x="4738" y="3365"/>
                  </a:lnTo>
                  <a:lnTo>
                    <a:pt x="4732" y="3361"/>
                  </a:lnTo>
                  <a:lnTo>
                    <a:pt x="4728" y="3355"/>
                  </a:lnTo>
                  <a:lnTo>
                    <a:pt x="4725" y="3347"/>
                  </a:lnTo>
                  <a:lnTo>
                    <a:pt x="4725" y="3235"/>
                  </a:lnTo>
                  <a:lnTo>
                    <a:pt x="4728" y="3226"/>
                  </a:lnTo>
                  <a:lnTo>
                    <a:pt x="4732" y="3219"/>
                  </a:lnTo>
                  <a:lnTo>
                    <a:pt x="4738" y="3216"/>
                  </a:lnTo>
                  <a:lnTo>
                    <a:pt x="4746" y="3214"/>
                  </a:lnTo>
                  <a:lnTo>
                    <a:pt x="4752" y="3216"/>
                  </a:lnTo>
                  <a:lnTo>
                    <a:pt x="4759" y="3219"/>
                  </a:lnTo>
                  <a:lnTo>
                    <a:pt x="4764" y="3226"/>
                  </a:lnTo>
                  <a:lnTo>
                    <a:pt x="4765" y="3235"/>
                  </a:lnTo>
                  <a:close/>
                  <a:moveTo>
                    <a:pt x="5029" y="3235"/>
                  </a:moveTo>
                  <a:lnTo>
                    <a:pt x="5029" y="3347"/>
                  </a:lnTo>
                  <a:lnTo>
                    <a:pt x="5027" y="3355"/>
                  </a:lnTo>
                  <a:lnTo>
                    <a:pt x="5023" y="3361"/>
                  </a:lnTo>
                  <a:lnTo>
                    <a:pt x="5016" y="3365"/>
                  </a:lnTo>
                  <a:lnTo>
                    <a:pt x="5009" y="3367"/>
                  </a:lnTo>
                  <a:lnTo>
                    <a:pt x="5001" y="3365"/>
                  </a:lnTo>
                  <a:lnTo>
                    <a:pt x="4994" y="3361"/>
                  </a:lnTo>
                  <a:lnTo>
                    <a:pt x="4991" y="3355"/>
                  </a:lnTo>
                  <a:lnTo>
                    <a:pt x="4988" y="3347"/>
                  </a:lnTo>
                  <a:lnTo>
                    <a:pt x="4988" y="3235"/>
                  </a:lnTo>
                  <a:lnTo>
                    <a:pt x="4991" y="3226"/>
                  </a:lnTo>
                  <a:lnTo>
                    <a:pt x="4994" y="3219"/>
                  </a:lnTo>
                  <a:lnTo>
                    <a:pt x="5001" y="3216"/>
                  </a:lnTo>
                  <a:lnTo>
                    <a:pt x="5009" y="3214"/>
                  </a:lnTo>
                  <a:lnTo>
                    <a:pt x="5016" y="3216"/>
                  </a:lnTo>
                  <a:lnTo>
                    <a:pt x="5023" y="3219"/>
                  </a:lnTo>
                  <a:lnTo>
                    <a:pt x="5027" y="3226"/>
                  </a:lnTo>
                  <a:lnTo>
                    <a:pt x="5029" y="3235"/>
                  </a:lnTo>
                  <a:close/>
                  <a:moveTo>
                    <a:pt x="5292" y="3235"/>
                  </a:moveTo>
                  <a:lnTo>
                    <a:pt x="5292" y="3347"/>
                  </a:lnTo>
                  <a:lnTo>
                    <a:pt x="5289" y="3355"/>
                  </a:lnTo>
                  <a:lnTo>
                    <a:pt x="5286" y="3361"/>
                  </a:lnTo>
                  <a:lnTo>
                    <a:pt x="5279" y="3365"/>
                  </a:lnTo>
                  <a:lnTo>
                    <a:pt x="5271" y="3367"/>
                  </a:lnTo>
                  <a:lnTo>
                    <a:pt x="5264" y="3365"/>
                  </a:lnTo>
                  <a:lnTo>
                    <a:pt x="5257" y="3361"/>
                  </a:lnTo>
                  <a:lnTo>
                    <a:pt x="5253" y="3355"/>
                  </a:lnTo>
                  <a:lnTo>
                    <a:pt x="5252" y="3347"/>
                  </a:lnTo>
                  <a:lnTo>
                    <a:pt x="5252" y="3235"/>
                  </a:lnTo>
                  <a:lnTo>
                    <a:pt x="5253" y="3226"/>
                  </a:lnTo>
                  <a:lnTo>
                    <a:pt x="5257" y="3219"/>
                  </a:lnTo>
                  <a:lnTo>
                    <a:pt x="5264" y="3216"/>
                  </a:lnTo>
                  <a:lnTo>
                    <a:pt x="5271" y="3214"/>
                  </a:lnTo>
                  <a:lnTo>
                    <a:pt x="5279" y="3216"/>
                  </a:lnTo>
                  <a:lnTo>
                    <a:pt x="5286" y="3219"/>
                  </a:lnTo>
                  <a:lnTo>
                    <a:pt x="5289" y="3226"/>
                  </a:lnTo>
                  <a:lnTo>
                    <a:pt x="5292" y="3235"/>
                  </a:lnTo>
                  <a:close/>
                  <a:moveTo>
                    <a:pt x="5555" y="3235"/>
                  </a:moveTo>
                  <a:lnTo>
                    <a:pt x="5555" y="3347"/>
                  </a:lnTo>
                  <a:lnTo>
                    <a:pt x="5554" y="3355"/>
                  </a:lnTo>
                  <a:lnTo>
                    <a:pt x="5548" y="3361"/>
                  </a:lnTo>
                  <a:lnTo>
                    <a:pt x="5542" y="3365"/>
                  </a:lnTo>
                  <a:lnTo>
                    <a:pt x="5534" y="3367"/>
                  </a:lnTo>
                  <a:lnTo>
                    <a:pt x="5528" y="3365"/>
                  </a:lnTo>
                  <a:lnTo>
                    <a:pt x="5521" y="3361"/>
                  </a:lnTo>
                  <a:lnTo>
                    <a:pt x="5516" y="3355"/>
                  </a:lnTo>
                  <a:lnTo>
                    <a:pt x="5515" y="3347"/>
                  </a:lnTo>
                  <a:lnTo>
                    <a:pt x="5515" y="3235"/>
                  </a:lnTo>
                  <a:lnTo>
                    <a:pt x="5516" y="3226"/>
                  </a:lnTo>
                  <a:lnTo>
                    <a:pt x="5521" y="3219"/>
                  </a:lnTo>
                  <a:lnTo>
                    <a:pt x="5528" y="3216"/>
                  </a:lnTo>
                  <a:lnTo>
                    <a:pt x="5534" y="3214"/>
                  </a:lnTo>
                  <a:lnTo>
                    <a:pt x="5542" y="3216"/>
                  </a:lnTo>
                  <a:lnTo>
                    <a:pt x="5548" y="3219"/>
                  </a:lnTo>
                  <a:lnTo>
                    <a:pt x="5554" y="3226"/>
                  </a:lnTo>
                  <a:lnTo>
                    <a:pt x="5555" y="3235"/>
                  </a:lnTo>
                  <a:close/>
                  <a:moveTo>
                    <a:pt x="3624" y="4034"/>
                  </a:moveTo>
                  <a:lnTo>
                    <a:pt x="3624" y="3864"/>
                  </a:lnTo>
                  <a:lnTo>
                    <a:pt x="3625" y="3856"/>
                  </a:lnTo>
                  <a:lnTo>
                    <a:pt x="3629" y="3851"/>
                  </a:lnTo>
                  <a:lnTo>
                    <a:pt x="3634" y="3847"/>
                  </a:lnTo>
                  <a:lnTo>
                    <a:pt x="3639" y="3845"/>
                  </a:lnTo>
                  <a:lnTo>
                    <a:pt x="3646" y="3845"/>
                  </a:lnTo>
                  <a:lnTo>
                    <a:pt x="3652" y="3846"/>
                  </a:lnTo>
                  <a:lnTo>
                    <a:pt x="3657" y="3849"/>
                  </a:lnTo>
                  <a:lnTo>
                    <a:pt x="3662" y="3854"/>
                  </a:lnTo>
                  <a:lnTo>
                    <a:pt x="3666" y="3860"/>
                  </a:lnTo>
                  <a:lnTo>
                    <a:pt x="3667" y="3869"/>
                  </a:lnTo>
                  <a:lnTo>
                    <a:pt x="3667" y="4034"/>
                  </a:lnTo>
                  <a:lnTo>
                    <a:pt x="3710" y="4029"/>
                  </a:lnTo>
                  <a:lnTo>
                    <a:pt x="3751" y="4021"/>
                  </a:lnTo>
                  <a:lnTo>
                    <a:pt x="3789" y="4010"/>
                  </a:lnTo>
                  <a:lnTo>
                    <a:pt x="3828" y="3994"/>
                  </a:lnTo>
                  <a:lnTo>
                    <a:pt x="3846" y="3985"/>
                  </a:lnTo>
                  <a:lnTo>
                    <a:pt x="3864" y="3975"/>
                  </a:lnTo>
                  <a:lnTo>
                    <a:pt x="3897" y="3953"/>
                  </a:lnTo>
                  <a:lnTo>
                    <a:pt x="3928" y="3928"/>
                  </a:lnTo>
                  <a:lnTo>
                    <a:pt x="3957" y="3901"/>
                  </a:lnTo>
                  <a:lnTo>
                    <a:pt x="3970" y="3886"/>
                  </a:lnTo>
                  <a:lnTo>
                    <a:pt x="3983" y="3870"/>
                  </a:lnTo>
                  <a:lnTo>
                    <a:pt x="4006" y="3838"/>
                  </a:lnTo>
                  <a:lnTo>
                    <a:pt x="4026" y="3804"/>
                  </a:lnTo>
                  <a:lnTo>
                    <a:pt x="4043" y="3767"/>
                  </a:lnTo>
                  <a:lnTo>
                    <a:pt x="4057" y="3728"/>
                  </a:lnTo>
                  <a:lnTo>
                    <a:pt x="4067" y="3689"/>
                  </a:lnTo>
                  <a:lnTo>
                    <a:pt x="4074" y="3648"/>
                  </a:lnTo>
                  <a:lnTo>
                    <a:pt x="4075" y="3604"/>
                  </a:lnTo>
                  <a:lnTo>
                    <a:pt x="4074" y="3569"/>
                  </a:lnTo>
                  <a:lnTo>
                    <a:pt x="4069" y="3533"/>
                  </a:lnTo>
                  <a:lnTo>
                    <a:pt x="4062" y="3498"/>
                  </a:lnTo>
                  <a:lnTo>
                    <a:pt x="4052" y="3464"/>
                  </a:lnTo>
                  <a:lnTo>
                    <a:pt x="4039" y="3432"/>
                  </a:lnTo>
                  <a:lnTo>
                    <a:pt x="4024" y="3401"/>
                  </a:lnTo>
                  <a:lnTo>
                    <a:pt x="4006" y="3372"/>
                  </a:lnTo>
                  <a:lnTo>
                    <a:pt x="3987" y="3343"/>
                  </a:lnTo>
                  <a:lnTo>
                    <a:pt x="3955" y="3308"/>
                  </a:lnTo>
                  <a:lnTo>
                    <a:pt x="3919" y="3276"/>
                  </a:lnTo>
                  <a:lnTo>
                    <a:pt x="3880" y="3248"/>
                  </a:lnTo>
                  <a:lnTo>
                    <a:pt x="3860" y="3236"/>
                  </a:lnTo>
                  <a:lnTo>
                    <a:pt x="3839" y="3225"/>
                  </a:lnTo>
                  <a:lnTo>
                    <a:pt x="3817" y="3214"/>
                  </a:lnTo>
                  <a:lnTo>
                    <a:pt x="3794" y="3205"/>
                  </a:lnTo>
                  <a:lnTo>
                    <a:pt x="3748" y="3191"/>
                  </a:lnTo>
                  <a:lnTo>
                    <a:pt x="3699" y="3184"/>
                  </a:lnTo>
                  <a:lnTo>
                    <a:pt x="3674" y="3181"/>
                  </a:lnTo>
                  <a:lnTo>
                    <a:pt x="3648" y="3180"/>
                  </a:lnTo>
                  <a:lnTo>
                    <a:pt x="3604" y="3182"/>
                  </a:lnTo>
                  <a:lnTo>
                    <a:pt x="3562" y="3189"/>
                  </a:lnTo>
                  <a:lnTo>
                    <a:pt x="3521" y="3200"/>
                  </a:lnTo>
                  <a:lnTo>
                    <a:pt x="3481" y="3214"/>
                  </a:lnTo>
                  <a:lnTo>
                    <a:pt x="3443" y="3232"/>
                  </a:lnTo>
                  <a:lnTo>
                    <a:pt x="3408" y="3254"/>
                  </a:lnTo>
                  <a:lnTo>
                    <a:pt x="3375" y="3278"/>
                  </a:lnTo>
                  <a:lnTo>
                    <a:pt x="3344" y="3306"/>
                  </a:lnTo>
                  <a:lnTo>
                    <a:pt x="3316" y="3337"/>
                  </a:lnTo>
                  <a:lnTo>
                    <a:pt x="3292" y="3369"/>
                  </a:lnTo>
                  <a:lnTo>
                    <a:pt x="3270" y="3405"/>
                  </a:lnTo>
                  <a:lnTo>
                    <a:pt x="3252" y="3443"/>
                  </a:lnTo>
                  <a:lnTo>
                    <a:pt x="3238" y="3482"/>
                  </a:lnTo>
                  <a:lnTo>
                    <a:pt x="3226" y="3524"/>
                  </a:lnTo>
                  <a:lnTo>
                    <a:pt x="3220" y="3566"/>
                  </a:lnTo>
                  <a:lnTo>
                    <a:pt x="3219" y="3609"/>
                  </a:lnTo>
                  <a:lnTo>
                    <a:pt x="3220" y="3647"/>
                  </a:lnTo>
                  <a:lnTo>
                    <a:pt x="3224" y="3682"/>
                  </a:lnTo>
                  <a:lnTo>
                    <a:pt x="3231" y="3717"/>
                  </a:lnTo>
                  <a:lnTo>
                    <a:pt x="3242" y="3750"/>
                  </a:lnTo>
                  <a:lnTo>
                    <a:pt x="3254" y="3783"/>
                  </a:lnTo>
                  <a:lnTo>
                    <a:pt x="3270" y="3814"/>
                  </a:lnTo>
                  <a:lnTo>
                    <a:pt x="3288" y="3843"/>
                  </a:lnTo>
                  <a:lnTo>
                    <a:pt x="3307" y="3872"/>
                  </a:lnTo>
                  <a:lnTo>
                    <a:pt x="3336" y="3905"/>
                  </a:lnTo>
                  <a:lnTo>
                    <a:pt x="3370" y="3936"/>
                  </a:lnTo>
                  <a:lnTo>
                    <a:pt x="3388" y="3950"/>
                  </a:lnTo>
                  <a:lnTo>
                    <a:pt x="3407" y="3962"/>
                  </a:lnTo>
                  <a:lnTo>
                    <a:pt x="3445" y="3985"/>
                  </a:lnTo>
                  <a:lnTo>
                    <a:pt x="3487" y="4005"/>
                  </a:lnTo>
                  <a:lnTo>
                    <a:pt x="3531" y="4019"/>
                  </a:lnTo>
                  <a:lnTo>
                    <a:pt x="3576" y="4029"/>
                  </a:lnTo>
                  <a:lnTo>
                    <a:pt x="3624" y="4034"/>
                  </a:lnTo>
                  <a:close/>
                  <a:moveTo>
                    <a:pt x="3628" y="4333"/>
                  </a:moveTo>
                  <a:lnTo>
                    <a:pt x="3625" y="4328"/>
                  </a:lnTo>
                  <a:lnTo>
                    <a:pt x="3624" y="4320"/>
                  </a:lnTo>
                  <a:lnTo>
                    <a:pt x="3624" y="4079"/>
                  </a:lnTo>
                  <a:lnTo>
                    <a:pt x="3571" y="4072"/>
                  </a:lnTo>
                  <a:lnTo>
                    <a:pt x="3521" y="4062"/>
                  </a:lnTo>
                  <a:lnTo>
                    <a:pt x="3472" y="4045"/>
                  </a:lnTo>
                  <a:lnTo>
                    <a:pt x="3449" y="4035"/>
                  </a:lnTo>
                  <a:lnTo>
                    <a:pt x="3428" y="4024"/>
                  </a:lnTo>
                  <a:lnTo>
                    <a:pt x="3384" y="3998"/>
                  </a:lnTo>
                  <a:lnTo>
                    <a:pt x="3363" y="3984"/>
                  </a:lnTo>
                  <a:lnTo>
                    <a:pt x="3344" y="3967"/>
                  </a:lnTo>
                  <a:lnTo>
                    <a:pt x="3326" y="3951"/>
                  </a:lnTo>
                  <a:lnTo>
                    <a:pt x="3308" y="3934"/>
                  </a:lnTo>
                  <a:lnTo>
                    <a:pt x="3292" y="3915"/>
                  </a:lnTo>
                  <a:lnTo>
                    <a:pt x="3276" y="3896"/>
                  </a:lnTo>
                  <a:lnTo>
                    <a:pt x="3253" y="3865"/>
                  </a:lnTo>
                  <a:lnTo>
                    <a:pt x="3233" y="3832"/>
                  </a:lnTo>
                  <a:lnTo>
                    <a:pt x="3216" y="3797"/>
                  </a:lnTo>
                  <a:lnTo>
                    <a:pt x="3201" y="3762"/>
                  </a:lnTo>
                  <a:lnTo>
                    <a:pt x="3189" y="3725"/>
                  </a:lnTo>
                  <a:lnTo>
                    <a:pt x="3181" y="3686"/>
                  </a:lnTo>
                  <a:lnTo>
                    <a:pt x="3176" y="3645"/>
                  </a:lnTo>
                  <a:lnTo>
                    <a:pt x="3174" y="3604"/>
                  </a:lnTo>
                  <a:lnTo>
                    <a:pt x="3176" y="3557"/>
                  </a:lnTo>
                  <a:lnTo>
                    <a:pt x="3184" y="3510"/>
                  </a:lnTo>
                  <a:lnTo>
                    <a:pt x="3189" y="3488"/>
                  </a:lnTo>
                  <a:lnTo>
                    <a:pt x="3195" y="3465"/>
                  </a:lnTo>
                  <a:lnTo>
                    <a:pt x="3211" y="3423"/>
                  </a:lnTo>
                  <a:lnTo>
                    <a:pt x="3231" y="3382"/>
                  </a:lnTo>
                  <a:lnTo>
                    <a:pt x="3254" y="3342"/>
                  </a:lnTo>
                  <a:lnTo>
                    <a:pt x="3281" y="3306"/>
                  </a:lnTo>
                  <a:lnTo>
                    <a:pt x="3297" y="3290"/>
                  </a:lnTo>
                  <a:lnTo>
                    <a:pt x="3312" y="3273"/>
                  </a:lnTo>
                  <a:lnTo>
                    <a:pt x="3345" y="3242"/>
                  </a:lnTo>
                  <a:lnTo>
                    <a:pt x="3363" y="3228"/>
                  </a:lnTo>
                  <a:lnTo>
                    <a:pt x="3381" y="3216"/>
                  </a:lnTo>
                  <a:lnTo>
                    <a:pt x="3420" y="3193"/>
                  </a:lnTo>
                  <a:lnTo>
                    <a:pt x="3440" y="3182"/>
                  </a:lnTo>
                  <a:lnTo>
                    <a:pt x="3462" y="3172"/>
                  </a:lnTo>
                  <a:lnTo>
                    <a:pt x="3483" y="3164"/>
                  </a:lnTo>
                  <a:lnTo>
                    <a:pt x="3504" y="3157"/>
                  </a:lnTo>
                  <a:lnTo>
                    <a:pt x="3528" y="3150"/>
                  </a:lnTo>
                  <a:lnTo>
                    <a:pt x="3549" y="3145"/>
                  </a:lnTo>
                  <a:lnTo>
                    <a:pt x="3597" y="3138"/>
                  </a:lnTo>
                  <a:lnTo>
                    <a:pt x="3644" y="3135"/>
                  </a:lnTo>
                  <a:lnTo>
                    <a:pt x="3701" y="3139"/>
                  </a:lnTo>
                  <a:lnTo>
                    <a:pt x="3728" y="3143"/>
                  </a:lnTo>
                  <a:lnTo>
                    <a:pt x="3755" y="3149"/>
                  </a:lnTo>
                  <a:lnTo>
                    <a:pt x="3781" y="3156"/>
                  </a:lnTo>
                  <a:lnTo>
                    <a:pt x="3807" y="3164"/>
                  </a:lnTo>
                  <a:lnTo>
                    <a:pt x="3831" y="3175"/>
                  </a:lnTo>
                  <a:lnTo>
                    <a:pt x="3856" y="3185"/>
                  </a:lnTo>
                  <a:lnTo>
                    <a:pt x="3902" y="3212"/>
                  </a:lnTo>
                  <a:lnTo>
                    <a:pt x="3944" y="3242"/>
                  </a:lnTo>
                  <a:lnTo>
                    <a:pt x="3965" y="3260"/>
                  </a:lnTo>
                  <a:lnTo>
                    <a:pt x="3983" y="3278"/>
                  </a:lnTo>
                  <a:lnTo>
                    <a:pt x="4001" y="3299"/>
                  </a:lnTo>
                  <a:lnTo>
                    <a:pt x="4017" y="3318"/>
                  </a:lnTo>
                  <a:lnTo>
                    <a:pt x="4040" y="3350"/>
                  </a:lnTo>
                  <a:lnTo>
                    <a:pt x="4060" y="3382"/>
                  </a:lnTo>
                  <a:lnTo>
                    <a:pt x="4078" y="3416"/>
                  </a:lnTo>
                  <a:lnTo>
                    <a:pt x="4092" y="3453"/>
                  </a:lnTo>
                  <a:lnTo>
                    <a:pt x="4103" y="3491"/>
                  </a:lnTo>
                  <a:lnTo>
                    <a:pt x="4112" y="3529"/>
                  </a:lnTo>
                  <a:lnTo>
                    <a:pt x="4117" y="3569"/>
                  </a:lnTo>
                  <a:lnTo>
                    <a:pt x="4119" y="3609"/>
                  </a:lnTo>
                  <a:lnTo>
                    <a:pt x="4117" y="3657"/>
                  </a:lnTo>
                  <a:lnTo>
                    <a:pt x="4110" y="3702"/>
                  </a:lnTo>
                  <a:lnTo>
                    <a:pt x="4105" y="3725"/>
                  </a:lnTo>
                  <a:lnTo>
                    <a:pt x="4099" y="3746"/>
                  </a:lnTo>
                  <a:lnTo>
                    <a:pt x="4084" y="3788"/>
                  </a:lnTo>
                  <a:lnTo>
                    <a:pt x="4075" y="3809"/>
                  </a:lnTo>
                  <a:lnTo>
                    <a:pt x="4065" y="3828"/>
                  </a:lnTo>
                  <a:lnTo>
                    <a:pt x="4043" y="3866"/>
                  </a:lnTo>
                  <a:lnTo>
                    <a:pt x="4016" y="3902"/>
                  </a:lnTo>
                  <a:lnTo>
                    <a:pt x="3988" y="3936"/>
                  </a:lnTo>
                  <a:lnTo>
                    <a:pt x="3956" y="3965"/>
                  </a:lnTo>
                  <a:lnTo>
                    <a:pt x="3921" y="3993"/>
                  </a:lnTo>
                  <a:lnTo>
                    <a:pt x="3884" y="4016"/>
                  </a:lnTo>
                  <a:lnTo>
                    <a:pt x="3844" y="4037"/>
                  </a:lnTo>
                  <a:lnTo>
                    <a:pt x="3802" y="4053"/>
                  </a:lnTo>
                  <a:lnTo>
                    <a:pt x="3760" y="4066"/>
                  </a:lnTo>
                  <a:lnTo>
                    <a:pt x="3715" y="4075"/>
                  </a:lnTo>
                  <a:lnTo>
                    <a:pt x="3667" y="4079"/>
                  </a:lnTo>
                  <a:lnTo>
                    <a:pt x="3667" y="4336"/>
                  </a:lnTo>
                  <a:lnTo>
                    <a:pt x="3666" y="4345"/>
                  </a:lnTo>
                  <a:lnTo>
                    <a:pt x="3661" y="4351"/>
                  </a:lnTo>
                  <a:lnTo>
                    <a:pt x="3654" y="4355"/>
                  </a:lnTo>
                  <a:lnTo>
                    <a:pt x="3648" y="4356"/>
                  </a:lnTo>
                  <a:lnTo>
                    <a:pt x="3640" y="4355"/>
                  </a:lnTo>
                  <a:lnTo>
                    <a:pt x="3634" y="4351"/>
                  </a:lnTo>
                  <a:lnTo>
                    <a:pt x="3629" y="4345"/>
                  </a:lnTo>
                  <a:lnTo>
                    <a:pt x="3628" y="4336"/>
                  </a:lnTo>
                  <a:lnTo>
                    <a:pt x="3628" y="4333"/>
                  </a:lnTo>
                  <a:close/>
                </a:path>
              </a:pathLst>
            </a:custGeom>
            <a:solidFill>
              <a:srgbClr val="FF6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12">
              <a:extLst>
                <a:ext uri="{FF2B5EF4-FFF2-40B4-BE49-F238E27FC236}">
                  <a16:creationId xmlns:a16="http://schemas.microsoft.com/office/drawing/2014/main" id="{14CC01FD-39A4-473B-ADB7-2676F9E144F7}"/>
                </a:ext>
              </a:extLst>
            </p:cNvPr>
            <p:cNvSpPr>
              <a:spLocks noChangeAspect="1" noEditPoints="1"/>
            </p:cNvSpPr>
            <p:nvPr userDrawn="1"/>
          </p:nvSpPr>
          <p:spPr bwMode="black">
            <a:xfrm>
              <a:off x="5610994" y="5177099"/>
              <a:ext cx="193514" cy="216000"/>
            </a:xfrm>
            <a:custGeom>
              <a:avLst/>
              <a:gdLst>
                <a:gd name="T0" fmla="*/ 2964 w 3578"/>
                <a:gd name="T1" fmla="*/ 3151 h 3996"/>
                <a:gd name="T2" fmla="*/ 2988 w 3578"/>
                <a:gd name="T3" fmla="*/ 3131 h 3996"/>
                <a:gd name="T4" fmla="*/ 3002 w 3578"/>
                <a:gd name="T5" fmla="*/ 3095 h 3996"/>
                <a:gd name="T6" fmla="*/ 2998 w 3578"/>
                <a:gd name="T7" fmla="*/ 3052 h 3996"/>
                <a:gd name="T8" fmla="*/ 2570 w 3578"/>
                <a:gd name="T9" fmla="*/ 2480 h 3996"/>
                <a:gd name="T10" fmla="*/ 2976 w 3578"/>
                <a:gd name="T11" fmla="*/ 956 h 3996"/>
                <a:gd name="T12" fmla="*/ 2988 w 3578"/>
                <a:gd name="T13" fmla="*/ 917 h 3996"/>
                <a:gd name="T14" fmla="*/ 2981 w 3578"/>
                <a:gd name="T15" fmla="*/ 878 h 3996"/>
                <a:gd name="T16" fmla="*/ 2961 w 3578"/>
                <a:gd name="T17" fmla="*/ 853 h 3996"/>
                <a:gd name="T18" fmla="*/ 2936 w 3578"/>
                <a:gd name="T19" fmla="*/ 840 h 3996"/>
                <a:gd name="T20" fmla="*/ 2275 w 3578"/>
                <a:gd name="T21" fmla="*/ 835 h 3996"/>
                <a:gd name="T22" fmla="*/ 2209 w 3578"/>
                <a:gd name="T23" fmla="*/ 845 h 3996"/>
                <a:gd name="T24" fmla="*/ 2160 w 3578"/>
                <a:gd name="T25" fmla="*/ 872 h 3996"/>
                <a:gd name="T26" fmla="*/ 2119 w 3578"/>
                <a:gd name="T27" fmla="*/ 915 h 3996"/>
                <a:gd name="T28" fmla="*/ 1365 w 3578"/>
                <a:gd name="T29" fmla="*/ 931 h 3996"/>
                <a:gd name="T30" fmla="*/ 1356 w 3578"/>
                <a:gd name="T31" fmla="*/ 884 h 3996"/>
                <a:gd name="T32" fmla="*/ 1325 w 3578"/>
                <a:gd name="T33" fmla="*/ 851 h 3996"/>
                <a:gd name="T34" fmla="*/ 1280 w 3578"/>
                <a:gd name="T35" fmla="*/ 835 h 3996"/>
                <a:gd name="T36" fmla="*/ 664 w 3578"/>
                <a:gd name="T37" fmla="*/ 840 h 3996"/>
                <a:gd name="T38" fmla="*/ 625 w 3578"/>
                <a:gd name="T39" fmla="*/ 862 h 3996"/>
                <a:gd name="T40" fmla="*/ 602 w 3578"/>
                <a:gd name="T41" fmla="*/ 902 h 3996"/>
                <a:gd name="T42" fmla="*/ 598 w 3578"/>
                <a:gd name="T43" fmla="*/ 1998 h 3996"/>
                <a:gd name="T44" fmla="*/ 602 w 3578"/>
                <a:gd name="T45" fmla="*/ 3094 h 3996"/>
                <a:gd name="T46" fmla="*/ 625 w 3578"/>
                <a:gd name="T47" fmla="*/ 3133 h 3996"/>
                <a:gd name="T48" fmla="*/ 664 w 3578"/>
                <a:gd name="T49" fmla="*/ 3156 h 3996"/>
                <a:gd name="T50" fmla="*/ 1280 w 3578"/>
                <a:gd name="T51" fmla="*/ 3160 h 3996"/>
                <a:gd name="T52" fmla="*/ 1325 w 3578"/>
                <a:gd name="T53" fmla="*/ 3144 h 3996"/>
                <a:gd name="T54" fmla="*/ 1356 w 3578"/>
                <a:gd name="T55" fmla="*/ 3111 h 3996"/>
                <a:gd name="T56" fmla="*/ 1365 w 3578"/>
                <a:gd name="T57" fmla="*/ 3064 h 3996"/>
                <a:gd name="T58" fmla="*/ 2119 w 3578"/>
                <a:gd name="T59" fmla="*/ 3080 h 3996"/>
                <a:gd name="T60" fmla="*/ 2160 w 3578"/>
                <a:gd name="T61" fmla="*/ 3123 h 3996"/>
                <a:gd name="T62" fmla="*/ 2209 w 3578"/>
                <a:gd name="T63" fmla="*/ 3151 h 3996"/>
                <a:gd name="T64" fmla="*/ 2275 w 3578"/>
                <a:gd name="T65" fmla="*/ 3160 h 3996"/>
                <a:gd name="T66" fmla="*/ 4 w 3578"/>
                <a:gd name="T67" fmla="*/ 3929 h 3996"/>
                <a:gd name="T68" fmla="*/ 27 w 3578"/>
                <a:gd name="T69" fmla="*/ 3968 h 3996"/>
                <a:gd name="T70" fmla="*/ 66 w 3578"/>
                <a:gd name="T71" fmla="*/ 3991 h 3996"/>
                <a:gd name="T72" fmla="*/ 1789 w 3578"/>
                <a:gd name="T73" fmla="*/ 3996 h 3996"/>
                <a:gd name="T74" fmla="*/ 3512 w 3578"/>
                <a:gd name="T75" fmla="*/ 3991 h 3996"/>
                <a:gd name="T76" fmla="*/ 3552 w 3578"/>
                <a:gd name="T77" fmla="*/ 3968 h 3996"/>
                <a:gd name="T78" fmla="*/ 3574 w 3578"/>
                <a:gd name="T79" fmla="*/ 3929 h 3996"/>
                <a:gd name="T80" fmla="*/ 3577 w 3578"/>
                <a:gd name="T81" fmla="*/ 3624 h 3996"/>
                <a:gd name="T82" fmla="*/ 3563 w 3578"/>
                <a:gd name="T83" fmla="*/ 3579 h 3996"/>
                <a:gd name="T84" fmla="*/ 3529 w 3578"/>
                <a:gd name="T85" fmla="*/ 3549 h 3996"/>
                <a:gd name="T86" fmla="*/ 3482 w 3578"/>
                <a:gd name="T87" fmla="*/ 3538 h 3996"/>
                <a:gd name="T88" fmla="*/ 85 w 3578"/>
                <a:gd name="T89" fmla="*/ 3538 h 3996"/>
                <a:gd name="T90" fmla="*/ 41 w 3578"/>
                <a:gd name="T91" fmla="*/ 3554 h 3996"/>
                <a:gd name="T92" fmla="*/ 11 w 3578"/>
                <a:gd name="T93" fmla="*/ 3587 h 3996"/>
                <a:gd name="T94" fmla="*/ 0 w 3578"/>
                <a:gd name="T95" fmla="*/ 3634 h 3996"/>
                <a:gd name="T96" fmla="*/ 4 w 3578"/>
                <a:gd name="T97" fmla="*/ 391 h 3996"/>
                <a:gd name="T98" fmla="*/ 27 w 3578"/>
                <a:gd name="T99" fmla="*/ 430 h 3996"/>
                <a:gd name="T100" fmla="*/ 66 w 3578"/>
                <a:gd name="T101" fmla="*/ 453 h 3996"/>
                <a:gd name="T102" fmla="*/ 1789 w 3578"/>
                <a:gd name="T103" fmla="*/ 456 h 3996"/>
                <a:gd name="T104" fmla="*/ 3512 w 3578"/>
                <a:gd name="T105" fmla="*/ 453 h 3996"/>
                <a:gd name="T106" fmla="*/ 3552 w 3578"/>
                <a:gd name="T107" fmla="*/ 430 h 3996"/>
                <a:gd name="T108" fmla="*/ 3574 w 3578"/>
                <a:gd name="T109" fmla="*/ 391 h 3996"/>
                <a:gd name="T110" fmla="*/ 3577 w 3578"/>
                <a:gd name="T111" fmla="*/ 85 h 3996"/>
                <a:gd name="T112" fmla="*/ 3563 w 3578"/>
                <a:gd name="T113" fmla="*/ 41 h 3996"/>
                <a:gd name="T114" fmla="*/ 3529 w 3578"/>
                <a:gd name="T115" fmla="*/ 11 h 3996"/>
                <a:gd name="T116" fmla="*/ 3482 w 3578"/>
                <a:gd name="T117" fmla="*/ 0 h 3996"/>
                <a:gd name="T118" fmla="*/ 85 w 3578"/>
                <a:gd name="T119" fmla="*/ 0 h 3996"/>
                <a:gd name="T120" fmla="*/ 41 w 3578"/>
                <a:gd name="T121" fmla="*/ 16 h 3996"/>
                <a:gd name="T122" fmla="*/ 11 w 3578"/>
                <a:gd name="T123" fmla="*/ 49 h 3996"/>
                <a:gd name="T124" fmla="*/ 0 w 3578"/>
                <a:gd name="T125" fmla="*/ 95 h 3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78" h="3996">
                  <a:moveTo>
                    <a:pt x="2924" y="3160"/>
                  </a:moveTo>
                  <a:lnTo>
                    <a:pt x="2936" y="3160"/>
                  </a:lnTo>
                  <a:lnTo>
                    <a:pt x="2947" y="3157"/>
                  </a:lnTo>
                  <a:lnTo>
                    <a:pt x="2958" y="3153"/>
                  </a:lnTo>
                  <a:lnTo>
                    <a:pt x="2964" y="3151"/>
                  </a:lnTo>
                  <a:lnTo>
                    <a:pt x="2968" y="3148"/>
                  </a:lnTo>
                  <a:lnTo>
                    <a:pt x="2977" y="3142"/>
                  </a:lnTo>
                  <a:lnTo>
                    <a:pt x="2981" y="3139"/>
                  </a:lnTo>
                  <a:lnTo>
                    <a:pt x="2985" y="3135"/>
                  </a:lnTo>
                  <a:lnTo>
                    <a:pt x="2988" y="3131"/>
                  </a:lnTo>
                  <a:lnTo>
                    <a:pt x="2991" y="3126"/>
                  </a:lnTo>
                  <a:lnTo>
                    <a:pt x="2996" y="3117"/>
                  </a:lnTo>
                  <a:lnTo>
                    <a:pt x="3000" y="3106"/>
                  </a:lnTo>
                  <a:lnTo>
                    <a:pt x="3001" y="3101"/>
                  </a:lnTo>
                  <a:lnTo>
                    <a:pt x="3002" y="3095"/>
                  </a:lnTo>
                  <a:lnTo>
                    <a:pt x="3003" y="3084"/>
                  </a:lnTo>
                  <a:lnTo>
                    <a:pt x="3002" y="3072"/>
                  </a:lnTo>
                  <a:lnTo>
                    <a:pt x="3001" y="3065"/>
                  </a:lnTo>
                  <a:lnTo>
                    <a:pt x="2999" y="3059"/>
                  </a:lnTo>
                  <a:lnTo>
                    <a:pt x="2998" y="3052"/>
                  </a:lnTo>
                  <a:lnTo>
                    <a:pt x="2995" y="3045"/>
                  </a:lnTo>
                  <a:lnTo>
                    <a:pt x="2988" y="3032"/>
                  </a:lnTo>
                  <a:lnTo>
                    <a:pt x="2985" y="3026"/>
                  </a:lnTo>
                  <a:lnTo>
                    <a:pt x="2980" y="3019"/>
                  </a:lnTo>
                  <a:lnTo>
                    <a:pt x="2570" y="2480"/>
                  </a:lnTo>
                  <a:lnTo>
                    <a:pt x="2162" y="1941"/>
                  </a:lnTo>
                  <a:lnTo>
                    <a:pt x="2562" y="1459"/>
                  </a:lnTo>
                  <a:lnTo>
                    <a:pt x="2962" y="976"/>
                  </a:lnTo>
                  <a:lnTo>
                    <a:pt x="2972" y="962"/>
                  </a:lnTo>
                  <a:lnTo>
                    <a:pt x="2976" y="956"/>
                  </a:lnTo>
                  <a:lnTo>
                    <a:pt x="2979" y="949"/>
                  </a:lnTo>
                  <a:lnTo>
                    <a:pt x="2985" y="936"/>
                  </a:lnTo>
                  <a:lnTo>
                    <a:pt x="2986" y="929"/>
                  </a:lnTo>
                  <a:lnTo>
                    <a:pt x="2988" y="923"/>
                  </a:lnTo>
                  <a:lnTo>
                    <a:pt x="2988" y="917"/>
                  </a:lnTo>
                  <a:lnTo>
                    <a:pt x="2989" y="910"/>
                  </a:lnTo>
                  <a:lnTo>
                    <a:pt x="2988" y="899"/>
                  </a:lnTo>
                  <a:lnTo>
                    <a:pt x="2987" y="894"/>
                  </a:lnTo>
                  <a:lnTo>
                    <a:pt x="2986" y="888"/>
                  </a:lnTo>
                  <a:lnTo>
                    <a:pt x="2981" y="878"/>
                  </a:lnTo>
                  <a:lnTo>
                    <a:pt x="2979" y="873"/>
                  </a:lnTo>
                  <a:lnTo>
                    <a:pt x="2976" y="868"/>
                  </a:lnTo>
                  <a:lnTo>
                    <a:pt x="2972" y="864"/>
                  </a:lnTo>
                  <a:lnTo>
                    <a:pt x="2969" y="861"/>
                  </a:lnTo>
                  <a:lnTo>
                    <a:pt x="2961" y="853"/>
                  </a:lnTo>
                  <a:lnTo>
                    <a:pt x="2957" y="849"/>
                  </a:lnTo>
                  <a:lnTo>
                    <a:pt x="2951" y="846"/>
                  </a:lnTo>
                  <a:lnTo>
                    <a:pt x="2947" y="844"/>
                  </a:lnTo>
                  <a:lnTo>
                    <a:pt x="2941" y="842"/>
                  </a:lnTo>
                  <a:lnTo>
                    <a:pt x="2936" y="840"/>
                  </a:lnTo>
                  <a:lnTo>
                    <a:pt x="2930" y="838"/>
                  </a:lnTo>
                  <a:lnTo>
                    <a:pt x="2925" y="836"/>
                  </a:lnTo>
                  <a:lnTo>
                    <a:pt x="2919" y="836"/>
                  </a:lnTo>
                  <a:lnTo>
                    <a:pt x="2907" y="835"/>
                  </a:lnTo>
                  <a:lnTo>
                    <a:pt x="2275" y="835"/>
                  </a:lnTo>
                  <a:lnTo>
                    <a:pt x="2260" y="835"/>
                  </a:lnTo>
                  <a:lnTo>
                    <a:pt x="2246" y="836"/>
                  </a:lnTo>
                  <a:lnTo>
                    <a:pt x="2234" y="838"/>
                  </a:lnTo>
                  <a:lnTo>
                    <a:pt x="2222" y="841"/>
                  </a:lnTo>
                  <a:lnTo>
                    <a:pt x="2209" y="845"/>
                  </a:lnTo>
                  <a:lnTo>
                    <a:pt x="2198" y="848"/>
                  </a:lnTo>
                  <a:lnTo>
                    <a:pt x="2188" y="854"/>
                  </a:lnTo>
                  <a:lnTo>
                    <a:pt x="2178" y="859"/>
                  </a:lnTo>
                  <a:lnTo>
                    <a:pt x="2168" y="865"/>
                  </a:lnTo>
                  <a:lnTo>
                    <a:pt x="2160" y="872"/>
                  </a:lnTo>
                  <a:lnTo>
                    <a:pt x="2151" y="879"/>
                  </a:lnTo>
                  <a:lnTo>
                    <a:pt x="2142" y="887"/>
                  </a:lnTo>
                  <a:lnTo>
                    <a:pt x="2134" y="896"/>
                  </a:lnTo>
                  <a:lnTo>
                    <a:pt x="2126" y="905"/>
                  </a:lnTo>
                  <a:lnTo>
                    <a:pt x="2119" y="915"/>
                  </a:lnTo>
                  <a:lnTo>
                    <a:pt x="2111" y="925"/>
                  </a:lnTo>
                  <a:lnTo>
                    <a:pt x="1738" y="1404"/>
                  </a:lnTo>
                  <a:lnTo>
                    <a:pt x="1365" y="1885"/>
                  </a:lnTo>
                  <a:lnTo>
                    <a:pt x="1365" y="1408"/>
                  </a:lnTo>
                  <a:lnTo>
                    <a:pt x="1365" y="931"/>
                  </a:lnTo>
                  <a:lnTo>
                    <a:pt x="1365" y="920"/>
                  </a:lnTo>
                  <a:lnTo>
                    <a:pt x="1364" y="910"/>
                  </a:lnTo>
                  <a:lnTo>
                    <a:pt x="1362" y="902"/>
                  </a:lnTo>
                  <a:lnTo>
                    <a:pt x="1359" y="892"/>
                  </a:lnTo>
                  <a:lnTo>
                    <a:pt x="1356" y="884"/>
                  </a:lnTo>
                  <a:lnTo>
                    <a:pt x="1350" y="876"/>
                  </a:lnTo>
                  <a:lnTo>
                    <a:pt x="1346" y="868"/>
                  </a:lnTo>
                  <a:lnTo>
                    <a:pt x="1339" y="862"/>
                  </a:lnTo>
                  <a:lnTo>
                    <a:pt x="1332" y="856"/>
                  </a:lnTo>
                  <a:lnTo>
                    <a:pt x="1325" y="851"/>
                  </a:lnTo>
                  <a:lnTo>
                    <a:pt x="1317" y="846"/>
                  </a:lnTo>
                  <a:lnTo>
                    <a:pt x="1309" y="842"/>
                  </a:lnTo>
                  <a:lnTo>
                    <a:pt x="1300" y="840"/>
                  </a:lnTo>
                  <a:lnTo>
                    <a:pt x="1290" y="837"/>
                  </a:lnTo>
                  <a:lnTo>
                    <a:pt x="1280" y="835"/>
                  </a:lnTo>
                  <a:lnTo>
                    <a:pt x="1270" y="835"/>
                  </a:lnTo>
                  <a:lnTo>
                    <a:pt x="694" y="835"/>
                  </a:lnTo>
                  <a:lnTo>
                    <a:pt x="684" y="835"/>
                  </a:lnTo>
                  <a:lnTo>
                    <a:pt x="674" y="837"/>
                  </a:lnTo>
                  <a:lnTo>
                    <a:pt x="664" y="840"/>
                  </a:lnTo>
                  <a:lnTo>
                    <a:pt x="656" y="842"/>
                  </a:lnTo>
                  <a:lnTo>
                    <a:pt x="647" y="846"/>
                  </a:lnTo>
                  <a:lnTo>
                    <a:pt x="639" y="851"/>
                  </a:lnTo>
                  <a:lnTo>
                    <a:pt x="632" y="856"/>
                  </a:lnTo>
                  <a:lnTo>
                    <a:pt x="625" y="862"/>
                  </a:lnTo>
                  <a:lnTo>
                    <a:pt x="619" y="868"/>
                  </a:lnTo>
                  <a:lnTo>
                    <a:pt x="614" y="876"/>
                  </a:lnTo>
                  <a:lnTo>
                    <a:pt x="609" y="884"/>
                  </a:lnTo>
                  <a:lnTo>
                    <a:pt x="606" y="892"/>
                  </a:lnTo>
                  <a:lnTo>
                    <a:pt x="602" y="902"/>
                  </a:lnTo>
                  <a:lnTo>
                    <a:pt x="600" y="910"/>
                  </a:lnTo>
                  <a:lnTo>
                    <a:pt x="599" y="920"/>
                  </a:lnTo>
                  <a:lnTo>
                    <a:pt x="598" y="931"/>
                  </a:lnTo>
                  <a:lnTo>
                    <a:pt x="598" y="1464"/>
                  </a:lnTo>
                  <a:lnTo>
                    <a:pt x="598" y="1998"/>
                  </a:lnTo>
                  <a:lnTo>
                    <a:pt x="598" y="2531"/>
                  </a:lnTo>
                  <a:lnTo>
                    <a:pt x="598" y="3064"/>
                  </a:lnTo>
                  <a:lnTo>
                    <a:pt x="599" y="3074"/>
                  </a:lnTo>
                  <a:lnTo>
                    <a:pt x="600" y="3084"/>
                  </a:lnTo>
                  <a:lnTo>
                    <a:pt x="602" y="3094"/>
                  </a:lnTo>
                  <a:lnTo>
                    <a:pt x="606" y="3103"/>
                  </a:lnTo>
                  <a:lnTo>
                    <a:pt x="609" y="3111"/>
                  </a:lnTo>
                  <a:lnTo>
                    <a:pt x="614" y="3120"/>
                  </a:lnTo>
                  <a:lnTo>
                    <a:pt x="619" y="3126"/>
                  </a:lnTo>
                  <a:lnTo>
                    <a:pt x="625" y="3133"/>
                  </a:lnTo>
                  <a:lnTo>
                    <a:pt x="632" y="3140"/>
                  </a:lnTo>
                  <a:lnTo>
                    <a:pt x="639" y="3144"/>
                  </a:lnTo>
                  <a:lnTo>
                    <a:pt x="647" y="3150"/>
                  </a:lnTo>
                  <a:lnTo>
                    <a:pt x="656" y="3153"/>
                  </a:lnTo>
                  <a:lnTo>
                    <a:pt x="664" y="3156"/>
                  </a:lnTo>
                  <a:lnTo>
                    <a:pt x="674" y="3158"/>
                  </a:lnTo>
                  <a:lnTo>
                    <a:pt x="684" y="3160"/>
                  </a:lnTo>
                  <a:lnTo>
                    <a:pt x="694" y="3160"/>
                  </a:lnTo>
                  <a:lnTo>
                    <a:pt x="1270" y="3160"/>
                  </a:lnTo>
                  <a:lnTo>
                    <a:pt x="1280" y="3160"/>
                  </a:lnTo>
                  <a:lnTo>
                    <a:pt x="1290" y="3158"/>
                  </a:lnTo>
                  <a:lnTo>
                    <a:pt x="1300" y="3156"/>
                  </a:lnTo>
                  <a:lnTo>
                    <a:pt x="1309" y="3153"/>
                  </a:lnTo>
                  <a:lnTo>
                    <a:pt x="1317" y="3150"/>
                  </a:lnTo>
                  <a:lnTo>
                    <a:pt x="1325" y="3144"/>
                  </a:lnTo>
                  <a:lnTo>
                    <a:pt x="1332" y="3140"/>
                  </a:lnTo>
                  <a:lnTo>
                    <a:pt x="1339" y="3133"/>
                  </a:lnTo>
                  <a:lnTo>
                    <a:pt x="1346" y="3126"/>
                  </a:lnTo>
                  <a:lnTo>
                    <a:pt x="1350" y="3120"/>
                  </a:lnTo>
                  <a:lnTo>
                    <a:pt x="1356" y="3111"/>
                  </a:lnTo>
                  <a:lnTo>
                    <a:pt x="1359" y="3103"/>
                  </a:lnTo>
                  <a:lnTo>
                    <a:pt x="1362" y="3094"/>
                  </a:lnTo>
                  <a:lnTo>
                    <a:pt x="1364" y="3084"/>
                  </a:lnTo>
                  <a:lnTo>
                    <a:pt x="1365" y="3074"/>
                  </a:lnTo>
                  <a:lnTo>
                    <a:pt x="1365" y="3064"/>
                  </a:lnTo>
                  <a:lnTo>
                    <a:pt x="1365" y="2539"/>
                  </a:lnTo>
                  <a:lnTo>
                    <a:pt x="1365" y="2014"/>
                  </a:lnTo>
                  <a:lnTo>
                    <a:pt x="1738" y="2542"/>
                  </a:lnTo>
                  <a:lnTo>
                    <a:pt x="2111" y="3070"/>
                  </a:lnTo>
                  <a:lnTo>
                    <a:pt x="2119" y="3080"/>
                  </a:lnTo>
                  <a:lnTo>
                    <a:pt x="2126" y="3090"/>
                  </a:lnTo>
                  <a:lnTo>
                    <a:pt x="2134" y="3099"/>
                  </a:lnTo>
                  <a:lnTo>
                    <a:pt x="2142" y="3108"/>
                  </a:lnTo>
                  <a:lnTo>
                    <a:pt x="2151" y="3115"/>
                  </a:lnTo>
                  <a:lnTo>
                    <a:pt x="2160" y="3123"/>
                  </a:lnTo>
                  <a:lnTo>
                    <a:pt x="2168" y="3130"/>
                  </a:lnTo>
                  <a:lnTo>
                    <a:pt x="2178" y="3136"/>
                  </a:lnTo>
                  <a:lnTo>
                    <a:pt x="2188" y="3142"/>
                  </a:lnTo>
                  <a:lnTo>
                    <a:pt x="2198" y="3146"/>
                  </a:lnTo>
                  <a:lnTo>
                    <a:pt x="2209" y="3151"/>
                  </a:lnTo>
                  <a:lnTo>
                    <a:pt x="2222" y="3154"/>
                  </a:lnTo>
                  <a:lnTo>
                    <a:pt x="2234" y="3156"/>
                  </a:lnTo>
                  <a:lnTo>
                    <a:pt x="2246" y="3158"/>
                  </a:lnTo>
                  <a:lnTo>
                    <a:pt x="2260" y="3160"/>
                  </a:lnTo>
                  <a:lnTo>
                    <a:pt x="2275" y="3160"/>
                  </a:lnTo>
                  <a:lnTo>
                    <a:pt x="2924" y="3160"/>
                  </a:lnTo>
                  <a:close/>
                  <a:moveTo>
                    <a:pt x="0" y="3899"/>
                  </a:moveTo>
                  <a:lnTo>
                    <a:pt x="1" y="3909"/>
                  </a:lnTo>
                  <a:lnTo>
                    <a:pt x="2" y="3919"/>
                  </a:lnTo>
                  <a:lnTo>
                    <a:pt x="4" y="3929"/>
                  </a:lnTo>
                  <a:lnTo>
                    <a:pt x="8" y="3938"/>
                  </a:lnTo>
                  <a:lnTo>
                    <a:pt x="11" y="3947"/>
                  </a:lnTo>
                  <a:lnTo>
                    <a:pt x="16" y="3955"/>
                  </a:lnTo>
                  <a:lnTo>
                    <a:pt x="21" y="3961"/>
                  </a:lnTo>
                  <a:lnTo>
                    <a:pt x="27" y="3968"/>
                  </a:lnTo>
                  <a:lnTo>
                    <a:pt x="33" y="3975"/>
                  </a:lnTo>
                  <a:lnTo>
                    <a:pt x="41" y="3980"/>
                  </a:lnTo>
                  <a:lnTo>
                    <a:pt x="49" y="3985"/>
                  </a:lnTo>
                  <a:lnTo>
                    <a:pt x="58" y="3988"/>
                  </a:lnTo>
                  <a:lnTo>
                    <a:pt x="66" y="3991"/>
                  </a:lnTo>
                  <a:lnTo>
                    <a:pt x="75" y="3993"/>
                  </a:lnTo>
                  <a:lnTo>
                    <a:pt x="85" y="3995"/>
                  </a:lnTo>
                  <a:lnTo>
                    <a:pt x="96" y="3996"/>
                  </a:lnTo>
                  <a:lnTo>
                    <a:pt x="942" y="3996"/>
                  </a:lnTo>
                  <a:lnTo>
                    <a:pt x="1789" y="3996"/>
                  </a:lnTo>
                  <a:lnTo>
                    <a:pt x="2635" y="3996"/>
                  </a:lnTo>
                  <a:lnTo>
                    <a:pt x="3482" y="3996"/>
                  </a:lnTo>
                  <a:lnTo>
                    <a:pt x="3493" y="3995"/>
                  </a:lnTo>
                  <a:lnTo>
                    <a:pt x="3503" y="3993"/>
                  </a:lnTo>
                  <a:lnTo>
                    <a:pt x="3512" y="3991"/>
                  </a:lnTo>
                  <a:lnTo>
                    <a:pt x="3521" y="3988"/>
                  </a:lnTo>
                  <a:lnTo>
                    <a:pt x="3529" y="3985"/>
                  </a:lnTo>
                  <a:lnTo>
                    <a:pt x="3537" y="3980"/>
                  </a:lnTo>
                  <a:lnTo>
                    <a:pt x="3545" y="3975"/>
                  </a:lnTo>
                  <a:lnTo>
                    <a:pt x="3552" y="3968"/>
                  </a:lnTo>
                  <a:lnTo>
                    <a:pt x="3557" y="3961"/>
                  </a:lnTo>
                  <a:lnTo>
                    <a:pt x="3563" y="3955"/>
                  </a:lnTo>
                  <a:lnTo>
                    <a:pt x="3567" y="3947"/>
                  </a:lnTo>
                  <a:lnTo>
                    <a:pt x="3572" y="3938"/>
                  </a:lnTo>
                  <a:lnTo>
                    <a:pt x="3574" y="3929"/>
                  </a:lnTo>
                  <a:lnTo>
                    <a:pt x="3576" y="3919"/>
                  </a:lnTo>
                  <a:lnTo>
                    <a:pt x="3577" y="3909"/>
                  </a:lnTo>
                  <a:lnTo>
                    <a:pt x="3578" y="3899"/>
                  </a:lnTo>
                  <a:lnTo>
                    <a:pt x="3578" y="3634"/>
                  </a:lnTo>
                  <a:lnTo>
                    <a:pt x="3577" y="3624"/>
                  </a:lnTo>
                  <a:lnTo>
                    <a:pt x="3576" y="3614"/>
                  </a:lnTo>
                  <a:lnTo>
                    <a:pt x="3574" y="3605"/>
                  </a:lnTo>
                  <a:lnTo>
                    <a:pt x="3572" y="3595"/>
                  </a:lnTo>
                  <a:lnTo>
                    <a:pt x="3567" y="3587"/>
                  </a:lnTo>
                  <a:lnTo>
                    <a:pt x="3563" y="3579"/>
                  </a:lnTo>
                  <a:lnTo>
                    <a:pt x="3557" y="3572"/>
                  </a:lnTo>
                  <a:lnTo>
                    <a:pt x="3552" y="3565"/>
                  </a:lnTo>
                  <a:lnTo>
                    <a:pt x="3545" y="3559"/>
                  </a:lnTo>
                  <a:lnTo>
                    <a:pt x="3537" y="3554"/>
                  </a:lnTo>
                  <a:lnTo>
                    <a:pt x="3529" y="3549"/>
                  </a:lnTo>
                  <a:lnTo>
                    <a:pt x="3521" y="3545"/>
                  </a:lnTo>
                  <a:lnTo>
                    <a:pt x="3512" y="3542"/>
                  </a:lnTo>
                  <a:lnTo>
                    <a:pt x="3503" y="3539"/>
                  </a:lnTo>
                  <a:lnTo>
                    <a:pt x="3493" y="3538"/>
                  </a:lnTo>
                  <a:lnTo>
                    <a:pt x="3482" y="3538"/>
                  </a:lnTo>
                  <a:lnTo>
                    <a:pt x="2635" y="3538"/>
                  </a:lnTo>
                  <a:lnTo>
                    <a:pt x="1789" y="3538"/>
                  </a:lnTo>
                  <a:lnTo>
                    <a:pt x="942" y="3538"/>
                  </a:lnTo>
                  <a:lnTo>
                    <a:pt x="96" y="3538"/>
                  </a:lnTo>
                  <a:lnTo>
                    <a:pt x="85" y="3538"/>
                  </a:lnTo>
                  <a:lnTo>
                    <a:pt x="75" y="3539"/>
                  </a:lnTo>
                  <a:lnTo>
                    <a:pt x="66" y="3542"/>
                  </a:lnTo>
                  <a:lnTo>
                    <a:pt x="58" y="3545"/>
                  </a:lnTo>
                  <a:lnTo>
                    <a:pt x="49" y="3549"/>
                  </a:lnTo>
                  <a:lnTo>
                    <a:pt x="41" y="3554"/>
                  </a:lnTo>
                  <a:lnTo>
                    <a:pt x="33" y="3559"/>
                  </a:lnTo>
                  <a:lnTo>
                    <a:pt x="27" y="3565"/>
                  </a:lnTo>
                  <a:lnTo>
                    <a:pt x="21" y="3572"/>
                  </a:lnTo>
                  <a:lnTo>
                    <a:pt x="16" y="3579"/>
                  </a:lnTo>
                  <a:lnTo>
                    <a:pt x="11" y="3587"/>
                  </a:lnTo>
                  <a:lnTo>
                    <a:pt x="8" y="3595"/>
                  </a:lnTo>
                  <a:lnTo>
                    <a:pt x="4" y="3605"/>
                  </a:lnTo>
                  <a:lnTo>
                    <a:pt x="2" y="3614"/>
                  </a:lnTo>
                  <a:lnTo>
                    <a:pt x="1" y="3624"/>
                  </a:lnTo>
                  <a:lnTo>
                    <a:pt x="0" y="3634"/>
                  </a:lnTo>
                  <a:lnTo>
                    <a:pt x="0" y="3899"/>
                  </a:lnTo>
                  <a:close/>
                  <a:moveTo>
                    <a:pt x="0" y="361"/>
                  </a:moveTo>
                  <a:lnTo>
                    <a:pt x="1" y="371"/>
                  </a:lnTo>
                  <a:lnTo>
                    <a:pt x="2" y="381"/>
                  </a:lnTo>
                  <a:lnTo>
                    <a:pt x="4" y="391"/>
                  </a:lnTo>
                  <a:lnTo>
                    <a:pt x="8" y="400"/>
                  </a:lnTo>
                  <a:lnTo>
                    <a:pt x="11" y="409"/>
                  </a:lnTo>
                  <a:lnTo>
                    <a:pt x="16" y="416"/>
                  </a:lnTo>
                  <a:lnTo>
                    <a:pt x="21" y="423"/>
                  </a:lnTo>
                  <a:lnTo>
                    <a:pt x="27" y="430"/>
                  </a:lnTo>
                  <a:lnTo>
                    <a:pt x="33" y="436"/>
                  </a:lnTo>
                  <a:lnTo>
                    <a:pt x="41" y="441"/>
                  </a:lnTo>
                  <a:lnTo>
                    <a:pt x="49" y="446"/>
                  </a:lnTo>
                  <a:lnTo>
                    <a:pt x="58" y="450"/>
                  </a:lnTo>
                  <a:lnTo>
                    <a:pt x="66" y="453"/>
                  </a:lnTo>
                  <a:lnTo>
                    <a:pt x="75" y="455"/>
                  </a:lnTo>
                  <a:lnTo>
                    <a:pt x="85" y="456"/>
                  </a:lnTo>
                  <a:lnTo>
                    <a:pt x="96" y="456"/>
                  </a:lnTo>
                  <a:lnTo>
                    <a:pt x="942" y="456"/>
                  </a:lnTo>
                  <a:lnTo>
                    <a:pt x="1789" y="456"/>
                  </a:lnTo>
                  <a:lnTo>
                    <a:pt x="2635" y="456"/>
                  </a:lnTo>
                  <a:lnTo>
                    <a:pt x="3482" y="456"/>
                  </a:lnTo>
                  <a:lnTo>
                    <a:pt x="3493" y="456"/>
                  </a:lnTo>
                  <a:lnTo>
                    <a:pt x="3503" y="455"/>
                  </a:lnTo>
                  <a:lnTo>
                    <a:pt x="3512" y="453"/>
                  </a:lnTo>
                  <a:lnTo>
                    <a:pt x="3521" y="450"/>
                  </a:lnTo>
                  <a:lnTo>
                    <a:pt x="3529" y="446"/>
                  </a:lnTo>
                  <a:lnTo>
                    <a:pt x="3537" y="441"/>
                  </a:lnTo>
                  <a:lnTo>
                    <a:pt x="3545" y="436"/>
                  </a:lnTo>
                  <a:lnTo>
                    <a:pt x="3552" y="430"/>
                  </a:lnTo>
                  <a:lnTo>
                    <a:pt x="3557" y="423"/>
                  </a:lnTo>
                  <a:lnTo>
                    <a:pt x="3563" y="416"/>
                  </a:lnTo>
                  <a:lnTo>
                    <a:pt x="3567" y="409"/>
                  </a:lnTo>
                  <a:lnTo>
                    <a:pt x="3572" y="400"/>
                  </a:lnTo>
                  <a:lnTo>
                    <a:pt x="3574" y="391"/>
                  </a:lnTo>
                  <a:lnTo>
                    <a:pt x="3576" y="381"/>
                  </a:lnTo>
                  <a:lnTo>
                    <a:pt x="3577" y="371"/>
                  </a:lnTo>
                  <a:lnTo>
                    <a:pt x="3578" y="361"/>
                  </a:lnTo>
                  <a:lnTo>
                    <a:pt x="3578" y="95"/>
                  </a:lnTo>
                  <a:lnTo>
                    <a:pt x="3577" y="85"/>
                  </a:lnTo>
                  <a:lnTo>
                    <a:pt x="3576" y="75"/>
                  </a:lnTo>
                  <a:lnTo>
                    <a:pt x="3574" y="65"/>
                  </a:lnTo>
                  <a:lnTo>
                    <a:pt x="3572" y="57"/>
                  </a:lnTo>
                  <a:lnTo>
                    <a:pt x="3567" y="49"/>
                  </a:lnTo>
                  <a:lnTo>
                    <a:pt x="3563" y="41"/>
                  </a:lnTo>
                  <a:lnTo>
                    <a:pt x="3557" y="33"/>
                  </a:lnTo>
                  <a:lnTo>
                    <a:pt x="3552" y="27"/>
                  </a:lnTo>
                  <a:lnTo>
                    <a:pt x="3545" y="20"/>
                  </a:lnTo>
                  <a:lnTo>
                    <a:pt x="3537" y="16"/>
                  </a:lnTo>
                  <a:lnTo>
                    <a:pt x="3529" y="11"/>
                  </a:lnTo>
                  <a:lnTo>
                    <a:pt x="3521" y="7"/>
                  </a:lnTo>
                  <a:lnTo>
                    <a:pt x="3512" y="3"/>
                  </a:lnTo>
                  <a:lnTo>
                    <a:pt x="3503" y="1"/>
                  </a:lnTo>
                  <a:lnTo>
                    <a:pt x="3493" y="0"/>
                  </a:lnTo>
                  <a:lnTo>
                    <a:pt x="3482" y="0"/>
                  </a:lnTo>
                  <a:lnTo>
                    <a:pt x="2635" y="0"/>
                  </a:lnTo>
                  <a:lnTo>
                    <a:pt x="1789" y="0"/>
                  </a:lnTo>
                  <a:lnTo>
                    <a:pt x="942" y="0"/>
                  </a:lnTo>
                  <a:lnTo>
                    <a:pt x="96" y="0"/>
                  </a:lnTo>
                  <a:lnTo>
                    <a:pt x="85" y="0"/>
                  </a:lnTo>
                  <a:lnTo>
                    <a:pt x="75" y="1"/>
                  </a:lnTo>
                  <a:lnTo>
                    <a:pt x="66" y="3"/>
                  </a:lnTo>
                  <a:lnTo>
                    <a:pt x="58" y="7"/>
                  </a:lnTo>
                  <a:lnTo>
                    <a:pt x="49" y="11"/>
                  </a:lnTo>
                  <a:lnTo>
                    <a:pt x="41" y="16"/>
                  </a:lnTo>
                  <a:lnTo>
                    <a:pt x="33" y="20"/>
                  </a:lnTo>
                  <a:lnTo>
                    <a:pt x="27" y="27"/>
                  </a:lnTo>
                  <a:lnTo>
                    <a:pt x="21" y="33"/>
                  </a:lnTo>
                  <a:lnTo>
                    <a:pt x="16" y="41"/>
                  </a:lnTo>
                  <a:lnTo>
                    <a:pt x="11" y="49"/>
                  </a:lnTo>
                  <a:lnTo>
                    <a:pt x="8" y="57"/>
                  </a:lnTo>
                  <a:lnTo>
                    <a:pt x="4" y="65"/>
                  </a:lnTo>
                  <a:lnTo>
                    <a:pt x="2" y="75"/>
                  </a:lnTo>
                  <a:lnTo>
                    <a:pt x="1" y="85"/>
                  </a:lnTo>
                  <a:lnTo>
                    <a:pt x="0" y="95"/>
                  </a:lnTo>
                  <a:lnTo>
                    <a:pt x="0" y="36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Skatta Sans Regular" pitchFamily="50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11E5E5B-44AF-48A5-90BB-96E697682218}"/>
              </a:ext>
            </a:extLst>
          </p:cNvPr>
          <p:cNvGrpSpPr/>
          <p:nvPr userDrawn="1"/>
        </p:nvGrpSpPr>
        <p:grpSpPr>
          <a:xfrm>
            <a:off x="10344472" y="692696"/>
            <a:ext cx="1260000" cy="2520280"/>
            <a:chOff x="10579338" y="620688"/>
            <a:chExt cx="1260000" cy="2520280"/>
          </a:xfrm>
          <a:solidFill>
            <a:schemeClr val="accent2"/>
          </a:solidFill>
        </p:grpSpPr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46901497-766E-4E9B-AE1C-F6CD68BD76AA}"/>
                </a:ext>
              </a:extLst>
            </p:cNvPr>
            <p:cNvSpPr>
              <a:spLocks noChangeAspect="1" noEditPoints="1"/>
            </p:cNvSpPr>
            <p:nvPr/>
          </p:nvSpPr>
          <p:spPr bwMode="black">
            <a:xfrm>
              <a:off x="10705591" y="620688"/>
              <a:ext cx="1007493" cy="1124563"/>
            </a:xfrm>
            <a:custGeom>
              <a:avLst/>
              <a:gdLst>
                <a:gd name="T0" fmla="*/ 2964 w 3578"/>
                <a:gd name="T1" fmla="*/ 3151 h 3996"/>
                <a:gd name="T2" fmla="*/ 2988 w 3578"/>
                <a:gd name="T3" fmla="*/ 3131 h 3996"/>
                <a:gd name="T4" fmla="*/ 3002 w 3578"/>
                <a:gd name="T5" fmla="*/ 3095 h 3996"/>
                <a:gd name="T6" fmla="*/ 2998 w 3578"/>
                <a:gd name="T7" fmla="*/ 3052 h 3996"/>
                <a:gd name="T8" fmla="*/ 2570 w 3578"/>
                <a:gd name="T9" fmla="*/ 2480 h 3996"/>
                <a:gd name="T10" fmla="*/ 2976 w 3578"/>
                <a:gd name="T11" fmla="*/ 956 h 3996"/>
                <a:gd name="T12" fmla="*/ 2988 w 3578"/>
                <a:gd name="T13" fmla="*/ 917 h 3996"/>
                <a:gd name="T14" fmla="*/ 2981 w 3578"/>
                <a:gd name="T15" fmla="*/ 878 h 3996"/>
                <a:gd name="T16" fmla="*/ 2961 w 3578"/>
                <a:gd name="T17" fmla="*/ 853 h 3996"/>
                <a:gd name="T18" fmla="*/ 2936 w 3578"/>
                <a:gd name="T19" fmla="*/ 840 h 3996"/>
                <a:gd name="T20" fmla="*/ 2275 w 3578"/>
                <a:gd name="T21" fmla="*/ 835 h 3996"/>
                <a:gd name="T22" fmla="*/ 2209 w 3578"/>
                <a:gd name="T23" fmla="*/ 845 h 3996"/>
                <a:gd name="T24" fmla="*/ 2160 w 3578"/>
                <a:gd name="T25" fmla="*/ 872 h 3996"/>
                <a:gd name="T26" fmla="*/ 2119 w 3578"/>
                <a:gd name="T27" fmla="*/ 915 h 3996"/>
                <a:gd name="T28" fmla="*/ 1365 w 3578"/>
                <a:gd name="T29" fmla="*/ 931 h 3996"/>
                <a:gd name="T30" fmla="*/ 1356 w 3578"/>
                <a:gd name="T31" fmla="*/ 884 h 3996"/>
                <a:gd name="T32" fmla="*/ 1325 w 3578"/>
                <a:gd name="T33" fmla="*/ 851 h 3996"/>
                <a:gd name="T34" fmla="*/ 1280 w 3578"/>
                <a:gd name="T35" fmla="*/ 835 h 3996"/>
                <a:gd name="T36" fmla="*/ 664 w 3578"/>
                <a:gd name="T37" fmla="*/ 840 h 3996"/>
                <a:gd name="T38" fmla="*/ 625 w 3578"/>
                <a:gd name="T39" fmla="*/ 862 h 3996"/>
                <a:gd name="T40" fmla="*/ 602 w 3578"/>
                <a:gd name="T41" fmla="*/ 902 h 3996"/>
                <a:gd name="T42" fmla="*/ 598 w 3578"/>
                <a:gd name="T43" fmla="*/ 1998 h 3996"/>
                <a:gd name="T44" fmla="*/ 602 w 3578"/>
                <a:gd name="T45" fmla="*/ 3094 h 3996"/>
                <a:gd name="T46" fmla="*/ 625 w 3578"/>
                <a:gd name="T47" fmla="*/ 3133 h 3996"/>
                <a:gd name="T48" fmla="*/ 664 w 3578"/>
                <a:gd name="T49" fmla="*/ 3156 h 3996"/>
                <a:gd name="T50" fmla="*/ 1280 w 3578"/>
                <a:gd name="T51" fmla="*/ 3160 h 3996"/>
                <a:gd name="T52" fmla="*/ 1325 w 3578"/>
                <a:gd name="T53" fmla="*/ 3144 h 3996"/>
                <a:gd name="T54" fmla="*/ 1356 w 3578"/>
                <a:gd name="T55" fmla="*/ 3111 h 3996"/>
                <a:gd name="T56" fmla="*/ 1365 w 3578"/>
                <a:gd name="T57" fmla="*/ 3064 h 3996"/>
                <a:gd name="T58" fmla="*/ 2119 w 3578"/>
                <a:gd name="T59" fmla="*/ 3080 h 3996"/>
                <a:gd name="T60" fmla="*/ 2160 w 3578"/>
                <a:gd name="T61" fmla="*/ 3123 h 3996"/>
                <a:gd name="T62" fmla="*/ 2209 w 3578"/>
                <a:gd name="T63" fmla="*/ 3151 h 3996"/>
                <a:gd name="T64" fmla="*/ 2275 w 3578"/>
                <a:gd name="T65" fmla="*/ 3160 h 3996"/>
                <a:gd name="T66" fmla="*/ 4 w 3578"/>
                <a:gd name="T67" fmla="*/ 3929 h 3996"/>
                <a:gd name="T68" fmla="*/ 27 w 3578"/>
                <a:gd name="T69" fmla="*/ 3968 h 3996"/>
                <a:gd name="T70" fmla="*/ 66 w 3578"/>
                <a:gd name="T71" fmla="*/ 3991 h 3996"/>
                <a:gd name="T72" fmla="*/ 1789 w 3578"/>
                <a:gd name="T73" fmla="*/ 3996 h 3996"/>
                <a:gd name="T74" fmla="*/ 3512 w 3578"/>
                <a:gd name="T75" fmla="*/ 3991 h 3996"/>
                <a:gd name="T76" fmla="*/ 3552 w 3578"/>
                <a:gd name="T77" fmla="*/ 3968 h 3996"/>
                <a:gd name="T78" fmla="*/ 3574 w 3578"/>
                <a:gd name="T79" fmla="*/ 3929 h 3996"/>
                <a:gd name="T80" fmla="*/ 3577 w 3578"/>
                <a:gd name="T81" fmla="*/ 3624 h 3996"/>
                <a:gd name="T82" fmla="*/ 3563 w 3578"/>
                <a:gd name="T83" fmla="*/ 3579 h 3996"/>
                <a:gd name="T84" fmla="*/ 3529 w 3578"/>
                <a:gd name="T85" fmla="*/ 3549 h 3996"/>
                <a:gd name="T86" fmla="*/ 3482 w 3578"/>
                <a:gd name="T87" fmla="*/ 3538 h 3996"/>
                <a:gd name="T88" fmla="*/ 85 w 3578"/>
                <a:gd name="T89" fmla="*/ 3538 h 3996"/>
                <a:gd name="T90" fmla="*/ 41 w 3578"/>
                <a:gd name="T91" fmla="*/ 3554 h 3996"/>
                <a:gd name="T92" fmla="*/ 11 w 3578"/>
                <a:gd name="T93" fmla="*/ 3587 h 3996"/>
                <a:gd name="T94" fmla="*/ 0 w 3578"/>
                <a:gd name="T95" fmla="*/ 3634 h 3996"/>
                <a:gd name="T96" fmla="*/ 4 w 3578"/>
                <a:gd name="T97" fmla="*/ 391 h 3996"/>
                <a:gd name="T98" fmla="*/ 27 w 3578"/>
                <a:gd name="T99" fmla="*/ 430 h 3996"/>
                <a:gd name="T100" fmla="*/ 66 w 3578"/>
                <a:gd name="T101" fmla="*/ 453 h 3996"/>
                <a:gd name="T102" fmla="*/ 1789 w 3578"/>
                <a:gd name="T103" fmla="*/ 456 h 3996"/>
                <a:gd name="T104" fmla="*/ 3512 w 3578"/>
                <a:gd name="T105" fmla="*/ 453 h 3996"/>
                <a:gd name="T106" fmla="*/ 3552 w 3578"/>
                <a:gd name="T107" fmla="*/ 430 h 3996"/>
                <a:gd name="T108" fmla="*/ 3574 w 3578"/>
                <a:gd name="T109" fmla="*/ 391 h 3996"/>
                <a:gd name="T110" fmla="*/ 3577 w 3578"/>
                <a:gd name="T111" fmla="*/ 85 h 3996"/>
                <a:gd name="T112" fmla="*/ 3563 w 3578"/>
                <a:gd name="T113" fmla="*/ 41 h 3996"/>
                <a:gd name="T114" fmla="*/ 3529 w 3578"/>
                <a:gd name="T115" fmla="*/ 11 h 3996"/>
                <a:gd name="T116" fmla="*/ 3482 w 3578"/>
                <a:gd name="T117" fmla="*/ 0 h 3996"/>
                <a:gd name="T118" fmla="*/ 85 w 3578"/>
                <a:gd name="T119" fmla="*/ 0 h 3996"/>
                <a:gd name="T120" fmla="*/ 41 w 3578"/>
                <a:gd name="T121" fmla="*/ 16 h 3996"/>
                <a:gd name="T122" fmla="*/ 11 w 3578"/>
                <a:gd name="T123" fmla="*/ 49 h 3996"/>
                <a:gd name="T124" fmla="*/ 0 w 3578"/>
                <a:gd name="T125" fmla="*/ 95 h 3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78" h="3996">
                  <a:moveTo>
                    <a:pt x="2924" y="3160"/>
                  </a:moveTo>
                  <a:lnTo>
                    <a:pt x="2936" y="3160"/>
                  </a:lnTo>
                  <a:lnTo>
                    <a:pt x="2947" y="3157"/>
                  </a:lnTo>
                  <a:lnTo>
                    <a:pt x="2958" y="3153"/>
                  </a:lnTo>
                  <a:lnTo>
                    <a:pt x="2964" y="3151"/>
                  </a:lnTo>
                  <a:lnTo>
                    <a:pt x="2968" y="3148"/>
                  </a:lnTo>
                  <a:lnTo>
                    <a:pt x="2977" y="3142"/>
                  </a:lnTo>
                  <a:lnTo>
                    <a:pt x="2981" y="3139"/>
                  </a:lnTo>
                  <a:lnTo>
                    <a:pt x="2985" y="3135"/>
                  </a:lnTo>
                  <a:lnTo>
                    <a:pt x="2988" y="3131"/>
                  </a:lnTo>
                  <a:lnTo>
                    <a:pt x="2991" y="3126"/>
                  </a:lnTo>
                  <a:lnTo>
                    <a:pt x="2996" y="3117"/>
                  </a:lnTo>
                  <a:lnTo>
                    <a:pt x="3000" y="3106"/>
                  </a:lnTo>
                  <a:lnTo>
                    <a:pt x="3001" y="3101"/>
                  </a:lnTo>
                  <a:lnTo>
                    <a:pt x="3002" y="3095"/>
                  </a:lnTo>
                  <a:lnTo>
                    <a:pt x="3003" y="3084"/>
                  </a:lnTo>
                  <a:lnTo>
                    <a:pt x="3002" y="3072"/>
                  </a:lnTo>
                  <a:lnTo>
                    <a:pt x="3001" y="3065"/>
                  </a:lnTo>
                  <a:lnTo>
                    <a:pt x="2999" y="3059"/>
                  </a:lnTo>
                  <a:lnTo>
                    <a:pt x="2998" y="3052"/>
                  </a:lnTo>
                  <a:lnTo>
                    <a:pt x="2995" y="3045"/>
                  </a:lnTo>
                  <a:lnTo>
                    <a:pt x="2988" y="3032"/>
                  </a:lnTo>
                  <a:lnTo>
                    <a:pt x="2985" y="3026"/>
                  </a:lnTo>
                  <a:lnTo>
                    <a:pt x="2980" y="3019"/>
                  </a:lnTo>
                  <a:lnTo>
                    <a:pt x="2570" y="2480"/>
                  </a:lnTo>
                  <a:lnTo>
                    <a:pt x="2162" y="1941"/>
                  </a:lnTo>
                  <a:lnTo>
                    <a:pt x="2562" y="1459"/>
                  </a:lnTo>
                  <a:lnTo>
                    <a:pt x="2962" y="976"/>
                  </a:lnTo>
                  <a:lnTo>
                    <a:pt x="2972" y="962"/>
                  </a:lnTo>
                  <a:lnTo>
                    <a:pt x="2976" y="956"/>
                  </a:lnTo>
                  <a:lnTo>
                    <a:pt x="2979" y="949"/>
                  </a:lnTo>
                  <a:lnTo>
                    <a:pt x="2985" y="936"/>
                  </a:lnTo>
                  <a:lnTo>
                    <a:pt x="2986" y="929"/>
                  </a:lnTo>
                  <a:lnTo>
                    <a:pt x="2988" y="923"/>
                  </a:lnTo>
                  <a:lnTo>
                    <a:pt x="2988" y="917"/>
                  </a:lnTo>
                  <a:lnTo>
                    <a:pt x="2989" y="910"/>
                  </a:lnTo>
                  <a:lnTo>
                    <a:pt x="2988" y="899"/>
                  </a:lnTo>
                  <a:lnTo>
                    <a:pt x="2987" y="894"/>
                  </a:lnTo>
                  <a:lnTo>
                    <a:pt x="2986" y="888"/>
                  </a:lnTo>
                  <a:lnTo>
                    <a:pt x="2981" y="878"/>
                  </a:lnTo>
                  <a:lnTo>
                    <a:pt x="2979" y="873"/>
                  </a:lnTo>
                  <a:lnTo>
                    <a:pt x="2976" y="868"/>
                  </a:lnTo>
                  <a:lnTo>
                    <a:pt x="2972" y="864"/>
                  </a:lnTo>
                  <a:lnTo>
                    <a:pt x="2969" y="861"/>
                  </a:lnTo>
                  <a:lnTo>
                    <a:pt x="2961" y="853"/>
                  </a:lnTo>
                  <a:lnTo>
                    <a:pt x="2957" y="849"/>
                  </a:lnTo>
                  <a:lnTo>
                    <a:pt x="2951" y="846"/>
                  </a:lnTo>
                  <a:lnTo>
                    <a:pt x="2947" y="844"/>
                  </a:lnTo>
                  <a:lnTo>
                    <a:pt x="2941" y="842"/>
                  </a:lnTo>
                  <a:lnTo>
                    <a:pt x="2936" y="840"/>
                  </a:lnTo>
                  <a:lnTo>
                    <a:pt x="2930" y="838"/>
                  </a:lnTo>
                  <a:lnTo>
                    <a:pt x="2925" y="836"/>
                  </a:lnTo>
                  <a:lnTo>
                    <a:pt x="2919" y="836"/>
                  </a:lnTo>
                  <a:lnTo>
                    <a:pt x="2907" y="835"/>
                  </a:lnTo>
                  <a:lnTo>
                    <a:pt x="2275" y="835"/>
                  </a:lnTo>
                  <a:lnTo>
                    <a:pt x="2260" y="835"/>
                  </a:lnTo>
                  <a:lnTo>
                    <a:pt x="2246" y="836"/>
                  </a:lnTo>
                  <a:lnTo>
                    <a:pt x="2234" y="838"/>
                  </a:lnTo>
                  <a:lnTo>
                    <a:pt x="2222" y="841"/>
                  </a:lnTo>
                  <a:lnTo>
                    <a:pt x="2209" y="845"/>
                  </a:lnTo>
                  <a:lnTo>
                    <a:pt x="2198" y="848"/>
                  </a:lnTo>
                  <a:lnTo>
                    <a:pt x="2188" y="854"/>
                  </a:lnTo>
                  <a:lnTo>
                    <a:pt x="2178" y="859"/>
                  </a:lnTo>
                  <a:lnTo>
                    <a:pt x="2168" y="865"/>
                  </a:lnTo>
                  <a:lnTo>
                    <a:pt x="2160" y="872"/>
                  </a:lnTo>
                  <a:lnTo>
                    <a:pt x="2151" y="879"/>
                  </a:lnTo>
                  <a:lnTo>
                    <a:pt x="2142" y="887"/>
                  </a:lnTo>
                  <a:lnTo>
                    <a:pt x="2134" y="896"/>
                  </a:lnTo>
                  <a:lnTo>
                    <a:pt x="2126" y="905"/>
                  </a:lnTo>
                  <a:lnTo>
                    <a:pt x="2119" y="915"/>
                  </a:lnTo>
                  <a:lnTo>
                    <a:pt x="2111" y="925"/>
                  </a:lnTo>
                  <a:lnTo>
                    <a:pt x="1738" y="1404"/>
                  </a:lnTo>
                  <a:lnTo>
                    <a:pt x="1365" y="1885"/>
                  </a:lnTo>
                  <a:lnTo>
                    <a:pt x="1365" y="1408"/>
                  </a:lnTo>
                  <a:lnTo>
                    <a:pt x="1365" y="931"/>
                  </a:lnTo>
                  <a:lnTo>
                    <a:pt x="1365" y="920"/>
                  </a:lnTo>
                  <a:lnTo>
                    <a:pt x="1364" y="910"/>
                  </a:lnTo>
                  <a:lnTo>
                    <a:pt x="1362" y="902"/>
                  </a:lnTo>
                  <a:lnTo>
                    <a:pt x="1359" y="892"/>
                  </a:lnTo>
                  <a:lnTo>
                    <a:pt x="1356" y="884"/>
                  </a:lnTo>
                  <a:lnTo>
                    <a:pt x="1350" y="876"/>
                  </a:lnTo>
                  <a:lnTo>
                    <a:pt x="1346" y="868"/>
                  </a:lnTo>
                  <a:lnTo>
                    <a:pt x="1339" y="862"/>
                  </a:lnTo>
                  <a:lnTo>
                    <a:pt x="1332" y="856"/>
                  </a:lnTo>
                  <a:lnTo>
                    <a:pt x="1325" y="851"/>
                  </a:lnTo>
                  <a:lnTo>
                    <a:pt x="1317" y="846"/>
                  </a:lnTo>
                  <a:lnTo>
                    <a:pt x="1309" y="842"/>
                  </a:lnTo>
                  <a:lnTo>
                    <a:pt x="1300" y="840"/>
                  </a:lnTo>
                  <a:lnTo>
                    <a:pt x="1290" y="837"/>
                  </a:lnTo>
                  <a:lnTo>
                    <a:pt x="1280" y="835"/>
                  </a:lnTo>
                  <a:lnTo>
                    <a:pt x="1270" y="835"/>
                  </a:lnTo>
                  <a:lnTo>
                    <a:pt x="694" y="835"/>
                  </a:lnTo>
                  <a:lnTo>
                    <a:pt x="684" y="835"/>
                  </a:lnTo>
                  <a:lnTo>
                    <a:pt x="674" y="837"/>
                  </a:lnTo>
                  <a:lnTo>
                    <a:pt x="664" y="840"/>
                  </a:lnTo>
                  <a:lnTo>
                    <a:pt x="656" y="842"/>
                  </a:lnTo>
                  <a:lnTo>
                    <a:pt x="647" y="846"/>
                  </a:lnTo>
                  <a:lnTo>
                    <a:pt x="639" y="851"/>
                  </a:lnTo>
                  <a:lnTo>
                    <a:pt x="632" y="856"/>
                  </a:lnTo>
                  <a:lnTo>
                    <a:pt x="625" y="862"/>
                  </a:lnTo>
                  <a:lnTo>
                    <a:pt x="619" y="868"/>
                  </a:lnTo>
                  <a:lnTo>
                    <a:pt x="614" y="876"/>
                  </a:lnTo>
                  <a:lnTo>
                    <a:pt x="609" y="884"/>
                  </a:lnTo>
                  <a:lnTo>
                    <a:pt x="606" y="892"/>
                  </a:lnTo>
                  <a:lnTo>
                    <a:pt x="602" y="902"/>
                  </a:lnTo>
                  <a:lnTo>
                    <a:pt x="600" y="910"/>
                  </a:lnTo>
                  <a:lnTo>
                    <a:pt x="599" y="920"/>
                  </a:lnTo>
                  <a:lnTo>
                    <a:pt x="598" y="931"/>
                  </a:lnTo>
                  <a:lnTo>
                    <a:pt x="598" y="1464"/>
                  </a:lnTo>
                  <a:lnTo>
                    <a:pt x="598" y="1998"/>
                  </a:lnTo>
                  <a:lnTo>
                    <a:pt x="598" y="2531"/>
                  </a:lnTo>
                  <a:lnTo>
                    <a:pt x="598" y="3064"/>
                  </a:lnTo>
                  <a:lnTo>
                    <a:pt x="599" y="3074"/>
                  </a:lnTo>
                  <a:lnTo>
                    <a:pt x="600" y="3084"/>
                  </a:lnTo>
                  <a:lnTo>
                    <a:pt x="602" y="3094"/>
                  </a:lnTo>
                  <a:lnTo>
                    <a:pt x="606" y="3103"/>
                  </a:lnTo>
                  <a:lnTo>
                    <a:pt x="609" y="3111"/>
                  </a:lnTo>
                  <a:lnTo>
                    <a:pt x="614" y="3120"/>
                  </a:lnTo>
                  <a:lnTo>
                    <a:pt x="619" y="3126"/>
                  </a:lnTo>
                  <a:lnTo>
                    <a:pt x="625" y="3133"/>
                  </a:lnTo>
                  <a:lnTo>
                    <a:pt x="632" y="3140"/>
                  </a:lnTo>
                  <a:lnTo>
                    <a:pt x="639" y="3144"/>
                  </a:lnTo>
                  <a:lnTo>
                    <a:pt x="647" y="3150"/>
                  </a:lnTo>
                  <a:lnTo>
                    <a:pt x="656" y="3153"/>
                  </a:lnTo>
                  <a:lnTo>
                    <a:pt x="664" y="3156"/>
                  </a:lnTo>
                  <a:lnTo>
                    <a:pt x="674" y="3158"/>
                  </a:lnTo>
                  <a:lnTo>
                    <a:pt x="684" y="3160"/>
                  </a:lnTo>
                  <a:lnTo>
                    <a:pt x="694" y="3160"/>
                  </a:lnTo>
                  <a:lnTo>
                    <a:pt x="1270" y="3160"/>
                  </a:lnTo>
                  <a:lnTo>
                    <a:pt x="1280" y="3160"/>
                  </a:lnTo>
                  <a:lnTo>
                    <a:pt x="1290" y="3158"/>
                  </a:lnTo>
                  <a:lnTo>
                    <a:pt x="1300" y="3156"/>
                  </a:lnTo>
                  <a:lnTo>
                    <a:pt x="1309" y="3153"/>
                  </a:lnTo>
                  <a:lnTo>
                    <a:pt x="1317" y="3150"/>
                  </a:lnTo>
                  <a:lnTo>
                    <a:pt x="1325" y="3144"/>
                  </a:lnTo>
                  <a:lnTo>
                    <a:pt x="1332" y="3140"/>
                  </a:lnTo>
                  <a:lnTo>
                    <a:pt x="1339" y="3133"/>
                  </a:lnTo>
                  <a:lnTo>
                    <a:pt x="1346" y="3126"/>
                  </a:lnTo>
                  <a:lnTo>
                    <a:pt x="1350" y="3120"/>
                  </a:lnTo>
                  <a:lnTo>
                    <a:pt x="1356" y="3111"/>
                  </a:lnTo>
                  <a:lnTo>
                    <a:pt x="1359" y="3103"/>
                  </a:lnTo>
                  <a:lnTo>
                    <a:pt x="1362" y="3094"/>
                  </a:lnTo>
                  <a:lnTo>
                    <a:pt x="1364" y="3084"/>
                  </a:lnTo>
                  <a:lnTo>
                    <a:pt x="1365" y="3074"/>
                  </a:lnTo>
                  <a:lnTo>
                    <a:pt x="1365" y="3064"/>
                  </a:lnTo>
                  <a:lnTo>
                    <a:pt x="1365" y="2539"/>
                  </a:lnTo>
                  <a:lnTo>
                    <a:pt x="1365" y="2014"/>
                  </a:lnTo>
                  <a:lnTo>
                    <a:pt x="1738" y="2542"/>
                  </a:lnTo>
                  <a:lnTo>
                    <a:pt x="2111" y="3070"/>
                  </a:lnTo>
                  <a:lnTo>
                    <a:pt x="2119" y="3080"/>
                  </a:lnTo>
                  <a:lnTo>
                    <a:pt x="2126" y="3090"/>
                  </a:lnTo>
                  <a:lnTo>
                    <a:pt x="2134" y="3099"/>
                  </a:lnTo>
                  <a:lnTo>
                    <a:pt x="2142" y="3108"/>
                  </a:lnTo>
                  <a:lnTo>
                    <a:pt x="2151" y="3115"/>
                  </a:lnTo>
                  <a:lnTo>
                    <a:pt x="2160" y="3123"/>
                  </a:lnTo>
                  <a:lnTo>
                    <a:pt x="2168" y="3130"/>
                  </a:lnTo>
                  <a:lnTo>
                    <a:pt x="2178" y="3136"/>
                  </a:lnTo>
                  <a:lnTo>
                    <a:pt x="2188" y="3142"/>
                  </a:lnTo>
                  <a:lnTo>
                    <a:pt x="2198" y="3146"/>
                  </a:lnTo>
                  <a:lnTo>
                    <a:pt x="2209" y="3151"/>
                  </a:lnTo>
                  <a:lnTo>
                    <a:pt x="2222" y="3154"/>
                  </a:lnTo>
                  <a:lnTo>
                    <a:pt x="2234" y="3156"/>
                  </a:lnTo>
                  <a:lnTo>
                    <a:pt x="2246" y="3158"/>
                  </a:lnTo>
                  <a:lnTo>
                    <a:pt x="2260" y="3160"/>
                  </a:lnTo>
                  <a:lnTo>
                    <a:pt x="2275" y="3160"/>
                  </a:lnTo>
                  <a:lnTo>
                    <a:pt x="2924" y="3160"/>
                  </a:lnTo>
                  <a:close/>
                  <a:moveTo>
                    <a:pt x="0" y="3899"/>
                  </a:moveTo>
                  <a:lnTo>
                    <a:pt x="1" y="3909"/>
                  </a:lnTo>
                  <a:lnTo>
                    <a:pt x="2" y="3919"/>
                  </a:lnTo>
                  <a:lnTo>
                    <a:pt x="4" y="3929"/>
                  </a:lnTo>
                  <a:lnTo>
                    <a:pt x="8" y="3938"/>
                  </a:lnTo>
                  <a:lnTo>
                    <a:pt x="11" y="3947"/>
                  </a:lnTo>
                  <a:lnTo>
                    <a:pt x="16" y="3955"/>
                  </a:lnTo>
                  <a:lnTo>
                    <a:pt x="21" y="3961"/>
                  </a:lnTo>
                  <a:lnTo>
                    <a:pt x="27" y="3968"/>
                  </a:lnTo>
                  <a:lnTo>
                    <a:pt x="33" y="3975"/>
                  </a:lnTo>
                  <a:lnTo>
                    <a:pt x="41" y="3980"/>
                  </a:lnTo>
                  <a:lnTo>
                    <a:pt x="49" y="3985"/>
                  </a:lnTo>
                  <a:lnTo>
                    <a:pt x="58" y="3988"/>
                  </a:lnTo>
                  <a:lnTo>
                    <a:pt x="66" y="3991"/>
                  </a:lnTo>
                  <a:lnTo>
                    <a:pt x="75" y="3993"/>
                  </a:lnTo>
                  <a:lnTo>
                    <a:pt x="85" y="3995"/>
                  </a:lnTo>
                  <a:lnTo>
                    <a:pt x="96" y="3996"/>
                  </a:lnTo>
                  <a:lnTo>
                    <a:pt x="942" y="3996"/>
                  </a:lnTo>
                  <a:lnTo>
                    <a:pt x="1789" y="3996"/>
                  </a:lnTo>
                  <a:lnTo>
                    <a:pt x="2635" y="3996"/>
                  </a:lnTo>
                  <a:lnTo>
                    <a:pt x="3482" y="3996"/>
                  </a:lnTo>
                  <a:lnTo>
                    <a:pt x="3493" y="3995"/>
                  </a:lnTo>
                  <a:lnTo>
                    <a:pt x="3503" y="3993"/>
                  </a:lnTo>
                  <a:lnTo>
                    <a:pt x="3512" y="3991"/>
                  </a:lnTo>
                  <a:lnTo>
                    <a:pt x="3521" y="3988"/>
                  </a:lnTo>
                  <a:lnTo>
                    <a:pt x="3529" y="3985"/>
                  </a:lnTo>
                  <a:lnTo>
                    <a:pt x="3537" y="3980"/>
                  </a:lnTo>
                  <a:lnTo>
                    <a:pt x="3545" y="3975"/>
                  </a:lnTo>
                  <a:lnTo>
                    <a:pt x="3552" y="3968"/>
                  </a:lnTo>
                  <a:lnTo>
                    <a:pt x="3557" y="3961"/>
                  </a:lnTo>
                  <a:lnTo>
                    <a:pt x="3563" y="3955"/>
                  </a:lnTo>
                  <a:lnTo>
                    <a:pt x="3567" y="3947"/>
                  </a:lnTo>
                  <a:lnTo>
                    <a:pt x="3572" y="3938"/>
                  </a:lnTo>
                  <a:lnTo>
                    <a:pt x="3574" y="3929"/>
                  </a:lnTo>
                  <a:lnTo>
                    <a:pt x="3576" y="3919"/>
                  </a:lnTo>
                  <a:lnTo>
                    <a:pt x="3577" y="3909"/>
                  </a:lnTo>
                  <a:lnTo>
                    <a:pt x="3578" y="3899"/>
                  </a:lnTo>
                  <a:lnTo>
                    <a:pt x="3578" y="3634"/>
                  </a:lnTo>
                  <a:lnTo>
                    <a:pt x="3577" y="3624"/>
                  </a:lnTo>
                  <a:lnTo>
                    <a:pt x="3576" y="3614"/>
                  </a:lnTo>
                  <a:lnTo>
                    <a:pt x="3574" y="3605"/>
                  </a:lnTo>
                  <a:lnTo>
                    <a:pt x="3572" y="3595"/>
                  </a:lnTo>
                  <a:lnTo>
                    <a:pt x="3567" y="3587"/>
                  </a:lnTo>
                  <a:lnTo>
                    <a:pt x="3563" y="3579"/>
                  </a:lnTo>
                  <a:lnTo>
                    <a:pt x="3557" y="3572"/>
                  </a:lnTo>
                  <a:lnTo>
                    <a:pt x="3552" y="3565"/>
                  </a:lnTo>
                  <a:lnTo>
                    <a:pt x="3545" y="3559"/>
                  </a:lnTo>
                  <a:lnTo>
                    <a:pt x="3537" y="3554"/>
                  </a:lnTo>
                  <a:lnTo>
                    <a:pt x="3529" y="3549"/>
                  </a:lnTo>
                  <a:lnTo>
                    <a:pt x="3521" y="3545"/>
                  </a:lnTo>
                  <a:lnTo>
                    <a:pt x="3512" y="3542"/>
                  </a:lnTo>
                  <a:lnTo>
                    <a:pt x="3503" y="3539"/>
                  </a:lnTo>
                  <a:lnTo>
                    <a:pt x="3493" y="3538"/>
                  </a:lnTo>
                  <a:lnTo>
                    <a:pt x="3482" y="3538"/>
                  </a:lnTo>
                  <a:lnTo>
                    <a:pt x="2635" y="3538"/>
                  </a:lnTo>
                  <a:lnTo>
                    <a:pt x="1789" y="3538"/>
                  </a:lnTo>
                  <a:lnTo>
                    <a:pt x="942" y="3538"/>
                  </a:lnTo>
                  <a:lnTo>
                    <a:pt x="96" y="3538"/>
                  </a:lnTo>
                  <a:lnTo>
                    <a:pt x="85" y="3538"/>
                  </a:lnTo>
                  <a:lnTo>
                    <a:pt x="75" y="3539"/>
                  </a:lnTo>
                  <a:lnTo>
                    <a:pt x="66" y="3542"/>
                  </a:lnTo>
                  <a:lnTo>
                    <a:pt x="58" y="3545"/>
                  </a:lnTo>
                  <a:lnTo>
                    <a:pt x="49" y="3549"/>
                  </a:lnTo>
                  <a:lnTo>
                    <a:pt x="41" y="3554"/>
                  </a:lnTo>
                  <a:lnTo>
                    <a:pt x="33" y="3559"/>
                  </a:lnTo>
                  <a:lnTo>
                    <a:pt x="27" y="3565"/>
                  </a:lnTo>
                  <a:lnTo>
                    <a:pt x="21" y="3572"/>
                  </a:lnTo>
                  <a:lnTo>
                    <a:pt x="16" y="3579"/>
                  </a:lnTo>
                  <a:lnTo>
                    <a:pt x="11" y="3587"/>
                  </a:lnTo>
                  <a:lnTo>
                    <a:pt x="8" y="3595"/>
                  </a:lnTo>
                  <a:lnTo>
                    <a:pt x="4" y="3605"/>
                  </a:lnTo>
                  <a:lnTo>
                    <a:pt x="2" y="3614"/>
                  </a:lnTo>
                  <a:lnTo>
                    <a:pt x="1" y="3624"/>
                  </a:lnTo>
                  <a:lnTo>
                    <a:pt x="0" y="3634"/>
                  </a:lnTo>
                  <a:lnTo>
                    <a:pt x="0" y="3899"/>
                  </a:lnTo>
                  <a:close/>
                  <a:moveTo>
                    <a:pt x="0" y="361"/>
                  </a:moveTo>
                  <a:lnTo>
                    <a:pt x="1" y="371"/>
                  </a:lnTo>
                  <a:lnTo>
                    <a:pt x="2" y="381"/>
                  </a:lnTo>
                  <a:lnTo>
                    <a:pt x="4" y="391"/>
                  </a:lnTo>
                  <a:lnTo>
                    <a:pt x="8" y="400"/>
                  </a:lnTo>
                  <a:lnTo>
                    <a:pt x="11" y="409"/>
                  </a:lnTo>
                  <a:lnTo>
                    <a:pt x="16" y="416"/>
                  </a:lnTo>
                  <a:lnTo>
                    <a:pt x="21" y="423"/>
                  </a:lnTo>
                  <a:lnTo>
                    <a:pt x="27" y="430"/>
                  </a:lnTo>
                  <a:lnTo>
                    <a:pt x="33" y="436"/>
                  </a:lnTo>
                  <a:lnTo>
                    <a:pt x="41" y="441"/>
                  </a:lnTo>
                  <a:lnTo>
                    <a:pt x="49" y="446"/>
                  </a:lnTo>
                  <a:lnTo>
                    <a:pt x="58" y="450"/>
                  </a:lnTo>
                  <a:lnTo>
                    <a:pt x="66" y="453"/>
                  </a:lnTo>
                  <a:lnTo>
                    <a:pt x="75" y="455"/>
                  </a:lnTo>
                  <a:lnTo>
                    <a:pt x="85" y="456"/>
                  </a:lnTo>
                  <a:lnTo>
                    <a:pt x="96" y="456"/>
                  </a:lnTo>
                  <a:lnTo>
                    <a:pt x="942" y="456"/>
                  </a:lnTo>
                  <a:lnTo>
                    <a:pt x="1789" y="456"/>
                  </a:lnTo>
                  <a:lnTo>
                    <a:pt x="2635" y="456"/>
                  </a:lnTo>
                  <a:lnTo>
                    <a:pt x="3482" y="456"/>
                  </a:lnTo>
                  <a:lnTo>
                    <a:pt x="3493" y="456"/>
                  </a:lnTo>
                  <a:lnTo>
                    <a:pt x="3503" y="455"/>
                  </a:lnTo>
                  <a:lnTo>
                    <a:pt x="3512" y="453"/>
                  </a:lnTo>
                  <a:lnTo>
                    <a:pt x="3521" y="450"/>
                  </a:lnTo>
                  <a:lnTo>
                    <a:pt x="3529" y="446"/>
                  </a:lnTo>
                  <a:lnTo>
                    <a:pt x="3537" y="441"/>
                  </a:lnTo>
                  <a:lnTo>
                    <a:pt x="3545" y="436"/>
                  </a:lnTo>
                  <a:lnTo>
                    <a:pt x="3552" y="430"/>
                  </a:lnTo>
                  <a:lnTo>
                    <a:pt x="3557" y="423"/>
                  </a:lnTo>
                  <a:lnTo>
                    <a:pt x="3563" y="416"/>
                  </a:lnTo>
                  <a:lnTo>
                    <a:pt x="3567" y="409"/>
                  </a:lnTo>
                  <a:lnTo>
                    <a:pt x="3572" y="400"/>
                  </a:lnTo>
                  <a:lnTo>
                    <a:pt x="3574" y="391"/>
                  </a:lnTo>
                  <a:lnTo>
                    <a:pt x="3576" y="381"/>
                  </a:lnTo>
                  <a:lnTo>
                    <a:pt x="3577" y="371"/>
                  </a:lnTo>
                  <a:lnTo>
                    <a:pt x="3578" y="361"/>
                  </a:lnTo>
                  <a:lnTo>
                    <a:pt x="3578" y="95"/>
                  </a:lnTo>
                  <a:lnTo>
                    <a:pt x="3577" y="85"/>
                  </a:lnTo>
                  <a:lnTo>
                    <a:pt x="3576" y="75"/>
                  </a:lnTo>
                  <a:lnTo>
                    <a:pt x="3574" y="65"/>
                  </a:lnTo>
                  <a:lnTo>
                    <a:pt x="3572" y="57"/>
                  </a:lnTo>
                  <a:lnTo>
                    <a:pt x="3567" y="49"/>
                  </a:lnTo>
                  <a:lnTo>
                    <a:pt x="3563" y="41"/>
                  </a:lnTo>
                  <a:lnTo>
                    <a:pt x="3557" y="33"/>
                  </a:lnTo>
                  <a:lnTo>
                    <a:pt x="3552" y="27"/>
                  </a:lnTo>
                  <a:lnTo>
                    <a:pt x="3545" y="20"/>
                  </a:lnTo>
                  <a:lnTo>
                    <a:pt x="3537" y="16"/>
                  </a:lnTo>
                  <a:lnTo>
                    <a:pt x="3529" y="11"/>
                  </a:lnTo>
                  <a:lnTo>
                    <a:pt x="3521" y="7"/>
                  </a:lnTo>
                  <a:lnTo>
                    <a:pt x="3512" y="3"/>
                  </a:lnTo>
                  <a:lnTo>
                    <a:pt x="3503" y="1"/>
                  </a:lnTo>
                  <a:lnTo>
                    <a:pt x="3493" y="0"/>
                  </a:lnTo>
                  <a:lnTo>
                    <a:pt x="3482" y="0"/>
                  </a:lnTo>
                  <a:lnTo>
                    <a:pt x="2635" y="0"/>
                  </a:lnTo>
                  <a:lnTo>
                    <a:pt x="1789" y="0"/>
                  </a:lnTo>
                  <a:lnTo>
                    <a:pt x="942" y="0"/>
                  </a:lnTo>
                  <a:lnTo>
                    <a:pt x="96" y="0"/>
                  </a:lnTo>
                  <a:lnTo>
                    <a:pt x="85" y="0"/>
                  </a:lnTo>
                  <a:lnTo>
                    <a:pt x="75" y="1"/>
                  </a:lnTo>
                  <a:lnTo>
                    <a:pt x="66" y="3"/>
                  </a:lnTo>
                  <a:lnTo>
                    <a:pt x="58" y="7"/>
                  </a:lnTo>
                  <a:lnTo>
                    <a:pt x="49" y="11"/>
                  </a:lnTo>
                  <a:lnTo>
                    <a:pt x="41" y="16"/>
                  </a:lnTo>
                  <a:lnTo>
                    <a:pt x="33" y="20"/>
                  </a:lnTo>
                  <a:lnTo>
                    <a:pt x="27" y="27"/>
                  </a:lnTo>
                  <a:lnTo>
                    <a:pt x="21" y="33"/>
                  </a:lnTo>
                  <a:lnTo>
                    <a:pt x="16" y="41"/>
                  </a:lnTo>
                  <a:lnTo>
                    <a:pt x="11" y="49"/>
                  </a:lnTo>
                  <a:lnTo>
                    <a:pt x="8" y="57"/>
                  </a:lnTo>
                  <a:lnTo>
                    <a:pt x="4" y="65"/>
                  </a:lnTo>
                  <a:lnTo>
                    <a:pt x="2" y="75"/>
                  </a:lnTo>
                  <a:lnTo>
                    <a:pt x="1" y="85"/>
                  </a:lnTo>
                  <a:lnTo>
                    <a:pt x="0" y="95"/>
                  </a:lnTo>
                  <a:lnTo>
                    <a:pt x="0" y="36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Skatta Sans Regular" pitchFamily="50" charset="0"/>
              </a:endParaRPr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C71B3B68-3274-4B8A-A77F-8867CD0332D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579338" y="2067802"/>
              <a:ext cx="1260000" cy="1073166"/>
            </a:xfrm>
            <a:custGeom>
              <a:avLst/>
              <a:gdLst>
                <a:gd name="T0" fmla="*/ 2264 w 3082"/>
                <a:gd name="T1" fmla="*/ 744 h 2625"/>
                <a:gd name="T2" fmla="*/ 2266 w 3082"/>
                <a:gd name="T3" fmla="*/ 977 h 2625"/>
                <a:gd name="T4" fmla="*/ 2059 w 3082"/>
                <a:gd name="T5" fmla="*/ 1141 h 2625"/>
                <a:gd name="T6" fmla="*/ 2128 w 3082"/>
                <a:gd name="T7" fmla="*/ 961 h 2625"/>
                <a:gd name="T8" fmla="*/ 2534 w 3082"/>
                <a:gd name="T9" fmla="*/ 737 h 2625"/>
                <a:gd name="T10" fmla="*/ 2516 w 3082"/>
                <a:gd name="T11" fmla="*/ 927 h 2625"/>
                <a:gd name="T12" fmla="*/ 2383 w 3082"/>
                <a:gd name="T13" fmla="*/ 1154 h 2625"/>
                <a:gd name="T14" fmla="*/ 2470 w 3082"/>
                <a:gd name="T15" fmla="*/ 1025 h 2625"/>
                <a:gd name="T16" fmla="*/ 733 w 3082"/>
                <a:gd name="T17" fmla="*/ 1006 h 2625"/>
                <a:gd name="T18" fmla="*/ 885 w 3082"/>
                <a:gd name="T19" fmla="*/ 1154 h 2625"/>
                <a:gd name="T20" fmla="*/ 60 w 3082"/>
                <a:gd name="T21" fmla="*/ 1150 h 2625"/>
                <a:gd name="T22" fmla="*/ 1819 w 3082"/>
                <a:gd name="T23" fmla="*/ 1010 h 2625"/>
                <a:gd name="T24" fmla="*/ 1910 w 3082"/>
                <a:gd name="T25" fmla="*/ 1155 h 2625"/>
                <a:gd name="T26" fmla="*/ 1110 w 3082"/>
                <a:gd name="T27" fmla="*/ 1070 h 2625"/>
                <a:gd name="T28" fmla="*/ 1273 w 3082"/>
                <a:gd name="T29" fmla="*/ 1060 h 2625"/>
                <a:gd name="T30" fmla="*/ 962 w 3082"/>
                <a:gd name="T31" fmla="*/ 1091 h 2625"/>
                <a:gd name="T32" fmla="*/ 1547 w 3082"/>
                <a:gd name="T33" fmla="*/ 832 h 2625"/>
                <a:gd name="T34" fmla="*/ 1673 w 3082"/>
                <a:gd name="T35" fmla="*/ 911 h 2625"/>
                <a:gd name="T36" fmla="*/ 1380 w 3082"/>
                <a:gd name="T37" fmla="*/ 739 h 2625"/>
                <a:gd name="T38" fmla="*/ 3022 w 3082"/>
                <a:gd name="T39" fmla="*/ 1141 h 2625"/>
                <a:gd name="T40" fmla="*/ 706 w 3082"/>
                <a:gd name="T41" fmla="*/ 2392 h 2625"/>
                <a:gd name="T42" fmla="*/ 702 w 3082"/>
                <a:gd name="T43" fmla="*/ 2624 h 2625"/>
                <a:gd name="T44" fmla="*/ 1320 w 3082"/>
                <a:gd name="T45" fmla="*/ 2090 h 2625"/>
                <a:gd name="T46" fmla="*/ 1026 w 3082"/>
                <a:gd name="T47" fmla="*/ 2625 h 2625"/>
                <a:gd name="T48" fmla="*/ 1151 w 3082"/>
                <a:gd name="T49" fmla="*/ 2177 h 2625"/>
                <a:gd name="T50" fmla="*/ 1200 w 3082"/>
                <a:gd name="T51" fmla="*/ 2104 h 2625"/>
                <a:gd name="T52" fmla="*/ 1429 w 3082"/>
                <a:gd name="T53" fmla="*/ 2214 h 2625"/>
                <a:gd name="T54" fmla="*/ 1980 w 3082"/>
                <a:gd name="T55" fmla="*/ 2526 h 2625"/>
                <a:gd name="T56" fmla="*/ 1928 w 3082"/>
                <a:gd name="T57" fmla="*/ 2207 h 2625"/>
                <a:gd name="T58" fmla="*/ 2141 w 3082"/>
                <a:gd name="T59" fmla="*/ 2491 h 2625"/>
                <a:gd name="T60" fmla="*/ 1928 w 3082"/>
                <a:gd name="T61" fmla="*/ 2207 h 2625"/>
                <a:gd name="T62" fmla="*/ 2436 w 3082"/>
                <a:gd name="T63" fmla="*/ 2096 h 2625"/>
                <a:gd name="T64" fmla="*/ 2188 w 3082"/>
                <a:gd name="T65" fmla="*/ 2624 h 2625"/>
                <a:gd name="T66" fmla="*/ 2236 w 3082"/>
                <a:gd name="T67" fmla="*/ 2169 h 2625"/>
                <a:gd name="T68" fmla="*/ 2314 w 3082"/>
                <a:gd name="T69" fmla="*/ 2123 h 2625"/>
                <a:gd name="T70" fmla="*/ 1320 w 3082"/>
                <a:gd name="T71" fmla="*/ 177 h 2625"/>
                <a:gd name="T72" fmla="*/ 1094 w 3082"/>
                <a:gd name="T73" fmla="*/ 230 h 2625"/>
                <a:gd name="T74" fmla="*/ 1361 w 3082"/>
                <a:gd name="T75" fmla="*/ 54 h 2625"/>
                <a:gd name="T76" fmla="*/ 1345 w 3082"/>
                <a:gd name="T77" fmla="*/ 391 h 2625"/>
                <a:gd name="T78" fmla="*/ 1007 w 3082"/>
                <a:gd name="T79" fmla="*/ 313 h 2625"/>
                <a:gd name="T80" fmla="*/ 1174 w 3082"/>
                <a:gd name="T81" fmla="*/ 2 h 2625"/>
                <a:gd name="T82" fmla="*/ 1786 w 3082"/>
                <a:gd name="T83" fmla="*/ 89 h 2625"/>
                <a:gd name="T84" fmla="*/ 1490 w 3082"/>
                <a:gd name="T85" fmla="*/ 99 h 2625"/>
                <a:gd name="T86" fmla="*/ 2149 w 3082"/>
                <a:gd name="T87" fmla="*/ 9 h 2625"/>
                <a:gd name="T88" fmla="*/ 908 w 3082"/>
                <a:gd name="T89" fmla="*/ 365 h 2625"/>
                <a:gd name="T90" fmla="*/ 816 w 3082"/>
                <a:gd name="T91" fmla="*/ 336 h 2625"/>
                <a:gd name="T92" fmla="*/ 2672 w 3082"/>
                <a:gd name="T93" fmla="*/ 1878 h 2625"/>
                <a:gd name="T94" fmla="*/ 1737 w 3082"/>
                <a:gd name="T95" fmla="*/ 1879 h 2625"/>
                <a:gd name="T96" fmla="*/ 2104 w 3082"/>
                <a:gd name="T97" fmla="*/ 1888 h 2625"/>
                <a:gd name="T98" fmla="*/ 2174 w 3082"/>
                <a:gd name="T99" fmla="*/ 1888 h 2625"/>
                <a:gd name="T100" fmla="*/ 2719 w 3082"/>
                <a:gd name="T101" fmla="*/ 1481 h 2625"/>
                <a:gd name="T102" fmla="*/ 333 w 3082"/>
                <a:gd name="T103" fmla="*/ 1634 h 2625"/>
                <a:gd name="T104" fmla="*/ 110 w 3082"/>
                <a:gd name="T105" fmla="*/ 1707 h 2625"/>
                <a:gd name="T106" fmla="*/ 383 w 3082"/>
                <a:gd name="T107" fmla="*/ 1524 h 2625"/>
                <a:gd name="T108" fmla="*/ 351 w 3082"/>
                <a:gd name="T109" fmla="*/ 1860 h 2625"/>
                <a:gd name="T110" fmla="*/ 17 w 3082"/>
                <a:gd name="T111" fmla="*/ 1766 h 2625"/>
                <a:gd name="T112" fmla="*/ 200 w 3082"/>
                <a:gd name="T113" fmla="*/ 1464 h 2625"/>
                <a:gd name="T114" fmla="*/ 974 w 3082"/>
                <a:gd name="T115" fmla="*/ 1638 h 2625"/>
                <a:gd name="T116" fmla="*/ 1221 w 3082"/>
                <a:gd name="T117" fmla="*/ 1494 h 2625"/>
                <a:gd name="T118" fmla="*/ 1083 w 3082"/>
                <a:gd name="T119" fmla="*/ 1612 h 2625"/>
                <a:gd name="T120" fmla="*/ 1173 w 3082"/>
                <a:gd name="T121" fmla="*/ 1878 h 2625"/>
                <a:gd name="T122" fmla="*/ 1067 w 3082"/>
                <a:gd name="T123" fmla="*/ 1808 h 2625"/>
                <a:gd name="T124" fmla="*/ 777 w 3082"/>
                <a:gd name="T125" fmla="*/ 1480 h 26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082" h="2625">
                  <a:moveTo>
                    <a:pt x="1319" y="1480"/>
                  </a:moveTo>
                  <a:lnTo>
                    <a:pt x="1319" y="1478"/>
                  </a:lnTo>
                  <a:lnTo>
                    <a:pt x="1320" y="1476"/>
                  </a:lnTo>
                  <a:lnTo>
                    <a:pt x="1322" y="1473"/>
                  </a:lnTo>
                  <a:lnTo>
                    <a:pt x="1323" y="1472"/>
                  </a:lnTo>
                  <a:lnTo>
                    <a:pt x="1325" y="1471"/>
                  </a:lnTo>
                  <a:lnTo>
                    <a:pt x="1329" y="1470"/>
                  </a:lnTo>
                  <a:lnTo>
                    <a:pt x="1411" y="1470"/>
                  </a:lnTo>
                  <a:lnTo>
                    <a:pt x="1415" y="1471"/>
                  </a:lnTo>
                  <a:lnTo>
                    <a:pt x="1419" y="1473"/>
                  </a:lnTo>
                  <a:lnTo>
                    <a:pt x="1420" y="1474"/>
                  </a:lnTo>
                  <a:lnTo>
                    <a:pt x="1421" y="1476"/>
                  </a:lnTo>
                  <a:lnTo>
                    <a:pt x="1421" y="1478"/>
                  </a:lnTo>
                  <a:lnTo>
                    <a:pt x="1421" y="1480"/>
                  </a:lnTo>
                  <a:lnTo>
                    <a:pt x="1421" y="1879"/>
                  </a:lnTo>
                  <a:lnTo>
                    <a:pt x="1421" y="1881"/>
                  </a:lnTo>
                  <a:lnTo>
                    <a:pt x="1421" y="1883"/>
                  </a:lnTo>
                  <a:lnTo>
                    <a:pt x="1419" y="1886"/>
                  </a:lnTo>
                  <a:lnTo>
                    <a:pt x="1417" y="1887"/>
                  </a:lnTo>
                  <a:lnTo>
                    <a:pt x="1415" y="1888"/>
                  </a:lnTo>
                  <a:lnTo>
                    <a:pt x="1411" y="1889"/>
                  </a:lnTo>
                  <a:lnTo>
                    <a:pt x="1329" y="1889"/>
                  </a:lnTo>
                  <a:lnTo>
                    <a:pt x="1325" y="1888"/>
                  </a:lnTo>
                  <a:lnTo>
                    <a:pt x="1322" y="1886"/>
                  </a:lnTo>
                  <a:lnTo>
                    <a:pt x="1321" y="1885"/>
                  </a:lnTo>
                  <a:lnTo>
                    <a:pt x="1320" y="1883"/>
                  </a:lnTo>
                  <a:lnTo>
                    <a:pt x="1319" y="1881"/>
                  </a:lnTo>
                  <a:lnTo>
                    <a:pt x="1319" y="1879"/>
                  </a:lnTo>
                  <a:lnTo>
                    <a:pt x="1319" y="1480"/>
                  </a:lnTo>
                  <a:close/>
                  <a:moveTo>
                    <a:pt x="2184" y="729"/>
                  </a:moveTo>
                  <a:lnTo>
                    <a:pt x="2195" y="729"/>
                  </a:lnTo>
                  <a:lnTo>
                    <a:pt x="2206" y="730"/>
                  </a:lnTo>
                  <a:lnTo>
                    <a:pt x="2217" y="731"/>
                  </a:lnTo>
                  <a:lnTo>
                    <a:pt x="2227" y="733"/>
                  </a:lnTo>
                  <a:lnTo>
                    <a:pt x="2237" y="735"/>
                  </a:lnTo>
                  <a:lnTo>
                    <a:pt x="2246" y="737"/>
                  </a:lnTo>
                  <a:lnTo>
                    <a:pt x="2253" y="739"/>
                  </a:lnTo>
                  <a:lnTo>
                    <a:pt x="2259" y="741"/>
                  </a:lnTo>
                  <a:lnTo>
                    <a:pt x="2262" y="742"/>
                  </a:lnTo>
                  <a:lnTo>
                    <a:pt x="2264" y="744"/>
                  </a:lnTo>
                  <a:lnTo>
                    <a:pt x="2265" y="745"/>
                  </a:lnTo>
                  <a:lnTo>
                    <a:pt x="2266" y="747"/>
                  </a:lnTo>
                  <a:lnTo>
                    <a:pt x="2267" y="749"/>
                  </a:lnTo>
                  <a:lnTo>
                    <a:pt x="2267" y="752"/>
                  </a:lnTo>
                  <a:lnTo>
                    <a:pt x="2267" y="757"/>
                  </a:lnTo>
                  <a:lnTo>
                    <a:pt x="2248" y="818"/>
                  </a:lnTo>
                  <a:lnTo>
                    <a:pt x="2247" y="821"/>
                  </a:lnTo>
                  <a:lnTo>
                    <a:pt x="2246" y="823"/>
                  </a:lnTo>
                  <a:lnTo>
                    <a:pt x="2245" y="825"/>
                  </a:lnTo>
                  <a:lnTo>
                    <a:pt x="2243" y="826"/>
                  </a:lnTo>
                  <a:lnTo>
                    <a:pt x="2241" y="827"/>
                  </a:lnTo>
                  <a:lnTo>
                    <a:pt x="2239" y="827"/>
                  </a:lnTo>
                  <a:lnTo>
                    <a:pt x="2233" y="827"/>
                  </a:lnTo>
                  <a:lnTo>
                    <a:pt x="2223" y="823"/>
                  </a:lnTo>
                  <a:lnTo>
                    <a:pt x="2213" y="821"/>
                  </a:lnTo>
                  <a:lnTo>
                    <a:pt x="2204" y="819"/>
                  </a:lnTo>
                  <a:lnTo>
                    <a:pt x="2194" y="818"/>
                  </a:lnTo>
                  <a:lnTo>
                    <a:pt x="2188" y="819"/>
                  </a:lnTo>
                  <a:lnTo>
                    <a:pt x="2185" y="819"/>
                  </a:lnTo>
                  <a:lnTo>
                    <a:pt x="2182" y="820"/>
                  </a:lnTo>
                  <a:lnTo>
                    <a:pt x="2180" y="821"/>
                  </a:lnTo>
                  <a:lnTo>
                    <a:pt x="2177" y="823"/>
                  </a:lnTo>
                  <a:lnTo>
                    <a:pt x="2173" y="826"/>
                  </a:lnTo>
                  <a:lnTo>
                    <a:pt x="2170" y="829"/>
                  </a:lnTo>
                  <a:lnTo>
                    <a:pt x="2169" y="831"/>
                  </a:lnTo>
                  <a:lnTo>
                    <a:pt x="2168" y="834"/>
                  </a:lnTo>
                  <a:lnTo>
                    <a:pt x="2166" y="839"/>
                  </a:lnTo>
                  <a:lnTo>
                    <a:pt x="2166" y="844"/>
                  </a:lnTo>
                  <a:lnTo>
                    <a:pt x="2167" y="850"/>
                  </a:lnTo>
                  <a:lnTo>
                    <a:pt x="2168" y="856"/>
                  </a:lnTo>
                  <a:lnTo>
                    <a:pt x="2171" y="862"/>
                  </a:lnTo>
                  <a:lnTo>
                    <a:pt x="2175" y="867"/>
                  </a:lnTo>
                  <a:lnTo>
                    <a:pt x="2179" y="872"/>
                  </a:lnTo>
                  <a:lnTo>
                    <a:pt x="2184" y="878"/>
                  </a:lnTo>
                  <a:lnTo>
                    <a:pt x="2195" y="890"/>
                  </a:lnTo>
                  <a:lnTo>
                    <a:pt x="2228" y="927"/>
                  </a:lnTo>
                  <a:lnTo>
                    <a:pt x="2238" y="938"/>
                  </a:lnTo>
                  <a:lnTo>
                    <a:pt x="2248" y="950"/>
                  </a:lnTo>
                  <a:lnTo>
                    <a:pt x="2257" y="963"/>
                  </a:lnTo>
                  <a:lnTo>
                    <a:pt x="2266" y="977"/>
                  </a:lnTo>
                  <a:lnTo>
                    <a:pt x="2270" y="985"/>
                  </a:lnTo>
                  <a:lnTo>
                    <a:pt x="2273" y="992"/>
                  </a:lnTo>
                  <a:lnTo>
                    <a:pt x="2276" y="1000"/>
                  </a:lnTo>
                  <a:lnTo>
                    <a:pt x="2279" y="1007"/>
                  </a:lnTo>
                  <a:lnTo>
                    <a:pt x="2281" y="1015"/>
                  </a:lnTo>
                  <a:lnTo>
                    <a:pt x="2282" y="1023"/>
                  </a:lnTo>
                  <a:lnTo>
                    <a:pt x="2283" y="1031"/>
                  </a:lnTo>
                  <a:lnTo>
                    <a:pt x="2284" y="1039"/>
                  </a:lnTo>
                  <a:lnTo>
                    <a:pt x="2284" y="1047"/>
                  </a:lnTo>
                  <a:lnTo>
                    <a:pt x="2283" y="1054"/>
                  </a:lnTo>
                  <a:lnTo>
                    <a:pt x="2282" y="1061"/>
                  </a:lnTo>
                  <a:lnTo>
                    <a:pt x="2281" y="1068"/>
                  </a:lnTo>
                  <a:lnTo>
                    <a:pt x="2280" y="1075"/>
                  </a:lnTo>
                  <a:lnTo>
                    <a:pt x="2278" y="1081"/>
                  </a:lnTo>
                  <a:lnTo>
                    <a:pt x="2274" y="1093"/>
                  </a:lnTo>
                  <a:lnTo>
                    <a:pt x="2268" y="1104"/>
                  </a:lnTo>
                  <a:lnTo>
                    <a:pt x="2265" y="1109"/>
                  </a:lnTo>
                  <a:lnTo>
                    <a:pt x="2262" y="1114"/>
                  </a:lnTo>
                  <a:lnTo>
                    <a:pt x="2258" y="1119"/>
                  </a:lnTo>
                  <a:lnTo>
                    <a:pt x="2255" y="1123"/>
                  </a:lnTo>
                  <a:lnTo>
                    <a:pt x="2246" y="1131"/>
                  </a:lnTo>
                  <a:lnTo>
                    <a:pt x="2237" y="1139"/>
                  </a:lnTo>
                  <a:lnTo>
                    <a:pt x="2227" y="1145"/>
                  </a:lnTo>
                  <a:lnTo>
                    <a:pt x="2217" y="1150"/>
                  </a:lnTo>
                  <a:lnTo>
                    <a:pt x="2205" y="1154"/>
                  </a:lnTo>
                  <a:lnTo>
                    <a:pt x="2193" y="1158"/>
                  </a:lnTo>
                  <a:lnTo>
                    <a:pt x="2187" y="1159"/>
                  </a:lnTo>
                  <a:lnTo>
                    <a:pt x="2181" y="1160"/>
                  </a:lnTo>
                  <a:lnTo>
                    <a:pt x="2168" y="1161"/>
                  </a:lnTo>
                  <a:lnTo>
                    <a:pt x="2155" y="1162"/>
                  </a:lnTo>
                  <a:lnTo>
                    <a:pt x="2143" y="1162"/>
                  </a:lnTo>
                  <a:lnTo>
                    <a:pt x="2131" y="1161"/>
                  </a:lnTo>
                  <a:lnTo>
                    <a:pt x="2118" y="1159"/>
                  </a:lnTo>
                  <a:lnTo>
                    <a:pt x="2106" y="1157"/>
                  </a:lnTo>
                  <a:lnTo>
                    <a:pt x="2094" y="1154"/>
                  </a:lnTo>
                  <a:lnTo>
                    <a:pt x="2083" y="1151"/>
                  </a:lnTo>
                  <a:lnTo>
                    <a:pt x="2073" y="1148"/>
                  </a:lnTo>
                  <a:lnTo>
                    <a:pt x="2064" y="1144"/>
                  </a:lnTo>
                  <a:lnTo>
                    <a:pt x="2062" y="1143"/>
                  </a:lnTo>
                  <a:lnTo>
                    <a:pt x="2059" y="1141"/>
                  </a:lnTo>
                  <a:lnTo>
                    <a:pt x="2058" y="1140"/>
                  </a:lnTo>
                  <a:lnTo>
                    <a:pt x="2057" y="1138"/>
                  </a:lnTo>
                  <a:lnTo>
                    <a:pt x="2057" y="1136"/>
                  </a:lnTo>
                  <a:lnTo>
                    <a:pt x="2056" y="1134"/>
                  </a:lnTo>
                  <a:lnTo>
                    <a:pt x="2057" y="1131"/>
                  </a:lnTo>
                  <a:lnTo>
                    <a:pt x="2077" y="1065"/>
                  </a:lnTo>
                  <a:lnTo>
                    <a:pt x="2078" y="1062"/>
                  </a:lnTo>
                  <a:lnTo>
                    <a:pt x="2079" y="1060"/>
                  </a:lnTo>
                  <a:lnTo>
                    <a:pt x="2080" y="1058"/>
                  </a:lnTo>
                  <a:lnTo>
                    <a:pt x="2082" y="1057"/>
                  </a:lnTo>
                  <a:lnTo>
                    <a:pt x="2084" y="1057"/>
                  </a:lnTo>
                  <a:lnTo>
                    <a:pt x="2086" y="1057"/>
                  </a:lnTo>
                  <a:lnTo>
                    <a:pt x="2088" y="1057"/>
                  </a:lnTo>
                  <a:lnTo>
                    <a:pt x="2091" y="1058"/>
                  </a:lnTo>
                  <a:lnTo>
                    <a:pt x="2098" y="1062"/>
                  </a:lnTo>
                  <a:lnTo>
                    <a:pt x="2106" y="1064"/>
                  </a:lnTo>
                  <a:lnTo>
                    <a:pt x="2113" y="1067"/>
                  </a:lnTo>
                  <a:lnTo>
                    <a:pt x="2120" y="1069"/>
                  </a:lnTo>
                  <a:lnTo>
                    <a:pt x="2128" y="1070"/>
                  </a:lnTo>
                  <a:lnTo>
                    <a:pt x="2135" y="1071"/>
                  </a:lnTo>
                  <a:lnTo>
                    <a:pt x="2142" y="1072"/>
                  </a:lnTo>
                  <a:lnTo>
                    <a:pt x="2148" y="1072"/>
                  </a:lnTo>
                  <a:lnTo>
                    <a:pt x="2157" y="1071"/>
                  </a:lnTo>
                  <a:lnTo>
                    <a:pt x="2161" y="1071"/>
                  </a:lnTo>
                  <a:lnTo>
                    <a:pt x="2165" y="1070"/>
                  </a:lnTo>
                  <a:lnTo>
                    <a:pt x="2171" y="1067"/>
                  </a:lnTo>
                  <a:lnTo>
                    <a:pt x="2176" y="1064"/>
                  </a:lnTo>
                  <a:lnTo>
                    <a:pt x="2180" y="1060"/>
                  </a:lnTo>
                  <a:lnTo>
                    <a:pt x="2182" y="1057"/>
                  </a:lnTo>
                  <a:lnTo>
                    <a:pt x="2183" y="1055"/>
                  </a:lnTo>
                  <a:lnTo>
                    <a:pt x="2185" y="1049"/>
                  </a:lnTo>
                  <a:lnTo>
                    <a:pt x="2186" y="1042"/>
                  </a:lnTo>
                  <a:lnTo>
                    <a:pt x="2185" y="1037"/>
                  </a:lnTo>
                  <a:lnTo>
                    <a:pt x="2184" y="1031"/>
                  </a:lnTo>
                  <a:lnTo>
                    <a:pt x="2181" y="1025"/>
                  </a:lnTo>
                  <a:lnTo>
                    <a:pt x="2178" y="1020"/>
                  </a:lnTo>
                  <a:lnTo>
                    <a:pt x="2175" y="1014"/>
                  </a:lnTo>
                  <a:lnTo>
                    <a:pt x="2170" y="1008"/>
                  </a:lnTo>
                  <a:lnTo>
                    <a:pt x="2161" y="997"/>
                  </a:lnTo>
                  <a:lnTo>
                    <a:pt x="2128" y="961"/>
                  </a:lnTo>
                  <a:lnTo>
                    <a:pt x="2116" y="948"/>
                  </a:lnTo>
                  <a:lnTo>
                    <a:pt x="2106" y="935"/>
                  </a:lnTo>
                  <a:lnTo>
                    <a:pt x="2095" y="922"/>
                  </a:lnTo>
                  <a:lnTo>
                    <a:pt x="2091" y="915"/>
                  </a:lnTo>
                  <a:lnTo>
                    <a:pt x="2086" y="908"/>
                  </a:lnTo>
                  <a:lnTo>
                    <a:pt x="2082" y="900"/>
                  </a:lnTo>
                  <a:lnTo>
                    <a:pt x="2079" y="893"/>
                  </a:lnTo>
                  <a:lnTo>
                    <a:pt x="2076" y="885"/>
                  </a:lnTo>
                  <a:lnTo>
                    <a:pt x="2073" y="877"/>
                  </a:lnTo>
                  <a:lnTo>
                    <a:pt x="2071" y="868"/>
                  </a:lnTo>
                  <a:lnTo>
                    <a:pt x="2070" y="864"/>
                  </a:lnTo>
                  <a:lnTo>
                    <a:pt x="2069" y="859"/>
                  </a:lnTo>
                  <a:lnTo>
                    <a:pt x="2068" y="850"/>
                  </a:lnTo>
                  <a:lnTo>
                    <a:pt x="2068" y="841"/>
                  </a:lnTo>
                  <a:lnTo>
                    <a:pt x="2068" y="829"/>
                  </a:lnTo>
                  <a:lnTo>
                    <a:pt x="2070" y="817"/>
                  </a:lnTo>
                  <a:lnTo>
                    <a:pt x="2073" y="806"/>
                  </a:lnTo>
                  <a:lnTo>
                    <a:pt x="2077" y="795"/>
                  </a:lnTo>
                  <a:lnTo>
                    <a:pt x="2081" y="785"/>
                  </a:lnTo>
                  <a:lnTo>
                    <a:pt x="2087" y="776"/>
                  </a:lnTo>
                  <a:lnTo>
                    <a:pt x="2094" y="768"/>
                  </a:lnTo>
                  <a:lnTo>
                    <a:pt x="2101" y="760"/>
                  </a:lnTo>
                  <a:lnTo>
                    <a:pt x="2105" y="756"/>
                  </a:lnTo>
                  <a:lnTo>
                    <a:pt x="2109" y="753"/>
                  </a:lnTo>
                  <a:lnTo>
                    <a:pt x="2118" y="747"/>
                  </a:lnTo>
                  <a:lnTo>
                    <a:pt x="2123" y="744"/>
                  </a:lnTo>
                  <a:lnTo>
                    <a:pt x="2128" y="741"/>
                  </a:lnTo>
                  <a:lnTo>
                    <a:pt x="2138" y="737"/>
                  </a:lnTo>
                  <a:lnTo>
                    <a:pt x="2148" y="734"/>
                  </a:lnTo>
                  <a:lnTo>
                    <a:pt x="2160" y="731"/>
                  </a:lnTo>
                  <a:lnTo>
                    <a:pt x="2166" y="730"/>
                  </a:lnTo>
                  <a:lnTo>
                    <a:pt x="2172" y="730"/>
                  </a:lnTo>
                  <a:lnTo>
                    <a:pt x="2184" y="729"/>
                  </a:lnTo>
                  <a:close/>
                  <a:moveTo>
                    <a:pt x="2472" y="729"/>
                  </a:moveTo>
                  <a:lnTo>
                    <a:pt x="2483" y="729"/>
                  </a:lnTo>
                  <a:lnTo>
                    <a:pt x="2495" y="730"/>
                  </a:lnTo>
                  <a:lnTo>
                    <a:pt x="2505" y="731"/>
                  </a:lnTo>
                  <a:lnTo>
                    <a:pt x="2516" y="733"/>
                  </a:lnTo>
                  <a:lnTo>
                    <a:pt x="2525" y="735"/>
                  </a:lnTo>
                  <a:lnTo>
                    <a:pt x="2534" y="737"/>
                  </a:lnTo>
                  <a:lnTo>
                    <a:pt x="2542" y="739"/>
                  </a:lnTo>
                  <a:lnTo>
                    <a:pt x="2548" y="741"/>
                  </a:lnTo>
                  <a:lnTo>
                    <a:pt x="2550" y="742"/>
                  </a:lnTo>
                  <a:lnTo>
                    <a:pt x="2552" y="744"/>
                  </a:lnTo>
                  <a:lnTo>
                    <a:pt x="2554" y="745"/>
                  </a:lnTo>
                  <a:lnTo>
                    <a:pt x="2555" y="747"/>
                  </a:lnTo>
                  <a:lnTo>
                    <a:pt x="2555" y="749"/>
                  </a:lnTo>
                  <a:lnTo>
                    <a:pt x="2556" y="752"/>
                  </a:lnTo>
                  <a:lnTo>
                    <a:pt x="2555" y="757"/>
                  </a:lnTo>
                  <a:lnTo>
                    <a:pt x="2537" y="818"/>
                  </a:lnTo>
                  <a:lnTo>
                    <a:pt x="2536" y="821"/>
                  </a:lnTo>
                  <a:lnTo>
                    <a:pt x="2534" y="823"/>
                  </a:lnTo>
                  <a:lnTo>
                    <a:pt x="2533" y="825"/>
                  </a:lnTo>
                  <a:lnTo>
                    <a:pt x="2531" y="826"/>
                  </a:lnTo>
                  <a:lnTo>
                    <a:pt x="2529" y="827"/>
                  </a:lnTo>
                  <a:lnTo>
                    <a:pt x="2527" y="827"/>
                  </a:lnTo>
                  <a:lnTo>
                    <a:pt x="2522" y="827"/>
                  </a:lnTo>
                  <a:lnTo>
                    <a:pt x="2511" y="823"/>
                  </a:lnTo>
                  <a:lnTo>
                    <a:pt x="2501" y="821"/>
                  </a:lnTo>
                  <a:lnTo>
                    <a:pt x="2492" y="819"/>
                  </a:lnTo>
                  <a:lnTo>
                    <a:pt x="2483" y="818"/>
                  </a:lnTo>
                  <a:lnTo>
                    <a:pt x="2476" y="819"/>
                  </a:lnTo>
                  <a:lnTo>
                    <a:pt x="2473" y="819"/>
                  </a:lnTo>
                  <a:lnTo>
                    <a:pt x="2471" y="820"/>
                  </a:lnTo>
                  <a:lnTo>
                    <a:pt x="2468" y="821"/>
                  </a:lnTo>
                  <a:lnTo>
                    <a:pt x="2466" y="823"/>
                  </a:lnTo>
                  <a:lnTo>
                    <a:pt x="2462" y="826"/>
                  </a:lnTo>
                  <a:lnTo>
                    <a:pt x="2459" y="829"/>
                  </a:lnTo>
                  <a:lnTo>
                    <a:pt x="2457" y="831"/>
                  </a:lnTo>
                  <a:lnTo>
                    <a:pt x="2456" y="834"/>
                  </a:lnTo>
                  <a:lnTo>
                    <a:pt x="2455" y="839"/>
                  </a:lnTo>
                  <a:lnTo>
                    <a:pt x="2454" y="844"/>
                  </a:lnTo>
                  <a:lnTo>
                    <a:pt x="2455" y="850"/>
                  </a:lnTo>
                  <a:lnTo>
                    <a:pt x="2457" y="856"/>
                  </a:lnTo>
                  <a:lnTo>
                    <a:pt x="2459" y="862"/>
                  </a:lnTo>
                  <a:lnTo>
                    <a:pt x="2463" y="867"/>
                  </a:lnTo>
                  <a:lnTo>
                    <a:pt x="2467" y="872"/>
                  </a:lnTo>
                  <a:lnTo>
                    <a:pt x="2472" y="878"/>
                  </a:lnTo>
                  <a:lnTo>
                    <a:pt x="2483" y="890"/>
                  </a:lnTo>
                  <a:lnTo>
                    <a:pt x="2516" y="927"/>
                  </a:lnTo>
                  <a:lnTo>
                    <a:pt x="2526" y="938"/>
                  </a:lnTo>
                  <a:lnTo>
                    <a:pt x="2536" y="950"/>
                  </a:lnTo>
                  <a:lnTo>
                    <a:pt x="2546" y="963"/>
                  </a:lnTo>
                  <a:lnTo>
                    <a:pt x="2554" y="977"/>
                  </a:lnTo>
                  <a:lnTo>
                    <a:pt x="2558" y="985"/>
                  </a:lnTo>
                  <a:lnTo>
                    <a:pt x="2561" y="992"/>
                  </a:lnTo>
                  <a:lnTo>
                    <a:pt x="2564" y="1000"/>
                  </a:lnTo>
                  <a:lnTo>
                    <a:pt x="2567" y="1007"/>
                  </a:lnTo>
                  <a:lnTo>
                    <a:pt x="2569" y="1015"/>
                  </a:lnTo>
                  <a:lnTo>
                    <a:pt x="2571" y="1023"/>
                  </a:lnTo>
                  <a:lnTo>
                    <a:pt x="2572" y="1031"/>
                  </a:lnTo>
                  <a:lnTo>
                    <a:pt x="2572" y="1039"/>
                  </a:lnTo>
                  <a:lnTo>
                    <a:pt x="2572" y="1047"/>
                  </a:lnTo>
                  <a:lnTo>
                    <a:pt x="2571" y="1054"/>
                  </a:lnTo>
                  <a:lnTo>
                    <a:pt x="2571" y="1061"/>
                  </a:lnTo>
                  <a:lnTo>
                    <a:pt x="2569" y="1068"/>
                  </a:lnTo>
                  <a:lnTo>
                    <a:pt x="2568" y="1075"/>
                  </a:lnTo>
                  <a:lnTo>
                    <a:pt x="2566" y="1081"/>
                  </a:lnTo>
                  <a:lnTo>
                    <a:pt x="2562" y="1093"/>
                  </a:lnTo>
                  <a:lnTo>
                    <a:pt x="2557" y="1104"/>
                  </a:lnTo>
                  <a:lnTo>
                    <a:pt x="2554" y="1109"/>
                  </a:lnTo>
                  <a:lnTo>
                    <a:pt x="2550" y="1114"/>
                  </a:lnTo>
                  <a:lnTo>
                    <a:pt x="2547" y="1119"/>
                  </a:lnTo>
                  <a:lnTo>
                    <a:pt x="2543" y="1123"/>
                  </a:lnTo>
                  <a:lnTo>
                    <a:pt x="2535" y="1131"/>
                  </a:lnTo>
                  <a:lnTo>
                    <a:pt x="2526" y="1139"/>
                  </a:lnTo>
                  <a:lnTo>
                    <a:pt x="2516" y="1145"/>
                  </a:lnTo>
                  <a:lnTo>
                    <a:pt x="2510" y="1148"/>
                  </a:lnTo>
                  <a:lnTo>
                    <a:pt x="2505" y="1150"/>
                  </a:lnTo>
                  <a:lnTo>
                    <a:pt x="2494" y="1154"/>
                  </a:lnTo>
                  <a:lnTo>
                    <a:pt x="2482" y="1158"/>
                  </a:lnTo>
                  <a:lnTo>
                    <a:pt x="2476" y="1159"/>
                  </a:lnTo>
                  <a:lnTo>
                    <a:pt x="2469" y="1160"/>
                  </a:lnTo>
                  <a:lnTo>
                    <a:pt x="2456" y="1161"/>
                  </a:lnTo>
                  <a:lnTo>
                    <a:pt x="2443" y="1162"/>
                  </a:lnTo>
                  <a:lnTo>
                    <a:pt x="2431" y="1162"/>
                  </a:lnTo>
                  <a:lnTo>
                    <a:pt x="2419" y="1161"/>
                  </a:lnTo>
                  <a:lnTo>
                    <a:pt x="2407" y="1159"/>
                  </a:lnTo>
                  <a:lnTo>
                    <a:pt x="2395" y="1157"/>
                  </a:lnTo>
                  <a:lnTo>
                    <a:pt x="2383" y="1154"/>
                  </a:lnTo>
                  <a:lnTo>
                    <a:pt x="2372" y="1151"/>
                  </a:lnTo>
                  <a:lnTo>
                    <a:pt x="2362" y="1148"/>
                  </a:lnTo>
                  <a:lnTo>
                    <a:pt x="2353" y="1144"/>
                  </a:lnTo>
                  <a:lnTo>
                    <a:pt x="2350" y="1143"/>
                  </a:lnTo>
                  <a:lnTo>
                    <a:pt x="2348" y="1141"/>
                  </a:lnTo>
                  <a:lnTo>
                    <a:pt x="2346" y="1140"/>
                  </a:lnTo>
                  <a:lnTo>
                    <a:pt x="2345" y="1138"/>
                  </a:lnTo>
                  <a:lnTo>
                    <a:pt x="2345" y="1136"/>
                  </a:lnTo>
                  <a:lnTo>
                    <a:pt x="2345" y="1134"/>
                  </a:lnTo>
                  <a:lnTo>
                    <a:pt x="2346" y="1131"/>
                  </a:lnTo>
                  <a:lnTo>
                    <a:pt x="2365" y="1065"/>
                  </a:lnTo>
                  <a:lnTo>
                    <a:pt x="2366" y="1062"/>
                  </a:lnTo>
                  <a:lnTo>
                    <a:pt x="2367" y="1060"/>
                  </a:lnTo>
                  <a:lnTo>
                    <a:pt x="2369" y="1058"/>
                  </a:lnTo>
                  <a:lnTo>
                    <a:pt x="2370" y="1057"/>
                  </a:lnTo>
                  <a:lnTo>
                    <a:pt x="2372" y="1057"/>
                  </a:lnTo>
                  <a:lnTo>
                    <a:pt x="2374" y="1057"/>
                  </a:lnTo>
                  <a:lnTo>
                    <a:pt x="2377" y="1057"/>
                  </a:lnTo>
                  <a:lnTo>
                    <a:pt x="2379" y="1058"/>
                  </a:lnTo>
                  <a:lnTo>
                    <a:pt x="2387" y="1062"/>
                  </a:lnTo>
                  <a:lnTo>
                    <a:pt x="2394" y="1064"/>
                  </a:lnTo>
                  <a:lnTo>
                    <a:pt x="2401" y="1067"/>
                  </a:lnTo>
                  <a:lnTo>
                    <a:pt x="2409" y="1069"/>
                  </a:lnTo>
                  <a:lnTo>
                    <a:pt x="2416" y="1070"/>
                  </a:lnTo>
                  <a:lnTo>
                    <a:pt x="2423" y="1071"/>
                  </a:lnTo>
                  <a:lnTo>
                    <a:pt x="2430" y="1072"/>
                  </a:lnTo>
                  <a:lnTo>
                    <a:pt x="2437" y="1072"/>
                  </a:lnTo>
                  <a:lnTo>
                    <a:pt x="2446" y="1071"/>
                  </a:lnTo>
                  <a:lnTo>
                    <a:pt x="2449" y="1071"/>
                  </a:lnTo>
                  <a:lnTo>
                    <a:pt x="2453" y="1070"/>
                  </a:lnTo>
                  <a:lnTo>
                    <a:pt x="2460" y="1067"/>
                  </a:lnTo>
                  <a:lnTo>
                    <a:pt x="2465" y="1064"/>
                  </a:lnTo>
                  <a:lnTo>
                    <a:pt x="2469" y="1060"/>
                  </a:lnTo>
                  <a:lnTo>
                    <a:pt x="2470" y="1057"/>
                  </a:lnTo>
                  <a:lnTo>
                    <a:pt x="2472" y="1055"/>
                  </a:lnTo>
                  <a:lnTo>
                    <a:pt x="2473" y="1049"/>
                  </a:lnTo>
                  <a:lnTo>
                    <a:pt x="2474" y="1042"/>
                  </a:lnTo>
                  <a:lnTo>
                    <a:pt x="2473" y="1037"/>
                  </a:lnTo>
                  <a:lnTo>
                    <a:pt x="2472" y="1031"/>
                  </a:lnTo>
                  <a:lnTo>
                    <a:pt x="2470" y="1025"/>
                  </a:lnTo>
                  <a:lnTo>
                    <a:pt x="2467" y="1020"/>
                  </a:lnTo>
                  <a:lnTo>
                    <a:pt x="2463" y="1014"/>
                  </a:lnTo>
                  <a:lnTo>
                    <a:pt x="2459" y="1008"/>
                  </a:lnTo>
                  <a:lnTo>
                    <a:pt x="2449" y="997"/>
                  </a:lnTo>
                  <a:lnTo>
                    <a:pt x="2416" y="961"/>
                  </a:lnTo>
                  <a:lnTo>
                    <a:pt x="2405" y="948"/>
                  </a:lnTo>
                  <a:lnTo>
                    <a:pt x="2394" y="935"/>
                  </a:lnTo>
                  <a:lnTo>
                    <a:pt x="2384" y="922"/>
                  </a:lnTo>
                  <a:lnTo>
                    <a:pt x="2379" y="915"/>
                  </a:lnTo>
                  <a:lnTo>
                    <a:pt x="2375" y="908"/>
                  </a:lnTo>
                  <a:lnTo>
                    <a:pt x="2371" y="900"/>
                  </a:lnTo>
                  <a:lnTo>
                    <a:pt x="2367" y="893"/>
                  </a:lnTo>
                  <a:lnTo>
                    <a:pt x="2364" y="885"/>
                  </a:lnTo>
                  <a:lnTo>
                    <a:pt x="2361" y="877"/>
                  </a:lnTo>
                  <a:lnTo>
                    <a:pt x="2359" y="868"/>
                  </a:lnTo>
                  <a:lnTo>
                    <a:pt x="2358" y="864"/>
                  </a:lnTo>
                  <a:lnTo>
                    <a:pt x="2358" y="859"/>
                  </a:lnTo>
                  <a:lnTo>
                    <a:pt x="2357" y="850"/>
                  </a:lnTo>
                  <a:lnTo>
                    <a:pt x="2356" y="841"/>
                  </a:lnTo>
                  <a:lnTo>
                    <a:pt x="2357" y="829"/>
                  </a:lnTo>
                  <a:lnTo>
                    <a:pt x="2358" y="817"/>
                  </a:lnTo>
                  <a:lnTo>
                    <a:pt x="2361" y="806"/>
                  </a:lnTo>
                  <a:lnTo>
                    <a:pt x="2365" y="795"/>
                  </a:lnTo>
                  <a:lnTo>
                    <a:pt x="2370" y="785"/>
                  </a:lnTo>
                  <a:lnTo>
                    <a:pt x="2375" y="776"/>
                  </a:lnTo>
                  <a:lnTo>
                    <a:pt x="2382" y="768"/>
                  </a:lnTo>
                  <a:lnTo>
                    <a:pt x="2389" y="760"/>
                  </a:lnTo>
                  <a:lnTo>
                    <a:pt x="2393" y="756"/>
                  </a:lnTo>
                  <a:lnTo>
                    <a:pt x="2397" y="753"/>
                  </a:lnTo>
                  <a:lnTo>
                    <a:pt x="2406" y="747"/>
                  </a:lnTo>
                  <a:lnTo>
                    <a:pt x="2411" y="744"/>
                  </a:lnTo>
                  <a:lnTo>
                    <a:pt x="2416" y="741"/>
                  </a:lnTo>
                  <a:lnTo>
                    <a:pt x="2426" y="737"/>
                  </a:lnTo>
                  <a:lnTo>
                    <a:pt x="2437" y="734"/>
                  </a:lnTo>
                  <a:lnTo>
                    <a:pt x="2448" y="731"/>
                  </a:lnTo>
                  <a:lnTo>
                    <a:pt x="2454" y="730"/>
                  </a:lnTo>
                  <a:lnTo>
                    <a:pt x="2460" y="730"/>
                  </a:lnTo>
                  <a:lnTo>
                    <a:pt x="2472" y="729"/>
                  </a:lnTo>
                  <a:close/>
                  <a:moveTo>
                    <a:pt x="633" y="1006"/>
                  </a:moveTo>
                  <a:lnTo>
                    <a:pt x="733" y="1006"/>
                  </a:lnTo>
                  <a:lnTo>
                    <a:pt x="683" y="875"/>
                  </a:lnTo>
                  <a:lnTo>
                    <a:pt x="633" y="1006"/>
                  </a:lnTo>
                  <a:close/>
                  <a:moveTo>
                    <a:pt x="763" y="1088"/>
                  </a:moveTo>
                  <a:lnTo>
                    <a:pt x="603" y="1088"/>
                  </a:lnTo>
                  <a:lnTo>
                    <a:pt x="581" y="1145"/>
                  </a:lnTo>
                  <a:lnTo>
                    <a:pt x="580" y="1148"/>
                  </a:lnTo>
                  <a:lnTo>
                    <a:pt x="579" y="1150"/>
                  </a:lnTo>
                  <a:lnTo>
                    <a:pt x="577" y="1151"/>
                  </a:lnTo>
                  <a:lnTo>
                    <a:pt x="576" y="1153"/>
                  </a:lnTo>
                  <a:lnTo>
                    <a:pt x="572" y="1154"/>
                  </a:lnTo>
                  <a:lnTo>
                    <a:pt x="568" y="1155"/>
                  </a:lnTo>
                  <a:lnTo>
                    <a:pt x="489" y="1155"/>
                  </a:lnTo>
                  <a:lnTo>
                    <a:pt x="486" y="1155"/>
                  </a:lnTo>
                  <a:lnTo>
                    <a:pt x="484" y="1154"/>
                  </a:lnTo>
                  <a:lnTo>
                    <a:pt x="482" y="1153"/>
                  </a:lnTo>
                  <a:lnTo>
                    <a:pt x="481" y="1151"/>
                  </a:lnTo>
                  <a:lnTo>
                    <a:pt x="479" y="1149"/>
                  </a:lnTo>
                  <a:lnTo>
                    <a:pt x="479" y="1147"/>
                  </a:lnTo>
                  <a:lnTo>
                    <a:pt x="479" y="1144"/>
                  </a:lnTo>
                  <a:lnTo>
                    <a:pt x="480" y="1141"/>
                  </a:lnTo>
                  <a:lnTo>
                    <a:pt x="636" y="746"/>
                  </a:lnTo>
                  <a:lnTo>
                    <a:pt x="637" y="743"/>
                  </a:lnTo>
                  <a:lnTo>
                    <a:pt x="638" y="741"/>
                  </a:lnTo>
                  <a:lnTo>
                    <a:pt x="641" y="738"/>
                  </a:lnTo>
                  <a:lnTo>
                    <a:pt x="645" y="737"/>
                  </a:lnTo>
                  <a:lnTo>
                    <a:pt x="647" y="736"/>
                  </a:lnTo>
                  <a:lnTo>
                    <a:pt x="649" y="736"/>
                  </a:lnTo>
                  <a:lnTo>
                    <a:pt x="719" y="736"/>
                  </a:lnTo>
                  <a:lnTo>
                    <a:pt x="724" y="737"/>
                  </a:lnTo>
                  <a:lnTo>
                    <a:pt x="728" y="738"/>
                  </a:lnTo>
                  <a:lnTo>
                    <a:pt x="730" y="741"/>
                  </a:lnTo>
                  <a:lnTo>
                    <a:pt x="732" y="743"/>
                  </a:lnTo>
                  <a:lnTo>
                    <a:pt x="733" y="746"/>
                  </a:lnTo>
                  <a:lnTo>
                    <a:pt x="889" y="1141"/>
                  </a:lnTo>
                  <a:lnTo>
                    <a:pt x="890" y="1144"/>
                  </a:lnTo>
                  <a:lnTo>
                    <a:pt x="890" y="1147"/>
                  </a:lnTo>
                  <a:lnTo>
                    <a:pt x="890" y="1149"/>
                  </a:lnTo>
                  <a:lnTo>
                    <a:pt x="889" y="1151"/>
                  </a:lnTo>
                  <a:lnTo>
                    <a:pt x="887" y="1153"/>
                  </a:lnTo>
                  <a:lnTo>
                    <a:pt x="885" y="1154"/>
                  </a:lnTo>
                  <a:lnTo>
                    <a:pt x="883" y="1155"/>
                  </a:lnTo>
                  <a:lnTo>
                    <a:pt x="880" y="1155"/>
                  </a:lnTo>
                  <a:lnTo>
                    <a:pt x="800" y="1155"/>
                  </a:lnTo>
                  <a:lnTo>
                    <a:pt x="796" y="1154"/>
                  </a:lnTo>
                  <a:lnTo>
                    <a:pt x="794" y="1154"/>
                  </a:lnTo>
                  <a:lnTo>
                    <a:pt x="792" y="1153"/>
                  </a:lnTo>
                  <a:lnTo>
                    <a:pt x="790" y="1151"/>
                  </a:lnTo>
                  <a:lnTo>
                    <a:pt x="788" y="1150"/>
                  </a:lnTo>
                  <a:lnTo>
                    <a:pt x="787" y="1148"/>
                  </a:lnTo>
                  <a:lnTo>
                    <a:pt x="786" y="1145"/>
                  </a:lnTo>
                  <a:lnTo>
                    <a:pt x="763" y="1088"/>
                  </a:lnTo>
                  <a:close/>
                  <a:moveTo>
                    <a:pt x="292" y="912"/>
                  </a:moveTo>
                  <a:lnTo>
                    <a:pt x="428" y="1142"/>
                  </a:lnTo>
                  <a:lnTo>
                    <a:pt x="429" y="1144"/>
                  </a:lnTo>
                  <a:lnTo>
                    <a:pt x="429" y="1146"/>
                  </a:lnTo>
                  <a:lnTo>
                    <a:pt x="429" y="1148"/>
                  </a:lnTo>
                  <a:lnTo>
                    <a:pt x="429" y="1150"/>
                  </a:lnTo>
                  <a:lnTo>
                    <a:pt x="428" y="1152"/>
                  </a:lnTo>
                  <a:lnTo>
                    <a:pt x="426" y="1154"/>
                  </a:lnTo>
                  <a:lnTo>
                    <a:pt x="424" y="1154"/>
                  </a:lnTo>
                  <a:lnTo>
                    <a:pt x="421" y="1155"/>
                  </a:lnTo>
                  <a:lnTo>
                    <a:pt x="325" y="1155"/>
                  </a:lnTo>
                  <a:lnTo>
                    <a:pt x="321" y="1154"/>
                  </a:lnTo>
                  <a:lnTo>
                    <a:pt x="316" y="1152"/>
                  </a:lnTo>
                  <a:lnTo>
                    <a:pt x="315" y="1151"/>
                  </a:lnTo>
                  <a:lnTo>
                    <a:pt x="313" y="1150"/>
                  </a:lnTo>
                  <a:lnTo>
                    <a:pt x="310" y="1145"/>
                  </a:lnTo>
                  <a:lnTo>
                    <a:pt x="214" y="979"/>
                  </a:lnTo>
                  <a:lnTo>
                    <a:pt x="161" y="1044"/>
                  </a:lnTo>
                  <a:lnTo>
                    <a:pt x="161" y="1145"/>
                  </a:lnTo>
                  <a:lnTo>
                    <a:pt x="161" y="1147"/>
                  </a:lnTo>
                  <a:lnTo>
                    <a:pt x="160" y="1149"/>
                  </a:lnTo>
                  <a:lnTo>
                    <a:pt x="158" y="1152"/>
                  </a:lnTo>
                  <a:lnTo>
                    <a:pt x="157" y="1153"/>
                  </a:lnTo>
                  <a:lnTo>
                    <a:pt x="155" y="1154"/>
                  </a:lnTo>
                  <a:lnTo>
                    <a:pt x="151" y="1155"/>
                  </a:lnTo>
                  <a:lnTo>
                    <a:pt x="69" y="1155"/>
                  </a:lnTo>
                  <a:lnTo>
                    <a:pt x="65" y="1154"/>
                  </a:lnTo>
                  <a:lnTo>
                    <a:pt x="62" y="1152"/>
                  </a:lnTo>
                  <a:lnTo>
                    <a:pt x="60" y="1150"/>
                  </a:lnTo>
                  <a:lnTo>
                    <a:pt x="60" y="1149"/>
                  </a:lnTo>
                  <a:lnTo>
                    <a:pt x="59" y="1147"/>
                  </a:lnTo>
                  <a:lnTo>
                    <a:pt x="59" y="1145"/>
                  </a:lnTo>
                  <a:lnTo>
                    <a:pt x="59" y="746"/>
                  </a:lnTo>
                  <a:lnTo>
                    <a:pt x="59" y="744"/>
                  </a:lnTo>
                  <a:lnTo>
                    <a:pt x="60" y="742"/>
                  </a:lnTo>
                  <a:lnTo>
                    <a:pt x="62" y="739"/>
                  </a:lnTo>
                  <a:lnTo>
                    <a:pt x="63" y="738"/>
                  </a:lnTo>
                  <a:lnTo>
                    <a:pt x="65" y="737"/>
                  </a:lnTo>
                  <a:lnTo>
                    <a:pt x="69" y="736"/>
                  </a:lnTo>
                  <a:lnTo>
                    <a:pt x="151" y="736"/>
                  </a:lnTo>
                  <a:lnTo>
                    <a:pt x="155" y="737"/>
                  </a:lnTo>
                  <a:lnTo>
                    <a:pt x="158" y="739"/>
                  </a:lnTo>
                  <a:lnTo>
                    <a:pt x="159" y="740"/>
                  </a:lnTo>
                  <a:lnTo>
                    <a:pt x="160" y="742"/>
                  </a:lnTo>
                  <a:lnTo>
                    <a:pt x="161" y="744"/>
                  </a:lnTo>
                  <a:lnTo>
                    <a:pt x="161" y="746"/>
                  </a:lnTo>
                  <a:lnTo>
                    <a:pt x="161" y="921"/>
                  </a:lnTo>
                  <a:lnTo>
                    <a:pt x="304" y="746"/>
                  </a:lnTo>
                  <a:lnTo>
                    <a:pt x="308" y="742"/>
                  </a:lnTo>
                  <a:lnTo>
                    <a:pt x="310" y="740"/>
                  </a:lnTo>
                  <a:lnTo>
                    <a:pt x="312" y="739"/>
                  </a:lnTo>
                  <a:lnTo>
                    <a:pt x="314" y="738"/>
                  </a:lnTo>
                  <a:lnTo>
                    <a:pt x="317" y="737"/>
                  </a:lnTo>
                  <a:lnTo>
                    <a:pt x="319" y="736"/>
                  </a:lnTo>
                  <a:lnTo>
                    <a:pt x="322" y="736"/>
                  </a:lnTo>
                  <a:lnTo>
                    <a:pt x="418" y="736"/>
                  </a:lnTo>
                  <a:lnTo>
                    <a:pt x="421" y="737"/>
                  </a:lnTo>
                  <a:lnTo>
                    <a:pt x="423" y="738"/>
                  </a:lnTo>
                  <a:lnTo>
                    <a:pt x="425" y="739"/>
                  </a:lnTo>
                  <a:lnTo>
                    <a:pt x="426" y="741"/>
                  </a:lnTo>
                  <a:lnTo>
                    <a:pt x="426" y="744"/>
                  </a:lnTo>
                  <a:lnTo>
                    <a:pt x="426" y="746"/>
                  </a:lnTo>
                  <a:lnTo>
                    <a:pt x="425" y="749"/>
                  </a:lnTo>
                  <a:lnTo>
                    <a:pt x="424" y="751"/>
                  </a:lnTo>
                  <a:lnTo>
                    <a:pt x="292" y="912"/>
                  </a:lnTo>
                  <a:close/>
                  <a:moveTo>
                    <a:pt x="1819" y="1010"/>
                  </a:moveTo>
                  <a:lnTo>
                    <a:pt x="1872" y="1010"/>
                  </a:lnTo>
                  <a:lnTo>
                    <a:pt x="1845" y="883"/>
                  </a:lnTo>
                  <a:lnTo>
                    <a:pt x="1819" y="1010"/>
                  </a:lnTo>
                  <a:close/>
                  <a:moveTo>
                    <a:pt x="1887" y="1088"/>
                  </a:moveTo>
                  <a:lnTo>
                    <a:pt x="1805" y="1088"/>
                  </a:lnTo>
                  <a:lnTo>
                    <a:pt x="1793" y="1145"/>
                  </a:lnTo>
                  <a:lnTo>
                    <a:pt x="1792" y="1147"/>
                  </a:lnTo>
                  <a:lnTo>
                    <a:pt x="1791" y="1149"/>
                  </a:lnTo>
                  <a:lnTo>
                    <a:pt x="1788" y="1152"/>
                  </a:lnTo>
                  <a:lnTo>
                    <a:pt x="1787" y="1153"/>
                  </a:lnTo>
                  <a:lnTo>
                    <a:pt x="1785" y="1154"/>
                  </a:lnTo>
                  <a:lnTo>
                    <a:pt x="1783" y="1155"/>
                  </a:lnTo>
                  <a:lnTo>
                    <a:pt x="1781" y="1155"/>
                  </a:lnTo>
                  <a:lnTo>
                    <a:pt x="1708" y="1155"/>
                  </a:lnTo>
                  <a:lnTo>
                    <a:pt x="1706" y="1155"/>
                  </a:lnTo>
                  <a:lnTo>
                    <a:pt x="1704" y="1154"/>
                  </a:lnTo>
                  <a:lnTo>
                    <a:pt x="1702" y="1153"/>
                  </a:lnTo>
                  <a:lnTo>
                    <a:pt x="1701" y="1152"/>
                  </a:lnTo>
                  <a:lnTo>
                    <a:pt x="1700" y="1150"/>
                  </a:lnTo>
                  <a:lnTo>
                    <a:pt x="1700" y="1147"/>
                  </a:lnTo>
                  <a:lnTo>
                    <a:pt x="1701" y="1141"/>
                  </a:lnTo>
                  <a:lnTo>
                    <a:pt x="1793" y="746"/>
                  </a:lnTo>
                  <a:lnTo>
                    <a:pt x="1793" y="744"/>
                  </a:lnTo>
                  <a:lnTo>
                    <a:pt x="1794" y="742"/>
                  </a:lnTo>
                  <a:lnTo>
                    <a:pt x="1797" y="739"/>
                  </a:lnTo>
                  <a:lnTo>
                    <a:pt x="1799" y="738"/>
                  </a:lnTo>
                  <a:lnTo>
                    <a:pt x="1801" y="737"/>
                  </a:lnTo>
                  <a:lnTo>
                    <a:pt x="1806" y="736"/>
                  </a:lnTo>
                  <a:lnTo>
                    <a:pt x="1887" y="736"/>
                  </a:lnTo>
                  <a:lnTo>
                    <a:pt x="1889" y="736"/>
                  </a:lnTo>
                  <a:lnTo>
                    <a:pt x="1892" y="737"/>
                  </a:lnTo>
                  <a:lnTo>
                    <a:pt x="1896" y="739"/>
                  </a:lnTo>
                  <a:lnTo>
                    <a:pt x="1898" y="742"/>
                  </a:lnTo>
                  <a:lnTo>
                    <a:pt x="1899" y="744"/>
                  </a:lnTo>
                  <a:lnTo>
                    <a:pt x="1900" y="746"/>
                  </a:lnTo>
                  <a:lnTo>
                    <a:pt x="1992" y="1141"/>
                  </a:lnTo>
                  <a:lnTo>
                    <a:pt x="1993" y="1147"/>
                  </a:lnTo>
                  <a:lnTo>
                    <a:pt x="1992" y="1150"/>
                  </a:lnTo>
                  <a:lnTo>
                    <a:pt x="1992" y="1152"/>
                  </a:lnTo>
                  <a:lnTo>
                    <a:pt x="1990" y="1153"/>
                  </a:lnTo>
                  <a:lnTo>
                    <a:pt x="1989" y="1154"/>
                  </a:lnTo>
                  <a:lnTo>
                    <a:pt x="1984" y="1155"/>
                  </a:lnTo>
                  <a:lnTo>
                    <a:pt x="1910" y="1155"/>
                  </a:lnTo>
                  <a:lnTo>
                    <a:pt x="1906" y="1154"/>
                  </a:lnTo>
                  <a:lnTo>
                    <a:pt x="1902" y="1152"/>
                  </a:lnTo>
                  <a:lnTo>
                    <a:pt x="1901" y="1151"/>
                  </a:lnTo>
                  <a:lnTo>
                    <a:pt x="1900" y="1149"/>
                  </a:lnTo>
                  <a:lnTo>
                    <a:pt x="1899" y="1147"/>
                  </a:lnTo>
                  <a:lnTo>
                    <a:pt x="1898" y="1145"/>
                  </a:lnTo>
                  <a:lnTo>
                    <a:pt x="1887" y="1088"/>
                  </a:lnTo>
                  <a:close/>
                  <a:moveTo>
                    <a:pt x="937" y="991"/>
                  </a:moveTo>
                  <a:lnTo>
                    <a:pt x="937" y="746"/>
                  </a:lnTo>
                  <a:lnTo>
                    <a:pt x="937" y="744"/>
                  </a:lnTo>
                  <a:lnTo>
                    <a:pt x="938" y="742"/>
                  </a:lnTo>
                  <a:lnTo>
                    <a:pt x="940" y="739"/>
                  </a:lnTo>
                  <a:lnTo>
                    <a:pt x="941" y="738"/>
                  </a:lnTo>
                  <a:lnTo>
                    <a:pt x="943" y="737"/>
                  </a:lnTo>
                  <a:lnTo>
                    <a:pt x="947" y="736"/>
                  </a:lnTo>
                  <a:lnTo>
                    <a:pt x="1029" y="736"/>
                  </a:lnTo>
                  <a:lnTo>
                    <a:pt x="1033" y="737"/>
                  </a:lnTo>
                  <a:lnTo>
                    <a:pt x="1037" y="739"/>
                  </a:lnTo>
                  <a:lnTo>
                    <a:pt x="1038" y="740"/>
                  </a:lnTo>
                  <a:lnTo>
                    <a:pt x="1039" y="742"/>
                  </a:lnTo>
                  <a:lnTo>
                    <a:pt x="1039" y="744"/>
                  </a:lnTo>
                  <a:lnTo>
                    <a:pt x="1039" y="746"/>
                  </a:lnTo>
                  <a:lnTo>
                    <a:pt x="1039" y="986"/>
                  </a:lnTo>
                  <a:lnTo>
                    <a:pt x="1040" y="996"/>
                  </a:lnTo>
                  <a:lnTo>
                    <a:pt x="1041" y="1005"/>
                  </a:lnTo>
                  <a:lnTo>
                    <a:pt x="1042" y="1014"/>
                  </a:lnTo>
                  <a:lnTo>
                    <a:pt x="1044" y="1022"/>
                  </a:lnTo>
                  <a:lnTo>
                    <a:pt x="1047" y="1030"/>
                  </a:lnTo>
                  <a:lnTo>
                    <a:pt x="1050" y="1037"/>
                  </a:lnTo>
                  <a:lnTo>
                    <a:pt x="1054" y="1043"/>
                  </a:lnTo>
                  <a:lnTo>
                    <a:pt x="1058" y="1049"/>
                  </a:lnTo>
                  <a:lnTo>
                    <a:pt x="1063" y="1054"/>
                  </a:lnTo>
                  <a:lnTo>
                    <a:pt x="1068" y="1058"/>
                  </a:lnTo>
                  <a:lnTo>
                    <a:pt x="1074" y="1062"/>
                  </a:lnTo>
                  <a:lnTo>
                    <a:pt x="1077" y="1063"/>
                  </a:lnTo>
                  <a:lnTo>
                    <a:pt x="1080" y="1065"/>
                  </a:lnTo>
                  <a:lnTo>
                    <a:pt x="1087" y="1067"/>
                  </a:lnTo>
                  <a:lnTo>
                    <a:pt x="1094" y="1069"/>
                  </a:lnTo>
                  <a:lnTo>
                    <a:pt x="1102" y="1070"/>
                  </a:lnTo>
                  <a:lnTo>
                    <a:pt x="1110" y="1070"/>
                  </a:lnTo>
                  <a:lnTo>
                    <a:pt x="1118" y="1070"/>
                  </a:lnTo>
                  <a:lnTo>
                    <a:pt x="1126" y="1069"/>
                  </a:lnTo>
                  <a:lnTo>
                    <a:pt x="1133" y="1067"/>
                  </a:lnTo>
                  <a:lnTo>
                    <a:pt x="1140" y="1065"/>
                  </a:lnTo>
                  <a:lnTo>
                    <a:pt x="1146" y="1062"/>
                  </a:lnTo>
                  <a:lnTo>
                    <a:pt x="1149" y="1060"/>
                  </a:lnTo>
                  <a:lnTo>
                    <a:pt x="1152" y="1058"/>
                  </a:lnTo>
                  <a:lnTo>
                    <a:pt x="1157" y="1054"/>
                  </a:lnTo>
                  <a:lnTo>
                    <a:pt x="1162" y="1049"/>
                  </a:lnTo>
                  <a:lnTo>
                    <a:pt x="1166" y="1043"/>
                  </a:lnTo>
                  <a:lnTo>
                    <a:pt x="1170" y="1037"/>
                  </a:lnTo>
                  <a:lnTo>
                    <a:pt x="1173" y="1030"/>
                  </a:lnTo>
                  <a:lnTo>
                    <a:pt x="1176" y="1022"/>
                  </a:lnTo>
                  <a:lnTo>
                    <a:pt x="1178" y="1014"/>
                  </a:lnTo>
                  <a:lnTo>
                    <a:pt x="1180" y="1005"/>
                  </a:lnTo>
                  <a:lnTo>
                    <a:pt x="1180" y="996"/>
                  </a:lnTo>
                  <a:lnTo>
                    <a:pt x="1181" y="986"/>
                  </a:lnTo>
                  <a:lnTo>
                    <a:pt x="1181" y="746"/>
                  </a:lnTo>
                  <a:lnTo>
                    <a:pt x="1181" y="744"/>
                  </a:lnTo>
                  <a:lnTo>
                    <a:pt x="1182" y="742"/>
                  </a:lnTo>
                  <a:lnTo>
                    <a:pt x="1184" y="739"/>
                  </a:lnTo>
                  <a:lnTo>
                    <a:pt x="1185" y="738"/>
                  </a:lnTo>
                  <a:lnTo>
                    <a:pt x="1187" y="737"/>
                  </a:lnTo>
                  <a:lnTo>
                    <a:pt x="1191" y="736"/>
                  </a:lnTo>
                  <a:lnTo>
                    <a:pt x="1273" y="736"/>
                  </a:lnTo>
                  <a:lnTo>
                    <a:pt x="1277" y="737"/>
                  </a:lnTo>
                  <a:lnTo>
                    <a:pt x="1280" y="739"/>
                  </a:lnTo>
                  <a:lnTo>
                    <a:pt x="1281" y="740"/>
                  </a:lnTo>
                  <a:lnTo>
                    <a:pt x="1282" y="742"/>
                  </a:lnTo>
                  <a:lnTo>
                    <a:pt x="1283" y="744"/>
                  </a:lnTo>
                  <a:lnTo>
                    <a:pt x="1283" y="746"/>
                  </a:lnTo>
                  <a:lnTo>
                    <a:pt x="1283" y="991"/>
                  </a:lnTo>
                  <a:lnTo>
                    <a:pt x="1283" y="1002"/>
                  </a:lnTo>
                  <a:lnTo>
                    <a:pt x="1283" y="1007"/>
                  </a:lnTo>
                  <a:lnTo>
                    <a:pt x="1282" y="1013"/>
                  </a:lnTo>
                  <a:lnTo>
                    <a:pt x="1281" y="1023"/>
                  </a:lnTo>
                  <a:lnTo>
                    <a:pt x="1280" y="1033"/>
                  </a:lnTo>
                  <a:lnTo>
                    <a:pt x="1278" y="1042"/>
                  </a:lnTo>
                  <a:lnTo>
                    <a:pt x="1275" y="1051"/>
                  </a:lnTo>
                  <a:lnTo>
                    <a:pt x="1273" y="1060"/>
                  </a:lnTo>
                  <a:lnTo>
                    <a:pt x="1270" y="1068"/>
                  </a:lnTo>
                  <a:lnTo>
                    <a:pt x="1266" y="1076"/>
                  </a:lnTo>
                  <a:lnTo>
                    <a:pt x="1262" y="1084"/>
                  </a:lnTo>
                  <a:lnTo>
                    <a:pt x="1254" y="1098"/>
                  </a:lnTo>
                  <a:lnTo>
                    <a:pt x="1249" y="1104"/>
                  </a:lnTo>
                  <a:lnTo>
                    <a:pt x="1244" y="1110"/>
                  </a:lnTo>
                  <a:lnTo>
                    <a:pt x="1239" y="1116"/>
                  </a:lnTo>
                  <a:lnTo>
                    <a:pt x="1233" y="1121"/>
                  </a:lnTo>
                  <a:lnTo>
                    <a:pt x="1227" y="1126"/>
                  </a:lnTo>
                  <a:lnTo>
                    <a:pt x="1221" y="1131"/>
                  </a:lnTo>
                  <a:lnTo>
                    <a:pt x="1214" y="1135"/>
                  </a:lnTo>
                  <a:lnTo>
                    <a:pt x="1207" y="1139"/>
                  </a:lnTo>
                  <a:lnTo>
                    <a:pt x="1200" y="1143"/>
                  </a:lnTo>
                  <a:lnTo>
                    <a:pt x="1193" y="1146"/>
                  </a:lnTo>
                  <a:lnTo>
                    <a:pt x="1178" y="1152"/>
                  </a:lnTo>
                  <a:lnTo>
                    <a:pt x="1170" y="1154"/>
                  </a:lnTo>
                  <a:lnTo>
                    <a:pt x="1162" y="1156"/>
                  </a:lnTo>
                  <a:lnTo>
                    <a:pt x="1154" y="1158"/>
                  </a:lnTo>
                  <a:lnTo>
                    <a:pt x="1145" y="1159"/>
                  </a:lnTo>
                  <a:lnTo>
                    <a:pt x="1137" y="1160"/>
                  </a:lnTo>
                  <a:lnTo>
                    <a:pt x="1128" y="1161"/>
                  </a:lnTo>
                  <a:lnTo>
                    <a:pt x="1119" y="1162"/>
                  </a:lnTo>
                  <a:lnTo>
                    <a:pt x="1110" y="1162"/>
                  </a:lnTo>
                  <a:lnTo>
                    <a:pt x="1092" y="1161"/>
                  </a:lnTo>
                  <a:lnTo>
                    <a:pt x="1075" y="1159"/>
                  </a:lnTo>
                  <a:lnTo>
                    <a:pt x="1066" y="1158"/>
                  </a:lnTo>
                  <a:lnTo>
                    <a:pt x="1058" y="1156"/>
                  </a:lnTo>
                  <a:lnTo>
                    <a:pt x="1042" y="1152"/>
                  </a:lnTo>
                  <a:lnTo>
                    <a:pt x="1035" y="1149"/>
                  </a:lnTo>
                  <a:lnTo>
                    <a:pt x="1027" y="1146"/>
                  </a:lnTo>
                  <a:lnTo>
                    <a:pt x="1020" y="1143"/>
                  </a:lnTo>
                  <a:lnTo>
                    <a:pt x="1013" y="1139"/>
                  </a:lnTo>
                  <a:lnTo>
                    <a:pt x="1006" y="1135"/>
                  </a:lnTo>
                  <a:lnTo>
                    <a:pt x="1000" y="1131"/>
                  </a:lnTo>
                  <a:lnTo>
                    <a:pt x="993" y="1126"/>
                  </a:lnTo>
                  <a:lnTo>
                    <a:pt x="987" y="1121"/>
                  </a:lnTo>
                  <a:lnTo>
                    <a:pt x="982" y="1116"/>
                  </a:lnTo>
                  <a:lnTo>
                    <a:pt x="976" y="1110"/>
                  </a:lnTo>
                  <a:lnTo>
                    <a:pt x="966" y="1098"/>
                  </a:lnTo>
                  <a:lnTo>
                    <a:pt x="962" y="1091"/>
                  </a:lnTo>
                  <a:lnTo>
                    <a:pt x="958" y="1084"/>
                  </a:lnTo>
                  <a:lnTo>
                    <a:pt x="954" y="1076"/>
                  </a:lnTo>
                  <a:lnTo>
                    <a:pt x="951" y="1068"/>
                  </a:lnTo>
                  <a:lnTo>
                    <a:pt x="948" y="1060"/>
                  </a:lnTo>
                  <a:lnTo>
                    <a:pt x="945" y="1051"/>
                  </a:lnTo>
                  <a:lnTo>
                    <a:pt x="943" y="1042"/>
                  </a:lnTo>
                  <a:lnTo>
                    <a:pt x="941" y="1033"/>
                  </a:lnTo>
                  <a:lnTo>
                    <a:pt x="939" y="1023"/>
                  </a:lnTo>
                  <a:lnTo>
                    <a:pt x="938" y="1013"/>
                  </a:lnTo>
                  <a:lnTo>
                    <a:pt x="937" y="1002"/>
                  </a:lnTo>
                  <a:lnTo>
                    <a:pt x="937" y="991"/>
                  </a:lnTo>
                  <a:close/>
                  <a:moveTo>
                    <a:pt x="1479" y="824"/>
                  </a:moveTo>
                  <a:lnTo>
                    <a:pt x="1479" y="934"/>
                  </a:lnTo>
                  <a:lnTo>
                    <a:pt x="1514" y="934"/>
                  </a:lnTo>
                  <a:lnTo>
                    <a:pt x="1520" y="933"/>
                  </a:lnTo>
                  <a:lnTo>
                    <a:pt x="1526" y="933"/>
                  </a:lnTo>
                  <a:lnTo>
                    <a:pt x="1532" y="932"/>
                  </a:lnTo>
                  <a:lnTo>
                    <a:pt x="1538" y="930"/>
                  </a:lnTo>
                  <a:lnTo>
                    <a:pt x="1543" y="928"/>
                  </a:lnTo>
                  <a:lnTo>
                    <a:pt x="1547" y="926"/>
                  </a:lnTo>
                  <a:lnTo>
                    <a:pt x="1551" y="923"/>
                  </a:lnTo>
                  <a:lnTo>
                    <a:pt x="1555" y="919"/>
                  </a:lnTo>
                  <a:lnTo>
                    <a:pt x="1559" y="916"/>
                  </a:lnTo>
                  <a:lnTo>
                    <a:pt x="1562" y="912"/>
                  </a:lnTo>
                  <a:lnTo>
                    <a:pt x="1564" y="907"/>
                  </a:lnTo>
                  <a:lnTo>
                    <a:pt x="1566" y="902"/>
                  </a:lnTo>
                  <a:lnTo>
                    <a:pt x="1568" y="897"/>
                  </a:lnTo>
                  <a:lnTo>
                    <a:pt x="1569" y="891"/>
                  </a:lnTo>
                  <a:lnTo>
                    <a:pt x="1570" y="885"/>
                  </a:lnTo>
                  <a:lnTo>
                    <a:pt x="1570" y="879"/>
                  </a:lnTo>
                  <a:lnTo>
                    <a:pt x="1570" y="872"/>
                  </a:lnTo>
                  <a:lnTo>
                    <a:pt x="1569" y="866"/>
                  </a:lnTo>
                  <a:lnTo>
                    <a:pt x="1568" y="861"/>
                  </a:lnTo>
                  <a:lnTo>
                    <a:pt x="1566" y="855"/>
                  </a:lnTo>
                  <a:lnTo>
                    <a:pt x="1564" y="850"/>
                  </a:lnTo>
                  <a:lnTo>
                    <a:pt x="1562" y="846"/>
                  </a:lnTo>
                  <a:lnTo>
                    <a:pt x="1559" y="842"/>
                  </a:lnTo>
                  <a:lnTo>
                    <a:pt x="1555" y="838"/>
                  </a:lnTo>
                  <a:lnTo>
                    <a:pt x="1551" y="835"/>
                  </a:lnTo>
                  <a:lnTo>
                    <a:pt x="1547" y="832"/>
                  </a:lnTo>
                  <a:lnTo>
                    <a:pt x="1543" y="829"/>
                  </a:lnTo>
                  <a:lnTo>
                    <a:pt x="1538" y="827"/>
                  </a:lnTo>
                  <a:lnTo>
                    <a:pt x="1535" y="826"/>
                  </a:lnTo>
                  <a:lnTo>
                    <a:pt x="1532" y="826"/>
                  </a:lnTo>
                  <a:lnTo>
                    <a:pt x="1526" y="825"/>
                  </a:lnTo>
                  <a:lnTo>
                    <a:pt x="1520" y="824"/>
                  </a:lnTo>
                  <a:lnTo>
                    <a:pt x="1514" y="824"/>
                  </a:lnTo>
                  <a:lnTo>
                    <a:pt x="1479" y="824"/>
                  </a:lnTo>
                  <a:close/>
                  <a:moveTo>
                    <a:pt x="1514" y="736"/>
                  </a:moveTo>
                  <a:lnTo>
                    <a:pt x="1532" y="737"/>
                  </a:lnTo>
                  <a:lnTo>
                    <a:pt x="1549" y="738"/>
                  </a:lnTo>
                  <a:lnTo>
                    <a:pt x="1557" y="740"/>
                  </a:lnTo>
                  <a:lnTo>
                    <a:pt x="1565" y="741"/>
                  </a:lnTo>
                  <a:lnTo>
                    <a:pt x="1580" y="745"/>
                  </a:lnTo>
                  <a:lnTo>
                    <a:pt x="1588" y="748"/>
                  </a:lnTo>
                  <a:lnTo>
                    <a:pt x="1595" y="750"/>
                  </a:lnTo>
                  <a:lnTo>
                    <a:pt x="1608" y="757"/>
                  </a:lnTo>
                  <a:lnTo>
                    <a:pt x="1620" y="764"/>
                  </a:lnTo>
                  <a:lnTo>
                    <a:pt x="1626" y="768"/>
                  </a:lnTo>
                  <a:lnTo>
                    <a:pt x="1631" y="773"/>
                  </a:lnTo>
                  <a:lnTo>
                    <a:pt x="1637" y="777"/>
                  </a:lnTo>
                  <a:lnTo>
                    <a:pt x="1641" y="782"/>
                  </a:lnTo>
                  <a:lnTo>
                    <a:pt x="1646" y="787"/>
                  </a:lnTo>
                  <a:lnTo>
                    <a:pt x="1650" y="793"/>
                  </a:lnTo>
                  <a:lnTo>
                    <a:pt x="1654" y="798"/>
                  </a:lnTo>
                  <a:lnTo>
                    <a:pt x="1658" y="804"/>
                  </a:lnTo>
                  <a:lnTo>
                    <a:pt x="1661" y="811"/>
                  </a:lnTo>
                  <a:lnTo>
                    <a:pt x="1664" y="817"/>
                  </a:lnTo>
                  <a:lnTo>
                    <a:pt x="1667" y="824"/>
                  </a:lnTo>
                  <a:lnTo>
                    <a:pt x="1669" y="831"/>
                  </a:lnTo>
                  <a:lnTo>
                    <a:pt x="1671" y="838"/>
                  </a:lnTo>
                  <a:lnTo>
                    <a:pt x="1673" y="846"/>
                  </a:lnTo>
                  <a:lnTo>
                    <a:pt x="1674" y="854"/>
                  </a:lnTo>
                  <a:lnTo>
                    <a:pt x="1675" y="862"/>
                  </a:lnTo>
                  <a:lnTo>
                    <a:pt x="1676" y="870"/>
                  </a:lnTo>
                  <a:lnTo>
                    <a:pt x="1676" y="879"/>
                  </a:lnTo>
                  <a:lnTo>
                    <a:pt x="1676" y="887"/>
                  </a:lnTo>
                  <a:lnTo>
                    <a:pt x="1675" y="896"/>
                  </a:lnTo>
                  <a:lnTo>
                    <a:pt x="1674" y="904"/>
                  </a:lnTo>
                  <a:lnTo>
                    <a:pt x="1673" y="911"/>
                  </a:lnTo>
                  <a:lnTo>
                    <a:pt x="1669" y="926"/>
                  </a:lnTo>
                  <a:lnTo>
                    <a:pt x="1667" y="933"/>
                  </a:lnTo>
                  <a:lnTo>
                    <a:pt x="1664" y="940"/>
                  </a:lnTo>
                  <a:lnTo>
                    <a:pt x="1658" y="953"/>
                  </a:lnTo>
                  <a:lnTo>
                    <a:pt x="1654" y="959"/>
                  </a:lnTo>
                  <a:lnTo>
                    <a:pt x="1650" y="965"/>
                  </a:lnTo>
                  <a:lnTo>
                    <a:pt x="1642" y="975"/>
                  </a:lnTo>
                  <a:lnTo>
                    <a:pt x="1632" y="985"/>
                  </a:lnTo>
                  <a:lnTo>
                    <a:pt x="1626" y="989"/>
                  </a:lnTo>
                  <a:lnTo>
                    <a:pt x="1620" y="993"/>
                  </a:lnTo>
                  <a:lnTo>
                    <a:pt x="1614" y="997"/>
                  </a:lnTo>
                  <a:lnTo>
                    <a:pt x="1608" y="1001"/>
                  </a:lnTo>
                  <a:lnTo>
                    <a:pt x="1595" y="1007"/>
                  </a:lnTo>
                  <a:lnTo>
                    <a:pt x="1588" y="1009"/>
                  </a:lnTo>
                  <a:lnTo>
                    <a:pt x="1580" y="1012"/>
                  </a:lnTo>
                  <a:lnTo>
                    <a:pt x="1565" y="1016"/>
                  </a:lnTo>
                  <a:lnTo>
                    <a:pt x="1557" y="1018"/>
                  </a:lnTo>
                  <a:lnTo>
                    <a:pt x="1549" y="1019"/>
                  </a:lnTo>
                  <a:lnTo>
                    <a:pt x="1532" y="1021"/>
                  </a:lnTo>
                  <a:lnTo>
                    <a:pt x="1523" y="1021"/>
                  </a:lnTo>
                  <a:lnTo>
                    <a:pt x="1514" y="1021"/>
                  </a:lnTo>
                  <a:lnTo>
                    <a:pt x="1479" y="1021"/>
                  </a:lnTo>
                  <a:lnTo>
                    <a:pt x="1479" y="1145"/>
                  </a:lnTo>
                  <a:lnTo>
                    <a:pt x="1479" y="1147"/>
                  </a:lnTo>
                  <a:lnTo>
                    <a:pt x="1479" y="1149"/>
                  </a:lnTo>
                  <a:lnTo>
                    <a:pt x="1477" y="1152"/>
                  </a:lnTo>
                  <a:lnTo>
                    <a:pt x="1475" y="1153"/>
                  </a:lnTo>
                  <a:lnTo>
                    <a:pt x="1473" y="1154"/>
                  </a:lnTo>
                  <a:lnTo>
                    <a:pt x="1469" y="1155"/>
                  </a:lnTo>
                  <a:lnTo>
                    <a:pt x="1387" y="1155"/>
                  </a:lnTo>
                  <a:lnTo>
                    <a:pt x="1383" y="1154"/>
                  </a:lnTo>
                  <a:lnTo>
                    <a:pt x="1380" y="1152"/>
                  </a:lnTo>
                  <a:lnTo>
                    <a:pt x="1379" y="1150"/>
                  </a:lnTo>
                  <a:lnTo>
                    <a:pt x="1378" y="1149"/>
                  </a:lnTo>
                  <a:lnTo>
                    <a:pt x="1377" y="1147"/>
                  </a:lnTo>
                  <a:lnTo>
                    <a:pt x="1377" y="1145"/>
                  </a:lnTo>
                  <a:lnTo>
                    <a:pt x="1377" y="746"/>
                  </a:lnTo>
                  <a:lnTo>
                    <a:pt x="1377" y="744"/>
                  </a:lnTo>
                  <a:lnTo>
                    <a:pt x="1378" y="742"/>
                  </a:lnTo>
                  <a:lnTo>
                    <a:pt x="1380" y="739"/>
                  </a:lnTo>
                  <a:lnTo>
                    <a:pt x="1381" y="738"/>
                  </a:lnTo>
                  <a:lnTo>
                    <a:pt x="1383" y="737"/>
                  </a:lnTo>
                  <a:lnTo>
                    <a:pt x="1387" y="736"/>
                  </a:lnTo>
                  <a:lnTo>
                    <a:pt x="1514" y="736"/>
                  </a:lnTo>
                  <a:close/>
                  <a:moveTo>
                    <a:pt x="2767" y="1006"/>
                  </a:moveTo>
                  <a:lnTo>
                    <a:pt x="2866" y="1006"/>
                  </a:lnTo>
                  <a:lnTo>
                    <a:pt x="2817" y="875"/>
                  </a:lnTo>
                  <a:lnTo>
                    <a:pt x="2767" y="1006"/>
                  </a:lnTo>
                  <a:close/>
                  <a:moveTo>
                    <a:pt x="2897" y="1088"/>
                  </a:moveTo>
                  <a:lnTo>
                    <a:pt x="2737" y="1088"/>
                  </a:lnTo>
                  <a:lnTo>
                    <a:pt x="2715" y="1145"/>
                  </a:lnTo>
                  <a:lnTo>
                    <a:pt x="2714" y="1148"/>
                  </a:lnTo>
                  <a:lnTo>
                    <a:pt x="2713" y="1150"/>
                  </a:lnTo>
                  <a:lnTo>
                    <a:pt x="2711" y="1151"/>
                  </a:lnTo>
                  <a:lnTo>
                    <a:pt x="2710" y="1153"/>
                  </a:lnTo>
                  <a:lnTo>
                    <a:pt x="2706" y="1154"/>
                  </a:lnTo>
                  <a:lnTo>
                    <a:pt x="2701" y="1155"/>
                  </a:lnTo>
                  <a:lnTo>
                    <a:pt x="2623" y="1155"/>
                  </a:lnTo>
                  <a:lnTo>
                    <a:pt x="2620" y="1155"/>
                  </a:lnTo>
                  <a:lnTo>
                    <a:pt x="2618" y="1154"/>
                  </a:lnTo>
                  <a:lnTo>
                    <a:pt x="2616" y="1153"/>
                  </a:lnTo>
                  <a:lnTo>
                    <a:pt x="2614" y="1151"/>
                  </a:lnTo>
                  <a:lnTo>
                    <a:pt x="2613" y="1149"/>
                  </a:lnTo>
                  <a:lnTo>
                    <a:pt x="2613" y="1147"/>
                  </a:lnTo>
                  <a:lnTo>
                    <a:pt x="2613" y="1144"/>
                  </a:lnTo>
                  <a:lnTo>
                    <a:pt x="2614" y="1141"/>
                  </a:lnTo>
                  <a:lnTo>
                    <a:pt x="2769" y="746"/>
                  </a:lnTo>
                  <a:lnTo>
                    <a:pt x="2770" y="743"/>
                  </a:lnTo>
                  <a:lnTo>
                    <a:pt x="2772" y="741"/>
                  </a:lnTo>
                  <a:lnTo>
                    <a:pt x="2775" y="738"/>
                  </a:lnTo>
                  <a:lnTo>
                    <a:pt x="2779" y="737"/>
                  </a:lnTo>
                  <a:lnTo>
                    <a:pt x="2781" y="736"/>
                  </a:lnTo>
                  <a:lnTo>
                    <a:pt x="2783" y="736"/>
                  </a:lnTo>
                  <a:lnTo>
                    <a:pt x="2853" y="736"/>
                  </a:lnTo>
                  <a:lnTo>
                    <a:pt x="2858" y="737"/>
                  </a:lnTo>
                  <a:lnTo>
                    <a:pt x="2861" y="738"/>
                  </a:lnTo>
                  <a:lnTo>
                    <a:pt x="2864" y="741"/>
                  </a:lnTo>
                  <a:lnTo>
                    <a:pt x="2865" y="743"/>
                  </a:lnTo>
                  <a:lnTo>
                    <a:pt x="2866" y="746"/>
                  </a:lnTo>
                  <a:lnTo>
                    <a:pt x="3022" y="1141"/>
                  </a:lnTo>
                  <a:lnTo>
                    <a:pt x="3023" y="1144"/>
                  </a:lnTo>
                  <a:lnTo>
                    <a:pt x="3023" y="1147"/>
                  </a:lnTo>
                  <a:lnTo>
                    <a:pt x="3023" y="1149"/>
                  </a:lnTo>
                  <a:lnTo>
                    <a:pt x="3021" y="1151"/>
                  </a:lnTo>
                  <a:lnTo>
                    <a:pt x="3020" y="1153"/>
                  </a:lnTo>
                  <a:lnTo>
                    <a:pt x="3018" y="1154"/>
                  </a:lnTo>
                  <a:lnTo>
                    <a:pt x="3016" y="1155"/>
                  </a:lnTo>
                  <a:lnTo>
                    <a:pt x="3013" y="1155"/>
                  </a:lnTo>
                  <a:lnTo>
                    <a:pt x="2933" y="1155"/>
                  </a:lnTo>
                  <a:lnTo>
                    <a:pt x="2928" y="1154"/>
                  </a:lnTo>
                  <a:lnTo>
                    <a:pt x="2926" y="1154"/>
                  </a:lnTo>
                  <a:lnTo>
                    <a:pt x="2925" y="1153"/>
                  </a:lnTo>
                  <a:lnTo>
                    <a:pt x="2923" y="1151"/>
                  </a:lnTo>
                  <a:lnTo>
                    <a:pt x="2921" y="1150"/>
                  </a:lnTo>
                  <a:lnTo>
                    <a:pt x="2920" y="1148"/>
                  </a:lnTo>
                  <a:lnTo>
                    <a:pt x="2919" y="1145"/>
                  </a:lnTo>
                  <a:lnTo>
                    <a:pt x="2897" y="1088"/>
                  </a:lnTo>
                  <a:close/>
                  <a:moveTo>
                    <a:pt x="696" y="2625"/>
                  </a:moveTo>
                  <a:lnTo>
                    <a:pt x="614" y="2625"/>
                  </a:lnTo>
                  <a:lnTo>
                    <a:pt x="610" y="2624"/>
                  </a:lnTo>
                  <a:lnTo>
                    <a:pt x="607" y="2622"/>
                  </a:lnTo>
                  <a:lnTo>
                    <a:pt x="605" y="2621"/>
                  </a:lnTo>
                  <a:lnTo>
                    <a:pt x="605" y="2619"/>
                  </a:lnTo>
                  <a:lnTo>
                    <a:pt x="604" y="2617"/>
                  </a:lnTo>
                  <a:lnTo>
                    <a:pt x="604" y="2615"/>
                  </a:lnTo>
                  <a:lnTo>
                    <a:pt x="604" y="2217"/>
                  </a:lnTo>
                  <a:lnTo>
                    <a:pt x="604" y="2214"/>
                  </a:lnTo>
                  <a:lnTo>
                    <a:pt x="605" y="2212"/>
                  </a:lnTo>
                  <a:lnTo>
                    <a:pt x="607" y="2209"/>
                  </a:lnTo>
                  <a:lnTo>
                    <a:pt x="608" y="2208"/>
                  </a:lnTo>
                  <a:lnTo>
                    <a:pt x="610" y="2207"/>
                  </a:lnTo>
                  <a:lnTo>
                    <a:pt x="614" y="2207"/>
                  </a:lnTo>
                  <a:lnTo>
                    <a:pt x="696" y="2207"/>
                  </a:lnTo>
                  <a:lnTo>
                    <a:pt x="700" y="2207"/>
                  </a:lnTo>
                  <a:lnTo>
                    <a:pt x="703" y="2209"/>
                  </a:lnTo>
                  <a:lnTo>
                    <a:pt x="704" y="2211"/>
                  </a:lnTo>
                  <a:lnTo>
                    <a:pt x="705" y="2212"/>
                  </a:lnTo>
                  <a:lnTo>
                    <a:pt x="706" y="2214"/>
                  </a:lnTo>
                  <a:lnTo>
                    <a:pt x="706" y="2217"/>
                  </a:lnTo>
                  <a:lnTo>
                    <a:pt x="706" y="2392"/>
                  </a:lnTo>
                  <a:lnTo>
                    <a:pt x="850" y="2216"/>
                  </a:lnTo>
                  <a:lnTo>
                    <a:pt x="854" y="2212"/>
                  </a:lnTo>
                  <a:lnTo>
                    <a:pt x="856" y="2210"/>
                  </a:lnTo>
                  <a:lnTo>
                    <a:pt x="858" y="2209"/>
                  </a:lnTo>
                  <a:lnTo>
                    <a:pt x="860" y="2208"/>
                  </a:lnTo>
                  <a:lnTo>
                    <a:pt x="863" y="2207"/>
                  </a:lnTo>
                  <a:lnTo>
                    <a:pt x="865" y="2207"/>
                  </a:lnTo>
                  <a:lnTo>
                    <a:pt x="868" y="2207"/>
                  </a:lnTo>
                  <a:lnTo>
                    <a:pt x="964" y="2207"/>
                  </a:lnTo>
                  <a:lnTo>
                    <a:pt x="967" y="2207"/>
                  </a:lnTo>
                  <a:lnTo>
                    <a:pt x="969" y="2208"/>
                  </a:lnTo>
                  <a:lnTo>
                    <a:pt x="971" y="2210"/>
                  </a:lnTo>
                  <a:lnTo>
                    <a:pt x="972" y="2212"/>
                  </a:lnTo>
                  <a:lnTo>
                    <a:pt x="972" y="2214"/>
                  </a:lnTo>
                  <a:lnTo>
                    <a:pt x="972" y="2216"/>
                  </a:lnTo>
                  <a:lnTo>
                    <a:pt x="971" y="2219"/>
                  </a:lnTo>
                  <a:lnTo>
                    <a:pt x="970" y="2221"/>
                  </a:lnTo>
                  <a:lnTo>
                    <a:pt x="838" y="2382"/>
                  </a:lnTo>
                  <a:lnTo>
                    <a:pt x="974" y="2612"/>
                  </a:lnTo>
                  <a:lnTo>
                    <a:pt x="975" y="2614"/>
                  </a:lnTo>
                  <a:lnTo>
                    <a:pt x="975" y="2617"/>
                  </a:lnTo>
                  <a:lnTo>
                    <a:pt x="975" y="2619"/>
                  </a:lnTo>
                  <a:lnTo>
                    <a:pt x="975" y="2621"/>
                  </a:lnTo>
                  <a:lnTo>
                    <a:pt x="974" y="2623"/>
                  </a:lnTo>
                  <a:lnTo>
                    <a:pt x="972" y="2624"/>
                  </a:lnTo>
                  <a:lnTo>
                    <a:pt x="970" y="2625"/>
                  </a:lnTo>
                  <a:lnTo>
                    <a:pt x="967" y="2625"/>
                  </a:lnTo>
                  <a:lnTo>
                    <a:pt x="871" y="2625"/>
                  </a:lnTo>
                  <a:lnTo>
                    <a:pt x="867" y="2625"/>
                  </a:lnTo>
                  <a:lnTo>
                    <a:pt x="862" y="2623"/>
                  </a:lnTo>
                  <a:lnTo>
                    <a:pt x="861" y="2622"/>
                  </a:lnTo>
                  <a:lnTo>
                    <a:pt x="859" y="2620"/>
                  </a:lnTo>
                  <a:lnTo>
                    <a:pt x="856" y="2616"/>
                  </a:lnTo>
                  <a:lnTo>
                    <a:pt x="759" y="2450"/>
                  </a:lnTo>
                  <a:lnTo>
                    <a:pt x="706" y="2514"/>
                  </a:lnTo>
                  <a:lnTo>
                    <a:pt x="706" y="2615"/>
                  </a:lnTo>
                  <a:lnTo>
                    <a:pt x="706" y="2617"/>
                  </a:lnTo>
                  <a:lnTo>
                    <a:pt x="705" y="2619"/>
                  </a:lnTo>
                  <a:lnTo>
                    <a:pt x="703" y="2622"/>
                  </a:lnTo>
                  <a:lnTo>
                    <a:pt x="702" y="2624"/>
                  </a:lnTo>
                  <a:lnTo>
                    <a:pt x="700" y="2624"/>
                  </a:lnTo>
                  <a:lnTo>
                    <a:pt x="696" y="2625"/>
                  </a:lnTo>
                  <a:close/>
                  <a:moveTo>
                    <a:pt x="1288" y="2177"/>
                  </a:moveTo>
                  <a:lnTo>
                    <a:pt x="1283" y="2177"/>
                  </a:lnTo>
                  <a:lnTo>
                    <a:pt x="1278" y="2176"/>
                  </a:lnTo>
                  <a:lnTo>
                    <a:pt x="1273" y="2175"/>
                  </a:lnTo>
                  <a:lnTo>
                    <a:pt x="1268" y="2173"/>
                  </a:lnTo>
                  <a:lnTo>
                    <a:pt x="1260" y="2169"/>
                  </a:lnTo>
                  <a:lnTo>
                    <a:pt x="1256" y="2166"/>
                  </a:lnTo>
                  <a:lnTo>
                    <a:pt x="1253" y="2163"/>
                  </a:lnTo>
                  <a:lnTo>
                    <a:pt x="1249" y="2160"/>
                  </a:lnTo>
                  <a:lnTo>
                    <a:pt x="1247" y="2156"/>
                  </a:lnTo>
                  <a:lnTo>
                    <a:pt x="1244" y="2152"/>
                  </a:lnTo>
                  <a:lnTo>
                    <a:pt x="1242" y="2148"/>
                  </a:lnTo>
                  <a:lnTo>
                    <a:pt x="1241" y="2143"/>
                  </a:lnTo>
                  <a:lnTo>
                    <a:pt x="1240" y="2138"/>
                  </a:lnTo>
                  <a:lnTo>
                    <a:pt x="1239" y="2133"/>
                  </a:lnTo>
                  <a:lnTo>
                    <a:pt x="1239" y="2128"/>
                  </a:lnTo>
                  <a:lnTo>
                    <a:pt x="1239" y="2123"/>
                  </a:lnTo>
                  <a:lnTo>
                    <a:pt x="1240" y="2118"/>
                  </a:lnTo>
                  <a:lnTo>
                    <a:pt x="1241" y="2113"/>
                  </a:lnTo>
                  <a:lnTo>
                    <a:pt x="1242" y="2108"/>
                  </a:lnTo>
                  <a:lnTo>
                    <a:pt x="1244" y="2104"/>
                  </a:lnTo>
                  <a:lnTo>
                    <a:pt x="1247" y="2100"/>
                  </a:lnTo>
                  <a:lnTo>
                    <a:pt x="1249" y="2096"/>
                  </a:lnTo>
                  <a:lnTo>
                    <a:pt x="1253" y="2093"/>
                  </a:lnTo>
                  <a:lnTo>
                    <a:pt x="1256" y="2090"/>
                  </a:lnTo>
                  <a:lnTo>
                    <a:pt x="1260" y="2087"/>
                  </a:lnTo>
                  <a:lnTo>
                    <a:pt x="1264" y="2084"/>
                  </a:lnTo>
                  <a:lnTo>
                    <a:pt x="1268" y="2082"/>
                  </a:lnTo>
                  <a:lnTo>
                    <a:pt x="1273" y="2081"/>
                  </a:lnTo>
                  <a:lnTo>
                    <a:pt x="1278" y="2080"/>
                  </a:lnTo>
                  <a:lnTo>
                    <a:pt x="1283" y="2079"/>
                  </a:lnTo>
                  <a:lnTo>
                    <a:pt x="1288" y="2079"/>
                  </a:lnTo>
                  <a:lnTo>
                    <a:pt x="1294" y="2079"/>
                  </a:lnTo>
                  <a:lnTo>
                    <a:pt x="1299" y="2080"/>
                  </a:lnTo>
                  <a:lnTo>
                    <a:pt x="1304" y="2081"/>
                  </a:lnTo>
                  <a:lnTo>
                    <a:pt x="1308" y="2082"/>
                  </a:lnTo>
                  <a:lnTo>
                    <a:pt x="1317" y="2087"/>
                  </a:lnTo>
                  <a:lnTo>
                    <a:pt x="1320" y="2090"/>
                  </a:lnTo>
                  <a:lnTo>
                    <a:pt x="1324" y="2093"/>
                  </a:lnTo>
                  <a:lnTo>
                    <a:pt x="1327" y="2096"/>
                  </a:lnTo>
                  <a:lnTo>
                    <a:pt x="1330" y="2100"/>
                  </a:lnTo>
                  <a:lnTo>
                    <a:pt x="1332" y="2104"/>
                  </a:lnTo>
                  <a:lnTo>
                    <a:pt x="1334" y="2108"/>
                  </a:lnTo>
                  <a:lnTo>
                    <a:pt x="1336" y="2113"/>
                  </a:lnTo>
                  <a:lnTo>
                    <a:pt x="1337" y="2118"/>
                  </a:lnTo>
                  <a:lnTo>
                    <a:pt x="1338" y="2123"/>
                  </a:lnTo>
                  <a:lnTo>
                    <a:pt x="1338" y="2128"/>
                  </a:lnTo>
                  <a:lnTo>
                    <a:pt x="1338" y="2133"/>
                  </a:lnTo>
                  <a:lnTo>
                    <a:pt x="1337" y="2138"/>
                  </a:lnTo>
                  <a:lnTo>
                    <a:pt x="1336" y="2143"/>
                  </a:lnTo>
                  <a:lnTo>
                    <a:pt x="1334" y="2148"/>
                  </a:lnTo>
                  <a:lnTo>
                    <a:pt x="1332" y="2152"/>
                  </a:lnTo>
                  <a:lnTo>
                    <a:pt x="1330" y="2156"/>
                  </a:lnTo>
                  <a:lnTo>
                    <a:pt x="1327" y="2160"/>
                  </a:lnTo>
                  <a:lnTo>
                    <a:pt x="1324" y="2163"/>
                  </a:lnTo>
                  <a:lnTo>
                    <a:pt x="1320" y="2166"/>
                  </a:lnTo>
                  <a:lnTo>
                    <a:pt x="1317" y="2169"/>
                  </a:lnTo>
                  <a:lnTo>
                    <a:pt x="1313" y="2171"/>
                  </a:lnTo>
                  <a:lnTo>
                    <a:pt x="1308" y="2173"/>
                  </a:lnTo>
                  <a:lnTo>
                    <a:pt x="1304" y="2175"/>
                  </a:lnTo>
                  <a:lnTo>
                    <a:pt x="1299" y="2176"/>
                  </a:lnTo>
                  <a:lnTo>
                    <a:pt x="1294" y="2177"/>
                  </a:lnTo>
                  <a:lnTo>
                    <a:pt x="1288" y="2177"/>
                  </a:lnTo>
                  <a:close/>
                  <a:moveTo>
                    <a:pt x="1173" y="2477"/>
                  </a:moveTo>
                  <a:lnTo>
                    <a:pt x="1272" y="2477"/>
                  </a:lnTo>
                  <a:lnTo>
                    <a:pt x="1223" y="2345"/>
                  </a:lnTo>
                  <a:lnTo>
                    <a:pt x="1173" y="2477"/>
                  </a:lnTo>
                  <a:close/>
                  <a:moveTo>
                    <a:pt x="1303" y="2558"/>
                  </a:moveTo>
                  <a:lnTo>
                    <a:pt x="1143" y="2558"/>
                  </a:lnTo>
                  <a:lnTo>
                    <a:pt x="1121" y="2616"/>
                  </a:lnTo>
                  <a:lnTo>
                    <a:pt x="1120" y="2618"/>
                  </a:lnTo>
                  <a:lnTo>
                    <a:pt x="1119" y="2620"/>
                  </a:lnTo>
                  <a:lnTo>
                    <a:pt x="1117" y="2622"/>
                  </a:lnTo>
                  <a:lnTo>
                    <a:pt x="1115" y="2623"/>
                  </a:lnTo>
                  <a:lnTo>
                    <a:pt x="1112" y="2625"/>
                  </a:lnTo>
                  <a:lnTo>
                    <a:pt x="1107" y="2625"/>
                  </a:lnTo>
                  <a:lnTo>
                    <a:pt x="1029" y="2625"/>
                  </a:lnTo>
                  <a:lnTo>
                    <a:pt x="1026" y="2625"/>
                  </a:lnTo>
                  <a:lnTo>
                    <a:pt x="1024" y="2624"/>
                  </a:lnTo>
                  <a:lnTo>
                    <a:pt x="1022" y="2623"/>
                  </a:lnTo>
                  <a:lnTo>
                    <a:pt x="1020" y="2622"/>
                  </a:lnTo>
                  <a:lnTo>
                    <a:pt x="1019" y="2620"/>
                  </a:lnTo>
                  <a:lnTo>
                    <a:pt x="1019" y="2617"/>
                  </a:lnTo>
                  <a:lnTo>
                    <a:pt x="1019" y="2615"/>
                  </a:lnTo>
                  <a:lnTo>
                    <a:pt x="1020" y="2612"/>
                  </a:lnTo>
                  <a:lnTo>
                    <a:pt x="1175" y="2216"/>
                  </a:lnTo>
                  <a:lnTo>
                    <a:pt x="1176" y="2214"/>
                  </a:lnTo>
                  <a:lnTo>
                    <a:pt x="1178" y="2212"/>
                  </a:lnTo>
                  <a:lnTo>
                    <a:pt x="1181" y="2209"/>
                  </a:lnTo>
                  <a:lnTo>
                    <a:pt x="1184" y="2207"/>
                  </a:lnTo>
                  <a:lnTo>
                    <a:pt x="1187" y="2207"/>
                  </a:lnTo>
                  <a:lnTo>
                    <a:pt x="1189" y="2207"/>
                  </a:lnTo>
                  <a:lnTo>
                    <a:pt x="1259" y="2207"/>
                  </a:lnTo>
                  <a:lnTo>
                    <a:pt x="1263" y="2207"/>
                  </a:lnTo>
                  <a:lnTo>
                    <a:pt x="1267" y="2209"/>
                  </a:lnTo>
                  <a:lnTo>
                    <a:pt x="1270" y="2212"/>
                  </a:lnTo>
                  <a:lnTo>
                    <a:pt x="1271" y="2214"/>
                  </a:lnTo>
                  <a:lnTo>
                    <a:pt x="1272" y="2216"/>
                  </a:lnTo>
                  <a:lnTo>
                    <a:pt x="1428" y="2612"/>
                  </a:lnTo>
                  <a:lnTo>
                    <a:pt x="1429" y="2615"/>
                  </a:lnTo>
                  <a:lnTo>
                    <a:pt x="1429" y="2617"/>
                  </a:lnTo>
                  <a:lnTo>
                    <a:pt x="1428" y="2620"/>
                  </a:lnTo>
                  <a:lnTo>
                    <a:pt x="1427" y="2622"/>
                  </a:lnTo>
                  <a:lnTo>
                    <a:pt x="1426" y="2623"/>
                  </a:lnTo>
                  <a:lnTo>
                    <a:pt x="1424" y="2624"/>
                  </a:lnTo>
                  <a:lnTo>
                    <a:pt x="1421" y="2625"/>
                  </a:lnTo>
                  <a:lnTo>
                    <a:pt x="1419" y="2625"/>
                  </a:lnTo>
                  <a:lnTo>
                    <a:pt x="1339" y="2625"/>
                  </a:lnTo>
                  <a:lnTo>
                    <a:pt x="1334" y="2625"/>
                  </a:lnTo>
                  <a:lnTo>
                    <a:pt x="1332" y="2624"/>
                  </a:lnTo>
                  <a:lnTo>
                    <a:pt x="1330" y="2623"/>
                  </a:lnTo>
                  <a:lnTo>
                    <a:pt x="1329" y="2622"/>
                  </a:lnTo>
                  <a:lnTo>
                    <a:pt x="1327" y="2620"/>
                  </a:lnTo>
                  <a:lnTo>
                    <a:pt x="1326" y="2618"/>
                  </a:lnTo>
                  <a:lnTo>
                    <a:pt x="1325" y="2616"/>
                  </a:lnTo>
                  <a:lnTo>
                    <a:pt x="1303" y="2558"/>
                  </a:lnTo>
                  <a:close/>
                  <a:moveTo>
                    <a:pt x="1156" y="2177"/>
                  </a:moveTo>
                  <a:lnTo>
                    <a:pt x="1151" y="2177"/>
                  </a:lnTo>
                  <a:lnTo>
                    <a:pt x="1146" y="2176"/>
                  </a:lnTo>
                  <a:lnTo>
                    <a:pt x="1141" y="2175"/>
                  </a:lnTo>
                  <a:lnTo>
                    <a:pt x="1136" y="2173"/>
                  </a:lnTo>
                  <a:lnTo>
                    <a:pt x="1128" y="2169"/>
                  </a:lnTo>
                  <a:lnTo>
                    <a:pt x="1124" y="2166"/>
                  </a:lnTo>
                  <a:lnTo>
                    <a:pt x="1121" y="2163"/>
                  </a:lnTo>
                  <a:lnTo>
                    <a:pt x="1118" y="2160"/>
                  </a:lnTo>
                  <a:lnTo>
                    <a:pt x="1115" y="2156"/>
                  </a:lnTo>
                  <a:lnTo>
                    <a:pt x="1112" y="2152"/>
                  </a:lnTo>
                  <a:lnTo>
                    <a:pt x="1110" y="2148"/>
                  </a:lnTo>
                  <a:lnTo>
                    <a:pt x="1109" y="2143"/>
                  </a:lnTo>
                  <a:lnTo>
                    <a:pt x="1108" y="2138"/>
                  </a:lnTo>
                  <a:lnTo>
                    <a:pt x="1107" y="2133"/>
                  </a:lnTo>
                  <a:lnTo>
                    <a:pt x="1107" y="2128"/>
                  </a:lnTo>
                  <a:lnTo>
                    <a:pt x="1107" y="2123"/>
                  </a:lnTo>
                  <a:lnTo>
                    <a:pt x="1108" y="2118"/>
                  </a:lnTo>
                  <a:lnTo>
                    <a:pt x="1109" y="2113"/>
                  </a:lnTo>
                  <a:lnTo>
                    <a:pt x="1110" y="2108"/>
                  </a:lnTo>
                  <a:lnTo>
                    <a:pt x="1112" y="2104"/>
                  </a:lnTo>
                  <a:lnTo>
                    <a:pt x="1115" y="2100"/>
                  </a:lnTo>
                  <a:lnTo>
                    <a:pt x="1118" y="2096"/>
                  </a:lnTo>
                  <a:lnTo>
                    <a:pt x="1121" y="2093"/>
                  </a:lnTo>
                  <a:lnTo>
                    <a:pt x="1124" y="2090"/>
                  </a:lnTo>
                  <a:lnTo>
                    <a:pt x="1128" y="2087"/>
                  </a:lnTo>
                  <a:lnTo>
                    <a:pt x="1132" y="2084"/>
                  </a:lnTo>
                  <a:lnTo>
                    <a:pt x="1136" y="2082"/>
                  </a:lnTo>
                  <a:lnTo>
                    <a:pt x="1141" y="2081"/>
                  </a:lnTo>
                  <a:lnTo>
                    <a:pt x="1146" y="2080"/>
                  </a:lnTo>
                  <a:lnTo>
                    <a:pt x="1151" y="2079"/>
                  </a:lnTo>
                  <a:lnTo>
                    <a:pt x="1156" y="2079"/>
                  </a:lnTo>
                  <a:lnTo>
                    <a:pt x="1162" y="2079"/>
                  </a:lnTo>
                  <a:lnTo>
                    <a:pt x="1167" y="2080"/>
                  </a:lnTo>
                  <a:lnTo>
                    <a:pt x="1172" y="2081"/>
                  </a:lnTo>
                  <a:lnTo>
                    <a:pt x="1176" y="2082"/>
                  </a:lnTo>
                  <a:lnTo>
                    <a:pt x="1185" y="2087"/>
                  </a:lnTo>
                  <a:lnTo>
                    <a:pt x="1189" y="2090"/>
                  </a:lnTo>
                  <a:lnTo>
                    <a:pt x="1192" y="2093"/>
                  </a:lnTo>
                  <a:lnTo>
                    <a:pt x="1195" y="2096"/>
                  </a:lnTo>
                  <a:lnTo>
                    <a:pt x="1198" y="2100"/>
                  </a:lnTo>
                  <a:lnTo>
                    <a:pt x="1200" y="2104"/>
                  </a:lnTo>
                  <a:lnTo>
                    <a:pt x="1202" y="2108"/>
                  </a:lnTo>
                  <a:lnTo>
                    <a:pt x="1204" y="2113"/>
                  </a:lnTo>
                  <a:lnTo>
                    <a:pt x="1205" y="2118"/>
                  </a:lnTo>
                  <a:lnTo>
                    <a:pt x="1206" y="2123"/>
                  </a:lnTo>
                  <a:lnTo>
                    <a:pt x="1206" y="2128"/>
                  </a:lnTo>
                  <a:lnTo>
                    <a:pt x="1206" y="2133"/>
                  </a:lnTo>
                  <a:lnTo>
                    <a:pt x="1205" y="2138"/>
                  </a:lnTo>
                  <a:lnTo>
                    <a:pt x="1204" y="2143"/>
                  </a:lnTo>
                  <a:lnTo>
                    <a:pt x="1202" y="2148"/>
                  </a:lnTo>
                  <a:lnTo>
                    <a:pt x="1200" y="2152"/>
                  </a:lnTo>
                  <a:lnTo>
                    <a:pt x="1198" y="2156"/>
                  </a:lnTo>
                  <a:lnTo>
                    <a:pt x="1195" y="2160"/>
                  </a:lnTo>
                  <a:lnTo>
                    <a:pt x="1192" y="2163"/>
                  </a:lnTo>
                  <a:lnTo>
                    <a:pt x="1189" y="2166"/>
                  </a:lnTo>
                  <a:lnTo>
                    <a:pt x="1185" y="2169"/>
                  </a:lnTo>
                  <a:lnTo>
                    <a:pt x="1181" y="2171"/>
                  </a:lnTo>
                  <a:lnTo>
                    <a:pt x="1176" y="2173"/>
                  </a:lnTo>
                  <a:lnTo>
                    <a:pt x="1172" y="2175"/>
                  </a:lnTo>
                  <a:lnTo>
                    <a:pt x="1167" y="2176"/>
                  </a:lnTo>
                  <a:lnTo>
                    <a:pt x="1162" y="2177"/>
                  </a:lnTo>
                  <a:lnTo>
                    <a:pt x="1156" y="2177"/>
                  </a:lnTo>
                  <a:close/>
                  <a:moveTo>
                    <a:pt x="1624" y="2446"/>
                  </a:moveTo>
                  <a:lnTo>
                    <a:pt x="1624" y="2615"/>
                  </a:lnTo>
                  <a:lnTo>
                    <a:pt x="1624" y="2617"/>
                  </a:lnTo>
                  <a:lnTo>
                    <a:pt x="1623" y="2619"/>
                  </a:lnTo>
                  <a:lnTo>
                    <a:pt x="1622" y="2622"/>
                  </a:lnTo>
                  <a:lnTo>
                    <a:pt x="1620" y="2623"/>
                  </a:lnTo>
                  <a:lnTo>
                    <a:pt x="1619" y="2624"/>
                  </a:lnTo>
                  <a:lnTo>
                    <a:pt x="1617" y="2625"/>
                  </a:lnTo>
                  <a:lnTo>
                    <a:pt x="1615" y="2625"/>
                  </a:lnTo>
                  <a:lnTo>
                    <a:pt x="1536" y="2625"/>
                  </a:lnTo>
                  <a:lnTo>
                    <a:pt x="1532" y="2624"/>
                  </a:lnTo>
                  <a:lnTo>
                    <a:pt x="1529" y="2622"/>
                  </a:lnTo>
                  <a:lnTo>
                    <a:pt x="1527" y="2619"/>
                  </a:lnTo>
                  <a:lnTo>
                    <a:pt x="1527" y="2617"/>
                  </a:lnTo>
                  <a:lnTo>
                    <a:pt x="1526" y="2615"/>
                  </a:lnTo>
                  <a:lnTo>
                    <a:pt x="1526" y="2446"/>
                  </a:lnTo>
                  <a:lnTo>
                    <a:pt x="1430" y="2220"/>
                  </a:lnTo>
                  <a:lnTo>
                    <a:pt x="1429" y="2217"/>
                  </a:lnTo>
                  <a:lnTo>
                    <a:pt x="1429" y="2214"/>
                  </a:lnTo>
                  <a:lnTo>
                    <a:pt x="1429" y="2212"/>
                  </a:lnTo>
                  <a:lnTo>
                    <a:pt x="1430" y="2210"/>
                  </a:lnTo>
                  <a:lnTo>
                    <a:pt x="1431" y="2209"/>
                  </a:lnTo>
                  <a:lnTo>
                    <a:pt x="1432" y="2208"/>
                  </a:lnTo>
                  <a:lnTo>
                    <a:pt x="1434" y="2207"/>
                  </a:lnTo>
                  <a:lnTo>
                    <a:pt x="1437" y="2207"/>
                  </a:lnTo>
                  <a:lnTo>
                    <a:pt x="1516" y="2207"/>
                  </a:lnTo>
                  <a:lnTo>
                    <a:pt x="1520" y="2207"/>
                  </a:lnTo>
                  <a:lnTo>
                    <a:pt x="1523" y="2208"/>
                  </a:lnTo>
                  <a:lnTo>
                    <a:pt x="1524" y="2209"/>
                  </a:lnTo>
                  <a:lnTo>
                    <a:pt x="1526" y="2210"/>
                  </a:lnTo>
                  <a:lnTo>
                    <a:pt x="1528" y="2211"/>
                  </a:lnTo>
                  <a:lnTo>
                    <a:pt x="1529" y="2213"/>
                  </a:lnTo>
                  <a:lnTo>
                    <a:pt x="1530" y="2215"/>
                  </a:lnTo>
                  <a:lnTo>
                    <a:pt x="1577" y="2342"/>
                  </a:lnTo>
                  <a:lnTo>
                    <a:pt x="1621" y="2215"/>
                  </a:lnTo>
                  <a:lnTo>
                    <a:pt x="1622" y="2213"/>
                  </a:lnTo>
                  <a:lnTo>
                    <a:pt x="1623" y="2211"/>
                  </a:lnTo>
                  <a:lnTo>
                    <a:pt x="1625" y="2210"/>
                  </a:lnTo>
                  <a:lnTo>
                    <a:pt x="1627" y="2209"/>
                  </a:lnTo>
                  <a:lnTo>
                    <a:pt x="1629" y="2208"/>
                  </a:lnTo>
                  <a:lnTo>
                    <a:pt x="1631" y="2207"/>
                  </a:lnTo>
                  <a:lnTo>
                    <a:pt x="1635" y="2207"/>
                  </a:lnTo>
                  <a:lnTo>
                    <a:pt x="1712" y="2207"/>
                  </a:lnTo>
                  <a:lnTo>
                    <a:pt x="1714" y="2207"/>
                  </a:lnTo>
                  <a:lnTo>
                    <a:pt x="1716" y="2208"/>
                  </a:lnTo>
                  <a:lnTo>
                    <a:pt x="1717" y="2209"/>
                  </a:lnTo>
                  <a:lnTo>
                    <a:pt x="1718" y="2210"/>
                  </a:lnTo>
                  <a:lnTo>
                    <a:pt x="1719" y="2212"/>
                  </a:lnTo>
                  <a:lnTo>
                    <a:pt x="1719" y="2214"/>
                  </a:lnTo>
                  <a:lnTo>
                    <a:pt x="1719" y="2217"/>
                  </a:lnTo>
                  <a:lnTo>
                    <a:pt x="1718" y="2220"/>
                  </a:lnTo>
                  <a:lnTo>
                    <a:pt x="1624" y="2446"/>
                  </a:lnTo>
                  <a:close/>
                  <a:moveTo>
                    <a:pt x="1929" y="2536"/>
                  </a:moveTo>
                  <a:lnTo>
                    <a:pt x="1941" y="2536"/>
                  </a:lnTo>
                  <a:lnTo>
                    <a:pt x="1947" y="2535"/>
                  </a:lnTo>
                  <a:lnTo>
                    <a:pt x="1953" y="2534"/>
                  </a:lnTo>
                  <a:lnTo>
                    <a:pt x="1964" y="2532"/>
                  </a:lnTo>
                  <a:lnTo>
                    <a:pt x="1975" y="2528"/>
                  </a:lnTo>
                  <a:lnTo>
                    <a:pt x="1980" y="2526"/>
                  </a:lnTo>
                  <a:lnTo>
                    <a:pt x="1985" y="2524"/>
                  </a:lnTo>
                  <a:lnTo>
                    <a:pt x="1995" y="2519"/>
                  </a:lnTo>
                  <a:lnTo>
                    <a:pt x="2004" y="2512"/>
                  </a:lnTo>
                  <a:lnTo>
                    <a:pt x="2012" y="2505"/>
                  </a:lnTo>
                  <a:lnTo>
                    <a:pt x="2019" y="2497"/>
                  </a:lnTo>
                  <a:lnTo>
                    <a:pt x="2026" y="2488"/>
                  </a:lnTo>
                  <a:lnTo>
                    <a:pt x="2032" y="2478"/>
                  </a:lnTo>
                  <a:lnTo>
                    <a:pt x="2034" y="2473"/>
                  </a:lnTo>
                  <a:lnTo>
                    <a:pt x="2036" y="2467"/>
                  </a:lnTo>
                  <a:lnTo>
                    <a:pt x="2038" y="2461"/>
                  </a:lnTo>
                  <a:lnTo>
                    <a:pt x="2040" y="2455"/>
                  </a:lnTo>
                  <a:lnTo>
                    <a:pt x="2043" y="2443"/>
                  </a:lnTo>
                  <a:lnTo>
                    <a:pt x="2045" y="2430"/>
                  </a:lnTo>
                  <a:lnTo>
                    <a:pt x="2045" y="2423"/>
                  </a:lnTo>
                  <a:lnTo>
                    <a:pt x="2045" y="2416"/>
                  </a:lnTo>
                  <a:lnTo>
                    <a:pt x="2045" y="2402"/>
                  </a:lnTo>
                  <a:lnTo>
                    <a:pt x="2043" y="2388"/>
                  </a:lnTo>
                  <a:lnTo>
                    <a:pt x="2040" y="2376"/>
                  </a:lnTo>
                  <a:lnTo>
                    <a:pt x="2036" y="2364"/>
                  </a:lnTo>
                  <a:lnTo>
                    <a:pt x="2032" y="2354"/>
                  </a:lnTo>
                  <a:lnTo>
                    <a:pt x="2026" y="2344"/>
                  </a:lnTo>
                  <a:lnTo>
                    <a:pt x="2023" y="2339"/>
                  </a:lnTo>
                  <a:lnTo>
                    <a:pt x="2019" y="2335"/>
                  </a:lnTo>
                  <a:lnTo>
                    <a:pt x="2012" y="2326"/>
                  </a:lnTo>
                  <a:lnTo>
                    <a:pt x="2008" y="2323"/>
                  </a:lnTo>
                  <a:lnTo>
                    <a:pt x="2004" y="2319"/>
                  </a:lnTo>
                  <a:lnTo>
                    <a:pt x="1995" y="2313"/>
                  </a:lnTo>
                  <a:lnTo>
                    <a:pt x="1990" y="2310"/>
                  </a:lnTo>
                  <a:lnTo>
                    <a:pt x="1985" y="2308"/>
                  </a:lnTo>
                  <a:lnTo>
                    <a:pt x="1980" y="2305"/>
                  </a:lnTo>
                  <a:lnTo>
                    <a:pt x="1975" y="2303"/>
                  </a:lnTo>
                  <a:lnTo>
                    <a:pt x="1964" y="2300"/>
                  </a:lnTo>
                  <a:lnTo>
                    <a:pt x="1953" y="2297"/>
                  </a:lnTo>
                  <a:lnTo>
                    <a:pt x="1947" y="2296"/>
                  </a:lnTo>
                  <a:lnTo>
                    <a:pt x="1941" y="2296"/>
                  </a:lnTo>
                  <a:lnTo>
                    <a:pt x="1929" y="2295"/>
                  </a:lnTo>
                  <a:lnTo>
                    <a:pt x="1888" y="2295"/>
                  </a:lnTo>
                  <a:lnTo>
                    <a:pt x="1888" y="2536"/>
                  </a:lnTo>
                  <a:lnTo>
                    <a:pt x="1929" y="2536"/>
                  </a:lnTo>
                  <a:close/>
                  <a:moveTo>
                    <a:pt x="1928" y="2207"/>
                  </a:moveTo>
                  <a:lnTo>
                    <a:pt x="1941" y="2207"/>
                  </a:lnTo>
                  <a:lnTo>
                    <a:pt x="1953" y="2207"/>
                  </a:lnTo>
                  <a:lnTo>
                    <a:pt x="1966" y="2209"/>
                  </a:lnTo>
                  <a:lnTo>
                    <a:pt x="1978" y="2210"/>
                  </a:lnTo>
                  <a:lnTo>
                    <a:pt x="1989" y="2212"/>
                  </a:lnTo>
                  <a:lnTo>
                    <a:pt x="2001" y="2215"/>
                  </a:lnTo>
                  <a:lnTo>
                    <a:pt x="2011" y="2218"/>
                  </a:lnTo>
                  <a:lnTo>
                    <a:pt x="2022" y="2222"/>
                  </a:lnTo>
                  <a:lnTo>
                    <a:pt x="2032" y="2225"/>
                  </a:lnTo>
                  <a:lnTo>
                    <a:pt x="2042" y="2230"/>
                  </a:lnTo>
                  <a:lnTo>
                    <a:pt x="2051" y="2235"/>
                  </a:lnTo>
                  <a:lnTo>
                    <a:pt x="2061" y="2240"/>
                  </a:lnTo>
                  <a:lnTo>
                    <a:pt x="2069" y="2245"/>
                  </a:lnTo>
                  <a:lnTo>
                    <a:pt x="2078" y="2251"/>
                  </a:lnTo>
                  <a:lnTo>
                    <a:pt x="2085" y="2257"/>
                  </a:lnTo>
                  <a:lnTo>
                    <a:pt x="2093" y="2264"/>
                  </a:lnTo>
                  <a:lnTo>
                    <a:pt x="2100" y="2271"/>
                  </a:lnTo>
                  <a:lnTo>
                    <a:pt x="2107" y="2279"/>
                  </a:lnTo>
                  <a:lnTo>
                    <a:pt x="2113" y="2286"/>
                  </a:lnTo>
                  <a:lnTo>
                    <a:pt x="2119" y="2294"/>
                  </a:lnTo>
                  <a:lnTo>
                    <a:pt x="2121" y="2299"/>
                  </a:lnTo>
                  <a:lnTo>
                    <a:pt x="2124" y="2303"/>
                  </a:lnTo>
                  <a:lnTo>
                    <a:pt x="2129" y="2312"/>
                  </a:lnTo>
                  <a:lnTo>
                    <a:pt x="2133" y="2321"/>
                  </a:lnTo>
                  <a:lnTo>
                    <a:pt x="2137" y="2330"/>
                  </a:lnTo>
                  <a:lnTo>
                    <a:pt x="2141" y="2340"/>
                  </a:lnTo>
                  <a:lnTo>
                    <a:pt x="2144" y="2350"/>
                  </a:lnTo>
                  <a:lnTo>
                    <a:pt x="2147" y="2360"/>
                  </a:lnTo>
                  <a:lnTo>
                    <a:pt x="2149" y="2371"/>
                  </a:lnTo>
                  <a:lnTo>
                    <a:pt x="2151" y="2382"/>
                  </a:lnTo>
                  <a:lnTo>
                    <a:pt x="2152" y="2393"/>
                  </a:lnTo>
                  <a:lnTo>
                    <a:pt x="2153" y="2404"/>
                  </a:lnTo>
                  <a:lnTo>
                    <a:pt x="2153" y="2416"/>
                  </a:lnTo>
                  <a:lnTo>
                    <a:pt x="2153" y="2427"/>
                  </a:lnTo>
                  <a:lnTo>
                    <a:pt x="2152" y="2439"/>
                  </a:lnTo>
                  <a:lnTo>
                    <a:pt x="2151" y="2450"/>
                  </a:lnTo>
                  <a:lnTo>
                    <a:pt x="2149" y="2461"/>
                  </a:lnTo>
                  <a:lnTo>
                    <a:pt x="2147" y="2471"/>
                  </a:lnTo>
                  <a:lnTo>
                    <a:pt x="2144" y="2481"/>
                  </a:lnTo>
                  <a:lnTo>
                    <a:pt x="2141" y="2491"/>
                  </a:lnTo>
                  <a:lnTo>
                    <a:pt x="2137" y="2501"/>
                  </a:lnTo>
                  <a:lnTo>
                    <a:pt x="2133" y="2511"/>
                  </a:lnTo>
                  <a:lnTo>
                    <a:pt x="2129" y="2520"/>
                  </a:lnTo>
                  <a:lnTo>
                    <a:pt x="2124" y="2528"/>
                  </a:lnTo>
                  <a:lnTo>
                    <a:pt x="2119" y="2537"/>
                  </a:lnTo>
                  <a:lnTo>
                    <a:pt x="2113" y="2545"/>
                  </a:lnTo>
                  <a:lnTo>
                    <a:pt x="2107" y="2553"/>
                  </a:lnTo>
                  <a:lnTo>
                    <a:pt x="2100" y="2560"/>
                  </a:lnTo>
                  <a:lnTo>
                    <a:pt x="2093" y="2567"/>
                  </a:lnTo>
                  <a:lnTo>
                    <a:pt x="2085" y="2574"/>
                  </a:lnTo>
                  <a:lnTo>
                    <a:pt x="2078" y="2580"/>
                  </a:lnTo>
                  <a:lnTo>
                    <a:pt x="2069" y="2586"/>
                  </a:lnTo>
                  <a:lnTo>
                    <a:pt x="2061" y="2592"/>
                  </a:lnTo>
                  <a:lnTo>
                    <a:pt x="2051" y="2597"/>
                  </a:lnTo>
                  <a:lnTo>
                    <a:pt x="2042" y="2602"/>
                  </a:lnTo>
                  <a:lnTo>
                    <a:pt x="2032" y="2606"/>
                  </a:lnTo>
                  <a:lnTo>
                    <a:pt x="2022" y="2610"/>
                  </a:lnTo>
                  <a:lnTo>
                    <a:pt x="2011" y="2613"/>
                  </a:lnTo>
                  <a:lnTo>
                    <a:pt x="2001" y="2616"/>
                  </a:lnTo>
                  <a:lnTo>
                    <a:pt x="1989" y="2619"/>
                  </a:lnTo>
                  <a:lnTo>
                    <a:pt x="1978" y="2621"/>
                  </a:lnTo>
                  <a:lnTo>
                    <a:pt x="1966" y="2623"/>
                  </a:lnTo>
                  <a:lnTo>
                    <a:pt x="1953" y="2624"/>
                  </a:lnTo>
                  <a:lnTo>
                    <a:pt x="1941" y="2625"/>
                  </a:lnTo>
                  <a:lnTo>
                    <a:pt x="1928" y="2625"/>
                  </a:lnTo>
                  <a:lnTo>
                    <a:pt x="1795" y="2625"/>
                  </a:lnTo>
                  <a:lnTo>
                    <a:pt x="1791" y="2624"/>
                  </a:lnTo>
                  <a:lnTo>
                    <a:pt x="1788" y="2622"/>
                  </a:lnTo>
                  <a:lnTo>
                    <a:pt x="1787" y="2621"/>
                  </a:lnTo>
                  <a:lnTo>
                    <a:pt x="1786" y="2619"/>
                  </a:lnTo>
                  <a:lnTo>
                    <a:pt x="1785" y="2617"/>
                  </a:lnTo>
                  <a:lnTo>
                    <a:pt x="1785" y="2615"/>
                  </a:lnTo>
                  <a:lnTo>
                    <a:pt x="1785" y="2217"/>
                  </a:lnTo>
                  <a:lnTo>
                    <a:pt x="1785" y="2214"/>
                  </a:lnTo>
                  <a:lnTo>
                    <a:pt x="1786" y="2212"/>
                  </a:lnTo>
                  <a:lnTo>
                    <a:pt x="1788" y="2209"/>
                  </a:lnTo>
                  <a:lnTo>
                    <a:pt x="1789" y="2208"/>
                  </a:lnTo>
                  <a:lnTo>
                    <a:pt x="1791" y="2207"/>
                  </a:lnTo>
                  <a:lnTo>
                    <a:pt x="1795" y="2207"/>
                  </a:lnTo>
                  <a:lnTo>
                    <a:pt x="1928" y="2207"/>
                  </a:lnTo>
                  <a:close/>
                  <a:moveTo>
                    <a:pt x="2397" y="2177"/>
                  </a:moveTo>
                  <a:lnTo>
                    <a:pt x="2392" y="2177"/>
                  </a:lnTo>
                  <a:lnTo>
                    <a:pt x="2386" y="2176"/>
                  </a:lnTo>
                  <a:lnTo>
                    <a:pt x="2382" y="2175"/>
                  </a:lnTo>
                  <a:lnTo>
                    <a:pt x="2377" y="2173"/>
                  </a:lnTo>
                  <a:lnTo>
                    <a:pt x="2368" y="2169"/>
                  </a:lnTo>
                  <a:lnTo>
                    <a:pt x="2365" y="2166"/>
                  </a:lnTo>
                  <a:lnTo>
                    <a:pt x="2361" y="2163"/>
                  </a:lnTo>
                  <a:lnTo>
                    <a:pt x="2358" y="2160"/>
                  </a:lnTo>
                  <a:lnTo>
                    <a:pt x="2355" y="2156"/>
                  </a:lnTo>
                  <a:lnTo>
                    <a:pt x="2353" y="2152"/>
                  </a:lnTo>
                  <a:lnTo>
                    <a:pt x="2351" y="2148"/>
                  </a:lnTo>
                  <a:lnTo>
                    <a:pt x="2349" y="2143"/>
                  </a:lnTo>
                  <a:lnTo>
                    <a:pt x="2348" y="2138"/>
                  </a:lnTo>
                  <a:lnTo>
                    <a:pt x="2347" y="2133"/>
                  </a:lnTo>
                  <a:lnTo>
                    <a:pt x="2347" y="2128"/>
                  </a:lnTo>
                  <a:lnTo>
                    <a:pt x="2347" y="2123"/>
                  </a:lnTo>
                  <a:lnTo>
                    <a:pt x="2348" y="2118"/>
                  </a:lnTo>
                  <a:lnTo>
                    <a:pt x="2349" y="2113"/>
                  </a:lnTo>
                  <a:lnTo>
                    <a:pt x="2351" y="2108"/>
                  </a:lnTo>
                  <a:lnTo>
                    <a:pt x="2353" y="2104"/>
                  </a:lnTo>
                  <a:lnTo>
                    <a:pt x="2355" y="2100"/>
                  </a:lnTo>
                  <a:lnTo>
                    <a:pt x="2358" y="2096"/>
                  </a:lnTo>
                  <a:lnTo>
                    <a:pt x="2361" y="2093"/>
                  </a:lnTo>
                  <a:lnTo>
                    <a:pt x="2365" y="2090"/>
                  </a:lnTo>
                  <a:lnTo>
                    <a:pt x="2368" y="2087"/>
                  </a:lnTo>
                  <a:lnTo>
                    <a:pt x="2373" y="2084"/>
                  </a:lnTo>
                  <a:lnTo>
                    <a:pt x="2377" y="2082"/>
                  </a:lnTo>
                  <a:lnTo>
                    <a:pt x="2382" y="2081"/>
                  </a:lnTo>
                  <a:lnTo>
                    <a:pt x="2386" y="2080"/>
                  </a:lnTo>
                  <a:lnTo>
                    <a:pt x="2392" y="2079"/>
                  </a:lnTo>
                  <a:lnTo>
                    <a:pt x="2397" y="2079"/>
                  </a:lnTo>
                  <a:lnTo>
                    <a:pt x="2402" y="2079"/>
                  </a:lnTo>
                  <a:lnTo>
                    <a:pt x="2407" y="2080"/>
                  </a:lnTo>
                  <a:lnTo>
                    <a:pt x="2412" y="2081"/>
                  </a:lnTo>
                  <a:lnTo>
                    <a:pt x="2417" y="2082"/>
                  </a:lnTo>
                  <a:lnTo>
                    <a:pt x="2425" y="2087"/>
                  </a:lnTo>
                  <a:lnTo>
                    <a:pt x="2429" y="2090"/>
                  </a:lnTo>
                  <a:lnTo>
                    <a:pt x="2433" y="2093"/>
                  </a:lnTo>
                  <a:lnTo>
                    <a:pt x="2436" y="2096"/>
                  </a:lnTo>
                  <a:lnTo>
                    <a:pt x="2438" y="2100"/>
                  </a:lnTo>
                  <a:lnTo>
                    <a:pt x="2441" y="2104"/>
                  </a:lnTo>
                  <a:lnTo>
                    <a:pt x="2443" y="2108"/>
                  </a:lnTo>
                  <a:lnTo>
                    <a:pt x="2444" y="2113"/>
                  </a:lnTo>
                  <a:lnTo>
                    <a:pt x="2446" y="2118"/>
                  </a:lnTo>
                  <a:lnTo>
                    <a:pt x="2446" y="2123"/>
                  </a:lnTo>
                  <a:lnTo>
                    <a:pt x="2447" y="2128"/>
                  </a:lnTo>
                  <a:lnTo>
                    <a:pt x="2446" y="2133"/>
                  </a:lnTo>
                  <a:lnTo>
                    <a:pt x="2446" y="2138"/>
                  </a:lnTo>
                  <a:lnTo>
                    <a:pt x="2444" y="2143"/>
                  </a:lnTo>
                  <a:lnTo>
                    <a:pt x="2443" y="2148"/>
                  </a:lnTo>
                  <a:lnTo>
                    <a:pt x="2441" y="2152"/>
                  </a:lnTo>
                  <a:lnTo>
                    <a:pt x="2438" y="2156"/>
                  </a:lnTo>
                  <a:lnTo>
                    <a:pt x="2436" y="2160"/>
                  </a:lnTo>
                  <a:lnTo>
                    <a:pt x="2433" y="2163"/>
                  </a:lnTo>
                  <a:lnTo>
                    <a:pt x="2429" y="2166"/>
                  </a:lnTo>
                  <a:lnTo>
                    <a:pt x="2425" y="2169"/>
                  </a:lnTo>
                  <a:lnTo>
                    <a:pt x="2421" y="2171"/>
                  </a:lnTo>
                  <a:lnTo>
                    <a:pt x="2417" y="2173"/>
                  </a:lnTo>
                  <a:lnTo>
                    <a:pt x="2412" y="2175"/>
                  </a:lnTo>
                  <a:lnTo>
                    <a:pt x="2407" y="2176"/>
                  </a:lnTo>
                  <a:lnTo>
                    <a:pt x="2402" y="2177"/>
                  </a:lnTo>
                  <a:lnTo>
                    <a:pt x="2397" y="2177"/>
                  </a:lnTo>
                  <a:close/>
                  <a:moveTo>
                    <a:pt x="2303" y="2480"/>
                  </a:moveTo>
                  <a:lnTo>
                    <a:pt x="2357" y="2480"/>
                  </a:lnTo>
                  <a:lnTo>
                    <a:pt x="2331" y="2354"/>
                  </a:lnTo>
                  <a:lnTo>
                    <a:pt x="2303" y="2480"/>
                  </a:lnTo>
                  <a:close/>
                  <a:moveTo>
                    <a:pt x="2372" y="2558"/>
                  </a:moveTo>
                  <a:lnTo>
                    <a:pt x="2289" y="2558"/>
                  </a:lnTo>
                  <a:lnTo>
                    <a:pt x="2277" y="2615"/>
                  </a:lnTo>
                  <a:lnTo>
                    <a:pt x="2276" y="2618"/>
                  </a:lnTo>
                  <a:lnTo>
                    <a:pt x="2275" y="2620"/>
                  </a:lnTo>
                  <a:lnTo>
                    <a:pt x="2273" y="2623"/>
                  </a:lnTo>
                  <a:lnTo>
                    <a:pt x="2271" y="2624"/>
                  </a:lnTo>
                  <a:lnTo>
                    <a:pt x="2269" y="2625"/>
                  </a:lnTo>
                  <a:lnTo>
                    <a:pt x="2267" y="2625"/>
                  </a:lnTo>
                  <a:lnTo>
                    <a:pt x="2265" y="2625"/>
                  </a:lnTo>
                  <a:lnTo>
                    <a:pt x="2192" y="2625"/>
                  </a:lnTo>
                  <a:lnTo>
                    <a:pt x="2190" y="2625"/>
                  </a:lnTo>
                  <a:lnTo>
                    <a:pt x="2188" y="2624"/>
                  </a:lnTo>
                  <a:lnTo>
                    <a:pt x="2187" y="2623"/>
                  </a:lnTo>
                  <a:lnTo>
                    <a:pt x="2185" y="2622"/>
                  </a:lnTo>
                  <a:lnTo>
                    <a:pt x="2184" y="2620"/>
                  </a:lnTo>
                  <a:lnTo>
                    <a:pt x="2184" y="2618"/>
                  </a:lnTo>
                  <a:lnTo>
                    <a:pt x="2185" y="2612"/>
                  </a:lnTo>
                  <a:lnTo>
                    <a:pt x="2277" y="2217"/>
                  </a:lnTo>
                  <a:lnTo>
                    <a:pt x="2278" y="2214"/>
                  </a:lnTo>
                  <a:lnTo>
                    <a:pt x="2279" y="2212"/>
                  </a:lnTo>
                  <a:lnTo>
                    <a:pt x="2281" y="2209"/>
                  </a:lnTo>
                  <a:lnTo>
                    <a:pt x="2283" y="2208"/>
                  </a:lnTo>
                  <a:lnTo>
                    <a:pt x="2285" y="2207"/>
                  </a:lnTo>
                  <a:lnTo>
                    <a:pt x="2290" y="2207"/>
                  </a:lnTo>
                  <a:lnTo>
                    <a:pt x="2372" y="2207"/>
                  </a:lnTo>
                  <a:lnTo>
                    <a:pt x="2375" y="2207"/>
                  </a:lnTo>
                  <a:lnTo>
                    <a:pt x="2377" y="2207"/>
                  </a:lnTo>
                  <a:lnTo>
                    <a:pt x="2381" y="2209"/>
                  </a:lnTo>
                  <a:lnTo>
                    <a:pt x="2384" y="2212"/>
                  </a:lnTo>
                  <a:lnTo>
                    <a:pt x="2384" y="2214"/>
                  </a:lnTo>
                  <a:lnTo>
                    <a:pt x="2385" y="2217"/>
                  </a:lnTo>
                  <a:lnTo>
                    <a:pt x="2477" y="2612"/>
                  </a:lnTo>
                  <a:lnTo>
                    <a:pt x="2478" y="2618"/>
                  </a:lnTo>
                  <a:lnTo>
                    <a:pt x="2478" y="2620"/>
                  </a:lnTo>
                  <a:lnTo>
                    <a:pt x="2477" y="2622"/>
                  </a:lnTo>
                  <a:lnTo>
                    <a:pt x="2476" y="2623"/>
                  </a:lnTo>
                  <a:lnTo>
                    <a:pt x="2474" y="2624"/>
                  </a:lnTo>
                  <a:lnTo>
                    <a:pt x="2470" y="2625"/>
                  </a:lnTo>
                  <a:lnTo>
                    <a:pt x="2395" y="2625"/>
                  </a:lnTo>
                  <a:lnTo>
                    <a:pt x="2391" y="2625"/>
                  </a:lnTo>
                  <a:lnTo>
                    <a:pt x="2388" y="2623"/>
                  </a:lnTo>
                  <a:lnTo>
                    <a:pt x="2386" y="2621"/>
                  </a:lnTo>
                  <a:lnTo>
                    <a:pt x="2385" y="2620"/>
                  </a:lnTo>
                  <a:lnTo>
                    <a:pt x="2384" y="2618"/>
                  </a:lnTo>
                  <a:lnTo>
                    <a:pt x="2383" y="2615"/>
                  </a:lnTo>
                  <a:lnTo>
                    <a:pt x="2372" y="2558"/>
                  </a:lnTo>
                  <a:close/>
                  <a:moveTo>
                    <a:pt x="2264" y="2177"/>
                  </a:moveTo>
                  <a:lnTo>
                    <a:pt x="2259" y="2177"/>
                  </a:lnTo>
                  <a:lnTo>
                    <a:pt x="2254" y="2176"/>
                  </a:lnTo>
                  <a:lnTo>
                    <a:pt x="2249" y="2175"/>
                  </a:lnTo>
                  <a:lnTo>
                    <a:pt x="2244" y="2173"/>
                  </a:lnTo>
                  <a:lnTo>
                    <a:pt x="2236" y="2169"/>
                  </a:lnTo>
                  <a:lnTo>
                    <a:pt x="2232" y="2166"/>
                  </a:lnTo>
                  <a:lnTo>
                    <a:pt x="2228" y="2163"/>
                  </a:lnTo>
                  <a:lnTo>
                    <a:pt x="2225" y="2160"/>
                  </a:lnTo>
                  <a:lnTo>
                    <a:pt x="2222" y="2156"/>
                  </a:lnTo>
                  <a:lnTo>
                    <a:pt x="2220" y="2152"/>
                  </a:lnTo>
                  <a:lnTo>
                    <a:pt x="2218" y="2148"/>
                  </a:lnTo>
                  <a:lnTo>
                    <a:pt x="2216" y="2143"/>
                  </a:lnTo>
                  <a:lnTo>
                    <a:pt x="2215" y="2138"/>
                  </a:lnTo>
                  <a:lnTo>
                    <a:pt x="2215" y="2133"/>
                  </a:lnTo>
                  <a:lnTo>
                    <a:pt x="2214" y="2128"/>
                  </a:lnTo>
                  <a:lnTo>
                    <a:pt x="2215" y="2123"/>
                  </a:lnTo>
                  <a:lnTo>
                    <a:pt x="2215" y="2118"/>
                  </a:lnTo>
                  <a:lnTo>
                    <a:pt x="2216" y="2113"/>
                  </a:lnTo>
                  <a:lnTo>
                    <a:pt x="2218" y="2108"/>
                  </a:lnTo>
                  <a:lnTo>
                    <a:pt x="2220" y="2104"/>
                  </a:lnTo>
                  <a:lnTo>
                    <a:pt x="2222" y="2100"/>
                  </a:lnTo>
                  <a:lnTo>
                    <a:pt x="2225" y="2096"/>
                  </a:lnTo>
                  <a:lnTo>
                    <a:pt x="2228" y="2093"/>
                  </a:lnTo>
                  <a:lnTo>
                    <a:pt x="2232" y="2090"/>
                  </a:lnTo>
                  <a:lnTo>
                    <a:pt x="2236" y="2087"/>
                  </a:lnTo>
                  <a:lnTo>
                    <a:pt x="2240" y="2084"/>
                  </a:lnTo>
                  <a:lnTo>
                    <a:pt x="2244" y="2082"/>
                  </a:lnTo>
                  <a:lnTo>
                    <a:pt x="2249" y="2081"/>
                  </a:lnTo>
                  <a:lnTo>
                    <a:pt x="2254" y="2080"/>
                  </a:lnTo>
                  <a:lnTo>
                    <a:pt x="2259" y="2079"/>
                  </a:lnTo>
                  <a:lnTo>
                    <a:pt x="2264" y="2079"/>
                  </a:lnTo>
                  <a:lnTo>
                    <a:pt x="2269" y="2079"/>
                  </a:lnTo>
                  <a:lnTo>
                    <a:pt x="2274" y="2080"/>
                  </a:lnTo>
                  <a:lnTo>
                    <a:pt x="2279" y="2081"/>
                  </a:lnTo>
                  <a:lnTo>
                    <a:pt x="2284" y="2082"/>
                  </a:lnTo>
                  <a:lnTo>
                    <a:pt x="2292" y="2087"/>
                  </a:lnTo>
                  <a:lnTo>
                    <a:pt x="2296" y="2090"/>
                  </a:lnTo>
                  <a:lnTo>
                    <a:pt x="2300" y="2093"/>
                  </a:lnTo>
                  <a:lnTo>
                    <a:pt x="2303" y="2096"/>
                  </a:lnTo>
                  <a:lnTo>
                    <a:pt x="2306" y="2100"/>
                  </a:lnTo>
                  <a:lnTo>
                    <a:pt x="2308" y="2104"/>
                  </a:lnTo>
                  <a:lnTo>
                    <a:pt x="2310" y="2108"/>
                  </a:lnTo>
                  <a:lnTo>
                    <a:pt x="2313" y="2113"/>
                  </a:lnTo>
                  <a:lnTo>
                    <a:pt x="2314" y="2118"/>
                  </a:lnTo>
                  <a:lnTo>
                    <a:pt x="2314" y="2123"/>
                  </a:lnTo>
                  <a:lnTo>
                    <a:pt x="2315" y="2128"/>
                  </a:lnTo>
                  <a:lnTo>
                    <a:pt x="2314" y="2133"/>
                  </a:lnTo>
                  <a:lnTo>
                    <a:pt x="2314" y="2138"/>
                  </a:lnTo>
                  <a:lnTo>
                    <a:pt x="2313" y="2143"/>
                  </a:lnTo>
                  <a:lnTo>
                    <a:pt x="2310" y="2148"/>
                  </a:lnTo>
                  <a:lnTo>
                    <a:pt x="2308" y="2152"/>
                  </a:lnTo>
                  <a:lnTo>
                    <a:pt x="2306" y="2156"/>
                  </a:lnTo>
                  <a:lnTo>
                    <a:pt x="2303" y="2160"/>
                  </a:lnTo>
                  <a:lnTo>
                    <a:pt x="2300" y="2163"/>
                  </a:lnTo>
                  <a:lnTo>
                    <a:pt x="2296" y="2166"/>
                  </a:lnTo>
                  <a:lnTo>
                    <a:pt x="2292" y="2169"/>
                  </a:lnTo>
                  <a:lnTo>
                    <a:pt x="2288" y="2171"/>
                  </a:lnTo>
                  <a:lnTo>
                    <a:pt x="2284" y="2173"/>
                  </a:lnTo>
                  <a:lnTo>
                    <a:pt x="2279" y="2175"/>
                  </a:lnTo>
                  <a:lnTo>
                    <a:pt x="2274" y="2176"/>
                  </a:lnTo>
                  <a:lnTo>
                    <a:pt x="2269" y="2177"/>
                  </a:lnTo>
                  <a:lnTo>
                    <a:pt x="2264" y="2177"/>
                  </a:lnTo>
                  <a:close/>
                  <a:moveTo>
                    <a:pt x="1209" y="341"/>
                  </a:moveTo>
                  <a:lnTo>
                    <a:pt x="1221" y="341"/>
                  </a:lnTo>
                  <a:lnTo>
                    <a:pt x="1233" y="339"/>
                  </a:lnTo>
                  <a:lnTo>
                    <a:pt x="1244" y="336"/>
                  </a:lnTo>
                  <a:lnTo>
                    <a:pt x="1250" y="334"/>
                  </a:lnTo>
                  <a:lnTo>
                    <a:pt x="1255" y="332"/>
                  </a:lnTo>
                  <a:lnTo>
                    <a:pt x="1265" y="327"/>
                  </a:lnTo>
                  <a:lnTo>
                    <a:pt x="1275" y="322"/>
                  </a:lnTo>
                  <a:lnTo>
                    <a:pt x="1284" y="315"/>
                  </a:lnTo>
                  <a:lnTo>
                    <a:pt x="1292" y="307"/>
                  </a:lnTo>
                  <a:lnTo>
                    <a:pt x="1299" y="299"/>
                  </a:lnTo>
                  <a:lnTo>
                    <a:pt x="1306" y="289"/>
                  </a:lnTo>
                  <a:lnTo>
                    <a:pt x="1311" y="279"/>
                  </a:lnTo>
                  <a:lnTo>
                    <a:pt x="1316" y="268"/>
                  </a:lnTo>
                  <a:lnTo>
                    <a:pt x="1318" y="262"/>
                  </a:lnTo>
                  <a:lnTo>
                    <a:pt x="1320" y="256"/>
                  </a:lnTo>
                  <a:lnTo>
                    <a:pt x="1323" y="243"/>
                  </a:lnTo>
                  <a:lnTo>
                    <a:pt x="1324" y="230"/>
                  </a:lnTo>
                  <a:lnTo>
                    <a:pt x="1325" y="223"/>
                  </a:lnTo>
                  <a:lnTo>
                    <a:pt x="1325" y="216"/>
                  </a:lnTo>
                  <a:lnTo>
                    <a:pt x="1324" y="202"/>
                  </a:lnTo>
                  <a:lnTo>
                    <a:pt x="1323" y="189"/>
                  </a:lnTo>
                  <a:lnTo>
                    <a:pt x="1320" y="177"/>
                  </a:lnTo>
                  <a:lnTo>
                    <a:pt x="1318" y="171"/>
                  </a:lnTo>
                  <a:lnTo>
                    <a:pt x="1316" y="165"/>
                  </a:lnTo>
                  <a:lnTo>
                    <a:pt x="1311" y="154"/>
                  </a:lnTo>
                  <a:lnTo>
                    <a:pt x="1306" y="144"/>
                  </a:lnTo>
                  <a:lnTo>
                    <a:pt x="1299" y="134"/>
                  </a:lnTo>
                  <a:lnTo>
                    <a:pt x="1296" y="130"/>
                  </a:lnTo>
                  <a:lnTo>
                    <a:pt x="1292" y="126"/>
                  </a:lnTo>
                  <a:lnTo>
                    <a:pt x="1288" y="122"/>
                  </a:lnTo>
                  <a:lnTo>
                    <a:pt x="1284" y="118"/>
                  </a:lnTo>
                  <a:lnTo>
                    <a:pt x="1279" y="114"/>
                  </a:lnTo>
                  <a:lnTo>
                    <a:pt x="1275" y="111"/>
                  </a:lnTo>
                  <a:lnTo>
                    <a:pt x="1265" y="105"/>
                  </a:lnTo>
                  <a:lnTo>
                    <a:pt x="1260" y="103"/>
                  </a:lnTo>
                  <a:lnTo>
                    <a:pt x="1255" y="100"/>
                  </a:lnTo>
                  <a:lnTo>
                    <a:pt x="1250" y="98"/>
                  </a:lnTo>
                  <a:lnTo>
                    <a:pt x="1244" y="97"/>
                  </a:lnTo>
                  <a:lnTo>
                    <a:pt x="1233" y="94"/>
                  </a:lnTo>
                  <a:lnTo>
                    <a:pt x="1221" y="92"/>
                  </a:lnTo>
                  <a:lnTo>
                    <a:pt x="1215" y="92"/>
                  </a:lnTo>
                  <a:lnTo>
                    <a:pt x="1209" y="92"/>
                  </a:lnTo>
                  <a:lnTo>
                    <a:pt x="1197" y="92"/>
                  </a:lnTo>
                  <a:lnTo>
                    <a:pt x="1185" y="94"/>
                  </a:lnTo>
                  <a:lnTo>
                    <a:pt x="1174" y="97"/>
                  </a:lnTo>
                  <a:lnTo>
                    <a:pt x="1169" y="98"/>
                  </a:lnTo>
                  <a:lnTo>
                    <a:pt x="1163" y="100"/>
                  </a:lnTo>
                  <a:lnTo>
                    <a:pt x="1153" y="105"/>
                  </a:lnTo>
                  <a:lnTo>
                    <a:pt x="1144" y="111"/>
                  </a:lnTo>
                  <a:lnTo>
                    <a:pt x="1135" y="118"/>
                  </a:lnTo>
                  <a:lnTo>
                    <a:pt x="1127" y="126"/>
                  </a:lnTo>
                  <a:lnTo>
                    <a:pt x="1119" y="134"/>
                  </a:lnTo>
                  <a:lnTo>
                    <a:pt x="1113" y="144"/>
                  </a:lnTo>
                  <a:lnTo>
                    <a:pt x="1107" y="154"/>
                  </a:lnTo>
                  <a:lnTo>
                    <a:pt x="1102" y="165"/>
                  </a:lnTo>
                  <a:lnTo>
                    <a:pt x="1100" y="171"/>
                  </a:lnTo>
                  <a:lnTo>
                    <a:pt x="1098" y="177"/>
                  </a:lnTo>
                  <a:lnTo>
                    <a:pt x="1096" y="189"/>
                  </a:lnTo>
                  <a:lnTo>
                    <a:pt x="1094" y="202"/>
                  </a:lnTo>
                  <a:lnTo>
                    <a:pt x="1093" y="209"/>
                  </a:lnTo>
                  <a:lnTo>
                    <a:pt x="1093" y="216"/>
                  </a:lnTo>
                  <a:lnTo>
                    <a:pt x="1094" y="230"/>
                  </a:lnTo>
                  <a:lnTo>
                    <a:pt x="1096" y="243"/>
                  </a:lnTo>
                  <a:lnTo>
                    <a:pt x="1098" y="256"/>
                  </a:lnTo>
                  <a:lnTo>
                    <a:pt x="1100" y="262"/>
                  </a:lnTo>
                  <a:lnTo>
                    <a:pt x="1102" y="268"/>
                  </a:lnTo>
                  <a:lnTo>
                    <a:pt x="1107" y="279"/>
                  </a:lnTo>
                  <a:lnTo>
                    <a:pt x="1113" y="289"/>
                  </a:lnTo>
                  <a:lnTo>
                    <a:pt x="1119" y="299"/>
                  </a:lnTo>
                  <a:lnTo>
                    <a:pt x="1123" y="303"/>
                  </a:lnTo>
                  <a:lnTo>
                    <a:pt x="1127" y="307"/>
                  </a:lnTo>
                  <a:lnTo>
                    <a:pt x="1131" y="311"/>
                  </a:lnTo>
                  <a:lnTo>
                    <a:pt x="1135" y="315"/>
                  </a:lnTo>
                  <a:lnTo>
                    <a:pt x="1139" y="318"/>
                  </a:lnTo>
                  <a:lnTo>
                    <a:pt x="1144" y="322"/>
                  </a:lnTo>
                  <a:lnTo>
                    <a:pt x="1153" y="327"/>
                  </a:lnTo>
                  <a:lnTo>
                    <a:pt x="1158" y="330"/>
                  </a:lnTo>
                  <a:lnTo>
                    <a:pt x="1163" y="332"/>
                  </a:lnTo>
                  <a:lnTo>
                    <a:pt x="1169" y="334"/>
                  </a:lnTo>
                  <a:lnTo>
                    <a:pt x="1174" y="336"/>
                  </a:lnTo>
                  <a:lnTo>
                    <a:pt x="1185" y="339"/>
                  </a:lnTo>
                  <a:lnTo>
                    <a:pt x="1197" y="341"/>
                  </a:lnTo>
                  <a:lnTo>
                    <a:pt x="1203" y="341"/>
                  </a:lnTo>
                  <a:lnTo>
                    <a:pt x="1209" y="341"/>
                  </a:lnTo>
                  <a:close/>
                  <a:moveTo>
                    <a:pt x="1209" y="0"/>
                  </a:moveTo>
                  <a:lnTo>
                    <a:pt x="1221" y="0"/>
                  </a:lnTo>
                  <a:lnTo>
                    <a:pt x="1233" y="1"/>
                  </a:lnTo>
                  <a:lnTo>
                    <a:pt x="1244" y="2"/>
                  </a:lnTo>
                  <a:lnTo>
                    <a:pt x="1256" y="4"/>
                  </a:lnTo>
                  <a:lnTo>
                    <a:pt x="1267" y="6"/>
                  </a:lnTo>
                  <a:lnTo>
                    <a:pt x="1277" y="9"/>
                  </a:lnTo>
                  <a:lnTo>
                    <a:pt x="1288" y="12"/>
                  </a:lnTo>
                  <a:lnTo>
                    <a:pt x="1298" y="16"/>
                  </a:lnTo>
                  <a:lnTo>
                    <a:pt x="1308" y="20"/>
                  </a:lnTo>
                  <a:lnTo>
                    <a:pt x="1318" y="25"/>
                  </a:lnTo>
                  <a:lnTo>
                    <a:pt x="1327" y="30"/>
                  </a:lnTo>
                  <a:lnTo>
                    <a:pt x="1336" y="35"/>
                  </a:lnTo>
                  <a:lnTo>
                    <a:pt x="1345" y="41"/>
                  </a:lnTo>
                  <a:lnTo>
                    <a:pt x="1349" y="44"/>
                  </a:lnTo>
                  <a:lnTo>
                    <a:pt x="1353" y="47"/>
                  </a:lnTo>
                  <a:lnTo>
                    <a:pt x="1357" y="51"/>
                  </a:lnTo>
                  <a:lnTo>
                    <a:pt x="1361" y="54"/>
                  </a:lnTo>
                  <a:lnTo>
                    <a:pt x="1369" y="61"/>
                  </a:lnTo>
                  <a:lnTo>
                    <a:pt x="1373" y="65"/>
                  </a:lnTo>
                  <a:lnTo>
                    <a:pt x="1376" y="69"/>
                  </a:lnTo>
                  <a:lnTo>
                    <a:pt x="1383" y="76"/>
                  </a:lnTo>
                  <a:lnTo>
                    <a:pt x="1390" y="84"/>
                  </a:lnTo>
                  <a:lnTo>
                    <a:pt x="1393" y="89"/>
                  </a:lnTo>
                  <a:lnTo>
                    <a:pt x="1396" y="93"/>
                  </a:lnTo>
                  <a:lnTo>
                    <a:pt x="1401" y="102"/>
                  </a:lnTo>
                  <a:lnTo>
                    <a:pt x="1407" y="111"/>
                  </a:lnTo>
                  <a:lnTo>
                    <a:pt x="1411" y="120"/>
                  </a:lnTo>
                  <a:lnTo>
                    <a:pt x="1416" y="130"/>
                  </a:lnTo>
                  <a:lnTo>
                    <a:pt x="1418" y="135"/>
                  </a:lnTo>
                  <a:lnTo>
                    <a:pt x="1420" y="140"/>
                  </a:lnTo>
                  <a:lnTo>
                    <a:pt x="1423" y="150"/>
                  </a:lnTo>
                  <a:lnTo>
                    <a:pt x="1426" y="160"/>
                  </a:lnTo>
                  <a:lnTo>
                    <a:pt x="1428" y="171"/>
                  </a:lnTo>
                  <a:lnTo>
                    <a:pt x="1430" y="182"/>
                  </a:lnTo>
                  <a:lnTo>
                    <a:pt x="1432" y="193"/>
                  </a:lnTo>
                  <a:lnTo>
                    <a:pt x="1432" y="199"/>
                  </a:lnTo>
                  <a:lnTo>
                    <a:pt x="1432" y="205"/>
                  </a:lnTo>
                  <a:lnTo>
                    <a:pt x="1433" y="216"/>
                  </a:lnTo>
                  <a:lnTo>
                    <a:pt x="1432" y="228"/>
                  </a:lnTo>
                  <a:lnTo>
                    <a:pt x="1432" y="239"/>
                  </a:lnTo>
                  <a:lnTo>
                    <a:pt x="1430" y="251"/>
                  </a:lnTo>
                  <a:lnTo>
                    <a:pt x="1428" y="262"/>
                  </a:lnTo>
                  <a:lnTo>
                    <a:pt x="1426" y="272"/>
                  </a:lnTo>
                  <a:lnTo>
                    <a:pt x="1423" y="283"/>
                  </a:lnTo>
                  <a:lnTo>
                    <a:pt x="1420" y="293"/>
                  </a:lnTo>
                  <a:lnTo>
                    <a:pt x="1416" y="303"/>
                  </a:lnTo>
                  <a:lnTo>
                    <a:pt x="1411" y="313"/>
                  </a:lnTo>
                  <a:lnTo>
                    <a:pt x="1407" y="322"/>
                  </a:lnTo>
                  <a:lnTo>
                    <a:pt x="1401" y="331"/>
                  </a:lnTo>
                  <a:lnTo>
                    <a:pt x="1396" y="340"/>
                  </a:lnTo>
                  <a:lnTo>
                    <a:pt x="1390" y="348"/>
                  </a:lnTo>
                  <a:lnTo>
                    <a:pt x="1383" y="356"/>
                  </a:lnTo>
                  <a:lnTo>
                    <a:pt x="1376" y="364"/>
                  </a:lnTo>
                  <a:lnTo>
                    <a:pt x="1369" y="372"/>
                  </a:lnTo>
                  <a:lnTo>
                    <a:pt x="1361" y="379"/>
                  </a:lnTo>
                  <a:lnTo>
                    <a:pt x="1353" y="385"/>
                  </a:lnTo>
                  <a:lnTo>
                    <a:pt x="1345" y="391"/>
                  </a:lnTo>
                  <a:lnTo>
                    <a:pt x="1336" y="397"/>
                  </a:lnTo>
                  <a:lnTo>
                    <a:pt x="1327" y="403"/>
                  </a:lnTo>
                  <a:lnTo>
                    <a:pt x="1318" y="408"/>
                  </a:lnTo>
                  <a:lnTo>
                    <a:pt x="1308" y="412"/>
                  </a:lnTo>
                  <a:lnTo>
                    <a:pt x="1298" y="417"/>
                  </a:lnTo>
                  <a:lnTo>
                    <a:pt x="1288" y="420"/>
                  </a:lnTo>
                  <a:lnTo>
                    <a:pt x="1277" y="424"/>
                  </a:lnTo>
                  <a:lnTo>
                    <a:pt x="1267" y="426"/>
                  </a:lnTo>
                  <a:lnTo>
                    <a:pt x="1256" y="429"/>
                  </a:lnTo>
                  <a:lnTo>
                    <a:pt x="1244" y="430"/>
                  </a:lnTo>
                  <a:lnTo>
                    <a:pt x="1233" y="432"/>
                  </a:lnTo>
                  <a:lnTo>
                    <a:pt x="1221" y="433"/>
                  </a:lnTo>
                  <a:lnTo>
                    <a:pt x="1209" y="433"/>
                  </a:lnTo>
                  <a:lnTo>
                    <a:pt x="1197" y="433"/>
                  </a:lnTo>
                  <a:lnTo>
                    <a:pt x="1186" y="432"/>
                  </a:lnTo>
                  <a:lnTo>
                    <a:pt x="1174" y="430"/>
                  </a:lnTo>
                  <a:lnTo>
                    <a:pt x="1163" y="429"/>
                  </a:lnTo>
                  <a:lnTo>
                    <a:pt x="1152" y="426"/>
                  </a:lnTo>
                  <a:lnTo>
                    <a:pt x="1141" y="424"/>
                  </a:lnTo>
                  <a:lnTo>
                    <a:pt x="1130" y="420"/>
                  </a:lnTo>
                  <a:lnTo>
                    <a:pt x="1120" y="417"/>
                  </a:lnTo>
                  <a:lnTo>
                    <a:pt x="1110" y="412"/>
                  </a:lnTo>
                  <a:lnTo>
                    <a:pt x="1100" y="408"/>
                  </a:lnTo>
                  <a:lnTo>
                    <a:pt x="1091" y="403"/>
                  </a:lnTo>
                  <a:lnTo>
                    <a:pt x="1082" y="397"/>
                  </a:lnTo>
                  <a:lnTo>
                    <a:pt x="1073" y="391"/>
                  </a:lnTo>
                  <a:lnTo>
                    <a:pt x="1069" y="388"/>
                  </a:lnTo>
                  <a:lnTo>
                    <a:pt x="1065" y="385"/>
                  </a:lnTo>
                  <a:lnTo>
                    <a:pt x="1061" y="382"/>
                  </a:lnTo>
                  <a:lnTo>
                    <a:pt x="1057" y="379"/>
                  </a:lnTo>
                  <a:lnTo>
                    <a:pt x="1049" y="372"/>
                  </a:lnTo>
                  <a:lnTo>
                    <a:pt x="1046" y="368"/>
                  </a:lnTo>
                  <a:lnTo>
                    <a:pt x="1042" y="364"/>
                  </a:lnTo>
                  <a:lnTo>
                    <a:pt x="1035" y="356"/>
                  </a:lnTo>
                  <a:lnTo>
                    <a:pt x="1029" y="348"/>
                  </a:lnTo>
                  <a:lnTo>
                    <a:pt x="1026" y="344"/>
                  </a:lnTo>
                  <a:lnTo>
                    <a:pt x="1023" y="340"/>
                  </a:lnTo>
                  <a:lnTo>
                    <a:pt x="1017" y="331"/>
                  </a:lnTo>
                  <a:lnTo>
                    <a:pt x="1012" y="322"/>
                  </a:lnTo>
                  <a:lnTo>
                    <a:pt x="1007" y="313"/>
                  </a:lnTo>
                  <a:lnTo>
                    <a:pt x="1003" y="303"/>
                  </a:lnTo>
                  <a:lnTo>
                    <a:pt x="1001" y="298"/>
                  </a:lnTo>
                  <a:lnTo>
                    <a:pt x="999" y="293"/>
                  </a:lnTo>
                  <a:lnTo>
                    <a:pt x="995" y="283"/>
                  </a:lnTo>
                  <a:lnTo>
                    <a:pt x="992" y="272"/>
                  </a:lnTo>
                  <a:lnTo>
                    <a:pt x="990" y="262"/>
                  </a:lnTo>
                  <a:lnTo>
                    <a:pt x="988" y="251"/>
                  </a:lnTo>
                  <a:lnTo>
                    <a:pt x="987" y="239"/>
                  </a:lnTo>
                  <a:lnTo>
                    <a:pt x="986" y="234"/>
                  </a:lnTo>
                  <a:lnTo>
                    <a:pt x="986" y="228"/>
                  </a:lnTo>
                  <a:lnTo>
                    <a:pt x="986" y="216"/>
                  </a:lnTo>
                  <a:lnTo>
                    <a:pt x="986" y="205"/>
                  </a:lnTo>
                  <a:lnTo>
                    <a:pt x="987" y="193"/>
                  </a:lnTo>
                  <a:lnTo>
                    <a:pt x="988" y="182"/>
                  </a:lnTo>
                  <a:lnTo>
                    <a:pt x="990" y="171"/>
                  </a:lnTo>
                  <a:lnTo>
                    <a:pt x="992" y="160"/>
                  </a:lnTo>
                  <a:lnTo>
                    <a:pt x="995" y="150"/>
                  </a:lnTo>
                  <a:lnTo>
                    <a:pt x="999" y="140"/>
                  </a:lnTo>
                  <a:lnTo>
                    <a:pt x="1003" y="130"/>
                  </a:lnTo>
                  <a:lnTo>
                    <a:pt x="1007" y="120"/>
                  </a:lnTo>
                  <a:lnTo>
                    <a:pt x="1012" y="111"/>
                  </a:lnTo>
                  <a:lnTo>
                    <a:pt x="1017" y="102"/>
                  </a:lnTo>
                  <a:lnTo>
                    <a:pt x="1023" y="93"/>
                  </a:lnTo>
                  <a:lnTo>
                    <a:pt x="1029" y="84"/>
                  </a:lnTo>
                  <a:lnTo>
                    <a:pt x="1035" y="76"/>
                  </a:lnTo>
                  <a:lnTo>
                    <a:pt x="1042" y="69"/>
                  </a:lnTo>
                  <a:lnTo>
                    <a:pt x="1049" y="61"/>
                  </a:lnTo>
                  <a:lnTo>
                    <a:pt x="1057" y="54"/>
                  </a:lnTo>
                  <a:lnTo>
                    <a:pt x="1065" y="47"/>
                  </a:lnTo>
                  <a:lnTo>
                    <a:pt x="1073" y="41"/>
                  </a:lnTo>
                  <a:lnTo>
                    <a:pt x="1082" y="35"/>
                  </a:lnTo>
                  <a:lnTo>
                    <a:pt x="1091" y="30"/>
                  </a:lnTo>
                  <a:lnTo>
                    <a:pt x="1100" y="25"/>
                  </a:lnTo>
                  <a:lnTo>
                    <a:pt x="1110" y="20"/>
                  </a:lnTo>
                  <a:lnTo>
                    <a:pt x="1120" y="16"/>
                  </a:lnTo>
                  <a:lnTo>
                    <a:pt x="1130" y="12"/>
                  </a:lnTo>
                  <a:lnTo>
                    <a:pt x="1141" y="9"/>
                  </a:lnTo>
                  <a:lnTo>
                    <a:pt x="1152" y="6"/>
                  </a:lnTo>
                  <a:lnTo>
                    <a:pt x="1163" y="4"/>
                  </a:lnTo>
                  <a:lnTo>
                    <a:pt x="1174" y="2"/>
                  </a:lnTo>
                  <a:lnTo>
                    <a:pt x="1186" y="1"/>
                  </a:lnTo>
                  <a:lnTo>
                    <a:pt x="1197" y="0"/>
                  </a:lnTo>
                  <a:lnTo>
                    <a:pt x="1209" y="0"/>
                  </a:lnTo>
                  <a:close/>
                  <a:moveTo>
                    <a:pt x="2022" y="7"/>
                  </a:moveTo>
                  <a:lnTo>
                    <a:pt x="2026" y="8"/>
                  </a:lnTo>
                  <a:lnTo>
                    <a:pt x="2028" y="8"/>
                  </a:lnTo>
                  <a:lnTo>
                    <a:pt x="2029" y="10"/>
                  </a:lnTo>
                  <a:lnTo>
                    <a:pt x="2030" y="11"/>
                  </a:lnTo>
                  <a:lnTo>
                    <a:pt x="2031" y="13"/>
                  </a:lnTo>
                  <a:lnTo>
                    <a:pt x="2031" y="16"/>
                  </a:lnTo>
                  <a:lnTo>
                    <a:pt x="2031" y="19"/>
                  </a:lnTo>
                  <a:lnTo>
                    <a:pt x="2017" y="88"/>
                  </a:lnTo>
                  <a:lnTo>
                    <a:pt x="2015" y="93"/>
                  </a:lnTo>
                  <a:lnTo>
                    <a:pt x="2013" y="96"/>
                  </a:lnTo>
                  <a:lnTo>
                    <a:pt x="2012" y="97"/>
                  </a:lnTo>
                  <a:lnTo>
                    <a:pt x="2010" y="98"/>
                  </a:lnTo>
                  <a:lnTo>
                    <a:pt x="2008" y="99"/>
                  </a:lnTo>
                  <a:lnTo>
                    <a:pt x="2005" y="99"/>
                  </a:lnTo>
                  <a:lnTo>
                    <a:pt x="1950" y="99"/>
                  </a:lnTo>
                  <a:lnTo>
                    <a:pt x="1950" y="416"/>
                  </a:lnTo>
                  <a:lnTo>
                    <a:pt x="1949" y="418"/>
                  </a:lnTo>
                  <a:lnTo>
                    <a:pt x="1949" y="420"/>
                  </a:lnTo>
                  <a:lnTo>
                    <a:pt x="1947" y="423"/>
                  </a:lnTo>
                  <a:lnTo>
                    <a:pt x="1945" y="424"/>
                  </a:lnTo>
                  <a:lnTo>
                    <a:pt x="1944" y="425"/>
                  </a:lnTo>
                  <a:lnTo>
                    <a:pt x="1940" y="426"/>
                  </a:lnTo>
                  <a:lnTo>
                    <a:pt x="1861" y="426"/>
                  </a:lnTo>
                  <a:lnTo>
                    <a:pt x="1858" y="425"/>
                  </a:lnTo>
                  <a:lnTo>
                    <a:pt x="1855" y="423"/>
                  </a:lnTo>
                  <a:lnTo>
                    <a:pt x="1854" y="421"/>
                  </a:lnTo>
                  <a:lnTo>
                    <a:pt x="1853" y="420"/>
                  </a:lnTo>
                  <a:lnTo>
                    <a:pt x="1853" y="418"/>
                  </a:lnTo>
                  <a:lnTo>
                    <a:pt x="1853" y="416"/>
                  </a:lnTo>
                  <a:lnTo>
                    <a:pt x="1853" y="99"/>
                  </a:lnTo>
                  <a:lnTo>
                    <a:pt x="1796" y="99"/>
                  </a:lnTo>
                  <a:lnTo>
                    <a:pt x="1792" y="98"/>
                  </a:lnTo>
                  <a:lnTo>
                    <a:pt x="1789" y="96"/>
                  </a:lnTo>
                  <a:lnTo>
                    <a:pt x="1787" y="93"/>
                  </a:lnTo>
                  <a:lnTo>
                    <a:pt x="1786" y="91"/>
                  </a:lnTo>
                  <a:lnTo>
                    <a:pt x="1786" y="89"/>
                  </a:lnTo>
                  <a:lnTo>
                    <a:pt x="1786" y="17"/>
                  </a:lnTo>
                  <a:lnTo>
                    <a:pt x="1786" y="15"/>
                  </a:lnTo>
                  <a:lnTo>
                    <a:pt x="1787" y="13"/>
                  </a:lnTo>
                  <a:lnTo>
                    <a:pt x="1789" y="10"/>
                  </a:lnTo>
                  <a:lnTo>
                    <a:pt x="1790" y="9"/>
                  </a:lnTo>
                  <a:lnTo>
                    <a:pt x="1792" y="8"/>
                  </a:lnTo>
                  <a:lnTo>
                    <a:pt x="1796" y="7"/>
                  </a:lnTo>
                  <a:lnTo>
                    <a:pt x="2022" y="7"/>
                  </a:lnTo>
                  <a:close/>
                  <a:moveTo>
                    <a:pt x="1716" y="7"/>
                  </a:moveTo>
                  <a:lnTo>
                    <a:pt x="1720" y="8"/>
                  </a:lnTo>
                  <a:lnTo>
                    <a:pt x="1722" y="8"/>
                  </a:lnTo>
                  <a:lnTo>
                    <a:pt x="1723" y="10"/>
                  </a:lnTo>
                  <a:lnTo>
                    <a:pt x="1724" y="11"/>
                  </a:lnTo>
                  <a:lnTo>
                    <a:pt x="1725" y="13"/>
                  </a:lnTo>
                  <a:lnTo>
                    <a:pt x="1725" y="16"/>
                  </a:lnTo>
                  <a:lnTo>
                    <a:pt x="1725" y="19"/>
                  </a:lnTo>
                  <a:lnTo>
                    <a:pt x="1711" y="88"/>
                  </a:lnTo>
                  <a:lnTo>
                    <a:pt x="1710" y="93"/>
                  </a:lnTo>
                  <a:lnTo>
                    <a:pt x="1707" y="96"/>
                  </a:lnTo>
                  <a:lnTo>
                    <a:pt x="1706" y="97"/>
                  </a:lnTo>
                  <a:lnTo>
                    <a:pt x="1704" y="98"/>
                  </a:lnTo>
                  <a:lnTo>
                    <a:pt x="1702" y="99"/>
                  </a:lnTo>
                  <a:lnTo>
                    <a:pt x="1699" y="99"/>
                  </a:lnTo>
                  <a:lnTo>
                    <a:pt x="1653" y="99"/>
                  </a:lnTo>
                  <a:lnTo>
                    <a:pt x="1653" y="416"/>
                  </a:lnTo>
                  <a:lnTo>
                    <a:pt x="1653" y="418"/>
                  </a:lnTo>
                  <a:lnTo>
                    <a:pt x="1652" y="420"/>
                  </a:lnTo>
                  <a:lnTo>
                    <a:pt x="1650" y="423"/>
                  </a:lnTo>
                  <a:lnTo>
                    <a:pt x="1649" y="424"/>
                  </a:lnTo>
                  <a:lnTo>
                    <a:pt x="1647" y="425"/>
                  </a:lnTo>
                  <a:lnTo>
                    <a:pt x="1644" y="426"/>
                  </a:lnTo>
                  <a:lnTo>
                    <a:pt x="1565" y="426"/>
                  </a:lnTo>
                  <a:lnTo>
                    <a:pt x="1561" y="425"/>
                  </a:lnTo>
                  <a:lnTo>
                    <a:pt x="1558" y="423"/>
                  </a:lnTo>
                  <a:lnTo>
                    <a:pt x="1557" y="421"/>
                  </a:lnTo>
                  <a:lnTo>
                    <a:pt x="1557" y="420"/>
                  </a:lnTo>
                  <a:lnTo>
                    <a:pt x="1556" y="418"/>
                  </a:lnTo>
                  <a:lnTo>
                    <a:pt x="1556" y="416"/>
                  </a:lnTo>
                  <a:lnTo>
                    <a:pt x="1556" y="99"/>
                  </a:lnTo>
                  <a:lnTo>
                    <a:pt x="1490" y="99"/>
                  </a:lnTo>
                  <a:lnTo>
                    <a:pt x="1486" y="98"/>
                  </a:lnTo>
                  <a:lnTo>
                    <a:pt x="1483" y="96"/>
                  </a:lnTo>
                  <a:lnTo>
                    <a:pt x="1481" y="93"/>
                  </a:lnTo>
                  <a:lnTo>
                    <a:pt x="1481" y="91"/>
                  </a:lnTo>
                  <a:lnTo>
                    <a:pt x="1480" y="89"/>
                  </a:lnTo>
                  <a:lnTo>
                    <a:pt x="1480" y="17"/>
                  </a:lnTo>
                  <a:lnTo>
                    <a:pt x="1481" y="15"/>
                  </a:lnTo>
                  <a:lnTo>
                    <a:pt x="1481" y="13"/>
                  </a:lnTo>
                  <a:lnTo>
                    <a:pt x="1483" y="10"/>
                  </a:lnTo>
                  <a:lnTo>
                    <a:pt x="1484" y="9"/>
                  </a:lnTo>
                  <a:lnTo>
                    <a:pt x="1486" y="8"/>
                  </a:lnTo>
                  <a:lnTo>
                    <a:pt x="1490" y="7"/>
                  </a:lnTo>
                  <a:lnTo>
                    <a:pt x="1716" y="7"/>
                  </a:lnTo>
                  <a:close/>
                  <a:moveTo>
                    <a:pt x="2168" y="281"/>
                  </a:moveTo>
                  <a:lnTo>
                    <a:pt x="2222" y="281"/>
                  </a:lnTo>
                  <a:lnTo>
                    <a:pt x="2195" y="154"/>
                  </a:lnTo>
                  <a:lnTo>
                    <a:pt x="2168" y="281"/>
                  </a:lnTo>
                  <a:close/>
                  <a:moveTo>
                    <a:pt x="2236" y="359"/>
                  </a:moveTo>
                  <a:lnTo>
                    <a:pt x="2154" y="359"/>
                  </a:lnTo>
                  <a:lnTo>
                    <a:pt x="2142" y="416"/>
                  </a:lnTo>
                  <a:lnTo>
                    <a:pt x="2142" y="418"/>
                  </a:lnTo>
                  <a:lnTo>
                    <a:pt x="2141" y="420"/>
                  </a:lnTo>
                  <a:lnTo>
                    <a:pt x="2138" y="423"/>
                  </a:lnTo>
                  <a:lnTo>
                    <a:pt x="2136" y="424"/>
                  </a:lnTo>
                  <a:lnTo>
                    <a:pt x="2135" y="425"/>
                  </a:lnTo>
                  <a:lnTo>
                    <a:pt x="2133" y="426"/>
                  </a:lnTo>
                  <a:lnTo>
                    <a:pt x="2131" y="426"/>
                  </a:lnTo>
                  <a:lnTo>
                    <a:pt x="2058" y="426"/>
                  </a:lnTo>
                  <a:lnTo>
                    <a:pt x="2056" y="425"/>
                  </a:lnTo>
                  <a:lnTo>
                    <a:pt x="2054" y="425"/>
                  </a:lnTo>
                  <a:lnTo>
                    <a:pt x="2052" y="424"/>
                  </a:lnTo>
                  <a:lnTo>
                    <a:pt x="2051" y="422"/>
                  </a:lnTo>
                  <a:lnTo>
                    <a:pt x="2050" y="421"/>
                  </a:lnTo>
                  <a:lnTo>
                    <a:pt x="2049" y="418"/>
                  </a:lnTo>
                  <a:lnTo>
                    <a:pt x="2050" y="412"/>
                  </a:lnTo>
                  <a:lnTo>
                    <a:pt x="2142" y="17"/>
                  </a:lnTo>
                  <a:lnTo>
                    <a:pt x="2143" y="15"/>
                  </a:lnTo>
                  <a:lnTo>
                    <a:pt x="2144" y="13"/>
                  </a:lnTo>
                  <a:lnTo>
                    <a:pt x="2147" y="10"/>
                  </a:lnTo>
                  <a:lnTo>
                    <a:pt x="2149" y="9"/>
                  </a:lnTo>
                  <a:lnTo>
                    <a:pt x="2151" y="8"/>
                  </a:lnTo>
                  <a:lnTo>
                    <a:pt x="2155" y="7"/>
                  </a:lnTo>
                  <a:lnTo>
                    <a:pt x="2236" y="7"/>
                  </a:lnTo>
                  <a:lnTo>
                    <a:pt x="2239" y="7"/>
                  </a:lnTo>
                  <a:lnTo>
                    <a:pt x="2241" y="8"/>
                  </a:lnTo>
                  <a:lnTo>
                    <a:pt x="2245" y="10"/>
                  </a:lnTo>
                  <a:lnTo>
                    <a:pt x="2248" y="13"/>
                  </a:lnTo>
                  <a:lnTo>
                    <a:pt x="2249" y="15"/>
                  </a:lnTo>
                  <a:lnTo>
                    <a:pt x="2249" y="17"/>
                  </a:lnTo>
                  <a:lnTo>
                    <a:pt x="2343" y="412"/>
                  </a:lnTo>
                  <a:lnTo>
                    <a:pt x="2343" y="418"/>
                  </a:lnTo>
                  <a:lnTo>
                    <a:pt x="2343" y="421"/>
                  </a:lnTo>
                  <a:lnTo>
                    <a:pt x="2342" y="422"/>
                  </a:lnTo>
                  <a:lnTo>
                    <a:pt x="2341" y="424"/>
                  </a:lnTo>
                  <a:lnTo>
                    <a:pt x="2339" y="425"/>
                  </a:lnTo>
                  <a:lnTo>
                    <a:pt x="2335" y="426"/>
                  </a:lnTo>
                  <a:lnTo>
                    <a:pt x="2260" y="426"/>
                  </a:lnTo>
                  <a:lnTo>
                    <a:pt x="2256" y="425"/>
                  </a:lnTo>
                  <a:lnTo>
                    <a:pt x="2252" y="423"/>
                  </a:lnTo>
                  <a:lnTo>
                    <a:pt x="2251" y="422"/>
                  </a:lnTo>
                  <a:lnTo>
                    <a:pt x="2249" y="420"/>
                  </a:lnTo>
                  <a:lnTo>
                    <a:pt x="2248" y="418"/>
                  </a:lnTo>
                  <a:lnTo>
                    <a:pt x="2248" y="416"/>
                  </a:lnTo>
                  <a:lnTo>
                    <a:pt x="2236" y="359"/>
                  </a:lnTo>
                  <a:close/>
                  <a:moveTo>
                    <a:pt x="912" y="4"/>
                  </a:moveTo>
                  <a:lnTo>
                    <a:pt x="915" y="5"/>
                  </a:lnTo>
                  <a:lnTo>
                    <a:pt x="918" y="7"/>
                  </a:lnTo>
                  <a:lnTo>
                    <a:pt x="919" y="9"/>
                  </a:lnTo>
                  <a:lnTo>
                    <a:pt x="920" y="10"/>
                  </a:lnTo>
                  <a:lnTo>
                    <a:pt x="921" y="12"/>
                  </a:lnTo>
                  <a:lnTo>
                    <a:pt x="921" y="14"/>
                  </a:lnTo>
                  <a:lnTo>
                    <a:pt x="921" y="291"/>
                  </a:lnTo>
                  <a:lnTo>
                    <a:pt x="921" y="301"/>
                  </a:lnTo>
                  <a:lnTo>
                    <a:pt x="920" y="310"/>
                  </a:lnTo>
                  <a:lnTo>
                    <a:pt x="919" y="320"/>
                  </a:lnTo>
                  <a:lnTo>
                    <a:pt x="918" y="328"/>
                  </a:lnTo>
                  <a:lnTo>
                    <a:pt x="917" y="336"/>
                  </a:lnTo>
                  <a:lnTo>
                    <a:pt x="915" y="344"/>
                  </a:lnTo>
                  <a:lnTo>
                    <a:pt x="911" y="359"/>
                  </a:lnTo>
                  <a:lnTo>
                    <a:pt x="908" y="365"/>
                  </a:lnTo>
                  <a:lnTo>
                    <a:pt x="906" y="372"/>
                  </a:lnTo>
                  <a:lnTo>
                    <a:pt x="899" y="383"/>
                  </a:lnTo>
                  <a:lnTo>
                    <a:pt x="896" y="388"/>
                  </a:lnTo>
                  <a:lnTo>
                    <a:pt x="893" y="393"/>
                  </a:lnTo>
                  <a:lnTo>
                    <a:pt x="885" y="401"/>
                  </a:lnTo>
                  <a:lnTo>
                    <a:pt x="877" y="408"/>
                  </a:lnTo>
                  <a:lnTo>
                    <a:pt x="872" y="411"/>
                  </a:lnTo>
                  <a:lnTo>
                    <a:pt x="868" y="414"/>
                  </a:lnTo>
                  <a:lnTo>
                    <a:pt x="858" y="419"/>
                  </a:lnTo>
                  <a:lnTo>
                    <a:pt x="849" y="422"/>
                  </a:lnTo>
                  <a:lnTo>
                    <a:pt x="839" y="425"/>
                  </a:lnTo>
                  <a:lnTo>
                    <a:pt x="829" y="427"/>
                  </a:lnTo>
                  <a:lnTo>
                    <a:pt x="819" y="428"/>
                  </a:lnTo>
                  <a:lnTo>
                    <a:pt x="808" y="428"/>
                  </a:lnTo>
                  <a:lnTo>
                    <a:pt x="796" y="428"/>
                  </a:lnTo>
                  <a:lnTo>
                    <a:pt x="784" y="427"/>
                  </a:lnTo>
                  <a:lnTo>
                    <a:pt x="774" y="425"/>
                  </a:lnTo>
                  <a:lnTo>
                    <a:pt x="764" y="423"/>
                  </a:lnTo>
                  <a:lnTo>
                    <a:pt x="759" y="421"/>
                  </a:lnTo>
                  <a:lnTo>
                    <a:pt x="756" y="419"/>
                  </a:lnTo>
                  <a:lnTo>
                    <a:pt x="753" y="415"/>
                  </a:lnTo>
                  <a:lnTo>
                    <a:pt x="752" y="411"/>
                  </a:lnTo>
                  <a:lnTo>
                    <a:pt x="739" y="353"/>
                  </a:lnTo>
                  <a:lnTo>
                    <a:pt x="738" y="350"/>
                  </a:lnTo>
                  <a:lnTo>
                    <a:pt x="739" y="347"/>
                  </a:lnTo>
                  <a:lnTo>
                    <a:pt x="739" y="345"/>
                  </a:lnTo>
                  <a:lnTo>
                    <a:pt x="741" y="344"/>
                  </a:lnTo>
                  <a:lnTo>
                    <a:pt x="742" y="342"/>
                  </a:lnTo>
                  <a:lnTo>
                    <a:pt x="744" y="341"/>
                  </a:lnTo>
                  <a:lnTo>
                    <a:pt x="746" y="341"/>
                  </a:lnTo>
                  <a:lnTo>
                    <a:pt x="749" y="341"/>
                  </a:lnTo>
                  <a:lnTo>
                    <a:pt x="763" y="344"/>
                  </a:lnTo>
                  <a:lnTo>
                    <a:pt x="773" y="346"/>
                  </a:lnTo>
                  <a:lnTo>
                    <a:pt x="785" y="346"/>
                  </a:lnTo>
                  <a:lnTo>
                    <a:pt x="791" y="346"/>
                  </a:lnTo>
                  <a:lnTo>
                    <a:pt x="797" y="345"/>
                  </a:lnTo>
                  <a:lnTo>
                    <a:pt x="803" y="344"/>
                  </a:lnTo>
                  <a:lnTo>
                    <a:pt x="808" y="342"/>
                  </a:lnTo>
                  <a:lnTo>
                    <a:pt x="812" y="339"/>
                  </a:lnTo>
                  <a:lnTo>
                    <a:pt x="816" y="336"/>
                  </a:lnTo>
                  <a:lnTo>
                    <a:pt x="817" y="335"/>
                  </a:lnTo>
                  <a:lnTo>
                    <a:pt x="819" y="333"/>
                  </a:lnTo>
                  <a:lnTo>
                    <a:pt x="821" y="328"/>
                  </a:lnTo>
                  <a:lnTo>
                    <a:pt x="824" y="323"/>
                  </a:lnTo>
                  <a:lnTo>
                    <a:pt x="825" y="318"/>
                  </a:lnTo>
                  <a:lnTo>
                    <a:pt x="827" y="311"/>
                  </a:lnTo>
                  <a:lnTo>
                    <a:pt x="828" y="304"/>
                  </a:lnTo>
                  <a:lnTo>
                    <a:pt x="829" y="297"/>
                  </a:lnTo>
                  <a:lnTo>
                    <a:pt x="829" y="288"/>
                  </a:lnTo>
                  <a:lnTo>
                    <a:pt x="830" y="269"/>
                  </a:lnTo>
                  <a:lnTo>
                    <a:pt x="830" y="14"/>
                  </a:lnTo>
                  <a:lnTo>
                    <a:pt x="830" y="12"/>
                  </a:lnTo>
                  <a:lnTo>
                    <a:pt x="830" y="10"/>
                  </a:lnTo>
                  <a:lnTo>
                    <a:pt x="832" y="7"/>
                  </a:lnTo>
                  <a:lnTo>
                    <a:pt x="833" y="6"/>
                  </a:lnTo>
                  <a:lnTo>
                    <a:pt x="835" y="5"/>
                  </a:lnTo>
                  <a:lnTo>
                    <a:pt x="837" y="5"/>
                  </a:lnTo>
                  <a:lnTo>
                    <a:pt x="838" y="4"/>
                  </a:lnTo>
                  <a:lnTo>
                    <a:pt x="912" y="4"/>
                  </a:lnTo>
                  <a:close/>
                  <a:moveTo>
                    <a:pt x="2826" y="1740"/>
                  </a:moveTo>
                  <a:lnTo>
                    <a:pt x="2925" y="1740"/>
                  </a:lnTo>
                  <a:lnTo>
                    <a:pt x="2875" y="1609"/>
                  </a:lnTo>
                  <a:lnTo>
                    <a:pt x="2826" y="1740"/>
                  </a:lnTo>
                  <a:close/>
                  <a:moveTo>
                    <a:pt x="2956" y="1822"/>
                  </a:moveTo>
                  <a:lnTo>
                    <a:pt x="2796" y="1822"/>
                  </a:lnTo>
                  <a:lnTo>
                    <a:pt x="2774" y="1879"/>
                  </a:lnTo>
                  <a:lnTo>
                    <a:pt x="2773" y="1882"/>
                  </a:lnTo>
                  <a:lnTo>
                    <a:pt x="2771" y="1884"/>
                  </a:lnTo>
                  <a:lnTo>
                    <a:pt x="2770" y="1885"/>
                  </a:lnTo>
                  <a:lnTo>
                    <a:pt x="2768" y="1887"/>
                  </a:lnTo>
                  <a:lnTo>
                    <a:pt x="2764" y="1888"/>
                  </a:lnTo>
                  <a:lnTo>
                    <a:pt x="2760" y="1889"/>
                  </a:lnTo>
                  <a:lnTo>
                    <a:pt x="2681" y="1889"/>
                  </a:lnTo>
                  <a:lnTo>
                    <a:pt x="2679" y="1889"/>
                  </a:lnTo>
                  <a:lnTo>
                    <a:pt x="2677" y="1888"/>
                  </a:lnTo>
                  <a:lnTo>
                    <a:pt x="2675" y="1887"/>
                  </a:lnTo>
                  <a:lnTo>
                    <a:pt x="2673" y="1885"/>
                  </a:lnTo>
                  <a:lnTo>
                    <a:pt x="2672" y="1883"/>
                  </a:lnTo>
                  <a:lnTo>
                    <a:pt x="2671" y="1881"/>
                  </a:lnTo>
                  <a:lnTo>
                    <a:pt x="2672" y="1878"/>
                  </a:lnTo>
                  <a:lnTo>
                    <a:pt x="2673" y="1875"/>
                  </a:lnTo>
                  <a:lnTo>
                    <a:pt x="2828" y="1480"/>
                  </a:lnTo>
                  <a:lnTo>
                    <a:pt x="2829" y="1477"/>
                  </a:lnTo>
                  <a:lnTo>
                    <a:pt x="2830" y="1475"/>
                  </a:lnTo>
                  <a:lnTo>
                    <a:pt x="2833" y="1472"/>
                  </a:lnTo>
                  <a:lnTo>
                    <a:pt x="2837" y="1471"/>
                  </a:lnTo>
                  <a:lnTo>
                    <a:pt x="2839" y="1470"/>
                  </a:lnTo>
                  <a:lnTo>
                    <a:pt x="2842" y="1470"/>
                  </a:lnTo>
                  <a:lnTo>
                    <a:pt x="2911" y="1470"/>
                  </a:lnTo>
                  <a:lnTo>
                    <a:pt x="2916" y="1471"/>
                  </a:lnTo>
                  <a:lnTo>
                    <a:pt x="2920" y="1472"/>
                  </a:lnTo>
                  <a:lnTo>
                    <a:pt x="2923" y="1475"/>
                  </a:lnTo>
                  <a:lnTo>
                    <a:pt x="2924" y="1477"/>
                  </a:lnTo>
                  <a:lnTo>
                    <a:pt x="2925" y="1480"/>
                  </a:lnTo>
                  <a:lnTo>
                    <a:pt x="3081" y="1875"/>
                  </a:lnTo>
                  <a:lnTo>
                    <a:pt x="3082" y="1878"/>
                  </a:lnTo>
                  <a:lnTo>
                    <a:pt x="3082" y="1881"/>
                  </a:lnTo>
                  <a:lnTo>
                    <a:pt x="3081" y="1883"/>
                  </a:lnTo>
                  <a:lnTo>
                    <a:pt x="3080" y="1885"/>
                  </a:lnTo>
                  <a:lnTo>
                    <a:pt x="3079" y="1887"/>
                  </a:lnTo>
                  <a:lnTo>
                    <a:pt x="3077" y="1888"/>
                  </a:lnTo>
                  <a:lnTo>
                    <a:pt x="3074" y="1889"/>
                  </a:lnTo>
                  <a:lnTo>
                    <a:pt x="3072" y="1889"/>
                  </a:lnTo>
                  <a:lnTo>
                    <a:pt x="2991" y="1889"/>
                  </a:lnTo>
                  <a:lnTo>
                    <a:pt x="2987" y="1888"/>
                  </a:lnTo>
                  <a:lnTo>
                    <a:pt x="2985" y="1888"/>
                  </a:lnTo>
                  <a:lnTo>
                    <a:pt x="2983" y="1887"/>
                  </a:lnTo>
                  <a:lnTo>
                    <a:pt x="2981" y="1885"/>
                  </a:lnTo>
                  <a:lnTo>
                    <a:pt x="2980" y="1884"/>
                  </a:lnTo>
                  <a:lnTo>
                    <a:pt x="2979" y="1882"/>
                  </a:lnTo>
                  <a:lnTo>
                    <a:pt x="2978" y="1879"/>
                  </a:lnTo>
                  <a:lnTo>
                    <a:pt x="2956" y="1822"/>
                  </a:lnTo>
                  <a:close/>
                  <a:moveTo>
                    <a:pt x="1829" y="1889"/>
                  </a:moveTo>
                  <a:lnTo>
                    <a:pt x="1747" y="1889"/>
                  </a:lnTo>
                  <a:lnTo>
                    <a:pt x="1743" y="1888"/>
                  </a:lnTo>
                  <a:lnTo>
                    <a:pt x="1739" y="1886"/>
                  </a:lnTo>
                  <a:lnTo>
                    <a:pt x="1738" y="1885"/>
                  </a:lnTo>
                  <a:lnTo>
                    <a:pt x="1737" y="1883"/>
                  </a:lnTo>
                  <a:lnTo>
                    <a:pt x="1737" y="1881"/>
                  </a:lnTo>
                  <a:lnTo>
                    <a:pt x="1737" y="1879"/>
                  </a:lnTo>
                  <a:lnTo>
                    <a:pt x="1737" y="1480"/>
                  </a:lnTo>
                  <a:lnTo>
                    <a:pt x="1737" y="1478"/>
                  </a:lnTo>
                  <a:lnTo>
                    <a:pt x="1737" y="1476"/>
                  </a:lnTo>
                  <a:lnTo>
                    <a:pt x="1739" y="1473"/>
                  </a:lnTo>
                  <a:lnTo>
                    <a:pt x="1741" y="1472"/>
                  </a:lnTo>
                  <a:lnTo>
                    <a:pt x="1743" y="1471"/>
                  </a:lnTo>
                  <a:lnTo>
                    <a:pt x="1747" y="1470"/>
                  </a:lnTo>
                  <a:lnTo>
                    <a:pt x="1829" y="1470"/>
                  </a:lnTo>
                  <a:lnTo>
                    <a:pt x="1833" y="1471"/>
                  </a:lnTo>
                  <a:lnTo>
                    <a:pt x="1836" y="1473"/>
                  </a:lnTo>
                  <a:lnTo>
                    <a:pt x="1837" y="1474"/>
                  </a:lnTo>
                  <a:lnTo>
                    <a:pt x="1838" y="1476"/>
                  </a:lnTo>
                  <a:lnTo>
                    <a:pt x="1839" y="1478"/>
                  </a:lnTo>
                  <a:lnTo>
                    <a:pt x="1839" y="1480"/>
                  </a:lnTo>
                  <a:lnTo>
                    <a:pt x="1839" y="1655"/>
                  </a:lnTo>
                  <a:lnTo>
                    <a:pt x="1982" y="1480"/>
                  </a:lnTo>
                  <a:lnTo>
                    <a:pt x="1986" y="1476"/>
                  </a:lnTo>
                  <a:lnTo>
                    <a:pt x="1987" y="1474"/>
                  </a:lnTo>
                  <a:lnTo>
                    <a:pt x="1990" y="1473"/>
                  </a:lnTo>
                  <a:lnTo>
                    <a:pt x="1992" y="1472"/>
                  </a:lnTo>
                  <a:lnTo>
                    <a:pt x="1994" y="1471"/>
                  </a:lnTo>
                  <a:lnTo>
                    <a:pt x="1997" y="1470"/>
                  </a:lnTo>
                  <a:lnTo>
                    <a:pt x="2000" y="1470"/>
                  </a:lnTo>
                  <a:lnTo>
                    <a:pt x="2095" y="1470"/>
                  </a:lnTo>
                  <a:lnTo>
                    <a:pt x="2098" y="1471"/>
                  </a:lnTo>
                  <a:lnTo>
                    <a:pt x="2101" y="1472"/>
                  </a:lnTo>
                  <a:lnTo>
                    <a:pt x="2102" y="1473"/>
                  </a:lnTo>
                  <a:lnTo>
                    <a:pt x="2103" y="1475"/>
                  </a:lnTo>
                  <a:lnTo>
                    <a:pt x="2104" y="1478"/>
                  </a:lnTo>
                  <a:lnTo>
                    <a:pt x="2104" y="1480"/>
                  </a:lnTo>
                  <a:lnTo>
                    <a:pt x="2103" y="1483"/>
                  </a:lnTo>
                  <a:lnTo>
                    <a:pt x="2101" y="1485"/>
                  </a:lnTo>
                  <a:lnTo>
                    <a:pt x="1970" y="1646"/>
                  </a:lnTo>
                  <a:lnTo>
                    <a:pt x="2105" y="1876"/>
                  </a:lnTo>
                  <a:lnTo>
                    <a:pt x="2107" y="1878"/>
                  </a:lnTo>
                  <a:lnTo>
                    <a:pt x="2107" y="1880"/>
                  </a:lnTo>
                  <a:lnTo>
                    <a:pt x="2107" y="1883"/>
                  </a:lnTo>
                  <a:lnTo>
                    <a:pt x="2106" y="1885"/>
                  </a:lnTo>
                  <a:lnTo>
                    <a:pt x="2105" y="1886"/>
                  </a:lnTo>
                  <a:lnTo>
                    <a:pt x="2104" y="1888"/>
                  </a:lnTo>
                  <a:lnTo>
                    <a:pt x="2102" y="1888"/>
                  </a:lnTo>
                  <a:lnTo>
                    <a:pt x="2099" y="1889"/>
                  </a:lnTo>
                  <a:lnTo>
                    <a:pt x="2003" y="1889"/>
                  </a:lnTo>
                  <a:lnTo>
                    <a:pt x="1998" y="1888"/>
                  </a:lnTo>
                  <a:lnTo>
                    <a:pt x="1994" y="1887"/>
                  </a:lnTo>
                  <a:lnTo>
                    <a:pt x="1992" y="1885"/>
                  </a:lnTo>
                  <a:lnTo>
                    <a:pt x="1991" y="1884"/>
                  </a:lnTo>
                  <a:lnTo>
                    <a:pt x="1988" y="1879"/>
                  </a:lnTo>
                  <a:lnTo>
                    <a:pt x="1892" y="1713"/>
                  </a:lnTo>
                  <a:lnTo>
                    <a:pt x="1839" y="1778"/>
                  </a:lnTo>
                  <a:lnTo>
                    <a:pt x="1839" y="1879"/>
                  </a:lnTo>
                  <a:lnTo>
                    <a:pt x="1839" y="1881"/>
                  </a:lnTo>
                  <a:lnTo>
                    <a:pt x="1838" y="1883"/>
                  </a:lnTo>
                  <a:lnTo>
                    <a:pt x="1836" y="1886"/>
                  </a:lnTo>
                  <a:lnTo>
                    <a:pt x="1835" y="1887"/>
                  </a:lnTo>
                  <a:lnTo>
                    <a:pt x="1833" y="1888"/>
                  </a:lnTo>
                  <a:lnTo>
                    <a:pt x="1829" y="1889"/>
                  </a:lnTo>
                  <a:close/>
                  <a:moveTo>
                    <a:pt x="2168" y="1480"/>
                  </a:moveTo>
                  <a:lnTo>
                    <a:pt x="2168" y="1478"/>
                  </a:lnTo>
                  <a:lnTo>
                    <a:pt x="2168" y="1476"/>
                  </a:lnTo>
                  <a:lnTo>
                    <a:pt x="2171" y="1473"/>
                  </a:lnTo>
                  <a:lnTo>
                    <a:pt x="2172" y="1472"/>
                  </a:lnTo>
                  <a:lnTo>
                    <a:pt x="2174" y="1471"/>
                  </a:lnTo>
                  <a:lnTo>
                    <a:pt x="2178" y="1470"/>
                  </a:lnTo>
                  <a:lnTo>
                    <a:pt x="2260" y="1470"/>
                  </a:lnTo>
                  <a:lnTo>
                    <a:pt x="2264" y="1471"/>
                  </a:lnTo>
                  <a:lnTo>
                    <a:pt x="2267" y="1473"/>
                  </a:lnTo>
                  <a:lnTo>
                    <a:pt x="2268" y="1474"/>
                  </a:lnTo>
                  <a:lnTo>
                    <a:pt x="2269" y="1476"/>
                  </a:lnTo>
                  <a:lnTo>
                    <a:pt x="2270" y="1478"/>
                  </a:lnTo>
                  <a:lnTo>
                    <a:pt x="2270" y="1480"/>
                  </a:lnTo>
                  <a:lnTo>
                    <a:pt x="2270" y="1879"/>
                  </a:lnTo>
                  <a:lnTo>
                    <a:pt x="2270" y="1881"/>
                  </a:lnTo>
                  <a:lnTo>
                    <a:pt x="2269" y="1883"/>
                  </a:lnTo>
                  <a:lnTo>
                    <a:pt x="2267" y="1886"/>
                  </a:lnTo>
                  <a:lnTo>
                    <a:pt x="2266" y="1887"/>
                  </a:lnTo>
                  <a:lnTo>
                    <a:pt x="2264" y="1888"/>
                  </a:lnTo>
                  <a:lnTo>
                    <a:pt x="2260" y="1889"/>
                  </a:lnTo>
                  <a:lnTo>
                    <a:pt x="2178" y="1889"/>
                  </a:lnTo>
                  <a:lnTo>
                    <a:pt x="2174" y="1888"/>
                  </a:lnTo>
                  <a:lnTo>
                    <a:pt x="2171" y="1886"/>
                  </a:lnTo>
                  <a:lnTo>
                    <a:pt x="2169" y="1885"/>
                  </a:lnTo>
                  <a:lnTo>
                    <a:pt x="2168" y="1883"/>
                  </a:lnTo>
                  <a:lnTo>
                    <a:pt x="2168" y="1881"/>
                  </a:lnTo>
                  <a:lnTo>
                    <a:pt x="2168" y="1879"/>
                  </a:lnTo>
                  <a:lnTo>
                    <a:pt x="2168" y="1480"/>
                  </a:lnTo>
                  <a:close/>
                  <a:moveTo>
                    <a:pt x="2470" y="1879"/>
                  </a:moveTo>
                  <a:lnTo>
                    <a:pt x="2323" y="1484"/>
                  </a:lnTo>
                  <a:lnTo>
                    <a:pt x="2322" y="1481"/>
                  </a:lnTo>
                  <a:lnTo>
                    <a:pt x="2322" y="1478"/>
                  </a:lnTo>
                  <a:lnTo>
                    <a:pt x="2322" y="1476"/>
                  </a:lnTo>
                  <a:lnTo>
                    <a:pt x="2323" y="1474"/>
                  </a:lnTo>
                  <a:lnTo>
                    <a:pt x="2325" y="1472"/>
                  </a:lnTo>
                  <a:lnTo>
                    <a:pt x="2327" y="1471"/>
                  </a:lnTo>
                  <a:lnTo>
                    <a:pt x="2329" y="1470"/>
                  </a:lnTo>
                  <a:lnTo>
                    <a:pt x="2332" y="1470"/>
                  </a:lnTo>
                  <a:lnTo>
                    <a:pt x="2415" y="1470"/>
                  </a:lnTo>
                  <a:lnTo>
                    <a:pt x="2419" y="1471"/>
                  </a:lnTo>
                  <a:lnTo>
                    <a:pt x="2421" y="1471"/>
                  </a:lnTo>
                  <a:lnTo>
                    <a:pt x="2423" y="1472"/>
                  </a:lnTo>
                  <a:lnTo>
                    <a:pt x="2425" y="1474"/>
                  </a:lnTo>
                  <a:lnTo>
                    <a:pt x="2426" y="1475"/>
                  </a:lnTo>
                  <a:lnTo>
                    <a:pt x="2428" y="1477"/>
                  </a:lnTo>
                  <a:lnTo>
                    <a:pt x="2429" y="1480"/>
                  </a:lnTo>
                  <a:lnTo>
                    <a:pt x="2521" y="1734"/>
                  </a:lnTo>
                  <a:lnTo>
                    <a:pt x="2614" y="1480"/>
                  </a:lnTo>
                  <a:lnTo>
                    <a:pt x="2615" y="1477"/>
                  </a:lnTo>
                  <a:lnTo>
                    <a:pt x="2616" y="1475"/>
                  </a:lnTo>
                  <a:lnTo>
                    <a:pt x="2618" y="1474"/>
                  </a:lnTo>
                  <a:lnTo>
                    <a:pt x="2619" y="1472"/>
                  </a:lnTo>
                  <a:lnTo>
                    <a:pt x="2623" y="1471"/>
                  </a:lnTo>
                  <a:lnTo>
                    <a:pt x="2627" y="1470"/>
                  </a:lnTo>
                  <a:lnTo>
                    <a:pt x="2709" y="1470"/>
                  </a:lnTo>
                  <a:lnTo>
                    <a:pt x="2711" y="1470"/>
                  </a:lnTo>
                  <a:lnTo>
                    <a:pt x="2714" y="1471"/>
                  </a:lnTo>
                  <a:lnTo>
                    <a:pt x="2716" y="1472"/>
                  </a:lnTo>
                  <a:lnTo>
                    <a:pt x="2717" y="1474"/>
                  </a:lnTo>
                  <a:lnTo>
                    <a:pt x="2718" y="1476"/>
                  </a:lnTo>
                  <a:lnTo>
                    <a:pt x="2719" y="1478"/>
                  </a:lnTo>
                  <a:lnTo>
                    <a:pt x="2719" y="1481"/>
                  </a:lnTo>
                  <a:lnTo>
                    <a:pt x="2718" y="1484"/>
                  </a:lnTo>
                  <a:lnTo>
                    <a:pt x="2571" y="1879"/>
                  </a:lnTo>
                  <a:lnTo>
                    <a:pt x="2569" y="1883"/>
                  </a:lnTo>
                  <a:lnTo>
                    <a:pt x="2567" y="1885"/>
                  </a:lnTo>
                  <a:lnTo>
                    <a:pt x="2566" y="1886"/>
                  </a:lnTo>
                  <a:lnTo>
                    <a:pt x="2564" y="1887"/>
                  </a:lnTo>
                  <a:lnTo>
                    <a:pt x="2562" y="1888"/>
                  </a:lnTo>
                  <a:lnTo>
                    <a:pt x="2560" y="1889"/>
                  </a:lnTo>
                  <a:lnTo>
                    <a:pt x="2557" y="1889"/>
                  </a:lnTo>
                  <a:lnTo>
                    <a:pt x="2484" y="1889"/>
                  </a:lnTo>
                  <a:lnTo>
                    <a:pt x="2481" y="1889"/>
                  </a:lnTo>
                  <a:lnTo>
                    <a:pt x="2479" y="1888"/>
                  </a:lnTo>
                  <a:lnTo>
                    <a:pt x="2475" y="1886"/>
                  </a:lnTo>
                  <a:lnTo>
                    <a:pt x="2473" y="1885"/>
                  </a:lnTo>
                  <a:lnTo>
                    <a:pt x="2472" y="1883"/>
                  </a:lnTo>
                  <a:lnTo>
                    <a:pt x="2470" y="1879"/>
                  </a:lnTo>
                  <a:close/>
                  <a:moveTo>
                    <a:pt x="224" y="1804"/>
                  </a:moveTo>
                  <a:lnTo>
                    <a:pt x="236" y="1804"/>
                  </a:lnTo>
                  <a:lnTo>
                    <a:pt x="247" y="1802"/>
                  </a:lnTo>
                  <a:lnTo>
                    <a:pt x="259" y="1799"/>
                  </a:lnTo>
                  <a:lnTo>
                    <a:pt x="264" y="1797"/>
                  </a:lnTo>
                  <a:lnTo>
                    <a:pt x="269" y="1795"/>
                  </a:lnTo>
                  <a:lnTo>
                    <a:pt x="280" y="1791"/>
                  </a:lnTo>
                  <a:lnTo>
                    <a:pt x="289" y="1785"/>
                  </a:lnTo>
                  <a:lnTo>
                    <a:pt x="298" y="1778"/>
                  </a:lnTo>
                  <a:lnTo>
                    <a:pt x="306" y="1770"/>
                  </a:lnTo>
                  <a:lnTo>
                    <a:pt x="314" y="1762"/>
                  </a:lnTo>
                  <a:lnTo>
                    <a:pt x="320" y="1752"/>
                  </a:lnTo>
                  <a:lnTo>
                    <a:pt x="326" y="1742"/>
                  </a:lnTo>
                  <a:lnTo>
                    <a:pt x="331" y="1731"/>
                  </a:lnTo>
                  <a:lnTo>
                    <a:pt x="333" y="1725"/>
                  </a:lnTo>
                  <a:lnTo>
                    <a:pt x="334" y="1719"/>
                  </a:lnTo>
                  <a:lnTo>
                    <a:pt x="337" y="1707"/>
                  </a:lnTo>
                  <a:lnTo>
                    <a:pt x="339" y="1693"/>
                  </a:lnTo>
                  <a:lnTo>
                    <a:pt x="339" y="1687"/>
                  </a:lnTo>
                  <a:lnTo>
                    <a:pt x="340" y="1680"/>
                  </a:lnTo>
                  <a:lnTo>
                    <a:pt x="339" y="1666"/>
                  </a:lnTo>
                  <a:lnTo>
                    <a:pt x="337" y="1652"/>
                  </a:lnTo>
                  <a:lnTo>
                    <a:pt x="334" y="1640"/>
                  </a:lnTo>
                  <a:lnTo>
                    <a:pt x="333" y="1634"/>
                  </a:lnTo>
                  <a:lnTo>
                    <a:pt x="331" y="1628"/>
                  </a:lnTo>
                  <a:lnTo>
                    <a:pt x="326" y="1617"/>
                  </a:lnTo>
                  <a:lnTo>
                    <a:pt x="320" y="1607"/>
                  </a:lnTo>
                  <a:lnTo>
                    <a:pt x="314" y="1597"/>
                  </a:lnTo>
                  <a:lnTo>
                    <a:pt x="310" y="1593"/>
                  </a:lnTo>
                  <a:lnTo>
                    <a:pt x="306" y="1589"/>
                  </a:lnTo>
                  <a:lnTo>
                    <a:pt x="302" y="1585"/>
                  </a:lnTo>
                  <a:lnTo>
                    <a:pt x="298" y="1581"/>
                  </a:lnTo>
                  <a:lnTo>
                    <a:pt x="294" y="1578"/>
                  </a:lnTo>
                  <a:lnTo>
                    <a:pt x="289" y="1574"/>
                  </a:lnTo>
                  <a:lnTo>
                    <a:pt x="280" y="1568"/>
                  </a:lnTo>
                  <a:lnTo>
                    <a:pt x="275" y="1566"/>
                  </a:lnTo>
                  <a:lnTo>
                    <a:pt x="269" y="1564"/>
                  </a:lnTo>
                  <a:lnTo>
                    <a:pt x="264" y="1562"/>
                  </a:lnTo>
                  <a:lnTo>
                    <a:pt x="259" y="1560"/>
                  </a:lnTo>
                  <a:lnTo>
                    <a:pt x="247" y="1557"/>
                  </a:lnTo>
                  <a:lnTo>
                    <a:pt x="236" y="1555"/>
                  </a:lnTo>
                  <a:lnTo>
                    <a:pt x="230" y="1555"/>
                  </a:lnTo>
                  <a:lnTo>
                    <a:pt x="224" y="1555"/>
                  </a:lnTo>
                  <a:lnTo>
                    <a:pt x="212" y="1555"/>
                  </a:lnTo>
                  <a:lnTo>
                    <a:pt x="200" y="1557"/>
                  </a:lnTo>
                  <a:lnTo>
                    <a:pt x="189" y="1560"/>
                  </a:lnTo>
                  <a:lnTo>
                    <a:pt x="183" y="1562"/>
                  </a:lnTo>
                  <a:lnTo>
                    <a:pt x="178" y="1564"/>
                  </a:lnTo>
                  <a:lnTo>
                    <a:pt x="168" y="1568"/>
                  </a:lnTo>
                  <a:lnTo>
                    <a:pt x="158" y="1574"/>
                  </a:lnTo>
                  <a:lnTo>
                    <a:pt x="149" y="1581"/>
                  </a:lnTo>
                  <a:lnTo>
                    <a:pt x="141" y="1589"/>
                  </a:lnTo>
                  <a:lnTo>
                    <a:pt x="134" y="1597"/>
                  </a:lnTo>
                  <a:lnTo>
                    <a:pt x="127" y="1607"/>
                  </a:lnTo>
                  <a:lnTo>
                    <a:pt x="121" y="1617"/>
                  </a:lnTo>
                  <a:lnTo>
                    <a:pt x="117" y="1628"/>
                  </a:lnTo>
                  <a:lnTo>
                    <a:pt x="115" y="1634"/>
                  </a:lnTo>
                  <a:lnTo>
                    <a:pt x="113" y="1640"/>
                  </a:lnTo>
                  <a:lnTo>
                    <a:pt x="110" y="1652"/>
                  </a:lnTo>
                  <a:lnTo>
                    <a:pt x="108" y="1666"/>
                  </a:lnTo>
                  <a:lnTo>
                    <a:pt x="108" y="1672"/>
                  </a:lnTo>
                  <a:lnTo>
                    <a:pt x="108" y="1680"/>
                  </a:lnTo>
                  <a:lnTo>
                    <a:pt x="108" y="1693"/>
                  </a:lnTo>
                  <a:lnTo>
                    <a:pt x="110" y="1707"/>
                  </a:lnTo>
                  <a:lnTo>
                    <a:pt x="113" y="1719"/>
                  </a:lnTo>
                  <a:lnTo>
                    <a:pt x="115" y="1725"/>
                  </a:lnTo>
                  <a:lnTo>
                    <a:pt x="117" y="1731"/>
                  </a:lnTo>
                  <a:lnTo>
                    <a:pt x="121" y="1742"/>
                  </a:lnTo>
                  <a:lnTo>
                    <a:pt x="127" y="1752"/>
                  </a:lnTo>
                  <a:lnTo>
                    <a:pt x="134" y="1762"/>
                  </a:lnTo>
                  <a:lnTo>
                    <a:pt x="137" y="1766"/>
                  </a:lnTo>
                  <a:lnTo>
                    <a:pt x="141" y="1770"/>
                  </a:lnTo>
                  <a:lnTo>
                    <a:pt x="145" y="1774"/>
                  </a:lnTo>
                  <a:lnTo>
                    <a:pt x="149" y="1778"/>
                  </a:lnTo>
                  <a:lnTo>
                    <a:pt x="154" y="1781"/>
                  </a:lnTo>
                  <a:lnTo>
                    <a:pt x="158" y="1785"/>
                  </a:lnTo>
                  <a:lnTo>
                    <a:pt x="168" y="1791"/>
                  </a:lnTo>
                  <a:lnTo>
                    <a:pt x="173" y="1793"/>
                  </a:lnTo>
                  <a:lnTo>
                    <a:pt x="178" y="1795"/>
                  </a:lnTo>
                  <a:lnTo>
                    <a:pt x="183" y="1797"/>
                  </a:lnTo>
                  <a:lnTo>
                    <a:pt x="189" y="1799"/>
                  </a:lnTo>
                  <a:lnTo>
                    <a:pt x="200" y="1802"/>
                  </a:lnTo>
                  <a:lnTo>
                    <a:pt x="212" y="1804"/>
                  </a:lnTo>
                  <a:lnTo>
                    <a:pt x="218" y="1804"/>
                  </a:lnTo>
                  <a:lnTo>
                    <a:pt x="224" y="1804"/>
                  </a:lnTo>
                  <a:close/>
                  <a:moveTo>
                    <a:pt x="224" y="1463"/>
                  </a:moveTo>
                  <a:lnTo>
                    <a:pt x="236" y="1463"/>
                  </a:lnTo>
                  <a:lnTo>
                    <a:pt x="247" y="1464"/>
                  </a:lnTo>
                  <a:lnTo>
                    <a:pt x="259" y="1465"/>
                  </a:lnTo>
                  <a:lnTo>
                    <a:pt x="270" y="1467"/>
                  </a:lnTo>
                  <a:lnTo>
                    <a:pt x="281" y="1470"/>
                  </a:lnTo>
                  <a:lnTo>
                    <a:pt x="292" y="1472"/>
                  </a:lnTo>
                  <a:lnTo>
                    <a:pt x="302" y="1476"/>
                  </a:lnTo>
                  <a:lnTo>
                    <a:pt x="313" y="1479"/>
                  </a:lnTo>
                  <a:lnTo>
                    <a:pt x="323" y="1483"/>
                  </a:lnTo>
                  <a:lnTo>
                    <a:pt x="332" y="1488"/>
                  </a:lnTo>
                  <a:lnTo>
                    <a:pt x="342" y="1493"/>
                  </a:lnTo>
                  <a:lnTo>
                    <a:pt x="351" y="1499"/>
                  </a:lnTo>
                  <a:lnTo>
                    <a:pt x="359" y="1504"/>
                  </a:lnTo>
                  <a:lnTo>
                    <a:pt x="364" y="1507"/>
                  </a:lnTo>
                  <a:lnTo>
                    <a:pt x="368" y="1511"/>
                  </a:lnTo>
                  <a:lnTo>
                    <a:pt x="372" y="1514"/>
                  </a:lnTo>
                  <a:lnTo>
                    <a:pt x="376" y="1517"/>
                  </a:lnTo>
                  <a:lnTo>
                    <a:pt x="383" y="1524"/>
                  </a:lnTo>
                  <a:lnTo>
                    <a:pt x="387" y="1528"/>
                  </a:lnTo>
                  <a:lnTo>
                    <a:pt x="391" y="1532"/>
                  </a:lnTo>
                  <a:lnTo>
                    <a:pt x="398" y="1539"/>
                  </a:lnTo>
                  <a:lnTo>
                    <a:pt x="404" y="1548"/>
                  </a:lnTo>
                  <a:lnTo>
                    <a:pt x="407" y="1552"/>
                  </a:lnTo>
                  <a:lnTo>
                    <a:pt x="410" y="1556"/>
                  </a:lnTo>
                  <a:lnTo>
                    <a:pt x="416" y="1565"/>
                  </a:lnTo>
                  <a:lnTo>
                    <a:pt x="421" y="1574"/>
                  </a:lnTo>
                  <a:lnTo>
                    <a:pt x="426" y="1583"/>
                  </a:lnTo>
                  <a:lnTo>
                    <a:pt x="430" y="1593"/>
                  </a:lnTo>
                  <a:lnTo>
                    <a:pt x="432" y="1598"/>
                  </a:lnTo>
                  <a:lnTo>
                    <a:pt x="434" y="1603"/>
                  </a:lnTo>
                  <a:lnTo>
                    <a:pt x="437" y="1613"/>
                  </a:lnTo>
                  <a:lnTo>
                    <a:pt x="440" y="1623"/>
                  </a:lnTo>
                  <a:lnTo>
                    <a:pt x="443" y="1634"/>
                  </a:lnTo>
                  <a:lnTo>
                    <a:pt x="445" y="1645"/>
                  </a:lnTo>
                  <a:lnTo>
                    <a:pt x="446" y="1656"/>
                  </a:lnTo>
                  <a:lnTo>
                    <a:pt x="446" y="1662"/>
                  </a:lnTo>
                  <a:lnTo>
                    <a:pt x="447" y="1668"/>
                  </a:lnTo>
                  <a:lnTo>
                    <a:pt x="447" y="1680"/>
                  </a:lnTo>
                  <a:lnTo>
                    <a:pt x="447" y="1691"/>
                  </a:lnTo>
                  <a:lnTo>
                    <a:pt x="446" y="1703"/>
                  </a:lnTo>
                  <a:lnTo>
                    <a:pt x="445" y="1714"/>
                  </a:lnTo>
                  <a:lnTo>
                    <a:pt x="443" y="1725"/>
                  </a:lnTo>
                  <a:lnTo>
                    <a:pt x="440" y="1736"/>
                  </a:lnTo>
                  <a:lnTo>
                    <a:pt x="437" y="1746"/>
                  </a:lnTo>
                  <a:lnTo>
                    <a:pt x="434" y="1756"/>
                  </a:lnTo>
                  <a:lnTo>
                    <a:pt x="430" y="1766"/>
                  </a:lnTo>
                  <a:lnTo>
                    <a:pt x="426" y="1776"/>
                  </a:lnTo>
                  <a:lnTo>
                    <a:pt x="421" y="1785"/>
                  </a:lnTo>
                  <a:lnTo>
                    <a:pt x="416" y="1794"/>
                  </a:lnTo>
                  <a:lnTo>
                    <a:pt x="410" y="1803"/>
                  </a:lnTo>
                  <a:lnTo>
                    <a:pt x="404" y="1811"/>
                  </a:lnTo>
                  <a:lnTo>
                    <a:pt x="398" y="1820"/>
                  </a:lnTo>
                  <a:lnTo>
                    <a:pt x="391" y="1827"/>
                  </a:lnTo>
                  <a:lnTo>
                    <a:pt x="383" y="1835"/>
                  </a:lnTo>
                  <a:lnTo>
                    <a:pt x="376" y="1842"/>
                  </a:lnTo>
                  <a:lnTo>
                    <a:pt x="368" y="1848"/>
                  </a:lnTo>
                  <a:lnTo>
                    <a:pt x="359" y="1855"/>
                  </a:lnTo>
                  <a:lnTo>
                    <a:pt x="351" y="1860"/>
                  </a:lnTo>
                  <a:lnTo>
                    <a:pt x="342" y="1866"/>
                  </a:lnTo>
                  <a:lnTo>
                    <a:pt x="332" y="1871"/>
                  </a:lnTo>
                  <a:lnTo>
                    <a:pt x="323" y="1876"/>
                  </a:lnTo>
                  <a:lnTo>
                    <a:pt x="313" y="1880"/>
                  </a:lnTo>
                  <a:lnTo>
                    <a:pt x="302" y="1883"/>
                  </a:lnTo>
                  <a:lnTo>
                    <a:pt x="292" y="1887"/>
                  </a:lnTo>
                  <a:lnTo>
                    <a:pt x="281" y="1889"/>
                  </a:lnTo>
                  <a:lnTo>
                    <a:pt x="270" y="1892"/>
                  </a:lnTo>
                  <a:lnTo>
                    <a:pt x="259" y="1894"/>
                  </a:lnTo>
                  <a:lnTo>
                    <a:pt x="247" y="1895"/>
                  </a:lnTo>
                  <a:lnTo>
                    <a:pt x="236" y="1896"/>
                  </a:lnTo>
                  <a:lnTo>
                    <a:pt x="224" y="1896"/>
                  </a:lnTo>
                  <a:lnTo>
                    <a:pt x="212" y="1896"/>
                  </a:lnTo>
                  <a:lnTo>
                    <a:pt x="200" y="1895"/>
                  </a:lnTo>
                  <a:lnTo>
                    <a:pt x="188" y="1894"/>
                  </a:lnTo>
                  <a:lnTo>
                    <a:pt x="177" y="1892"/>
                  </a:lnTo>
                  <a:lnTo>
                    <a:pt x="166" y="1889"/>
                  </a:lnTo>
                  <a:lnTo>
                    <a:pt x="155" y="1887"/>
                  </a:lnTo>
                  <a:lnTo>
                    <a:pt x="145" y="1883"/>
                  </a:lnTo>
                  <a:lnTo>
                    <a:pt x="135" y="1880"/>
                  </a:lnTo>
                  <a:lnTo>
                    <a:pt x="125" y="1876"/>
                  </a:lnTo>
                  <a:lnTo>
                    <a:pt x="115" y="1871"/>
                  </a:lnTo>
                  <a:lnTo>
                    <a:pt x="106" y="1866"/>
                  </a:lnTo>
                  <a:lnTo>
                    <a:pt x="97" y="1860"/>
                  </a:lnTo>
                  <a:lnTo>
                    <a:pt x="88" y="1855"/>
                  </a:lnTo>
                  <a:lnTo>
                    <a:pt x="84" y="1852"/>
                  </a:lnTo>
                  <a:lnTo>
                    <a:pt x="79" y="1848"/>
                  </a:lnTo>
                  <a:lnTo>
                    <a:pt x="75" y="1845"/>
                  </a:lnTo>
                  <a:lnTo>
                    <a:pt x="71" y="1842"/>
                  </a:lnTo>
                  <a:lnTo>
                    <a:pt x="64" y="1835"/>
                  </a:lnTo>
                  <a:lnTo>
                    <a:pt x="60" y="1831"/>
                  </a:lnTo>
                  <a:lnTo>
                    <a:pt x="56" y="1827"/>
                  </a:lnTo>
                  <a:lnTo>
                    <a:pt x="50" y="1820"/>
                  </a:lnTo>
                  <a:lnTo>
                    <a:pt x="43" y="1811"/>
                  </a:lnTo>
                  <a:lnTo>
                    <a:pt x="40" y="1807"/>
                  </a:lnTo>
                  <a:lnTo>
                    <a:pt x="37" y="1803"/>
                  </a:lnTo>
                  <a:lnTo>
                    <a:pt x="31" y="1794"/>
                  </a:lnTo>
                  <a:lnTo>
                    <a:pt x="26" y="1785"/>
                  </a:lnTo>
                  <a:lnTo>
                    <a:pt x="21" y="1776"/>
                  </a:lnTo>
                  <a:lnTo>
                    <a:pt x="17" y="1766"/>
                  </a:lnTo>
                  <a:lnTo>
                    <a:pt x="15" y="1761"/>
                  </a:lnTo>
                  <a:lnTo>
                    <a:pt x="13" y="1756"/>
                  </a:lnTo>
                  <a:lnTo>
                    <a:pt x="10" y="1746"/>
                  </a:lnTo>
                  <a:lnTo>
                    <a:pt x="7" y="1736"/>
                  </a:lnTo>
                  <a:lnTo>
                    <a:pt x="4" y="1725"/>
                  </a:lnTo>
                  <a:lnTo>
                    <a:pt x="3" y="1714"/>
                  </a:lnTo>
                  <a:lnTo>
                    <a:pt x="1" y="1703"/>
                  </a:lnTo>
                  <a:lnTo>
                    <a:pt x="1" y="1697"/>
                  </a:lnTo>
                  <a:lnTo>
                    <a:pt x="0" y="1691"/>
                  </a:lnTo>
                  <a:lnTo>
                    <a:pt x="0" y="1680"/>
                  </a:lnTo>
                  <a:lnTo>
                    <a:pt x="0" y="1668"/>
                  </a:lnTo>
                  <a:lnTo>
                    <a:pt x="1" y="1656"/>
                  </a:lnTo>
                  <a:lnTo>
                    <a:pt x="3" y="1645"/>
                  </a:lnTo>
                  <a:lnTo>
                    <a:pt x="4" y="1634"/>
                  </a:lnTo>
                  <a:lnTo>
                    <a:pt x="7" y="1623"/>
                  </a:lnTo>
                  <a:lnTo>
                    <a:pt x="10" y="1613"/>
                  </a:lnTo>
                  <a:lnTo>
                    <a:pt x="13" y="1603"/>
                  </a:lnTo>
                  <a:lnTo>
                    <a:pt x="17" y="1593"/>
                  </a:lnTo>
                  <a:lnTo>
                    <a:pt x="21" y="1583"/>
                  </a:lnTo>
                  <a:lnTo>
                    <a:pt x="26" y="1574"/>
                  </a:lnTo>
                  <a:lnTo>
                    <a:pt x="31" y="1565"/>
                  </a:lnTo>
                  <a:lnTo>
                    <a:pt x="37" y="1556"/>
                  </a:lnTo>
                  <a:lnTo>
                    <a:pt x="43" y="1548"/>
                  </a:lnTo>
                  <a:lnTo>
                    <a:pt x="50" y="1539"/>
                  </a:lnTo>
                  <a:lnTo>
                    <a:pt x="56" y="1532"/>
                  </a:lnTo>
                  <a:lnTo>
                    <a:pt x="64" y="1524"/>
                  </a:lnTo>
                  <a:lnTo>
                    <a:pt x="71" y="1517"/>
                  </a:lnTo>
                  <a:lnTo>
                    <a:pt x="79" y="1511"/>
                  </a:lnTo>
                  <a:lnTo>
                    <a:pt x="88" y="1504"/>
                  </a:lnTo>
                  <a:lnTo>
                    <a:pt x="97" y="1499"/>
                  </a:lnTo>
                  <a:lnTo>
                    <a:pt x="106" y="1493"/>
                  </a:lnTo>
                  <a:lnTo>
                    <a:pt x="115" y="1488"/>
                  </a:lnTo>
                  <a:lnTo>
                    <a:pt x="125" y="1483"/>
                  </a:lnTo>
                  <a:lnTo>
                    <a:pt x="135" y="1479"/>
                  </a:lnTo>
                  <a:lnTo>
                    <a:pt x="145" y="1476"/>
                  </a:lnTo>
                  <a:lnTo>
                    <a:pt x="155" y="1472"/>
                  </a:lnTo>
                  <a:lnTo>
                    <a:pt x="166" y="1470"/>
                  </a:lnTo>
                  <a:lnTo>
                    <a:pt x="177" y="1467"/>
                  </a:lnTo>
                  <a:lnTo>
                    <a:pt x="188" y="1465"/>
                  </a:lnTo>
                  <a:lnTo>
                    <a:pt x="200" y="1464"/>
                  </a:lnTo>
                  <a:lnTo>
                    <a:pt x="212" y="1463"/>
                  </a:lnTo>
                  <a:lnTo>
                    <a:pt x="224" y="1463"/>
                  </a:lnTo>
                  <a:close/>
                  <a:moveTo>
                    <a:pt x="1090" y="1810"/>
                  </a:moveTo>
                  <a:lnTo>
                    <a:pt x="1096" y="1809"/>
                  </a:lnTo>
                  <a:lnTo>
                    <a:pt x="1102" y="1809"/>
                  </a:lnTo>
                  <a:lnTo>
                    <a:pt x="1112" y="1807"/>
                  </a:lnTo>
                  <a:lnTo>
                    <a:pt x="1116" y="1806"/>
                  </a:lnTo>
                  <a:lnTo>
                    <a:pt x="1120" y="1804"/>
                  </a:lnTo>
                  <a:lnTo>
                    <a:pt x="1128" y="1800"/>
                  </a:lnTo>
                  <a:lnTo>
                    <a:pt x="1131" y="1798"/>
                  </a:lnTo>
                  <a:lnTo>
                    <a:pt x="1133" y="1795"/>
                  </a:lnTo>
                  <a:lnTo>
                    <a:pt x="1136" y="1792"/>
                  </a:lnTo>
                  <a:lnTo>
                    <a:pt x="1138" y="1789"/>
                  </a:lnTo>
                  <a:lnTo>
                    <a:pt x="1139" y="1786"/>
                  </a:lnTo>
                  <a:lnTo>
                    <a:pt x="1140" y="1782"/>
                  </a:lnTo>
                  <a:lnTo>
                    <a:pt x="1141" y="1779"/>
                  </a:lnTo>
                  <a:lnTo>
                    <a:pt x="1141" y="1775"/>
                  </a:lnTo>
                  <a:lnTo>
                    <a:pt x="1141" y="1771"/>
                  </a:lnTo>
                  <a:lnTo>
                    <a:pt x="1140" y="1767"/>
                  </a:lnTo>
                  <a:lnTo>
                    <a:pt x="1139" y="1763"/>
                  </a:lnTo>
                  <a:lnTo>
                    <a:pt x="1138" y="1760"/>
                  </a:lnTo>
                  <a:lnTo>
                    <a:pt x="1134" y="1754"/>
                  </a:lnTo>
                  <a:lnTo>
                    <a:pt x="1130" y="1749"/>
                  </a:lnTo>
                  <a:lnTo>
                    <a:pt x="1127" y="1747"/>
                  </a:lnTo>
                  <a:lnTo>
                    <a:pt x="1124" y="1744"/>
                  </a:lnTo>
                  <a:lnTo>
                    <a:pt x="1120" y="1742"/>
                  </a:lnTo>
                  <a:lnTo>
                    <a:pt x="1116" y="1740"/>
                  </a:lnTo>
                  <a:lnTo>
                    <a:pt x="1099" y="1732"/>
                  </a:lnTo>
                  <a:lnTo>
                    <a:pt x="1038" y="1703"/>
                  </a:lnTo>
                  <a:lnTo>
                    <a:pt x="1031" y="1699"/>
                  </a:lnTo>
                  <a:lnTo>
                    <a:pt x="1023" y="1695"/>
                  </a:lnTo>
                  <a:lnTo>
                    <a:pt x="1016" y="1691"/>
                  </a:lnTo>
                  <a:lnTo>
                    <a:pt x="1010" y="1686"/>
                  </a:lnTo>
                  <a:lnTo>
                    <a:pt x="1003" y="1680"/>
                  </a:lnTo>
                  <a:lnTo>
                    <a:pt x="997" y="1674"/>
                  </a:lnTo>
                  <a:lnTo>
                    <a:pt x="992" y="1668"/>
                  </a:lnTo>
                  <a:lnTo>
                    <a:pt x="986" y="1661"/>
                  </a:lnTo>
                  <a:lnTo>
                    <a:pt x="982" y="1654"/>
                  </a:lnTo>
                  <a:lnTo>
                    <a:pt x="978" y="1646"/>
                  </a:lnTo>
                  <a:lnTo>
                    <a:pt x="974" y="1638"/>
                  </a:lnTo>
                  <a:lnTo>
                    <a:pt x="971" y="1629"/>
                  </a:lnTo>
                  <a:lnTo>
                    <a:pt x="969" y="1620"/>
                  </a:lnTo>
                  <a:lnTo>
                    <a:pt x="967" y="1610"/>
                  </a:lnTo>
                  <a:lnTo>
                    <a:pt x="966" y="1600"/>
                  </a:lnTo>
                  <a:lnTo>
                    <a:pt x="965" y="1590"/>
                  </a:lnTo>
                  <a:lnTo>
                    <a:pt x="966" y="1583"/>
                  </a:lnTo>
                  <a:lnTo>
                    <a:pt x="966" y="1576"/>
                  </a:lnTo>
                  <a:lnTo>
                    <a:pt x="967" y="1570"/>
                  </a:lnTo>
                  <a:lnTo>
                    <a:pt x="968" y="1563"/>
                  </a:lnTo>
                  <a:lnTo>
                    <a:pt x="971" y="1551"/>
                  </a:lnTo>
                  <a:lnTo>
                    <a:pt x="973" y="1545"/>
                  </a:lnTo>
                  <a:lnTo>
                    <a:pt x="976" y="1539"/>
                  </a:lnTo>
                  <a:lnTo>
                    <a:pt x="979" y="1534"/>
                  </a:lnTo>
                  <a:lnTo>
                    <a:pt x="982" y="1528"/>
                  </a:lnTo>
                  <a:lnTo>
                    <a:pt x="988" y="1518"/>
                  </a:lnTo>
                  <a:lnTo>
                    <a:pt x="996" y="1508"/>
                  </a:lnTo>
                  <a:lnTo>
                    <a:pt x="1005" y="1499"/>
                  </a:lnTo>
                  <a:lnTo>
                    <a:pt x="1015" y="1491"/>
                  </a:lnTo>
                  <a:lnTo>
                    <a:pt x="1026" y="1484"/>
                  </a:lnTo>
                  <a:lnTo>
                    <a:pt x="1037" y="1478"/>
                  </a:lnTo>
                  <a:lnTo>
                    <a:pt x="1044" y="1475"/>
                  </a:lnTo>
                  <a:lnTo>
                    <a:pt x="1050" y="1473"/>
                  </a:lnTo>
                  <a:lnTo>
                    <a:pt x="1063" y="1469"/>
                  </a:lnTo>
                  <a:lnTo>
                    <a:pt x="1070" y="1467"/>
                  </a:lnTo>
                  <a:lnTo>
                    <a:pt x="1077" y="1466"/>
                  </a:lnTo>
                  <a:lnTo>
                    <a:pt x="1085" y="1464"/>
                  </a:lnTo>
                  <a:lnTo>
                    <a:pt x="1092" y="1464"/>
                  </a:lnTo>
                  <a:lnTo>
                    <a:pt x="1107" y="1463"/>
                  </a:lnTo>
                  <a:lnTo>
                    <a:pt x="1122" y="1464"/>
                  </a:lnTo>
                  <a:lnTo>
                    <a:pt x="1137" y="1465"/>
                  </a:lnTo>
                  <a:lnTo>
                    <a:pt x="1145" y="1466"/>
                  </a:lnTo>
                  <a:lnTo>
                    <a:pt x="1152" y="1467"/>
                  </a:lnTo>
                  <a:lnTo>
                    <a:pt x="1159" y="1468"/>
                  </a:lnTo>
                  <a:lnTo>
                    <a:pt x="1166" y="1470"/>
                  </a:lnTo>
                  <a:lnTo>
                    <a:pt x="1180" y="1474"/>
                  </a:lnTo>
                  <a:lnTo>
                    <a:pt x="1193" y="1479"/>
                  </a:lnTo>
                  <a:lnTo>
                    <a:pt x="1206" y="1484"/>
                  </a:lnTo>
                  <a:lnTo>
                    <a:pt x="1217" y="1490"/>
                  </a:lnTo>
                  <a:lnTo>
                    <a:pt x="1219" y="1492"/>
                  </a:lnTo>
                  <a:lnTo>
                    <a:pt x="1221" y="1494"/>
                  </a:lnTo>
                  <a:lnTo>
                    <a:pt x="1222" y="1496"/>
                  </a:lnTo>
                  <a:lnTo>
                    <a:pt x="1223" y="1498"/>
                  </a:lnTo>
                  <a:lnTo>
                    <a:pt x="1223" y="1502"/>
                  </a:lnTo>
                  <a:lnTo>
                    <a:pt x="1221" y="1507"/>
                  </a:lnTo>
                  <a:lnTo>
                    <a:pt x="1197" y="1562"/>
                  </a:lnTo>
                  <a:lnTo>
                    <a:pt x="1194" y="1567"/>
                  </a:lnTo>
                  <a:lnTo>
                    <a:pt x="1192" y="1569"/>
                  </a:lnTo>
                  <a:lnTo>
                    <a:pt x="1191" y="1570"/>
                  </a:lnTo>
                  <a:lnTo>
                    <a:pt x="1186" y="1570"/>
                  </a:lnTo>
                  <a:lnTo>
                    <a:pt x="1184" y="1570"/>
                  </a:lnTo>
                  <a:lnTo>
                    <a:pt x="1181" y="1569"/>
                  </a:lnTo>
                  <a:lnTo>
                    <a:pt x="1172" y="1565"/>
                  </a:lnTo>
                  <a:lnTo>
                    <a:pt x="1164" y="1561"/>
                  </a:lnTo>
                  <a:lnTo>
                    <a:pt x="1156" y="1558"/>
                  </a:lnTo>
                  <a:lnTo>
                    <a:pt x="1147" y="1555"/>
                  </a:lnTo>
                  <a:lnTo>
                    <a:pt x="1139" y="1552"/>
                  </a:lnTo>
                  <a:lnTo>
                    <a:pt x="1130" y="1551"/>
                  </a:lnTo>
                  <a:lnTo>
                    <a:pt x="1121" y="1550"/>
                  </a:lnTo>
                  <a:lnTo>
                    <a:pt x="1111" y="1549"/>
                  </a:lnTo>
                  <a:lnTo>
                    <a:pt x="1101" y="1550"/>
                  </a:lnTo>
                  <a:lnTo>
                    <a:pt x="1092" y="1552"/>
                  </a:lnTo>
                  <a:lnTo>
                    <a:pt x="1088" y="1553"/>
                  </a:lnTo>
                  <a:lnTo>
                    <a:pt x="1085" y="1555"/>
                  </a:lnTo>
                  <a:lnTo>
                    <a:pt x="1078" y="1559"/>
                  </a:lnTo>
                  <a:lnTo>
                    <a:pt x="1075" y="1561"/>
                  </a:lnTo>
                  <a:lnTo>
                    <a:pt x="1073" y="1564"/>
                  </a:lnTo>
                  <a:lnTo>
                    <a:pt x="1071" y="1567"/>
                  </a:lnTo>
                  <a:lnTo>
                    <a:pt x="1069" y="1570"/>
                  </a:lnTo>
                  <a:lnTo>
                    <a:pt x="1068" y="1573"/>
                  </a:lnTo>
                  <a:lnTo>
                    <a:pt x="1067" y="1576"/>
                  </a:lnTo>
                  <a:lnTo>
                    <a:pt x="1067" y="1580"/>
                  </a:lnTo>
                  <a:lnTo>
                    <a:pt x="1067" y="1583"/>
                  </a:lnTo>
                  <a:lnTo>
                    <a:pt x="1067" y="1587"/>
                  </a:lnTo>
                  <a:lnTo>
                    <a:pt x="1067" y="1590"/>
                  </a:lnTo>
                  <a:lnTo>
                    <a:pt x="1069" y="1597"/>
                  </a:lnTo>
                  <a:lnTo>
                    <a:pt x="1073" y="1602"/>
                  </a:lnTo>
                  <a:lnTo>
                    <a:pt x="1075" y="1605"/>
                  </a:lnTo>
                  <a:lnTo>
                    <a:pt x="1077" y="1608"/>
                  </a:lnTo>
                  <a:lnTo>
                    <a:pt x="1080" y="1610"/>
                  </a:lnTo>
                  <a:lnTo>
                    <a:pt x="1083" y="1612"/>
                  </a:lnTo>
                  <a:lnTo>
                    <a:pt x="1090" y="1617"/>
                  </a:lnTo>
                  <a:lnTo>
                    <a:pt x="1098" y="1621"/>
                  </a:lnTo>
                  <a:lnTo>
                    <a:pt x="1108" y="1626"/>
                  </a:lnTo>
                  <a:lnTo>
                    <a:pt x="1170" y="1655"/>
                  </a:lnTo>
                  <a:lnTo>
                    <a:pt x="1178" y="1659"/>
                  </a:lnTo>
                  <a:lnTo>
                    <a:pt x="1185" y="1663"/>
                  </a:lnTo>
                  <a:lnTo>
                    <a:pt x="1193" y="1667"/>
                  </a:lnTo>
                  <a:lnTo>
                    <a:pt x="1199" y="1672"/>
                  </a:lnTo>
                  <a:lnTo>
                    <a:pt x="1206" y="1678"/>
                  </a:lnTo>
                  <a:lnTo>
                    <a:pt x="1212" y="1684"/>
                  </a:lnTo>
                  <a:lnTo>
                    <a:pt x="1217" y="1690"/>
                  </a:lnTo>
                  <a:lnTo>
                    <a:pt x="1222" y="1696"/>
                  </a:lnTo>
                  <a:lnTo>
                    <a:pt x="1225" y="1700"/>
                  </a:lnTo>
                  <a:lnTo>
                    <a:pt x="1227" y="1703"/>
                  </a:lnTo>
                  <a:lnTo>
                    <a:pt x="1231" y="1711"/>
                  </a:lnTo>
                  <a:lnTo>
                    <a:pt x="1234" y="1719"/>
                  </a:lnTo>
                  <a:lnTo>
                    <a:pt x="1237" y="1727"/>
                  </a:lnTo>
                  <a:lnTo>
                    <a:pt x="1239" y="1731"/>
                  </a:lnTo>
                  <a:lnTo>
                    <a:pt x="1240" y="1736"/>
                  </a:lnTo>
                  <a:lnTo>
                    <a:pt x="1241" y="1745"/>
                  </a:lnTo>
                  <a:lnTo>
                    <a:pt x="1242" y="1755"/>
                  </a:lnTo>
                  <a:lnTo>
                    <a:pt x="1243" y="1766"/>
                  </a:lnTo>
                  <a:lnTo>
                    <a:pt x="1243" y="1773"/>
                  </a:lnTo>
                  <a:lnTo>
                    <a:pt x="1242" y="1780"/>
                  </a:lnTo>
                  <a:lnTo>
                    <a:pt x="1240" y="1793"/>
                  </a:lnTo>
                  <a:lnTo>
                    <a:pt x="1238" y="1799"/>
                  </a:lnTo>
                  <a:lnTo>
                    <a:pt x="1236" y="1806"/>
                  </a:lnTo>
                  <a:lnTo>
                    <a:pt x="1232" y="1818"/>
                  </a:lnTo>
                  <a:lnTo>
                    <a:pt x="1229" y="1824"/>
                  </a:lnTo>
                  <a:lnTo>
                    <a:pt x="1226" y="1829"/>
                  </a:lnTo>
                  <a:lnTo>
                    <a:pt x="1222" y="1835"/>
                  </a:lnTo>
                  <a:lnTo>
                    <a:pt x="1218" y="1840"/>
                  </a:lnTo>
                  <a:lnTo>
                    <a:pt x="1214" y="1845"/>
                  </a:lnTo>
                  <a:lnTo>
                    <a:pt x="1210" y="1850"/>
                  </a:lnTo>
                  <a:lnTo>
                    <a:pt x="1206" y="1855"/>
                  </a:lnTo>
                  <a:lnTo>
                    <a:pt x="1201" y="1859"/>
                  </a:lnTo>
                  <a:lnTo>
                    <a:pt x="1196" y="1863"/>
                  </a:lnTo>
                  <a:lnTo>
                    <a:pt x="1190" y="1867"/>
                  </a:lnTo>
                  <a:lnTo>
                    <a:pt x="1179" y="1875"/>
                  </a:lnTo>
                  <a:lnTo>
                    <a:pt x="1173" y="1878"/>
                  </a:lnTo>
                  <a:lnTo>
                    <a:pt x="1166" y="1881"/>
                  </a:lnTo>
                  <a:lnTo>
                    <a:pt x="1160" y="1884"/>
                  </a:lnTo>
                  <a:lnTo>
                    <a:pt x="1153" y="1886"/>
                  </a:lnTo>
                  <a:lnTo>
                    <a:pt x="1139" y="1890"/>
                  </a:lnTo>
                  <a:lnTo>
                    <a:pt x="1132" y="1892"/>
                  </a:lnTo>
                  <a:lnTo>
                    <a:pt x="1124" y="1893"/>
                  </a:lnTo>
                  <a:lnTo>
                    <a:pt x="1117" y="1895"/>
                  </a:lnTo>
                  <a:lnTo>
                    <a:pt x="1109" y="1895"/>
                  </a:lnTo>
                  <a:lnTo>
                    <a:pt x="1093" y="1896"/>
                  </a:lnTo>
                  <a:lnTo>
                    <a:pt x="1075" y="1895"/>
                  </a:lnTo>
                  <a:lnTo>
                    <a:pt x="1066" y="1894"/>
                  </a:lnTo>
                  <a:lnTo>
                    <a:pt x="1057" y="1893"/>
                  </a:lnTo>
                  <a:lnTo>
                    <a:pt x="1048" y="1891"/>
                  </a:lnTo>
                  <a:lnTo>
                    <a:pt x="1040" y="1890"/>
                  </a:lnTo>
                  <a:lnTo>
                    <a:pt x="1031" y="1887"/>
                  </a:lnTo>
                  <a:lnTo>
                    <a:pt x="1023" y="1885"/>
                  </a:lnTo>
                  <a:lnTo>
                    <a:pt x="1007" y="1880"/>
                  </a:lnTo>
                  <a:lnTo>
                    <a:pt x="992" y="1873"/>
                  </a:lnTo>
                  <a:lnTo>
                    <a:pt x="977" y="1866"/>
                  </a:lnTo>
                  <a:lnTo>
                    <a:pt x="964" y="1859"/>
                  </a:lnTo>
                  <a:lnTo>
                    <a:pt x="961" y="1857"/>
                  </a:lnTo>
                  <a:lnTo>
                    <a:pt x="959" y="1854"/>
                  </a:lnTo>
                  <a:lnTo>
                    <a:pt x="958" y="1852"/>
                  </a:lnTo>
                  <a:lnTo>
                    <a:pt x="957" y="1850"/>
                  </a:lnTo>
                  <a:lnTo>
                    <a:pt x="958" y="1846"/>
                  </a:lnTo>
                  <a:lnTo>
                    <a:pt x="960" y="1842"/>
                  </a:lnTo>
                  <a:lnTo>
                    <a:pt x="984" y="1787"/>
                  </a:lnTo>
                  <a:lnTo>
                    <a:pt x="987" y="1782"/>
                  </a:lnTo>
                  <a:lnTo>
                    <a:pt x="989" y="1780"/>
                  </a:lnTo>
                  <a:lnTo>
                    <a:pt x="990" y="1779"/>
                  </a:lnTo>
                  <a:lnTo>
                    <a:pt x="993" y="1778"/>
                  </a:lnTo>
                  <a:lnTo>
                    <a:pt x="995" y="1778"/>
                  </a:lnTo>
                  <a:lnTo>
                    <a:pt x="997" y="1779"/>
                  </a:lnTo>
                  <a:lnTo>
                    <a:pt x="1000" y="1780"/>
                  </a:lnTo>
                  <a:lnTo>
                    <a:pt x="1012" y="1787"/>
                  </a:lnTo>
                  <a:lnTo>
                    <a:pt x="1023" y="1792"/>
                  </a:lnTo>
                  <a:lnTo>
                    <a:pt x="1034" y="1797"/>
                  </a:lnTo>
                  <a:lnTo>
                    <a:pt x="1045" y="1802"/>
                  </a:lnTo>
                  <a:lnTo>
                    <a:pt x="1056" y="1805"/>
                  </a:lnTo>
                  <a:lnTo>
                    <a:pt x="1067" y="1808"/>
                  </a:lnTo>
                  <a:lnTo>
                    <a:pt x="1079" y="1809"/>
                  </a:lnTo>
                  <a:lnTo>
                    <a:pt x="1090" y="1810"/>
                  </a:lnTo>
                  <a:close/>
                  <a:moveTo>
                    <a:pt x="512" y="1480"/>
                  </a:moveTo>
                  <a:lnTo>
                    <a:pt x="512" y="1478"/>
                  </a:lnTo>
                  <a:lnTo>
                    <a:pt x="513" y="1476"/>
                  </a:lnTo>
                  <a:lnTo>
                    <a:pt x="515" y="1473"/>
                  </a:lnTo>
                  <a:lnTo>
                    <a:pt x="516" y="1472"/>
                  </a:lnTo>
                  <a:lnTo>
                    <a:pt x="518" y="1471"/>
                  </a:lnTo>
                  <a:lnTo>
                    <a:pt x="522" y="1470"/>
                  </a:lnTo>
                  <a:lnTo>
                    <a:pt x="606" y="1470"/>
                  </a:lnTo>
                  <a:lnTo>
                    <a:pt x="609" y="1471"/>
                  </a:lnTo>
                  <a:lnTo>
                    <a:pt x="612" y="1473"/>
                  </a:lnTo>
                  <a:lnTo>
                    <a:pt x="613" y="1474"/>
                  </a:lnTo>
                  <a:lnTo>
                    <a:pt x="614" y="1476"/>
                  </a:lnTo>
                  <a:lnTo>
                    <a:pt x="614" y="1478"/>
                  </a:lnTo>
                  <a:lnTo>
                    <a:pt x="615" y="1480"/>
                  </a:lnTo>
                  <a:lnTo>
                    <a:pt x="615" y="1797"/>
                  </a:lnTo>
                  <a:lnTo>
                    <a:pt x="689" y="1797"/>
                  </a:lnTo>
                  <a:lnTo>
                    <a:pt x="693" y="1797"/>
                  </a:lnTo>
                  <a:lnTo>
                    <a:pt x="696" y="1799"/>
                  </a:lnTo>
                  <a:lnTo>
                    <a:pt x="697" y="1801"/>
                  </a:lnTo>
                  <a:lnTo>
                    <a:pt x="697" y="1803"/>
                  </a:lnTo>
                  <a:lnTo>
                    <a:pt x="698" y="1804"/>
                  </a:lnTo>
                  <a:lnTo>
                    <a:pt x="698" y="1807"/>
                  </a:lnTo>
                  <a:lnTo>
                    <a:pt x="698" y="1879"/>
                  </a:lnTo>
                  <a:lnTo>
                    <a:pt x="698" y="1881"/>
                  </a:lnTo>
                  <a:lnTo>
                    <a:pt x="697" y="1883"/>
                  </a:lnTo>
                  <a:lnTo>
                    <a:pt x="696" y="1886"/>
                  </a:lnTo>
                  <a:lnTo>
                    <a:pt x="694" y="1887"/>
                  </a:lnTo>
                  <a:lnTo>
                    <a:pt x="693" y="1888"/>
                  </a:lnTo>
                  <a:lnTo>
                    <a:pt x="691" y="1889"/>
                  </a:lnTo>
                  <a:lnTo>
                    <a:pt x="689" y="1889"/>
                  </a:lnTo>
                  <a:lnTo>
                    <a:pt x="522" y="1889"/>
                  </a:lnTo>
                  <a:lnTo>
                    <a:pt x="518" y="1888"/>
                  </a:lnTo>
                  <a:lnTo>
                    <a:pt x="515" y="1886"/>
                  </a:lnTo>
                  <a:lnTo>
                    <a:pt x="513" y="1883"/>
                  </a:lnTo>
                  <a:lnTo>
                    <a:pt x="512" y="1881"/>
                  </a:lnTo>
                  <a:lnTo>
                    <a:pt x="512" y="1879"/>
                  </a:lnTo>
                  <a:lnTo>
                    <a:pt x="512" y="1480"/>
                  </a:lnTo>
                  <a:close/>
                  <a:moveTo>
                    <a:pt x="777" y="1480"/>
                  </a:moveTo>
                  <a:lnTo>
                    <a:pt x="777" y="1478"/>
                  </a:lnTo>
                  <a:lnTo>
                    <a:pt x="778" y="1476"/>
                  </a:lnTo>
                  <a:lnTo>
                    <a:pt x="780" y="1473"/>
                  </a:lnTo>
                  <a:lnTo>
                    <a:pt x="781" y="1472"/>
                  </a:lnTo>
                  <a:lnTo>
                    <a:pt x="783" y="1471"/>
                  </a:lnTo>
                  <a:lnTo>
                    <a:pt x="787" y="1470"/>
                  </a:lnTo>
                  <a:lnTo>
                    <a:pt x="869" y="1470"/>
                  </a:lnTo>
                  <a:lnTo>
                    <a:pt x="873" y="1471"/>
                  </a:lnTo>
                  <a:lnTo>
                    <a:pt x="876" y="1473"/>
                  </a:lnTo>
                  <a:lnTo>
                    <a:pt x="878" y="1474"/>
                  </a:lnTo>
                  <a:lnTo>
                    <a:pt x="879" y="1476"/>
                  </a:lnTo>
                  <a:lnTo>
                    <a:pt x="879" y="1478"/>
                  </a:lnTo>
                  <a:lnTo>
                    <a:pt x="879" y="1480"/>
                  </a:lnTo>
                  <a:lnTo>
                    <a:pt x="879" y="1879"/>
                  </a:lnTo>
                  <a:lnTo>
                    <a:pt x="879" y="1881"/>
                  </a:lnTo>
                  <a:lnTo>
                    <a:pt x="879" y="1883"/>
                  </a:lnTo>
                  <a:lnTo>
                    <a:pt x="876" y="1886"/>
                  </a:lnTo>
                  <a:lnTo>
                    <a:pt x="875" y="1887"/>
                  </a:lnTo>
                  <a:lnTo>
                    <a:pt x="873" y="1888"/>
                  </a:lnTo>
                  <a:lnTo>
                    <a:pt x="869" y="1889"/>
                  </a:lnTo>
                  <a:lnTo>
                    <a:pt x="787" y="1889"/>
                  </a:lnTo>
                  <a:lnTo>
                    <a:pt x="783" y="1888"/>
                  </a:lnTo>
                  <a:lnTo>
                    <a:pt x="780" y="1886"/>
                  </a:lnTo>
                  <a:lnTo>
                    <a:pt x="779" y="1885"/>
                  </a:lnTo>
                  <a:lnTo>
                    <a:pt x="778" y="1883"/>
                  </a:lnTo>
                  <a:lnTo>
                    <a:pt x="777" y="1881"/>
                  </a:lnTo>
                  <a:lnTo>
                    <a:pt x="777" y="1879"/>
                  </a:lnTo>
                  <a:lnTo>
                    <a:pt x="777" y="148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4193573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lhuet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112241F7-A7C1-4A87-8774-A34C54CE14C8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RIA - RKL yrittäjäpäivä 1.11.202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3957D1D-CDAB-407B-B091-22FA3FB0C42F}"/>
              </a:ext>
            </a:extLst>
          </p:cNvPr>
          <p:cNvGrpSpPr/>
          <p:nvPr userDrawn="1"/>
        </p:nvGrpSpPr>
        <p:grpSpPr>
          <a:xfrm>
            <a:off x="0" y="4077072"/>
            <a:ext cx="9874285" cy="1872000"/>
            <a:chOff x="0" y="4077072"/>
            <a:chExt cx="9874285" cy="1872000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0A998A7F-A659-430D-A591-F7C9634F9E5F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0" y="4077072"/>
              <a:ext cx="9874285" cy="1872000"/>
            </a:xfrm>
            <a:custGeom>
              <a:avLst/>
              <a:gdLst>
                <a:gd name="T0" fmla="*/ 10894 w 23040"/>
                <a:gd name="T1" fmla="*/ 3037 h 4369"/>
                <a:gd name="T2" fmla="*/ 10931 w 23040"/>
                <a:gd name="T3" fmla="*/ 2661 h 4369"/>
                <a:gd name="T4" fmla="*/ 13479 w 23040"/>
                <a:gd name="T5" fmla="*/ 2241 h 4369"/>
                <a:gd name="T6" fmla="*/ 12981 w 23040"/>
                <a:gd name="T7" fmla="*/ 1865 h 4369"/>
                <a:gd name="T8" fmla="*/ 13222 w 23040"/>
                <a:gd name="T9" fmla="*/ 1543 h 4369"/>
                <a:gd name="T10" fmla="*/ 13525 w 23040"/>
                <a:gd name="T11" fmla="*/ 3907 h 4369"/>
                <a:gd name="T12" fmla="*/ 12729 w 23040"/>
                <a:gd name="T13" fmla="*/ 3813 h 4369"/>
                <a:gd name="T14" fmla="*/ 10912 w 23040"/>
                <a:gd name="T15" fmla="*/ 2402 h 4369"/>
                <a:gd name="T16" fmla="*/ 16652 w 23040"/>
                <a:gd name="T17" fmla="*/ 970 h 4369"/>
                <a:gd name="T18" fmla="*/ 16232 w 23040"/>
                <a:gd name="T19" fmla="*/ 332 h 4369"/>
                <a:gd name="T20" fmla="*/ 15103 w 23040"/>
                <a:gd name="T21" fmla="*/ 2262 h 4369"/>
                <a:gd name="T22" fmla="*/ 12814 w 23040"/>
                <a:gd name="T23" fmla="*/ 2991 h 4369"/>
                <a:gd name="T24" fmla="*/ 11678 w 23040"/>
                <a:gd name="T25" fmla="*/ 3172 h 4369"/>
                <a:gd name="T26" fmla="*/ 12355 w 23040"/>
                <a:gd name="T27" fmla="*/ 2838 h 4369"/>
                <a:gd name="T28" fmla="*/ 12184 w 23040"/>
                <a:gd name="T29" fmla="*/ 4304 h 4369"/>
                <a:gd name="T30" fmla="*/ 11739 w 23040"/>
                <a:gd name="T31" fmla="*/ 2627 h 4369"/>
                <a:gd name="T32" fmla="*/ 11666 w 23040"/>
                <a:gd name="T33" fmla="*/ 2291 h 4369"/>
                <a:gd name="T34" fmla="*/ 11184 w 23040"/>
                <a:gd name="T35" fmla="*/ 3107 h 4369"/>
                <a:gd name="T36" fmla="*/ 11469 w 23040"/>
                <a:gd name="T37" fmla="*/ 1044 h 4369"/>
                <a:gd name="T38" fmla="*/ 13150 w 23040"/>
                <a:gd name="T39" fmla="*/ 754 h 4369"/>
                <a:gd name="T40" fmla="*/ 16863 w 23040"/>
                <a:gd name="T41" fmla="*/ 4331 h 4369"/>
                <a:gd name="T42" fmla="*/ 14362 w 23040"/>
                <a:gd name="T43" fmla="*/ 3771 h 4369"/>
                <a:gd name="T44" fmla="*/ 14362 w 23040"/>
                <a:gd name="T45" fmla="*/ 3373 h 4369"/>
                <a:gd name="T46" fmla="*/ 14105 w 23040"/>
                <a:gd name="T47" fmla="*/ 3277 h 4369"/>
                <a:gd name="T48" fmla="*/ 14091 w 23040"/>
                <a:gd name="T49" fmla="*/ 2881 h 4369"/>
                <a:gd name="T50" fmla="*/ 20731 w 23040"/>
                <a:gd name="T51" fmla="*/ 4008 h 4369"/>
                <a:gd name="T52" fmla="*/ 19002 w 23040"/>
                <a:gd name="T53" fmla="*/ 3795 h 4369"/>
                <a:gd name="T54" fmla="*/ 19052 w 23040"/>
                <a:gd name="T55" fmla="*/ 3549 h 4369"/>
                <a:gd name="T56" fmla="*/ 19727 w 23040"/>
                <a:gd name="T57" fmla="*/ 3547 h 4369"/>
                <a:gd name="T58" fmla="*/ 21772 w 23040"/>
                <a:gd name="T59" fmla="*/ 1759 h 4369"/>
                <a:gd name="T60" fmla="*/ 20169 w 23040"/>
                <a:gd name="T61" fmla="*/ 1874 h 4369"/>
                <a:gd name="T62" fmla="*/ 18388 w 23040"/>
                <a:gd name="T63" fmla="*/ 2546 h 4369"/>
                <a:gd name="T64" fmla="*/ 19509 w 23040"/>
                <a:gd name="T65" fmla="*/ 3625 h 4369"/>
                <a:gd name="T66" fmla="*/ 18969 w 23040"/>
                <a:gd name="T67" fmla="*/ 3381 h 4369"/>
                <a:gd name="T68" fmla="*/ 2798 w 23040"/>
                <a:gd name="T69" fmla="*/ 3193 h 4369"/>
                <a:gd name="T70" fmla="*/ 440 w 23040"/>
                <a:gd name="T71" fmla="*/ 2751 h 4369"/>
                <a:gd name="T72" fmla="*/ 2868 w 23040"/>
                <a:gd name="T73" fmla="*/ 4141 h 4369"/>
                <a:gd name="T74" fmla="*/ 837 w 23040"/>
                <a:gd name="T75" fmla="*/ 3250 h 4369"/>
                <a:gd name="T76" fmla="*/ 823 w 23040"/>
                <a:gd name="T77" fmla="*/ 3336 h 4369"/>
                <a:gd name="T78" fmla="*/ 1107 w 23040"/>
                <a:gd name="T79" fmla="*/ 3717 h 4369"/>
                <a:gd name="T80" fmla="*/ 1080 w 23040"/>
                <a:gd name="T81" fmla="*/ 3810 h 4369"/>
                <a:gd name="T82" fmla="*/ 188 w 23040"/>
                <a:gd name="T83" fmla="*/ 1799 h 4369"/>
                <a:gd name="T84" fmla="*/ 2556 w 23040"/>
                <a:gd name="T85" fmla="*/ 2016 h 4369"/>
                <a:gd name="T86" fmla="*/ 2583 w 23040"/>
                <a:gd name="T87" fmla="*/ 2578 h 4369"/>
                <a:gd name="T88" fmla="*/ 8182 w 23040"/>
                <a:gd name="T89" fmla="*/ 2792 h 4369"/>
                <a:gd name="T90" fmla="*/ 9070 w 23040"/>
                <a:gd name="T91" fmla="*/ 2753 h 4369"/>
                <a:gd name="T92" fmla="*/ 6863 w 23040"/>
                <a:gd name="T93" fmla="*/ 2176 h 4369"/>
                <a:gd name="T94" fmla="*/ 6215 w 23040"/>
                <a:gd name="T95" fmla="*/ 2702 h 4369"/>
                <a:gd name="T96" fmla="*/ 7097 w 23040"/>
                <a:gd name="T97" fmla="*/ 2957 h 4369"/>
                <a:gd name="T98" fmla="*/ 6454 w 23040"/>
                <a:gd name="T99" fmla="*/ 3498 h 4369"/>
                <a:gd name="T100" fmla="*/ 6384 w 23040"/>
                <a:gd name="T101" fmla="*/ 4003 h 4369"/>
                <a:gd name="T102" fmla="*/ 8037 w 23040"/>
                <a:gd name="T103" fmla="*/ 2925 h 4369"/>
                <a:gd name="T104" fmla="*/ 8332 w 23040"/>
                <a:gd name="T105" fmla="*/ 3308 h 4369"/>
                <a:gd name="T106" fmla="*/ 8296 w 23040"/>
                <a:gd name="T107" fmla="*/ 3424 h 4369"/>
                <a:gd name="T108" fmla="*/ 8598 w 23040"/>
                <a:gd name="T109" fmla="*/ 3792 h 4369"/>
                <a:gd name="T110" fmla="*/ 5650 w 23040"/>
                <a:gd name="T111" fmla="*/ 1956 h 4369"/>
                <a:gd name="T112" fmla="*/ 8119 w 23040"/>
                <a:gd name="T113" fmla="*/ 245 h 4369"/>
                <a:gd name="T114" fmla="*/ 4680 w 23040"/>
                <a:gd name="T115" fmla="*/ 942 h 4369"/>
                <a:gd name="T116" fmla="*/ 5027 w 23040"/>
                <a:gd name="T117" fmla="*/ 2616 h 4369"/>
                <a:gd name="T118" fmla="*/ 4991 w 23040"/>
                <a:gd name="T119" fmla="*/ 2732 h 4369"/>
                <a:gd name="T120" fmla="*/ 5292 w 23040"/>
                <a:gd name="T121" fmla="*/ 3101 h 4369"/>
                <a:gd name="T122" fmla="*/ 5252 w 23040"/>
                <a:gd name="T123" fmla="*/ 3235 h 4369"/>
                <a:gd name="T124" fmla="*/ 3326 w 23040"/>
                <a:gd name="T125" fmla="*/ 3951 h 4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040" h="4369">
                  <a:moveTo>
                    <a:pt x="10933" y="3163"/>
                  </a:moveTo>
                  <a:lnTo>
                    <a:pt x="10933" y="3274"/>
                  </a:lnTo>
                  <a:lnTo>
                    <a:pt x="10931" y="3283"/>
                  </a:lnTo>
                  <a:lnTo>
                    <a:pt x="10926" y="3290"/>
                  </a:lnTo>
                  <a:lnTo>
                    <a:pt x="10920" y="3294"/>
                  </a:lnTo>
                  <a:lnTo>
                    <a:pt x="10912" y="3295"/>
                  </a:lnTo>
                  <a:lnTo>
                    <a:pt x="10906" y="3294"/>
                  </a:lnTo>
                  <a:lnTo>
                    <a:pt x="10899" y="3290"/>
                  </a:lnTo>
                  <a:lnTo>
                    <a:pt x="10894" y="3283"/>
                  </a:lnTo>
                  <a:lnTo>
                    <a:pt x="10893" y="3274"/>
                  </a:lnTo>
                  <a:lnTo>
                    <a:pt x="10893" y="3163"/>
                  </a:lnTo>
                  <a:lnTo>
                    <a:pt x="10894" y="3154"/>
                  </a:lnTo>
                  <a:lnTo>
                    <a:pt x="10899" y="3148"/>
                  </a:lnTo>
                  <a:lnTo>
                    <a:pt x="10906" y="3144"/>
                  </a:lnTo>
                  <a:lnTo>
                    <a:pt x="10912" y="3143"/>
                  </a:lnTo>
                  <a:lnTo>
                    <a:pt x="10920" y="3144"/>
                  </a:lnTo>
                  <a:lnTo>
                    <a:pt x="10926" y="3148"/>
                  </a:lnTo>
                  <a:lnTo>
                    <a:pt x="10931" y="3154"/>
                  </a:lnTo>
                  <a:lnTo>
                    <a:pt x="10933" y="3163"/>
                  </a:lnTo>
                  <a:close/>
                  <a:moveTo>
                    <a:pt x="10670" y="3163"/>
                  </a:moveTo>
                  <a:lnTo>
                    <a:pt x="10670" y="3274"/>
                  </a:lnTo>
                  <a:lnTo>
                    <a:pt x="10669" y="3283"/>
                  </a:lnTo>
                  <a:lnTo>
                    <a:pt x="10663" y="3290"/>
                  </a:lnTo>
                  <a:lnTo>
                    <a:pt x="10657" y="3294"/>
                  </a:lnTo>
                  <a:lnTo>
                    <a:pt x="10649" y="3295"/>
                  </a:lnTo>
                  <a:lnTo>
                    <a:pt x="10643" y="3294"/>
                  </a:lnTo>
                  <a:lnTo>
                    <a:pt x="10637" y="3290"/>
                  </a:lnTo>
                  <a:lnTo>
                    <a:pt x="10631" y="3283"/>
                  </a:lnTo>
                  <a:lnTo>
                    <a:pt x="10630" y="3274"/>
                  </a:lnTo>
                  <a:lnTo>
                    <a:pt x="10630" y="3163"/>
                  </a:lnTo>
                  <a:lnTo>
                    <a:pt x="10631" y="3154"/>
                  </a:lnTo>
                  <a:lnTo>
                    <a:pt x="10637" y="3148"/>
                  </a:lnTo>
                  <a:lnTo>
                    <a:pt x="10643" y="3144"/>
                  </a:lnTo>
                  <a:lnTo>
                    <a:pt x="10649" y="3143"/>
                  </a:lnTo>
                  <a:lnTo>
                    <a:pt x="10657" y="3144"/>
                  </a:lnTo>
                  <a:lnTo>
                    <a:pt x="10663" y="3148"/>
                  </a:lnTo>
                  <a:lnTo>
                    <a:pt x="10669" y="3154"/>
                  </a:lnTo>
                  <a:lnTo>
                    <a:pt x="10670" y="3163"/>
                  </a:lnTo>
                  <a:close/>
                  <a:moveTo>
                    <a:pt x="10407" y="3163"/>
                  </a:moveTo>
                  <a:lnTo>
                    <a:pt x="10407" y="3274"/>
                  </a:lnTo>
                  <a:lnTo>
                    <a:pt x="10404" y="3283"/>
                  </a:lnTo>
                  <a:lnTo>
                    <a:pt x="10401" y="3290"/>
                  </a:lnTo>
                  <a:lnTo>
                    <a:pt x="10394" y="3294"/>
                  </a:lnTo>
                  <a:lnTo>
                    <a:pt x="10386" y="3295"/>
                  </a:lnTo>
                  <a:lnTo>
                    <a:pt x="10379" y="3294"/>
                  </a:lnTo>
                  <a:lnTo>
                    <a:pt x="10372" y="3290"/>
                  </a:lnTo>
                  <a:lnTo>
                    <a:pt x="10369" y="3283"/>
                  </a:lnTo>
                  <a:lnTo>
                    <a:pt x="10366" y="3274"/>
                  </a:lnTo>
                  <a:lnTo>
                    <a:pt x="10366" y="3163"/>
                  </a:lnTo>
                  <a:lnTo>
                    <a:pt x="10369" y="3154"/>
                  </a:lnTo>
                  <a:lnTo>
                    <a:pt x="10372" y="3148"/>
                  </a:lnTo>
                  <a:lnTo>
                    <a:pt x="10379" y="3144"/>
                  </a:lnTo>
                  <a:lnTo>
                    <a:pt x="10386" y="3143"/>
                  </a:lnTo>
                  <a:lnTo>
                    <a:pt x="10394" y="3144"/>
                  </a:lnTo>
                  <a:lnTo>
                    <a:pt x="10401" y="3148"/>
                  </a:lnTo>
                  <a:lnTo>
                    <a:pt x="10404" y="3154"/>
                  </a:lnTo>
                  <a:lnTo>
                    <a:pt x="10407" y="3163"/>
                  </a:lnTo>
                  <a:close/>
                  <a:moveTo>
                    <a:pt x="10143" y="3163"/>
                  </a:moveTo>
                  <a:lnTo>
                    <a:pt x="10143" y="3274"/>
                  </a:lnTo>
                  <a:lnTo>
                    <a:pt x="10142" y="3283"/>
                  </a:lnTo>
                  <a:lnTo>
                    <a:pt x="10138" y="3290"/>
                  </a:lnTo>
                  <a:lnTo>
                    <a:pt x="10131" y="3294"/>
                  </a:lnTo>
                  <a:lnTo>
                    <a:pt x="10124" y="3295"/>
                  </a:lnTo>
                  <a:lnTo>
                    <a:pt x="10116" y="3294"/>
                  </a:lnTo>
                  <a:lnTo>
                    <a:pt x="10109" y="3290"/>
                  </a:lnTo>
                  <a:lnTo>
                    <a:pt x="10106" y="3283"/>
                  </a:lnTo>
                  <a:lnTo>
                    <a:pt x="10103" y="3274"/>
                  </a:lnTo>
                  <a:lnTo>
                    <a:pt x="10103" y="3163"/>
                  </a:lnTo>
                  <a:lnTo>
                    <a:pt x="10106" y="3154"/>
                  </a:lnTo>
                  <a:lnTo>
                    <a:pt x="10109" y="3148"/>
                  </a:lnTo>
                  <a:lnTo>
                    <a:pt x="10116" y="3144"/>
                  </a:lnTo>
                  <a:lnTo>
                    <a:pt x="10124" y="3143"/>
                  </a:lnTo>
                  <a:lnTo>
                    <a:pt x="10131" y="3144"/>
                  </a:lnTo>
                  <a:lnTo>
                    <a:pt x="10138" y="3148"/>
                  </a:lnTo>
                  <a:lnTo>
                    <a:pt x="10142" y="3154"/>
                  </a:lnTo>
                  <a:lnTo>
                    <a:pt x="10143" y="3163"/>
                  </a:lnTo>
                  <a:close/>
                  <a:moveTo>
                    <a:pt x="9880" y="3163"/>
                  </a:moveTo>
                  <a:lnTo>
                    <a:pt x="9880" y="3274"/>
                  </a:lnTo>
                  <a:lnTo>
                    <a:pt x="9879" y="3283"/>
                  </a:lnTo>
                  <a:lnTo>
                    <a:pt x="9874" y="3290"/>
                  </a:lnTo>
                  <a:lnTo>
                    <a:pt x="9867" y="3294"/>
                  </a:lnTo>
                  <a:lnTo>
                    <a:pt x="9861" y="3295"/>
                  </a:lnTo>
                  <a:lnTo>
                    <a:pt x="9853" y="3294"/>
                  </a:lnTo>
                  <a:lnTo>
                    <a:pt x="9847" y="3290"/>
                  </a:lnTo>
                  <a:lnTo>
                    <a:pt x="9841" y="3283"/>
                  </a:lnTo>
                  <a:lnTo>
                    <a:pt x="9840" y="3274"/>
                  </a:lnTo>
                  <a:lnTo>
                    <a:pt x="9840" y="3163"/>
                  </a:lnTo>
                  <a:lnTo>
                    <a:pt x="9841" y="3154"/>
                  </a:lnTo>
                  <a:lnTo>
                    <a:pt x="9847" y="3148"/>
                  </a:lnTo>
                  <a:lnTo>
                    <a:pt x="9853" y="3144"/>
                  </a:lnTo>
                  <a:lnTo>
                    <a:pt x="9861" y="3143"/>
                  </a:lnTo>
                  <a:lnTo>
                    <a:pt x="9867" y="3144"/>
                  </a:lnTo>
                  <a:lnTo>
                    <a:pt x="9874" y="3148"/>
                  </a:lnTo>
                  <a:lnTo>
                    <a:pt x="9879" y="3154"/>
                  </a:lnTo>
                  <a:lnTo>
                    <a:pt x="9880" y="3163"/>
                  </a:lnTo>
                  <a:close/>
                  <a:moveTo>
                    <a:pt x="9617" y="3163"/>
                  </a:moveTo>
                  <a:lnTo>
                    <a:pt x="9617" y="3274"/>
                  </a:lnTo>
                  <a:lnTo>
                    <a:pt x="9616" y="3283"/>
                  </a:lnTo>
                  <a:lnTo>
                    <a:pt x="9611" y="3290"/>
                  </a:lnTo>
                  <a:lnTo>
                    <a:pt x="9604" y="3294"/>
                  </a:lnTo>
                  <a:lnTo>
                    <a:pt x="9598" y="3295"/>
                  </a:lnTo>
                  <a:lnTo>
                    <a:pt x="9590" y="3294"/>
                  </a:lnTo>
                  <a:lnTo>
                    <a:pt x="9584" y="3290"/>
                  </a:lnTo>
                  <a:lnTo>
                    <a:pt x="9579" y="3283"/>
                  </a:lnTo>
                  <a:lnTo>
                    <a:pt x="9577" y="3274"/>
                  </a:lnTo>
                  <a:lnTo>
                    <a:pt x="9577" y="3163"/>
                  </a:lnTo>
                  <a:lnTo>
                    <a:pt x="9579" y="3154"/>
                  </a:lnTo>
                  <a:lnTo>
                    <a:pt x="9584" y="3148"/>
                  </a:lnTo>
                  <a:lnTo>
                    <a:pt x="9590" y="3144"/>
                  </a:lnTo>
                  <a:lnTo>
                    <a:pt x="9598" y="3143"/>
                  </a:lnTo>
                  <a:lnTo>
                    <a:pt x="9604" y="3144"/>
                  </a:lnTo>
                  <a:lnTo>
                    <a:pt x="9611" y="3148"/>
                  </a:lnTo>
                  <a:lnTo>
                    <a:pt x="9616" y="3154"/>
                  </a:lnTo>
                  <a:lnTo>
                    <a:pt x="9617" y="3163"/>
                  </a:lnTo>
                  <a:close/>
                  <a:moveTo>
                    <a:pt x="10933" y="2916"/>
                  </a:moveTo>
                  <a:lnTo>
                    <a:pt x="10933" y="3028"/>
                  </a:lnTo>
                  <a:lnTo>
                    <a:pt x="10931" y="3037"/>
                  </a:lnTo>
                  <a:lnTo>
                    <a:pt x="10926" y="3043"/>
                  </a:lnTo>
                  <a:lnTo>
                    <a:pt x="10920" y="3047"/>
                  </a:lnTo>
                  <a:lnTo>
                    <a:pt x="10912" y="3048"/>
                  </a:lnTo>
                  <a:lnTo>
                    <a:pt x="10906" y="3047"/>
                  </a:lnTo>
                  <a:lnTo>
                    <a:pt x="10899" y="3043"/>
                  </a:lnTo>
                  <a:lnTo>
                    <a:pt x="10894" y="3037"/>
                  </a:lnTo>
                  <a:lnTo>
                    <a:pt x="10893" y="3028"/>
                  </a:lnTo>
                  <a:lnTo>
                    <a:pt x="10893" y="2916"/>
                  </a:lnTo>
                  <a:lnTo>
                    <a:pt x="10894" y="2907"/>
                  </a:lnTo>
                  <a:lnTo>
                    <a:pt x="10899" y="2901"/>
                  </a:lnTo>
                  <a:lnTo>
                    <a:pt x="10906" y="2897"/>
                  </a:lnTo>
                  <a:lnTo>
                    <a:pt x="10912" y="2896"/>
                  </a:lnTo>
                  <a:lnTo>
                    <a:pt x="10920" y="2897"/>
                  </a:lnTo>
                  <a:lnTo>
                    <a:pt x="10926" y="2901"/>
                  </a:lnTo>
                  <a:lnTo>
                    <a:pt x="10931" y="2907"/>
                  </a:lnTo>
                  <a:lnTo>
                    <a:pt x="10933" y="2916"/>
                  </a:lnTo>
                  <a:close/>
                  <a:moveTo>
                    <a:pt x="10670" y="2916"/>
                  </a:moveTo>
                  <a:lnTo>
                    <a:pt x="10670" y="3028"/>
                  </a:lnTo>
                  <a:lnTo>
                    <a:pt x="10669" y="3037"/>
                  </a:lnTo>
                  <a:lnTo>
                    <a:pt x="10663" y="3043"/>
                  </a:lnTo>
                  <a:lnTo>
                    <a:pt x="10657" y="3047"/>
                  </a:lnTo>
                  <a:lnTo>
                    <a:pt x="10649" y="3048"/>
                  </a:lnTo>
                  <a:lnTo>
                    <a:pt x="10643" y="3047"/>
                  </a:lnTo>
                  <a:lnTo>
                    <a:pt x="10637" y="3043"/>
                  </a:lnTo>
                  <a:lnTo>
                    <a:pt x="10631" y="3037"/>
                  </a:lnTo>
                  <a:lnTo>
                    <a:pt x="10630" y="3028"/>
                  </a:lnTo>
                  <a:lnTo>
                    <a:pt x="10630" y="2916"/>
                  </a:lnTo>
                  <a:lnTo>
                    <a:pt x="10631" y="2907"/>
                  </a:lnTo>
                  <a:lnTo>
                    <a:pt x="10637" y="2901"/>
                  </a:lnTo>
                  <a:lnTo>
                    <a:pt x="10643" y="2897"/>
                  </a:lnTo>
                  <a:lnTo>
                    <a:pt x="10649" y="2896"/>
                  </a:lnTo>
                  <a:lnTo>
                    <a:pt x="10657" y="2897"/>
                  </a:lnTo>
                  <a:lnTo>
                    <a:pt x="10663" y="2901"/>
                  </a:lnTo>
                  <a:lnTo>
                    <a:pt x="10669" y="2907"/>
                  </a:lnTo>
                  <a:lnTo>
                    <a:pt x="10670" y="2916"/>
                  </a:lnTo>
                  <a:close/>
                  <a:moveTo>
                    <a:pt x="10407" y="2916"/>
                  </a:moveTo>
                  <a:lnTo>
                    <a:pt x="10407" y="3028"/>
                  </a:lnTo>
                  <a:lnTo>
                    <a:pt x="10404" y="3037"/>
                  </a:lnTo>
                  <a:lnTo>
                    <a:pt x="10401" y="3043"/>
                  </a:lnTo>
                  <a:lnTo>
                    <a:pt x="10394" y="3047"/>
                  </a:lnTo>
                  <a:lnTo>
                    <a:pt x="10386" y="3048"/>
                  </a:lnTo>
                  <a:lnTo>
                    <a:pt x="10379" y="3047"/>
                  </a:lnTo>
                  <a:lnTo>
                    <a:pt x="10372" y="3043"/>
                  </a:lnTo>
                  <a:lnTo>
                    <a:pt x="10369" y="3037"/>
                  </a:lnTo>
                  <a:lnTo>
                    <a:pt x="10366" y="3028"/>
                  </a:lnTo>
                  <a:lnTo>
                    <a:pt x="10366" y="2916"/>
                  </a:lnTo>
                  <a:lnTo>
                    <a:pt x="10369" y="2907"/>
                  </a:lnTo>
                  <a:lnTo>
                    <a:pt x="10372" y="2901"/>
                  </a:lnTo>
                  <a:lnTo>
                    <a:pt x="10379" y="2897"/>
                  </a:lnTo>
                  <a:lnTo>
                    <a:pt x="10386" y="2896"/>
                  </a:lnTo>
                  <a:lnTo>
                    <a:pt x="10394" y="2897"/>
                  </a:lnTo>
                  <a:lnTo>
                    <a:pt x="10401" y="2901"/>
                  </a:lnTo>
                  <a:lnTo>
                    <a:pt x="10404" y="2907"/>
                  </a:lnTo>
                  <a:lnTo>
                    <a:pt x="10407" y="2916"/>
                  </a:lnTo>
                  <a:close/>
                  <a:moveTo>
                    <a:pt x="10143" y="2916"/>
                  </a:moveTo>
                  <a:lnTo>
                    <a:pt x="10143" y="3028"/>
                  </a:lnTo>
                  <a:lnTo>
                    <a:pt x="10142" y="3037"/>
                  </a:lnTo>
                  <a:lnTo>
                    <a:pt x="10138" y="3043"/>
                  </a:lnTo>
                  <a:lnTo>
                    <a:pt x="10131" y="3047"/>
                  </a:lnTo>
                  <a:lnTo>
                    <a:pt x="10124" y="3048"/>
                  </a:lnTo>
                  <a:lnTo>
                    <a:pt x="10116" y="3047"/>
                  </a:lnTo>
                  <a:lnTo>
                    <a:pt x="10109" y="3043"/>
                  </a:lnTo>
                  <a:lnTo>
                    <a:pt x="10106" y="3037"/>
                  </a:lnTo>
                  <a:lnTo>
                    <a:pt x="10103" y="3028"/>
                  </a:lnTo>
                  <a:lnTo>
                    <a:pt x="10103" y="2916"/>
                  </a:lnTo>
                  <a:lnTo>
                    <a:pt x="10106" y="2907"/>
                  </a:lnTo>
                  <a:lnTo>
                    <a:pt x="10109" y="2901"/>
                  </a:lnTo>
                  <a:lnTo>
                    <a:pt x="10116" y="2897"/>
                  </a:lnTo>
                  <a:lnTo>
                    <a:pt x="10124" y="2896"/>
                  </a:lnTo>
                  <a:lnTo>
                    <a:pt x="10131" y="2897"/>
                  </a:lnTo>
                  <a:lnTo>
                    <a:pt x="10138" y="2901"/>
                  </a:lnTo>
                  <a:lnTo>
                    <a:pt x="10142" y="2907"/>
                  </a:lnTo>
                  <a:lnTo>
                    <a:pt x="10143" y="2916"/>
                  </a:lnTo>
                  <a:close/>
                  <a:moveTo>
                    <a:pt x="9880" y="2916"/>
                  </a:moveTo>
                  <a:lnTo>
                    <a:pt x="9880" y="3028"/>
                  </a:lnTo>
                  <a:lnTo>
                    <a:pt x="9879" y="3037"/>
                  </a:lnTo>
                  <a:lnTo>
                    <a:pt x="9874" y="3043"/>
                  </a:lnTo>
                  <a:lnTo>
                    <a:pt x="9867" y="3047"/>
                  </a:lnTo>
                  <a:lnTo>
                    <a:pt x="9861" y="3048"/>
                  </a:lnTo>
                  <a:lnTo>
                    <a:pt x="9853" y="3047"/>
                  </a:lnTo>
                  <a:lnTo>
                    <a:pt x="9847" y="3043"/>
                  </a:lnTo>
                  <a:lnTo>
                    <a:pt x="9841" y="3037"/>
                  </a:lnTo>
                  <a:lnTo>
                    <a:pt x="9840" y="3028"/>
                  </a:lnTo>
                  <a:lnTo>
                    <a:pt x="9840" y="2916"/>
                  </a:lnTo>
                  <a:lnTo>
                    <a:pt x="9841" y="2907"/>
                  </a:lnTo>
                  <a:lnTo>
                    <a:pt x="9847" y="2901"/>
                  </a:lnTo>
                  <a:lnTo>
                    <a:pt x="9853" y="2897"/>
                  </a:lnTo>
                  <a:lnTo>
                    <a:pt x="9861" y="2896"/>
                  </a:lnTo>
                  <a:lnTo>
                    <a:pt x="9867" y="2897"/>
                  </a:lnTo>
                  <a:lnTo>
                    <a:pt x="9874" y="2901"/>
                  </a:lnTo>
                  <a:lnTo>
                    <a:pt x="9879" y="2907"/>
                  </a:lnTo>
                  <a:lnTo>
                    <a:pt x="9880" y="2916"/>
                  </a:lnTo>
                  <a:close/>
                  <a:moveTo>
                    <a:pt x="9617" y="2916"/>
                  </a:moveTo>
                  <a:lnTo>
                    <a:pt x="9617" y="3028"/>
                  </a:lnTo>
                  <a:lnTo>
                    <a:pt x="9616" y="3037"/>
                  </a:lnTo>
                  <a:lnTo>
                    <a:pt x="9611" y="3043"/>
                  </a:lnTo>
                  <a:lnTo>
                    <a:pt x="9604" y="3047"/>
                  </a:lnTo>
                  <a:lnTo>
                    <a:pt x="9598" y="3048"/>
                  </a:lnTo>
                  <a:lnTo>
                    <a:pt x="9590" y="3047"/>
                  </a:lnTo>
                  <a:lnTo>
                    <a:pt x="9584" y="3043"/>
                  </a:lnTo>
                  <a:lnTo>
                    <a:pt x="9579" y="3037"/>
                  </a:lnTo>
                  <a:lnTo>
                    <a:pt x="9577" y="3028"/>
                  </a:lnTo>
                  <a:lnTo>
                    <a:pt x="9577" y="2916"/>
                  </a:lnTo>
                  <a:lnTo>
                    <a:pt x="9579" y="2907"/>
                  </a:lnTo>
                  <a:lnTo>
                    <a:pt x="9584" y="2901"/>
                  </a:lnTo>
                  <a:lnTo>
                    <a:pt x="9590" y="2897"/>
                  </a:lnTo>
                  <a:lnTo>
                    <a:pt x="9598" y="2896"/>
                  </a:lnTo>
                  <a:lnTo>
                    <a:pt x="9604" y="2897"/>
                  </a:lnTo>
                  <a:lnTo>
                    <a:pt x="9611" y="2901"/>
                  </a:lnTo>
                  <a:lnTo>
                    <a:pt x="9616" y="2907"/>
                  </a:lnTo>
                  <a:lnTo>
                    <a:pt x="9617" y="2916"/>
                  </a:lnTo>
                  <a:close/>
                  <a:moveTo>
                    <a:pt x="10933" y="2670"/>
                  </a:moveTo>
                  <a:lnTo>
                    <a:pt x="10933" y="2782"/>
                  </a:lnTo>
                  <a:lnTo>
                    <a:pt x="10931" y="2790"/>
                  </a:lnTo>
                  <a:lnTo>
                    <a:pt x="10926" y="2796"/>
                  </a:lnTo>
                  <a:lnTo>
                    <a:pt x="10920" y="2800"/>
                  </a:lnTo>
                  <a:lnTo>
                    <a:pt x="10912" y="2801"/>
                  </a:lnTo>
                  <a:lnTo>
                    <a:pt x="10906" y="2800"/>
                  </a:lnTo>
                  <a:lnTo>
                    <a:pt x="10899" y="2796"/>
                  </a:lnTo>
                  <a:lnTo>
                    <a:pt x="10894" y="2790"/>
                  </a:lnTo>
                  <a:lnTo>
                    <a:pt x="10893" y="2782"/>
                  </a:lnTo>
                  <a:lnTo>
                    <a:pt x="10893" y="2670"/>
                  </a:lnTo>
                  <a:lnTo>
                    <a:pt x="10894" y="2661"/>
                  </a:lnTo>
                  <a:lnTo>
                    <a:pt x="10899" y="2654"/>
                  </a:lnTo>
                  <a:lnTo>
                    <a:pt x="10906" y="2650"/>
                  </a:lnTo>
                  <a:lnTo>
                    <a:pt x="10912" y="2649"/>
                  </a:lnTo>
                  <a:lnTo>
                    <a:pt x="10920" y="2650"/>
                  </a:lnTo>
                  <a:lnTo>
                    <a:pt x="10926" y="2654"/>
                  </a:lnTo>
                  <a:lnTo>
                    <a:pt x="10931" y="2661"/>
                  </a:lnTo>
                  <a:lnTo>
                    <a:pt x="10933" y="2670"/>
                  </a:lnTo>
                  <a:close/>
                  <a:moveTo>
                    <a:pt x="10670" y="2670"/>
                  </a:moveTo>
                  <a:lnTo>
                    <a:pt x="10670" y="2782"/>
                  </a:lnTo>
                  <a:lnTo>
                    <a:pt x="10669" y="2790"/>
                  </a:lnTo>
                  <a:lnTo>
                    <a:pt x="10663" y="2796"/>
                  </a:lnTo>
                  <a:lnTo>
                    <a:pt x="10657" y="2800"/>
                  </a:lnTo>
                  <a:lnTo>
                    <a:pt x="10649" y="2801"/>
                  </a:lnTo>
                  <a:lnTo>
                    <a:pt x="10643" y="2800"/>
                  </a:lnTo>
                  <a:lnTo>
                    <a:pt x="10637" y="2796"/>
                  </a:lnTo>
                  <a:lnTo>
                    <a:pt x="10631" y="2790"/>
                  </a:lnTo>
                  <a:lnTo>
                    <a:pt x="10630" y="2782"/>
                  </a:lnTo>
                  <a:lnTo>
                    <a:pt x="10630" y="2670"/>
                  </a:lnTo>
                  <a:lnTo>
                    <a:pt x="10631" y="2661"/>
                  </a:lnTo>
                  <a:lnTo>
                    <a:pt x="10637" y="2654"/>
                  </a:lnTo>
                  <a:lnTo>
                    <a:pt x="10643" y="2650"/>
                  </a:lnTo>
                  <a:lnTo>
                    <a:pt x="10649" y="2649"/>
                  </a:lnTo>
                  <a:lnTo>
                    <a:pt x="10657" y="2650"/>
                  </a:lnTo>
                  <a:lnTo>
                    <a:pt x="10663" y="2654"/>
                  </a:lnTo>
                  <a:lnTo>
                    <a:pt x="10669" y="2661"/>
                  </a:lnTo>
                  <a:lnTo>
                    <a:pt x="10670" y="2670"/>
                  </a:lnTo>
                  <a:close/>
                  <a:moveTo>
                    <a:pt x="10407" y="2670"/>
                  </a:moveTo>
                  <a:lnTo>
                    <a:pt x="10407" y="2782"/>
                  </a:lnTo>
                  <a:lnTo>
                    <a:pt x="10404" y="2790"/>
                  </a:lnTo>
                  <a:lnTo>
                    <a:pt x="10401" y="2796"/>
                  </a:lnTo>
                  <a:lnTo>
                    <a:pt x="10394" y="2800"/>
                  </a:lnTo>
                  <a:lnTo>
                    <a:pt x="10386" y="2801"/>
                  </a:lnTo>
                  <a:lnTo>
                    <a:pt x="10379" y="2800"/>
                  </a:lnTo>
                  <a:lnTo>
                    <a:pt x="10372" y="2796"/>
                  </a:lnTo>
                  <a:lnTo>
                    <a:pt x="10369" y="2790"/>
                  </a:lnTo>
                  <a:lnTo>
                    <a:pt x="10366" y="2782"/>
                  </a:lnTo>
                  <a:lnTo>
                    <a:pt x="10366" y="2670"/>
                  </a:lnTo>
                  <a:lnTo>
                    <a:pt x="10369" y="2661"/>
                  </a:lnTo>
                  <a:lnTo>
                    <a:pt x="10372" y="2654"/>
                  </a:lnTo>
                  <a:lnTo>
                    <a:pt x="10379" y="2650"/>
                  </a:lnTo>
                  <a:lnTo>
                    <a:pt x="10386" y="2649"/>
                  </a:lnTo>
                  <a:lnTo>
                    <a:pt x="10394" y="2650"/>
                  </a:lnTo>
                  <a:lnTo>
                    <a:pt x="10401" y="2654"/>
                  </a:lnTo>
                  <a:lnTo>
                    <a:pt x="10404" y="2661"/>
                  </a:lnTo>
                  <a:lnTo>
                    <a:pt x="10407" y="2670"/>
                  </a:lnTo>
                  <a:close/>
                  <a:moveTo>
                    <a:pt x="10143" y="2670"/>
                  </a:moveTo>
                  <a:lnTo>
                    <a:pt x="10143" y="2782"/>
                  </a:lnTo>
                  <a:lnTo>
                    <a:pt x="10142" y="2790"/>
                  </a:lnTo>
                  <a:lnTo>
                    <a:pt x="10138" y="2796"/>
                  </a:lnTo>
                  <a:lnTo>
                    <a:pt x="10131" y="2800"/>
                  </a:lnTo>
                  <a:lnTo>
                    <a:pt x="10124" y="2801"/>
                  </a:lnTo>
                  <a:lnTo>
                    <a:pt x="10116" y="2800"/>
                  </a:lnTo>
                  <a:lnTo>
                    <a:pt x="10109" y="2796"/>
                  </a:lnTo>
                  <a:lnTo>
                    <a:pt x="10106" y="2790"/>
                  </a:lnTo>
                  <a:lnTo>
                    <a:pt x="10103" y="2782"/>
                  </a:lnTo>
                  <a:lnTo>
                    <a:pt x="10103" y="2670"/>
                  </a:lnTo>
                  <a:lnTo>
                    <a:pt x="10106" y="2661"/>
                  </a:lnTo>
                  <a:lnTo>
                    <a:pt x="10109" y="2654"/>
                  </a:lnTo>
                  <a:lnTo>
                    <a:pt x="10116" y="2650"/>
                  </a:lnTo>
                  <a:lnTo>
                    <a:pt x="10124" y="2649"/>
                  </a:lnTo>
                  <a:lnTo>
                    <a:pt x="10131" y="2650"/>
                  </a:lnTo>
                  <a:lnTo>
                    <a:pt x="10138" y="2654"/>
                  </a:lnTo>
                  <a:lnTo>
                    <a:pt x="10142" y="2661"/>
                  </a:lnTo>
                  <a:lnTo>
                    <a:pt x="10143" y="2670"/>
                  </a:lnTo>
                  <a:close/>
                  <a:moveTo>
                    <a:pt x="9880" y="2670"/>
                  </a:moveTo>
                  <a:lnTo>
                    <a:pt x="9880" y="2782"/>
                  </a:lnTo>
                  <a:lnTo>
                    <a:pt x="9879" y="2790"/>
                  </a:lnTo>
                  <a:lnTo>
                    <a:pt x="9874" y="2796"/>
                  </a:lnTo>
                  <a:lnTo>
                    <a:pt x="9867" y="2800"/>
                  </a:lnTo>
                  <a:lnTo>
                    <a:pt x="9861" y="2801"/>
                  </a:lnTo>
                  <a:lnTo>
                    <a:pt x="9853" y="2800"/>
                  </a:lnTo>
                  <a:lnTo>
                    <a:pt x="9847" y="2796"/>
                  </a:lnTo>
                  <a:lnTo>
                    <a:pt x="9841" y="2790"/>
                  </a:lnTo>
                  <a:lnTo>
                    <a:pt x="9840" y="2782"/>
                  </a:lnTo>
                  <a:lnTo>
                    <a:pt x="9840" y="2670"/>
                  </a:lnTo>
                  <a:lnTo>
                    <a:pt x="9841" y="2661"/>
                  </a:lnTo>
                  <a:lnTo>
                    <a:pt x="9847" y="2654"/>
                  </a:lnTo>
                  <a:lnTo>
                    <a:pt x="9853" y="2650"/>
                  </a:lnTo>
                  <a:lnTo>
                    <a:pt x="9861" y="2649"/>
                  </a:lnTo>
                  <a:lnTo>
                    <a:pt x="9867" y="2650"/>
                  </a:lnTo>
                  <a:lnTo>
                    <a:pt x="9874" y="2654"/>
                  </a:lnTo>
                  <a:lnTo>
                    <a:pt x="9879" y="2661"/>
                  </a:lnTo>
                  <a:lnTo>
                    <a:pt x="9880" y="2670"/>
                  </a:lnTo>
                  <a:close/>
                  <a:moveTo>
                    <a:pt x="9617" y="2670"/>
                  </a:moveTo>
                  <a:lnTo>
                    <a:pt x="9617" y="2782"/>
                  </a:lnTo>
                  <a:lnTo>
                    <a:pt x="9616" y="2790"/>
                  </a:lnTo>
                  <a:lnTo>
                    <a:pt x="9611" y="2796"/>
                  </a:lnTo>
                  <a:lnTo>
                    <a:pt x="9604" y="2800"/>
                  </a:lnTo>
                  <a:lnTo>
                    <a:pt x="9598" y="2801"/>
                  </a:lnTo>
                  <a:lnTo>
                    <a:pt x="9590" y="2800"/>
                  </a:lnTo>
                  <a:lnTo>
                    <a:pt x="9584" y="2796"/>
                  </a:lnTo>
                  <a:lnTo>
                    <a:pt x="9579" y="2790"/>
                  </a:lnTo>
                  <a:lnTo>
                    <a:pt x="9577" y="2782"/>
                  </a:lnTo>
                  <a:lnTo>
                    <a:pt x="9577" y="2670"/>
                  </a:lnTo>
                  <a:lnTo>
                    <a:pt x="9579" y="2661"/>
                  </a:lnTo>
                  <a:lnTo>
                    <a:pt x="9584" y="2654"/>
                  </a:lnTo>
                  <a:lnTo>
                    <a:pt x="9590" y="2650"/>
                  </a:lnTo>
                  <a:lnTo>
                    <a:pt x="9598" y="2649"/>
                  </a:lnTo>
                  <a:lnTo>
                    <a:pt x="9604" y="2650"/>
                  </a:lnTo>
                  <a:lnTo>
                    <a:pt x="9611" y="2654"/>
                  </a:lnTo>
                  <a:lnTo>
                    <a:pt x="9616" y="2661"/>
                  </a:lnTo>
                  <a:lnTo>
                    <a:pt x="9617" y="2670"/>
                  </a:lnTo>
                  <a:close/>
                  <a:moveTo>
                    <a:pt x="13776" y="2113"/>
                  </a:moveTo>
                  <a:lnTo>
                    <a:pt x="13776" y="2226"/>
                  </a:lnTo>
                  <a:lnTo>
                    <a:pt x="13774" y="2235"/>
                  </a:lnTo>
                  <a:lnTo>
                    <a:pt x="13769" y="2241"/>
                  </a:lnTo>
                  <a:lnTo>
                    <a:pt x="13763" y="2245"/>
                  </a:lnTo>
                  <a:lnTo>
                    <a:pt x="13756" y="2246"/>
                  </a:lnTo>
                  <a:lnTo>
                    <a:pt x="13749" y="2245"/>
                  </a:lnTo>
                  <a:lnTo>
                    <a:pt x="13742" y="2241"/>
                  </a:lnTo>
                  <a:lnTo>
                    <a:pt x="13737" y="2235"/>
                  </a:lnTo>
                  <a:lnTo>
                    <a:pt x="13736" y="2226"/>
                  </a:lnTo>
                  <a:lnTo>
                    <a:pt x="13736" y="2113"/>
                  </a:lnTo>
                  <a:lnTo>
                    <a:pt x="13737" y="2106"/>
                  </a:lnTo>
                  <a:lnTo>
                    <a:pt x="13742" y="2099"/>
                  </a:lnTo>
                  <a:lnTo>
                    <a:pt x="13749" y="2095"/>
                  </a:lnTo>
                  <a:lnTo>
                    <a:pt x="13756" y="2094"/>
                  </a:lnTo>
                  <a:lnTo>
                    <a:pt x="13763" y="2095"/>
                  </a:lnTo>
                  <a:lnTo>
                    <a:pt x="13769" y="2099"/>
                  </a:lnTo>
                  <a:lnTo>
                    <a:pt x="13774" y="2106"/>
                  </a:lnTo>
                  <a:lnTo>
                    <a:pt x="13776" y="2113"/>
                  </a:lnTo>
                  <a:close/>
                  <a:moveTo>
                    <a:pt x="13513" y="2113"/>
                  </a:moveTo>
                  <a:lnTo>
                    <a:pt x="13513" y="2226"/>
                  </a:lnTo>
                  <a:lnTo>
                    <a:pt x="13511" y="2235"/>
                  </a:lnTo>
                  <a:lnTo>
                    <a:pt x="13506" y="2241"/>
                  </a:lnTo>
                  <a:lnTo>
                    <a:pt x="13500" y="2245"/>
                  </a:lnTo>
                  <a:lnTo>
                    <a:pt x="13492" y="2246"/>
                  </a:lnTo>
                  <a:lnTo>
                    <a:pt x="13486" y="2245"/>
                  </a:lnTo>
                  <a:lnTo>
                    <a:pt x="13479" y="2241"/>
                  </a:lnTo>
                  <a:lnTo>
                    <a:pt x="13474" y="2235"/>
                  </a:lnTo>
                  <a:lnTo>
                    <a:pt x="13473" y="2226"/>
                  </a:lnTo>
                  <a:lnTo>
                    <a:pt x="13473" y="2113"/>
                  </a:lnTo>
                  <a:lnTo>
                    <a:pt x="13474" y="2106"/>
                  </a:lnTo>
                  <a:lnTo>
                    <a:pt x="13479" y="2099"/>
                  </a:lnTo>
                  <a:lnTo>
                    <a:pt x="13486" y="2095"/>
                  </a:lnTo>
                  <a:lnTo>
                    <a:pt x="13492" y="2094"/>
                  </a:lnTo>
                  <a:lnTo>
                    <a:pt x="13500" y="2095"/>
                  </a:lnTo>
                  <a:lnTo>
                    <a:pt x="13506" y="2099"/>
                  </a:lnTo>
                  <a:lnTo>
                    <a:pt x="13511" y="2106"/>
                  </a:lnTo>
                  <a:lnTo>
                    <a:pt x="13513" y="2113"/>
                  </a:lnTo>
                  <a:close/>
                  <a:moveTo>
                    <a:pt x="13250" y="2113"/>
                  </a:moveTo>
                  <a:lnTo>
                    <a:pt x="13250" y="2226"/>
                  </a:lnTo>
                  <a:lnTo>
                    <a:pt x="13247" y="2235"/>
                  </a:lnTo>
                  <a:lnTo>
                    <a:pt x="13243" y="2241"/>
                  </a:lnTo>
                  <a:lnTo>
                    <a:pt x="13237" y="2245"/>
                  </a:lnTo>
                  <a:lnTo>
                    <a:pt x="13229" y="2246"/>
                  </a:lnTo>
                  <a:lnTo>
                    <a:pt x="13222" y="2245"/>
                  </a:lnTo>
                  <a:lnTo>
                    <a:pt x="13215" y="2241"/>
                  </a:lnTo>
                  <a:lnTo>
                    <a:pt x="13211" y="2235"/>
                  </a:lnTo>
                  <a:lnTo>
                    <a:pt x="13210" y="2226"/>
                  </a:lnTo>
                  <a:lnTo>
                    <a:pt x="13210" y="2113"/>
                  </a:lnTo>
                  <a:lnTo>
                    <a:pt x="13211" y="2106"/>
                  </a:lnTo>
                  <a:lnTo>
                    <a:pt x="13215" y="2099"/>
                  </a:lnTo>
                  <a:lnTo>
                    <a:pt x="13222" y="2095"/>
                  </a:lnTo>
                  <a:lnTo>
                    <a:pt x="13229" y="2094"/>
                  </a:lnTo>
                  <a:lnTo>
                    <a:pt x="13237" y="2095"/>
                  </a:lnTo>
                  <a:lnTo>
                    <a:pt x="13243" y="2099"/>
                  </a:lnTo>
                  <a:lnTo>
                    <a:pt x="13247" y="2106"/>
                  </a:lnTo>
                  <a:lnTo>
                    <a:pt x="13250" y="2113"/>
                  </a:lnTo>
                  <a:close/>
                  <a:moveTo>
                    <a:pt x="12987" y="2113"/>
                  </a:moveTo>
                  <a:lnTo>
                    <a:pt x="12987" y="2226"/>
                  </a:lnTo>
                  <a:lnTo>
                    <a:pt x="12984" y="2235"/>
                  </a:lnTo>
                  <a:lnTo>
                    <a:pt x="12981" y="2241"/>
                  </a:lnTo>
                  <a:lnTo>
                    <a:pt x="12974" y="2245"/>
                  </a:lnTo>
                  <a:lnTo>
                    <a:pt x="12966" y="2246"/>
                  </a:lnTo>
                  <a:lnTo>
                    <a:pt x="12959" y="2245"/>
                  </a:lnTo>
                  <a:lnTo>
                    <a:pt x="12952" y="2241"/>
                  </a:lnTo>
                  <a:lnTo>
                    <a:pt x="12948" y="2235"/>
                  </a:lnTo>
                  <a:lnTo>
                    <a:pt x="12946" y="2226"/>
                  </a:lnTo>
                  <a:lnTo>
                    <a:pt x="12946" y="2113"/>
                  </a:lnTo>
                  <a:lnTo>
                    <a:pt x="12948" y="2106"/>
                  </a:lnTo>
                  <a:lnTo>
                    <a:pt x="12952" y="2099"/>
                  </a:lnTo>
                  <a:lnTo>
                    <a:pt x="12959" y="2095"/>
                  </a:lnTo>
                  <a:lnTo>
                    <a:pt x="12966" y="2094"/>
                  </a:lnTo>
                  <a:lnTo>
                    <a:pt x="12974" y="2095"/>
                  </a:lnTo>
                  <a:lnTo>
                    <a:pt x="12981" y="2099"/>
                  </a:lnTo>
                  <a:lnTo>
                    <a:pt x="12984" y="2106"/>
                  </a:lnTo>
                  <a:lnTo>
                    <a:pt x="12987" y="2113"/>
                  </a:lnTo>
                  <a:close/>
                  <a:moveTo>
                    <a:pt x="13776" y="1879"/>
                  </a:moveTo>
                  <a:lnTo>
                    <a:pt x="13776" y="1992"/>
                  </a:lnTo>
                  <a:lnTo>
                    <a:pt x="13774" y="2001"/>
                  </a:lnTo>
                  <a:lnTo>
                    <a:pt x="13769" y="2007"/>
                  </a:lnTo>
                  <a:lnTo>
                    <a:pt x="13763" y="2011"/>
                  </a:lnTo>
                  <a:lnTo>
                    <a:pt x="13756" y="2012"/>
                  </a:lnTo>
                  <a:lnTo>
                    <a:pt x="13749" y="2011"/>
                  </a:lnTo>
                  <a:lnTo>
                    <a:pt x="13742" y="2007"/>
                  </a:lnTo>
                  <a:lnTo>
                    <a:pt x="13737" y="2001"/>
                  </a:lnTo>
                  <a:lnTo>
                    <a:pt x="13736" y="1992"/>
                  </a:lnTo>
                  <a:lnTo>
                    <a:pt x="13736" y="1879"/>
                  </a:lnTo>
                  <a:lnTo>
                    <a:pt x="13737" y="1872"/>
                  </a:lnTo>
                  <a:lnTo>
                    <a:pt x="13742" y="1865"/>
                  </a:lnTo>
                  <a:lnTo>
                    <a:pt x="13749" y="1861"/>
                  </a:lnTo>
                  <a:lnTo>
                    <a:pt x="13756" y="1860"/>
                  </a:lnTo>
                  <a:lnTo>
                    <a:pt x="13763" y="1861"/>
                  </a:lnTo>
                  <a:lnTo>
                    <a:pt x="13769" y="1865"/>
                  </a:lnTo>
                  <a:lnTo>
                    <a:pt x="13774" y="1872"/>
                  </a:lnTo>
                  <a:lnTo>
                    <a:pt x="13776" y="1879"/>
                  </a:lnTo>
                  <a:close/>
                  <a:moveTo>
                    <a:pt x="13513" y="1879"/>
                  </a:moveTo>
                  <a:lnTo>
                    <a:pt x="13513" y="1992"/>
                  </a:lnTo>
                  <a:lnTo>
                    <a:pt x="13511" y="2001"/>
                  </a:lnTo>
                  <a:lnTo>
                    <a:pt x="13506" y="2007"/>
                  </a:lnTo>
                  <a:lnTo>
                    <a:pt x="13500" y="2011"/>
                  </a:lnTo>
                  <a:lnTo>
                    <a:pt x="13492" y="2012"/>
                  </a:lnTo>
                  <a:lnTo>
                    <a:pt x="13486" y="2011"/>
                  </a:lnTo>
                  <a:lnTo>
                    <a:pt x="13479" y="2007"/>
                  </a:lnTo>
                  <a:lnTo>
                    <a:pt x="13474" y="2001"/>
                  </a:lnTo>
                  <a:lnTo>
                    <a:pt x="13473" y="1992"/>
                  </a:lnTo>
                  <a:lnTo>
                    <a:pt x="13473" y="1879"/>
                  </a:lnTo>
                  <a:lnTo>
                    <a:pt x="13474" y="1872"/>
                  </a:lnTo>
                  <a:lnTo>
                    <a:pt x="13479" y="1865"/>
                  </a:lnTo>
                  <a:lnTo>
                    <a:pt x="13486" y="1861"/>
                  </a:lnTo>
                  <a:lnTo>
                    <a:pt x="13492" y="1860"/>
                  </a:lnTo>
                  <a:lnTo>
                    <a:pt x="13500" y="1861"/>
                  </a:lnTo>
                  <a:lnTo>
                    <a:pt x="13506" y="1865"/>
                  </a:lnTo>
                  <a:lnTo>
                    <a:pt x="13511" y="1872"/>
                  </a:lnTo>
                  <a:lnTo>
                    <a:pt x="13513" y="1879"/>
                  </a:lnTo>
                  <a:close/>
                  <a:moveTo>
                    <a:pt x="13250" y="1879"/>
                  </a:moveTo>
                  <a:lnTo>
                    <a:pt x="13250" y="1992"/>
                  </a:lnTo>
                  <a:lnTo>
                    <a:pt x="13247" y="2001"/>
                  </a:lnTo>
                  <a:lnTo>
                    <a:pt x="13243" y="2007"/>
                  </a:lnTo>
                  <a:lnTo>
                    <a:pt x="13237" y="2011"/>
                  </a:lnTo>
                  <a:lnTo>
                    <a:pt x="13229" y="2012"/>
                  </a:lnTo>
                  <a:lnTo>
                    <a:pt x="13222" y="2011"/>
                  </a:lnTo>
                  <a:lnTo>
                    <a:pt x="13215" y="2007"/>
                  </a:lnTo>
                  <a:lnTo>
                    <a:pt x="13211" y="2001"/>
                  </a:lnTo>
                  <a:lnTo>
                    <a:pt x="13210" y="1992"/>
                  </a:lnTo>
                  <a:lnTo>
                    <a:pt x="13210" y="1879"/>
                  </a:lnTo>
                  <a:lnTo>
                    <a:pt x="13211" y="1872"/>
                  </a:lnTo>
                  <a:lnTo>
                    <a:pt x="13215" y="1865"/>
                  </a:lnTo>
                  <a:lnTo>
                    <a:pt x="13222" y="1861"/>
                  </a:lnTo>
                  <a:lnTo>
                    <a:pt x="13229" y="1860"/>
                  </a:lnTo>
                  <a:lnTo>
                    <a:pt x="13237" y="1861"/>
                  </a:lnTo>
                  <a:lnTo>
                    <a:pt x="13243" y="1865"/>
                  </a:lnTo>
                  <a:lnTo>
                    <a:pt x="13247" y="1872"/>
                  </a:lnTo>
                  <a:lnTo>
                    <a:pt x="13250" y="1879"/>
                  </a:lnTo>
                  <a:close/>
                  <a:moveTo>
                    <a:pt x="12987" y="1879"/>
                  </a:moveTo>
                  <a:lnTo>
                    <a:pt x="12987" y="1992"/>
                  </a:lnTo>
                  <a:lnTo>
                    <a:pt x="12984" y="2001"/>
                  </a:lnTo>
                  <a:lnTo>
                    <a:pt x="12981" y="2007"/>
                  </a:lnTo>
                  <a:lnTo>
                    <a:pt x="12974" y="2011"/>
                  </a:lnTo>
                  <a:lnTo>
                    <a:pt x="12966" y="2012"/>
                  </a:lnTo>
                  <a:lnTo>
                    <a:pt x="12959" y="2011"/>
                  </a:lnTo>
                  <a:lnTo>
                    <a:pt x="12952" y="2007"/>
                  </a:lnTo>
                  <a:lnTo>
                    <a:pt x="12948" y="2001"/>
                  </a:lnTo>
                  <a:lnTo>
                    <a:pt x="12946" y="1992"/>
                  </a:lnTo>
                  <a:lnTo>
                    <a:pt x="12946" y="1879"/>
                  </a:lnTo>
                  <a:lnTo>
                    <a:pt x="12948" y="1872"/>
                  </a:lnTo>
                  <a:lnTo>
                    <a:pt x="12952" y="1865"/>
                  </a:lnTo>
                  <a:lnTo>
                    <a:pt x="12959" y="1861"/>
                  </a:lnTo>
                  <a:lnTo>
                    <a:pt x="12966" y="1860"/>
                  </a:lnTo>
                  <a:lnTo>
                    <a:pt x="12974" y="1861"/>
                  </a:lnTo>
                  <a:lnTo>
                    <a:pt x="12981" y="1865"/>
                  </a:lnTo>
                  <a:lnTo>
                    <a:pt x="12984" y="1872"/>
                  </a:lnTo>
                  <a:lnTo>
                    <a:pt x="12987" y="1879"/>
                  </a:lnTo>
                  <a:close/>
                  <a:moveTo>
                    <a:pt x="13776" y="1645"/>
                  </a:moveTo>
                  <a:lnTo>
                    <a:pt x="13776" y="1758"/>
                  </a:lnTo>
                  <a:lnTo>
                    <a:pt x="13774" y="1767"/>
                  </a:lnTo>
                  <a:lnTo>
                    <a:pt x="13769" y="1773"/>
                  </a:lnTo>
                  <a:lnTo>
                    <a:pt x="13763" y="1777"/>
                  </a:lnTo>
                  <a:lnTo>
                    <a:pt x="13756" y="1778"/>
                  </a:lnTo>
                  <a:lnTo>
                    <a:pt x="13749" y="1777"/>
                  </a:lnTo>
                  <a:lnTo>
                    <a:pt x="13742" y="1773"/>
                  </a:lnTo>
                  <a:lnTo>
                    <a:pt x="13737" y="1767"/>
                  </a:lnTo>
                  <a:lnTo>
                    <a:pt x="13736" y="1758"/>
                  </a:lnTo>
                  <a:lnTo>
                    <a:pt x="13736" y="1645"/>
                  </a:lnTo>
                  <a:lnTo>
                    <a:pt x="13737" y="1636"/>
                  </a:lnTo>
                  <a:lnTo>
                    <a:pt x="13742" y="1631"/>
                  </a:lnTo>
                  <a:lnTo>
                    <a:pt x="13749" y="1627"/>
                  </a:lnTo>
                  <a:lnTo>
                    <a:pt x="13756" y="1626"/>
                  </a:lnTo>
                  <a:lnTo>
                    <a:pt x="13763" y="1627"/>
                  </a:lnTo>
                  <a:lnTo>
                    <a:pt x="13769" y="1631"/>
                  </a:lnTo>
                  <a:lnTo>
                    <a:pt x="13774" y="1636"/>
                  </a:lnTo>
                  <a:lnTo>
                    <a:pt x="13776" y="1645"/>
                  </a:lnTo>
                  <a:close/>
                  <a:moveTo>
                    <a:pt x="13513" y="1645"/>
                  </a:moveTo>
                  <a:lnTo>
                    <a:pt x="13513" y="1758"/>
                  </a:lnTo>
                  <a:lnTo>
                    <a:pt x="13511" y="1767"/>
                  </a:lnTo>
                  <a:lnTo>
                    <a:pt x="13506" y="1773"/>
                  </a:lnTo>
                  <a:lnTo>
                    <a:pt x="13500" y="1777"/>
                  </a:lnTo>
                  <a:lnTo>
                    <a:pt x="13492" y="1778"/>
                  </a:lnTo>
                  <a:lnTo>
                    <a:pt x="13486" y="1777"/>
                  </a:lnTo>
                  <a:lnTo>
                    <a:pt x="13479" y="1773"/>
                  </a:lnTo>
                  <a:lnTo>
                    <a:pt x="13474" y="1767"/>
                  </a:lnTo>
                  <a:lnTo>
                    <a:pt x="13473" y="1758"/>
                  </a:lnTo>
                  <a:lnTo>
                    <a:pt x="13473" y="1645"/>
                  </a:lnTo>
                  <a:lnTo>
                    <a:pt x="13474" y="1636"/>
                  </a:lnTo>
                  <a:lnTo>
                    <a:pt x="13479" y="1631"/>
                  </a:lnTo>
                  <a:lnTo>
                    <a:pt x="13486" y="1627"/>
                  </a:lnTo>
                  <a:lnTo>
                    <a:pt x="13492" y="1626"/>
                  </a:lnTo>
                  <a:lnTo>
                    <a:pt x="13500" y="1627"/>
                  </a:lnTo>
                  <a:lnTo>
                    <a:pt x="13506" y="1631"/>
                  </a:lnTo>
                  <a:lnTo>
                    <a:pt x="13511" y="1636"/>
                  </a:lnTo>
                  <a:lnTo>
                    <a:pt x="13513" y="1645"/>
                  </a:lnTo>
                  <a:close/>
                  <a:moveTo>
                    <a:pt x="13250" y="1645"/>
                  </a:moveTo>
                  <a:lnTo>
                    <a:pt x="13250" y="1758"/>
                  </a:lnTo>
                  <a:lnTo>
                    <a:pt x="13247" y="1767"/>
                  </a:lnTo>
                  <a:lnTo>
                    <a:pt x="13243" y="1773"/>
                  </a:lnTo>
                  <a:lnTo>
                    <a:pt x="13237" y="1777"/>
                  </a:lnTo>
                  <a:lnTo>
                    <a:pt x="13229" y="1778"/>
                  </a:lnTo>
                  <a:lnTo>
                    <a:pt x="13222" y="1777"/>
                  </a:lnTo>
                  <a:lnTo>
                    <a:pt x="13215" y="1773"/>
                  </a:lnTo>
                  <a:lnTo>
                    <a:pt x="13211" y="1767"/>
                  </a:lnTo>
                  <a:lnTo>
                    <a:pt x="13210" y="1758"/>
                  </a:lnTo>
                  <a:lnTo>
                    <a:pt x="13210" y="1645"/>
                  </a:lnTo>
                  <a:lnTo>
                    <a:pt x="13211" y="1636"/>
                  </a:lnTo>
                  <a:lnTo>
                    <a:pt x="13215" y="1631"/>
                  </a:lnTo>
                  <a:lnTo>
                    <a:pt x="13222" y="1627"/>
                  </a:lnTo>
                  <a:lnTo>
                    <a:pt x="13229" y="1626"/>
                  </a:lnTo>
                  <a:lnTo>
                    <a:pt x="13237" y="1627"/>
                  </a:lnTo>
                  <a:lnTo>
                    <a:pt x="13243" y="1631"/>
                  </a:lnTo>
                  <a:lnTo>
                    <a:pt x="13247" y="1636"/>
                  </a:lnTo>
                  <a:lnTo>
                    <a:pt x="13250" y="1645"/>
                  </a:lnTo>
                  <a:close/>
                  <a:moveTo>
                    <a:pt x="12987" y="1645"/>
                  </a:moveTo>
                  <a:lnTo>
                    <a:pt x="12987" y="1758"/>
                  </a:lnTo>
                  <a:lnTo>
                    <a:pt x="12984" y="1767"/>
                  </a:lnTo>
                  <a:lnTo>
                    <a:pt x="12981" y="1773"/>
                  </a:lnTo>
                  <a:lnTo>
                    <a:pt x="12974" y="1777"/>
                  </a:lnTo>
                  <a:lnTo>
                    <a:pt x="12966" y="1778"/>
                  </a:lnTo>
                  <a:lnTo>
                    <a:pt x="12959" y="1777"/>
                  </a:lnTo>
                  <a:lnTo>
                    <a:pt x="12952" y="1773"/>
                  </a:lnTo>
                  <a:lnTo>
                    <a:pt x="12948" y="1767"/>
                  </a:lnTo>
                  <a:lnTo>
                    <a:pt x="12946" y="1758"/>
                  </a:lnTo>
                  <a:lnTo>
                    <a:pt x="12946" y="1645"/>
                  </a:lnTo>
                  <a:lnTo>
                    <a:pt x="12948" y="1636"/>
                  </a:lnTo>
                  <a:lnTo>
                    <a:pt x="12952" y="1631"/>
                  </a:lnTo>
                  <a:lnTo>
                    <a:pt x="12959" y="1627"/>
                  </a:lnTo>
                  <a:lnTo>
                    <a:pt x="12966" y="1626"/>
                  </a:lnTo>
                  <a:lnTo>
                    <a:pt x="12974" y="1627"/>
                  </a:lnTo>
                  <a:lnTo>
                    <a:pt x="12981" y="1631"/>
                  </a:lnTo>
                  <a:lnTo>
                    <a:pt x="12984" y="1636"/>
                  </a:lnTo>
                  <a:lnTo>
                    <a:pt x="12987" y="1645"/>
                  </a:lnTo>
                  <a:close/>
                  <a:moveTo>
                    <a:pt x="13776" y="1411"/>
                  </a:moveTo>
                  <a:lnTo>
                    <a:pt x="13776" y="1524"/>
                  </a:lnTo>
                  <a:lnTo>
                    <a:pt x="13774" y="1533"/>
                  </a:lnTo>
                  <a:lnTo>
                    <a:pt x="13769" y="1539"/>
                  </a:lnTo>
                  <a:lnTo>
                    <a:pt x="13763" y="1543"/>
                  </a:lnTo>
                  <a:lnTo>
                    <a:pt x="13756" y="1544"/>
                  </a:lnTo>
                  <a:lnTo>
                    <a:pt x="13749" y="1543"/>
                  </a:lnTo>
                  <a:lnTo>
                    <a:pt x="13742" y="1539"/>
                  </a:lnTo>
                  <a:lnTo>
                    <a:pt x="13737" y="1533"/>
                  </a:lnTo>
                  <a:lnTo>
                    <a:pt x="13736" y="1524"/>
                  </a:lnTo>
                  <a:lnTo>
                    <a:pt x="13736" y="1411"/>
                  </a:lnTo>
                  <a:lnTo>
                    <a:pt x="13737" y="1402"/>
                  </a:lnTo>
                  <a:lnTo>
                    <a:pt x="13742" y="1397"/>
                  </a:lnTo>
                  <a:lnTo>
                    <a:pt x="13749" y="1393"/>
                  </a:lnTo>
                  <a:lnTo>
                    <a:pt x="13756" y="1392"/>
                  </a:lnTo>
                  <a:lnTo>
                    <a:pt x="13763" y="1393"/>
                  </a:lnTo>
                  <a:lnTo>
                    <a:pt x="13769" y="1397"/>
                  </a:lnTo>
                  <a:lnTo>
                    <a:pt x="13774" y="1402"/>
                  </a:lnTo>
                  <a:lnTo>
                    <a:pt x="13776" y="1411"/>
                  </a:lnTo>
                  <a:close/>
                  <a:moveTo>
                    <a:pt x="13513" y="1411"/>
                  </a:moveTo>
                  <a:lnTo>
                    <a:pt x="13513" y="1524"/>
                  </a:lnTo>
                  <a:lnTo>
                    <a:pt x="13511" y="1533"/>
                  </a:lnTo>
                  <a:lnTo>
                    <a:pt x="13506" y="1539"/>
                  </a:lnTo>
                  <a:lnTo>
                    <a:pt x="13500" y="1543"/>
                  </a:lnTo>
                  <a:lnTo>
                    <a:pt x="13492" y="1544"/>
                  </a:lnTo>
                  <a:lnTo>
                    <a:pt x="13486" y="1543"/>
                  </a:lnTo>
                  <a:lnTo>
                    <a:pt x="13479" y="1539"/>
                  </a:lnTo>
                  <a:lnTo>
                    <a:pt x="13474" y="1533"/>
                  </a:lnTo>
                  <a:lnTo>
                    <a:pt x="13473" y="1524"/>
                  </a:lnTo>
                  <a:lnTo>
                    <a:pt x="13473" y="1411"/>
                  </a:lnTo>
                  <a:lnTo>
                    <a:pt x="13474" y="1402"/>
                  </a:lnTo>
                  <a:lnTo>
                    <a:pt x="13479" y="1397"/>
                  </a:lnTo>
                  <a:lnTo>
                    <a:pt x="13486" y="1393"/>
                  </a:lnTo>
                  <a:lnTo>
                    <a:pt x="13492" y="1392"/>
                  </a:lnTo>
                  <a:lnTo>
                    <a:pt x="13500" y="1393"/>
                  </a:lnTo>
                  <a:lnTo>
                    <a:pt x="13506" y="1397"/>
                  </a:lnTo>
                  <a:lnTo>
                    <a:pt x="13511" y="1402"/>
                  </a:lnTo>
                  <a:lnTo>
                    <a:pt x="13513" y="1411"/>
                  </a:lnTo>
                  <a:close/>
                  <a:moveTo>
                    <a:pt x="13250" y="1411"/>
                  </a:moveTo>
                  <a:lnTo>
                    <a:pt x="13250" y="1524"/>
                  </a:lnTo>
                  <a:lnTo>
                    <a:pt x="13247" y="1533"/>
                  </a:lnTo>
                  <a:lnTo>
                    <a:pt x="13243" y="1539"/>
                  </a:lnTo>
                  <a:lnTo>
                    <a:pt x="13237" y="1543"/>
                  </a:lnTo>
                  <a:lnTo>
                    <a:pt x="13229" y="1544"/>
                  </a:lnTo>
                  <a:lnTo>
                    <a:pt x="13222" y="1543"/>
                  </a:lnTo>
                  <a:lnTo>
                    <a:pt x="13215" y="1539"/>
                  </a:lnTo>
                  <a:lnTo>
                    <a:pt x="13211" y="1533"/>
                  </a:lnTo>
                  <a:lnTo>
                    <a:pt x="13210" y="1524"/>
                  </a:lnTo>
                  <a:lnTo>
                    <a:pt x="13210" y="1411"/>
                  </a:lnTo>
                  <a:lnTo>
                    <a:pt x="13211" y="1402"/>
                  </a:lnTo>
                  <a:lnTo>
                    <a:pt x="13215" y="1397"/>
                  </a:lnTo>
                  <a:lnTo>
                    <a:pt x="13222" y="1393"/>
                  </a:lnTo>
                  <a:lnTo>
                    <a:pt x="13229" y="1392"/>
                  </a:lnTo>
                  <a:lnTo>
                    <a:pt x="13237" y="1393"/>
                  </a:lnTo>
                  <a:lnTo>
                    <a:pt x="13243" y="1397"/>
                  </a:lnTo>
                  <a:lnTo>
                    <a:pt x="13247" y="1402"/>
                  </a:lnTo>
                  <a:lnTo>
                    <a:pt x="13250" y="1411"/>
                  </a:lnTo>
                  <a:close/>
                  <a:moveTo>
                    <a:pt x="12987" y="1411"/>
                  </a:moveTo>
                  <a:lnTo>
                    <a:pt x="12987" y="1524"/>
                  </a:lnTo>
                  <a:lnTo>
                    <a:pt x="12984" y="1533"/>
                  </a:lnTo>
                  <a:lnTo>
                    <a:pt x="12981" y="1539"/>
                  </a:lnTo>
                  <a:lnTo>
                    <a:pt x="12974" y="1543"/>
                  </a:lnTo>
                  <a:lnTo>
                    <a:pt x="12966" y="1544"/>
                  </a:lnTo>
                  <a:lnTo>
                    <a:pt x="12959" y="1543"/>
                  </a:lnTo>
                  <a:lnTo>
                    <a:pt x="12952" y="1539"/>
                  </a:lnTo>
                  <a:lnTo>
                    <a:pt x="12948" y="1533"/>
                  </a:lnTo>
                  <a:lnTo>
                    <a:pt x="12946" y="1524"/>
                  </a:lnTo>
                  <a:lnTo>
                    <a:pt x="12946" y="1411"/>
                  </a:lnTo>
                  <a:lnTo>
                    <a:pt x="12948" y="1402"/>
                  </a:lnTo>
                  <a:lnTo>
                    <a:pt x="12952" y="1397"/>
                  </a:lnTo>
                  <a:lnTo>
                    <a:pt x="12959" y="1393"/>
                  </a:lnTo>
                  <a:lnTo>
                    <a:pt x="12966" y="1392"/>
                  </a:lnTo>
                  <a:lnTo>
                    <a:pt x="12974" y="1393"/>
                  </a:lnTo>
                  <a:lnTo>
                    <a:pt x="12981" y="1397"/>
                  </a:lnTo>
                  <a:lnTo>
                    <a:pt x="12984" y="1402"/>
                  </a:lnTo>
                  <a:lnTo>
                    <a:pt x="12987" y="1411"/>
                  </a:lnTo>
                  <a:close/>
                  <a:moveTo>
                    <a:pt x="13776" y="1177"/>
                  </a:moveTo>
                  <a:lnTo>
                    <a:pt x="13776" y="1290"/>
                  </a:lnTo>
                  <a:lnTo>
                    <a:pt x="13774" y="1299"/>
                  </a:lnTo>
                  <a:lnTo>
                    <a:pt x="13769" y="1305"/>
                  </a:lnTo>
                  <a:lnTo>
                    <a:pt x="13763" y="1309"/>
                  </a:lnTo>
                  <a:lnTo>
                    <a:pt x="13756" y="1309"/>
                  </a:lnTo>
                  <a:lnTo>
                    <a:pt x="13749" y="1309"/>
                  </a:lnTo>
                  <a:lnTo>
                    <a:pt x="13742" y="1305"/>
                  </a:lnTo>
                  <a:lnTo>
                    <a:pt x="13737" y="1299"/>
                  </a:lnTo>
                  <a:lnTo>
                    <a:pt x="13736" y="1290"/>
                  </a:lnTo>
                  <a:lnTo>
                    <a:pt x="13736" y="1177"/>
                  </a:lnTo>
                  <a:lnTo>
                    <a:pt x="13737" y="1168"/>
                  </a:lnTo>
                  <a:lnTo>
                    <a:pt x="13742" y="1163"/>
                  </a:lnTo>
                  <a:lnTo>
                    <a:pt x="13749" y="1159"/>
                  </a:lnTo>
                  <a:lnTo>
                    <a:pt x="13756" y="1158"/>
                  </a:lnTo>
                  <a:lnTo>
                    <a:pt x="13763" y="1159"/>
                  </a:lnTo>
                  <a:lnTo>
                    <a:pt x="13769" y="1163"/>
                  </a:lnTo>
                  <a:lnTo>
                    <a:pt x="13774" y="1168"/>
                  </a:lnTo>
                  <a:lnTo>
                    <a:pt x="13776" y="1177"/>
                  </a:lnTo>
                  <a:close/>
                  <a:moveTo>
                    <a:pt x="13513" y="1177"/>
                  </a:moveTo>
                  <a:lnTo>
                    <a:pt x="13513" y="1290"/>
                  </a:lnTo>
                  <a:lnTo>
                    <a:pt x="13511" y="1299"/>
                  </a:lnTo>
                  <a:lnTo>
                    <a:pt x="13506" y="1305"/>
                  </a:lnTo>
                  <a:lnTo>
                    <a:pt x="13500" y="1309"/>
                  </a:lnTo>
                  <a:lnTo>
                    <a:pt x="13492" y="1309"/>
                  </a:lnTo>
                  <a:lnTo>
                    <a:pt x="13486" y="1309"/>
                  </a:lnTo>
                  <a:lnTo>
                    <a:pt x="13479" y="1305"/>
                  </a:lnTo>
                  <a:lnTo>
                    <a:pt x="13474" y="1299"/>
                  </a:lnTo>
                  <a:lnTo>
                    <a:pt x="13473" y="1290"/>
                  </a:lnTo>
                  <a:lnTo>
                    <a:pt x="13473" y="1177"/>
                  </a:lnTo>
                  <a:lnTo>
                    <a:pt x="13474" y="1168"/>
                  </a:lnTo>
                  <a:lnTo>
                    <a:pt x="13479" y="1163"/>
                  </a:lnTo>
                  <a:lnTo>
                    <a:pt x="13486" y="1159"/>
                  </a:lnTo>
                  <a:lnTo>
                    <a:pt x="13492" y="1158"/>
                  </a:lnTo>
                  <a:lnTo>
                    <a:pt x="13500" y="1159"/>
                  </a:lnTo>
                  <a:lnTo>
                    <a:pt x="13506" y="1163"/>
                  </a:lnTo>
                  <a:lnTo>
                    <a:pt x="13511" y="1168"/>
                  </a:lnTo>
                  <a:lnTo>
                    <a:pt x="13513" y="1177"/>
                  </a:lnTo>
                  <a:close/>
                  <a:moveTo>
                    <a:pt x="13250" y="1177"/>
                  </a:moveTo>
                  <a:lnTo>
                    <a:pt x="13250" y="1290"/>
                  </a:lnTo>
                  <a:lnTo>
                    <a:pt x="13247" y="1299"/>
                  </a:lnTo>
                  <a:lnTo>
                    <a:pt x="13243" y="1305"/>
                  </a:lnTo>
                  <a:lnTo>
                    <a:pt x="13237" y="1309"/>
                  </a:lnTo>
                  <a:lnTo>
                    <a:pt x="13229" y="1309"/>
                  </a:lnTo>
                  <a:lnTo>
                    <a:pt x="13222" y="1309"/>
                  </a:lnTo>
                  <a:lnTo>
                    <a:pt x="13215" y="1305"/>
                  </a:lnTo>
                  <a:lnTo>
                    <a:pt x="13211" y="1299"/>
                  </a:lnTo>
                  <a:lnTo>
                    <a:pt x="13210" y="1290"/>
                  </a:lnTo>
                  <a:lnTo>
                    <a:pt x="13210" y="1177"/>
                  </a:lnTo>
                  <a:lnTo>
                    <a:pt x="13211" y="1168"/>
                  </a:lnTo>
                  <a:lnTo>
                    <a:pt x="13215" y="1163"/>
                  </a:lnTo>
                  <a:lnTo>
                    <a:pt x="13222" y="1159"/>
                  </a:lnTo>
                  <a:lnTo>
                    <a:pt x="13229" y="1158"/>
                  </a:lnTo>
                  <a:lnTo>
                    <a:pt x="13237" y="1159"/>
                  </a:lnTo>
                  <a:lnTo>
                    <a:pt x="13243" y="1163"/>
                  </a:lnTo>
                  <a:lnTo>
                    <a:pt x="13247" y="1168"/>
                  </a:lnTo>
                  <a:lnTo>
                    <a:pt x="13250" y="1177"/>
                  </a:lnTo>
                  <a:close/>
                  <a:moveTo>
                    <a:pt x="12987" y="1177"/>
                  </a:moveTo>
                  <a:lnTo>
                    <a:pt x="12987" y="1290"/>
                  </a:lnTo>
                  <a:lnTo>
                    <a:pt x="12984" y="1299"/>
                  </a:lnTo>
                  <a:lnTo>
                    <a:pt x="12981" y="1305"/>
                  </a:lnTo>
                  <a:lnTo>
                    <a:pt x="12974" y="1309"/>
                  </a:lnTo>
                  <a:lnTo>
                    <a:pt x="12966" y="1309"/>
                  </a:lnTo>
                  <a:lnTo>
                    <a:pt x="12959" y="1309"/>
                  </a:lnTo>
                  <a:lnTo>
                    <a:pt x="12952" y="1305"/>
                  </a:lnTo>
                  <a:lnTo>
                    <a:pt x="12948" y="1299"/>
                  </a:lnTo>
                  <a:lnTo>
                    <a:pt x="12946" y="1290"/>
                  </a:lnTo>
                  <a:lnTo>
                    <a:pt x="12946" y="1177"/>
                  </a:lnTo>
                  <a:lnTo>
                    <a:pt x="12948" y="1168"/>
                  </a:lnTo>
                  <a:lnTo>
                    <a:pt x="12952" y="1163"/>
                  </a:lnTo>
                  <a:lnTo>
                    <a:pt x="12959" y="1159"/>
                  </a:lnTo>
                  <a:lnTo>
                    <a:pt x="12966" y="1158"/>
                  </a:lnTo>
                  <a:lnTo>
                    <a:pt x="12974" y="1159"/>
                  </a:lnTo>
                  <a:lnTo>
                    <a:pt x="12981" y="1163"/>
                  </a:lnTo>
                  <a:lnTo>
                    <a:pt x="12984" y="1168"/>
                  </a:lnTo>
                  <a:lnTo>
                    <a:pt x="12987" y="1177"/>
                  </a:lnTo>
                  <a:close/>
                  <a:moveTo>
                    <a:pt x="13538" y="3927"/>
                  </a:moveTo>
                  <a:lnTo>
                    <a:pt x="13538" y="4038"/>
                  </a:lnTo>
                  <a:lnTo>
                    <a:pt x="13536" y="4047"/>
                  </a:lnTo>
                  <a:lnTo>
                    <a:pt x="13532" y="4053"/>
                  </a:lnTo>
                  <a:lnTo>
                    <a:pt x="13525" y="4057"/>
                  </a:lnTo>
                  <a:lnTo>
                    <a:pt x="13518" y="4058"/>
                  </a:lnTo>
                  <a:lnTo>
                    <a:pt x="13510" y="4057"/>
                  </a:lnTo>
                  <a:lnTo>
                    <a:pt x="13504" y="4053"/>
                  </a:lnTo>
                  <a:lnTo>
                    <a:pt x="13500" y="4047"/>
                  </a:lnTo>
                  <a:lnTo>
                    <a:pt x="13497" y="4038"/>
                  </a:lnTo>
                  <a:lnTo>
                    <a:pt x="13497" y="3927"/>
                  </a:lnTo>
                  <a:lnTo>
                    <a:pt x="13500" y="3918"/>
                  </a:lnTo>
                  <a:lnTo>
                    <a:pt x="13504" y="3911"/>
                  </a:lnTo>
                  <a:lnTo>
                    <a:pt x="13510" y="3907"/>
                  </a:lnTo>
                  <a:lnTo>
                    <a:pt x="13518" y="3906"/>
                  </a:lnTo>
                  <a:lnTo>
                    <a:pt x="13525" y="3907"/>
                  </a:lnTo>
                  <a:lnTo>
                    <a:pt x="13532" y="3911"/>
                  </a:lnTo>
                  <a:lnTo>
                    <a:pt x="13536" y="3918"/>
                  </a:lnTo>
                  <a:lnTo>
                    <a:pt x="13538" y="3927"/>
                  </a:lnTo>
                  <a:close/>
                  <a:moveTo>
                    <a:pt x="13274" y="3927"/>
                  </a:moveTo>
                  <a:lnTo>
                    <a:pt x="13274" y="4038"/>
                  </a:lnTo>
                  <a:lnTo>
                    <a:pt x="13273" y="4047"/>
                  </a:lnTo>
                  <a:lnTo>
                    <a:pt x="13269" y="4053"/>
                  </a:lnTo>
                  <a:lnTo>
                    <a:pt x="13263" y="4057"/>
                  </a:lnTo>
                  <a:lnTo>
                    <a:pt x="13255" y="4058"/>
                  </a:lnTo>
                  <a:lnTo>
                    <a:pt x="13247" y="4057"/>
                  </a:lnTo>
                  <a:lnTo>
                    <a:pt x="13241" y="4053"/>
                  </a:lnTo>
                  <a:lnTo>
                    <a:pt x="13237" y="4047"/>
                  </a:lnTo>
                  <a:lnTo>
                    <a:pt x="13234" y="4038"/>
                  </a:lnTo>
                  <a:lnTo>
                    <a:pt x="13234" y="3927"/>
                  </a:lnTo>
                  <a:lnTo>
                    <a:pt x="13237" y="3918"/>
                  </a:lnTo>
                  <a:lnTo>
                    <a:pt x="13241" y="3911"/>
                  </a:lnTo>
                  <a:lnTo>
                    <a:pt x="13247" y="3907"/>
                  </a:lnTo>
                  <a:lnTo>
                    <a:pt x="13255" y="3906"/>
                  </a:lnTo>
                  <a:lnTo>
                    <a:pt x="13263" y="3907"/>
                  </a:lnTo>
                  <a:lnTo>
                    <a:pt x="13269" y="3911"/>
                  </a:lnTo>
                  <a:lnTo>
                    <a:pt x="13273" y="3918"/>
                  </a:lnTo>
                  <a:lnTo>
                    <a:pt x="13274" y="3927"/>
                  </a:lnTo>
                  <a:close/>
                  <a:moveTo>
                    <a:pt x="13011" y="3927"/>
                  </a:moveTo>
                  <a:lnTo>
                    <a:pt x="13011" y="4038"/>
                  </a:lnTo>
                  <a:lnTo>
                    <a:pt x="13010" y="4047"/>
                  </a:lnTo>
                  <a:lnTo>
                    <a:pt x="13005" y="4053"/>
                  </a:lnTo>
                  <a:lnTo>
                    <a:pt x="12998" y="4057"/>
                  </a:lnTo>
                  <a:lnTo>
                    <a:pt x="12992" y="4058"/>
                  </a:lnTo>
                  <a:lnTo>
                    <a:pt x="12984" y="4057"/>
                  </a:lnTo>
                  <a:lnTo>
                    <a:pt x="12978" y="4053"/>
                  </a:lnTo>
                  <a:lnTo>
                    <a:pt x="12973" y="4047"/>
                  </a:lnTo>
                  <a:lnTo>
                    <a:pt x="12972" y="4038"/>
                  </a:lnTo>
                  <a:lnTo>
                    <a:pt x="12972" y="3927"/>
                  </a:lnTo>
                  <a:lnTo>
                    <a:pt x="12973" y="3918"/>
                  </a:lnTo>
                  <a:lnTo>
                    <a:pt x="12978" y="3911"/>
                  </a:lnTo>
                  <a:lnTo>
                    <a:pt x="12984" y="3907"/>
                  </a:lnTo>
                  <a:lnTo>
                    <a:pt x="12992" y="3906"/>
                  </a:lnTo>
                  <a:lnTo>
                    <a:pt x="12998" y="3907"/>
                  </a:lnTo>
                  <a:lnTo>
                    <a:pt x="13005" y="3911"/>
                  </a:lnTo>
                  <a:lnTo>
                    <a:pt x="13010" y="3918"/>
                  </a:lnTo>
                  <a:lnTo>
                    <a:pt x="13011" y="3927"/>
                  </a:lnTo>
                  <a:close/>
                  <a:moveTo>
                    <a:pt x="12748" y="3927"/>
                  </a:moveTo>
                  <a:lnTo>
                    <a:pt x="12748" y="4038"/>
                  </a:lnTo>
                  <a:lnTo>
                    <a:pt x="12747" y="4047"/>
                  </a:lnTo>
                  <a:lnTo>
                    <a:pt x="12742" y="4053"/>
                  </a:lnTo>
                  <a:lnTo>
                    <a:pt x="12736" y="4057"/>
                  </a:lnTo>
                  <a:lnTo>
                    <a:pt x="12729" y="4058"/>
                  </a:lnTo>
                  <a:lnTo>
                    <a:pt x="12721" y="4057"/>
                  </a:lnTo>
                  <a:lnTo>
                    <a:pt x="12715" y="4053"/>
                  </a:lnTo>
                  <a:lnTo>
                    <a:pt x="12710" y="4047"/>
                  </a:lnTo>
                  <a:lnTo>
                    <a:pt x="12709" y="4038"/>
                  </a:lnTo>
                  <a:lnTo>
                    <a:pt x="12709" y="3927"/>
                  </a:lnTo>
                  <a:lnTo>
                    <a:pt x="12710" y="3918"/>
                  </a:lnTo>
                  <a:lnTo>
                    <a:pt x="12715" y="3911"/>
                  </a:lnTo>
                  <a:lnTo>
                    <a:pt x="12721" y="3907"/>
                  </a:lnTo>
                  <a:lnTo>
                    <a:pt x="12729" y="3906"/>
                  </a:lnTo>
                  <a:lnTo>
                    <a:pt x="12736" y="3907"/>
                  </a:lnTo>
                  <a:lnTo>
                    <a:pt x="12742" y="3911"/>
                  </a:lnTo>
                  <a:lnTo>
                    <a:pt x="12747" y="3918"/>
                  </a:lnTo>
                  <a:lnTo>
                    <a:pt x="12748" y="3927"/>
                  </a:lnTo>
                  <a:close/>
                  <a:moveTo>
                    <a:pt x="13538" y="3681"/>
                  </a:moveTo>
                  <a:lnTo>
                    <a:pt x="13538" y="3792"/>
                  </a:lnTo>
                  <a:lnTo>
                    <a:pt x="13536" y="3801"/>
                  </a:lnTo>
                  <a:lnTo>
                    <a:pt x="13532" y="3808"/>
                  </a:lnTo>
                  <a:lnTo>
                    <a:pt x="13525" y="3811"/>
                  </a:lnTo>
                  <a:lnTo>
                    <a:pt x="13518" y="3813"/>
                  </a:lnTo>
                  <a:lnTo>
                    <a:pt x="13510" y="3811"/>
                  </a:lnTo>
                  <a:lnTo>
                    <a:pt x="13504" y="3808"/>
                  </a:lnTo>
                  <a:lnTo>
                    <a:pt x="13500" y="3801"/>
                  </a:lnTo>
                  <a:lnTo>
                    <a:pt x="13497" y="3792"/>
                  </a:lnTo>
                  <a:lnTo>
                    <a:pt x="13497" y="3681"/>
                  </a:lnTo>
                  <a:lnTo>
                    <a:pt x="13500" y="3672"/>
                  </a:lnTo>
                  <a:lnTo>
                    <a:pt x="13504" y="3666"/>
                  </a:lnTo>
                  <a:lnTo>
                    <a:pt x="13510" y="3662"/>
                  </a:lnTo>
                  <a:lnTo>
                    <a:pt x="13518" y="3661"/>
                  </a:lnTo>
                  <a:lnTo>
                    <a:pt x="13525" y="3662"/>
                  </a:lnTo>
                  <a:lnTo>
                    <a:pt x="13532" y="3666"/>
                  </a:lnTo>
                  <a:lnTo>
                    <a:pt x="13536" y="3672"/>
                  </a:lnTo>
                  <a:lnTo>
                    <a:pt x="13538" y="3681"/>
                  </a:lnTo>
                  <a:close/>
                  <a:moveTo>
                    <a:pt x="13274" y="3681"/>
                  </a:moveTo>
                  <a:lnTo>
                    <a:pt x="13274" y="3792"/>
                  </a:lnTo>
                  <a:lnTo>
                    <a:pt x="13273" y="3801"/>
                  </a:lnTo>
                  <a:lnTo>
                    <a:pt x="13269" y="3808"/>
                  </a:lnTo>
                  <a:lnTo>
                    <a:pt x="13263" y="3811"/>
                  </a:lnTo>
                  <a:lnTo>
                    <a:pt x="13255" y="3813"/>
                  </a:lnTo>
                  <a:lnTo>
                    <a:pt x="13247" y="3811"/>
                  </a:lnTo>
                  <a:lnTo>
                    <a:pt x="13241" y="3808"/>
                  </a:lnTo>
                  <a:lnTo>
                    <a:pt x="13237" y="3801"/>
                  </a:lnTo>
                  <a:lnTo>
                    <a:pt x="13234" y="3792"/>
                  </a:lnTo>
                  <a:lnTo>
                    <a:pt x="13234" y="3681"/>
                  </a:lnTo>
                  <a:lnTo>
                    <a:pt x="13237" y="3672"/>
                  </a:lnTo>
                  <a:lnTo>
                    <a:pt x="13241" y="3666"/>
                  </a:lnTo>
                  <a:lnTo>
                    <a:pt x="13247" y="3662"/>
                  </a:lnTo>
                  <a:lnTo>
                    <a:pt x="13255" y="3661"/>
                  </a:lnTo>
                  <a:lnTo>
                    <a:pt x="13263" y="3662"/>
                  </a:lnTo>
                  <a:lnTo>
                    <a:pt x="13269" y="3666"/>
                  </a:lnTo>
                  <a:lnTo>
                    <a:pt x="13273" y="3672"/>
                  </a:lnTo>
                  <a:lnTo>
                    <a:pt x="13274" y="3681"/>
                  </a:lnTo>
                  <a:close/>
                  <a:moveTo>
                    <a:pt x="13011" y="3681"/>
                  </a:moveTo>
                  <a:lnTo>
                    <a:pt x="13011" y="3792"/>
                  </a:lnTo>
                  <a:lnTo>
                    <a:pt x="13010" y="3801"/>
                  </a:lnTo>
                  <a:lnTo>
                    <a:pt x="13005" y="3808"/>
                  </a:lnTo>
                  <a:lnTo>
                    <a:pt x="12998" y="3811"/>
                  </a:lnTo>
                  <a:lnTo>
                    <a:pt x="12992" y="3813"/>
                  </a:lnTo>
                  <a:lnTo>
                    <a:pt x="12984" y="3811"/>
                  </a:lnTo>
                  <a:lnTo>
                    <a:pt x="12978" y="3808"/>
                  </a:lnTo>
                  <a:lnTo>
                    <a:pt x="12973" y="3801"/>
                  </a:lnTo>
                  <a:lnTo>
                    <a:pt x="12972" y="3792"/>
                  </a:lnTo>
                  <a:lnTo>
                    <a:pt x="12972" y="3681"/>
                  </a:lnTo>
                  <a:lnTo>
                    <a:pt x="12973" y="3672"/>
                  </a:lnTo>
                  <a:lnTo>
                    <a:pt x="12978" y="3666"/>
                  </a:lnTo>
                  <a:lnTo>
                    <a:pt x="12984" y="3662"/>
                  </a:lnTo>
                  <a:lnTo>
                    <a:pt x="12992" y="3661"/>
                  </a:lnTo>
                  <a:lnTo>
                    <a:pt x="12998" y="3662"/>
                  </a:lnTo>
                  <a:lnTo>
                    <a:pt x="13005" y="3666"/>
                  </a:lnTo>
                  <a:lnTo>
                    <a:pt x="13010" y="3672"/>
                  </a:lnTo>
                  <a:lnTo>
                    <a:pt x="13011" y="3681"/>
                  </a:lnTo>
                  <a:close/>
                  <a:moveTo>
                    <a:pt x="12748" y="3681"/>
                  </a:moveTo>
                  <a:lnTo>
                    <a:pt x="12748" y="3792"/>
                  </a:lnTo>
                  <a:lnTo>
                    <a:pt x="12747" y="3801"/>
                  </a:lnTo>
                  <a:lnTo>
                    <a:pt x="12742" y="3808"/>
                  </a:lnTo>
                  <a:lnTo>
                    <a:pt x="12736" y="3811"/>
                  </a:lnTo>
                  <a:lnTo>
                    <a:pt x="12729" y="3813"/>
                  </a:lnTo>
                  <a:lnTo>
                    <a:pt x="12721" y="3811"/>
                  </a:lnTo>
                  <a:lnTo>
                    <a:pt x="12715" y="3808"/>
                  </a:lnTo>
                  <a:lnTo>
                    <a:pt x="12710" y="3801"/>
                  </a:lnTo>
                  <a:lnTo>
                    <a:pt x="12709" y="3792"/>
                  </a:lnTo>
                  <a:lnTo>
                    <a:pt x="12709" y="3681"/>
                  </a:lnTo>
                  <a:lnTo>
                    <a:pt x="12710" y="3672"/>
                  </a:lnTo>
                  <a:lnTo>
                    <a:pt x="12715" y="3666"/>
                  </a:lnTo>
                  <a:lnTo>
                    <a:pt x="12721" y="3662"/>
                  </a:lnTo>
                  <a:lnTo>
                    <a:pt x="12729" y="3661"/>
                  </a:lnTo>
                  <a:lnTo>
                    <a:pt x="12736" y="3662"/>
                  </a:lnTo>
                  <a:lnTo>
                    <a:pt x="12742" y="3666"/>
                  </a:lnTo>
                  <a:lnTo>
                    <a:pt x="12747" y="3672"/>
                  </a:lnTo>
                  <a:lnTo>
                    <a:pt x="12748" y="3681"/>
                  </a:lnTo>
                  <a:close/>
                  <a:moveTo>
                    <a:pt x="13538" y="3436"/>
                  </a:moveTo>
                  <a:lnTo>
                    <a:pt x="13538" y="3547"/>
                  </a:lnTo>
                  <a:lnTo>
                    <a:pt x="13536" y="3556"/>
                  </a:lnTo>
                  <a:lnTo>
                    <a:pt x="13532" y="3562"/>
                  </a:lnTo>
                  <a:lnTo>
                    <a:pt x="13525" y="3566"/>
                  </a:lnTo>
                  <a:lnTo>
                    <a:pt x="13518" y="3567"/>
                  </a:lnTo>
                  <a:lnTo>
                    <a:pt x="13510" y="3566"/>
                  </a:lnTo>
                  <a:lnTo>
                    <a:pt x="13504" y="3562"/>
                  </a:lnTo>
                  <a:lnTo>
                    <a:pt x="13500" y="3556"/>
                  </a:lnTo>
                  <a:lnTo>
                    <a:pt x="13497" y="3547"/>
                  </a:lnTo>
                  <a:lnTo>
                    <a:pt x="13497" y="3436"/>
                  </a:lnTo>
                  <a:lnTo>
                    <a:pt x="13500" y="3427"/>
                  </a:lnTo>
                  <a:lnTo>
                    <a:pt x="13504" y="3420"/>
                  </a:lnTo>
                  <a:lnTo>
                    <a:pt x="13510" y="3416"/>
                  </a:lnTo>
                  <a:lnTo>
                    <a:pt x="13518" y="3415"/>
                  </a:lnTo>
                  <a:lnTo>
                    <a:pt x="13525" y="3416"/>
                  </a:lnTo>
                  <a:lnTo>
                    <a:pt x="13532" y="3420"/>
                  </a:lnTo>
                  <a:lnTo>
                    <a:pt x="13536" y="3427"/>
                  </a:lnTo>
                  <a:lnTo>
                    <a:pt x="13538" y="3436"/>
                  </a:lnTo>
                  <a:close/>
                  <a:moveTo>
                    <a:pt x="13274" y="3436"/>
                  </a:moveTo>
                  <a:lnTo>
                    <a:pt x="13274" y="3547"/>
                  </a:lnTo>
                  <a:lnTo>
                    <a:pt x="13273" y="3556"/>
                  </a:lnTo>
                  <a:lnTo>
                    <a:pt x="13269" y="3562"/>
                  </a:lnTo>
                  <a:lnTo>
                    <a:pt x="13263" y="3566"/>
                  </a:lnTo>
                  <a:lnTo>
                    <a:pt x="13255" y="3567"/>
                  </a:lnTo>
                  <a:lnTo>
                    <a:pt x="13247" y="3566"/>
                  </a:lnTo>
                  <a:lnTo>
                    <a:pt x="13241" y="3562"/>
                  </a:lnTo>
                  <a:lnTo>
                    <a:pt x="13237" y="3556"/>
                  </a:lnTo>
                  <a:lnTo>
                    <a:pt x="13234" y="3547"/>
                  </a:lnTo>
                  <a:lnTo>
                    <a:pt x="13234" y="3436"/>
                  </a:lnTo>
                  <a:lnTo>
                    <a:pt x="13237" y="3427"/>
                  </a:lnTo>
                  <a:lnTo>
                    <a:pt x="13241" y="3420"/>
                  </a:lnTo>
                  <a:lnTo>
                    <a:pt x="13247" y="3416"/>
                  </a:lnTo>
                  <a:lnTo>
                    <a:pt x="13255" y="3415"/>
                  </a:lnTo>
                  <a:lnTo>
                    <a:pt x="13263" y="3416"/>
                  </a:lnTo>
                  <a:lnTo>
                    <a:pt x="13269" y="3420"/>
                  </a:lnTo>
                  <a:lnTo>
                    <a:pt x="13273" y="3427"/>
                  </a:lnTo>
                  <a:lnTo>
                    <a:pt x="13274" y="3436"/>
                  </a:lnTo>
                  <a:close/>
                  <a:moveTo>
                    <a:pt x="13011" y="3436"/>
                  </a:moveTo>
                  <a:lnTo>
                    <a:pt x="13011" y="3547"/>
                  </a:lnTo>
                  <a:lnTo>
                    <a:pt x="13010" y="3556"/>
                  </a:lnTo>
                  <a:lnTo>
                    <a:pt x="13005" y="3562"/>
                  </a:lnTo>
                  <a:lnTo>
                    <a:pt x="12998" y="3566"/>
                  </a:lnTo>
                  <a:lnTo>
                    <a:pt x="12992" y="3567"/>
                  </a:lnTo>
                  <a:lnTo>
                    <a:pt x="12984" y="3566"/>
                  </a:lnTo>
                  <a:lnTo>
                    <a:pt x="12978" y="3562"/>
                  </a:lnTo>
                  <a:lnTo>
                    <a:pt x="12973" y="3556"/>
                  </a:lnTo>
                  <a:lnTo>
                    <a:pt x="12972" y="3547"/>
                  </a:lnTo>
                  <a:lnTo>
                    <a:pt x="12972" y="3436"/>
                  </a:lnTo>
                  <a:lnTo>
                    <a:pt x="12973" y="3427"/>
                  </a:lnTo>
                  <a:lnTo>
                    <a:pt x="12978" y="3420"/>
                  </a:lnTo>
                  <a:lnTo>
                    <a:pt x="12984" y="3416"/>
                  </a:lnTo>
                  <a:lnTo>
                    <a:pt x="12992" y="3415"/>
                  </a:lnTo>
                  <a:lnTo>
                    <a:pt x="12998" y="3416"/>
                  </a:lnTo>
                  <a:lnTo>
                    <a:pt x="13005" y="3420"/>
                  </a:lnTo>
                  <a:lnTo>
                    <a:pt x="13010" y="3427"/>
                  </a:lnTo>
                  <a:lnTo>
                    <a:pt x="13011" y="3436"/>
                  </a:lnTo>
                  <a:close/>
                  <a:moveTo>
                    <a:pt x="12748" y="3436"/>
                  </a:moveTo>
                  <a:lnTo>
                    <a:pt x="12748" y="3547"/>
                  </a:lnTo>
                  <a:lnTo>
                    <a:pt x="12747" y="3556"/>
                  </a:lnTo>
                  <a:lnTo>
                    <a:pt x="12742" y="3562"/>
                  </a:lnTo>
                  <a:lnTo>
                    <a:pt x="12736" y="3566"/>
                  </a:lnTo>
                  <a:lnTo>
                    <a:pt x="12729" y="3567"/>
                  </a:lnTo>
                  <a:lnTo>
                    <a:pt x="12721" y="3566"/>
                  </a:lnTo>
                  <a:lnTo>
                    <a:pt x="12715" y="3562"/>
                  </a:lnTo>
                  <a:lnTo>
                    <a:pt x="12710" y="3556"/>
                  </a:lnTo>
                  <a:lnTo>
                    <a:pt x="12709" y="3547"/>
                  </a:lnTo>
                  <a:lnTo>
                    <a:pt x="12709" y="3436"/>
                  </a:lnTo>
                  <a:lnTo>
                    <a:pt x="12710" y="3427"/>
                  </a:lnTo>
                  <a:lnTo>
                    <a:pt x="12715" y="3420"/>
                  </a:lnTo>
                  <a:lnTo>
                    <a:pt x="12721" y="3416"/>
                  </a:lnTo>
                  <a:lnTo>
                    <a:pt x="12729" y="3415"/>
                  </a:lnTo>
                  <a:lnTo>
                    <a:pt x="12736" y="3416"/>
                  </a:lnTo>
                  <a:lnTo>
                    <a:pt x="12742" y="3420"/>
                  </a:lnTo>
                  <a:lnTo>
                    <a:pt x="12747" y="3427"/>
                  </a:lnTo>
                  <a:lnTo>
                    <a:pt x="12748" y="3436"/>
                  </a:lnTo>
                  <a:close/>
                  <a:moveTo>
                    <a:pt x="12486" y="3436"/>
                  </a:moveTo>
                  <a:lnTo>
                    <a:pt x="12486" y="3547"/>
                  </a:lnTo>
                  <a:lnTo>
                    <a:pt x="12484" y="3556"/>
                  </a:lnTo>
                  <a:lnTo>
                    <a:pt x="12479" y="3562"/>
                  </a:lnTo>
                  <a:lnTo>
                    <a:pt x="12473" y="3566"/>
                  </a:lnTo>
                  <a:lnTo>
                    <a:pt x="12465" y="3567"/>
                  </a:lnTo>
                  <a:lnTo>
                    <a:pt x="12459" y="3566"/>
                  </a:lnTo>
                  <a:lnTo>
                    <a:pt x="12452" y="3562"/>
                  </a:lnTo>
                  <a:lnTo>
                    <a:pt x="12447" y="3556"/>
                  </a:lnTo>
                  <a:lnTo>
                    <a:pt x="12446" y="3547"/>
                  </a:lnTo>
                  <a:lnTo>
                    <a:pt x="12446" y="3436"/>
                  </a:lnTo>
                  <a:lnTo>
                    <a:pt x="12447" y="3427"/>
                  </a:lnTo>
                  <a:lnTo>
                    <a:pt x="12452" y="3420"/>
                  </a:lnTo>
                  <a:lnTo>
                    <a:pt x="12459" y="3416"/>
                  </a:lnTo>
                  <a:lnTo>
                    <a:pt x="12465" y="3415"/>
                  </a:lnTo>
                  <a:lnTo>
                    <a:pt x="12473" y="3416"/>
                  </a:lnTo>
                  <a:lnTo>
                    <a:pt x="12479" y="3420"/>
                  </a:lnTo>
                  <a:lnTo>
                    <a:pt x="12484" y="3427"/>
                  </a:lnTo>
                  <a:lnTo>
                    <a:pt x="12486" y="3436"/>
                  </a:lnTo>
                  <a:close/>
                  <a:moveTo>
                    <a:pt x="10933" y="2423"/>
                  </a:moveTo>
                  <a:lnTo>
                    <a:pt x="10933" y="2535"/>
                  </a:lnTo>
                  <a:lnTo>
                    <a:pt x="10931" y="2543"/>
                  </a:lnTo>
                  <a:lnTo>
                    <a:pt x="10926" y="2549"/>
                  </a:lnTo>
                  <a:lnTo>
                    <a:pt x="10920" y="2553"/>
                  </a:lnTo>
                  <a:lnTo>
                    <a:pt x="10912" y="2555"/>
                  </a:lnTo>
                  <a:lnTo>
                    <a:pt x="10906" y="2553"/>
                  </a:lnTo>
                  <a:lnTo>
                    <a:pt x="10899" y="2549"/>
                  </a:lnTo>
                  <a:lnTo>
                    <a:pt x="10894" y="2543"/>
                  </a:lnTo>
                  <a:lnTo>
                    <a:pt x="10893" y="2535"/>
                  </a:lnTo>
                  <a:lnTo>
                    <a:pt x="10893" y="2423"/>
                  </a:lnTo>
                  <a:lnTo>
                    <a:pt x="10894" y="2414"/>
                  </a:lnTo>
                  <a:lnTo>
                    <a:pt x="10899" y="2407"/>
                  </a:lnTo>
                  <a:lnTo>
                    <a:pt x="10906" y="2404"/>
                  </a:lnTo>
                  <a:lnTo>
                    <a:pt x="10912" y="2402"/>
                  </a:lnTo>
                  <a:lnTo>
                    <a:pt x="10920" y="2404"/>
                  </a:lnTo>
                  <a:lnTo>
                    <a:pt x="10926" y="2407"/>
                  </a:lnTo>
                  <a:lnTo>
                    <a:pt x="10931" y="2414"/>
                  </a:lnTo>
                  <a:lnTo>
                    <a:pt x="10933" y="2423"/>
                  </a:lnTo>
                  <a:close/>
                  <a:moveTo>
                    <a:pt x="10670" y="2423"/>
                  </a:moveTo>
                  <a:lnTo>
                    <a:pt x="10670" y="2535"/>
                  </a:lnTo>
                  <a:lnTo>
                    <a:pt x="10669" y="2543"/>
                  </a:lnTo>
                  <a:lnTo>
                    <a:pt x="10663" y="2549"/>
                  </a:lnTo>
                  <a:lnTo>
                    <a:pt x="10657" y="2553"/>
                  </a:lnTo>
                  <a:lnTo>
                    <a:pt x="10649" y="2555"/>
                  </a:lnTo>
                  <a:lnTo>
                    <a:pt x="10643" y="2553"/>
                  </a:lnTo>
                  <a:lnTo>
                    <a:pt x="10637" y="2549"/>
                  </a:lnTo>
                  <a:lnTo>
                    <a:pt x="10631" y="2543"/>
                  </a:lnTo>
                  <a:lnTo>
                    <a:pt x="10630" y="2535"/>
                  </a:lnTo>
                  <a:lnTo>
                    <a:pt x="10630" y="2423"/>
                  </a:lnTo>
                  <a:lnTo>
                    <a:pt x="10631" y="2414"/>
                  </a:lnTo>
                  <a:lnTo>
                    <a:pt x="10637" y="2407"/>
                  </a:lnTo>
                  <a:lnTo>
                    <a:pt x="10643" y="2404"/>
                  </a:lnTo>
                  <a:lnTo>
                    <a:pt x="10649" y="2402"/>
                  </a:lnTo>
                  <a:lnTo>
                    <a:pt x="10657" y="2404"/>
                  </a:lnTo>
                  <a:lnTo>
                    <a:pt x="10663" y="2407"/>
                  </a:lnTo>
                  <a:lnTo>
                    <a:pt x="10669" y="2414"/>
                  </a:lnTo>
                  <a:lnTo>
                    <a:pt x="10670" y="2423"/>
                  </a:lnTo>
                  <a:close/>
                  <a:moveTo>
                    <a:pt x="10407" y="2423"/>
                  </a:moveTo>
                  <a:lnTo>
                    <a:pt x="10407" y="2535"/>
                  </a:lnTo>
                  <a:lnTo>
                    <a:pt x="10404" y="2543"/>
                  </a:lnTo>
                  <a:lnTo>
                    <a:pt x="10401" y="2549"/>
                  </a:lnTo>
                  <a:lnTo>
                    <a:pt x="10394" y="2553"/>
                  </a:lnTo>
                  <a:lnTo>
                    <a:pt x="10386" y="2555"/>
                  </a:lnTo>
                  <a:lnTo>
                    <a:pt x="10379" y="2553"/>
                  </a:lnTo>
                  <a:lnTo>
                    <a:pt x="10372" y="2549"/>
                  </a:lnTo>
                  <a:lnTo>
                    <a:pt x="10369" y="2543"/>
                  </a:lnTo>
                  <a:lnTo>
                    <a:pt x="10366" y="2535"/>
                  </a:lnTo>
                  <a:lnTo>
                    <a:pt x="10366" y="2423"/>
                  </a:lnTo>
                  <a:lnTo>
                    <a:pt x="10369" y="2414"/>
                  </a:lnTo>
                  <a:lnTo>
                    <a:pt x="10372" y="2407"/>
                  </a:lnTo>
                  <a:lnTo>
                    <a:pt x="10379" y="2404"/>
                  </a:lnTo>
                  <a:lnTo>
                    <a:pt x="10386" y="2402"/>
                  </a:lnTo>
                  <a:lnTo>
                    <a:pt x="10394" y="2404"/>
                  </a:lnTo>
                  <a:lnTo>
                    <a:pt x="10401" y="2407"/>
                  </a:lnTo>
                  <a:lnTo>
                    <a:pt x="10404" y="2414"/>
                  </a:lnTo>
                  <a:lnTo>
                    <a:pt x="10407" y="2423"/>
                  </a:lnTo>
                  <a:close/>
                  <a:moveTo>
                    <a:pt x="10143" y="2423"/>
                  </a:moveTo>
                  <a:lnTo>
                    <a:pt x="10143" y="2535"/>
                  </a:lnTo>
                  <a:lnTo>
                    <a:pt x="10142" y="2543"/>
                  </a:lnTo>
                  <a:lnTo>
                    <a:pt x="10138" y="2549"/>
                  </a:lnTo>
                  <a:lnTo>
                    <a:pt x="10131" y="2553"/>
                  </a:lnTo>
                  <a:lnTo>
                    <a:pt x="10124" y="2555"/>
                  </a:lnTo>
                  <a:lnTo>
                    <a:pt x="10116" y="2553"/>
                  </a:lnTo>
                  <a:lnTo>
                    <a:pt x="10109" y="2549"/>
                  </a:lnTo>
                  <a:lnTo>
                    <a:pt x="10106" y="2543"/>
                  </a:lnTo>
                  <a:lnTo>
                    <a:pt x="10103" y="2535"/>
                  </a:lnTo>
                  <a:lnTo>
                    <a:pt x="10103" y="2423"/>
                  </a:lnTo>
                  <a:lnTo>
                    <a:pt x="10106" y="2414"/>
                  </a:lnTo>
                  <a:lnTo>
                    <a:pt x="10109" y="2407"/>
                  </a:lnTo>
                  <a:lnTo>
                    <a:pt x="10116" y="2404"/>
                  </a:lnTo>
                  <a:lnTo>
                    <a:pt x="10124" y="2402"/>
                  </a:lnTo>
                  <a:lnTo>
                    <a:pt x="10131" y="2404"/>
                  </a:lnTo>
                  <a:lnTo>
                    <a:pt x="10138" y="2407"/>
                  </a:lnTo>
                  <a:lnTo>
                    <a:pt x="10142" y="2414"/>
                  </a:lnTo>
                  <a:lnTo>
                    <a:pt x="10143" y="2423"/>
                  </a:lnTo>
                  <a:close/>
                  <a:moveTo>
                    <a:pt x="9880" y="2423"/>
                  </a:moveTo>
                  <a:lnTo>
                    <a:pt x="9880" y="2535"/>
                  </a:lnTo>
                  <a:lnTo>
                    <a:pt x="9879" y="2543"/>
                  </a:lnTo>
                  <a:lnTo>
                    <a:pt x="9874" y="2549"/>
                  </a:lnTo>
                  <a:lnTo>
                    <a:pt x="9867" y="2553"/>
                  </a:lnTo>
                  <a:lnTo>
                    <a:pt x="9861" y="2555"/>
                  </a:lnTo>
                  <a:lnTo>
                    <a:pt x="9853" y="2553"/>
                  </a:lnTo>
                  <a:lnTo>
                    <a:pt x="9847" y="2549"/>
                  </a:lnTo>
                  <a:lnTo>
                    <a:pt x="9841" y="2543"/>
                  </a:lnTo>
                  <a:lnTo>
                    <a:pt x="9840" y="2535"/>
                  </a:lnTo>
                  <a:lnTo>
                    <a:pt x="9840" y="2423"/>
                  </a:lnTo>
                  <a:lnTo>
                    <a:pt x="9841" y="2414"/>
                  </a:lnTo>
                  <a:lnTo>
                    <a:pt x="9847" y="2407"/>
                  </a:lnTo>
                  <a:lnTo>
                    <a:pt x="9853" y="2404"/>
                  </a:lnTo>
                  <a:lnTo>
                    <a:pt x="9861" y="2402"/>
                  </a:lnTo>
                  <a:lnTo>
                    <a:pt x="9867" y="2404"/>
                  </a:lnTo>
                  <a:lnTo>
                    <a:pt x="9874" y="2407"/>
                  </a:lnTo>
                  <a:lnTo>
                    <a:pt x="9879" y="2414"/>
                  </a:lnTo>
                  <a:lnTo>
                    <a:pt x="9880" y="2423"/>
                  </a:lnTo>
                  <a:close/>
                  <a:moveTo>
                    <a:pt x="9617" y="2423"/>
                  </a:moveTo>
                  <a:lnTo>
                    <a:pt x="9617" y="2535"/>
                  </a:lnTo>
                  <a:lnTo>
                    <a:pt x="9616" y="2543"/>
                  </a:lnTo>
                  <a:lnTo>
                    <a:pt x="9611" y="2549"/>
                  </a:lnTo>
                  <a:lnTo>
                    <a:pt x="9604" y="2553"/>
                  </a:lnTo>
                  <a:lnTo>
                    <a:pt x="9598" y="2555"/>
                  </a:lnTo>
                  <a:lnTo>
                    <a:pt x="9590" y="2553"/>
                  </a:lnTo>
                  <a:lnTo>
                    <a:pt x="9584" y="2549"/>
                  </a:lnTo>
                  <a:lnTo>
                    <a:pt x="9579" y="2543"/>
                  </a:lnTo>
                  <a:lnTo>
                    <a:pt x="9577" y="2535"/>
                  </a:lnTo>
                  <a:lnTo>
                    <a:pt x="9577" y="2423"/>
                  </a:lnTo>
                  <a:lnTo>
                    <a:pt x="9579" y="2414"/>
                  </a:lnTo>
                  <a:lnTo>
                    <a:pt x="9584" y="2407"/>
                  </a:lnTo>
                  <a:lnTo>
                    <a:pt x="9590" y="2404"/>
                  </a:lnTo>
                  <a:lnTo>
                    <a:pt x="9598" y="2402"/>
                  </a:lnTo>
                  <a:lnTo>
                    <a:pt x="9604" y="2404"/>
                  </a:lnTo>
                  <a:lnTo>
                    <a:pt x="9611" y="2407"/>
                  </a:lnTo>
                  <a:lnTo>
                    <a:pt x="9616" y="2414"/>
                  </a:lnTo>
                  <a:lnTo>
                    <a:pt x="9617" y="2423"/>
                  </a:lnTo>
                  <a:close/>
                  <a:moveTo>
                    <a:pt x="16589" y="796"/>
                  </a:moveTo>
                  <a:lnTo>
                    <a:pt x="16589" y="847"/>
                  </a:lnTo>
                  <a:lnTo>
                    <a:pt x="16588" y="859"/>
                  </a:lnTo>
                  <a:lnTo>
                    <a:pt x="16584" y="869"/>
                  </a:lnTo>
                  <a:lnTo>
                    <a:pt x="16576" y="878"/>
                  </a:lnTo>
                  <a:lnTo>
                    <a:pt x="16566" y="883"/>
                  </a:lnTo>
                  <a:lnTo>
                    <a:pt x="16556" y="890"/>
                  </a:lnTo>
                  <a:lnTo>
                    <a:pt x="16547" y="896"/>
                  </a:lnTo>
                  <a:lnTo>
                    <a:pt x="16534" y="913"/>
                  </a:lnTo>
                  <a:lnTo>
                    <a:pt x="16529" y="923"/>
                  </a:lnTo>
                  <a:lnTo>
                    <a:pt x="16526" y="934"/>
                  </a:lnTo>
                  <a:lnTo>
                    <a:pt x="16526" y="956"/>
                  </a:lnTo>
                  <a:lnTo>
                    <a:pt x="16530" y="968"/>
                  </a:lnTo>
                  <a:lnTo>
                    <a:pt x="16535" y="978"/>
                  </a:lnTo>
                  <a:lnTo>
                    <a:pt x="16541" y="987"/>
                  </a:lnTo>
                  <a:lnTo>
                    <a:pt x="16549" y="996"/>
                  </a:lnTo>
                  <a:lnTo>
                    <a:pt x="16568" y="1006"/>
                  </a:lnTo>
                  <a:lnTo>
                    <a:pt x="16591" y="1011"/>
                  </a:lnTo>
                  <a:lnTo>
                    <a:pt x="16604" y="1009"/>
                  </a:lnTo>
                  <a:lnTo>
                    <a:pt x="16617" y="1005"/>
                  </a:lnTo>
                  <a:lnTo>
                    <a:pt x="16629" y="1000"/>
                  </a:lnTo>
                  <a:lnTo>
                    <a:pt x="16638" y="991"/>
                  </a:lnTo>
                  <a:lnTo>
                    <a:pt x="16647" y="982"/>
                  </a:lnTo>
                  <a:lnTo>
                    <a:pt x="16652" y="970"/>
                  </a:lnTo>
                  <a:lnTo>
                    <a:pt x="16656" y="957"/>
                  </a:lnTo>
                  <a:lnTo>
                    <a:pt x="16657" y="945"/>
                  </a:lnTo>
                  <a:lnTo>
                    <a:pt x="16659" y="936"/>
                  </a:lnTo>
                  <a:lnTo>
                    <a:pt x="16663" y="929"/>
                  </a:lnTo>
                  <a:lnTo>
                    <a:pt x="16670" y="925"/>
                  </a:lnTo>
                  <a:lnTo>
                    <a:pt x="16677" y="924"/>
                  </a:lnTo>
                  <a:lnTo>
                    <a:pt x="16685" y="925"/>
                  </a:lnTo>
                  <a:lnTo>
                    <a:pt x="16691" y="929"/>
                  </a:lnTo>
                  <a:lnTo>
                    <a:pt x="16695" y="936"/>
                  </a:lnTo>
                  <a:lnTo>
                    <a:pt x="16698" y="945"/>
                  </a:lnTo>
                  <a:lnTo>
                    <a:pt x="16695" y="966"/>
                  </a:lnTo>
                  <a:lnTo>
                    <a:pt x="16689" y="986"/>
                  </a:lnTo>
                  <a:lnTo>
                    <a:pt x="16679" y="1003"/>
                  </a:lnTo>
                  <a:lnTo>
                    <a:pt x="16666" y="1020"/>
                  </a:lnTo>
                  <a:lnTo>
                    <a:pt x="16650" y="1033"/>
                  </a:lnTo>
                  <a:lnTo>
                    <a:pt x="16632" y="1042"/>
                  </a:lnTo>
                  <a:lnTo>
                    <a:pt x="16612" y="1048"/>
                  </a:lnTo>
                  <a:lnTo>
                    <a:pt x="16591" y="1051"/>
                  </a:lnTo>
                  <a:lnTo>
                    <a:pt x="16572" y="1048"/>
                  </a:lnTo>
                  <a:lnTo>
                    <a:pt x="16556" y="1044"/>
                  </a:lnTo>
                  <a:lnTo>
                    <a:pt x="16539" y="1037"/>
                  </a:lnTo>
                  <a:lnTo>
                    <a:pt x="16523" y="1025"/>
                  </a:lnTo>
                  <a:lnTo>
                    <a:pt x="16511" y="1014"/>
                  </a:lnTo>
                  <a:lnTo>
                    <a:pt x="16500" y="998"/>
                  </a:lnTo>
                  <a:lnTo>
                    <a:pt x="16495" y="991"/>
                  </a:lnTo>
                  <a:lnTo>
                    <a:pt x="16491" y="982"/>
                  </a:lnTo>
                  <a:lnTo>
                    <a:pt x="16488" y="964"/>
                  </a:lnTo>
                  <a:lnTo>
                    <a:pt x="16485" y="945"/>
                  </a:lnTo>
                  <a:lnTo>
                    <a:pt x="16486" y="928"/>
                  </a:lnTo>
                  <a:lnTo>
                    <a:pt x="16490" y="910"/>
                  </a:lnTo>
                  <a:lnTo>
                    <a:pt x="16498" y="895"/>
                  </a:lnTo>
                  <a:lnTo>
                    <a:pt x="16507" y="879"/>
                  </a:lnTo>
                  <a:lnTo>
                    <a:pt x="16518" y="867"/>
                  </a:lnTo>
                  <a:lnTo>
                    <a:pt x="16532" y="856"/>
                  </a:lnTo>
                  <a:lnTo>
                    <a:pt x="16549" y="847"/>
                  </a:lnTo>
                  <a:lnTo>
                    <a:pt x="16549" y="796"/>
                  </a:lnTo>
                  <a:lnTo>
                    <a:pt x="16550" y="787"/>
                  </a:lnTo>
                  <a:lnTo>
                    <a:pt x="16556" y="782"/>
                  </a:lnTo>
                  <a:lnTo>
                    <a:pt x="16562" y="778"/>
                  </a:lnTo>
                  <a:lnTo>
                    <a:pt x="16568" y="777"/>
                  </a:lnTo>
                  <a:lnTo>
                    <a:pt x="16576" y="778"/>
                  </a:lnTo>
                  <a:lnTo>
                    <a:pt x="16582" y="782"/>
                  </a:lnTo>
                  <a:lnTo>
                    <a:pt x="16588" y="787"/>
                  </a:lnTo>
                  <a:lnTo>
                    <a:pt x="16589" y="796"/>
                  </a:lnTo>
                  <a:close/>
                  <a:moveTo>
                    <a:pt x="17183" y="112"/>
                  </a:moveTo>
                  <a:lnTo>
                    <a:pt x="17100" y="225"/>
                  </a:lnTo>
                  <a:lnTo>
                    <a:pt x="17100" y="309"/>
                  </a:lnTo>
                  <a:lnTo>
                    <a:pt x="17183" y="309"/>
                  </a:lnTo>
                  <a:lnTo>
                    <a:pt x="17183" y="112"/>
                  </a:lnTo>
                  <a:close/>
                  <a:moveTo>
                    <a:pt x="17059" y="309"/>
                  </a:moveTo>
                  <a:lnTo>
                    <a:pt x="17059" y="218"/>
                  </a:lnTo>
                  <a:lnTo>
                    <a:pt x="17063" y="207"/>
                  </a:lnTo>
                  <a:lnTo>
                    <a:pt x="17175" y="55"/>
                  </a:lnTo>
                  <a:lnTo>
                    <a:pt x="16382" y="309"/>
                  </a:lnTo>
                  <a:lnTo>
                    <a:pt x="16906" y="309"/>
                  </a:lnTo>
                  <a:lnTo>
                    <a:pt x="17015" y="309"/>
                  </a:lnTo>
                  <a:lnTo>
                    <a:pt x="17059" y="309"/>
                  </a:lnTo>
                  <a:close/>
                  <a:moveTo>
                    <a:pt x="17222" y="309"/>
                  </a:moveTo>
                  <a:lnTo>
                    <a:pt x="17388" y="309"/>
                  </a:lnTo>
                  <a:lnTo>
                    <a:pt x="17222" y="80"/>
                  </a:lnTo>
                  <a:lnTo>
                    <a:pt x="17222" y="309"/>
                  </a:lnTo>
                  <a:close/>
                  <a:moveTo>
                    <a:pt x="17183" y="481"/>
                  </a:moveTo>
                  <a:lnTo>
                    <a:pt x="17015" y="481"/>
                  </a:lnTo>
                  <a:lnTo>
                    <a:pt x="17007" y="478"/>
                  </a:lnTo>
                  <a:lnTo>
                    <a:pt x="17000" y="474"/>
                  </a:lnTo>
                  <a:lnTo>
                    <a:pt x="16995" y="468"/>
                  </a:lnTo>
                  <a:lnTo>
                    <a:pt x="16994" y="460"/>
                  </a:lnTo>
                  <a:lnTo>
                    <a:pt x="16994" y="349"/>
                  </a:lnTo>
                  <a:lnTo>
                    <a:pt x="16926" y="349"/>
                  </a:lnTo>
                  <a:lnTo>
                    <a:pt x="16926" y="552"/>
                  </a:lnTo>
                  <a:lnTo>
                    <a:pt x="17067" y="552"/>
                  </a:lnTo>
                  <a:lnTo>
                    <a:pt x="17183" y="552"/>
                  </a:lnTo>
                  <a:lnTo>
                    <a:pt x="17183" y="481"/>
                  </a:lnTo>
                  <a:close/>
                  <a:moveTo>
                    <a:pt x="17222" y="349"/>
                  </a:moveTo>
                  <a:lnTo>
                    <a:pt x="17222" y="460"/>
                  </a:lnTo>
                  <a:lnTo>
                    <a:pt x="17222" y="573"/>
                  </a:lnTo>
                  <a:lnTo>
                    <a:pt x="17222" y="1413"/>
                  </a:lnTo>
                  <a:lnTo>
                    <a:pt x="17222" y="2253"/>
                  </a:lnTo>
                  <a:lnTo>
                    <a:pt x="17220" y="2262"/>
                  </a:lnTo>
                  <a:lnTo>
                    <a:pt x="17216" y="2268"/>
                  </a:lnTo>
                  <a:lnTo>
                    <a:pt x="17209" y="2272"/>
                  </a:lnTo>
                  <a:lnTo>
                    <a:pt x="17202" y="2273"/>
                  </a:lnTo>
                  <a:lnTo>
                    <a:pt x="17194" y="2272"/>
                  </a:lnTo>
                  <a:lnTo>
                    <a:pt x="17188" y="2268"/>
                  </a:lnTo>
                  <a:lnTo>
                    <a:pt x="17184" y="2262"/>
                  </a:lnTo>
                  <a:lnTo>
                    <a:pt x="17183" y="2253"/>
                  </a:lnTo>
                  <a:lnTo>
                    <a:pt x="17183" y="1422"/>
                  </a:lnTo>
                  <a:lnTo>
                    <a:pt x="17183" y="592"/>
                  </a:lnTo>
                  <a:lnTo>
                    <a:pt x="17088" y="592"/>
                  </a:lnTo>
                  <a:lnTo>
                    <a:pt x="17088" y="1422"/>
                  </a:lnTo>
                  <a:lnTo>
                    <a:pt x="17088" y="2253"/>
                  </a:lnTo>
                  <a:lnTo>
                    <a:pt x="17085" y="2262"/>
                  </a:lnTo>
                  <a:lnTo>
                    <a:pt x="17081" y="2268"/>
                  </a:lnTo>
                  <a:lnTo>
                    <a:pt x="17075" y="2272"/>
                  </a:lnTo>
                  <a:lnTo>
                    <a:pt x="17067" y="2273"/>
                  </a:lnTo>
                  <a:lnTo>
                    <a:pt x="17059" y="2272"/>
                  </a:lnTo>
                  <a:lnTo>
                    <a:pt x="17053" y="2268"/>
                  </a:lnTo>
                  <a:lnTo>
                    <a:pt x="17049" y="2262"/>
                  </a:lnTo>
                  <a:lnTo>
                    <a:pt x="17047" y="2253"/>
                  </a:lnTo>
                  <a:lnTo>
                    <a:pt x="17047" y="1422"/>
                  </a:lnTo>
                  <a:lnTo>
                    <a:pt x="17047" y="592"/>
                  </a:lnTo>
                  <a:lnTo>
                    <a:pt x="16906" y="592"/>
                  </a:lnTo>
                  <a:lnTo>
                    <a:pt x="16898" y="590"/>
                  </a:lnTo>
                  <a:lnTo>
                    <a:pt x="16891" y="587"/>
                  </a:lnTo>
                  <a:lnTo>
                    <a:pt x="16888" y="580"/>
                  </a:lnTo>
                  <a:lnTo>
                    <a:pt x="16886" y="573"/>
                  </a:lnTo>
                  <a:lnTo>
                    <a:pt x="16886" y="349"/>
                  </a:lnTo>
                  <a:lnTo>
                    <a:pt x="16584" y="349"/>
                  </a:lnTo>
                  <a:lnTo>
                    <a:pt x="16584" y="740"/>
                  </a:lnTo>
                  <a:lnTo>
                    <a:pt x="16581" y="749"/>
                  </a:lnTo>
                  <a:lnTo>
                    <a:pt x="16577" y="755"/>
                  </a:lnTo>
                  <a:lnTo>
                    <a:pt x="16571" y="759"/>
                  </a:lnTo>
                  <a:lnTo>
                    <a:pt x="16563" y="761"/>
                  </a:lnTo>
                  <a:lnTo>
                    <a:pt x="16556" y="759"/>
                  </a:lnTo>
                  <a:lnTo>
                    <a:pt x="16549" y="755"/>
                  </a:lnTo>
                  <a:lnTo>
                    <a:pt x="16545" y="749"/>
                  </a:lnTo>
                  <a:lnTo>
                    <a:pt x="16544" y="740"/>
                  </a:lnTo>
                  <a:lnTo>
                    <a:pt x="16544" y="349"/>
                  </a:lnTo>
                  <a:lnTo>
                    <a:pt x="16255" y="349"/>
                  </a:lnTo>
                  <a:lnTo>
                    <a:pt x="16246" y="348"/>
                  </a:lnTo>
                  <a:lnTo>
                    <a:pt x="16239" y="344"/>
                  </a:lnTo>
                  <a:lnTo>
                    <a:pt x="16235" y="339"/>
                  </a:lnTo>
                  <a:lnTo>
                    <a:pt x="16232" y="332"/>
                  </a:lnTo>
                  <a:lnTo>
                    <a:pt x="16232" y="326"/>
                  </a:lnTo>
                  <a:lnTo>
                    <a:pt x="16235" y="319"/>
                  </a:lnTo>
                  <a:lnTo>
                    <a:pt x="16241" y="314"/>
                  </a:lnTo>
                  <a:lnTo>
                    <a:pt x="16249" y="310"/>
                  </a:lnTo>
                  <a:lnTo>
                    <a:pt x="17184" y="9"/>
                  </a:lnTo>
                  <a:lnTo>
                    <a:pt x="17188" y="5"/>
                  </a:lnTo>
                  <a:lnTo>
                    <a:pt x="17192" y="2"/>
                  </a:lnTo>
                  <a:lnTo>
                    <a:pt x="17203" y="0"/>
                  </a:lnTo>
                  <a:lnTo>
                    <a:pt x="17213" y="2"/>
                  </a:lnTo>
                  <a:lnTo>
                    <a:pt x="17220" y="10"/>
                  </a:lnTo>
                  <a:lnTo>
                    <a:pt x="17443" y="317"/>
                  </a:lnTo>
                  <a:lnTo>
                    <a:pt x="17447" y="323"/>
                  </a:lnTo>
                  <a:lnTo>
                    <a:pt x="17449" y="328"/>
                  </a:lnTo>
                  <a:lnTo>
                    <a:pt x="17447" y="339"/>
                  </a:lnTo>
                  <a:lnTo>
                    <a:pt x="17440" y="346"/>
                  </a:lnTo>
                  <a:lnTo>
                    <a:pt x="17427" y="349"/>
                  </a:lnTo>
                  <a:lnTo>
                    <a:pt x="17222" y="349"/>
                  </a:lnTo>
                  <a:close/>
                  <a:moveTo>
                    <a:pt x="17183" y="349"/>
                  </a:moveTo>
                  <a:lnTo>
                    <a:pt x="17034" y="349"/>
                  </a:lnTo>
                  <a:lnTo>
                    <a:pt x="17034" y="440"/>
                  </a:lnTo>
                  <a:lnTo>
                    <a:pt x="17183" y="440"/>
                  </a:lnTo>
                  <a:lnTo>
                    <a:pt x="17183" y="349"/>
                  </a:lnTo>
                  <a:close/>
                  <a:moveTo>
                    <a:pt x="15662" y="1363"/>
                  </a:moveTo>
                  <a:lnTo>
                    <a:pt x="15676" y="1370"/>
                  </a:lnTo>
                  <a:lnTo>
                    <a:pt x="15687" y="1379"/>
                  </a:lnTo>
                  <a:lnTo>
                    <a:pt x="15696" y="1391"/>
                  </a:lnTo>
                  <a:lnTo>
                    <a:pt x="15704" y="1404"/>
                  </a:lnTo>
                  <a:lnTo>
                    <a:pt x="15709" y="1417"/>
                  </a:lnTo>
                  <a:lnTo>
                    <a:pt x="15713" y="1431"/>
                  </a:lnTo>
                  <a:lnTo>
                    <a:pt x="15713" y="1461"/>
                  </a:lnTo>
                  <a:lnTo>
                    <a:pt x="15709" y="1477"/>
                  </a:lnTo>
                  <a:lnTo>
                    <a:pt x="15702" y="1491"/>
                  </a:lnTo>
                  <a:lnTo>
                    <a:pt x="15693" y="1503"/>
                  </a:lnTo>
                  <a:lnTo>
                    <a:pt x="15681" y="1515"/>
                  </a:lnTo>
                  <a:lnTo>
                    <a:pt x="15668" y="1524"/>
                  </a:lnTo>
                  <a:lnTo>
                    <a:pt x="15654" y="1530"/>
                  </a:lnTo>
                  <a:lnTo>
                    <a:pt x="15640" y="1534"/>
                  </a:lnTo>
                  <a:lnTo>
                    <a:pt x="15623" y="1535"/>
                  </a:lnTo>
                  <a:lnTo>
                    <a:pt x="15605" y="1534"/>
                  </a:lnTo>
                  <a:lnTo>
                    <a:pt x="15589" y="1529"/>
                  </a:lnTo>
                  <a:lnTo>
                    <a:pt x="15573" y="1520"/>
                  </a:lnTo>
                  <a:lnTo>
                    <a:pt x="15559" y="1509"/>
                  </a:lnTo>
                  <a:lnTo>
                    <a:pt x="15549" y="1496"/>
                  </a:lnTo>
                  <a:lnTo>
                    <a:pt x="15540" y="1480"/>
                  </a:lnTo>
                  <a:lnTo>
                    <a:pt x="15535" y="1464"/>
                  </a:lnTo>
                  <a:lnTo>
                    <a:pt x="15532" y="1445"/>
                  </a:lnTo>
                  <a:lnTo>
                    <a:pt x="15535" y="1437"/>
                  </a:lnTo>
                  <a:lnTo>
                    <a:pt x="15539" y="1431"/>
                  </a:lnTo>
                  <a:lnTo>
                    <a:pt x="15545" y="1427"/>
                  </a:lnTo>
                  <a:lnTo>
                    <a:pt x="15553" y="1425"/>
                  </a:lnTo>
                  <a:lnTo>
                    <a:pt x="15560" y="1427"/>
                  </a:lnTo>
                  <a:lnTo>
                    <a:pt x="15567" y="1431"/>
                  </a:lnTo>
                  <a:lnTo>
                    <a:pt x="15571" y="1437"/>
                  </a:lnTo>
                  <a:lnTo>
                    <a:pt x="15573" y="1445"/>
                  </a:lnTo>
                  <a:lnTo>
                    <a:pt x="15573" y="1455"/>
                  </a:lnTo>
                  <a:lnTo>
                    <a:pt x="15577" y="1465"/>
                  </a:lnTo>
                  <a:lnTo>
                    <a:pt x="15581" y="1474"/>
                  </a:lnTo>
                  <a:lnTo>
                    <a:pt x="15587" y="1480"/>
                  </a:lnTo>
                  <a:lnTo>
                    <a:pt x="15595" y="1487"/>
                  </a:lnTo>
                  <a:lnTo>
                    <a:pt x="15604" y="1492"/>
                  </a:lnTo>
                  <a:lnTo>
                    <a:pt x="15623" y="1496"/>
                  </a:lnTo>
                  <a:lnTo>
                    <a:pt x="15641" y="1492"/>
                  </a:lnTo>
                  <a:lnTo>
                    <a:pt x="15655" y="1484"/>
                  </a:lnTo>
                  <a:lnTo>
                    <a:pt x="15662" y="1478"/>
                  </a:lnTo>
                  <a:lnTo>
                    <a:pt x="15667" y="1470"/>
                  </a:lnTo>
                  <a:lnTo>
                    <a:pt x="15673" y="1455"/>
                  </a:lnTo>
                  <a:lnTo>
                    <a:pt x="15675" y="1436"/>
                  </a:lnTo>
                  <a:lnTo>
                    <a:pt x="15669" y="1423"/>
                  </a:lnTo>
                  <a:lnTo>
                    <a:pt x="15662" y="1413"/>
                  </a:lnTo>
                  <a:lnTo>
                    <a:pt x="15652" y="1405"/>
                  </a:lnTo>
                  <a:lnTo>
                    <a:pt x="15631" y="1390"/>
                  </a:lnTo>
                  <a:lnTo>
                    <a:pt x="15625" y="1379"/>
                  </a:lnTo>
                  <a:lnTo>
                    <a:pt x="15622" y="1365"/>
                  </a:lnTo>
                  <a:lnTo>
                    <a:pt x="15622" y="1323"/>
                  </a:lnTo>
                  <a:lnTo>
                    <a:pt x="15623" y="1314"/>
                  </a:lnTo>
                  <a:lnTo>
                    <a:pt x="15628" y="1308"/>
                  </a:lnTo>
                  <a:lnTo>
                    <a:pt x="15635" y="1305"/>
                  </a:lnTo>
                  <a:lnTo>
                    <a:pt x="15643" y="1304"/>
                  </a:lnTo>
                  <a:lnTo>
                    <a:pt x="15649" y="1305"/>
                  </a:lnTo>
                  <a:lnTo>
                    <a:pt x="15655" y="1308"/>
                  </a:lnTo>
                  <a:lnTo>
                    <a:pt x="15660" y="1314"/>
                  </a:lnTo>
                  <a:lnTo>
                    <a:pt x="15662" y="1323"/>
                  </a:lnTo>
                  <a:lnTo>
                    <a:pt x="15662" y="1363"/>
                  </a:lnTo>
                  <a:close/>
                  <a:moveTo>
                    <a:pt x="15667" y="963"/>
                  </a:moveTo>
                  <a:lnTo>
                    <a:pt x="15667" y="1277"/>
                  </a:lnTo>
                  <a:lnTo>
                    <a:pt x="15664" y="1286"/>
                  </a:lnTo>
                  <a:lnTo>
                    <a:pt x="15660" y="1292"/>
                  </a:lnTo>
                  <a:lnTo>
                    <a:pt x="15654" y="1296"/>
                  </a:lnTo>
                  <a:lnTo>
                    <a:pt x="15646" y="1298"/>
                  </a:lnTo>
                  <a:lnTo>
                    <a:pt x="15639" y="1296"/>
                  </a:lnTo>
                  <a:lnTo>
                    <a:pt x="15632" y="1292"/>
                  </a:lnTo>
                  <a:lnTo>
                    <a:pt x="15628" y="1286"/>
                  </a:lnTo>
                  <a:lnTo>
                    <a:pt x="15627" y="1277"/>
                  </a:lnTo>
                  <a:lnTo>
                    <a:pt x="15627" y="963"/>
                  </a:lnTo>
                  <a:lnTo>
                    <a:pt x="15385" y="963"/>
                  </a:lnTo>
                  <a:lnTo>
                    <a:pt x="15385" y="1139"/>
                  </a:lnTo>
                  <a:lnTo>
                    <a:pt x="15384" y="1147"/>
                  </a:lnTo>
                  <a:lnTo>
                    <a:pt x="15378" y="1153"/>
                  </a:lnTo>
                  <a:lnTo>
                    <a:pt x="15372" y="1157"/>
                  </a:lnTo>
                  <a:lnTo>
                    <a:pt x="15366" y="1158"/>
                  </a:lnTo>
                  <a:lnTo>
                    <a:pt x="15253" y="1158"/>
                  </a:lnTo>
                  <a:lnTo>
                    <a:pt x="15253" y="1705"/>
                  </a:lnTo>
                  <a:lnTo>
                    <a:pt x="15253" y="2253"/>
                  </a:lnTo>
                  <a:lnTo>
                    <a:pt x="15250" y="2262"/>
                  </a:lnTo>
                  <a:lnTo>
                    <a:pt x="15246" y="2268"/>
                  </a:lnTo>
                  <a:lnTo>
                    <a:pt x="15240" y="2272"/>
                  </a:lnTo>
                  <a:lnTo>
                    <a:pt x="15232" y="2273"/>
                  </a:lnTo>
                  <a:lnTo>
                    <a:pt x="15225" y="2272"/>
                  </a:lnTo>
                  <a:lnTo>
                    <a:pt x="15218" y="2268"/>
                  </a:lnTo>
                  <a:lnTo>
                    <a:pt x="15214" y="2262"/>
                  </a:lnTo>
                  <a:lnTo>
                    <a:pt x="15213" y="2253"/>
                  </a:lnTo>
                  <a:lnTo>
                    <a:pt x="15213" y="1705"/>
                  </a:lnTo>
                  <a:lnTo>
                    <a:pt x="15213" y="1158"/>
                  </a:lnTo>
                  <a:lnTo>
                    <a:pt x="15141" y="1158"/>
                  </a:lnTo>
                  <a:lnTo>
                    <a:pt x="15141" y="1705"/>
                  </a:lnTo>
                  <a:lnTo>
                    <a:pt x="15141" y="2253"/>
                  </a:lnTo>
                  <a:lnTo>
                    <a:pt x="15140" y="2262"/>
                  </a:lnTo>
                  <a:lnTo>
                    <a:pt x="15135" y="2268"/>
                  </a:lnTo>
                  <a:lnTo>
                    <a:pt x="15128" y="2272"/>
                  </a:lnTo>
                  <a:lnTo>
                    <a:pt x="15122" y="2273"/>
                  </a:lnTo>
                  <a:lnTo>
                    <a:pt x="15114" y="2272"/>
                  </a:lnTo>
                  <a:lnTo>
                    <a:pt x="15108" y="2268"/>
                  </a:lnTo>
                  <a:lnTo>
                    <a:pt x="15103" y="2262"/>
                  </a:lnTo>
                  <a:lnTo>
                    <a:pt x="15101" y="2253"/>
                  </a:lnTo>
                  <a:lnTo>
                    <a:pt x="15101" y="1695"/>
                  </a:lnTo>
                  <a:lnTo>
                    <a:pt x="15101" y="1139"/>
                  </a:lnTo>
                  <a:lnTo>
                    <a:pt x="15101" y="1047"/>
                  </a:lnTo>
                  <a:lnTo>
                    <a:pt x="15101" y="963"/>
                  </a:lnTo>
                  <a:lnTo>
                    <a:pt x="14931" y="963"/>
                  </a:lnTo>
                  <a:lnTo>
                    <a:pt x="14918" y="960"/>
                  </a:lnTo>
                  <a:lnTo>
                    <a:pt x="14913" y="956"/>
                  </a:lnTo>
                  <a:lnTo>
                    <a:pt x="14910" y="952"/>
                  </a:lnTo>
                  <a:lnTo>
                    <a:pt x="14909" y="947"/>
                  </a:lnTo>
                  <a:lnTo>
                    <a:pt x="14909" y="942"/>
                  </a:lnTo>
                  <a:lnTo>
                    <a:pt x="14914" y="931"/>
                  </a:lnTo>
                  <a:lnTo>
                    <a:pt x="15105" y="680"/>
                  </a:lnTo>
                  <a:lnTo>
                    <a:pt x="15116" y="675"/>
                  </a:lnTo>
                  <a:lnTo>
                    <a:pt x="15127" y="674"/>
                  </a:lnTo>
                  <a:lnTo>
                    <a:pt x="15907" y="924"/>
                  </a:lnTo>
                  <a:lnTo>
                    <a:pt x="15920" y="933"/>
                  </a:lnTo>
                  <a:lnTo>
                    <a:pt x="15922" y="940"/>
                  </a:lnTo>
                  <a:lnTo>
                    <a:pt x="15923" y="946"/>
                  </a:lnTo>
                  <a:lnTo>
                    <a:pt x="15921" y="952"/>
                  </a:lnTo>
                  <a:lnTo>
                    <a:pt x="15916" y="957"/>
                  </a:lnTo>
                  <a:lnTo>
                    <a:pt x="15909" y="961"/>
                  </a:lnTo>
                  <a:lnTo>
                    <a:pt x="15900" y="963"/>
                  </a:lnTo>
                  <a:lnTo>
                    <a:pt x="15667" y="963"/>
                  </a:lnTo>
                  <a:close/>
                  <a:moveTo>
                    <a:pt x="15167" y="727"/>
                  </a:moveTo>
                  <a:lnTo>
                    <a:pt x="15240" y="828"/>
                  </a:lnTo>
                  <a:lnTo>
                    <a:pt x="15244" y="840"/>
                  </a:lnTo>
                  <a:lnTo>
                    <a:pt x="15244" y="923"/>
                  </a:lnTo>
                  <a:lnTo>
                    <a:pt x="15276" y="923"/>
                  </a:lnTo>
                  <a:lnTo>
                    <a:pt x="15366" y="923"/>
                  </a:lnTo>
                  <a:lnTo>
                    <a:pt x="15773" y="923"/>
                  </a:lnTo>
                  <a:lnTo>
                    <a:pt x="15167" y="727"/>
                  </a:lnTo>
                  <a:close/>
                  <a:moveTo>
                    <a:pt x="15203" y="923"/>
                  </a:moveTo>
                  <a:lnTo>
                    <a:pt x="15203" y="846"/>
                  </a:lnTo>
                  <a:lnTo>
                    <a:pt x="15141" y="762"/>
                  </a:lnTo>
                  <a:lnTo>
                    <a:pt x="15141" y="923"/>
                  </a:lnTo>
                  <a:lnTo>
                    <a:pt x="15203" y="923"/>
                  </a:lnTo>
                  <a:close/>
                  <a:moveTo>
                    <a:pt x="15101" y="752"/>
                  </a:moveTo>
                  <a:lnTo>
                    <a:pt x="14971" y="923"/>
                  </a:lnTo>
                  <a:lnTo>
                    <a:pt x="15101" y="923"/>
                  </a:lnTo>
                  <a:lnTo>
                    <a:pt x="15101" y="752"/>
                  </a:lnTo>
                  <a:close/>
                  <a:moveTo>
                    <a:pt x="15296" y="963"/>
                  </a:moveTo>
                  <a:lnTo>
                    <a:pt x="15296" y="1047"/>
                  </a:lnTo>
                  <a:lnTo>
                    <a:pt x="15295" y="1055"/>
                  </a:lnTo>
                  <a:lnTo>
                    <a:pt x="15290" y="1061"/>
                  </a:lnTo>
                  <a:lnTo>
                    <a:pt x="15283" y="1065"/>
                  </a:lnTo>
                  <a:lnTo>
                    <a:pt x="15276" y="1066"/>
                  </a:lnTo>
                  <a:lnTo>
                    <a:pt x="15141" y="1066"/>
                  </a:lnTo>
                  <a:lnTo>
                    <a:pt x="15141" y="1119"/>
                  </a:lnTo>
                  <a:lnTo>
                    <a:pt x="15232" y="1119"/>
                  </a:lnTo>
                  <a:lnTo>
                    <a:pt x="15345" y="1119"/>
                  </a:lnTo>
                  <a:lnTo>
                    <a:pt x="15345" y="963"/>
                  </a:lnTo>
                  <a:lnTo>
                    <a:pt x="15296" y="963"/>
                  </a:lnTo>
                  <a:close/>
                  <a:moveTo>
                    <a:pt x="15257" y="963"/>
                  </a:moveTo>
                  <a:lnTo>
                    <a:pt x="15141" y="963"/>
                  </a:lnTo>
                  <a:lnTo>
                    <a:pt x="15141" y="1027"/>
                  </a:lnTo>
                  <a:lnTo>
                    <a:pt x="15257" y="1027"/>
                  </a:lnTo>
                  <a:lnTo>
                    <a:pt x="15257" y="963"/>
                  </a:lnTo>
                  <a:close/>
                  <a:moveTo>
                    <a:pt x="12486" y="3681"/>
                  </a:moveTo>
                  <a:lnTo>
                    <a:pt x="12486" y="3792"/>
                  </a:lnTo>
                  <a:lnTo>
                    <a:pt x="12484" y="3800"/>
                  </a:lnTo>
                  <a:lnTo>
                    <a:pt x="12482" y="3805"/>
                  </a:lnTo>
                  <a:lnTo>
                    <a:pt x="12523" y="3838"/>
                  </a:lnTo>
                  <a:lnTo>
                    <a:pt x="12559" y="3875"/>
                  </a:lnTo>
                  <a:lnTo>
                    <a:pt x="12592" y="3918"/>
                  </a:lnTo>
                  <a:lnTo>
                    <a:pt x="12606" y="3939"/>
                  </a:lnTo>
                  <a:lnTo>
                    <a:pt x="12619" y="3962"/>
                  </a:lnTo>
                  <a:lnTo>
                    <a:pt x="12641" y="4011"/>
                  </a:lnTo>
                  <a:lnTo>
                    <a:pt x="12657" y="4062"/>
                  </a:lnTo>
                  <a:lnTo>
                    <a:pt x="12666" y="4116"/>
                  </a:lnTo>
                  <a:lnTo>
                    <a:pt x="12670" y="4171"/>
                  </a:lnTo>
                  <a:lnTo>
                    <a:pt x="12666" y="4226"/>
                  </a:lnTo>
                  <a:lnTo>
                    <a:pt x="12661" y="4265"/>
                  </a:lnTo>
                  <a:lnTo>
                    <a:pt x="12654" y="4304"/>
                  </a:lnTo>
                  <a:lnTo>
                    <a:pt x="13197" y="4304"/>
                  </a:lnTo>
                  <a:lnTo>
                    <a:pt x="13741" y="4304"/>
                  </a:lnTo>
                  <a:lnTo>
                    <a:pt x="13741" y="3764"/>
                  </a:lnTo>
                  <a:lnTo>
                    <a:pt x="13741" y="3225"/>
                  </a:lnTo>
                  <a:lnTo>
                    <a:pt x="13183" y="3225"/>
                  </a:lnTo>
                  <a:lnTo>
                    <a:pt x="12625" y="3225"/>
                  </a:lnTo>
                  <a:lnTo>
                    <a:pt x="12616" y="3222"/>
                  </a:lnTo>
                  <a:lnTo>
                    <a:pt x="12610" y="3218"/>
                  </a:lnTo>
                  <a:lnTo>
                    <a:pt x="12606" y="3212"/>
                  </a:lnTo>
                  <a:lnTo>
                    <a:pt x="12606" y="3204"/>
                  </a:lnTo>
                  <a:lnTo>
                    <a:pt x="12606" y="3196"/>
                  </a:lnTo>
                  <a:lnTo>
                    <a:pt x="12610" y="3190"/>
                  </a:lnTo>
                  <a:lnTo>
                    <a:pt x="12616" y="3186"/>
                  </a:lnTo>
                  <a:lnTo>
                    <a:pt x="12625" y="3184"/>
                  </a:lnTo>
                  <a:lnTo>
                    <a:pt x="12793" y="3184"/>
                  </a:lnTo>
                  <a:lnTo>
                    <a:pt x="12793" y="3031"/>
                  </a:lnTo>
                  <a:lnTo>
                    <a:pt x="12353" y="3031"/>
                  </a:lnTo>
                  <a:lnTo>
                    <a:pt x="12353" y="3184"/>
                  </a:lnTo>
                  <a:lnTo>
                    <a:pt x="12493" y="3184"/>
                  </a:lnTo>
                  <a:lnTo>
                    <a:pt x="12502" y="3186"/>
                  </a:lnTo>
                  <a:lnTo>
                    <a:pt x="12509" y="3190"/>
                  </a:lnTo>
                  <a:lnTo>
                    <a:pt x="12512" y="3196"/>
                  </a:lnTo>
                  <a:lnTo>
                    <a:pt x="12514" y="3204"/>
                  </a:lnTo>
                  <a:lnTo>
                    <a:pt x="12512" y="3212"/>
                  </a:lnTo>
                  <a:lnTo>
                    <a:pt x="12509" y="3218"/>
                  </a:lnTo>
                  <a:lnTo>
                    <a:pt x="12502" y="3222"/>
                  </a:lnTo>
                  <a:lnTo>
                    <a:pt x="12493" y="3225"/>
                  </a:lnTo>
                  <a:lnTo>
                    <a:pt x="12236" y="3225"/>
                  </a:lnTo>
                  <a:lnTo>
                    <a:pt x="12236" y="3670"/>
                  </a:lnTo>
                  <a:lnTo>
                    <a:pt x="12233" y="3679"/>
                  </a:lnTo>
                  <a:lnTo>
                    <a:pt x="12229" y="3685"/>
                  </a:lnTo>
                  <a:lnTo>
                    <a:pt x="12223" y="3689"/>
                  </a:lnTo>
                  <a:lnTo>
                    <a:pt x="12215" y="3690"/>
                  </a:lnTo>
                  <a:lnTo>
                    <a:pt x="12207" y="3689"/>
                  </a:lnTo>
                  <a:lnTo>
                    <a:pt x="12201" y="3685"/>
                  </a:lnTo>
                  <a:lnTo>
                    <a:pt x="12197" y="3679"/>
                  </a:lnTo>
                  <a:lnTo>
                    <a:pt x="12194" y="3670"/>
                  </a:lnTo>
                  <a:lnTo>
                    <a:pt x="12194" y="3204"/>
                  </a:lnTo>
                  <a:lnTo>
                    <a:pt x="12197" y="3196"/>
                  </a:lnTo>
                  <a:lnTo>
                    <a:pt x="12201" y="3190"/>
                  </a:lnTo>
                  <a:lnTo>
                    <a:pt x="12207" y="3186"/>
                  </a:lnTo>
                  <a:lnTo>
                    <a:pt x="12215" y="3184"/>
                  </a:lnTo>
                  <a:lnTo>
                    <a:pt x="12314" y="3184"/>
                  </a:lnTo>
                  <a:lnTo>
                    <a:pt x="12314" y="3011"/>
                  </a:lnTo>
                  <a:lnTo>
                    <a:pt x="12315" y="3003"/>
                  </a:lnTo>
                  <a:lnTo>
                    <a:pt x="12319" y="2997"/>
                  </a:lnTo>
                  <a:lnTo>
                    <a:pt x="12325" y="2993"/>
                  </a:lnTo>
                  <a:lnTo>
                    <a:pt x="12333" y="2991"/>
                  </a:lnTo>
                  <a:lnTo>
                    <a:pt x="12814" y="2991"/>
                  </a:lnTo>
                  <a:lnTo>
                    <a:pt x="12822" y="2993"/>
                  </a:lnTo>
                  <a:lnTo>
                    <a:pt x="12828" y="2997"/>
                  </a:lnTo>
                  <a:lnTo>
                    <a:pt x="12832" y="3003"/>
                  </a:lnTo>
                  <a:lnTo>
                    <a:pt x="12833" y="3011"/>
                  </a:lnTo>
                  <a:lnTo>
                    <a:pt x="12833" y="3184"/>
                  </a:lnTo>
                  <a:lnTo>
                    <a:pt x="13761" y="3184"/>
                  </a:lnTo>
                  <a:lnTo>
                    <a:pt x="13769" y="3186"/>
                  </a:lnTo>
                  <a:lnTo>
                    <a:pt x="13776" y="3190"/>
                  </a:lnTo>
                  <a:lnTo>
                    <a:pt x="13779" y="3196"/>
                  </a:lnTo>
                  <a:lnTo>
                    <a:pt x="13782" y="3204"/>
                  </a:lnTo>
                  <a:lnTo>
                    <a:pt x="13782" y="3764"/>
                  </a:lnTo>
                  <a:lnTo>
                    <a:pt x="13782" y="4324"/>
                  </a:lnTo>
                  <a:lnTo>
                    <a:pt x="13779" y="4332"/>
                  </a:lnTo>
                  <a:lnTo>
                    <a:pt x="13776" y="4338"/>
                  </a:lnTo>
                  <a:lnTo>
                    <a:pt x="13769" y="4342"/>
                  </a:lnTo>
                  <a:lnTo>
                    <a:pt x="13761" y="4343"/>
                  </a:lnTo>
                  <a:lnTo>
                    <a:pt x="13197" y="4343"/>
                  </a:lnTo>
                  <a:lnTo>
                    <a:pt x="12633" y="4343"/>
                  </a:lnTo>
                  <a:lnTo>
                    <a:pt x="12628" y="4347"/>
                  </a:lnTo>
                  <a:lnTo>
                    <a:pt x="12621" y="4349"/>
                  </a:lnTo>
                  <a:lnTo>
                    <a:pt x="12016" y="4349"/>
                  </a:lnTo>
                  <a:lnTo>
                    <a:pt x="11412" y="4349"/>
                  </a:lnTo>
                  <a:lnTo>
                    <a:pt x="11403" y="4346"/>
                  </a:lnTo>
                  <a:lnTo>
                    <a:pt x="11397" y="4341"/>
                  </a:lnTo>
                  <a:lnTo>
                    <a:pt x="11388" y="4334"/>
                  </a:lnTo>
                  <a:lnTo>
                    <a:pt x="11385" y="4329"/>
                  </a:lnTo>
                  <a:lnTo>
                    <a:pt x="11385" y="4323"/>
                  </a:lnTo>
                  <a:lnTo>
                    <a:pt x="11385" y="3936"/>
                  </a:lnTo>
                  <a:lnTo>
                    <a:pt x="11346" y="3930"/>
                  </a:lnTo>
                  <a:lnTo>
                    <a:pt x="11307" y="3924"/>
                  </a:lnTo>
                  <a:lnTo>
                    <a:pt x="11271" y="3913"/>
                  </a:lnTo>
                  <a:lnTo>
                    <a:pt x="11235" y="3898"/>
                  </a:lnTo>
                  <a:lnTo>
                    <a:pt x="11202" y="3881"/>
                  </a:lnTo>
                  <a:lnTo>
                    <a:pt x="11171" y="3860"/>
                  </a:lnTo>
                  <a:lnTo>
                    <a:pt x="11142" y="3837"/>
                  </a:lnTo>
                  <a:lnTo>
                    <a:pt x="11115" y="3811"/>
                  </a:lnTo>
                  <a:lnTo>
                    <a:pt x="11090" y="3783"/>
                  </a:lnTo>
                  <a:lnTo>
                    <a:pt x="11069" y="3753"/>
                  </a:lnTo>
                  <a:lnTo>
                    <a:pt x="11049" y="3721"/>
                  </a:lnTo>
                  <a:lnTo>
                    <a:pt x="11034" y="3686"/>
                  </a:lnTo>
                  <a:lnTo>
                    <a:pt x="11021" y="3650"/>
                  </a:lnTo>
                  <a:lnTo>
                    <a:pt x="11011" y="3613"/>
                  </a:lnTo>
                  <a:lnTo>
                    <a:pt x="11006" y="3575"/>
                  </a:lnTo>
                  <a:lnTo>
                    <a:pt x="11005" y="3535"/>
                  </a:lnTo>
                  <a:lnTo>
                    <a:pt x="11006" y="3494"/>
                  </a:lnTo>
                  <a:lnTo>
                    <a:pt x="11012" y="3453"/>
                  </a:lnTo>
                  <a:lnTo>
                    <a:pt x="11022" y="3415"/>
                  </a:lnTo>
                  <a:lnTo>
                    <a:pt x="11035" y="3379"/>
                  </a:lnTo>
                  <a:lnTo>
                    <a:pt x="11052" y="3343"/>
                  </a:lnTo>
                  <a:lnTo>
                    <a:pt x="11072" y="3310"/>
                  </a:lnTo>
                  <a:lnTo>
                    <a:pt x="11096" y="3280"/>
                  </a:lnTo>
                  <a:lnTo>
                    <a:pt x="11121" y="3251"/>
                  </a:lnTo>
                  <a:lnTo>
                    <a:pt x="11151" y="3226"/>
                  </a:lnTo>
                  <a:lnTo>
                    <a:pt x="11181" y="3203"/>
                  </a:lnTo>
                  <a:lnTo>
                    <a:pt x="11214" y="3182"/>
                  </a:lnTo>
                  <a:lnTo>
                    <a:pt x="11249" y="3166"/>
                  </a:lnTo>
                  <a:lnTo>
                    <a:pt x="11287" y="3152"/>
                  </a:lnTo>
                  <a:lnTo>
                    <a:pt x="11325" y="3143"/>
                  </a:lnTo>
                  <a:lnTo>
                    <a:pt x="11365" y="3136"/>
                  </a:lnTo>
                  <a:lnTo>
                    <a:pt x="11406" y="3134"/>
                  </a:lnTo>
                  <a:lnTo>
                    <a:pt x="11447" y="3136"/>
                  </a:lnTo>
                  <a:lnTo>
                    <a:pt x="11487" y="3143"/>
                  </a:lnTo>
                  <a:lnTo>
                    <a:pt x="11525" y="3152"/>
                  </a:lnTo>
                  <a:lnTo>
                    <a:pt x="11562" y="3166"/>
                  </a:lnTo>
                  <a:lnTo>
                    <a:pt x="11597" y="3182"/>
                  </a:lnTo>
                  <a:lnTo>
                    <a:pt x="11630" y="3203"/>
                  </a:lnTo>
                  <a:lnTo>
                    <a:pt x="11661" y="3226"/>
                  </a:lnTo>
                  <a:lnTo>
                    <a:pt x="11689" y="3251"/>
                  </a:lnTo>
                  <a:lnTo>
                    <a:pt x="11716" y="3280"/>
                  </a:lnTo>
                  <a:lnTo>
                    <a:pt x="11739" y="3310"/>
                  </a:lnTo>
                  <a:lnTo>
                    <a:pt x="11759" y="3343"/>
                  </a:lnTo>
                  <a:lnTo>
                    <a:pt x="11775" y="3379"/>
                  </a:lnTo>
                  <a:lnTo>
                    <a:pt x="11789" y="3415"/>
                  </a:lnTo>
                  <a:lnTo>
                    <a:pt x="11800" y="3453"/>
                  </a:lnTo>
                  <a:lnTo>
                    <a:pt x="11805" y="3494"/>
                  </a:lnTo>
                  <a:lnTo>
                    <a:pt x="11807" y="3535"/>
                  </a:lnTo>
                  <a:lnTo>
                    <a:pt x="11806" y="3575"/>
                  </a:lnTo>
                  <a:lnTo>
                    <a:pt x="11800" y="3613"/>
                  </a:lnTo>
                  <a:lnTo>
                    <a:pt x="11791" y="3650"/>
                  </a:lnTo>
                  <a:lnTo>
                    <a:pt x="11778" y="3686"/>
                  </a:lnTo>
                  <a:lnTo>
                    <a:pt x="11761" y="3721"/>
                  </a:lnTo>
                  <a:lnTo>
                    <a:pt x="11743" y="3753"/>
                  </a:lnTo>
                  <a:lnTo>
                    <a:pt x="11720" y="3783"/>
                  </a:lnTo>
                  <a:lnTo>
                    <a:pt x="11696" y="3811"/>
                  </a:lnTo>
                  <a:lnTo>
                    <a:pt x="11669" y="3837"/>
                  </a:lnTo>
                  <a:lnTo>
                    <a:pt x="11639" y="3860"/>
                  </a:lnTo>
                  <a:lnTo>
                    <a:pt x="11608" y="3881"/>
                  </a:lnTo>
                  <a:lnTo>
                    <a:pt x="11575" y="3898"/>
                  </a:lnTo>
                  <a:lnTo>
                    <a:pt x="11539" y="3913"/>
                  </a:lnTo>
                  <a:lnTo>
                    <a:pt x="11502" y="3924"/>
                  </a:lnTo>
                  <a:lnTo>
                    <a:pt x="11465" y="3932"/>
                  </a:lnTo>
                  <a:lnTo>
                    <a:pt x="11425" y="3936"/>
                  </a:lnTo>
                  <a:lnTo>
                    <a:pt x="11425" y="4205"/>
                  </a:lnTo>
                  <a:lnTo>
                    <a:pt x="11443" y="4178"/>
                  </a:lnTo>
                  <a:lnTo>
                    <a:pt x="11464" y="4153"/>
                  </a:lnTo>
                  <a:lnTo>
                    <a:pt x="11488" y="4130"/>
                  </a:lnTo>
                  <a:lnTo>
                    <a:pt x="11516" y="4108"/>
                  </a:lnTo>
                  <a:lnTo>
                    <a:pt x="11549" y="4090"/>
                  </a:lnTo>
                  <a:lnTo>
                    <a:pt x="11585" y="4076"/>
                  </a:lnTo>
                  <a:lnTo>
                    <a:pt x="11625" y="4067"/>
                  </a:lnTo>
                  <a:lnTo>
                    <a:pt x="11646" y="4065"/>
                  </a:lnTo>
                  <a:lnTo>
                    <a:pt x="11669" y="4065"/>
                  </a:lnTo>
                  <a:lnTo>
                    <a:pt x="11685" y="4066"/>
                  </a:lnTo>
                  <a:lnTo>
                    <a:pt x="11702" y="4069"/>
                  </a:lnTo>
                  <a:lnTo>
                    <a:pt x="11719" y="4074"/>
                  </a:lnTo>
                  <a:lnTo>
                    <a:pt x="11734" y="4080"/>
                  </a:lnTo>
                  <a:lnTo>
                    <a:pt x="11766" y="4092"/>
                  </a:lnTo>
                  <a:lnTo>
                    <a:pt x="11783" y="4095"/>
                  </a:lnTo>
                  <a:lnTo>
                    <a:pt x="11800" y="4097"/>
                  </a:lnTo>
                  <a:lnTo>
                    <a:pt x="11814" y="4095"/>
                  </a:lnTo>
                  <a:lnTo>
                    <a:pt x="11825" y="4090"/>
                  </a:lnTo>
                  <a:lnTo>
                    <a:pt x="11837" y="4084"/>
                  </a:lnTo>
                  <a:lnTo>
                    <a:pt x="11847" y="4076"/>
                  </a:lnTo>
                  <a:lnTo>
                    <a:pt x="11847" y="3213"/>
                  </a:lnTo>
                  <a:lnTo>
                    <a:pt x="11833" y="3208"/>
                  </a:lnTo>
                  <a:lnTo>
                    <a:pt x="11820" y="3199"/>
                  </a:lnTo>
                  <a:lnTo>
                    <a:pt x="11796" y="3182"/>
                  </a:lnTo>
                  <a:lnTo>
                    <a:pt x="11784" y="3173"/>
                  </a:lnTo>
                  <a:lnTo>
                    <a:pt x="11771" y="3167"/>
                  </a:lnTo>
                  <a:lnTo>
                    <a:pt x="11757" y="3163"/>
                  </a:lnTo>
                  <a:lnTo>
                    <a:pt x="11742" y="3163"/>
                  </a:lnTo>
                  <a:lnTo>
                    <a:pt x="11696" y="3170"/>
                  </a:lnTo>
                  <a:lnTo>
                    <a:pt x="11678" y="3172"/>
                  </a:lnTo>
                  <a:lnTo>
                    <a:pt x="11661" y="3171"/>
                  </a:lnTo>
                  <a:lnTo>
                    <a:pt x="11646" y="3166"/>
                  </a:lnTo>
                  <a:lnTo>
                    <a:pt x="11632" y="3156"/>
                  </a:lnTo>
                  <a:lnTo>
                    <a:pt x="11624" y="3148"/>
                  </a:lnTo>
                  <a:lnTo>
                    <a:pt x="11617" y="3139"/>
                  </a:lnTo>
                  <a:lnTo>
                    <a:pt x="11602" y="3115"/>
                  </a:lnTo>
                  <a:lnTo>
                    <a:pt x="11591" y="3093"/>
                  </a:lnTo>
                  <a:lnTo>
                    <a:pt x="11580" y="3079"/>
                  </a:lnTo>
                  <a:lnTo>
                    <a:pt x="11570" y="3070"/>
                  </a:lnTo>
                  <a:lnTo>
                    <a:pt x="11561" y="3065"/>
                  </a:lnTo>
                  <a:lnTo>
                    <a:pt x="11537" y="3060"/>
                  </a:lnTo>
                  <a:lnTo>
                    <a:pt x="11520" y="3055"/>
                  </a:lnTo>
                  <a:lnTo>
                    <a:pt x="11498" y="3047"/>
                  </a:lnTo>
                  <a:lnTo>
                    <a:pt x="11475" y="3033"/>
                  </a:lnTo>
                  <a:lnTo>
                    <a:pt x="11467" y="3024"/>
                  </a:lnTo>
                  <a:lnTo>
                    <a:pt x="11462" y="3015"/>
                  </a:lnTo>
                  <a:lnTo>
                    <a:pt x="11456" y="2996"/>
                  </a:lnTo>
                  <a:lnTo>
                    <a:pt x="11453" y="2974"/>
                  </a:lnTo>
                  <a:lnTo>
                    <a:pt x="11453" y="2953"/>
                  </a:lnTo>
                  <a:lnTo>
                    <a:pt x="11451" y="2933"/>
                  </a:lnTo>
                  <a:lnTo>
                    <a:pt x="11446" y="2913"/>
                  </a:lnTo>
                  <a:lnTo>
                    <a:pt x="11440" y="2904"/>
                  </a:lnTo>
                  <a:lnTo>
                    <a:pt x="11434" y="2896"/>
                  </a:lnTo>
                  <a:lnTo>
                    <a:pt x="11399" y="2864"/>
                  </a:lnTo>
                  <a:lnTo>
                    <a:pt x="11387" y="2851"/>
                  </a:lnTo>
                  <a:lnTo>
                    <a:pt x="11376" y="2837"/>
                  </a:lnTo>
                  <a:lnTo>
                    <a:pt x="11371" y="2823"/>
                  </a:lnTo>
                  <a:lnTo>
                    <a:pt x="11370" y="2805"/>
                  </a:lnTo>
                  <a:lnTo>
                    <a:pt x="11375" y="2783"/>
                  </a:lnTo>
                  <a:lnTo>
                    <a:pt x="11384" y="2757"/>
                  </a:lnTo>
                  <a:lnTo>
                    <a:pt x="11394" y="2734"/>
                  </a:lnTo>
                  <a:lnTo>
                    <a:pt x="11398" y="2722"/>
                  </a:lnTo>
                  <a:lnTo>
                    <a:pt x="11401" y="2711"/>
                  </a:lnTo>
                  <a:lnTo>
                    <a:pt x="11397" y="2689"/>
                  </a:lnTo>
                  <a:lnTo>
                    <a:pt x="11389" y="2670"/>
                  </a:lnTo>
                  <a:lnTo>
                    <a:pt x="11380" y="2650"/>
                  </a:lnTo>
                  <a:lnTo>
                    <a:pt x="11373" y="2633"/>
                  </a:lnTo>
                  <a:lnTo>
                    <a:pt x="11369" y="2613"/>
                  </a:lnTo>
                  <a:lnTo>
                    <a:pt x="11373" y="2593"/>
                  </a:lnTo>
                  <a:lnTo>
                    <a:pt x="11378" y="2581"/>
                  </a:lnTo>
                  <a:lnTo>
                    <a:pt x="11387" y="2570"/>
                  </a:lnTo>
                  <a:lnTo>
                    <a:pt x="11412" y="2543"/>
                  </a:lnTo>
                  <a:lnTo>
                    <a:pt x="11430" y="2526"/>
                  </a:lnTo>
                  <a:lnTo>
                    <a:pt x="11442" y="2512"/>
                  </a:lnTo>
                  <a:lnTo>
                    <a:pt x="11448" y="2502"/>
                  </a:lnTo>
                  <a:lnTo>
                    <a:pt x="11451" y="2492"/>
                  </a:lnTo>
                  <a:lnTo>
                    <a:pt x="11452" y="2466"/>
                  </a:lnTo>
                  <a:lnTo>
                    <a:pt x="11456" y="2427"/>
                  </a:lnTo>
                  <a:lnTo>
                    <a:pt x="11460" y="2413"/>
                  </a:lnTo>
                  <a:lnTo>
                    <a:pt x="11465" y="2401"/>
                  </a:lnTo>
                  <a:lnTo>
                    <a:pt x="11471" y="2392"/>
                  </a:lnTo>
                  <a:lnTo>
                    <a:pt x="11479" y="2384"/>
                  </a:lnTo>
                  <a:lnTo>
                    <a:pt x="11497" y="2374"/>
                  </a:lnTo>
                  <a:lnTo>
                    <a:pt x="11516" y="2368"/>
                  </a:lnTo>
                  <a:lnTo>
                    <a:pt x="11537" y="2363"/>
                  </a:lnTo>
                  <a:lnTo>
                    <a:pt x="11557" y="2356"/>
                  </a:lnTo>
                  <a:lnTo>
                    <a:pt x="11566" y="2351"/>
                  </a:lnTo>
                  <a:lnTo>
                    <a:pt x="11575" y="2346"/>
                  </a:lnTo>
                  <a:lnTo>
                    <a:pt x="11582" y="2340"/>
                  </a:lnTo>
                  <a:lnTo>
                    <a:pt x="11589" y="2331"/>
                  </a:lnTo>
                  <a:lnTo>
                    <a:pt x="11612" y="2291"/>
                  </a:lnTo>
                  <a:lnTo>
                    <a:pt x="11623" y="2275"/>
                  </a:lnTo>
                  <a:lnTo>
                    <a:pt x="11633" y="2263"/>
                  </a:lnTo>
                  <a:lnTo>
                    <a:pt x="11647" y="2254"/>
                  </a:lnTo>
                  <a:lnTo>
                    <a:pt x="11664" y="2249"/>
                  </a:lnTo>
                  <a:lnTo>
                    <a:pt x="11685" y="2248"/>
                  </a:lnTo>
                  <a:lnTo>
                    <a:pt x="11714" y="2251"/>
                  </a:lnTo>
                  <a:lnTo>
                    <a:pt x="11743" y="2257"/>
                  </a:lnTo>
                  <a:lnTo>
                    <a:pt x="11762" y="2257"/>
                  </a:lnTo>
                  <a:lnTo>
                    <a:pt x="11780" y="2249"/>
                  </a:lnTo>
                  <a:lnTo>
                    <a:pt x="11805" y="2231"/>
                  </a:lnTo>
                  <a:lnTo>
                    <a:pt x="11832" y="2213"/>
                  </a:lnTo>
                  <a:lnTo>
                    <a:pt x="11848" y="2207"/>
                  </a:lnTo>
                  <a:lnTo>
                    <a:pt x="11866" y="2204"/>
                  </a:lnTo>
                  <a:lnTo>
                    <a:pt x="11885" y="2207"/>
                  </a:lnTo>
                  <a:lnTo>
                    <a:pt x="11901" y="2213"/>
                  </a:lnTo>
                  <a:lnTo>
                    <a:pt x="11916" y="2222"/>
                  </a:lnTo>
                  <a:lnTo>
                    <a:pt x="11930" y="2232"/>
                  </a:lnTo>
                  <a:lnTo>
                    <a:pt x="11943" y="2243"/>
                  </a:lnTo>
                  <a:lnTo>
                    <a:pt x="11959" y="2251"/>
                  </a:lnTo>
                  <a:lnTo>
                    <a:pt x="11974" y="2257"/>
                  </a:lnTo>
                  <a:lnTo>
                    <a:pt x="11992" y="2257"/>
                  </a:lnTo>
                  <a:lnTo>
                    <a:pt x="12037" y="2250"/>
                  </a:lnTo>
                  <a:lnTo>
                    <a:pt x="12056" y="2248"/>
                  </a:lnTo>
                  <a:lnTo>
                    <a:pt x="12073" y="2249"/>
                  </a:lnTo>
                  <a:lnTo>
                    <a:pt x="12088" y="2254"/>
                  </a:lnTo>
                  <a:lnTo>
                    <a:pt x="12102" y="2264"/>
                  </a:lnTo>
                  <a:lnTo>
                    <a:pt x="12109" y="2272"/>
                  </a:lnTo>
                  <a:lnTo>
                    <a:pt x="12116" y="2281"/>
                  </a:lnTo>
                  <a:lnTo>
                    <a:pt x="12130" y="2305"/>
                  </a:lnTo>
                  <a:lnTo>
                    <a:pt x="12143" y="2327"/>
                  </a:lnTo>
                  <a:lnTo>
                    <a:pt x="12153" y="2341"/>
                  </a:lnTo>
                  <a:lnTo>
                    <a:pt x="12162" y="2350"/>
                  </a:lnTo>
                  <a:lnTo>
                    <a:pt x="12173" y="2355"/>
                  </a:lnTo>
                  <a:lnTo>
                    <a:pt x="12197" y="2360"/>
                  </a:lnTo>
                  <a:lnTo>
                    <a:pt x="12214" y="2365"/>
                  </a:lnTo>
                  <a:lnTo>
                    <a:pt x="12234" y="2373"/>
                  </a:lnTo>
                  <a:lnTo>
                    <a:pt x="12257" y="2388"/>
                  </a:lnTo>
                  <a:lnTo>
                    <a:pt x="12265" y="2396"/>
                  </a:lnTo>
                  <a:lnTo>
                    <a:pt x="12271" y="2405"/>
                  </a:lnTo>
                  <a:lnTo>
                    <a:pt x="12278" y="2425"/>
                  </a:lnTo>
                  <a:lnTo>
                    <a:pt x="12279" y="2446"/>
                  </a:lnTo>
                  <a:lnTo>
                    <a:pt x="12280" y="2466"/>
                  </a:lnTo>
                  <a:lnTo>
                    <a:pt x="12282" y="2488"/>
                  </a:lnTo>
                  <a:lnTo>
                    <a:pt x="12287" y="2507"/>
                  </a:lnTo>
                  <a:lnTo>
                    <a:pt x="12292" y="2516"/>
                  </a:lnTo>
                  <a:lnTo>
                    <a:pt x="12300" y="2524"/>
                  </a:lnTo>
                  <a:lnTo>
                    <a:pt x="12333" y="2556"/>
                  </a:lnTo>
                  <a:lnTo>
                    <a:pt x="12347" y="2569"/>
                  </a:lnTo>
                  <a:lnTo>
                    <a:pt x="12356" y="2583"/>
                  </a:lnTo>
                  <a:lnTo>
                    <a:pt x="12361" y="2598"/>
                  </a:lnTo>
                  <a:lnTo>
                    <a:pt x="12362" y="2615"/>
                  </a:lnTo>
                  <a:lnTo>
                    <a:pt x="12359" y="2636"/>
                  </a:lnTo>
                  <a:lnTo>
                    <a:pt x="12348" y="2663"/>
                  </a:lnTo>
                  <a:lnTo>
                    <a:pt x="12337" y="2690"/>
                  </a:lnTo>
                  <a:lnTo>
                    <a:pt x="12333" y="2711"/>
                  </a:lnTo>
                  <a:lnTo>
                    <a:pt x="12336" y="2731"/>
                  </a:lnTo>
                  <a:lnTo>
                    <a:pt x="12343" y="2750"/>
                  </a:lnTo>
                  <a:lnTo>
                    <a:pt x="12352" y="2769"/>
                  </a:lnTo>
                  <a:lnTo>
                    <a:pt x="12360" y="2787"/>
                  </a:lnTo>
                  <a:lnTo>
                    <a:pt x="12364" y="2806"/>
                  </a:lnTo>
                  <a:lnTo>
                    <a:pt x="12360" y="2828"/>
                  </a:lnTo>
                  <a:lnTo>
                    <a:pt x="12355" y="2838"/>
                  </a:lnTo>
                  <a:lnTo>
                    <a:pt x="12347" y="2851"/>
                  </a:lnTo>
                  <a:lnTo>
                    <a:pt x="12321" y="2877"/>
                  </a:lnTo>
                  <a:lnTo>
                    <a:pt x="12302" y="2893"/>
                  </a:lnTo>
                  <a:lnTo>
                    <a:pt x="12291" y="2907"/>
                  </a:lnTo>
                  <a:lnTo>
                    <a:pt x="12284" y="2918"/>
                  </a:lnTo>
                  <a:lnTo>
                    <a:pt x="12282" y="2929"/>
                  </a:lnTo>
                  <a:lnTo>
                    <a:pt x="12282" y="2953"/>
                  </a:lnTo>
                  <a:lnTo>
                    <a:pt x="12278" y="2993"/>
                  </a:lnTo>
                  <a:lnTo>
                    <a:pt x="12274" y="3007"/>
                  </a:lnTo>
                  <a:lnTo>
                    <a:pt x="12269" y="3019"/>
                  </a:lnTo>
                  <a:lnTo>
                    <a:pt x="12262" y="3028"/>
                  </a:lnTo>
                  <a:lnTo>
                    <a:pt x="12255" y="3035"/>
                  </a:lnTo>
                  <a:lnTo>
                    <a:pt x="12237" y="3046"/>
                  </a:lnTo>
                  <a:lnTo>
                    <a:pt x="12216" y="3053"/>
                  </a:lnTo>
                  <a:lnTo>
                    <a:pt x="12196" y="3058"/>
                  </a:lnTo>
                  <a:lnTo>
                    <a:pt x="12177" y="3065"/>
                  </a:lnTo>
                  <a:lnTo>
                    <a:pt x="12168" y="3069"/>
                  </a:lnTo>
                  <a:lnTo>
                    <a:pt x="12159" y="3074"/>
                  </a:lnTo>
                  <a:lnTo>
                    <a:pt x="12151" y="3081"/>
                  </a:lnTo>
                  <a:lnTo>
                    <a:pt x="12144" y="3089"/>
                  </a:lnTo>
                  <a:lnTo>
                    <a:pt x="12121" y="3130"/>
                  </a:lnTo>
                  <a:lnTo>
                    <a:pt x="12111" y="3145"/>
                  </a:lnTo>
                  <a:lnTo>
                    <a:pt x="12100" y="3158"/>
                  </a:lnTo>
                  <a:lnTo>
                    <a:pt x="12087" y="3167"/>
                  </a:lnTo>
                  <a:lnTo>
                    <a:pt x="12070" y="3171"/>
                  </a:lnTo>
                  <a:lnTo>
                    <a:pt x="12048" y="3172"/>
                  </a:lnTo>
                  <a:lnTo>
                    <a:pt x="12020" y="3168"/>
                  </a:lnTo>
                  <a:lnTo>
                    <a:pt x="11989" y="3163"/>
                  </a:lnTo>
                  <a:lnTo>
                    <a:pt x="11971" y="3163"/>
                  </a:lnTo>
                  <a:lnTo>
                    <a:pt x="11953" y="3172"/>
                  </a:lnTo>
                  <a:lnTo>
                    <a:pt x="11929" y="3189"/>
                  </a:lnTo>
                  <a:lnTo>
                    <a:pt x="11910" y="3202"/>
                  </a:lnTo>
                  <a:lnTo>
                    <a:pt x="11887" y="3213"/>
                  </a:lnTo>
                  <a:lnTo>
                    <a:pt x="11887" y="4017"/>
                  </a:lnTo>
                  <a:lnTo>
                    <a:pt x="11933" y="3925"/>
                  </a:lnTo>
                  <a:lnTo>
                    <a:pt x="11961" y="3877"/>
                  </a:lnTo>
                  <a:lnTo>
                    <a:pt x="11994" y="3829"/>
                  </a:lnTo>
                  <a:lnTo>
                    <a:pt x="12014" y="3808"/>
                  </a:lnTo>
                  <a:lnTo>
                    <a:pt x="12035" y="3787"/>
                  </a:lnTo>
                  <a:lnTo>
                    <a:pt x="12060" y="3769"/>
                  </a:lnTo>
                  <a:lnTo>
                    <a:pt x="12073" y="3762"/>
                  </a:lnTo>
                  <a:lnTo>
                    <a:pt x="12085" y="3754"/>
                  </a:lnTo>
                  <a:lnTo>
                    <a:pt x="12115" y="3741"/>
                  </a:lnTo>
                  <a:lnTo>
                    <a:pt x="12148" y="3731"/>
                  </a:lnTo>
                  <a:lnTo>
                    <a:pt x="12184" y="3725"/>
                  </a:lnTo>
                  <a:lnTo>
                    <a:pt x="12224" y="3723"/>
                  </a:lnTo>
                  <a:lnTo>
                    <a:pt x="12283" y="3727"/>
                  </a:lnTo>
                  <a:lnTo>
                    <a:pt x="12341" y="3739"/>
                  </a:lnTo>
                  <a:lnTo>
                    <a:pt x="12368" y="3748"/>
                  </a:lnTo>
                  <a:lnTo>
                    <a:pt x="12395" y="3758"/>
                  </a:lnTo>
                  <a:lnTo>
                    <a:pt x="12420" y="3769"/>
                  </a:lnTo>
                  <a:lnTo>
                    <a:pt x="12446" y="3782"/>
                  </a:lnTo>
                  <a:lnTo>
                    <a:pt x="12446" y="3681"/>
                  </a:lnTo>
                  <a:lnTo>
                    <a:pt x="12447" y="3672"/>
                  </a:lnTo>
                  <a:lnTo>
                    <a:pt x="12452" y="3666"/>
                  </a:lnTo>
                  <a:lnTo>
                    <a:pt x="12459" y="3662"/>
                  </a:lnTo>
                  <a:lnTo>
                    <a:pt x="12465" y="3661"/>
                  </a:lnTo>
                  <a:lnTo>
                    <a:pt x="12473" y="3662"/>
                  </a:lnTo>
                  <a:lnTo>
                    <a:pt x="12479" y="3666"/>
                  </a:lnTo>
                  <a:lnTo>
                    <a:pt x="12484" y="3672"/>
                  </a:lnTo>
                  <a:lnTo>
                    <a:pt x="12486" y="3681"/>
                  </a:lnTo>
                  <a:close/>
                  <a:moveTo>
                    <a:pt x="12630" y="4171"/>
                  </a:moveTo>
                  <a:lnTo>
                    <a:pt x="12628" y="4130"/>
                  </a:lnTo>
                  <a:lnTo>
                    <a:pt x="12621" y="4089"/>
                  </a:lnTo>
                  <a:lnTo>
                    <a:pt x="12613" y="4051"/>
                  </a:lnTo>
                  <a:lnTo>
                    <a:pt x="12598" y="4012"/>
                  </a:lnTo>
                  <a:lnTo>
                    <a:pt x="12582" y="3976"/>
                  </a:lnTo>
                  <a:lnTo>
                    <a:pt x="12561" y="3943"/>
                  </a:lnTo>
                  <a:lnTo>
                    <a:pt x="12537" y="3911"/>
                  </a:lnTo>
                  <a:lnTo>
                    <a:pt x="12511" y="3883"/>
                  </a:lnTo>
                  <a:lnTo>
                    <a:pt x="12482" y="3856"/>
                  </a:lnTo>
                  <a:lnTo>
                    <a:pt x="12451" y="3833"/>
                  </a:lnTo>
                  <a:lnTo>
                    <a:pt x="12418" y="3813"/>
                  </a:lnTo>
                  <a:lnTo>
                    <a:pt x="12382" y="3795"/>
                  </a:lnTo>
                  <a:lnTo>
                    <a:pt x="12345" y="3781"/>
                  </a:lnTo>
                  <a:lnTo>
                    <a:pt x="12306" y="3772"/>
                  </a:lnTo>
                  <a:lnTo>
                    <a:pt x="12265" y="3765"/>
                  </a:lnTo>
                  <a:lnTo>
                    <a:pt x="12224" y="3763"/>
                  </a:lnTo>
                  <a:lnTo>
                    <a:pt x="12197" y="3764"/>
                  </a:lnTo>
                  <a:lnTo>
                    <a:pt x="12173" y="3767"/>
                  </a:lnTo>
                  <a:lnTo>
                    <a:pt x="12150" y="3772"/>
                  </a:lnTo>
                  <a:lnTo>
                    <a:pt x="12128" y="3780"/>
                  </a:lnTo>
                  <a:lnTo>
                    <a:pt x="12089" y="3797"/>
                  </a:lnTo>
                  <a:lnTo>
                    <a:pt x="12073" y="3809"/>
                  </a:lnTo>
                  <a:lnTo>
                    <a:pt x="12057" y="3822"/>
                  </a:lnTo>
                  <a:lnTo>
                    <a:pt x="12029" y="3850"/>
                  </a:lnTo>
                  <a:lnTo>
                    <a:pt x="12005" y="3881"/>
                  </a:lnTo>
                  <a:lnTo>
                    <a:pt x="11984" y="3915"/>
                  </a:lnTo>
                  <a:lnTo>
                    <a:pt x="11965" y="3950"/>
                  </a:lnTo>
                  <a:lnTo>
                    <a:pt x="11932" y="4017"/>
                  </a:lnTo>
                  <a:lnTo>
                    <a:pt x="11915" y="4049"/>
                  </a:lnTo>
                  <a:lnTo>
                    <a:pt x="11897" y="4077"/>
                  </a:lnTo>
                  <a:lnTo>
                    <a:pt x="11878" y="4102"/>
                  </a:lnTo>
                  <a:lnTo>
                    <a:pt x="11866" y="4112"/>
                  </a:lnTo>
                  <a:lnTo>
                    <a:pt x="11855" y="4120"/>
                  </a:lnTo>
                  <a:lnTo>
                    <a:pt x="11843" y="4127"/>
                  </a:lnTo>
                  <a:lnTo>
                    <a:pt x="11830" y="4132"/>
                  </a:lnTo>
                  <a:lnTo>
                    <a:pt x="11800" y="4136"/>
                  </a:lnTo>
                  <a:lnTo>
                    <a:pt x="11783" y="4135"/>
                  </a:lnTo>
                  <a:lnTo>
                    <a:pt x="11766" y="4131"/>
                  </a:lnTo>
                  <a:lnTo>
                    <a:pt x="11750" y="4126"/>
                  </a:lnTo>
                  <a:lnTo>
                    <a:pt x="11734" y="4120"/>
                  </a:lnTo>
                  <a:lnTo>
                    <a:pt x="11702" y="4109"/>
                  </a:lnTo>
                  <a:lnTo>
                    <a:pt x="11685" y="4106"/>
                  </a:lnTo>
                  <a:lnTo>
                    <a:pt x="11669" y="4104"/>
                  </a:lnTo>
                  <a:lnTo>
                    <a:pt x="11625" y="4108"/>
                  </a:lnTo>
                  <a:lnTo>
                    <a:pt x="11603" y="4112"/>
                  </a:lnTo>
                  <a:lnTo>
                    <a:pt x="11584" y="4118"/>
                  </a:lnTo>
                  <a:lnTo>
                    <a:pt x="11565" y="4127"/>
                  </a:lnTo>
                  <a:lnTo>
                    <a:pt x="11546" y="4136"/>
                  </a:lnTo>
                  <a:lnTo>
                    <a:pt x="11529" y="4148"/>
                  </a:lnTo>
                  <a:lnTo>
                    <a:pt x="11512" y="4161"/>
                  </a:lnTo>
                  <a:lnTo>
                    <a:pt x="11498" y="4175"/>
                  </a:lnTo>
                  <a:lnTo>
                    <a:pt x="11484" y="4190"/>
                  </a:lnTo>
                  <a:lnTo>
                    <a:pt x="11471" y="4208"/>
                  </a:lnTo>
                  <a:lnTo>
                    <a:pt x="11461" y="4226"/>
                  </a:lnTo>
                  <a:lnTo>
                    <a:pt x="11452" y="4245"/>
                  </a:lnTo>
                  <a:lnTo>
                    <a:pt x="11444" y="4265"/>
                  </a:lnTo>
                  <a:lnTo>
                    <a:pt x="11438" y="4286"/>
                  </a:lnTo>
                  <a:lnTo>
                    <a:pt x="11434" y="4309"/>
                  </a:lnTo>
                  <a:lnTo>
                    <a:pt x="12171" y="4309"/>
                  </a:lnTo>
                  <a:lnTo>
                    <a:pt x="12177" y="4305"/>
                  </a:lnTo>
                  <a:lnTo>
                    <a:pt x="12184" y="4304"/>
                  </a:lnTo>
                  <a:lnTo>
                    <a:pt x="12609" y="4304"/>
                  </a:lnTo>
                  <a:lnTo>
                    <a:pt x="12618" y="4271"/>
                  </a:lnTo>
                  <a:lnTo>
                    <a:pt x="12625" y="4239"/>
                  </a:lnTo>
                  <a:lnTo>
                    <a:pt x="12629" y="4204"/>
                  </a:lnTo>
                  <a:lnTo>
                    <a:pt x="12630" y="4171"/>
                  </a:lnTo>
                  <a:close/>
                  <a:moveTo>
                    <a:pt x="11425" y="3810"/>
                  </a:moveTo>
                  <a:lnTo>
                    <a:pt x="11524" y="3712"/>
                  </a:lnTo>
                  <a:lnTo>
                    <a:pt x="11532" y="3707"/>
                  </a:lnTo>
                  <a:lnTo>
                    <a:pt x="11539" y="3705"/>
                  </a:lnTo>
                  <a:lnTo>
                    <a:pt x="11547" y="3707"/>
                  </a:lnTo>
                  <a:lnTo>
                    <a:pt x="11553" y="3712"/>
                  </a:lnTo>
                  <a:lnTo>
                    <a:pt x="11557" y="3717"/>
                  </a:lnTo>
                  <a:lnTo>
                    <a:pt x="11558" y="3725"/>
                  </a:lnTo>
                  <a:lnTo>
                    <a:pt x="11557" y="3732"/>
                  </a:lnTo>
                  <a:lnTo>
                    <a:pt x="11553" y="3740"/>
                  </a:lnTo>
                  <a:lnTo>
                    <a:pt x="11426" y="3866"/>
                  </a:lnTo>
                  <a:lnTo>
                    <a:pt x="11425" y="3895"/>
                  </a:lnTo>
                  <a:lnTo>
                    <a:pt x="11460" y="3892"/>
                  </a:lnTo>
                  <a:lnTo>
                    <a:pt x="11494" y="3884"/>
                  </a:lnTo>
                  <a:lnTo>
                    <a:pt x="11528" y="3874"/>
                  </a:lnTo>
                  <a:lnTo>
                    <a:pt x="11558" y="3861"/>
                  </a:lnTo>
                  <a:lnTo>
                    <a:pt x="11589" y="3846"/>
                  </a:lnTo>
                  <a:lnTo>
                    <a:pt x="11617" y="3828"/>
                  </a:lnTo>
                  <a:lnTo>
                    <a:pt x="11643" y="3806"/>
                  </a:lnTo>
                  <a:lnTo>
                    <a:pt x="11667" y="3783"/>
                  </a:lnTo>
                  <a:lnTo>
                    <a:pt x="11689" y="3758"/>
                  </a:lnTo>
                  <a:lnTo>
                    <a:pt x="11710" y="3731"/>
                  </a:lnTo>
                  <a:lnTo>
                    <a:pt x="11726" y="3702"/>
                  </a:lnTo>
                  <a:lnTo>
                    <a:pt x="11741" y="3671"/>
                  </a:lnTo>
                  <a:lnTo>
                    <a:pt x="11752" y="3639"/>
                  </a:lnTo>
                  <a:lnTo>
                    <a:pt x="11761" y="3606"/>
                  </a:lnTo>
                  <a:lnTo>
                    <a:pt x="11766" y="3571"/>
                  </a:lnTo>
                  <a:lnTo>
                    <a:pt x="11767" y="3535"/>
                  </a:lnTo>
                  <a:lnTo>
                    <a:pt x="11765" y="3498"/>
                  </a:lnTo>
                  <a:lnTo>
                    <a:pt x="11760" y="3462"/>
                  </a:lnTo>
                  <a:lnTo>
                    <a:pt x="11751" y="3428"/>
                  </a:lnTo>
                  <a:lnTo>
                    <a:pt x="11739" y="3395"/>
                  </a:lnTo>
                  <a:lnTo>
                    <a:pt x="11724" y="3363"/>
                  </a:lnTo>
                  <a:lnTo>
                    <a:pt x="11706" y="3333"/>
                  </a:lnTo>
                  <a:lnTo>
                    <a:pt x="11684" y="3305"/>
                  </a:lnTo>
                  <a:lnTo>
                    <a:pt x="11661" y="3280"/>
                  </a:lnTo>
                  <a:lnTo>
                    <a:pt x="11635" y="3257"/>
                  </a:lnTo>
                  <a:lnTo>
                    <a:pt x="11608" y="3236"/>
                  </a:lnTo>
                  <a:lnTo>
                    <a:pt x="11578" y="3218"/>
                  </a:lnTo>
                  <a:lnTo>
                    <a:pt x="11547" y="3203"/>
                  </a:lnTo>
                  <a:lnTo>
                    <a:pt x="11530" y="3196"/>
                  </a:lnTo>
                  <a:lnTo>
                    <a:pt x="11514" y="3190"/>
                  </a:lnTo>
                  <a:lnTo>
                    <a:pt x="11479" y="3181"/>
                  </a:lnTo>
                  <a:lnTo>
                    <a:pt x="11443" y="3176"/>
                  </a:lnTo>
                  <a:lnTo>
                    <a:pt x="11406" y="3175"/>
                  </a:lnTo>
                  <a:lnTo>
                    <a:pt x="11369" y="3176"/>
                  </a:lnTo>
                  <a:lnTo>
                    <a:pt x="11333" y="3181"/>
                  </a:lnTo>
                  <a:lnTo>
                    <a:pt x="11298" y="3190"/>
                  </a:lnTo>
                  <a:lnTo>
                    <a:pt x="11265" y="3203"/>
                  </a:lnTo>
                  <a:lnTo>
                    <a:pt x="11233" y="3218"/>
                  </a:lnTo>
                  <a:lnTo>
                    <a:pt x="11203" y="3236"/>
                  </a:lnTo>
                  <a:lnTo>
                    <a:pt x="11175" y="3257"/>
                  </a:lnTo>
                  <a:lnTo>
                    <a:pt x="11149" y="3280"/>
                  </a:lnTo>
                  <a:lnTo>
                    <a:pt x="11126" y="3305"/>
                  </a:lnTo>
                  <a:lnTo>
                    <a:pt x="11106" y="3333"/>
                  </a:lnTo>
                  <a:lnTo>
                    <a:pt x="11088" y="3363"/>
                  </a:lnTo>
                  <a:lnTo>
                    <a:pt x="11072" y="3395"/>
                  </a:lnTo>
                  <a:lnTo>
                    <a:pt x="11066" y="3411"/>
                  </a:lnTo>
                  <a:lnTo>
                    <a:pt x="11060" y="3428"/>
                  </a:lnTo>
                  <a:lnTo>
                    <a:pt x="11051" y="3462"/>
                  </a:lnTo>
                  <a:lnTo>
                    <a:pt x="11046" y="3498"/>
                  </a:lnTo>
                  <a:lnTo>
                    <a:pt x="11044" y="3535"/>
                  </a:lnTo>
                  <a:lnTo>
                    <a:pt x="11046" y="3570"/>
                  </a:lnTo>
                  <a:lnTo>
                    <a:pt x="11051" y="3606"/>
                  </a:lnTo>
                  <a:lnTo>
                    <a:pt x="11060" y="3639"/>
                  </a:lnTo>
                  <a:lnTo>
                    <a:pt x="11070" y="3671"/>
                  </a:lnTo>
                  <a:lnTo>
                    <a:pt x="11085" y="3702"/>
                  </a:lnTo>
                  <a:lnTo>
                    <a:pt x="11102" y="3731"/>
                  </a:lnTo>
                  <a:lnTo>
                    <a:pt x="11121" y="3758"/>
                  </a:lnTo>
                  <a:lnTo>
                    <a:pt x="11143" y="3783"/>
                  </a:lnTo>
                  <a:lnTo>
                    <a:pt x="11167" y="3806"/>
                  </a:lnTo>
                  <a:lnTo>
                    <a:pt x="11193" y="3827"/>
                  </a:lnTo>
                  <a:lnTo>
                    <a:pt x="11221" y="3846"/>
                  </a:lnTo>
                  <a:lnTo>
                    <a:pt x="11252" y="3861"/>
                  </a:lnTo>
                  <a:lnTo>
                    <a:pt x="11283" y="3874"/>
                  </a:lnTo>
                  <a:lnTo>
                    <a:pt x="11316" y="3884"/>
                  </a:lnTo>
                  <a:lnTo>
                    <a:pt x="11349" y="3891"/>
                  </a:lnTo>
                  <a:lnTo>
                    <a:pt x="11385" y="3895"/>
                  </a:lnTo>
                  <a:lnTo>
                    <a:pt x="11385" y="3757"/>
                  </a:lnTo>
                  <a:lnTo>
                    <a:pt x="11258" y="3631"/>
                  </a:lnTo>
                  <a:lnTo>
                    <a:pt x="11253" y="3624"/>
                  </a:lnTo>
                  <a:lnTo>
                    <a:pt x="11252" y="3616"/>
                  </a:lnTo>
                  <a:lnTo>
                    <a:pt x="11255" y="3608"/>
                  </a:lnTo>
                  <a:lnTo>
                    <a:pt x="11258" y="3602"/>
                  </a:lnTo>
                  <a:lnTo>
                    <a:pt x="11265" y="3598"/>
                  </a:lnTo>
                  <a:lnTo>
                    <a:pt x="11271" y="3597"/>
                  </a:lnTo>
                  <a:lnTo>
                    <a:pt x="11279" y="3598"/>
                  </a:lnTo>
                  <a:lnTo>
                    <a:pt x="11287" y="3602"/>
                  </a:lnTo>
                  <a:lnTo>
                    <a:pt x="11385" y="3700"/>
                  </a:lnTo>
                  <a:lnTo>
                    <a:pt x="11385" y="3589"/>
                  </a:lnTo>
                  <a:lnTo>
                    <a:pt x="11385" y="3581"/>
                  </a:lnTo>
                  <a:lnTo>
                    <a:pt x="11385" y="3447"/>
                  </a:lnTo>
                  <a:lnTo>
                    <a:pt x="11387" y="3439"/>
                  </a:lnTo>
                  <a:lnTo>
                    <a:pt x="11392" y="3433"/>
                  </a:lnTo>
                  <a:lnTo>
                    <a:pt x="11398" y="3429"/>
                  </a:lnTo>
                  <a:lnTo>
                    <a:pt x="11405" y="3428"/>
                  </a:lnTo>
                  <a:lnTo>
                    <a:pt x="11412" y="3429"/>
                  </a:lnTo>
                  <a:lnTo>
                    <a:pt x="11419" y="3433"/>
                  </a:lnTo>
                  <a:lnTo>
                    <a:pt x="11424" y="3439"/>
                  </a:lnTo>
                  <a:lnTo>
                    <a:pt x="11425" y="3447"/>
                  </a:lnTo>
                  <a:lnTo>
                    <a:pt x="11425" y="3537"/>
                  </a:lnTo>
                  <a:lnTo>
                    <a:pt x="11517" y="3445"/>
                  </a:lnTo>
                  <a:lnTo>
                    <a:pt x="11525" y="3439"/>
                  </a:lnTo>
                  <a:lnTo>
                    <a:pt x="11533" y="3438"/>
                  </a:lnTo>
                  <a:lnTo>
                    <a:pt x="11541" y="3441"/>
                  </a:lnTo>
                  <a:lnTo>
                    <a:pt x="11546" y="3445"/>
                  </a:lnTo>
                  <a:lnTo>
                    <a:pt x="11551" y="3451"/>
                  </a:lnTo>
                  <a:lnTo>
                    <a:pt x="11552" y="3457"/>
                  </a:lnTo>
                  <a:lnTo>
                    <a:pt x="11551" y="3465"/>
                  </a:lnTo>
                  <a:lnTo>
                    <a:pt x="11546" y="3473"/>
                  </a:lnTo>
                  <a:lnTo>
                    <a:pt x="11425" y="3593"/>
                  </a:lnTo>
                  <a:lnTo>
                    <a:pt x="11425" y="3810"/>
                  </a:lnTo>
                  <a:close/>
                  <a:moveTo>
                    <a:pt x="11847" y="2875"/>
                  </a:moveTo>
                  <a:lnTo>
                    <a:pt x="11847" y="2753"/>
                  </a:lnTo>
                  <a:lnTo>
                    <a:pt x="11743" y="2650"/>
                  </a:lnTo>
                  <a:lnTo>
                    <a:pt x="11738" y="2643"/>
                  </a:lnTo>
                  <a:lnTo>
                    <a:pt x="11737" y="2635"/>
                  </a:lnTo>
                  <a:lnTo>
                    <a:pt x="11739" y="2627"/>
                  </a:lnTo>
                  <a:lnTo>
                    <a:pt x="11743" y="2622"/>
                  </a:lnTo>
                  <a:lnTo>
                    <a:pt x="11750" y="2617"/>
                  </a:lnTo>
                  <a:lnTo>
                    <a:pt x="11757" y="2616"/>
                  </a:lnTo>
                  <a:lnTo>
                    <a:pt x="11764" y="2617"/>
                  </a:lnTo>
                  <a:lnTo>
                    <a:pt x="11771" y="2622"/>
                  </a:lnTo>
                  <a:lnTo>
                    <a:pt x="11847" y="2696"/>
                  </a:lnTo>
                  <a:lnTo>
                    <a:pt x="11847" y="2643"/>
                  </a:lnTo>
                  <a:lnTo>
                    <a:pt x="11848" y="2634"/>
                  </a:lnTo>
                  <a:lnTo>
                    <a:pt x="11853" y="2627"/>
                  </a:lnTo>
                  <a:lnTo>
                    <a:pt x="11860" y="2624"/>
                  </a:lnTo>
                  <a:lnTo>
                    <a:pt x="11866" y="2622"/>
                  </a:lnTo>
                  <a:lnTo>
                    <a:pt x="11874" y="2624"/>
                  </a:lnTo>
                  <a:lnTo>
                    <a:pt x="11880" y="2627"/>
                  </a:lnTo>
                  <a:lnTo>
                    <a:pt x="11885" y="2634"/>
                  </a:lnTo>
                  <a:lnTo>
                    <a:pt x="11887" y="2643"/>
                  </a:lnTo>
                  <a:lnTo>
                    <a:pt x="11887" y="2741"/>
                  </a:lnTo>
                  <a:lnTo>
                    <a:pt x="11887" y="2748"/>
                  </a:lnTo>
                  <a:lnTo>
                    <a:pt x="11887" y="2831"/>
                  </a:lnTo>
                  <a:lnTo>
                    <a:pt x="12024" y="2693"/>
                  </a:lnTo>
                  <a:lnTo>
                    <a:pt x="12032" y="2688"/>
                  </a:lnTo>
                  <a:lnTo>
                    <a:pt x="12039" y="2686"/>
                  </a:lnTo>
                  <a:lnTo>
                    <a:pt x="12047" y="2689"/>
                  </a:lnTo>
                  <a:lnTo>
                    <a:pt x="12052" y="2693"/>
                  </a:lnTo>
                  <a:lnTo>
                    <a:pt x="12057" y="2699"/>
                  </a:lnTo>
                  <a:lnTo>
                    <a:pt x="12059" y="2707"/>
                  </a:lnTo>
                  <a:lnTo>
                    <a:pt x="12057" y="2714"/>
                  </a:lnTo>
                  <a:lnTo>
                    <a:pt x="12052" y="2721"/>
                  </a:lnTo>
                  <a:lnTo>
                    <a:pt x="11887" y="2887"/>
                  </a:lnTo>
                  <a:lnTo>
                    <a:pt x="11887" y="2960"/>
                  </a:lnTo>
                  <a:lnTo>
                    <a:pt x="11887" y="2968"/>
                  </a:lnTo>
                  <a:lnTo>
                    <a:pt x="11887" y="3172"/>
                  </a:lnTo>
                  <a:lnTo>
                    <a:pt x="11897" y="3164"/>
                  </a:lnTo>
                  <a:lnTo>
                    <a:pt x="11907" y="3156"/>
                  </a:lnTo>
                  <a:lnTo>
                    <a:pt x="11919" y="3147"/>
                  </a:lnTo>
                  <a:lnTo>
                    <a:pt x="11932" y="3138"/>
                  </a:lnTo>
                  <a:lnTo>
                    <a:pt x="11947" y="3130"/>
                  </a:lnTo>
                  <a:lnTo>
                    <a:pt x="11968" y="3126"/>
                  </a:lnTo>
                  <a:lnTo>
                    <a:pt x="11993" y="3125"/>
                  </a:lnTo>
                  <a:lnTo>
                    <a:pt x="12027" y="3129"/>
                  </a:lnTo>
                  <a:lnTo>
                    <a:pt x="12043" y="3131"/>
                  </a:lnTo>
                  <a:lnTo>
                    <a:pt x="12056" y="3131"/>
                  </a:lnTo>
                  <a:lnTo>
                    <a:pt x="12066" y="3129"/>
                  </a:lnTo>
                  <a:lnTo>
                    <a:pt x="12075" y="3125"/>
                  </a:lnTo>
                  <a:lnTo>
                    <a:pt x="12088" y="3112"/>
                  </a:lnTo>
                  <a:lnTo>
                    <a:pt x="12097" y="3097"/>
                  </a:lnTo>
                  <a:lnTo>
                    <a:pt x="12106" y="3078"/>
                  </a:lnTo>
                  <a:lnTo>
                    <a:pt x="12118" y="3058"/>
                  </a:lnTo>
                  <a:lnTo>
                    <a:pt x="12135" y="3040"/>
                  </a:lnTo>
                  <a:lnTo>
                    <a:pt x="12148" y="3033"/>
                  </a:lnTo>
                  <a:lnTo>
                    <a:pt x="12162" y="3026"/>
                  </a:lnTo>
                  <a:lnTo>
                    <a:pt x="12211" y="3012"/>
                  </a:lnTo>
                  <a:lnTo>
                    <a:pt x="12224" y="3007"/>
                  </a:lnTo>
                  <a:lnTo>
                    <a:pt x="12232" y="3001"/>
                  </a:lnTo>
                  <a:lnTo>
                    <a:pt x="12237" y="2992"/>
                  </a:lnTo>
                  <a:lnTo>
                    <a:pt x="12238" y="2978"/>
                  </a:lnTo>
                  <a:lnTo>
                    <a:pt x="12242" y="2928"/>
                  </a:lnTo>
                  <a:lnTo>
                    <a:pt x="12244" y="2911"/>
                  </a:lnTo>
                  <a:lnTo>
                    <a:pt x="12250" y="2897"/>
                  </a:lnTo>
                  <a:lnTo>
                    <a:pt x="12262" y="2875"/>
                  </a:lnTo>
                  <a:lnTo>
                    <a:pt x="12270" y="2868"/>
                  </a:lnTo>
                  <a:lnTo>
                    <a:pt x="12279" y="2860"/>
                  </a:lnTo>
                  <a:lnTo>
                    <a:pt x="12296" y="2847"/>
                  </a:lnTo>
                  <a:lnTo>
                    <a:pt x="12310" y="2836"/>
                  </a:lnTo>
                  <a:lnTo>
                    <a:pt x="12315" y="2828"/>
                  </a:lnTo>
                  <a:lnTo>
                    <a:pt x="12319" y="2821"/>
                  </a:lnTo>
                  <a:lnTo>
                    <a:pt x="12320" y="2812"/>
                  </a:lnTo>
                  <a:lnTo>
                    <a:pt x="12320" y="2801"/>
                  </a:lnTo>
                  <a:lnTo>
                    <a:pt x="12312" y="2773"/>
                  </a:lnTo>
                  <a:lnTo>
                    <a:pt x="12300" y="2743"/>
                  </a:lnTo>
                  <a:lnTo>
                    <a:pt x="12294" y="2727"/>
                  </a:lnTo>
                  <a:lnTo>
                    <a:pt x="12293" y="2711"/>
                  </a:lnTo>
                  <a:lnTo>
                    <a:pt x="12294" y="2693"/>
                  </a:lnTo>
                  <a:lnTo>
                    <a:pt x="12300" y="2676"/>
                  </a:lnTo>
                  <a:lnTo>
                    <a:pt x="12318" y="2629"/>
                  </a:lnTo>
                  <a:lnTo>
                    <a:pt x="12323" y="2616"/>
                  </a:lnTo>
                  <a:lnTo>
                    <a:pt x="12323" y="2606"/>
                  </a:lnTo>
                  <a:lnTo>
                    <a:pt x="12319" y="2598"/>
                  </a:lnTo>
                  <a:lnTo>
                    <a:pt x="12309" y="2588"/>
                  </a:lnTo>
                  <a:lnTo>
                    <a:pt x="12271" y="2553"/>
                  </a:lnTo>
                  <a:lnTo>
                    <a:pt x="12261" y="2540"/>
                  </a:lnTo>
                  <a:lnTo>
                    <a:pt x="12252" y="2529"/>
                  </a:lnTo>
                  <a:lnTo>
                    <a:pt x="12247" y="2516"/>
                  </a:lnTo>
                  <a:lnTo>
                    <a:pt x="12243" y="2505"/>
                  </a:lnTo>
                  <a:lnTo>
                    <a:pt x="12242" y="2483"/>
                  </a:lnTo>
                  <a:lnTo>
                    <a:pt x="12242" y="2461"/>
                  </a:lnTo>
                  <a:lnTo>
                    <a:pt x="12241" y="2443"/>
                  </a:lnTo>
                  <a:lnTo>
                    <a:pt x="12238" y="2434"/>
                  </a:lnTo>
                  <a:lnTo>
                    <a:pt x="12236" y="2427"/>
                  </a:lnTo>
                  <a:lnTo>
                    <a:pt x="12229" y="2419"/>
                  </a:lnTo>
                  <a:lnTo>
                    <a:pt x="12220" y="2413"/>
                  </a:lnTo>
                  <a:lnTo>
                    <a:pt x="12209" y="2406"/>
                  </a:lnTo>
                  <a:lnTo>
                    <a:pt x="12193" y="2401"/>
                  </a:lnTo>
                  <a:lnTo>
                    <a:pt x="12164" y="2393"/>
                  </a:lnTo>
                  <a:lnTo>
                    <a:pt x="12143" y="2384"/>
                  </a:lnTo>
                  <a:lnTo>
                    <a:pt x="12129" y="2376"/>
                  </a:lnTo>
                  <a:lnTo>
                    <a:pt x="12120" y="2365"/>
                  </a:lnTo>
                  <a:lnTo>
                    <a:pt x="12106" y="2340"/>
                  </a:lnTo>
                  <a:lnTo>
                    <a:pt x="12096" y="2322"/>
                  </a:lnTo>
                  <a:lnTo>
                    <a:pt x="12082" y="2301"/>
                  </a:lnTo>
                  <a:lnTo>
                    <a:pt x="12077" y="2295"/>
                  </a:lnTo>
                  <a:lnTo>
                    <a:pt x="12070" y="2291"/>
                  </a:lnTo>
                  <a:lnTo>
                    <a:pt x="12055" y="2287"/>
                  </a:lnTo>
                  <a:lnTo>
                    <a:pt x="12038" y="2289"/>
                  </a:lnTo>
                  <a:lnTo>
                    <a:pt x="12020" y="2292"/>
                  </a:lnTo>
                  <a:lnTo>
                    <a:pt x="12000" y="2296"/>
                  </a:lnTo>
                  <a:lnTo>
                    <a:pt x="11978" y="2296"/>
                  </a:lnTo>
                  <a:lnTo>
                    <a:pt x="11955" y="2292"/>
                  </a:lnTo>
                  <a:lnTo>
                    <a:pt x="11930" y="2281"/>
                  </a:lnTo>
                  <a:lnTo>
                    <a:pt x="11900" y="2259"/>
                  </a:lnTo>
                  <a:lnTo>
                    <a:pt x="11882" y="2248"/>
                  </a:lnTo>
                  <a:lnTo>
                    <a:pt x="11866" y="2244"/>
                  </a:lnTo>
                  <a:lnTo>
                    <a:pt x="11851" y="2246"/>
                  </a:lnTo>
                  <a:lnTo>
                    <a:pt x="11843" y="2250"/>
                  </a:lnTo>
                  <a:lnTo>
                    <a:pt x="11837" y="2254"/>
                  </a:lnTo>
                  <a:lnTo>
                    <a:pt x="11812" y="2276"/>
                  </a:lnTo>
                  <a:lnTo>
                    <a:pt x="11796" y="2286"/>
                  </a:lnTo>
                  <a:lnTo>
                    <a:pt x="11774" y="2294"/>
                  </a:lnTo>
                  <a:lnTo>
                    <a:pt x="11744" y="2295"/>
                  </a:lnTo>
                  <a:lnTo>
                    <a:pt x="11726" y="2294"/>
                  </a:lnTo>
                  <a:lnTo>
                    <a:pt x="11706" y="2291"/>
                  </a:lnTo>
                  <a:lnTo>
                    <a:pt x="11691" y="2289"/>
                  </a:lnTo>
                  <a:lnTo>
                    <a:pt x="11676" y="2289"/>
                  </a:lnTo>
                  <a:lnTo>
                    <a:pt x="11666" y="2291"/>
                  </a:lnTo>
                  <a:lnTo>
                    <a:pt x="11658" y="2295"/>
                  </a:lnTo>
                  <a:lnTo>
                    <a:pt x="11646" y="2308"/>
                  </a:lnTo>
                  <a:lnTo>
                    <a:pt x="11637" y="2324"/>
                  </a:lnTo>
                  <a:lnTo>
                    <a:pt x="11628" y="2342"/>
                  </a:lnTo>
                  <a:lnTo>
                    <a:pt x="11616" y="2361"/>
                  </a:lnTo>
                  <a:lnTo>
                    <a:pt x="11598" y="2379"/>
                  </a:lnTo>
                  <a:lnTo>
                    <a:pt x="11585" y="2387"/>
                  </a:lnTo>
                  <a:lnTo>
                    <a:pt x="11570" y="2393"/>
                  </a:lnTo>
                  <a:lnTo>
                    <a:pt x="11521" y="2409"/>
                  </a:lnTo>
                  <a:lnTo>
                    <a:pt x="11508" y="2414"/>
                  </a:lnTo>
                  <a:lnTo>
                    <a:pt x="11501" y="2419"/>
                  </a:lnTo>
                  <a:lnTo>
                    <a:pt x="11497" y="2428"/>
                  </a:lnTo>
                  <a:lnTo>
                    <a:pt x="11494" y="2442"/>
                  </a:lnTo>
                  <a:lnTo>
                    <a:pt x="11491" y="2492"/>
                  </a:lnTo>
                  <a:lnTo>
                    <a:pt x="11488" y="2509"/>
                  </a:lnTo>
                  <a:lnTo>
                    <a:pt x="11484" y="2523"/>
                  </a:lnTo>
                  <a:lnTo>
                    <a:pt x="11470" y="2544"/>
                  </a:lnTo>
                  <a:lnTo>
                    <a:pt x="11462" y="2552"/>
                  </a:lnTo>
                  <a:lnTo>
                    <a:pt x="11455" y="2560"/>
                  </a:lnTo>
                  <a:lnTo>
                    <a:pt x="11438" y="2572"/>
                  </a:lnTo>
                  <a:lnTo>
                    <a:pt x="11424" y="2585"/>
                  </a:lnTo>
                  <a:lnTo>
                    <a:pt x="11419" y="2592"/>
                  </a:lnTo>
                  <a:lnTo>
                    <a:pt x="11415" y="2599"/>
                  </a:lnTo>
                  <a:lnTo>
                    <a:pt x="11412" y="2608"/>
                  </a:lnTo>
                  <a:lnTo>
                    <a:pt x="11412" y="2620"/>
                  </a:lnTo>
                  <a:lnTo>
                    <a:pt x="11421" y="2647"/>
                  </a:lnTo>
                  <a:lnTo>
                    <a:pt x="11434" y="2677"/>
                  </a:lnTo>
                  <a:lnTo>
                    <a:pt x="11438" y="2694"/>
                  </a:lnTo>
                  <a:lnTo>
                    <a:pt x="11440" y="2711"/>
                  </a:lnTo>
                  <a:lnTo>
                    <a:pt x="11438" y="2732"/>
                  </a:lnTo>
                  <a:lnTo>
                    <a:pt x="11432" y="2751"/>
                  </a:lnTo>
                  <a:lnTo>
                    <a:pt x="11416" y="2782"/>
                  </a:lnTo>
                  <a:lnTo>
                    <a:pt x="11411" y="2797"/>
                  </a:lnTo>
                  <a:lnTo>
                    <a:pt x="11411" y="2805"/>
                  </a:lnTo>
                  <a:lnTo>
                    <a:pt x="11412" y="2812"/>
                  </a:lnTo>
                  <a:lnTo>
                    <a:pt x="11420" y="2828"/>
                  </a:lnTo>
                  <a:lnTo>
                    <a:pt x="11438" y="2847"/>
                  </a:lnTo>
                  <a:lnTo>
                    <a:pt x="11461" y="2868"/>
                  </a:lnTo>
                  <a:lnTo>
                    <a:pt x="11476" y="2884"/>
                  </a:lnTo>
                  <a:lnTo>
                    <a:pt x="11484" y="2899"/>
                  </a:lnTo>
                  <a:lnTo>
                    <a:pt x="11488" y="2911"/>
                  </a:lnTo>
                  <a:lnTo>
                    <a:pt x="11491" y="2941"/>
                  </a:lnTo>
                  <a:lnTo>
                    <a:pt x="11491" y="2960"/>
                  </a:lnTo>
                  <a:lnTo>
                    <a:pt x="11494" y="2985"/>
                  </a:lnTo>
                  <a:lnTo>
                    <a:pt x="11502" y="3000"/>
                  </a:lnTo>
                  <a:lnTo>
                    <a:pt x="11514" y="3010"/>
                  </a:lnTo>
                  <a:lnTo>
                    <a:pt x="11529" y="3015"/>
                  </a:lnTo>
                  <a:lnTo>
                    <a:pt x="11547" y="3020"/>
                  </a:lnTo>
                  <a:lnTo>
                    <a:pt x="11567" y="3026"/>
                  </a:lnTo>
                  <a:lnTo>
                    <a:pt x="11587" y="3034"/>
                  </a:lnTo>
                  <a:lnTo>
                    <a:pt x="11606" y="3048"/>
                  </a:lnTo>
                  <a:lnTo>
                    <a:pt x="11615" y="3057"/>
                  </a:lnTo>
                  <a:lnTo>
                    <a:pt x="11623" y="3069"/>
                  </a:lnTo>
                  <a:lnTo>
                    <a:pt x="11648" y="3112"/>
                  </a:lnTo>
                  <a:lnTo>
                    <a:pt x="11656" y="3124"/>
                  </a:lnTo>
                  <a:lnTo>
                    <a:pt x="11664" y="3130"/>
                  </a:lnTo>
                  <a:lnTo>
                    <a:pt x="11673" y="3133"/>
                  </a:lnTo>
                  <a:lnTo>
                    <a:pt x="11687" y="3131"/>
                  </a:lnTo>
                  <a:lnTo>
                    <a:pt x="11737" y="3124"/>
                  </a:lnTo>
                  <a:lnTo>
                    <a:pt x="11757" y="3124"/>
                  </a:lnTo>
                  <a:lnTo>
                    <a:pt x="11774" y="3126"/>
                  </a:lnTo>
                  <a:lnTo>
                    <a:pt x="11789" y="3131"/>
                  </a:lnTo>
                  <a:lnTo>
                    <a:pt x="11803" y="3139"/>
                  </a:lnTo>
                  <a:lnTo>
                    <a:pt x="11826" y="3156"/>
                  </a:lnTo>
                  <a:lnTo>
                    <a:pt x="11847" y="3171"/>
                  </a:lnTo>
                  <a:lnTo>
                    <a:pt x="11847" y="2973"/>
                  </a:lnTo>
                  <a:lnTo>
                    <a:pt x="11769" y="2895"/>
                  </a:lnTo>
                  <a:lnTo>
                    <a:pt x="11764" y="2887"/>
                  </a:lnTo>
                  <a:lnTo>
                    <a:pt x="11762" y="2879"/>
                  </a:lnTo>
                  <a:lnTo>
                    <a:pt x="11765" y="2873"/>
                  </a:lnTo>
                  <a:lnTo>
                    <a:pt x="11769" y="2867"/>
                  </a:lnTo>
                  <a:lnTo>
                    <a:pt x="11775" y="2863"/>
                  </a:lnTo>
                  <a:lnTo>
                    <a:pt x="11782" y="2860"/>
                  </a:lnTo>
                  <a:lnTo>
                    <a:pt x="11789" y="2861"/>
                  </a:lnTo>
                  <a:lnTo>
                    <a:pt x="11797" y="2867"/>
                  </a:lnTo>
                  <a:lnTo>
                    <a:pt x="11847" y="2916"/>
                  </a:lnTo>
                  <a:lnTo>
                    <a:pt x="11847" y="2882"/>
                  </a:lnTo>
                  <a:lnTo>
                    <a:pt x="11847" y="2875"/>
                  </a:lnTo>
                  <a:close/>
                  <a:moveTo>
                    <a:pt x="11887" y="2960"/>
                  </a:moveTo>
                  <a:lnTo>
                    <a:pt x="11887" y="2968"/>
                  </a:lnTo>
                  <a:lnTo>
                    <a:pt x="11887" y="2960"/>
                  </a:lnTo>
                  <a:close/>
                  <a:moveTo>
                    <a:pt x="11887" y="2741"/>
                  </a:moveTo>
                  <a:lnTo>
                    <a:pt x="11887" y="2748"/>
                  </a:lnTo>
                  <a:lnTo>
                    <a:pt x="11887" y="2741"/>
                  </a:lnTo>
                  <a:close/>
                  <a:moveTo>
                    <a:pt x="11847" y="2882"/>
                  </a:moveTo>
                  <a:lnTo>
                    <a:pt x="11847" y="2875"/>
                  </a:lnTo>
                  <a:lnTo>
                    <a:pt x="11847" y="2882"/>
                  </a:lnTo>
                  <a:close/>
                  <a:moveTo>
                    <a:pt x="9740" y="1741"/>
                  </a:moveTo>
                  <a:lnTo>
                    <a:pt x="9740" y="1619"/>
                  </a:lnTo>
                  <a:lnTo>
                    <a:pt x="9741" y="1611"/>
                  </a:lnTo>
                  <a:lnTo>
                    <a:pt x="9747" y="1604"/>
                  </a:lnTo>
                  <a:lnTo>
                    <a:pt x="9753" y="1601"/>
                  </a:lnTo>
                  <a:lnTo>
                    <a:pt x="9761" y="1599"/>
                  </a:lnTo>
                  <a:lnTo>
                    <a:pt x="10006" y="1599"/>
                  </a:lnTo>
                  <a:lnTo>
                    <a:pt x="10013" y="1601"/>
                  </a:lnTo>
                  <a:lnTo>
                    <a:pt x="10020" y="1604"/>
                  </a:lnTo>
                  <a:lnTo>
                    <a:pt x="10024" y="1611"/>
                  </a:lnTo>
                  <a:lnTo>
                    <a:pt x="10026" y="1619"/>
                  </a:lnTo>
                  <a:lnTo>
                    <a:pt x="10026" y="1741"/>
                  </a:lnTo>
                  <a:lnTo>
                    <a:pt x="10978" y="1741"/>
                  </a:lnTo>
                  <a:lnTo>
                    <a:pt x="10987" y="1744"/>
                  </a:lnTo>
                  <a:lnTo>
                    <a:pt x="10994" y="1749"/>
                  </a:lnTo>
                  <a:lnTo>
                    <a:pt x="11211" y="2048"/>
                  </a:lnTo>
                  <a:lnTo>
                    <a:pt x="11235" y="2048"/>
                  </a:lnTo>
                  <a:lnTo>
                    <a:pt x="11242" y="2051"/>
                  </a:lnTo>
                  <a:lnTo>
                    <a:pt x="11248" y="2055"/>
                  </a:lnTo>
                  <a:lnTo>
                    <a:pt x="11253" y="2061"/>
                  </a:lnTo>
                  <a:lnTo>
                    <a:pt x="11255" y="2069"/>
                  </a:lnTo>
                  <a:lnTo>
                    <a:pt x="11255" y="2241"/>
                  </a:lnTo>
                  <a:lnTo>
                    <a:pt x="11253" y="2249"/>
                  </a:lnTo>
                  <a:lnTo>
                    <a:pt x="11248" y="2255"/>
                  </a:lnTo>
                  <a:lnTo>
                    <a:pt x="11242" y="2260"/>
                  </a:lnTo>
                  <a:lnTo>
                    <a:pt x="11235" y="2262"/>
                  </a:lnTo>
                  <a:lnTo>
                    <a:pt x="11224" y="2262"/>
                  </a:lnTo>
                  <a:lnTo>
                    <a:pt x="11224" y="3107"/>
                  </a:lnTo>
                  <a:lnTo>
                    <a:pt x="11223" y="3116"/>
                  </a:lnTo>
                  <a:lnTo>
                    <a:pt x="11217" y="3122"/>
                  </a:lnTo>
                  <a:lnTo>
                    <a:pt x="11211" y="3126"/>
                  </a:lnTo>
                  <a:lnTo>
                    <a:pt x="11205" y="3127"/>
                  </a:lnTo>
                  <a:lnTo>
                    <a:pt x="11197" y="3126"/>
                  </a:lnTo>
                  <a:lnTo>
                    <a:pt x="11190" y="3122"/>
                  </a:lnTo>
                  <a:lnTo>
                    <a:pt x="11185" y="3116"/>
                  </a:lnTo>
                  <a:lnTo>
                    <a:pt x="11184" y="3107"/>
                  </a:lnTo>
                  <a:lnTo>
                    <a:pt x="11184" y="2262"/>
                  </a:lnTo>
                  <a:lnTo>
                    <a:pt x="10285" y="2262"/>
                  </a:lnTo>
                  <a:lnTo>
                    <a:pt x="9388" y="2262"/>
                  </a:lnTo>
                  <a:lnTo>
                    <a:pt x="9388" y="3282"/>
                  </a:lnTo>
                  <a:lnTo>
                    <a:pt x="9388" y="4304"/>
                  </a:lnTo>
                  <a:lnTo>
                    <a:pt x="10285" y="4304"/>
                  </a:lnTo>
                  <a:lnTo>
                    <a:pt x="11184" y="4304"/>
                  </a:lnTo>
                  <a:lnTo>
                    <a:pt x="11184" y="3976"/>
                  </a:lnTo>
                  <a:lnTo>
                    <a:pt x="11185" y="3969"/>
                  </a:lnTo>
                  <a:lnTo>
                    <a:pt x="11190" y="3962"/>
                  </a:lnTo>
                  <a:lnTo>
                    <a:pt x="11197" y="3959"/>
                  </a:lnTo>
                  <a:lnTo>
                    <a:pt x="11205" y="3957"/>
                  </a:lnTo>
                  <a:lnTo>
                    <a:pt x="11211" y="3959"/>
                  </a:lnTo>
                  <a:lnTo>
                    <a:pt x="11217" y="3962"/>
                  </a:lnTo>
                  <a:lnTo>
                    <a:pt x="11223" y="3969"/>
                  </a:lnTo>
                  <a:lnTo>
                    <a:pt x="11224" y="3976"/>
                  </a:lnTo>
                  <a:lnTo>
                    <a:pt x="11224" y="4324"/>
                  </a:lnTo>
                  <a:lnTo>
                    <a:pt x="11223" y="4332"/>
                  </a:lnTo>
                  <a:lnTo>
                    <a:pt x="11217" y="4338"/>
                  </a:lnTo>
                  <a:lnTo>
                    <a:pt x="11211" y="4342"/>
                  </a:lnTo>
                  <a:lnTo>
                    <a:pt x="11205" y="4343"/>
                  </a:lnTo>
                  <a:lnTo>
                    <a:pt x="10285" y="4343"/>
                  </a:lnTo>
                  <a:lnTo>
                    <a:pt x="9367" y="4343"/>
                  </a:lnTo>
                  <a:lnTo>
                    <a:pt x="9361" y="4342"/>
                  </a:lnTo>
                  <a:lnTo>
                    <a:pt x="9354" y="4338"/>
                  </a:lnTo>
                  <a:lnTo>
                    <a:pt x="9349" y="4332"/>
                  </a:lnTo>
                  <a:lnTo>
                    <a:pt x="9348" y="4324"/>
                  </a:lnTo>
                  <a:lnTo>
                    <a:pt x="9348" y="3808"/>
                  </a:lnTo>
                  <a:lnTo>
                    <a:pt x="9348" y="3292"/>
                  </a:lnTo>
                  <a:lnTo>
                    <a:pt x="9348" y="2777"/>
                  </a:lnTo>
                  <a:lnTo>
                    <a:pt x="9348" y="2262"/>
                  </a:lnTo>
                  <a:lnTo>
                    <a:pt x="9336" y="2262"/>
                  </a:lnTo>
                  <a:lnTo>
                    <a:pt x="9329" y="2260"/>
                  </a:lnTo>
                  <a:lnTo>
                    <a:pt x="9322" y="2255"/>
                  </a:lnTo>
                  <a:lnTo>
                    <a:pt x="9318" y="2249"/>
                  </a:lnTo>
                  <a:lnTo>
                    <a:pt x="9317" y="2241"/>
                  </a:lnTo>
                  <a:lnTo>
                    <a:pt x="9317" y="2069"/>
                  </a:lnTo>
                  <a:lnTo>
                    <a:pt x="9318" y="2061"/>
                  </a:lnTo>
                  <a:lnTo>
                    <a:pt x="9322" y="2055"/>
                  </a:lnTo>
                  <a:lnTo>
                    <a:pt x="9329" y="2051"/>
                  </a:lnTo>
                  <a:lnTo>
                    <a:pt x="9336" y="2048"/>
                  </a:lnTo>
                  <a:lnTo>
                    <a:pt x="9364" y="2048"/>
                  </a:lnTo>
                  <a:lnTo>
                    <a:pt x="9581" y="1749"/>
                  </a:lnTo>
                  <a:lnTo>
                    <a:pt x="9589" y="1744"/>
                  </a:lnTo>
                  <a:lnTo>
                    <a:pt x="9598" y="1741"/>
                  </a:lnTo>
                  <a:lnTo>
                    <a:pt x="9740" y="1741"/>
                  </a:lnTo>
                  <a:close/>
                  <a:moveTo>
                    <a:pt x="9985" y="1741"/>
                  </a:moveTo>
                  <a:lnTo>
                    <a:pt x="9985" y="1639"/>
                  </a:lnTo>
                  <a:lnTo>
                    <a:pt x="9780" y="1639"/>
                  </a:lnTo>
                  <a:lnTo>
                    <a:pt x="9780" y="1741"/>
                  </a:lnTo>
                  <a:lnTo>
                    <a:pt x="9799" y="1741"/>
                  </a:lnTo>
                  <a:lnTo>
                    <a:pt x="9808" y="1743"/>
                  </a:lnTo>
                  <a:lnTo>
                    <a:pt x="9815" y="1748"/>
                  </a:lnTo>
                  <a:lnTo>
                    <a:pt x="9818" y="1754"/>
                  </a:lnTo>
                  <a:lnTo>
                    <a:pt x="9820" y="1762"/>
                  </a:lnTo>
                  <a:lnTo>
                    <a:pt x="9818" y="1768"/>
                  </a:lnTo>
                  <a:lnTo>
                    <a:pt x="9815" y="1775"/>
                  </a:lnTo>
                  <a:lnTo>
                    <a:pt x="9808" y="1780"/>
                  </a:lnTo>
                  <a:lnTo>
                    <a:pt x="9799" y="1781"/>
                  </a:lnTo>
                  <a:lnTo>
                    <a:pt x="9607" y="1781"/>
                  </a:lnTo>
                  <a:lnTo>
                    <a:pt x="9413" y="2048"/>
                  </a:lnTo>
                  <a:lnTo>
                    <a:pt x="10288" y="2048"/>
                  </a:lnTo>
                  <a:lnTo>
                    <a:pt x="11162" y="2048"/>
                  </a:lnTo>
                  <a:lnTo>
                    <a:pt x="10967" y="1781"/>
                  </a:lnTo>
                  <a:lnTo>
                    <a:pt x="9953" y="1781"/>
                  </a:lnTo>
                  <a:lnTo>
                    <a:pt x="9944" y="1780"/>
                  </a:lnTo>
                  <a:lnTo>
                    <a:pt x="9938" y="1775"/>
                  </a:lnTo>
                  <a:lnTo>
                    <a:pt x="9934" y="1768"/>
                  </a:lnTo>
                  <a:lnTo>
                    <a:pt x="9933" y="1762"/>
                  </a:lnTo>
                  <a:lnTo>
                    <a:pt x="9934" y="1754"/>
                  </a:lnTo>
                  <a:lnTo>
                    <a:pt x="9938" y="1748"/>
                  </a:lnTo>
                  <a:lnTo>
                    <a:pt x="9944" y="1743"/>
                  </a:lnTo>
                  <a:lnTo>
                    <a:pt x="9953" y="1741"/>
                  </a:lnTo>
                  <a:lnTo>
                    <a:pt x="9985" y="1741"/>
                  </a:lnTo>
                  <a:close/>
                  <a:moveTo>
                    <a:pt x="9372" y="2089"/>
                  </a:moveTo>
                  <a:lnTo>
                    <a:pt x="9357" y="2089"/>
                  </a:lnTo>
                  <a:lnTo>
                    <a:pt x="9357" y="2222"/>
                  </a:lnTo>
                  <a:lnTo>
                    <a:pt x="10285" y="2222"/>
                  </a:lnTo>
                  <a:lnTo>
                    <a:pt x="11215" y="2222"/>
                  </a:lnTo>
                  <a:lnTo>
                    <a:pt x="11215" y="2089"/>
                  </a:lnTo>
                  <a:lnTo>
                    <a:pt x="11205" y="2089"/>
                  </a:lnTo>
                  <a:lnTo>
                    <a:pt x="11198" y="2089"/>
                  </a:lnTo>
                  <a:lnTo>
                    <a:pt x="10288" y="2089"/>
                  </a:lnTo>
                  <a:lnTo>
                    <a:pt x="9379" y="2089"/>
                  </a:lnTo>
                  <a:lnTo>
                    <a:pt x="9372" y="2089"/>
                  </a:lnTo>
                  <a:close/>
                  <a:moveTo>
                    <a:pt x="11205" y="2089"/>
                  </a:moveTo>
                  <a:lnTo>
                    <a:pt x="11198" y="2089"/>
                  </a:lnTo>
                  <a:lnTo>
                    <a:pt x="11205" y="2089"/>
                  </a:lnTo>
                  <a:close/>
                  <a:moveTo>
                    <a:pt x="9379" y="2089"/>
                  </a:moveTo>
                  <a:lnTo>
                    <a:pt x="9372" y="2089"/>
                  </a:lnTo>
                  <a:lnTo>
                    <a:pt x="9379" y="2089"/>
                  </a:lnTo>
                  <a:close/>
                  <a:moveTo>
                    <a:pt x="11106" y="1136"/>
                  </a:moveTo>
                  <a:lnTo>
                    <a:pt x="11083" y="1126"/>
                  </a:lnTo>
                  <a:lnTo>
                    <a:pt x="11056" y="1122"/>
                  </a:lnTo>
                  <a:lnTo>
                    <a:pt x="11035" y="1125"/>
                  </a:lnTo>
                  <a:lnTo>
                    <a:pt x="11017" y="1130"/>
                  </a:lnTo>
                  <a:lnTo>
                    <a:pt x="10999" y="1140"/>
                  </a:lnTo>
                  <a:lnTo>
                    <a:pt x="10985" y="1152"/>
                  </a:lnTo>
                  <a:lnTo>
                    <a:pt x="10972" y="1167"/>
                  </a:lnTo>
                  <a:lnTo>
                    <a:pt x="10963" y="1185"/>
                  </a:lnTo>
                  <a:lnTo>
                    <a:pt x="10957" y="1204"/>
                  </a:lnTo>
                  <a:lnTo>
                    <a:pt x="10956" y="1225"/>
                  </a:lnTo>
                  <a:lnTo>
                    <a:pt x="10958" y="1246"/>
                  </a:lnTo>
                  <a:lnTo>
                    <a:pt x="11683" y="1245"/>
                  </a:lnTo>
                  <a:lnTo>
                    <a:pt x="11683" y="1227"/>
                  </a:lnTo>
                  <a:lnTo>
                    <a:pt x="11682" y="1208"/>
                  </a:lnTo>
                  <a:lnTo>
                    <a:pt x="11675" y="1190"/>
                  </a:lnTo>
                  <a:lnTo>
                    <a:pt x="11666" y="1174"/>
                  </a:lnTo>
                  <a:lnTo>
                    <a:pt x="11653" y="1159"/>
                  </a:lnTo>
                  <a:lnTo>
                    <a:pt x="11647" y="1153"/>
                  </a:lnTo>
                  <a:lnTo>
                    <a:pt x="11639" y="1148"/>
                  </a:lnTo>
                  <a:lnTo>
                    <a:pt x="11621" y="1139"/>
                  </a:lnTo>
                  <a:lnTo>
                    <a:pt x="11603" y="1133"/>
                  </a:lnTo>
                  <a:lnTo>
                    <a:pt x="11583" y="1131"/>
                  </a:lnTo>
                  <a:lnTo>
                    <a:pt x="11558" y="1134"/>
                  </a:lnTo>
                  <a:lnTo>
                    <a:pt x="11542" y="1138"/>
                  </a:lnTo>
                  <a:lnTo>
                    <a:pt x="11523" y="1139"/>
                  </a:lnTo>
                  <a:lnTo>
                    <a:pt x="11489" y="1133"/>
                  </a:lnTo>
                  <a:lnTo>
                    <a:pt x="11489" y="1113"/>
                  </a:lnTo>
                  <a:lnTo>
                    <a:pt x="11487" y="1096"/>
                  </a:lnTo>
                  <a:lnTo>
                    <a:pt x="11482" y="1078"/>
                  </a:lnTo>
                  <a:lnTo>
                    <a:pt x="11476" y="1061"/>
                  </a:lnTo>
                  <a:lnTo>
                    <a:pt x="11469" y="1044"/>
                  </a:lnTo>
                  <a:lnTo>
                    <a:pt x="11460" y="1030"/>
                  </a:lnTo>
                  <a:lnTo>
                    <a:pt x="11451" y="1016"/>
                  </a:lnTo>
                  <a:lnTo>
                    <a:pt x="11439" y="1002"/>
                  </a:lnTo>
                  <a:lnTo>
                    <a:pt x="11412" y="980"/>
                  </a:lnTo>
                  <a:lnTo>
                    <a:pt x="11383" y="964"/>
                  </a:lnTo>
                  <a:lnTo>
                    <a:pt x="11366" y="957"/>
                  </a:lnTo>
                  <a:lnTo>
                    <a:pt x="11349" y="954"/>
                  </a:lnTo>
                  <a:lnTo>
                    <a:pt x="11312" y="950"/>
                  </a:lnTo>
                  <a:lnTo>
                    <a:pt x="11278" y="954"/>
                  </a:lnTo>
                  <a:lnTo>
                    <a:pt x="11261" y="957"/>
                  </a:lnTo>
                  <a:lnTo>
                    <a:pt x="11246" y="963"/>
                  </a:lnTo>
                  <a:lnTo>
                    <a:pt x="11230" y="970"/>
                  </a:lnTo>
                  <a:lnTo>
                    <a:pt x="11216" y="978"/>
                  </a:lnTo>
                  <a:lnTo>
                    <a:pt x="11190" y="998"/>
                  </a:lnTo>
                  <a:lnTo>
                    <a:pt x="11170" y="1024"/>
                  </a:lnTo>
                  <a:lnTo>
                    <a:pt x="11153" y="1053"/>
                  </a:lnTo>
                  <a:lnTo>
                    <a:pt x="11147" y="1069"/>
                  </a:lnTo>
                  <a:lnTo>
                    <a:pt x="11142" y="1085"/>
                  </a:lnTo>
                  <a:lnTo>
                    <a:pt x="11138" y="1102"/>
                  </a:lnTo>
                  <a:lnTo>
                    <a:pt x="11137" y="1120"/>
                  </a:lnTo>
                  <a:lnTo>
                    <a:pt x="11134" y="1131"/>
                  </a:lnTo>
                  <a:lnTo>
                    <a:pt x="11126" y="1138"/>
                  </a:lnTo>
                  <a:lnTo>
                    <a:pt x="11122" y="1139"/>
                  </a:lnTo>
                  <a:lnTo>
                    <a:pt x="11117" y="1140"/>
                  </a:lnTo>
                  <a:lnTo>
                    <a:pt x="11106" y="1136"/>
                  </a:lnTo>
                  <a:close/>
                  <a:moveTo>
                    <a:pt x="11528" y="1106"/>
                  </a:moveTo>
                  <a:lnTo>
                    <a:pt x="11539" y="1098"/>
                  </a:lnTo>
                  <a:lnTo>
                    <a:pt x="11555" y="1094"/>
                  </a:lnTo>
                  <a:lnTo>
                    <a:pt x="11583" y="1090"/>
                  </a:lnTo>
                  <a:lnTo>
                    <a:pt x="11611" y="1094"/>
                  </a:lnTo>
                  <a:lnTo>
                    <a:pt x="11624" y="1097"/>
                  </a:lnTo>
                  <a:lnTo>
                    <a:pt x="11637" y="1102"/>
                  </a:lnTo>
                  <a:lnTo>
                    <a:pt x="11660" y="1115"/>
                  </a:lnTo>
                  <a:lnTo>
                    <a:pt x="11682" y="1131"/>
                  </a:lnTo>
                  <a:lnTo>
                    <a:pt x="11698" y="1151"/>
                  </a:lnTo>
                  <a:lnTo>
                    <a:pt x="11712" y="1174"/>
                  </a:lnTo>
                  <a:lnTo>
                    <a:pt x="11720" y="1199"/>
                  </a:lnTo>
                  <a:lnTo>
                    <a:pt x="11723" y="1213"/>
                  </a:lnTo>
                  <a:lnTo>
                    <a:pt x="11723" y="1227"/>
                  </a:lnTo>
                  <a:lnTo>
                    <a:pt x="11723" y="1243"/>
                  </a:lnTo>
                  <a:lnTo>
                    <a:pt x="11721" y="1262"/>
                  </a:lnTo>
                  <a:lnTo>
                    <a:pt x="11714" y="1278"/>
                  </a:lnTo>
                  <a:lnTo>
                    <a:pt x="11707" y="1284"/>
                  </a:lnTo>
                  <a:lnTo>
                    <a:pt x="11700" y="1285"/>
                  </a:lnTo>
                  <a:lnTo>
                    <a:pt x="10943" y="1286"/>
                  </a:lnTo>
                  <a:lnTo>
                    <a:pt x="10934" y="1285"/>
                  </a:lnTo>
                  <a:lnTo>
                    <a:pt x="10928" y="1280"/>
                  </a:lnTo>
                  <a:lnTo>
                    <a:pt x="10924" y="1271"/>
                  </a:lnTo>
                  <a:lnTo>
                    <a:pt x="10920" y="1262"/>
                  </a:lnTo>
                  <a:lnTo>
                    <a:pt x="10916" y="1240"/>
                  </a:lnTo>
                  <a:lnTo>
                    <a:pt x="10915" y="1225"/>
                  </a:lnTo>
                  <a:lnTo>
                    <a:pt x="10919" y="1197"/>
                  </a:lnTo>
                  <a:lnTo>
                    <a:pt x="10926" y="1170"/>
                  </a:lnTo>
                  <a:lnTo>
                    <a:pt x="10939" y="1145"/>
                  </a:lnTo>
                  <a:lnTo>
                    <a:pt x="10956" y="1125"/>
                  </a:lnTo>
                  <a:lnTo>
                    <a:pt x="10978" y="1107"/>
                  </a:lnTo>
                  <a:lnTo>
                    <a:pt x="10989" y="1099"/>
                  </a:lnTo>
                  <a:lnTo>
                    <a:pt x="11001" y="1094"/>
                  </a:lnTo>
                  <a:lnTo>
                    <a:pt x="11028" y="1085"/>
                  </a:lnTo>
                  <a:lnTo>
                    <a:pt x="11042" y="1083"/>
                  </a:lnTo>
                  <a:lnTo>
                    <a:pt x="11056" y="1083"/>
                  </a:lnTo>
                  <a:lnTo>
                    <a:pt x="11079" y="1084"/>
                  </a:lnTo>
                  <a:lnTo>
                    <a:pt x="11101" y="1089"/>
                  </a:lnTo>
                  <a:lnTo>
                    <a:pt x="11110" y="1052"/>
                  </a:lnTo>
                  <a:lnTo>
                    <a:pt x="11126" y="1019"/>
                  </a:lnTo>
                  <a:lnTo>
                    <a:pt x="11147" y="988"/>
                  </a:lnTo>
                  <a:lnTo>
                    <a:pt x="11173" y="961"/>
                  </a:lnTo>
                  <a:lnTo>
                    <a:pt x="11202" y="940"/>
                  </a:lnTo>
                  <a:lnTo>
                    <a:pt x="11237" y="923"/>
                  </a:lnTo>
                  <a:lnTo>
                    <a:pt x="11274" y="913"/>
                  </a:lnTo>
                  <a:lnTo>
                    <a:pt x="11312" y="910"/>
                  </a:lnTo>
                  <a:lnTo>
                    <a:pt x="11355" y="914"/>
                  </a:lnTo>
                  <a:lnTo>
                    <a:pt x="11374" y="918"/>
                  </a:lnTo>
                  <a:lnTo>
                    <a:pt x="11393" y="925"/>
                  </a:lnTo>
                  <a:lnTo>
                    <a:pt x="11428" y="942"/>
                  </a:lnTo>
                  <a:lnTo>
                    <a:pt x="11444" y="954"/>
                  </a:lnTo>
                  <a:lnTo>
                    <a:pt x="11458" y="966"/>
                  </a:lnTo>
                  <a:lnTo>
                    <a:pt x="11473" y="980"/>
                  </a:lnTo>
                  <a:lnTo>
                    <a:pt x="11485" y="996"/>
                  </a:lnTo>
                  <a:lnTo>
                    <a:pt x="11506" y="1029"/>
                  </a:lnTo>
                  <a:lnTo>
                    <a:pt x="11514" y="1047"/>
                  </a:lnTo>
                  <a:lnTo>
                    <a:pt x="11520" y="1066"/>
                  </a:lnTo>
                  <a:lnTo>
                    <a:pt x="11525" y="1085"/>
                  </a:lnTo>
                  <a:lnTo>
                    <a:pt x="11528" y="1106"/>
                  </a:lnTo>
                  <a:close/>
                  <a:moveTo>
                    <a:pt x="13515" y="644"/>
                  </a:moveTo>
                  <a:lnTo>
                    <a:pt x="13404" y="644"/>
                  </a:lnTo>
                  <a:lnTo>
                    <a:pt x="13404" y="754"/>
                  </a:lnTo>
                  <a:lnTo>
                    <a:pt x="13515" y="754"/>
                  </a:lnTo>
                  <a:lnTo>
                    <a:pt x="13515" y="644"/>
                  </a:lnTo>
                  <a:close/>
                  <a:moveTo>
                    <a:pt x="13534" y="605"/>
                  </a:moveTo>
                  <a:lnTo>
                    <a:pt x="13542" y="606"/>
                  </a:lnTo>
                  <a:lnTo>
                    <a:pt x="13549" y="611"/>
                  </a:lnTo>
                  <a:lnTo>
                    <a:pt x="13552" y="617"/>
                  </a:lnTo>
                  <a:lnTo>
                    <a:pt x="13555" y="624"/>
                  </a:lnTo>
                  <a:lnTo>
                    <a:pt x="13555" y="754"/>
                  </a:lnTo>
                  <a:lnTo>
                    <a:pt x="14078" y="754"/>
                  </a:lnTo>
                  <a:lnTo>
                    <a:pt x="14086" y="757"/>
                  </a:lnTo>
                  <a:lnTo>
                    <a:pt x="14092" y="761"/>
                  </a:lnTo>
                  <a:lnTo>
                    <a:pt x="14097" y="767"/>
                  </a:lnTo>
                  <a:lnTo>
                    <a:pt x="14099" y="775"/>
                  </a:lnTo>
                  <a:lnTo>
                    <a:pt x="14099" y="1471"/>
                  </a:lnTo>
                  <a:lnTo>
                    <a:pt x="14099" y="2170"/>
                  </a:lnTo>
                  <a:lnTo>
                    <a:pt x="14097" y="2177"/>
                  </a:lnTo>
                  <a:lnTo>
                    <a:pt x="14092" y="2184"/>
                  </a:lnTo>
                  <a:lnTo>
                    <a:pt x="14086" y="2188"/>
                  </a:lnTo>
                  <a:lnTo>
                    <a:pt x="14078" y="2189"/>
                  </a:lnTo>
                  <a:lnTo>
                    <a:pt x="14072" y="2188"/>
                  </a:lnTo>
                  <a:lnTo>
                    <a:pt x="14065" y="2184"/>
                  </a:lnTo>
                  <a:lnTo>
                    <a:pt x="14060" y="2177"/>
                  </a:lnTo>
                  <a:lnTo>
                    <a:pt x="14059" y="2170"/>
                  </a:lnTo>
                  <a:lnTo>
                    <a:pt x="14059" y="1482"/>
                  </a:lnTo>
                  <a:lnTo>
                    <a:pt x="14059" y="795"/>
                  </a:lnTo>
                  <a:lnTo>
                    <a:pt x="13534" y="795"/>
                  </a:lnTo>
                  <a:lnTo>
                    <a:pt x="13384" y="795"/>
                  </a:lnTo>
                  <a:lnTo>
                    <a:pt x="13150" y="795"/>
                  </a:lnTo>
                  <a:lnTo>
                    <a:pt x="13141" y="793"/>
                  </a:lnTo>
                  <a:lnTo>
                    <a:pt x="13134" y="789"/>
                  </a:lnTo>
                  <a:lnTo>
                    <a:pt x="13131" y="782"/>
                  </a:lnTo>
                  <a:lnTo>
                    <a:pt x="13129" y="775"/>
                  </a:lnTo>
                  <a:lnTo>
                    <a:pt x="13131" y="767"/>
                  </a:lnTo>
                  <a:lnTo>
                    <a:pt x="13134" y="761"/>
                  </a:lnTo>
                  <a:lnTo>
                    <a:pt x="13141" y="757"/>
                  </a:lnTo>
                  <a:lnTo>
                    <a:pt x="13150" y="754"/>
                  </a:lnTo>
                  <a:lnTo>
                    <a:pt x="13201" y="754"/>
                  </a:lnTo>
                  <a:lnTo>
                    <a:pt x="13201" y="612"/>
                  </a:lnTo>
                  <a:lnTo>
                    <a:pt x="12798" y="612"/>
                  </a:lnTo>
                  <a:lnTo>
                    <a:pt x="12798" y="754"/>
                  </a:lnTo>
                  <a:lnTo>
                    <a:pt x="12852" y="754"/>
                  </a:lnTo>
                  <a:lnTo>
                    <a:pt x="12861" y="757"/>
                  </a:lnTo>
                  <a:lnTo>
                    <a:pt x="12868" y="761"/>
                  </a:lnTo>
                  <a:lnTo>
                    <a:pt x="12872" y="767"/>
                  </a:lnTo>
                  <a:lnTo>
                    <a:pt x="12873" y="775"/>
                  </a:lnTo>
                  <a:lnTo>
                    <a:pt x="12872" y="782"/>
                  </a:lnTo>
                  <a:lnTo>
                    <a:pt x="12868" y="789"/>
                  </a:lnTo>
                  <a:lnTo>
                    <a:pt x="12861" y="793"/>
                  </a:lnTo>
                  <a:lnTo>
                    <a:pt x="12852" y="795"/>
                  </a:lnTo>
                  <a:lnTo>
                    <a:pt x="12664" y="795"/>
                  </a:lnTo>
                  <a:lnTo>
                    <a:pt x="12664" y="1810"/>
                  </a:lnTo>
                  <a:lnTo>
                    <a:pt x="12664" y="2826"/>
                  </a:lnTo>
                  <a:lnTo>
                    <a:pt x="12661" y="2835"/>
                  </a:lnTo>
                  <a:lnTo>
                    <a:pt x="12657" y="2840"/>
                  </a:lnTo>
                  <a:lnTo>
                    <a:pt x="12651" y="2844"/>
                  </a:lnTo>
                  <a:lnTo>
                    <a:pt x="12643" y="2845"/>
                  </a:lnTo>
                  <a:lnTo>
                    <a:pt x="12636" y="2844"/>
                  </a:lnTo>
                  <a:lnTo>
                    <a:pt x="12629" y="2840"/>
                  </a:lnTo>
                  <a:lnTo>
                    <a:pt x="12625" y="2835"/>
                  </a:lnTo>
                  <a:lnTo>
                    <a:pt x="12624" y="2826"/>
                  </a:lnTo>
                  <a:lnTo>
                    <a:pt x="12624" y="2313"/>
                  </a:lnTo>
                  <a:lnTo>
                    <a:pt x="12624" y="1800"/>
                  </a:lnTo>
                  <a:lnTo>
                    <a:pt x="12624" y="1287"/>
                  </a:lnTo>
                  <a:lnTo>
                    <a:pt x="12624" y="775"/>
                  </a:lnTo>
                  <a:lnTo>
                    <a:pt x="12625" y="767"/>
                  </a:lnTo>
                  <a:lnTo>
                    <a:pt x="12629" y="761"/>
                  </a:lnTo>
                  <a:lnTo>
                    <a:pt x="12636" y="757"/>
                  </a:lnTo>
                  <a:lnTo>
                    <a:pt x="12643" y="754"/>
                  </a:lnTo>
                  <a:lnTo>
                    <a:pt x="12759" y="754"/>
                  </a:lnTo>
                  <a:lnTo>
                    <a:pt x="12759" y="592"/>
                  </a:lnTo>
                  <a:lnTo>
                    <a:pt x="12760" y="584"/>
                  </a:lnTo>
                  <a:lnTo>
                    <a:pt x="12764" y="578"/>
                  </a:lnTo>
                  <a:lnTo>
                    <a:pt x="12770" y="574"/>
                  </a:lnTo>
                  <a:lnTo>
                    <a:pt x="12778" y="573"/>
                  </a:lnTo>
                  <a:lnTo>
                    <a:pt x="13220" y="573"/>
                  </a:lnTo>
                  <a:lnTo>
                    <a:pt x="13228" y="574"/>
                  </a:lnTo>
                  <a:lnTo>
                    <a:pt x="13234" y="578"/>
                  </a:lnTo>
                  <a:lnTo>
                    <a:pt x="13240" y="584"/>
                  </a:lnTo>
                  <a:lnTo>
                    <a:pt x="13241" y="592"/>
                  </a:lnTo>
                  <a:lnTo>
                    <a:pt x="13241" y="754"/>
                  </a:lnTo>
                  <a:lnTo>
                    <a:pt x="13364" y="754"/>
                  </a:lnTo>
                  <a:lnTo>
                    <a:pt x="13364" y="624"/>
                  </a:lnTo>
                  <a:lnTo>
                    <a:pt x="13365" y="617"/>
                  </a:lnTo>
                  <a:lnTo>
                    <a:pt x="13370" y="611"/>
                  </a:lnTo>
                  <a:lnTo>
                    <a:pt x="13377" y="606"/>
                  </a:lnTo>
                  <a:lnTo>
                    <a:pt x="13384" y="605"/>
                  </a:lnTo>
                  <a:lnTo>
                    <a:pt x="13534" y="605"/>
                  </a:lnTo>
                  <a:close/>
                  <a:moveTo>
                    <a:pt x="15835" y="2587"/>
                  </a:moveTo>
                  <a:lnTo>
                    <a:pt x="15677" y="2587"/>
                  </a:lnTo>
                  <a:lnTo>
                    <a:pt x="15677" y="3445"/>
                  </a:lnTo>
                  <a:lnTo>
                    <a:pt x="15677" y="4304"/>
                  </a:lnTo>
                  <a:lnTo>
                    <a:pt x="16008" y="4304"/>
                  </a:lnTo>
                  <a:lnTo>
                    <a:pt x="16008" y="3419"/>
                  </a:lnTo>
                  <a:lnTo>
                    <a:pt x="16008" y="2534"/>
                  </a:lnTo>
                  <a:lnTo>
                    <a:pt x="16009" y="2525"/>
                  </a:lnTo>
                  <a:lnTo>
                    <a:pt x="16012" y="2519"/>
                  </a:lnTo>
                  <a:lnTo>
                    <a:pt x="16016" y="2515"/>
                  </a:lnTo>
                  <a:lnTo>
                    <a:pt x="16021" y="2511"/>
                  </a:lnTo>
                  <a:lnTo>
                    <a:pt x="16027" y="2511"/>
                  </a:lnTo>
                  <a:lnTo>
                    <a:pt x="16032" y="2512"/>
                  </a:lnTo>
                  <a:lnTo>
                    <a:pt x="16039" y="2516"/>
                  </a:lnTo>
                  <a:lnTo>
                    <a:pt x="16045" y="2523"/>
                  </a:lnTo>
                  <a:lnTo>
                    <a:pt x="16536" y="3199"/>
                  </a:lnTo>
                  <a:lnTo>
                    <a:pt x="16536" y="2534"/>
                  </a:lnTo>
                  <a:lnTo>
                    <a:pt x="16538" y="2525"/>
                  </a:lnTo>
                  <a:lnTo>
                    <a:pt x="16540" y="2519"/>
                  </a:lnTo>
                  <a:lnTo>
                    <a:pt x="16544" y="2515"/>
                  </a:lnTo>
                  <a:lnTo>
                    <a:pt x="16549" y="2511"/>
                  </a:lnTo>
                  <a:lnTo>
                    <a:pt x="16556" y="2511"/>
                  </a:lnTo>
                  <a:lnTo>
                    <a:pt x="16562" y="2512"/>
                  </a:lnTo>
                  <a:lnTo>
                    <a:pt x="16567" y="2516"/>
                  </a:lnTo>
                  <a:lnTo>
                    <a:pt x="16573" y="2523"/>
                  </a:lnTo>
                  <a:lnTo>
                    <a:pt x="17076" y="3214"/>
                  </a:lnTo>
                  <a:lnTo>
                    <a:pt x="17076" y="2534"/>
                  </a:lnTo>
                  <a:lnTo>
                    <a:pt x="17077" y="2525"/>
                  </a:lnTo>
                  <a:lnTo>
                    <a:pt x="17080" y="2519"/>
                  </a:lnTo>
                  <a:lnTo>
                    <a:pt x="17084" y="2515"/>
                  </a:lnTo>
                  <a:lnTo>
                    <a:pt x="17089" y="2511"/>
                  </a:lnTo>
                  <a:lnTo>
                    <a:pt x="17094" y="2511"/>
                  </a:lnTo>
                  <a:lnTo>
                    <a:pt x="17100" y="2512"/>
                  </a:lnTo>
                  <a:lnTo>
                    <a:pt x="17107" y="2516"/>
                  </a:lnTo>
                  <a:lnTo>
                    <a:pt x="17112" y="2523"/>
                  </a:lnTo>
                  <a:lnTo>
                    <a:pt x="17640" y="3249"/>
                  </a:lnTo>
                  <a:lnTo>
                    <a:pt x="17644" y="3258"/>
                  </a:lnTo>
                  <a:lnTo>
                    <a:pt x="17644" y="3265"/>
                  </a:lnTo>
                  <a:lnTo>
                    <a:pt x="17642" y="3272"/>
                  </a:lnTo>
                  <a:lnTo>
                    <a:pt x="17636" y="3277"/>
                  </a:lnTo>
                  <a:lnTo>
                    <a:pt x="17630" y="3281"/>
                  </a:lnTo>
                  <a:lnTo>
                    <a:pt x="17622" y="3281"/>
                  </a:lnTo>
                  <a:lnTo>
                    <a:pt x="17615" y="3280"/>
                  </a:lnTo>
                  <a:lnTo>
                    <a:pt x="17608" y="3273"/>
                  </a:lnTo>
                  <a:lnTo>
                    <a:pt x="17116" y="2595"/>
                  </a:lnTo>
                  <a:lnTo>
                    <a:pt x="17116" y="3262"/>
                  </a:lnTo>
                  <a:lnTo>
                    <a:pt x="17113" y="3271"/>
                  </a:lnTo>
                  <a:lnTo>
                    <a:pt x="17108" y="3278"/>
                  </a:lnTo>
                  <a:lnTo>
                    <a:pt x="17099" y="3281"/>
                  </a:lnTo>
                  <a:lnTo>
                    <a:pt x="17090" y="3281"/>
                  </a:lnTo>
                  <a:lnTo>
                    <a:pt x="17080" y="3281"/>
                  </a:lnTo>
                  <a:lnTo>
                    <a:pt x="17074" y="3278"/>
                  </a:lnTo>
                  <a:lnTo>
                    <a:pt x="17070" y="3273"/>
                  </a:lnTo>
                  <a:lnTo>
                    <a:pt x="16577" y="2595"/>
                  </a:lnTo>
                  <a:lnTo>
                    <a:pt x="16577" y="3258"/>
                  </a:lnTo>
                  <a:lnTo>
                    <a:pt x="16577" y="3264"/>
                  </a:lnTo>
                  <a:lnTo>
                    <a:pt x="16575" y="3269"/>
                  </a:lnTo>
                  <a:lnTo>
                    <a:pt x="16571" y="3276"/>
                  </a:lnTo>
                  <a:lnTo>
                    <a:pt x="16563" y="3281"/>
                  </a:lnTo>
                  <a:lnTo>
                    <a:pt x="16554" y="3281"/>
                  </a:lnTo>
                  <a:lnTo>
                    <a:pt x="16547" y="3278"/>
                  </a:lnTo>
                  <a:lnTo>
                    <a:pt x="16541" y="3276"/>
                  </a:lnTo>
                  <a:lnTo>
                    <a:pt x="16539" y="3271"/>
                  </a:lnTo>
                  <a:lnTo>
                    <a:pt x="16049" y="2595"/>
                  </a:lnTo>
                  <a:lnTo>
                    <a:pt x="16049" y="3450"/>
                  </a:lnTo>
                  <a:lnTo>
                    <a:pt x="16049" y="4304"/>
                  </a:lnTo>
                  <a:lnTo>
                    <a:pt x="16844" y="4304"/>
                  </a:lnTo>
                  <a:lnTo>
                    <a:pt x="16853" y="4305"/>
                  </a:lnTo>
                  <a:lnTo>
                    <a:pt x="16859" y="4310"/>
                  </a:lnTo>
                  <a:lnTo>
                    <a:pt x="16863" y="4317"/>
                  </a:lnTo>
                  <a:lnTo>
                    <a:pt x="16865" y="4324"/>
                  </a:lnTo>
                  <a:lnTo>
                    <a:pt x="16863" y="4331"/>
                  </a:lnTo>
                  <a:lnTo>
                    <a:pt x="16859" y="4337"/>
                  </a:lnTo>
                  <a:lnTo>
                    <a:pt x="16853" y="4342"/>
                  </a:lnTo>
                  <a:lnTo>
                    <a:pt x="16844" y="4343"/>
                  </a:lnTo>
                  <a:lnTo>
                    <a:pt x="16250" y="4343"/>
                  </a:lnTo>
                  <a:lnTo>
                    <a:pt x="15657" y="4343"/>
                  </a:lnTo>
                  <a:lnTo>
                    <a:pt x="14760" y="4343"/>
                  </a:lnTo>
                  <a:lnTo>
                    <a:pt x="13864" y="4343"/>
                  </a:lnTo>
                  <a:lnTo>
                    <a:pt x="13856" y="4342"/>
                  </a:lnTo>
                  <a:lnTo>
                    <a:pt x="13850" y="4338"/>
                  </a:lnTo>
                  <a:lnTo>
                    <a:pt x="13846" y="4332"/>
                  </a:lnTo>
                  <a:lnTo>
                    <a:pt x="13843" y="4324"/>
                  </a:lnTo>
                  <a:lnTo>
                    <a:pt x="13843" y="3455"/>
                  </a:lnTo>
                  <a:lnTo>
                    <a:pt x="13843" y="2587"/>
                  </a:lnTo>
                  <a:lnTo>
                    <a:pt x="13686" y="2587"/>
                  </a:lnTo>
                  <a:lnTo>
                    <a:pt x="13677" y="2585"/>
                  </a:lnTo>
                  <a:lnTo>
                    <a:pt x="13670" y="2581"/>
                  </a:lnTo>
                  <a:lnTo>
                    <a:pt x="13667" y="2575"/>
                  </a:lnTo>
                  <a:lnTo>
                    <a:pt x="13665" y="2567"/>
                  </a:lnTo>
                  <a:lnTo>
                    <a:pt x="13667" y="2560"/>
                  </a:lnTo>
                  <a:lnTo>
                    <a:pt x="13670" y="2553"/>
                  </a:lnTo>
                  <a:lnTo>
                    <a:pt x="13677" y="2549"/>
                  </a:lnTo>
                  <a:lnTo>
                    <a:pt x="13686" y="2547"/>
                  </a:lnTo>
                  <a:lnTo>
                    <a:pt x="13963" y="2547"/>
                  </a:lnTo>
                  <a:lnTo>
                    <a:pt x="13963" y="2374"/>
                  </a:lnTo>
                  <a:lnTo>
                    <a:pt x="13964" y="2367"/>
                  </a:lnTo>
                  <a:lnTo>
                    <a:pt x="13968" y="2360"/>
                  </a:lnTo>
                  <a:lnTo>
                    <a:pt x="13974" y="2355"/>
                  </a:lnTo>
                  <a:lnTo>
                    <a:pt x="13982" y="2354"/>
                  </a:lnTo>
                  <a:lnTo>
                    <a:pt x="14750" y="2354"/>
                  </a:lnTo>
                  <a:lnTo>
                    <a:pt x="15519" y="2354"/>
                  </a:lnTo>
                  <a:lnTo>
                    <a:pt x="15527" y="2355"/>
                  </a:lnTo>
                  <a:lnTo>
                    <a:pt x="15534" y="2360"/>
                  </a:lnTo>
                  <a:lnTo>
                    <a:pt x="15537" y="2367"/>
                  </a:lnTo>
                  <a:lnTo>
                    <a:pt x="15539" y="2374"/>
                  </a:lnTo>
                  <a:lnTo>
                    <a:pt x="15539" y="2547"/>
                  </a:lnTo>
                  <a:lnTo>
                    <a:pt x="15835" y="2547"/>
                  </a:lnTo>
                  <a:lnTo>
                    <a:pt x="15844" y="2549"/>
                  </a:lnTo>
                  <a:lnTo>
                    <a:pt x="15850" y="2553"/>
                  </a:lnTo>
                  <a:lnTo>
                    <a:pt x="15854" y="2560"/>
                  </a:lnTo>
                  <a:lnTo>
                    <a:pt x="15855" y="2567"/>
                  </a:lnTo>
                  <a:lnTo>
                    <a:pt x="15854" y="2575"/>
                  </a:lnTo>
                  <a:lnTo>
                    <a:pt x="15850" y="2581"/>
                  </a:lnTo>
                  <a:lnTo>
                    <a:pt x="15844" y="2585"/>
                  </a:lnTo>
                  <a:lnTo>
                    <a:pt x="15835" y="2587"/>
                  </a:lnTo>
                  <a:close/>
                  <a:moveTo>
                    <a:pt x="15636" y="2587"/>
                  </a:moveTo>
                  <a:lnTo>
                    <a:pt x="14760" y="2587"/>
                  </a:lnTo>
                  <a:lnTo>
                    <a:pt x="13885" y="2587"/>
                  </a:lnTo>
                  <a:lnTo>
                    <a:pt x="13885" y="3445"/>
                  </a:lnTo>
                  <a:lnTo>
                    <a:pt x="13885" y="4304"/>
                  </a:lnTo>
                  <a:lnTo>
                    <a:pt x="14760" y="4304"/>
                  </a:lnTo>
                  <a:lnTo>
                    <a:pt x="15636" y="4304"/>
                  </a:lnTo>
                  <a:lnTo>
                    <a:pt x="15636" y="3445"/>
                  </a:lnTo>
                  <a:lnTo>
                    <a:pt x="15636" y="2587"/>
                  </a:lnTo>
                  <a:close/>
                  <a:moveTo>
                    <a:pt x="14002" y="2547"/>
                  </a:moveTo>
                  <a:lnTo>
                    <a:pt x="14750" y="2547"/>
                  </a:lnTo>
                  <a:lnTo>
                    <a:pt x="15499" y="2547"/>
                  </a:lnTo>
                  <a:lnTo>
                    <a:pt x="15499" y="2393"/>
                  </a:lnTo>
                  <a:lnTo>
                    <a:pt x="14750" y="2393"/>
                  </a:lnTo>
                  <a:lnTo>
                    <a:pt x="14002" y="2393"/>
                  </a:lnTo>
                  <a:lnTo>
                    <a:pt x="14002" y="2547"/>
                  </a:lnTo>
                  <a:close/>
                  <a:moveTo>
                    <a:pt x="15171" y="3639"/>
                  </a:moveTo>
                  <a:lnTo>
                    <a:pt x="15171" y="3751"/>
                  </a:lnTo>
                  <a:lnTo>
                    <a:pt x="15168" y="3760"/>
                  </a:lnTo>
                  <a:lnTo>
                    <a:pt x="15164" y="3765"/>
                  </a:lnTo>
                  <a:lnTo>
                    <a:pt x="15158" y="3769"/>
                  </a:lnTo>
                  <a:lnTo>
                    <a:pt x="15150" y="3771"/>
                  </a:lnTo>
                  <a:lnTo>
                    <a:pt x="15142" y="3769"/>
                  </a:lnTo>
                  <a:lnTo>
                    <a:pt x="15136" y="3765"/>
                  </a:lnTo>
                  <a:lnTo>
                    <a:pt x="15132" y="3760"/>
                  </a:lnTo>
                  <a:lnTo>
                    <a:pt x="15131" y="3751"/>
                  </a:lnTo>
                  <a:lnTo>
                    <a:pt x="15131" y="3639"/>
                  </a:lnTo>
                  <a:lnTo>
                    <a:pt x="15132" y="3630"/>
                  </a:lnTo>
                  <a:lnTo>
                    <a:pt x="15136" y="3624"/>
                  </a:lnTo>
                  <a:lnTo>
                    <a:pt x="15142" y="3620"/>
                  </a:lnTo>
                  <a:lnTo>
                    <a:pt x="15150" y="3618"/>
                  </a:lnTo>
                  <a:lnTo>
                    <a:pt x="15158" y="3620"/>
                  </a:lnTo>
                  <a:lnTo>
                    <a:pt x="15164" y="3624"/>
                  </a:lnTo>
                  <a:lnTo>
                    <a:pt x="15168" y="3630"/>
                  </a:lnTo>
                  <a:lnTo>
                    <a:pt x="15171" y="3639"/>
                  </a:lnTo>
                  <a:close/>
                  <a:moveTo>
                    <a:pt x="14908" y="3639"/>
                  </a:moveTo>
                  <a:lnTo>
                    <a:pt x="14908" y="3751"/>
                  </a:lnTo>
                  <a:lnTo>
                    <a:pt x="14905" y="3760"/>
                  </a:lnTo>
                  <a:lnTo>
                    <a:pt x="14901" y="3765"/>
                  </a:lnTo>
                  <a:lnTo>
                    <a:pt x="14895" y="3769"/>
                  </a:lnTo>
                  <a:lnTo>
                    <a:pt x="14887" y="3771"/>
                  </a:lnTo>
                  <a:lnTo>
                    <a:pt x="14880" y="3769"/>
                  </a:lnTo>
                  <a:lnTo>
                    <a:pt x="14873" y="3765"/>
                  </a:lnTo>
                  <a:lnTo>
                    <a:pt x="14869" y="3760"/>
                  </a:lnTo>
                  <a:lnTo>
                    <a:pt x="14867" y="3751"/>
                  </a:lnTo>
                  <a:lnTo>
                    <a:pt x="14867" y="3639"/>
                  </a:lnTo>
                  <a:lnTo>
                    <a:pt x="14869" y="3630"/>
                  </a:lnTo>
                  <a:lnTo>
                    <a:pt x="14873" y="3624"/>
                  </a:lnTo>
                  <a:lnTo>
                    <a:pt x="14880" y="3620"/>
                  </a:lnTo>
                  <a:lnTo>
                    <a:pt x="14887" y="3618"/>
                  </a:lnTo>
                  <a:lnTo>
                    <a:pt x="14895" y="3620"/>
                  </a:lnTo>
                  <a:lnTo>
                    <a:pt x="14901" y="3624"/>
                  </a:lnTo>
                  <a:lnTo>
                    <a:pt x="14905" y="3630"/>
                  </a:lnTo>
                  <a:lnTo>
                    <a:pt x="14908" y="3639"/>
                  </a:lnTo>
                  <a:close/>
                  <a:moveTo>
                    <a:pt x="14644" y="3639"/>
                  </a:moveTo>
                  <a:lnTo>
                    <a:pt x="14644" y="3751"/>
                  </a:lnTo>
                  <a:lnTo>
                    <a:pt x="14642" y="3760"/>
                  </a:lnTo>
                  <a:lnTo>
                    <a:pt x="14637" y="3765"/>
                  </a:lnTo>
                  <a:lnTo>
                    <a:pt x="14631" y="3769"/>
                  </a:lnTo>
                  <a:lnTo>
                    <a:pt x="14624" y="3771"/>
                  </a:lnTo>
                  <a:lnTo>
                    <a:pt x="14617" y="3769"/>
                  </a:lnTo>
                  <a:lnTo>
                    <a:pt x="14610" y="3765"/>
                  </a:lnTo>
                  <a:lnTo>
                    <a:pt x="14606" y="3760"/>
                  </a:lnTo>
                  <a:lnTo>
                    <a:pt x="14604" y="3751"/>
                  </a:lnTo>
                  <a:lnTo>
                    <a:pt x="14604" y="3639"/>
                  </a:lnTo>
                  <a:lnTo>
                    <a:pt x="14606" y="3630"/>
                  </a:lnTo>
                  <a:lnTo>
                    <a:pt x="14610" y="3624"/>
                  </a:lnTo>
                  <a:lnTo>
                    <a:pt x="14617" y="3620"/>
                  </a:lnTo>
                  <a:lnTo>
                    <a:pt x="14624" y="3618"/>
                  </a:lnTo>
                  <a:lnTo>
                    <a:pt x="14631" y="3620"/>
                  </a:lnTo>
                  <a:lnTo>
                    <a:pt x="14637" y="3624"/>
                  </a:lnTo>
                  <a:lnTo>
                    <a:pt x="14642" y="3630"/>
                  </a:lnTo>
                  <a:lnTo>
                    <a:pt x="14644" y="3639"/>
                  </a:lnTo>
                  <a:close/>
                  <a:moveTo>
                    <a:pt x="14381" y="3639"/>
                  </a:moveTo>
                  <a:lnTo>
                    <a:pt x="14381" y="3751"/>
                  </a:lnTo>
                  <a:lnTo>
                    <a:pt x="14379" y="3760"/>
                  </a:lnTo>
                  <a:lnTo>
                    <a:pt x="14374" y="3765"/>
                  </a:lnTo>
                  <a:lnTo>
                    <a:pt x="14368" y="3769"/>
                  </a:lnTo>
                  <a:lnTo>
                    <a:pt x="14362" y="3771"/>
                  </a:lnTo>
                  <a:lnTo>
                    <a:pt x="14354" y="3769"/>
                  </a:lnTo>
                  <a:lnTo>
                    <a:pt x="14347" y="3765"/>
                  </a:lnTo>
                  <a:lnTo>
                    <a:pt x="14342" y="3760"/>
                  </a:lnTo>
                  <a:lnTo>
                    <a:pt x="14341" y="3751"/>
                  </a:lnTo>
                  <a:lnTo>
                    <a:pt x="14341" y="3639"/>
                  </a:lnTo>
                  <a:lnTo>
                    <a:pt x="14342" y="3630"/>
                  </a:lnTo>
                  <a:lnTo>
                    <a:pt x="14347" y="3624"/>
                  </a:lnTo>
                  <a:lnTo>
                    <a:pt x="14354" y="3620"/>
                  </a:lnTo>
                  <a:lnTo>
                    <a:pt x="14362" y="3618"/>
                  </a:lnTo>
                  <a:lnTo>
                    <a:pt x="14368" y="3620"/>
                  </a:lnTo>
                  <a:lnTo>
                    <a:pt x="14374" y="3624"/>
                  </a:lnTo>
                  <a:lnTo>
                    <a:pt x="14379" y="3630"/>
                  </a:lnTo>
                  <a:lnTo>
                    <a:pt x="14381" y="3639"/>
                  </a:lnTo>
                  <a:close/>
                  <a:moveTo>
                    <a:pt x="14118" y="3639"/>
                  </a:moveTo>
                  <a:lnTo>
                    <a:pt x="14118" y="3751"/>
                  </a:lnTo>
                  <a:lnTo>
                    <a:pt x="14117" y="3760"/>
                  </a:lnTo>
                  <a:lnTo>
                    <a:pt x="14111" y="3765"/>
                  </a:lnTo>
                  <a:lnTo>
                    <a:pt x="14105" y="3769"/>
                  </a:lnTo>
                  <a:lnTo>
                    <a:pt x="14097" y="3771"/>
                  </a:lnTo>
                  <a:lnTo>
                    <a:pt x="14091" y="3769"/>
                  </a:lnTo>
                  <a:lnTo>
                    <a:pt x="14085" y="3765"/>
                  </a:lnTo>
                  <a:lnTo>
                    <a:pt x="14079" y="3760"/>
                  </a:lnTo>
                  <a:lnTo>
                    <a:pt x="14078" y="3751"/>
                  </a:lnTo>
                  <a:lnTo>
                    <a:pt x="14078" y="3639"/>
                  </a:lnTo>
                  <a:lnTo>
                    <a:pt x="14079" y="3630"/>
                  </a:lnTo>
                  <a:lnTo>
                    <a:pt x="14085" y="3624"/>
                  </a:lnTo>
                  <a:lnTo>
                    <a:pt x="14091" y="3620"/>
                  </a:lnTo>
                  <a:lnTo>
                    <a:pt x="14097" y="3618"/>
                  </a:lnTo>
                  <a:lnTo>
                    <a:pt x="14105" y="3620"/>
                  </a:lnTo>
                  <a:lnTo>
                    <a:pt x="14111" y="3624"/>
                  </a:lnTo>
                  <a:lnTo>
                    <a:pt x="14117" y="3630"/>
                  </a:lnTo>
                  <a:lnTo>
                    <a:pt x="14118" y="3639"/>
                  </a:lnTo>
                  <a:close/>
                  <a:moveTo>
                    <a:pt x="15434" y="3392"/>
                  </a:moveTo>
                  <a:lnTo>
                    <a:pt x="15434" y="3505"/>
                  </a:lnTo>
                  <a:lnTo>
                    <a:pt x="15432" y="3514"/>
                  </a:lnTo>
                  <a:lnTo>
                    <a:pt x="15427" y="3520"/>
                  </a:lnTo>
                  <a:lnTo>
                    <a:pt x="15421" y="3524"/>
                  </a:lnTo>
                  <a:lnTo>
                    <a:pt x="15413" y="3524"/>
                  </a:lnTo>
                  <a:lnTo>
                    <a:pt x="15407" y="3524"/>
                  </a:lnTo>
                  <a:lnTo>
                    <a:pt x="15400" y="3520"/>
                  </a:lnTo>
                  <a:lnTo>
                    <a:pt x="15395" y="3514"/>
                  </a:lnTo>
                  <a:lnTo>
                    <a:pt x="15394" y="3505"/>
                  </a:lnTo>
                  <a:lnTo>
                    <a:pt x="15394" y="3392"/>
                  </a:lnTo>
                  <a:lnTo>
                    <a:pt x="15395" y="3383"/>
                  </a:lnTo>
                  <a:lnTo>
                    <a:pt x="15400" y="3378"/>
                  </a:lnTo>
                  <a:lnTo>
                    <a:pt x="15407" y="3374"/>
                  </a:lnTo>
                  <a:lnTo>
                    <a:pt x="15413" y="3373"/>
                  </a:lnTo>
                  <a:lnTo>
                    <a:pt x="15421" y="3374"/>
                  </a:lnTo>
                  <a:lnTo>
                    <a:pt x="15427" y="3378"/>
                  </a:lnTo>
                  <a:lnTo>
                    <a:pt x="15432" y="3383"/>
                  </a:lnTo>
                  <a:lnTo>
                    <a:pt x="15434" y="3392"/>
                  </a:lnTo>
                  <a:close/>
                  <a:moveTo>
                    <a:pt x="15171" y="3392"/>
                  </a:moveTo>
                  <a:lnTo>
                    <a:pt x="15171" y="3505"/>
                  </a:lnTo>
                  <a:lnTo>
                    <a:pt x="15168" y="3514"/>
                  </a:lnTo>
                  <a:lnTo>
                    <a:pt x="15164" y="3520"/>
                  </a:lnTo>
                  <a:lnTo>
                    <a:pt x="15158" y="3524"/>
                  </a:lnTo>
                  <a:lnTo>
                    <a:pt x="15150" y="3524"/>
                  </a:lnTo>
                  <a:lnTo>
                    <a:pt x="15142" y="3524"/>
                  </a:lnTo>
                  <a:lnTo>
                    <a:pt x="15136" y="3520"/>
                  </a:lnTo>
                  <a:lnTo>
                    <a:pt x="15132" y="3514"/>
                  </a:lnTo>
                  <a:lnTo>
                    <a:pt x="15131" y="3505"/>
                  </a:lnTo>
                  <a:lnTo>
                    <a:pt x="15131" y="3392"/>
                  </a:lnTo>
                  <a:lnTo>
                    <a:pt x="15132" y="3383"/>
                  </a:lnTo>
                  <a:lnTo>
                    <a:pt x="15136" y="3378"/>
                  </a:lnTo>
                  <a:lnTo>
                    <a:pt x="15142" y="3374"/>
                  </a:lnTo>
                  <a:lnTo>
                    <a:pt x="15150" y="3373"/>
                  </a:lnTo>
                  <a:lnTo>
                    <a:pt x="15158" y="3374"/>
                  </a:lnTo>
                  <a:lnTo>
                    <a:pt x="15164" y="3378"/>
                  </a:lnTo>
                  <a:lnTo>
                    <a:pt x="15168" y="3383"/>
                  </a:lnTo>
                  <a:lnTo>
                    <a:pt x="15171" y="3392"/>
                  </a:lnTo>
                  <a:close/>
                  <a:moveTo>
                    <a:pt x="14908" y="3392"/>
                  </a:moveTo>
                  <a:lnTo>
                    <a:pt x="14908" y="3505"/>
                  </a:lnTo>
                  <a:lnTo>
                    <a:pt x="14905" y="3514"/>
                  </a:lnTo>
                  <a:lnTo>
                    <a:pt x="14901" y="3520"/>
                  </a:lnTo>
                  <a:lnTo>
                    <a:pt x="14895" y="3524"/>
                  </a:lnTo>
                  <a:lnTo>
                    <a:pt x="14887" y="3524"/>
                  </a:lnTo>
                  <a:lnTo>
                    <a:pt x="14880" y="3524"/>
                  </a:lnTo>
                  <a:lnTo>
                    <a:pt x="14873" y="3520"/>
                  </a:lnTo>
                  <a:lnTo>
                    <a:pt x="14869" y="3514"/>
                  </a:lnTo>
                  <a:lnTo>
                    <a:pt x="14867" y="3505"/>
                  </a:lnTo>
                  <a:lnTo>
                    <a:pt x="14867" y="3392"/>
                  </a:lnTo>
                  <a:lnTo>
                    <a:pt x="14869" y="3383"/>
                  </a:lnTo>
                  <a:lnTo>
                    <a:pt x="14873" y="3378"/>
                  </a:lnTo>
                  <a:lnTo>
                    <a:pt x="14880" y="3374"/>
                  </a:lnTo>
                  <a:lnTo>
                    <a:pt x="14887" y="3373"/>
                  </a:lnTo>
                  <a:lnTo>
                    <a:pt x="14895" y="3374"/>
                  </a:lnTo>
                  <a:lnTo>
                    <a:pt x="14901" y="3378"/>
                  </a:lnTo>
                  <a:lnTo>
                    <a:pt x="14905" y="3383"/>
                  </a:lnTo>
                  <a:lnTo>
                    <a:pt x="14908" y="3392"/>
                  </a:lnTo>
                  <a:close/>
                  <a:moveTo>
                    <a:pt x="14644" y="3392"/>
                  </a:moveTo>
                  <a:lnTo>
                    <a:pt x="14644" y="3505"/>
                  </a:lnTo>
                  <a:lnTo>
                    <a:pt x="14642" y="3514"/>
                  </a:lnTo>
                  <a:lnTo>
                    <a:pt x="14637" y="3520"/>
                  </a:lnTo>
                  <a:lnTo>
                    <a:pt x="14631" y="3524"/>
                  </a:lnTo>
                  <a:lnTo>
                    <a:pt x="14624" y="3524"/>
                  </a:lnTo>
                  <a:lnTo>
                    <a:pt x="14617" y="3524"/>
                  </a:lnTo>
                  <a:lnTo>
                    <a:pt x="14610" y="3520"/>
                  </a:lnTo>
                  <a:lnTo>
                    <a:pt x="14606" y="3514"/>
                  </a:lnTo>
                  <a:lnTo>
                    <a:pt x="14604" y="3505"/>
                  </a:lnTo>
                  <a:lnTo>
                    <a:pt x="14604" y="3392"/>
                  </a:lnTo>
                  <a:lnTo>
                    <a:pt x="14606" y="3383"/>
                  </a:lnTo>
                  <a:lnTo>
                    <a:pt x="14610" y="3378"/>
                  </a:lnTo>
                  <a:lnTo>
                    <a:pt x="14617" y="3374"/>
                  </a:lnTo>
                  <a:lnTo>
                    <a:pt x="14624" y="3373"/>
                  </a:lnTo>
                  <a:lnTo>
                    <a:pt x="14631" y="3374"/>
                  </a:lnTo>
                  <a:lnTo>
                    <a:pt x="14637" y="3378"/>
                  </a:lnTo>
                  <a:lnTo>
                    <a:pt x="14642" y="3383"/>
                  </a:lnTo>
                  <a:lnTo>
                    <a:pt x="14644" y="3392"/>
                  </a:lnTo>
                  <a:close/>
                  <a:moveTo>
                    <a:pt x="14381" y="3392"/>
                  </a:moveTo>
                  <a:lnTo>
                    <a:pt x="14381" y="3505"/>
                  </a:lnTo>
                  <a:lnTo>
                    <a:pt x="14379" y="3514"/>
                  </a:lnTo>
                  <a:lnTo>
                    <a:pt x="14374" y="3520"/>
                  </a:lnTo>
                  <a:lnTo>
                    <a:pt x="14368" y="3524"/>
                  </a:lnTo>
                  <a:lnTo>
                    <a:pt x="14362" y="3524"/>
                  </a:lnTo>
                  <a:lnTo>
                    <a:pt x="14354" y="3524"/>
                  </a:lnTo>
                  <a:lnTo>
                    <a:pt x="14347" y="3520"/>
                  </a:lnTo>
                  <a:lnTo>
                    <a:pt x="14342" y="3514"/>
                  </a:lnTo>
                  <a:lnTo>
                    <a:pt x="14341" y="3505"/>
                  </a:lnTo>
                  <a:lnTo>
                    <a:pt x="14341" y="3392"/>
                  </a:lnTo>
                  <a:lnTo>
                    <a:pt x="14342" y="3383"/>
                  </a:lnTo>
                  <a:lnTo>
                    <a:pt x="14347" y="3378"/>
                  </a:lnTo>
                  <a:lnTo>
                    <a:pt x="14354" y="3374"/>
                  </a:lnTo>
                  <a:lnTo>
                    <a:pt x="14362" y="3373"/>
                  </a:lnTo>
                  <a:lnTo>
                    <a:pt x="14368" y="3374"/>
                  </a:lnTo>
                  <a:lnTo>
                    <a:pt x="14374" y="3378"/>
                  </a:lnTo>
                  <a:lnTo>
                    <a:pt x="14379" y="3383"/>
                  </a:lnTo>
                  <a:lnTo>
                    <a:pt x="14381" y="3392"/>
                  </a:lnTo>
                  <a:close/>
                  <a:moveTo>
                    <a:pt x="14118" y="3392"/>
                  </a:moveTo>
                  <a:lnTo>
                    <a:pt x="14118" y="3505"/>
                  </a:lnTo>
                  <a:lnTo>
                    <a:pt x="14117" y="3514"/>
                  </a:lnTo>
                  <a:lnTo>
                    <a:pt x="14111" y="3520"/>
                  </a:lnTo>
                  <a:lnTo>
                    <a:pt x="14105" y="3524"/>
                  </a:lnTo>
                  <a:lnTo>
                    <a:pt x="14097" y="3524"/>
                  </a:lnTo>
                  <a:lnTo>
                    <a:pt x="14091" y="3524"/>
                  </a:lnTo>
                  <a:lnTo>
                    <a:pt x="14085" y="3520"/>
                  </a:lnTo>
                  <a:lnTo>
                    <a:pt x="14079" y="3514"/>
                  </a:lnTo>
                  <a:lnTo>
                    <a:pt x="14078" y="3505"/>
                  </a:lnTo>
                  <a:lnTo>
                    <a:pt x="14078" y="3392"/>
                  </a:lnTo>
                  <a:lnTo>
                    <a:pt x="14079" y="3383"/>
                  </a:lnTo>
                  <a:lnTo>
                    <a:pt x="14085" y="3378"/>
                  </a:lnTo>
                  <a:lnTo>
                    <a:pt x="14091" y="3374"/>
                  </a:lnTo>
                  <a:lnTo>
                    <a:pt x="14097" y="3373"/>
                  </a:lnTo>
                  <a:lnTo>
                    <a:pt x="14105" y="3374"/>
                  </a:lnTo>
                  <a:lnTo>
                    <a:pt x="14111" y="3378"/>
                  </a:lnTo>
                  <a:lnTo>
                    <a:pt x="14117" y="3383"/>
                  </a:lnTo>
                  <a:lnTo>
                    <a:pt x="14118" y="3392"/>
                  </a:lnTo>
                  <a:close/>
                  <a:moveTo>
                    <a:pt x="15434" y="3145"/>
                  </a:moveTo>
                  <a:lnTo>
                    <a:pt x="15434" y="3258"/>
                  </a:lnTo>
                  <a:lnTo>
                    <a:pt x="15432" y="3267"/>
                  </a:lnTo>
                  <a:lnTo>
                    <a:pt x="15427" y="3273"/>
                  </a:lnTo>
                  <a:lnTo>
                    <a:pt x="15421" y="3277"/>
                  </a:lnTo>
                  <a:lnTo>
                    <a:pt x="15413" y="3278"/>
                  </a:lnTo>
                  <a:lnTo>
                    <a:pt x="15407" y="3277"/>
                  </a:lnTo>
                  <a:lnTo>
                    <a:pt x="15400" y="3273"/>
                  </a:lnTo>
                  <a:lnTo>
                    <a:pt x="15395" y="3267"/>
                  </a:lnTo>
                  <a:lnTo>
                    <a:pt x="15394" y="3258"/>
                  </a:lnTo>
                  <a:lnTo>
                    <a:pt x="15394" y="3145"/>
                  </a:lnTo>
                  <a:lnTo>
                    <a:pt x="15395" y="3138"/>
                  </a:lnTo>
                  <a:lnTo>
                    <a:pt x="15400" y="3131"/>
                  </a:lnTo>
                  <a:lnTo>
                    <a:pt x="15407" y="3127"/>
                  </a:lnTo>
                  <a:lnTo>
                    <a:pt x="15413" y="3126"/>
                  </a:lnTo>
                  <a:lnTo>
                    <a:pt x="15421" y="3127"/>
                  </a:lnTo>
                  <a:lnTo>
                    <a:pt x="15427" y="3131"/>
                  </a:lnTo>
                  <a:lnTo>
                    <a:pt x="15432" y="3138"/>
                  </a:lnTo>
                  <a:lnTo>
                    <a:pt x="15434" y="3145"/>
                  </a:lnTo>
                  <a:close/>
                  <a:moveTo>
                    <a:pt x="15171" y="3145"/>
                  </a:moveTo>
                  <a:lnTo>
                    <a:pt x="15171" y="3258"/>
                  </a:lnTo>
                  <a:lnTo>
                    <a:pt x="15168" y="3267"/>
                  </a:lnTo>
                  <a:lnTo>
                    <a:pt x="15164" y="3273"/>
                  </a:lnTo>
                  <a:lnTo>
                    <a:pt x="15158" y="3277"/>
                  </a:lnTo>
                  <a:lnTo>
                    <a:pt x="15150" y="3278"/>
                  </a:lnTo>
                  <a:lnTo>
                    <a:pt x="15142" y="3277"/>
                  </a:lnTo>
                  <a:lnTo>
                    <a:pt x="15136" y="3273"/>
                  </a:lnTo>
                  <a:lnTo>
                    <a:pt x="15132" y="3267"/>
                  </a:lnTo>
                  <a:lnTo>
                    <a:pt x="15131" y="3258"/>
                  </a:lnTo>
                  <a:lnTo>
                    <a:pt x="15131" y="3145"/>
                  </a:lnTo>
                  <a:lnTo>
                    <a:pt x="15132" y="3138"/>
                  </a:lnTo>
                  <a:lnTo>
                    <a:pt x="15136" y="3131"/>
                  </a:lnTo>
                  <a:lnTo>
                    <a:pt x="15142" y="3127"/>
                  </a:lnTo>
                  <a:lnTo>
                    <a:pt x="15150" y="3126"/>
                  </a:lnTo>
                  <a:lnTo>
                    <a:pt x="15158" y="3127"/>
                  </a:lnTo>
                  <a:lnTo>
                    <a:pt x="15164" y="3131"/>
                  </a:lnTo>
                  <a:lnTo>
                    <a:pt x="15168" y="3138"/>
                  </a:lnTo>
                  <a:lnTo>
                    <a:pt x="15171" y="3145"/>
                  </a:lnTo>
                  <a:close/>
                  <a:moveTo>
                    <a:pt x="14908" y="3145"/>
                  </a:moveTo>
                  <a:lnTo>
                    <a:pt x="14908" y="3258"/>
                  </a:lnTo>
                  <a:lnTo>
                    <a:pt x="14905" y="3267"/>
                  </a:lnTo>
                  <a:lnTo>
                    <a:pt x="14901" y="3273"/>
                  </a:lnTo>
                  <a:lnTo>
                    <a:pt x="14895" y="3277"/>
                  </a:lnTo>
                  <a:lnTo>
                    <a:pt x="14887" y="3278"/>
                  </a:lnTo>
                  <a:lnTo>
                    <a:pt x="14880" y="3277"/>
                  </a:lnTo>
                  <a:lnTo>
                    <a:pt x="14873" y="3273"/>
                  </a:lnTo>
                  <a:lnTo>
                    <a:pt x="14869" y="3267"/>
                  </a:lnTo>
                  <a:lnTo>
                    <a:pt x="14867" y="3258"/>
                  </a:lnTo>
                  <a:lnTo>
                    <a:pt x="14867" y="3145"/>
                  </a:lnTo>
                  <a:lnTo>
                    <a:pt x="14869" y="3138"/>
                  </a:lnTo>
                  <a:lnTo>
                    <a:pt x="14873" y="3131"/>
                  </a:lnTo>
                  <a:lnTo>
                    <a:pt x="14880" y="3127"/>
                  </a:lnTo>
                  <a:lnTo>
                    <a:pt x="14887" y="3126"/>
                  </a:lnTo>
                  <a:lnTo>
                    <a:pt x="14895" y="3127"/>
                  </a:lnTo>
                  <a:lnTo>
                    <a:pt x="14901" y="3131"/>
                  </a:lnTo>
                  <a:lnTo>
                    <a:pt x="14905" y="3138"/>
                  </a:lnTo>
                  <a:lnTo>
                    <a:pt x="14908" y="3145"/>
                  </a:lnTo>
                  <a:close/>
                  <a:moveTo>
                    <a:pt x="14644" y="3145"/>
                  </a:moveTo>
                  <a:lnTo>
                    <a:pt x="14644" y="3258"/>
                  </a:lnTo>
                  <a:lnTo>
                    <a:pt x="14642" y="3267"/>
                  </a:lnTo>
                  <a:lnTo>
                    <a:pt x="14637" y="3273"/>
                  </a:lnTo>
                  <a:lnTo>
                    <a:pt x="14631" y="3277"/>
                  </a:lnTo>
                  <a:lnTo>
                    <a:pt x="14624" y="3278"/>
                  </a:lnTo>
                  <a:lnTo>
                    <a:pt x="14617" y="3277"/>
                  </a:lnTo>
                  <a:lnTo>
                    <a:pt x="14610" y="3273"/>
                  </a:lnTo>
                  <a:lnTo>
                    <a:pt x="14606" y="3267"/>
                  </a:lnTo>
                  <a:lnTo>
                    <a:pt x="14604" y="3258"/>
                  </a:lnTo>
                  <a:lnTo>
                    <a:pt x="14604" y="3145"/>
                  </a:lnTo>
                  <a:lnTo>
                    <a:pt x="14606" y="3138"/>
                  </a:lnTo>
                  <a:lnTo>
                    <a:pt x="14610" y="3131"/>
                  </a:lnTo>
                  <a:lnTo>
                    <a:pt x="14617" y="3127"/>
                  </a:lnTo>
                  <a:lnTo>
                    <a:pt x="14624" y="3126"/>
                  </a:lnTo>
                  <a:lnTo>
                    <a:pt x="14631" y="3127"/>
                  </a:lnTo>
                  <a:lnTo>
                    <a:pt x="14637" y="3131"/>
                  </a:lnTo>
                  <a:lnTo>
                    <a:pt x="14642" y="3138"/>
                  </a:lnTo>
                  <a:lnTo>
                    <a:pt x="14644" y="3145"/>
                  </a:lnTo>
                  <a:close/>
                  <a:moveTo>
                    <a:pt x="14381" y="3145"/>
                  </a:moveTo>
                  <a:lnTo>
                    <a:pt x="14381" y="3258"/>
                  </a:lnTo>
                  <a:lnTo>
                    <a:pt x="14379" y="3267"/>
                  </a:lnTo>
                  <a:lnTo>
                    <a:pt x="14374" y="3273"/>
                  </a:lnTo>
                  <a:lnTo>
                    <a:pt x="14368" y="3277"/>
                  </a:lnTo>
                  <a:lnTo>
                    <a:pt x="14362" y="3278"/>
                  </a:lnTo>
                  <a:lnTo>
                    <a:pt x="14354" y="3277"/>
                  </a:lnTo>
                  <a:lnTo>
                    <a:pt x="14347" y="3273"/>
                  </a:lnTo>
                  <a:lnTo>
                    <a:pt x="14342" y="3267"/>
                  </a:lnTo>
                  <a:lnTo>
                    <a:pt x="14341" y="3258"/>
                  </a:lnTo>
                  <a:lnTo>
                    <a:pt x="14341" y="3145"/>
                  </a:lnTo>
                  <a:lnTo>
                    <a:pt x="14342" y="3138"/>
                  </a:lnTo>
                  <a:lnTo>
                    <a:pt x="14347" y="3131"/>
                  </a:lnTo>
                  <a:lnTo>
                    <a:pt x="14354" y="3127"/>
                  </a:lnTo>
                  <a:lnTo>
                    <a:pt x="14362" y="3126"/>
                  </a:lnTo>
                  <a:lnTo>
                    <a:pt x="14368" y="3127"/>
                  </a:lnTo>
                  <a:lnTo>
                    <a:pt x="14374" y="3131"/>
                  </a:lnTo>
                  <a:lnTo>
                    <a:pt x="14379" y="3138"/>
                  </a:lnTo>
                  <a:lnTo>
                    <a:pt x="14381" y="3145"/>
                  </a:lnTo>
                  <a:close/>
                  <a:moveTo>
                    <a:pt x="14118" y="3145"/>
                  </a:moveTo>
                  <a:lnTo>
                    <a:pt x="14118" y="3258"/>
                  </a:lnTo>
                  <a:lnTo>
                    <a:pt x="14117" y="3267"/>
                  </a:lnTo>
                  <a:lnTo>
                    <a:pt x="14111" y="3273"/>
                  </a:lnTo>
                  <a:lnTo>
                    <a:pt x="14105" y="3277"/>
                  </a:lnTo>
                  <a:lnTo>
                    <a:pt x="14097" y="3278"/>
                  </a:lnTo>
                  <a:lnTo>
                    <a:pt x="14091" y="3277"/>
                  </a:lnTo>
                  <a:lnTo>
                    <a:pt x="14085" y="3273"/>
                  </a:lnTo>
                  <a:lnTo>
                    <a:pt x="14079" y="3267"/>
                  </a:lnTo>
                  <a:lnTo>
                    <a:pt x="14078" y="3258"/>
                  </a:lnTo>
                  <a:lnTo>
                    <a:pt x="14078" y="3145"/>
                  </a:lnTo>
                  <a:lnTo>
                    <a:pt x="14079" y="3138"/>
                  </a:lnTo>
                  <a:lnTo>
                    <a:pt x="14085" y="3131"/>
                  </a:lnTo>
                  <a:lnTo>
                    <a:pt x="14091" y="3127"/>
                  </a:lnTo>
                  <a:lnTo>
                    <a:pt x="14097" y="3126"/>
                  </a:lnTo>
                  <a:lnTo>
                    <a:pt x="14105" y="3127"/>
                  </a:lnTo>
                  <a:lnTo>
                    <a:pt x="14111" y="3131"/>
                  </a:lnTo>
                  <a:lnTo>
                    <a:pt x="14117" y="3138"/>
                  </a:lnTo>
                  <a:lnTo>
                    <a:pt x="14118" y="3145"/>
                  </a:lnTo>
                  <a:close/>
                  <a:moveTo>
                    <a:pt x="15434" y="2900"/>
                  </a:moveTo>
                  <a:lnTo>
                    <a:pt x="15434" y="3011"/>
                  </a:lnTo>
                  <a:lnTo>
                    <a:pt x="15432" y="3020"/>
                  </a:lnTo>
                  <a:lnTo>
                    <a:pt x="15427" y="3026"/>
                  </a:lnTo>
                  <a:lnTo>
                    <a:pt x="15421" y="3030"/>
                  </a:lnTo>
                  <a:lnTo>
                    <a:pt x="15413" y="3031"/>
                  </a:lnTo>
                  <a:lnTo>
                    <a:pt x="15407" y="3030"/>
                  </a:lnTo>
                  <a:lnTo>
                    <a:pt x="15400" y="3026"/>
                  </a:lnTo>
                  <a:lnTo>
                    <a:pt x="15395" y="3020"/>
                  </a:lnTo>
                  <a:lnTo>
                    <a:pt x="15394" y="3011"/>
                  </a:lnTo>
                  <a:lnTo>
                    <a:pt x="15394" y="2900"/>
                  </a:lnTo>
                  <a:lnTo>
                    <a:pt x="15395" y="2891"/>
                  </a:lnTo>
                  <a:lnTo>
                    <a:pt x="15400" y="2884"/>
                  </a:lnTo>
                  <a:lnTo>
                    <a:pt x="15407" y="2881"/>
                  </a:lnTo>
                  <a:lnTo>
                    <a:pt x="15413" y="2879"/>
                  </a:lnTo>
                  <a:lnTo>
                    <a:pt x="15421" y="2881"/>
                  </a:lnTo>
                  <a:lnTo>
                    <a:pt x="15427" y="2884"/>
                  </a:lnTo>
                  <a:lnTo>
                    <a:pt x="15432" y="2891"/>
                  </a:lnTo>
                  <a:lnTo>
                    <a:pt x="15434" y="2900"/>
                  </a:lnTo>
                  <a:close/>
                  <a:moveTo>
                    <a:pt x="15171" y="2900"/>
                  </a:moveTo>
                  <a:lnTo>
                    <a:pt x="15171" y="3011"/>
                  </a:lnTo>
                  <a:lnTo>
                    <a:pt x="15168" y="3020"/>
                  </a:lnTo>
                  <a:lnTo>
                    <a:pt x="15164" y="3026"/>
                  </a:lnTo>
                  <a:lnTo>
                    <a:pt x="15158" y="3030"/>
                  </a:lnTo>
                  <a:lnTo>
                    <a:pt x="15150" y="3031"/>
                  </a:lnTo>
                  <a:lnTo>
                    <a:pt x="15142" y="3030"/>
                  </a:lnTo>
                  <a:lnTo>
                    <a:pt x="15136" y="3026"/>
                  </a:lnTo>
                  <a:lnTo>
                    <a:pt x="15132" y="3020"/>
                  </a:lnTo>
                  <a:lnTo>
                    <a:pt x="15131" y="3011"/>
                  </a:lnTo>
                  <a:lnTo>
                    <a:pt x="15131" y="2900"/>
                  </a:lnTo>
                  <a:lnTo>
                    <a:pt x="15132" y="2891"/>
                  </a:lnTo>
                  <a:lnTo>
                    <a:pt x="15136" y="2884"/>
                  </a:lnTo>
                  <a:lnTo>
                    <a:pt x="15142" y="2881"/>
                  </a:lnTo>
                  <a:lnTo>
                    <a:pt x="15150" y="2879"/>
                  </a:lnTo>
                  <a:lnTo>
                    <a:pt x="15158" y="2881"/>
                  </a:lnTo>
                  <a:lnTo>
                    <a:pt x="15164" y="2884"/>
                  </a:lnTo>
                  <a:lnTo>
                    <a:pt x="15168" y="2891"/>
                  </a:lnTo>
                  <a:lnTo>
                    <a:pt x="15171" y="2900"/>
                  </a:lnTo>
                  <a:close/>
                  <a:moveTo>
                    <a:pt x="14908" y="2900"/>
                  </a:moveTo>
                  <a:lnTo>
                    <a:pt x="14908" y="3011"/>
                  </a:lnTo>
                  <a:lnTo>
                    <a:pt x="14905" y="3020"/>
                  </a:lnTo>
                  <a:lnTo>
                    <a:pt x="14901" y="3026"/>
                  </a:lnTo>
                  <a:lnTo>
                    <a:pt x="14895" y="3030"/>
                  </a:lnTo>
                  <a:lnTo>
                    <a:pt x="14887" y="3031"/>
                  </a:lnTo>
                  <a:lnTo>
                    <a:pt x="14880" y="3030"/>
                  </a:lnTo>
                  <a:lnTo>
                    <a:pt x="14873" y="3026"/>
                  </a:lnTo>
                  <a:lnTo>
                    <a:pt x="14869" y="3020"/>
                  </a:lnTo>
                  <a:lnTo>
                    <a:pt x="14867" y="3011"/>
                  </a:lnTo>
                  <a:lnTo>
                    <a:pt x="14867" y="2900"/>
                  </a:lnTo>
                  <a:lnTo>
                    <a:pt x="14869" y="2891"/>
                  </a:lnTo>
                  <a:lnTo>
                    <a:pt x="14873" y="2884"/>
                  </a:lnTo>
                  <a:lnTo>
                    <a:pt x="14880" y="2881"/>
                  </a:lnTo>
                  <a:lnTo>
                    <a:pt x="14887" y="2879"/>
                  </a:lnTo>
                  <a:lnTo>
                    <a:pt x="14895" y="2881"/>
                  </a:lnTo>
                  <a:lnTo>
                    <a:pt x="14901" y="2884"/>
                  </a:lnTo>
                  <a:lnTo>
                    <a:pt x="14905" y="2891"/>
                  </a:lnTo>
                  <a:lnTo>
                    <a:pt x="14908" y="2900"/>
                  </a:lnTo>
                  <a:close/>
                  <a:moveTo>
                    <a:pt x="14644" y="2900"/>
                  </a:moveTo>
                  <a:lnTo>
                    <a:pt x="14644" y="3011"/>
                  </a:lnTo>
                  <a:lnTo>
                    <a:pt x="14642" y="3020"/>
                  </a:lnTo>
                  <a:lnTo>
                    <a:pt x="14637" y="3026"/>
                  </a:lnTo>
                  <a:lnTo>
                    <a:pt x="14631" y="3030"/>
                  </a:lnTo>
                  <a:lnTo>
                    <a:pt x="14624" y="3031"/>
                  </a:lnTo>
                  <a:lnTo>
                    <a:pt x="14617" y="3030"/>
                  </a:lnTo>
                  <a:lnTo>
                    <a:pt x="14610" y="3026"/>
                  </a:lnTo>
                  <a:lnTo>
                    <a:pt x="14606" y="3020"/>
                  </a:lnTo>
                  <a:lnTo>
                    <a:pt x="14604" y="3011"/>
                  </a:lnTo>
                  <a:lnTo>
                    <a:pt x="14604" y="2900"/>
                  </a:lnTo>
                  <a:lnTo>
                    <a:pt x="14606" y="2891"/>
                  </a:lnTo>
                  <a:lnTo>
                    <a:pt x="14610" y="2884"/>
                  </a:lnTo>
                  <a:lnTo>
                    <a:pt x="14617" y="2881"/>
                  </a:lnTo>
                  <a:lnTo>
                    <a:pt x="14624" y="2879"/>
                  </a:lnTo>
                  <a:lnTo>
                    <a:pt x="14631" y="2881"/>
                  </a:lnTo>
                  <a:lnTo>
                    <a:pt x="14637" y="2884"/>
                  </a:lnTo>
                  <a:lnTo>
                    <a:pt x="14642" y="2891"/>
                  </a:lnTo>
                  <a:lnTo>
                    <a:pt x="14644" y="2900"/>
                  </a:lnTo>
                  <a:close/>
                  <a:moveTo>
                    <a:pt x="14381" y="2900"/>
                  </a:moveTo>
                  <a:lnTo>
                    <a:pt x="14381" y="3011"/>
                  </a:lnTo>
                  <a:lnTo>
                    <a:pt x="14379" y="3020"/>
                  </a:lnTo>
                  <a:lnTo>
                    <a:pt x="14374" y="3026"/>
                  </a:lnTo>
                  <a:lnTo>
                    <a:pt x="14368" y="3030"/>
                  </a:lnTo>
                  <a:lnTo>
                    <a:pt x="14362" y="3031"/>
                  </a:lnTo>
                  <a:lnTo>
                    <a:pt x="14354" y="3030"/>
                  </a:lnTo>
                  <a:lnTo>
                    <a:pt x="14347" y="3026"/>
                  </a:lnTo>
                  <a:lnTo>
                    <a:pt x="14342" y="3020"/>
                  </a:lnTo>
                  <a:lnTo>
                    <a:pt x="14341" y="3011"/>
                  </a:lnTo>
                  <a:lnTo>
                    <a:pt x="14341" y="2900"/>
                  </a:lnTo>
                  <a:lnTo>
                    <a:pt x="14342" y="2891"/>
                  </a:lnTo>
                  <a:lnTo>
                    <a:pt x="14347" y="2884"/>
                  </a:lnTo>
                  <a:lnTo>
                    <a:pt x="14354" y="2881"/>
                  </a:lnTo>
                  <a:lnTo>
                    <a:pt x="14362" y="2879"/>
                  </a:lnTo>
                  <a:lnTo>
                    <a:pt x="14368" y="2881"/>
                  </a:lnTo>
                  <a:lnTo>
                    <a:pt x="14374" y="2884"/>
                  </a:lnTo>
                  <a:lnTo>
                    <a:pt x="14379" y="2891"/>
                  </a:lnTo>
                  <a:lnTo>
                    <a:pt x="14381" y="2900"/>
                  </a:lnTo>
                  <a:close/>
                  <a:moveTo>
                    <a:pt x="14118" y="2900"/>
                  </a:moveTo>
                  <a:lnTo>
                    <a:pt x="14118" y="3011"/>
                  </a:lnTo>
                  <a:lnTo>
                    <a:pt x="14117" y="3020"/>
                  </a:lnTo>
                  <a:lnTo>
                    <a:pt x="14111" y="3026"/>
                  </a:lnTo>
                  <a:lnTo>
                    <a:pt x="14105" y="3030"/>
                  </a:lnTo>
                  <a:lnTo>
                    <a:pt x="14097" y="3031"/>
                  </a:lnTo>
                  <a:lnTo>
                    <a:pt x="14091" y="3030"/>
                  </a:lnTo>
                  <a:lnTo>
                    <a:pt x="14085" y="3026"/>
                  </a:lnTo>
                  <a:lnTo>
                    <a:pt x="14079" y="3020"/>
                  </a:lnTo>
                  <a:lnTo>
                    <a:pt x="14078" y="3011"/>
                  </a:lnTo>
                  <a:lnTo>
                    <a:pt x="14078" y="2900"/>
                  </a:lnTo>
                  <a:lnTo>
                    <a:pt x="14079" y="2891"/>
                  </a:lnTo>
                  <a:lnTo>
                    <a:pt x="14085" y="2884"/>
                  </a:lnTo>
                  <a:lnTo>
                    <a:pt x="14091" y="2881"/>
                  </a:lnTo>
                  <a:lnTo>
                    <a:pt x="14097" y="2879"/>
                  </a:lnTo>
                  <a:lnTo>
                    <a:pt x="14105" y="2881"/>
                  </a:lnTo>
                  <a:lnTo>
                    <a:pt x="14111" y="2884"/>
                  </a:lnTo>
                  <a:lnTo>
                    <a:pt x="14117" y="2891"/>
                  </a:lnTo>
                  <a:lnTo>
                    <a:pt x="14118" y="2900"/>
                  </a:lnTo>
                  <a:close/>
                  <a:moveTo>
                    <a:pt x="15434" y="3639"/>
                  </a:moveTo>
                  <a:lnTo>
                    <a:pt x="15434" y="3751"/>
                  </a:lnTo>
                  <a:lnTo>
                    <a:pt x="15432" y="3760"/>
                  </a:lnTo>
                  <a:lnTo>
                    <a:pt x="15427" y="3765"/>
                  </a:lnTo>
                  <a:lnTo>
                    <a:pt x="15421" y="3769"/>
                  </a:lnTo>
                  <a:lnTo>
                    <a:pt x="15413" y="3771"/>
                  </a:lnTo>
                  <a:lnTo>
                    <a:pt x="15407" y="3769"/>
                  </a:lnTo>
                  <a:lnTo>
                    <a:pt x="15400" y="3765"/>
                  </a:lnTo>
                  <a:lnTo>
                    <a:pt x="15395" y="3760"/>
                  </a:lnTo>
                  <a:lnTo>
                    <a:pt x="15394" y="3751"/>
                  </a:lnTo>
                  <a:lnTo>
                    <a:pt x="15394" y="3639"/>
                  </a:lnTo>
                  <a:lnTo>
                    <a:pt x="15395" y="3630"/>
                  </a:lnTo>
                  <a:lnTo>
                    <a:pt x="15400" y="3624"/>
                  </a:lnTo>
                  <a:lnTo>
                    <a:pt x="15407" y="3620"/>
                  </a:lnTo>
                  <a:lnTo>
                    <a:pt x="15413" y="3618"/>
                  </a:lnTo>
                  <a:lnTo>
                    <a:pt x="15421" y="3620"/>
                  </a:lnTo>
                  <a:lnTo>
                    <a:pt x="15427" y="3624"/>
                  </a:lnTo>
                  <a:lnTo>
                    <a:pt x="15432" y="3630"/>
                  </a:lnTo>
                  <a:lnTo>
                    <a:pt x="15434" y="3639"/>
                  </a:lnTo>
                  <a:close/>
                  <a:moveTo>
                    <a:pt x="18172" y="964"/>
                  </a:moveTo>
                  <a:lnTo>
                    <a:pt x="17643" y="964"/>
                  </a:lnTo>
                  <a:lnTo>
                    <a:pt x="17643" y="1019"/>
                  </a:lnTo>
                  <a:lnTo>
                    <a:pt x="18172" y="1019"/>
                  </a:lnTo>
                  <a:lnTo>
                    <a:pt x="18172" y="964"/>
                  </a:lnTo>
                  <a:close/>
                  <a:moveTo>
                    <a:pt x="17665" y="1323"/>
                  </a:moveTo>
                  <a:lnTo>
                    <a:pt x="18163" y="2010"/>
                  </a:lnTo>
                  <a:lnTo>
                    <a:pt x="18134" y="1058"/>
                  </a:lnTo>
                  <a:lnTo>
                    <a:pt x="17680" y="1058"/>
                  </a:lnTo>
                  <a:lnTo>
                    <a:pt x="17665" y="1322"/>
                  </a:lnTo>
                  <a:lnTo>
                    <a:pt x="17665" y="1323"/>
                  </a:lnTo>
                  <a:close/>
                  <a:moveTo>
                    <a:pt x="17638" y="1754"/>
                  </a:moveTo>
                  <a:lnTo>
                    <a:pt x="18179" y="2500"/>
                  </a:lnTo>
                  <a:lnTo>
                    <a:pt x="18166" y="2079"/>
                  </a:lnTo>
                  <a:lnTo>
                    <a:pt x="18161" y="2074"/>
                  </a:lnTo>
                  <a:lnTo>
                    <a:pt x="17661" y="1385"/>
                  </a:lnTo>
                  <a:lnTo>
                    <a:pt x="17638" y="1754"/>
                  </a:lnTo>
                  <a:close/>
                  <a:moveTo>
                    <a:pt x="17611" y="2186"/>
                  </a:moveTo>
                  <a:lnTo>
                    <a:pt x="18194" y="2989"/>
                  </a:lnTo>
                  <a:lnTo>
                    <a:pt x="18181" y="2571"/>
                  </a:lnTo>
                  <a:lnTo>
                    <a:pt x="17634" y="1817"/>
                  </a:lnTo>
                  <a:lnTo>
                    <a:pt x="17611" y="2186"/>
                  </a:lnTo>
                  <a:close/>
                  <a:moveTo>
                    <a:pt x="22919" y="2556"/>
                  </a:moveTo>
                  <a:lnTo>
                    <a:pt x="22895" y="2525"/>
                  </a:lnTo>
                  <a:lnTo>
                    <a:pt x="22869" y="2494"/>
                  </a:lnTo>
                  <a:lnTo>
                    <a:pt x="22841" y="2464"/>
                  </a:lnTo>
                  <a:lnTo>
                    <a:pt x="22812" y="2434"/>
                  </a:lnTo>
                  <a:lnTo>
                    <a:pt x="22748" y="2377"/>
                  </a:lnTo>
                  <a:lnTo>
                    <a:pt x="22714" y="2350"/>
                  </a:lnTo>
                  <a:lnTo>
                    <a:pt x="22678" y="2323"/>
                  </a:lnTo>
                  <a:lnTo>
                    <a:pt x="22603" y="2272"/>
                  </a:lnTo>
                  <a:lnTo>
                    <a:pt x="22522" y="2225"/>
                  </a:lnTo>
                  <a:lnTo>
                    <a:pt x="22436" y="2181"/>
                  </a:lnTo>
                  <a:lnTo>
                    <a:pt x="22346" y="2142"/>
                  </a:lnTo>
                  <a:lnTo>
                    <a:pt x="22250" y="2104"/>
                  </a:lnTo>
                  <a:lnTo>
                    <a:pt x="22151" y="2072"/>
                  </a:lnTo>
                  <a:lnTo>
                    <a:pt x="22048" y="2046"/>
                  </a:lnTo>
                  <a:lnTo>
                    <a:pt x="21995" y="2033"/>
                  </a:lnTo>
                  <a:lnTo>
                    <a:pt x="21941" y="2023"/>
                  </a:lnTo>
                  <a:lnTo>
                    <a:pt x="21831" y="2003"/>
                  </a:lnTo>
                  <a:lnTo>
                    <a:pt x="21774" y="1997"/>
                  </a:lnTo>
                  <a:lnTo>
                    <a:pt x="21718" y="1991"/>
                  </a:lnTo>
                  <a:lnTo>
                    <a:pt x="21601" y="1983"/>
                  </a:lnTo>
                  <a:lnTo>
                    <a:pt x="21483" y="1980"/>
                  </a:lnTo>
                  <a:lnTo>
                    <a:pt x="21365" y="1983"/>
                  </a:lnTo>
                  <a:lnTo>
                    <a:pt x="21249" y="1991"/>
                  </a:lnTo>
                  <a:lnTo>
                    <a:pt x="21136" y="2003"/>
                  </a:lnTo>
                  <a:lnTo>
                    <a:pt x="21026" y="2023"/>
                  </a:lnTo>
                  <a:lnTo>
                    <a:pt x="20972" y="2033"/>
                  </a:lnTo>
                  <a:lnTo>
                    <a:pt x="20919" y="2046"/>
                  </a:lnTo>
                  <a:lnTo>
                    <a:pt x="20815" y="2072"/>
                  </a:lnTo>
                  <a:lnTo>
                    <a:pt x="20717" y="2104"/>
                  </a:lnTo>
                  <a:lnTo>
                    <a:pt x="20622" y="2142"/>
                  </a:lnTo>
                  <a:lnTo>
                    <a:pt x="20531" y="2181"/>
                  </a:lnTo>
                  <a:lnTo>
                    <a:pt x="20445" y="2225"/>
                  </a:lnTo>
                  <a:lnTo>
                    <a:pt x="20364" y="2272"/>
                  </a:lnTo>
                  <a:lnTo>
                    <a:pt x="20288" y="2323"/>
                  </a:lnTo>
                  <a:lnTo>
                    <a:pt x="20219" y="2377"/>
                  </a:lnTo>
                  <a:lnTo>
                    <a:pt x="20187" y="2405"/>
                  </a:lnTo>
                  <a:lnTo>
                    <a:pt x="20155" y="2434"/>
                  </a:lnTo>
                  <a:lnTo>
                    <a:pt x="20125" y="2464"/>
                  </a:lnTo>
                  <a:lnTo>
                    <a:pt x="20098" y="2494"/>
                  </a:lnTo>
                  <a:lnTo>
                    <a:pt x="20047" y="2556"/>
                  </a:lnTo>
                  <a:lnTo>
                    <a:pt x="20765" y="2556"/>
                  </a:lnTo>
                  <a:lnTo>
                    <a:pt x="21483" y="2556"/>
                  </a:lnTo>
                  <a:lnTo>
                    <a:pt x="22201" y="2556"/>
                  </a:lnTo>
                  <a:lnTo>
                    <a:pt x="22919" y="2556"/>
                  </a:lnTo>
                  <a:close/>
                  <a:moveTo>
                    <a:pt x="21733" y="1952"/>
                  </a:moveTo>
                  <a:lnTo>
                    <a:pt x="21733" y="1794"/>
                  </a:lnTo>
                  <a:lnTo>
                    <a:pt x="21235" y="1794"/>
                  </a:lnTo>
                  <a:lnTo>
                    <a:pt x="21235" y="1952"/>
                  </a:lnTo>
                  <a:lnTo>
                    <a:pt x="21295" y="1947"/>
                  </a:lnTo>
                  <a:lnTo>
                    <a:pt x="21358" y="1943"/>
                  </a:lnTo>
                  <a:lnTo>
                    <a:pt x="21420" y="1941"/>
                  </a:lnTo>
                  <a:lnTo>
                    <a:pt x="21483" y="1939"/>
                  </a:lnTo>
                  <a:lnTo>
                    <a:pt x="21609" y="1943"/>
                  </a:lnTo>
                  <a:lnTo>
                    <a:pt x="21733" y="1952"/>
                  </a:lnTo>
                  <a:close/>
                  <a:moveTo>
                    <a:pt x="20024" y="2977"/>
                  </a:moveTo>
                  <a:lnTo>
                    <a:pt x="20754" y="2977"/>
                  </a:lnTo>
                  <a:lnTo>
                    <a:pt x="21483" y="2977"/>
                  </a:lnTo>
                  <a:lnTo>
                    <a:pt x="22213" y="2977"/>
                  </a:lnTo>
                  <a:lnTo>
                    <a:pt x="22943" y="2977"/>
                  </a:lnTo>
                  <a:lnTo>
                    <a:pt x="22943" y="2750"/>
                  </a:lnTo>
                  <a:lnTo>
                    <a:pt x="22213" y="2750"/>
                  </a:lnTo>
                  <a:lnTo>
                    <a:pt x="21483" y="2750"/>
                  </a:lnTo>
                  <a:lnTo>
                    <a:pt x="20754" y="2750"/>
                  </a:lnTo>
                  <a:lnTo>
                    <a:pt x="20024" y="2750"/>
                  </a:lnTo>
                  <a:lnTo>
                    <a:pt x="20024" y="2977"/>
                  </a:lnTo>
                  <a:close/>
                  <a:moveTo>
                    <a:pt x="20768" y="4017"/>
                  </a:moveTo>
                  <a:lnTo>
                    <a:pt x="20768" y="4324"/>
                  </a:lnTo>
                  <a:lnTo>
                    <a:pt x="20974" y="4324"/>
                  </a:lnTo>
                  <a:lnTo>
                    <a:pt x="20974" y="3670"/>
                  </a:lnTo>
                  <a:lnTo>
                    <a:pt x="20974" y="3016"/>
                  </a:lnTo>
                  <a:lnTo>
                    <a:pt x="20523" y="3016"/>
                  </a:lnTo>
                  <a:lnTo>
                    <a:pt x="20523" y="3670"/>
                  </a:lnTo>
                  <a:lnTo>
                    <a:pt x="20523" y="4324"/>
                  </a:lnTo>
                  <a:lnTo>
                    <a:pt x="20728" y="4324"/>
                  </a:lnTo>
                  <a:lnTo>
                    <a:pt x="20728" y="4017"/>
                  </a:lnTo>
                  <a:lnTo>
                    <a:pt x="20731" y="4008"/>
                  </a:lnTo>
                  <a:lnTo>
                    <a:pt x="20734" y="4002"/>
                  </a:lnTo>
                  <a:lnTo>
                    <a:pt x="20741" y="3998"/>
                  </a:lnTo>
                  <a:lnTo>
                    <a:pt x="20749" y="3997"/>
                  </a:lnTo>
                  <a:lnTo>
                    <a:pt x="20756" y="3998"/>
                  </a:lnTo>
                  <a:lnTo>
                    <a:pt x="20763" y="4002"/>
                  </a:lnTo>
                  <a:lnTo>
                    <a:pt x="20767" y="4008"/>
                  </a:lnTo>
                  <a:lnTo>
                    <a:pt x="20768" y="4017"/>
                  </a:lnTo>
                  <a:close/>
                  <a:moveTo>
                    <a:pt x="21260" y="4017"/>
                  </a:moveTo>
                  <a:lnTo>
                    <a:pt x="21260" y="4324"/>
                  </a:lnTo>
                  <a:lnTo>
                    <a:pt x="21467" y="4324"/>
                  </a:lnTo>
                  <a:lnTo>
                    <a:pt x="21467" y="3670"/>
                  </a:lnTo>
                  <a:lnTo>
                    <a:pt x="21467" y="3016"/>
                  </a:lnTo>
                  <a:lnTo>
                    <a:pt x="21014" y="3016"/>
                  </a:lnTo>
                  <a:lnTo>
                    <a:pt x="21014" y="3670"/>
                  </a:lnTo>
                  <a:lnTo>
                    <a:pt x="21014" y="4324"/>
                  </a:lnTo>
                  <a:lnTo>
                    <a:pt x="21220" y="4324"/>
                  </a:lnTo>
                  <a:lnTo>
                    <a:pt x="21220" y="4017"/>
                  </a:lnTo>
                  <a:lnTo>
                    <a:pt x="21222" y="4008"/>
                  </a:lnTo>
                  <a:lnTo>
                    <a:pt x="21227" y="4002"/>
                  </a:lnTo>
                  <a:lnTo>
                    <a:pt x="21233" y="3998"/>
                  </a:lnTo>
                  <a:lnTo>
                    <a:pt x="21241" y="3997"/>
                  </a:lnTo>
                  <a:lnTo>
                    <a:pt x="21247" y="3998"/>
                  </a:lnTo>
                  <a:lnTo>
                    <a:pt x="21254" y="4002"/>
                  </a:lnTo>
                  <a:lnTo>
                    <a:pt x="21259" y="4008"/>
                  </a:lnTo>
                  <a:lnTo>
                    <a:pt x="21260" y="4017"/>
                  </a:lnTo>
                  <a:close/>
                  <a:moveTo>
                    <a:pt x="21753" y="4017"/>
                  </a:moveTo>
                  <a:lnTo>
                    <a:pt x="21753" y="4324"/>
                  </a:lnTo>
                  <a:lnTo>
                    <a:pt x="21959" y="4324"/>
                  </a:lnTo>
                  <a:lnTo>
                    <a:pt x="21959" y="3670"/>
                  </a:lnTo>
                  <a:lnTo>
                    <a:pt x="21959" y="3016"/>
                  </a:lnTo>
                  <a:lnTo>
                    <a:pt x="21506" y="3016"/>
                  </a:lnTo>
                  <a:lnTo>
                    <a:pt x="21506" y="3670"/>
                  </a:lnTo>
                  <a:lnTo>
                    <a:pt x="21506" y="4324"/>
                  </a:lnTo>
                  <a:lnTo>
                    <a:pt x="21713" y="4324"/>
                  </a:lnTo>
                  <a:lnTo>
                    <a:pt x="21713" y="4017"/>
                  </a:lnTo>
                  <a:lnTo>
                    <a:pt x="21714" y="4008"/>
                  </a:lnTo>
                  <a:lnTo>
                    <a:pt x="21719" y="4002"/>
                  </a:lnTo>
                  <a:lnTo>
                    <a:pt x="21726" y="3998"/>
                  </a:lnTo>
                  <a:lnTo>
                    <a:pt x="21732" y="3997"/>
                  </a:lnTo>
                  <a:lnTo>
                    <a:pt x="21740" y="3998"/>
                  </a:lnTo>
                  <a:lnTo>
                    <a:pt x="21746" y="4002"/>
                  </a:lnTo>
                  <a:lnTo>
                    <a:pt x="21751" y="4008"/>
                  </a:lnTo>
                  <a:lnTo>
                    <a:pt x="21753" y="4017"/>
                  </a:lnTo>
                  <a:close/>
                  <a:moveTo>
                    <a:pt x="22245" y="4017"/>
                  </a:moveTo>
                  <a:lnTo>
                    <a:pt x="22245" y="4324"/>
                  </a:lnTo>
                  <a:lnTo>
                    <a:pt x="22450" y="4324"/>
                  </a:lnTo>
                  <a:lnTo>
                    <a:pt x="22450" y="3670"/>
                  </a:lnTo>
                  <a:lnTo>
                    <a:pt x="22450" y="3016"/>
                  </a:lnTo>
                  <a:lnTo>
                    <a:pt x="21999" y="3016"/>
                  </a:lnTo>
                  <a:lnTo>
                    <a:pt x="21999" y="3670"/>
                  </a:lnTo>
                  <a:lnTo>
                    <a:pt x="21999" y="4324"/>
                  </a:lnTo>
                  <a:lnTo>
                    <a:pt x="22205" y="4324"/>
                  </a:lnTo>
                  <a:lnTo>
                    <a:pt x="22205" y="4017"/>
                  </a:lnTo>
                  <a:lnTo>
                    <a:pt x="22207" y="4008"/>
                  </a:lnTo>
                  <a:lnTo>
                    <a:pt x="22210" y="4002"/>
                  </a:lnTo>
                  <a:lnTo>
                    <a:pt x="22217" y="3998"/>
                  </a:lnTo>
                  <a:lnTo>
                    <a:pt x="22224" y="3997"/>
                  </a:lnTo>
                  <a:lnTo>
                    <a:pt x="22232" y="3998"/>
                  </a:lnTo>
                  <a:lnTo>
                    <a:pt x="22239" y="4002"/>
                  </a:lnTo>
                  <a:lnTo>
                    <a:pt x="22242" y="4008"/>
                  </a:lnTo>
                  <a:lnTo>
                    <a:pt x="22245" y="4017"/>
                  </a:lnTo>
                  <a:close/>
                  <a:moveTo>
                    <a:pt x="22737" y="4017"/>
                  </a:moveTo>
                  <a:lnTo>
                    <a:pt x="22737" y="4324"/>
                  </a:lnTo>
                  <a:lnTo>
                    <a:pt x="22943" y="4324"/>
                  </a:lnTo>
                  <a:lnTo>
                    <a:pt x="22943" y="3670"/>
                  </a:lnTo>
                  <a:lnTo>
                    <a:pt x="22943" y="3016"/>
                  </a:lnTo>
                  <a:lnTo>
                    <a:pt x="22491" y="3016"/>
                  </a:lnTo>
                  <a:lnTo>
                    <a:pt x="22491" y="3670"/>
                  </a:lnTo>
                  <a:lnTo>
                    <a:pt x="22491" y="4324"/>
                  </a:lnTo>
                  <a:lnTo>
                    <a:pt x="22696" y="4324"/>
                  </a:lnTo>
                  <a:lnTo>
                    <a:pt x="22696" y="4017"/>
                  </a:lnTo>
                  <a:lnTo>
                    <a:pt x="22699" y="4008"/>
                  </a:lnTo>
                  <a:lnTo>
                    <a:pt x="22703" y="4002"/>
                  </a:lnTo>
                  <a:lnTo>
                    <a:pt x="22709" y="3998"/>
                  </a:lnTo>
                  <a:lnTo>
                    <a:pt x="22717" y="3997"/>
                  </a:lnTo>
                  <a:lnTo>
                    <a:pt x="22725" y="3998"/>
                  </a:lnTo>
                  <a:lnTo>
                    <a:pt x="22731" y="4002"/>
                  </a:lnTo>
                  <a:lnTo>
                    <a:pt x="22735" y="4008"/>
                  </a:lnTo>
                  <a:lnTo>
                    <a:pt x="22737" y="4017"/>
                  </a:lnTo>
                  <a:close/>
                  <a:moveTo>
                    <a:pt x="21727" y="1754"/>
                  </a:moveTo>
                  <a:lnTo>
                    <a:pt x="21714" y="1740"/>
                  </a:lnTo>
                  <a:lnTo>
                    <a:pt x="21696" y="1727"/>
                  </a:lnTo>
                  <a:lnTo>
                    <a:pt x="21673" y="1714"/>
                  </a:lnTo>
                  <a:lnTo>
                    <a:pt x="21645" y="1703"/>
                  </a:lnTo>
                  <a:lnTo>
                    <a:pt x="21612" y="1693"/>
                  </a:lnTo>
                  <a:lnTo>
                    <a:pt x="21573" y="1686"/>
                  </a:lnTo>
                  <a:lnTo>
                    <a:pt x="21531" y="1681"/>
                  </a:lnTo>
                  <a:lnTo>
                    <a:pt x="21483" y="1679"/>
                  </a:lnTo>
                  <a:lnTo>
                    <a:pt x="21437" y="1681"/>
                  </a:lnTo>
                  <a:lnTo>
                    <a:pt x="21394" y="1686"/>
                  </a:lnTo>
                  <a:lnTo>
                    <a:pt x="21356" y="1693"/>
                  </a:lnTo>
                  <a:lnTo>
                    <a:pt x="21322" y="1703"/>
                  </a:lnTo>
                  <a:lnTo>
                    <a:pt x="21294" y="1714"/>
                  </a:lnTo>
                  <a:lnTo>
                    <a:pt x="21270" y="1727"/>
                  </a:lnTo>
                  <a:lnTo>
                    <a:pt x="21253" y="1740"/>
                  </a:lnTo>
                  <a:lnTo>
                    <a:pt x="21241" y="1754"/>
                  </a:lnTo>
                  <a:lnTo>
                    <a:pt x="21727" y="1754"/>
                  </a:lnTo>
                  <a:close/>
                  <a:moveTo>
                    <a:pt x="19597" y="4131"/>
                  </a:moveTo>
                  <a:lnTo>
                    <a:pt x="19564" y="4135"/>
                  </a:lnTo>
                  <a:lnTo>
                    <a:pt x="19532" y="4145"/>
                  </a:lnTo>
                  <a:lnTo>
                    <a:pt x="19500" y="4154"/>
                  </a:lnTo>
                  <a:lnTo>
                    <a:pt x="19465" y="4159"/>
                  </a:lnTo>
                  <a:lnTo>
                    <a:pt x="19436" y="4154"/>
                  </a:lnTo>
                  <a:lnTo>
                    <a:pt x="19423" y="4149"/>
                  </a:lnTo>
                  <a:lnTo>
                    <a:pt x="19410" y="4143"/>
                  </a:lnTo>
                  <a:lnTo>
                    <a:pt x="19388" y="4125"/>
                  </a:lnTo>
                  <a:lnTo>
                    <a:pt x="19369" y="4100"/>
                  </a:lnTo>
                  <a:lnTo>
                    <a:pt x="19351" y="4072"/>
                  </a:lnTo>
                  <a:lnTo>
                    <a:pt x="19334" y="4040"/>
                  </a:lnTo>
                  <a:lnTo>
                    <a:pt x="19300" y="3973"/>
                  </a:lnTo>
                  <a:lnTo>
                    <a:pt x="19282" y="3937"/>
                  </a:lnTo>
                  <a:lnTo>
                    <a:pt x="19260" y="3904"/>
                  </a:lnTo>
                  <a:lnTo>
                    <a:pt x="19235" y="3872"/>
                  </a:lnTo>
                  <a:lnTo>
                    <a:pt x="19209" y="3843"/>
                  </a:lnTo>
                  <a:lnTo>
                    <a:pt x="19175" y="3820"/>
                  </a:lnTo>
                  <a:lnTo>
                    <a:pt x="19157" y="3810"/>
                  </a:lnTo>
                  <a:lnTo>
                    <a:pt x="19138" y="3801"/>
                  </a:lnTo>
                  <a:lnTo>
                    <a:pt x="19116" y="3795"/>
                  </a:lnTo>
                  <a:lnTo>
                    <a:pt x="19093" y="3790"/>
                  </a:lnTo>
                  <a:lnTo>
                    <a:pt x="19069" y="3787"/>
                  </a:lnTo>
                  <a:lnTo>
                    <a:pt x="19042" y="3786"/>
                  </a:lnTo>
                  <a:lnTo>
                    <a:pt x="19014" y="3790"/>
                  </a:lnTo>
                  <a:lnTo>
                    <a:pt x="19002" y="3795"/>
                  </a:lnTo>
                  <a:lnTo>
                    <a:pt x="18993" y="3801"/>
                  </a:lnTo>
                  <a:lnTo>
                    <a:pt x="18974" y="3817"/>
                  </a:lnTo>
                  <a:lnTo>
                    <a:pt x="18952" y="3836"/>
                  </a:lnTo>
                  <a:lnTo>
                    <a:pt x="18925" y="3854"/>
                  </a:lnTo>
                  <a:lnTo>
                    <a:pt x="18908" y="3863"/>
                  </a:lnTo>
                  <a:lnTo>
                    <a:pt x="18889" y="3869"/>
                  </a:lnTo>
                  <a:lnTo>
                    <a:pt x="18865" y="3875"/>
                  </a:lnTo>
                  <a:lnTo>
                    <a:pt x="18838" y="3881"/>
                  </a:lnTo>
                  <a:lnTo>
                    <a:pt x="18806" y="3884"/>
                  </a:lnTo>
                  <a:lnTo>
                    <a:pt x="18769" y="3886"/>
                  </a:lnTo>
                  <a:lnTo>
                    <a:pt x="18742" y="3883"/>
                  </a:lnTo>
                  <a:lnTo>
                    <a:pt x="18720" y="3879"/>
                  </a:lnTo>
                  <a:lnTo>
                    <a:pt x="18688" y="3868"/>
                  </a:lnTo>
                  <a:lnTo>
                    <a:pt x="18662" y="3855"/>
                  </a:lnTo>
                  <a:lnTo>
                    <a:pt x="18649" y="3851"/>
                  </a:lnTo>
                  <a:lnTo>
                    <a:pt x="18637" y="3850"/>
                  </a:lnTo>
                  <a:lnTo>
                    <a:pt x="18615" y="3851"/>
                  </a:lnTo>
                  <a:lnTo>
                    <a:pt x="18594" y="3856"/>
                  </a:lnTo>
                  <a:lnTo>
                    <a:pt x="18575" y="3864"/>
                  </a:lnTo>
                  <a:lnTo>
                    <a:pt x="18557" y="3875"/>
                  </a:lnTo>
                  <a:lnTo>
                    <a:pt x="18540" y="3888"/>
                  </a:lnTo>
                  <a:lnTo>
                    <a:pt x="18524" y="3902"/>
                  </a:lnTo>
                  <a:lnTo>
                    <a:pt x="18494" y="3936"/>
                  </a:lnTo>
                  <a:lnTo>
                    <a:pt x="18467" y="3973"/>
                  </a:lnTo>
                  <a:lnTo>
                    <a:pt x="18442" y="4011"/>
                  </a:lnTo>
                  <a:lnTo>
                    <a:pt x="18416" y="4047"/>
                  </a:lnTo>
                  <a:lnTo>
                    <a:pt x="18389" y="4077"/>
                  </a:lnTo>
                  <a:lnTo>
                    <a:pt x="18366" y="4097"/>
                  </a:lnTo>
                  <a:lnTo>
                    <a:pt x="18337" y="4116"/>
                  </a:lnTo>
                  <a:lnTo>
                    <a:pt x="18266" y="4155"/>
                  </a:lnTo>
                  <a:lnTo>
                    <a:pt x="18261" y="4161"/>
                  </a:lnTo>
                  <a:lnTo>
                    <a:pt x="18253" y="4163"/>
                  </a:lnTo>
                  <a:lnTo>
                    <a:pt x="18207" y="4191"/>
                  </a:lnTo>
                  <a:lnTo>
                    <a:pt x="18169" y="4221"/>
                  </a:lnTo>
                  <a:lnTo>
                    <a:pt x="18153" y="4236"/>
                  </a:lnTo>
                  <a:lnTo>
                    <a:pt x="18147" y="4245"/>
                  </a:lnTo>
                  <a:lnTo>
                    <a:pt x="18142" y="4253"/>
                  </a:lnTo>
                  <a:lnTo>
                    <a:pt x="18134" y="4269"/>
                  </a:lnTo>
                  <a:lnTo>
                    <a:pt x="18131" y="4287"/>
                  </a:lnTo>
                  <a:lnTo>
                    <a:pt x="18133" y="4308"/>
                  </a:lnTo>
                  <a:lnTo>
                    <a:pt x="18137" y="4329"/>
                  </a:lnTo>
                  <a:lnTo>
                    <a:pt x="18256" y="4329"/>
                  </a:lnTo>
                  <a:lnTo>
                    <a:pt x="18261" y="4329"/>
                  </a:lnTo>
                  <a:lnTo>
                    <a:pt x="19046" y="4329"/>
                  </a:lnTo>
                  <a:lnTo>
                    <a:pt x="19830" y="4329"/>
                  </a:lnTo>
                  <a:lnTo>
                    <a:pt x="19825" y="4308"/>
                  </a:lnTo>
                  <a:lnTo>
                    <a:pt x="19819" y="4286"/>
                  </a:lnTo>
                  <a:lnTo>
                    <a:pt x="19810" y="4265"/>
                  </a:lnTo>
                  <a:lnTo>
                    <a:pt x="19801" y="4248"/>
                  </a:lnTo>
                  <a:lnTo>
                    <a:pt x="19778" y="4213"/>
                  </a:lnTo>
                  <a:lnTo>
                    <a:pt x="19764" y="4198"/>
                  </a:lnTo>
                  <a:lnTo>
                    <a:pt x="19748" y="4185"/>
                  </a:lnTo>
                  <a:lnTo>
                    <a:pt x="19733" y="4172"/>
                  </a:lnTo>
                  <a:lnTo>
                    <a:pt x="19716" y="4162"/>
                  </a:lnTo>
                  <a:lnTo>
                    <a:pt x="19698" y="4153"/>
                  </a:lnTo>
                  <a:lnTo>
                    <a:pt x="19679" y="4145"/>
                  </a:lnTo>
                  <a:lnTo>
                    <a:pt x="19660" y="4139"/>
                  </a:lnTo>
                  <a:lnTo>
                    <a:pt x="19639" y="4134"/>
                  </a:lnTo>
                  <a:lnTo>
                    <a:pt x="19597" y="4131"/>
                  </a:lnTo>
                  <a:close/>
                  <a:moveTo>
                    <a:pt x="18860" y="2743"/>
                  </a:moveTo>
                  <a:lnTo>
                    <a:pt x="18742" y="2904"/>
                  </a:lnTo>
                  <a:lnTo>
                    <a:pt x="18742" y="3047"/>
                  </a:lnTo>
                  <a:lnTo>
                    <a:pt x="18794" y="3040"/>
                  </a:lnTo>
                  <a:lnTo>
                    <a:pt x="18803" y="3039"/>
                  </a:lnTo>
                  <a:lnTo>
                    <a:pt x="18811" y="3043"/>
                  </a:lnTo>
                  <a:lnTo>
                    <a:pt x="18815" y="3048"/>
                  </a:lnTo>
                  <a:lnTo>
                    <a:pt x="18819" y="3056"/>
                  </a:lnTo>
                  <a:lnTo>
                    <a:pt x="18819" y="3062"/>
                  </a:lnTo>
                  <a:lnTo>
                    <a:pt x="18816" y="3070"/>
                  </a:lnTo>
                  <a:lnTo>
                    <a:pt x="18811" y="3075"/>
                  </a:lnTo>
                  <a:lnTo>
                    <a:pt x="18802" y="3079"/>
                  </a:lnTo>
                  <a:lnTo>
                    <a:pt x="18773" y="3084"/>
                  </a:lnTo>
                  <a:lnTo>
                    <a:pt x="18742" y="3086"/>
                  </a:lnTo>
                  <a:lnTo>
                    <a:pt x="18742" y="3827"/>
                  </a:lnTo>
                  <a:lnTo>
                    <a:pt x="18741" y="3836"/>
                  </a:lnTo>
                  <a:lnTo>
                    <a:pt x="18735" y="3842"/>
                  </a:lnTo>
                  <a:lnTo>
                    <a:pt x="18751" y="3845"/>
                  </a:lnTo>
                  <a:lnTo>
                    <a:pt x="18769" y="3845"/>
                  </a:lnTo>
                  <a:lnTo>
                    <a:pt x="18798" y="3845"/>
                  </a:lnTo>
                  <a:lnTo>
                    <a:pt x="18825" y="3843"/>
                  </a:lnTo>
                  <a:lnTo>
                    <a:pt x="18850" y="3840"/>
                  </a:lnTo>
                  <a:lnTo>
                    <a:pt x="18871" y="3835"/>
                  </a:lnTo>
                  <a:lnTo>
                    <a:pt x="18892" y="3826"/>
                  </a:lnTo>
                  <a:lnTo>
                    <a:pt x="18911" y="3815"/>
                  </a:lnTo>
                  <a:lnTo>
                    <a:pt x="18952" y="3782"/>
                  </a:lnTo>
                  <a:lnTo>
                    <a:pt x="18973" y="3767"/>
                  </a:lnTo>
                  <a:lnTo>
                    <a:pt x="18982" y="3760"/>
                  </a:lnTo>
                  <a:lnTo>
                    <a:pt x="18992" y="3755"/>
                  </a:lnTo>
                  <a:lnTo>
                    <a:pt x="19015" y="3748"/>
                  </a:lnTo>
                  <a:lnTo>
                    <a:pt x="19042" y="3745"/>
                  </a:lnTo>
                  <a:lnTo>
                    <a:pt x="19075" y="3748"/>
                  </a:lnTo>
                  <a:lnTo>
                    <a:pt x="19107" y="3751"/>
                  </a:lnTo>
                  <a:lnTo>
                    <a:pt x="19135" y="3758"/>
                  </a:lnTo>
                  <a:lnTo>
                    <a:pt x="19162" y="3768"/>
                  </a:lnTo>
                  <a:lnTo>
                    <a:pt x="19187" y="3780"/>
                  </a:lnTo>
                  <a:lnTo>
                    <a:pt x="19209" y="3794"/>
                  </a:lnTo>
                  <a:lnTo>
                    <a:pt x="19229" y="3809"/>
                  </a:lnTo>
                  <a:lnTo>
                    <a:pt x="19248" y="3827"/>
                  </a:lnTo>
                  <a:lnTo>
                    <a:pt x="19282" y="3866"/>
                  </a:lnTo>
                  <a:lnTo>
                    <a:pt x="19311" y="3911"/>
                  </a:lnTo>
                  <a:lnTo>
                    <a:pt x="19338" y="3960"/>
                  </a:lnTo>
                  <a:lnTo>
                    <a:pt x="19364" y="4012"/>
                  </a:lnTo>
                  <a:lnTo>
                    <a:pt x="19369" y="4021"/>
                  </a:lnTo>
                  <a:lnTo>
                    <a:pt x="19369" y="3649"/>
                  </a:lnTo>
                  <a:lnTo>
                    <a:pt x="19334" y="3663"/>
                  </a:lnTo>
                  <a:lnTo>
                    <a:pt x="19319" y="3670"/>
                  </a:lnTo>
                  <a:lnTo>
                    <a:pt x="19302" y="3676"/>
                  </a:lnTo>
                  <a:lnTo>
                    <a:pt x="19284" y="3676"/>
                  </a:lnTo>
                  <a:lnTo>
                    <a:pt x="19275" y="3675"/>
                  </a:lnTo>
                  <a:lnTo>
                    <a:pt x="19265" y="3671"/>
                  </a:lnTo>
                  <a:lnTo>
                    <a:pt x="19255" y="3666"/>
                  </a:lnTo>
                  <a:lnTo>
                    <a:pt x="19244" y="3658"/>
                  </a:lnTo>
                  <a:lnTo>
                    <a:pt x="19221" y="3634"/>
                  </a:lnTo>
                  <a:lnTo>
                    <a:pt x="19205" y="3616"/>
                  </a:lnTo>
                  <a:lnTo>
                    <a:pt x="19191" y="3604"/>
                  </a:lnTo>
                  <a:lnTo>
                    <a:pt x="19180" y="3598"/>
                  </a:lnTo>
                  <a:lnTo>
                    <a:pt x="19169" y="3595"/>
                  </a:lnTo>
                  <a:lnTo>
                    <a:pt x="19144" y="3594"/>
                  </a:lnTo>
                  <a:lnTo>
                    <a:pt x="19105" y="3590"/>
                  </a:lnTo>
                  <a:lnTo>
                    <a:pt x="19091" y="3586"/>
                  </a:lnTo>
                  <a:lnTo>
                    <a:pt x="19079" y="3581"/>
                  </a:lnTo>
                  <a:lnTo>
                    <a:pt x="19062" y="3567"/>
                  </a:lnTo>
                  <a:lnTo>
                    <a:pt x="19052" y="3549"/>
                  </a:lnTo>
                  <a:lnTo>
                    <a:pt x="19044" y="3530"/>
                  </a:lnTo>
                  <a:lnTo>
                    <a:pt x="19039" y="3510"/>
                  </a:lnTo>
                  <a:lnTo>
                    <a:pt x="19033" y="3489"/>
                  </a:lnTo>
                  <a:lnTo>
                    <a:pt x="19029" y="3480"/>
                  </a:lnTo>
                  <a:lnTo>
                    <a:pt x="19024" y="3471"/>
                  </a:lnTo>
                  <a:lnTo>
                    <a:pt x="19016" y="3464"/>
                  </a:lnTo>
                  <a:lnTo>
                    <a:pt x="19009" y="3457"/>
                  </a:lnTo>
                  <a:lnTo>
                    <a:pt x="18967" y="3434"/>
                  </a:lnTo>
                  <a:lnTo>
                    <a:pt x="18952" y="3424"/>
                  </a:lnTo>
                  <a:lnTo>
                    <a:pt x="18939" y="3414"/>
                  </a:lnTo>
                  <a:lnTo>
                    <a:pt x="18930" y="3400"/>
                  </a:lnTo>
                  <a:lnTo>
                    <a:pt x="18926" y="3383"/>
                  </a:lnTo>
                  <a:lnTo>
                    <a:pt x="18925" y="3361"/>
                  </a:lnTo>
                  <a:lnTo>
                    <a:pt x="18929" y="3333"/>
                  </a:lnTo>
                  <a:lnTo>
                    <a:pt x="18934" y="3304"/>
                  </a:lnTo>
                  <a:lnTo>
                    <a:pt x="18934" y="3285"/>
                  </a:lnTo>
                  <a:lnTo>
                    <a:pt x="18925" y="3267"/>
                  </a:lnTo>
                  <a:lnTo>
                    <a:pt x="18908" y="3242"/>
                  </a:lnTo>
                  <a:lnTo>
                    <a:pt x="18891" y="3216"/>
                  </a:lnTo>
                  <a:lnTo>
                    <a:pt x="18884" y="3199"/>
                  </a:lnTo>
                  <a:lnTo>
                    <a:pt x="18882" y="3181"/>
                  </a:lnTo>
                  <a:lnTo>
                    <a:pt x="18884" y="3162"/>
                  </a:lnTo>
                  <a:lnTo>
                    <a:pt x="18891" y="3145"/>
                  </a:lnTo>
                  <a:lnTo>
                    <a:pt x="18908" y="3118"/>
                  </a:lnTo>
                  <a:lnTo>
                    <a:pt x="18923" y="3098"/>
                  </a:lnTo>
                  <a:lnTo>
                    <a:pt x="18930" y="3083"/>
                  </a:lnTo>
                  <a:lnTo>
                    <a:pt x="18934" y="3070"/>
                  </a:lnTo>
                  <a:lnTo>
                    <a:pt x="18935" y="3060"/>
                  </a:lnTo>
                  <a:lnTo>
                    <a:pt x="18929" y="3035"/>
                  </a:lnTo>
                  <a:lnTo>
                    <a:pt x="18925" y="2996"/>
                  </a:lnTo>
                  <a:lnTo>
                    <a:pt x="18928" y="2969"/>
                  </a:lnTo>
                  <a:lnTo>
                    <a:pt x="18932" y="2959"/>
                  </a:lnTo>
                  <a:lnTo>
                    <a:pt x="18938" y="2950"/>
                  </a:lnTo>
                  <a:lnTo>
                    <a:pt x="18944" y="2942"/>
                  </a:lnTo>
                  <a:lnTo>
                    <a:pt x="18952" y="2936"/>
                  </a:lnTo>
                  <a:lnTo>
                    <a:pt x="18970" y="2924"/>
                  </a:lnTo>
                  <a:lnTo>
                    <a:pt x="19007" y="2904"/>
                  </a:lnTo>
                  <a:lnTo>
                    <a:pt x="19023" y="2891"/>
                  </a:lnTo>
                  <a:lnTo>
                    <a:pt x="19033" y="2872"/>
                  </a:lnTo>
                  <a:lnTo>
                    <a:pt x="19047" y="2828"/>
                  </a:lnTo>
                  <a:lnTo>
                    <a:pt x="19053" y="2810"/>
                  </a:lnTo>
                  <a:lnTo>
                    <a:pt x="19061" y="2796"/>
                  </a:lnTo>
                  <a:lnTo>
                    <a:pt x="19073" y="2785"/>
                  </a:lnTo>
                  <a:lnTo>
                    <a:pt x="19088" y="2776"/>
                  </a:lnTo>
                  <a:lnTo>
                    <a:pt x="19109" y="2771"/>
                  </a:lnTo>
                  <a:lnTo>
                    <a:pt x="19138" y="2768"/>
                  </a:lnTo>
                  <a:lnTo>
                    <a:pt x="19162" y="2766"/>
                  </a:lnTo>
                  <a:lnTo>
                    <a:pt x="19180" y="2763"/>
                  </a:lnTo>
                  <a:lnTo>
                    <a:pt x="19192" y="2758"/>
                  </a:lnTo>
                  <a:lnTo>
                    <a:pt x="19201" y="2751"/>
                  </a:lnTo>
                  <a:lnTo>
                    <a:pt x="19216" y="2732"/>
                  </a:lnTo>
                  <a:lnTo>
                    <a:pt x="19228" y="2719"/>
                  </a:lnTo>
                  <a:lnTo>
                    <a:pt x="19243" y="2704"/>
                  </a:lnTo>
                  <a:lnTo>
                    <a:pt x="19265" y="2690"/>
                  </a:lnTo>
                  <a:lnTo>
                    <a:pt x="19274" y="2686"/>
                  </a:lnTo>
                  <a:lnTo>
                    <a:pt x="19284" y="2685"/>
                  </a:lnTo>
                  <a:lnTo>
                    <a:pt x="19302" y="2686"/>
                  </a:lnTo>
                  <a:lnTo>
                    <a:pt x="19319" y="2691"/>
                  </a:lnTo>
                  <a:lnTo>
                    <a:pt x="19352" y="2707"/>
                  </a:lnTo>
                  <a:lnTo>
                    <a:pt x="19370" y="2713"/>
                  </a:lnTo>
                  <a:lnTo>
                    <a:pt x="19388" y="2716"/>
                  </a:lnTo>
                  <a:lnTo>
                    <a:pt x="19410" y="2712"/>
                  </a:lnTo>
                  <a:lnTo>
                    <a:pt x="19429" y="2705"/>
                  </a:lnTo>
                  <a:lnTo>
                    <a:pt x="19448" y="2696"/>
                  </a:lnTo>
                  <a:lnTo>
                    <a:pt x="19466" y="2689"/>
                  </a:lnTo>
                  <a:lnTo>
                    <a:pt x="19486" y="2685"/>
                  </a:lnTo>
                  <a:lnTo>
                    <a:pt x="19506" y="2688"/>
                  </a:lnTo>
                  <a:lnTo>
                    <a:pt x="19518" y="2694"/>
                  </a:lnTo>
                  <a:lnTo>
                    <a:pt x="19529" y="2702"/>
                  </a:lnTo>
                  <a:lnTo>
                    <a:pt x="19556" y="2727"/>
                  </a:lnTo>
                  <a:lnTo>
                    <a:pt x="19573" y="2746"/>
                  </a:lnTo>
                  <a:lnTo>
                    <a:pt x="19586" y="2758"/>
                  </a:lnTo>
                  <a:lnTo>
                    <a:pt x="19597" y="2764"/>
                  </a:lnTo>
                  <a:lnTo>
                    <a:pt x="19607" y="2767"/>
                  </a:lnTo>
                  <a:lnTo>
                    <a:pt x="19633" y="2767"/>
                  </a:lnTo>
                  <a:lnTo>
                    <a:pt x="19673" y="2771"/>
                  </a:lnTo>
                  <a:lnTo>
                    <a:pt x="19687" y="2774"/>
                  </a:lnTo>
                  <a:lnTo>
                    <a:pt x="19698" y="2780"/>
                  </a:lnTo>
                  <a:lnTo>
                    <a:pt x="19715" y="2794"/>
                  </a:lnTo>
                  <a:lnTo>
                    <a:pt x="19725" y="2812"/>
                  </a:lnTo>
                  <a:lnTo>
                    <a:pt x="19732" y="2832"/>
                  </a:lnTo>
                  <a:lnTo>
                    <a:pt x="19737" y="2852"/>
                  </a:lnTo>
                  <a:lnTo>
                    <a:pt x="19743" y="2872"/>
                  </a:lnTo>
                  <a:lnTo>
                    <a:pt x="19748" y="2881"/>
                  </a:lnTo>
                  <a:lnTo>
                    <a:pt x="19754" y="2890"/>
                  </a:lnTo>
                  <a:lnTo>
                    <a:pt x="19760" y="2897"/>
                  </a:lnTo>
                  <a:lnTo>
                    <a:pt x="19769" y="2904"/>
                  </a:lnTo>
                  <a:lnTo>
                    <a:pt x="19809" y="2927"/>
                  </a:lnTo>
                  <a:lnTo>
                    <a:pt x="19825" y="2937"/>
                  </a:lnTo>
                  <a:lnTo>
                    <a:pt x="19837" y="2948"/>
                  </a:lnTo>
                  <a:lnTo>
                    <a:pt x="19846" y="2961"/>
                  </a:lnTo>
                  <a:lnTo>
                    <a:pt x="19851" y="2978"/>
                  </a:lnTo>
                  <a:lnTo>
                    <a:pt x="19852" y="3000"/>
                  </a:lnTo>
                  <a:lnTo>
                    <a:pt x="19848" y="3028"/>
                  </a:lnTo>
                  <a:lnTo>
                    <a:pt x="19843" y="3057"/>
                  </a:lnTo>
                  <a:lnTo>
                    <a:pt x="19843" y="3076"/>
                  </a:lnTo>
                  <a:lnTo>
                    <a:pt x="19851" y="3094"/>
                  </a:lnTo>
                  <a:lnTo>
                    <a:pt x="19869" y="3118"/>
                  </a:lnTo>
                  <a:lnTo>
                    <a:pt x="19887" y="3145"/>
                  </a:lnTo>
                  <a:lnTo>
                    <a:pt x="19893" y="3162"/>
                  </a:lnTo>
                  <a:lnTo>
                    <a:pt x="19896" y="3181"/>
                  </a:lnTo>
                  <a:lnTo>
                    <a:pt x="19893" y="3199"/>
                  </a:lnTo>
                  <a:lnTo>
                    <a:pt x="19887" y="3216"/>
                  </a:lnTo>
                  <a:lnTo>
                    <a:pt x="19878" y="3230"/>
                  </a:lnTo>
                  <a:lnTo>
                    <a:pt x="19868" y="3244"/>
                  </a:lnTo>
                  <a:lnTo>
                    <a:pt x="19857" y="3258"/>
                  </a:lnTo>
                  <a:lnTo>
                    <a:pt x="19848" y="3272"/>
                  </a:lnTo>
                  <a:lnTo>
                    <a:pt x="19843" y="3287"/>
                  </a:lnTo>
                  <a:lnTo>
                    <a:pt x="19843" y="3305"/>
                  </a:lnTo>
                  <a:lnTo>
                    <a:pt x="19850" y="3351"/>
                  </a:lnTo>
                  <a:lnTo>
                    <a:pt x="19852" y="3369"/>
                  </a:lnTo>
                  <a:lnTo>
                    <a:pt x="19851" y="3386"/>
                  </a:lnTo>
                  <a:lnTo>
                    <a:pt x="19846" y="3401"/>
                  </a:lnTo>
                  <a:lnTo>
                    <a:pt x="19836" y="3415"/>
                  </a:lnTo>
                  <a:lnTo>
                    <a:pt x="19819" y="3429"/>
                  </a:lnTo>
                  <a:lnTo>
                    <a:pt x="19795" y="3445"/>
                  </a:lnTo>
                  <a:lnTo>
                    <a:pt x="19773" y="3456"/>
                  </a:lnTo>
                  <a:lnTo>
                    <a:pt x="19759" y="3466"/>
                  </a:lnTo>
                  <a:lnTo>
                    <a:pt x="19750" y="3476"/>
                  </a:lnTo>
                  <a:lnTo>
                    <a:pt x="19745" y="3485"/>
                  </a:lnTo>
                  <a:lnTo>
                    <a:pt x="19739" y="3510"/>
                  </a:lnTo>
                  <a:lnTo>
                    <a:pt x="19734" y="3526"/>
                  </a:lnTo>
                  <a:lnTo>
                    <a:pt x="19727" y="3547"/>
                  </a:lnTo>
                  <a:lnTo>
                    <a:pt x="19711" y="3570"/>
                  </a:lnTo>
                  <a:lnTo>
                    <a:pt x="19704" y="3579"/>
                  </a:lnTo>
                  <a:lnTo>
                    <a:pt x="19695" y="3584"/>
                  </a:lnTo>
                  <a:lnTo>
                    <a:pt x="19674" y="3590"/>
                  </a:lnTo>
                  <a:lnTo>
                    <a:pt x="19653" y="3593"/>
                  </a:lnTo>
                  <a:lnTo>
                    <a:pt x="19632" y="3593"/>
                  </a:lnTo>
                  <a:lnTo>
                    <a:pt x="19611" y="3594"/>
                  </a:lnTo>
                  <a:lnTo>
                    <a:pt x="19592" y="3601"/>
                  </a:lnTo>
                  <a:lnTo>
                    <a:pt x="19583" y="3606"/>
                  </a:lnTo>
                  <a:lnTo>
                    <a:pt x="19575" y="3612"/>
                  </a:lnTo>
                  <a:lnTo>
                    <a:pt x="19543" y="3647"/>
                  </a:lnTo>
                  <a:lnTo>
                    <a:pt x="19530" y="3659"/>
                  </a:lnTo>
                  <a:lnTo>
                    <a:pt x="19516" y="3668"/>
                  </a:lnTo>
                  <a:lnTo>
                    <a:pt x="19501" y="3675"/>
                  </a:lnTo>
                  <a:lnTo>
                    <a:pt x="19484" y="3676"/>
                  </a:lnTo>
                  <a:lnTo>
                    <a:pt x="19462" y="3671"/>
                  </a:lnTo>
                  <a:lnTo>
                    <a:pt x="19436" y="3661"/>
                  </a:lnTo>
                  <a:lnTo>
                    <a:pt x="19409" y="3649"/>
                  </a:lnTo>
                  <a:lnTo>
                    <a:pt x="19409" y="4083"/>
                  </a:lnTo>
                  <a:lnTo>
                    <a:pt x="19409" y="4086"/>
                  </a:lnTo>
                  <a:lnTo>
                    <a:pt x="19420" y="4099"/>
                  </a:lnTo>
                  <a:lnTo>
                    <a:pt x="19434" y="4109"/>
                  </a:lnTo>
                  <a:lnTo>
                    <a:pt x="19448" y="4117"/>
                  </a:lnTo>
                  <a:lnTo>
                    <a:pt x="19465" y="4118"/>
                  </a:lnTo>
                  <a:lnTo>
                    <a:pt x="19498" y="4115"/>
                  </a:lnTo>
                  <a:lnTo>
                    <a:pt x="19530" y="4104"/>
                  </a:lnTo>
                  <a:lnTo>
                    <a:pt x="19564" y="4095"/>
                  </a:lnTo>
                  <a:lnTo>
                    <a:pt x="19597" y="4090"/>
                  </a:lnTo>
                  <a:lnTo>
                    <a:pt x="19629" y="4093"/>
                  </a:lnTo>
                  <a:lnTo>
                    <a:pt x="19660" y="4098"/>
                  </a:lnTo>
                  <a:lnTo>
                    <a:pt x="19688" y="4106"/>
                  </a:lnTo>
                  <a:lnTo>
                    <a:pt x="19715" y="4116"/>
                  </a:lnTo>
                  <a:lnTo>
                    <a:pt x="19739" y="4130"/>
                  </a:lnTo>
                  <a:lnTo>
                    <a:pt x="19761" y="4144"/>
                  </a:lnTo>
                  <a:lnTo>
                    <a:pt x="19782" y="4161"/>
                  </a:lnTo>
                  <a:lnTo>
                    <a:pt x="19800" y="4178"/>
                  </a:lnTo>
                  <a:lnTo>
                    <a:pt x="19830" y="4217"/>
                  </a:lnTo>
                  <a:lnTo>
                    <a:pt x="19842" y="4236"/>
                  </a:lnTo>
                  <a:lnTo>
                    <a:pt x="19852" y="4255"/>
                  </a:lnTo>
                  <a:lnTo>
                    <a:pt x="19861" y="4274"/>
                  </a:lnTo>
                  <a:lnTo>
                    <a:pt x="19866" y="4292"/>
                  </a:lnTo>
                  <a:lnTo>
                    <a:pt x="19871" y="4309"/>
                  </a:lnTo>
                  <a:lnTo>
                    <a:pt x="19874" y="4324"/>
                  </a:lnTo>
                  <a:lnTo>
                    <a:pt x="20236" y="4324"/>
                  </a:lnTo>
                  <a:lnTo>
                    <a:pt x="20236" y="4017"/>
                  </a:lnTo>
                  <a:lnTo>
                    <a:pt x="20238" y="4008"/>
                  </a:lnTo>
                  <a:lnTo>
                    <a:pt x="20242" y="4002"/>
                  </a:lnTo>
                  <a:lnTo>
                    <a:pt x="20248" y="3998"/>
                  </a:lnTo>
                  <a:lnTo>
                    <a:pt x="20256" y="3997"/>
                  </a:lnTo>
                  <a:lnTo>
                    <a:pt x="20264" y="3998"/>
                  </a:lnTo>
                  <a:lnTo>
                    <a:pt x="20270" y="4002"/>
                  </a:lnTo>
                  <a:lnTo>
                    <a:pt x="20274" y="4008"/>
                  </a:lnTo>
                  <a:lnTo>
                    <a:pt x="20277" y="4017"/>
                  </a:lnTo>
                  <a:lnTo>
                    <a:pt x="20277" y="4324"/>
                  </a:lnTo>
                  <a:lnTo>
                    <a:pt x="20482" y="4324"/>
                  </a:lnTo>
                  <a:lnTo>
                    <a:pt x="20482" y="3670"/>
                  </a:lnTo>
                  <a:lnTo>
                    <a:pt x="20482" y="3016"/>
                  </a:lnTo>
                  <a:lnTo>
                    <a:pt x="20024" y="3016"/>
                  </a:lnTo>
                  <a:lnTo>
                    <a:pt x="20024" y="3584"/>
                  </a:lnTo>
                  <a:lnTo>
                    <a:pt x="20024" y="4152"/>
                  </a:lnTo>
                  <a:lnTo>
                    <a:pt x="20023" y="4161"/>
                  </a:lnTo>
                  <a:lnTo>
                    <a:pt x="20018" y="4167"/>
                  </a:lnTo>
                  <a:lnTo>
                    <a:pt x="20011" y="4171"/>
                  </a:lnTo>
                  <a:lnTo>
                    <a:pt x="20005" y="4172"/>
                  </a:lnTo>
                  <a:lnTo>
                    <a:pt x="19997" y="4171"/>
                  </a:lnTo>
                  <a:lnTo>
                    <a:pt x="19991" y="4167"/>
                  </a:lnTo>
                  <a:lnTo>
                    <a:pt x="19986" y="4161"/>
                  </a:lnTo>
                  <a:lnTo>
                    <a:pt x="19984" y="4152"/>
                  </a:lnTo>
                  <a:lnTo>
                    <a:pt x="19984" y="3451"/>
                  </a:lnTo>
                  <a:lnTo>
                    <a:pt x="19984" y="2750"/>
                  </a:lnTo>
                  <a:lnTo>
                    <a:pt x="19946" y="2750"/>
                  </a:lnTo>
                  <a:lnTo>
                    <a:pt x="19939" y="2748"/>
                  </a:lnTo>
                  <a:lnTo>
                    <a:pt x="19933" y="2744"/>
                  </a:lnTo>
                  <a:lnTo>
                    <a:pt x="19928" y="2737"/>
                  </a:lnTo>
                  <a:lnTo>
                    <a:pt x="19927" y="2730"/>
                  </a:lnTo>
                  <a:lnTo>
                    <a:pt x="19927" y="2576"/>
                  </a:lnTo>
                  <a:lnTo>
                    <a:pt x="19928" y="2569"/>
                  </a:lnTo>
                  <a:lnTo>
                    <a:pt x="19933" y="2562"/>
                  </a:lnTo>
                  <a:lnTo>
                    <a:pt x="19939" y="2558"/>
                  </a:lnTo>
                  <a:lnTo>
                    <a:pt x="19946" y="2556"/>
                  </a:lnTo>
                  <a:lnTo>
                    <a:pt x="19998" y="2556"/>
                  </a:lnTo>
                  <a:lnTo>
                    <a:pt x="20041" y="2500"/>
                  </a:lnTo>
                  <a:lnTo>
                    <a:pt x="20089" y="2443"/>
                  </a:lnTo>
                  <a:lnTo>
                    <a:pt x="20116" y="2418"/>
                  </a:lnTo>
                  <a:lnTo>
                    <a:pt x="20143" y="2391"/>
                  </a:lnTo>
                  <a:lnTo>
                    <a:pt x="20201" y="2340"/>
                  </a:lnTo>
                  <a:lnTo>
                    <a:pt x="20264" y="2292"/>
                  </a:lnTo>
                  <a:lnTo>
                    <a:pt x="20331" y="2246"/>
                  </a:lnTo>
                  <a:lnTo>
                    <a:pt x="20402" y="2203"/>
                  </a:lnTo>
                  <a:lnTo>
                    <a:pt x="20477" y="2163"/>
                  </a:lnTo>
                  <a:lnTo>
                    <a:pt x="20556" y="2126"/>
                  </a:lnTo>
                  <a:lnTo>
                    <a:pt x="20638" y="2092"/>
                  </a:lnTo>
                  <a:lnTo>
                    <a:pt x="20681" y="2075"/>
                  </a:lnTo>
                  <a:lnTo>
                    <a:pt x="20724" y="2060"/>
                  </a:lnTo>
                  <a:lnTo>
                    <a:pt x="20813" y="2033"/>
                  </a:lnTo>
                  <a:lnTo>
                    <a:pt x="20904" y="2009"/>
                  </a:lnTo>
                  <a:lnTo>
                    <a:pt x="20999" y="1987"/>
                  </a:lnTo>
                  <a:lnTo>
                    <a:pt x="21095" y="1970"/>
                  </a:lnTo>
                  <a:lnTo>
                    <a:pt x="21194" y="1956"/>
                  </a:lnTo>
                  <a:lnTo>
                    <a:pt x="21194" y="1775"/>
                  </a:lnTo>
                  <a:lnTo>
                    <a:pt x="21196" y="1759"/>
                  </a:lnTo>
                  <a:lnTo>
                    <a:pt x="21200" y="1744"/>
                  </a:lnTo>
                  <a:lnTo>
                    <a:pt x="21209" y="1730"/>
                  </a:lnTo>
                  <a:lnTo>
                    <a:pt x="21219" y="1717"/>
                  </a:lnTo>
                  <a:lnTo>
                    <a:pt x="21232" y="1705"/>
                  </a:lnTo>
                  <a:lnTo>
                    <a:pt x="21247" y="1694"/>
                  </a:lnTo>
                  <a:lnTo>
                    <a:pt x="21265" y="1684"/>
                  </a:lnTo>
                  <a:lnTo>
                    <a:pt x="21285" y="1675"/>
                  </a:lnTo>
                  <a:lnTo>
                    <a:pt x="21329" y="1659"/>
                  </a:lnTo>
                  <a:lnTo>
                    <a:pt x="21378" y="1648"/>
                  </a:lnTo>
                  <a:lnTo>
                    <a:pt x="21429" y="1642"/>
                  </a:lnTo>
                  <a:lnTo>
                    <a:pt x="21483" y="1639"/>
                  </a:lnTo>
                  <a:lnTo>
                    <a:pt x="21537" y="1642"/>
                  </a:lnTo>
                  <a:lnTo>
                    <a:pt x="21590" y="1648"/>
                  </a:lnTo>
                  <a:lnTo>
                    <a:pt x="21614" y="1653"/>
                  </a:lnTo>
                  <a:lnTo>
                    <a:pt x="21638" y="1659"/>
                  </a:lnTo>
                  <a:lnTo>
                    <a:pt x="21660" y="1666"/>
                  </a:lnTo>
                  <a:lnTo>
                    <a:pt x="21682" y="1675"/>
                  </a:lnTo>
                  <a:lnTo>
                    <a:pt x="21719" y="1694"/>
                  </a:lnTo>
                  <a:lnTo>
                    <a:pt x="21747" y="1717"/>
                  </a:lnTo>
                  <a:lnTo>
                    <a:pt x="21759" y="1730"/>
                  </a:lnTo>
                  <a:lnTo>
                    <a:pt x="21767" y="1744"/>
                  </a:lnTo>
                  <a:lnTo>
                    <a:pt x="21772" y="1759"/>
                  </a:lnTo>
                  <a:lnTo>
                    <a:pt x="21773" y="1775"/>
                  </a:lnTo>
                  <a:lnTo>
                    <a:pt x="21773" y="1956"/>
                  </a:lnTo>
                  <a:lnTo>
                    <a:pt x="21872" y="1970"/>
                  </a:lnTo>
                  <a:lnTo>
                    <a:pt x="21969" y="1987"/>
                  </a:lnTo>
                  <a:lnTo>
                    <a:pt x="22063" y="2009"/>
                  </a:lnTo>
                  <a:lnTo>
                    <a:pt x="22155" y="2033"/>
                  </a:lnTo>
                  <a:lnTo>
                    <a:pt x="22244" y="2060"/>
                  </a:lnTo>
                  <a:lnTo>
                    <a:pt x="22328" y="2092"/>
                  </a:lnTo>
                  <a:lnTo>
                    <a:pt x="22412" y="2126"/>
                  </a:lnTo>
                  <a:lnTo>
                    <a:pt x="22490" y="2163"/>
                  </a:lnTo>
                  <a:lnTo>
                    <a:pt x="22566" y="2203"/>
                  </a:lnTo>
                  <a:lnTo>
                    <a:pt x="22601" y="2225"/>
                  </a:lnTo>
                  <a:lnTo>
                    <a:pt x="22636" y="2246"/>
                  </a:lnTo>
                  <a:lnTo>
                    <a:pt x="22703" y="2292"/>
                  </a:lnTo>
                  <a:lnTo>
                    <a:pt x="22766" y="2340"/>
                  </a:lnTo>
                  <a:lnTo>
                    <a:pt x="22795" y="2365"/>
                  </a:lnTo>
                  <a:lnTo>
                    <a:pt x="22825" y="2391"/>
                  </a:lnTo>
                  <a:lnTo>
                    <a:pt x="22877" y="2445"/>
                  </a:lnTo>
                  <a:lnTo>
                    <a:pt x="22926" y="2500"/>
                  </a:lnTo>
                  <a:lnTo>
                    <a:pt x="22969" y="2556"/>
                  </a:lnTo>
                  <a:lnTo>
                    <a:pt x="23021" y="2556"/>
                  </a:lnTo>
                  <a:lnTo>
                    <a:pt x="23028" y="2558"/>
                  </a:lnTo>
                  <a:lnTo>
                    <a:pt x="23035" y="2562"/>
                  </a:lnTo>
                  <a:lnTo>
                    <a:pt x="23039" y="2569"/>
                  </a:lnTo>
                  <a:lnTo>
                    <a:pt x="23040" y="2576"/>
                  </a:lnTo>
                  <a:lnTo>
                    <a:pt x="23040" y="2730"/>
                  </a:lnTo>
                  <a:lnTo>
                    <a:pt x="23039" y="2737"/>
                  </a:lnTo>
                  <a:lnTo>
                    <a:pt x="23035" y="2744"/>
                  </a:lnTo>
                  <a:lnTo>
                    <a:pt x="23028" y="2748"/>
                  </a:lnTo>
                  <a:lnTo>
                    <a:pt x="23021" y="2750"/>
                  </a:lnTo>
                  <a:lnTo>
                    <a:pt x="22982" y="2750"/>
                  </a:lnTo>
                  <a:lnTo>
                    <a:pt x="22982" y="3547"/>
                  </a:lnTo>
                  <a:lnTo>
                    <a:pt x="22982" y="4345"/>
                  </a:lnTo>
                  <a:lnTo>
                    <a:pt x="22981" y="4352"/>
                  </a:lnTo>
                  <a:lnTo>
                    <a:pt x="22977" y="4359"/>
                  </a:lnTo>
                  <a:lnTo>
                    <a:pt x="22971" y="4363"/>
                  </a:lnTo>
                  <a:lnTo>
                    <a:pt x="22963" y="4365"/>
                  </a:lnTo>
                  <a:lnTo>
                    <a:pt x="22717" y="4365"/>
                  </a:lnTo>
                  <a:lnTo>
                    <a:pt x="21733" y="4365"/>
                  </a:lnTo>
                  <a:lnTo>
                    <a:pt x="21241" y="4365"/>
                  </a:lnTo>
                  <a:lnTo>
                    <a:pt x="20749" y="4365"/>
                  </a:lnTo>
                  <a:lnTo>
                    <a:pt x="20257" y="4365"/>
                  </a:lnTo>
                  <a:lnTo>
                    <a:pt x="19865" y="4365"/>
                  </a:lnTo>
                  <a:lnTo>
                    <a:pt x="19859" y="4368"/>
                  </a:lnTo>
                  <a:lnTo>
                    <a:pt x="19852" y="4369"/>
                  </a:lnTo>
                  <a:lnTo>
                    <a:pt x="18987" y="4369"/>
                  </a:lnTo>
                  <a:lnTo>
                    <a:pt x="18122" y="4369"/>
                  </a:lnTo>
                  <a:lnTo>
                    <a:pt x="18119" y="4369"/>
                  </a:lnTo>
                  <a:lnTo>
                    <a:pt x="17558" y="4369"/>
                  </a:lnTo>
                  <a:lnTo>
                    <a:pt x="17549" y="4366"/>
                  </a:lnTo>
                  <a:lnTo>
                    <a:pt x="17543" y="4363"/>
                  </a:lnTo>
                  <a:lnTo>
                    <a:pt x="17540" y="4356"/>
                  </a:lnTo>
                  <a:lnTo>
                    <a:pt x="17539" y="4349"/>
                  </a:lnTo>
                  <a:lnTo>
                    <a:pt x="17540" y="4341"/>
                  </a:lnTo>
                  <a:lnTo>
                    <a:pt x="17543" y="4334"/>
                  </a:lnTo>
                  <a:lnTo>
                    <a:pt x="17549" y="4331"/>
                  </a:lnTo>
                  <a:lnTo>
                    <a:pt x="17558" y="4329"/>
                  </a:lnTo>
                  <a:lnTo>
                    <a:pt x="18096" y="4329"/>
                  </a:lnTo>
                  <a:lnTo>
                    <a:pt x="18092" y="4305"/>
                  </a:lnTo>
                  <a:lnTo>
                    <a:pt x="18090" y="4287"/>
                  </a:lnTo>
                  <a:lnTo>
                    <a:pt x="18094" y="4262"/>
                  </a:lnTo>
                  <a:lnTo>
                    <a:pt x="18103" y="4237"/>
                  </a:lnTo>
                  <a:lnTo>
                    <a:pt x="18116" y="4216"/>
                  </a:lnTo>
                  <a:lnTo>
                    <a:pt x="18134" y="4196"/>
                  </a:lnTo>
                  <a:lnTo>
                    <a:pt x="18155" y="4178"/>
                  </a:lnTo>
                  <a:lnTo>
                    <a:pt x="18178" y="4162"/>
                  </a:lnTo>
                  <a:lnTo>
                    <a:pt x="18230" y="4131"/>
                  </a:lnTo>
                  <a:lnTo>
                    <a:pt x="18213" y="3595"/>
                  </a:lnTo>
                  <a:lnTo>
                    <a:pt x="18197" y="3061"/>
                  </a:lnTo>
                  <a:lnTo>
                    <a:pt x="17607" y="2249"/>
                  </a:lnTo>
                  <a:lnTo>
                    <a:pt x="17579" y="2705"/>
                  </a:lnTo>
                  <a:lnTo>
                    <a:pt x="17576" y="2714"/>
                  </a:lnTo>
                  <a:lnTo>
                    <a:pt x="17571" y="2719"/>
                  </a:lnTo>
                  <a:lnTo>
                    <a:pt x="17557" y="2725"/>
                  </a:lnTo>
                  <a:lnTo>
                    <a:pt x="17551" y="2722"/>
                  </a:lnTo>
                  <a:lnTo>
                    <a:pt x="17544" y="2718"/>
                  </a:lnTo>
                  <a:lnTo>
                    <a:pt x="17540" y="2712"/>
                  </a:lnTo>
                  <a:lnTo>
                    <a:pt x="17539" y="2703"/>
                  </a:lnTo>
                  <a:lnTo>
                    <a:pt x="17570" y="2195"/>
                  </a:lnTo>
                  <a:lnTo>
                    <a:pt x="17571" y="2188"/>
                  </a:lnTo>
                  <a:lnTo>
                    <a:pt x="17597" y="1763"/>
                  </a:lnTo>
                  <a:lnTo>
                    <a:pt x="17597" y="1755"/>
                  </a:lnTo>
                  <a:lnTo>
                    <a:pt x="17640" y="1058"/>
                  </a:lnTo>
                  <a:lnTo>
                    <a:pt x="17622" y="1058"/>
                  </a:lnTo>
                  <a:lnTo>
                    <a:pt x="17615" y="1057"/>
                  </a:lnTo>
                  <a:lnTo>
                    <a:pt x="17608" y="1053"/>
                  </a:lnTo>
                  <a:lnTo>
                    <a:pt x="17604" y="1047"/>
                  </a:lnTo>
                  <a:lnTo>
                    <a:pt x="17603" y="1039"/>
                  </a:lnTo>
                  <a:lnTo>
                    <a:pt x="17603" y="943"/>
                  </a:lnTo>
                  <a:lnTo>
                    <a:pt x="17604" y="936"/>
                  </a:lnTo>
                  <a:lnTo>
                    <a:pt x="17608" y="929"/>
                  </a:lnTo>
                  <a:lnTo>
                    <a:pt x="17615" y="925"/>
                  </a:lnTo>
                  <a:lnTo>
                    <a:pt x="17622" y="924"/>
                  </a:lnTo>
                  <a:lnTo>
                    <a:pt x="18192" y="924"/>
                  </a:lnTo>
                  <a:lnTo>
                    <a:pt x="18199" y="925"/>
                  </a:lnTo>
                  <a:lnTo>
                    <a:pt x="18206" y="929"/>
                  </a:lnTo>
                  <a:lnTo>
                    <a:pt x="18211" y="936"/>
                  </a:lnTo>
                  <a:lnTo>
                    <a:pt x="18212" y="943"/>
                  </a:lnTo>
                  <a:lnTo>
                    <a:pt x="18212" y="1039"/>
                  </a:lnTo>
                  <a:lnTo>
                    <a:pt x="18211" y="1047"/>
                  </a:lnTo>
                  <a:lnTo>
                    <a:pt x="18206" y="1053"/>
                  </a:lnTo>
                  <a:lnTo>
                    <a:pt x="18199" y="1057"/>
                  </a:lnTo>
                  <a:lnTo>
                    <a:pt x="18192" y="1058"/>
                  </a:lnTo>
                  <a:lnTo>
                    <a:pt x="18174" y="1058"/>
                  </a:lnTo>
                  <a:lnTo>
                    <a:pt x="18201" y="1919"/>
                  </a:lnTo>
                  <a:lnTo>
                    <a:pt x="18930" y="1919"/>
                  </a:lnTo>
                  <a:lnTo>
                    <a:pt x="19661" y="1919"/>
                  </a:lnTo>
                  <a:lnTo>
                    <a:pt x="19698" y="1158"/>
                  </a:lnTo>
                  <a:lnTo>
                    <a:pt x="19736" y="399"/>
                  </a:lnTo>
                  <a:lnTo>
                    <a:pt x="19738" y="392"/>
                  </a:lnTo>
                  <a:lnTo>
                    <a:pt x="19742" y="386"/>
                  </a:lnTo>
                  <a:lnTo>
                    <a:pt x="19748" y="382"/>
                  </a:lnTo>
                  <a:lnTo>
                    <a:pt x="19756" y="381"/>
                  </a:lnTo>
                  <a:lnTo>
                    <a:pt x="20084" y="381"/>
                  </a:lnTo>
                  <a:lnTo>
                    <a:pt x="20092" y="382"/>
                  </a:lnTo>
                  <a:lnTo>
                    <a:pt x="20098" y="386"/>
                  </a:lnTo>
                  <a:lnTo>
                    <a:pt x="20102" y="392"/>
                  </a:lnTo>
                  <a:lnTo>
                    <a:pt x="20105" y="399"/>
                  </a:lnTo>
                  <a:lnTo>
                    <a:pt x="20142" y="1126"/>
                  </a:lnTo>
                  <a:lnTo>
                    <a:pt x="20181" y="1855"/>
                  </a:lnTo>
                  <a:lnTo>
                    <a:pt x="20179" y="1864"/>
                  </a:lnTo>
                  <a:lnTo>
                    <a:pt x="20175" y="1870"/>
                  </a:lnTo>
                  <a:lnTo>
                    <a:pt x="20169" y="1874"/>
                  </a:lnTo>
                  <a:lnTo>
                    <a:pt x="20161" y="1877"/>
                  </a:lnTo>
                  <a:lnTo>
                    <a:pt x="20147" y="1872"/>
                  </a:lnTo>
                  <a:lnTo>
                    <a:pt x="20143" y="1867"/>
                  </a:lnTo>
                  <a:lnTo>
                    <a:pt x="20141" y="1858"/>
                  </a:lnTo>
                  <a:lnTo>
                    <a:pt x="20102" y="1139"/>
                  </a:lnTo>
                  <a:lnTo>
                    <a:pt x="20065" y="420"/>
                  </a:lnTo>
                  <a:lnTo>
                    <a:pt x="19775" y="420"/>
                  </a:lnTo>
                  <a:lnTo>
                    <a:pt x="19737" y="1180"/>
                  </a:lnTo>
                  <a:lnTo>
                    <a:pt x="19700" y="1939"/>
                  </a:lnTo>
                  <a:lnTo>
                    <a:pt x="19700" y="1942"/>
                  </a:lnTo>
                  <a:lnTo>
                    <a:pt x="19698" y="1947"/>
                  </a:lnTo>
                  <a:lnTo>
                    <a:pt x="19695" y="1952"/>
                  </a:lnTo>
                  <a:lnTo>
                    <a:pt x="19688" y="1956"/>
                  </a:lnTo>
                  <a:lnTo>
                    <a:pt x="19682" y="1959"/>
                  </a:lnTo>
                  <a:lnTo>
                    <a:pt x="18942" y="1959"/>
                  </a:lnTo>
                  <a:lnTo>
                    <a:pt x="18202" y="1959"/>
                  </a:lnTo>
                  <a:lnTo>
                    <a:pt x="18221" y="2560"/>
                  </a:lnTo>
                  <a:lnTo>
                    <a:pt x="18221" y="2567"/>
                  </a:lnTo>
                  <a:lnTo>
                    <a:pt x="18244" y="3338"/>
                  </a:lnTo>
                  <a:lnTo>
                    <a:pt x="18269" y="4111"/>
                  </a:lnTo>
                  <a:lnTo>
                    <a:pt x="18320" y="4081"/>
                  </a:lnTo>
                  <a:lnTo>
                    <a:pt x="18342" y="4066"/>
                  </a:lnTo>
                  <a:lnTo>
                    <a:pt x="18361" y="4049"/>
                  </a:lnTo>
                  <a:lnTo>
                    <a:pt x="18392" y="4015"/>
                  </a:lnTo>
                  <a:lnTo>
                    <a:pt x="18419" y="3976"/>
                  </a:lnTo>
                  <a:lnTo>
                    <a:pt x="18447" y="3936"/>
                  </a:lnTo>
                  <a:lnTo>
                    <a:pt x="18475" y="3897"/>
                  </a:lnTo>
                  <a:lnTo>
                    <a:pt x="18506" y="3863"/>
                  </a:lnTo>
                  <a:lnTo>
                    <a:pt x="18524" y="3849"/>
                  </a:lnTo>
                  <a:lnTo>
                    <a:pt x="18542" y="3835"/>
                  </a:lnTo>
                  <a:lnTo>
                    <a:pt x="18562" y="3824"/>
                  </a:lnTo>
                  <a:lnTo>
                    <a:pt x="18585" y="3817"/>
                  </a:lnTo>
                  <a:lnTo>
                    <a:pt x="18610" y="3811"/>
                  </a:lnTo>
                  <a:lnTo>
                    <a:pt x="18637" y="3810"/>
                  </a:lnTo>
                  <a:lnTo>
                    <a:pt x="18656" y="3811"/>
                  </a:lnTo>
                  <a:lnTo>
                    <a:pt x="18673" y="3817"/>
                  </a:lnTo>
                  <a:lnTo>
                    <a:pt x="18702" y="3831"/>
                  </a:lnTo>
                  <a:lnTo>
                    <a:pt x="18702" y="3827"/>
                  </a:lnTo>
                  <a:lnTo>
                    <a:pt x="18702" y="3086"/>
                  </a:lnTo>
                  <a:lnTo>
                    <a:pt x="18664" y="3083"/>
                  </a:lnTo>
                  <a:lnTo>
                    <a:pt x="18625" y="3075"/>
                  </a:lnTo>
                  <a:lnTo>
                    <a:pt x="18588" y="3065"/>
                  </a:lnTo>
                  <a:lnTo>
                    <a:pt x="18553" y="3051"/>
                  </a:lnTo>
                  <a:lnTo>
                    <a:pt x="18519" y="3033"/>
                  </a:lnTo>
                  <a:lnTo>
                    <a:pt x="18488" y="3012"/>
                  </a:lnTo>
                  <a:lnTo>
                    <a:pt x="18458" y="2989"/>
                  </a:lnTo>
                  <a:lnTo>
                    <a:pt x="18431" y="2964"/>
                  </a:lnTo>
                  <a:lnTo>
                    <a:pt x="18407" y="2936"/>
                  </a:lnTo>
                  <a:lnTo>
                    <a:pt x="18385" y="2905"/>
                  </a:lnTo>
                  <a:lnTo>
                    <a:pt x="18366" y="2873"/>
                  </a:lnTo>
                  <a:lnTo>
                    <a:pt x="18349" y="2838"/>
                  </a:lnTo>
                  <a:lnTo>
                    <a:pt x="18337" y="2803"/>
                  </a:lnTo>
                  <a:lnTo>
                    <a:pt x="18328" y="2766"/>
                  </a:lnTo>
                  <a:lnTo>
                    <a:pt x="18322" y="2726"/>
                  </a:lnTo>
                  <a:lnTo>
                    <a:pt x="18320" y="2686"/>
                  </a:lnTo>
                  <a:lnTo>
                    <a:pt x="18322" y="2645"/>
                  </a:lnTo>
                  <a:lnTo>
                    <a:pt x="18328" y="2606"/>
                  </a:lnTo>
                  <a:lnTo>
                    <a:pt x="18338" y="2567"/>
                  </a:lnTo>
                  <a:lnTo>
                    <a:pt x="18352" y="2530"/>
                  </a:lnTo>
                  <a:lnTo>
                    <a:pt x="18369" y="2496"/>
                  </a:lnTo>
                  <a:lnTo>
                    <a:pt x="18388" y="2462"/>
                  </a:lnTo>
                  <a:lnTo>
                    <a:pt x="18412" y="2432"/>
                  </a:lnTo>
                  <a:lnTo>
                    <a:pt x="18438" y="2404"/>
                  </a:lnTo>
                  <a:lnTo>
                    <a:pt x="18466" y="2377"/>
                  </a:lnTo>
                  <a:lnTo>
                    <a:pt x="18497" y="2354"/>
                  </a:lnTo>
                  <a:lnTo>
                    <a:pt x="18530" y="2335"/>
                  </a:lnTo>
                  <a:lnTo>
                    <a:pt x="18565" y="2317"/>
                  </a:lnTo>
                  <a:lnTo>
                    <a:pt x="18602" y="2304"/>
                  </a:lnTo>
                  <a:lnTo>
                    <a:pt x="18640" y="2294"/>
                  </a:lnTo>
                  <a:lnTo>
                    <a:pt x="18680" y="2287"/>
                  </a:lnTo>
                  <a:lnTo>
                    <a:pt x="18721" y="2286"/>
                  </a:lnTo>
                  <a:lnTo>
                    <a:pt x="18764" y="2287"/>
                  </a:lnTo>
                  <a:lnTo>
                    <a:pt x="18803" y="2294"/>
                  </a:lnTo>
                  <a:lnTo>
                    <a:pt x="18842" y="2304"/>
                  </a:lnTo>
                  <a:lnTo>
                    <a:pt x="18879" y="2318"/>
                  </a:lnTo>
                  <a:lnTo>
                    <a:pt x="18914" y="2335"/>
                  </a:lnTo>
                  <a:lnTo>
                    <a:pt x="18947" y="2355"/>
                  </a:lnTo>
                  <a:lnTo>
                    <a:pt x="18978" y="2378"/>
                  </a:lnTo>
                  <a:lnTo>
                    <a:pt x="19007" y="2404"/>
                  </a:lnTo>
                  <a:lnTo>
                    <a:pt x="19033" y="2433"/>
                  </a:lnTo>
                  <a:lnTo>
                    <a:pt x="19056" y="2464"/>
                  </a:lnTo>
                  <a:lnTo>
                    <a:pt x="19075" y="2497"/>
                  </a:lnTo>
                  <a:lnTo>
                    <a:pt x="19092" y="2532"/>
                  </a:lnTo>
                  <a:lnTo>
                    <a:pt x="19106" y="2569"/>
                  </a:lnTo>
                  <a:lnTo>
                    <a:pt x="19115" y="2607"/>
                  </a:lnTo>
                  <a:lnTo>
                    <a:pt x="19121" y="2645"/>
                  </a:lnTo>
                  <a:lnTo>
                    <a:pt x="19124" y="2686"/>
                  </a:lnTo>
                  <a:lnTo>
                    <a:pt x="19121" y="2695"/>
                  </a:lnTo>
                  <a:lnTo>
                    <a:pt x="19118" y="2702"/>
                  </a:lnTo>
                  <a:lnTo>
                    <a:pt x="19111" y="2705"/>
                  </a:lnTo>
                  <a:lnTo>
                    <a:pt x="19103" y="2707"/>
                  </a:lnTo>
                  <a:lnTo>
                    <a:pt x="19096" y="2705"/>
                  </a:lnTo>
                  <a:lnTo>
                    <a:pt x="19089" y="2702"/>
                  </a:lnTo>
                  <a:lnTo>
                    <a:pt x="19085" y="2695"/>
                  </a:lnTo>
                  <a:lnTo>
                    <a:pt x="19083" y="2686"/>
                  </a:lnTo>
                  <a:lnTo>
                    <a:pt x="19082" y="2650"/>
                  </a:lnTo>
                  <a:lnTo>
                    <a:pt x="19076" y="2615"/>
                  </a:lnTo>
                  <a:lnTo>
                    <a:pt x="19067" y="2580"/>
                  </a:lnTo>
                  <a:lnTo>
                    <a:pt x="19055" y="2547"/>
                  </a:lnTo>
                  <a:lnTo>
                    <a:pt x="19041" y="2515"/>
                  </a:lnTo>
                  <a:lnTo>
                    <a:pt x="19023" y="2485"/>
                  </a:lnTo>
                  <a:lnTo>
                    <a:pt x="19002" y="2457"/>
                  </a:lnTo>
                  <a:lnTo>
                    <a:pt x="18978" y="2432"/>
                  </a:lnTo>
                  <a:lnTo>
                    <a:pt x="18952" y="2409"/>
                  </a:lnTo>
                  <a:lnTo>
                    <a:pt x="18925" y="2388"/>
                  </a:lnTo>
                  <a:lnTo>
                    <a:pt x="18894" y="2369"/>
                  </a:lnTo>
                  <a:lnTo>
                    <a:pt x="18864" y="2354"/>
                  </a:lnTo>
                  <a:lnTo>
                    <a:pt x="18830" y="2342"/>
                  </a:lnTo>
                  <a:lnTo>
                    <a:pt x="18796" y="2333"/>
                  </a:lnTo>
                  <a:lnTo>
                    <a:pt x="18758" y="2328"/>
                  </a:lnTo>
                  <a:lnTo>
                    <a:pt x="18721" y="2326"/>
                  </a:lnTo>
                  <a:lnTo>
                    <a:pt x="18684" y="2328"/>
                  </a:lnTo>
                  <a:lnTo>
                    <a:pt x="18648" y="2333"/>
                  </a:lnTo>
                  <a:lnTo>
                    <a:pt x="18614" y="2342"/>
                  </a:lnTo>
                  <a:lnTo>
                    <a:pt x="18580" y="2354"/>
                  </a:lnTo>
                  <a:lnTo>
                    <a:pt x="18549" y="2369"/>
                  </a:lnTo>
                  <a:lnTo>
                    <a:pt x="18520" y="2387"/>
                  </a:lnTo>
                  <a:lnTo>
                    <a:pt x="18492" y="2407"/>
                  </a:lnTo>
                  <a:lnTo>
                    <a:pt x="18466" y="2432"/>
                  </a:lnTo>
                  <a:lnTo>
                    <a:pt x="18443" y="2457"/>
                  </a:lnTo>
                  <a:lnTo>
                    <a:pt x="18421" y="2484"/>
                  </a:lnTo>
                  <a:lnTo>
                    <a:pt x="18403" y="2515"/>
                  </a:lnTo>
                  <a:lnTo>
                    <a:pt x="18388" y="2546"/>
                  </a:lnTo>
                  <a:lnTo>
                    <a:pt x="18381" y="2562"/>
                  </a:lnTo>
                  <a:lnTo>
                    <a:pt x="18376" y="2579"/>
                  </a:lnTo>
                  <a:lnTo>
                    <a:pt x="18367" y="2613"/>
                  </a:lnTo>
                  <a:lnTo>
                    <a:pt x="18362" y="2649"/>
                  </a:lnTo>
                  <a:lnTo>
                    <a:pt x="18360" y="2686"/>
                  </a:lnTo>
                  <a:lnTo>
                    <a:pt x="18362" y="2722"/>
                  </a:lnTo>
                  <a:lnTo>
                    <a:pt x="18367" y="2757"/>
                  </a:lnTo>
                  <a:lnTo>
                    <a:pt x="18375" y="2790"/>
                  </a:lnTo>
                  <a:lnTo>
                    <a:pt x="18387" y="2823"/>
                  </a:lnTo>
                  <a:lnTo>
                    <a:pt x="18401" y="2854"/>
                  </a:lnTo>
                  <a:lnTo>
                    <a:pt x="18417" y="2882"/>
                  </a:lnTo>
                  <a:lnTo>
                    <a:pt x="18438" y="2910"/>
                  </a:lnTo>
                  <a:lnTo>
                    <a:pt x="18460" y="2936"/>
                  </a:lnTo>
                  <a:lnTo>
                    <a:pt x="18484" y="2959"/>
                  </a:lnTo>
                  <a:lnTo>
                    <a:pt x="18510" y="2979"/>
                  </a:lnTo>
                  <a:lnTo>
                    <a:pt x="18538" y="2997"/>
                  </a:lnTo>
                  <a:lnTo>
                    <a:pt x="18569" y="3014"/>
                  </a:lnTo>
                  <a:lnTo>
                    <a:pt x="18599" y="3026"/>
                  </a:lnTo>
                  <a:lnTo>
                    <a:pt x="18633" y="3037"/>
                  </a:lnTo>
                  <a:lnTo>
                    <a:pt x="18667" y="3043"/>
                  </a:lnTo>
                  <a:lnTo>
                    <a:pt x="18702" y="3047"/>
                  </a:lnTo>
                  <a:lnTo>
                    <a:pt x="18702" y="3011"/>
                  </a:lnTo>
                  <a:lnTo>
                    <a:pt x="18701" y="3008"/>
                  </a:lnTo>
                  <a:lnTo>
                    <a:pt x="18597" y="2865"/>
                  </a:lnTo>
                  <a:lnTo>
                    <a:pt x="18593" y="2858"/>
                  </a:lnTo>
                  <a:lnTo>
                    <a:pt x="18593" y="2850"/>
                  </a:lnTo>
                  <a:lnTo>
                    <a:pt x="18596" y="2842"/>
                  </a:lnTo>
                  <a:lnTo>
                    <a:pt x="18601" y="2837"/>
                  </a:lnTo>
                  <a:lnTo>
                    <a:pt x="18607" y="2835"/>
                  </a:lnTo>
                  <a:lnTo>
                    <a:pt x="18615" y="2833"/>
                  </a:lnTo>
                  <a:lnTo>
                    <a:pt x="18623" y="2836"/>
                  </a:lnTo>
                  <a:lnTo>
                    <a:pt x="18629" y="2842"/>
                  </a:lnTo>
                  <a:lnTo>
                    <a:pt x="18702" y="2943"/>
                  </a:lnTo>
                  <a:lnTo>
                    <a:pt x="18702" y="2901"/>
                  </a:lnTo>
                  <a:lnTo>
                    <a:pt x="18702" y="2895"/>
                  </a:lnTo>
                  <a:lnTo>
                    <a:pt x="18702" y="2744"/>
                  </a:lnTo>
                  <a:lnTo>
                    <a:pt x="18606" y="2611"/>
                  </a:lnTo>
                  <a:lnTo>
                    <a:pt x="18602" y="2603"/>
                  </a:lnTo>
                  <a:lnTo>
                    <a:pt x="18602" y="2595"/>
                  </a:lnTo>
                  <a:lnTo>
                    <a:pt x="18606" y="2588"/>
                  </a:lnTo>
                  <a:lnTo>
                    <a:pt x="18611" y="2583"/>
                  </a:lnTo>
                  <a:lnTo>
                    <a:pt x="18617" y="2580"/>
                  </a:lnTo>
                  <a:lnTo>
                    <a:pt x="18625" y="2579"/>
                  </a:lnTo>
                  <a:lnTo>
                    <a:pt x="18633" y="2581"/>
                  </a:lnTo>
                  <a:lnTo>
                    <a:pt x="18639" y="2588"/>
                  </a:lnTo>
                  <a:lnTo>
                    <a:pt x="18702" y="2675"/>
                  </a:lnTo>
                  <a:lnTo>
                    <a:pt x="18702" y="2599"/>
                  </a:lnTo>
                  <a:lnTo>
                    <a:pt x="18705" y="2590"/>
                  </a:lnTo>
                  <a:lnTo>
                    <a:pt x="18708" y="2584"/>
                  </a:lnTo>
                  <a:lnTo>
                    <a:pt x="18715" y="2580"/>
                  </a:lnTo>
                  <a:lnTo>
                    <a:pt x="18723" y="2579"/>
                  </a:lnTo>
                  <a:lnTo>
                    <a:pt x="18730" y="2580"/>
                  </a:lnTo>
                  <a:lnTo>
                    <a:pt x="18737" y="2584"/>
                  </a:lnTo>
                  <a:lnTo>
                    <a:pt x="18741" y="2590"/>
                  </a:lnTo>
                  <a:lnTo>
                    <a:pt x="18742" y="2599"/>
                  </a:lnTo>
                  <a:lnTo>
                    <a:pt x="18742" y="2734"/>
                  </a:lnTo>
                  <a:lnTo>
                    <a:pt x="18742" y="2740"/>
                  </a:lnTo>
                  <a:lnTo>
                    <a:pt x="18742" y="2836"/>
                  </a:lnTo>
                  <a:lnTo>
                    <a:pt x="18828" y="2718"/>
                  </a:lnTo>
                  <a:lnTo>
                    <a:pt x="18834" y="2712"/>
                  </a:lnTo>
                  <a:lnTo>
                    <a:pt x="18842" y="2711"/>
                  </a:lnTo>
                  <a:lnTo>
                    <a:pt x="18856" y="2714"/>
                  </a:lnTo>
                  <a:lnTo>
                    <a:pt x="18861" y="2719"/>
                  </a:lnTo>
                  <a:lnTo>
                    <a:pt x="18864" y="2726"/>
                  </a:lnTo>
                  <a:lnTo>
                    <a:pt x="18864" y="2734"/>
                  </a:lnTo>
                  <a:lnTo>
                    <a:pt x="18860" y="2743"/>
                  </a:lnTo>
                  <a:close/>
                  <a:moveTo>
                    <a:pt x="20006" y="2597"/>
                  </a:moveTo>
                  <a:lnTo>
                    <a:pt x="19966" y="2597"/>
                  </a:lnTo>
                  <a:lnTo>
                    <a:pt x="19966" y="2709"/>
                  </a:lnTo>
                  <a:lnTo>
                    <a:pt x="20724" y="2709"/>
                  </a:lnTo>
                  <a:lnTo>
                    <a:pt x="21483" y="2709"/>
                  </a:lnTo>
                  <a:lnTo>
                    <a:pt x="22241" y="2709"/>
                  </a:lnTo>
                  <a:lnTo>
                    <a:pt x="23000" y="2709"/>
                  </a:lnTo>
                  <a:lnTo>
                    <a:pt x="23000" y="2597"/>
                  </a:lnTo>
                  <a:lnTo>
                    <a:pt x="22962" y="2597"/>
                  </a:lnTo>
                  <a:lnTo>
                    <a:pt x="22954" y="2597"/>
                  </a:lnTo>
                  <a:lnTo>
                    <a:pt x="22218" y="2597"/>
                  </a:lnTo>
                  <a:lnTo>
                    <a:pt x="21483" y="2597"/>
                  </a:lnTo>
                  <a:lnTo>
                    <a:pt x="20747" y="2597"/>
                  </a:lnTo>
                  <a:lnTo>
                    <a:pt x="20013" y="2597"/>
                  </a:lnTo>
                  <a:lnTo>
                    <a:pt x="20006" y="2597"/>
                  </a:lnTo>
                  <a:close/>
                  <a:moveTo>
                    <a:pt x="19369" y="3221"/>
                  </a:moveTo>
                  <a:lnTo>
                    <a:pt x="19369" y="3011"/>
                  </a:lnTo>
                  <a:lnTo>
                    <a:pt x="19370" y="3002"/>
                  </a:lnTo>
                  <a:lnTo>
                    <a:pt x="19375" y="2996"/>
                  </a:lnTo>
                  <a:lnTo>
                    <a:pt x="19382" y="2992"/>
                  </a:lnTo>
                  <a:lnTo>
                    <a:pt x="19388" y="2991"/>
                  </a:lnTo>
                  <a:lnTo>
                    <a:pt x="19396" y="2992"/>
                  </a:lnTo>
                  <a:lnTo>
                    <a:pt x="19402" y="2996"/>
                  </a:lnTo>
                  <a:lnTo>
                    <a:pt x="19407" y="3002"/>
                  </a:lnTo>
                  <a:lnTo>
                    <a:pt x="19409" y="3011"/>
                  </a:lnTo>
                  <a:lnTo>
                    <a:pt x="19409" y="3162"/>
                  </a:lnTo>
                  <a:lnTo>
                    <a:pt x="19442" y="3116"/>
                  </a:lnTo>
                  <a:lnTo>
                    <a:pt x="19448" y="3111"/>
                  </a:lnTo>
                  <a:lnTo>
                    <a:pt x="19456" y="3108"/>
                  </a:lnTo>
                  <a:lnTo>
                    <a:pt x="19470" y="3112"/>
                  </a:lnTo>
                  <a:lnTo>
                    <a:pt x="19475" y="3117"/>
                  </a:lnTo>
                  <a:lnTo>
                    <a:pt x="19478" y="3124"/>
                  </a:lnTo>
                  <a:lnTo>
                    <a:pt x="19478" y="3131"/>
                  </a:lnTo>
                  <a:lnTo>
                    <a:pt x="19474" y="3140"/>
                  </a:lnTo>
                  <a:lnTo>
                    <a:pt x="19409" y="3231"/>
                  </a:lnTo>
                  <a:lnTo>
                    <a:pt x="19409" y="3413"/>
                  </a:lnTo>
                  <a:lnTo>
                    <a:pt x="19432" y="3381"/>
                  </a:lnTo>
                  <a:lnTo>
                    <a:pt x="19438" y="3374"/>
                  </a:lnTo>
                  <a:lnTo>
                    <a:pt x="19446" y="3372"/>
                  </a:lnTo>
                  <a:lnTo>
                    <a:pt x="19460" y="3375"/>
                  </a:lnTo>
                  <a:lnTo>
                    <a:pt x="19465" y="3382"/>
                  </a:lnTo>
                  <a:lnTo>
                    <a:pt x="19468" y="3388"/>
                  </a:lnTo>
                  <a:lnTo>
                    <a:pt x="19468" y="3396"/>
                  </a:lnTo>
                  <a:lnTo>
                    <a:pt x="19464" y="3404"/>
                  </a:lnTo>
                  <a:lnTo>
                    <a:pt x="19409" y="3480"/>
                  </a:lnTo>
                  <a:lnTo>
                    <a:pt x="19409" y="3491"/>
                  </a:lnTo>
                  <a:lnTo>
                    <a:pt x="19409" y="3498"/>
                  </a:lnTo>
                  <a:lnTo>
                    <a:pt x="19409" y="3608"/>
                  </a:lnTo>
                  <a:lnTo>
                    <a:pt x="19425" y="3613"/>
                  </a:lnTo>
                  <a:lnTo>
                    <a:pt x="19441" y="3620"/>
                  </a:lnTo>
                  <a:lnTo>
                    <a:pt x="19455" y="3627"/>
                  </a:lnTo>
                  <a:lnTo>
                    <a:pt x="19468" y="3632"/>
                  </a:lnTo>
                  <a:lnTo>
                    <a:pt x="19480" y="3635"/>
                  </a:lnTo>
                  <a:lnTo>
                    <a:pt x="19488" y="3635"/>
                  </a:lnTo>
                  <a:lnTo>
                    <a:pt x="19494" y="3632"/>
                  </a:lnTo>
                  <a:lnTo>
                    <a:pt x="19501" y="3630"/>
                  </a:lnTo>
                  <a:lnTo>
                    <a:pt x="19509" y="3625"/>
                  </a:lnTo>
                  <a:lnTo>
                    <a:pt x="19525" y="3608"/>
                  </a:lnTo>
                  <a:lnTo>
                    <a:pt x="19547" y="3585"/>
                  </a:lnTo>
                  <a:lnTo>
                    <a:pt x="19562" y="3570"/>
                  </a:lnTo>
                  <a:lnTo>
                    <a:pt x="19577" y="3562"/>
                  </a:lnTo>
                  <a:lnTo>
                    <a:pt x="19591" y="3558"/>
                  </a:lnTo>
                  <a:lnTo>
                    <a:pt x="19620" y="3556"/>
                  </a:lnTo>
                  <a:lnTo>
                    <a:pt x="19639" y="3554"/>
                  </a:lnTo>
                  <a:lnTo>
                    <a:pt x="19664" y="3552"/>
                  </a:lnTo>
                  <a:lnTo>
                    <a:pt x="19679" y="3544"/>
                  </a:lnTo>
                  <a:lnTo>
                    <a:pt x="19684" y="3539"/>
                  </a:lnTo>
                  <a:lnTo>
                    <a:pt x="19688" y="3533"/>
                  </a:lnTo>
                  <a:lnTo>
                    <a:pt x="19695" y="3517"/>
                  </a:lnTo>
                  <a:lnTo>
                    <a:pt x="19700" y="3499"/>
                  </a:lnTo>
                  <a:lnTo>
                    <a:pt x="19705" y="3479"/>
                  </a:lnTo>
                  <a:lnTo>
                    <a:pt x="19714" y="3460"/>
                  </a:lnTo>
                  <a:lnTo>
                    <a:pt x="19728" y="3441"/>
                  </a:lnTo>
                  <a:lnTo>
                    <a:pt x="19737" y="3432"/>
                  </a:lnTo>
                  <a:lnTo>
                    <a:pt x="19748" y="3424"/>
                  </a:lnTo>
                  <a:lnTo>
                    <a:pt x="19792" y="3398"/>
                  </a:lnTo>
                  <a:lnTo>
                    <a:pt x="19804" y="3391"/>
                  </a:lnTo>
                  <a:lnTo>
                    <a:pt x="19810" y="3383"/>
                  </a:lnTo>
                  <a:lnTo>
                    <a:pt x="19813" y="3373"/>
                  </a:lnTo>
                  <a:lnTo>
                    <a:pt x="19811" y="3360"/>
                  </a:lnTo>
                  <a:lnTo>
                    <a:pt x="19804" y="3310"/>
                  </a:lnTo>
                  <a:lnTo>
                    <a:pt x="19804" y="3286"/>
                  </a:lnTo>
                  <a:lnTo>
                    <a:pt x="19807" y="3265"/>
                  </a:lnTo>
                  <a:lnTo>
                    <a:pt x="19816" y="3248"/>
                  </a:lnTo>
                  <a:lnTo>
                    <a:pt x="19827" y="3232"/>
                  </a:lnTo>
                  <a:lnTo>
                    <a:pt x="19847" y="3207"/>
                  </a:lnTo>
                  <a:lnTo>
                    <a:pt x="19854" y="3194"/>
                  </a:lnTo>
                  <a:lnTo>
                    <a:pt x="19856" y="3181"/>
                  </a:lnTo>
                  <a:lnTo>
                    <a:pt x="19854" y="3164"/>
                  </a:lnTo>
                  <a:lnTo>
                    <a:pt x="19850" y="3158"/>
                  </a:lnTo>
                  <a:lnTo>
                    <a:pt x="19846" y="3152"/>
                  </a:lnTo>
                  <a:lnTo>
                    <a:pt x="19824" y="3126"/>
                  </a:lnTo>
                  <a:lnTo>
                    <a:pt x="19814" y="3109"/>
                  </a:lnTo>
                  <a:lnTo>
                    <a:pt x="19806" y="3088"/>
                  </a:lnTo>
                  <a:lnTo>
                    <a:pt x="19805" y="3060"/>
                  </a:lnTo>
                  <a:lnTo>
                    <a:pt x="19806" y="3042"/>
                  </a:lnTo>
                  <a:lnTo>
                    <a:pt x="19809" y="3020"/>
                  </a:lnTo>
                  <a:lnTo>
                    <a:pt x="19811" y="3005"/>
                  </a:lnTo>
                  <a:lnTo>
                    <a:pt x="19811" y="2992"/>
                  </a:lnTo>
                  <a:lnTo>
                    <a:pt x="19809" y="2982"/>
                  </a:lnTo>
                  <a:lnTo>
                    <a:pt x="19805" y="2973"/>
                  </a:lnTo>
                  <a:lnTo>
                    <a:pt x="19792" y="2960"/>
                  </a:lnTo>
                  <a:lnTo>
                    <a:pt x="19775" y="2951"/>
                  </a:lnTo>
                  <a:lnTo>
                    <a:pt x="19757" y="2942"/>
                  </a:lnTo>
                  <a:lnTo>
                    <a:pt x="19738" y="2930"/>
                  </a:lnTo>
                  <a:lnTo>
                    <a:pt x="19720" y="2913"/>
                  </a:lnTo>
                  <a:lnTo>
                    <a:pt x="19712" y="2900"/>
                  </a:lnTo>
                  <a:lnTo>
                    <a:pt x="19706" y="2884"/>
                  </a:lnTo>
                  <a:lnTo>
                    <a:pt x="19691" y="2837"/>
                  </a:lnTo>
                  <a:lnTo>
                    <a:pt x="19686" y="2824"/>
                  </a:lnTo>
                  <a:lnTo>
                    <a:pt x="19683" y="2819"/>
                  </a:lnTo>
                  <a:lnTo>
                    <a:pt x="19680" y="2815"/>
                  </a:lnTo>
                  <a:lnTo>
                    <a:pt x="19671" y="2812"/>
                  </a:lnTo>
                  <a:lnTo>
                    <a:pt x="19657" y="2810"/>
                  </a:lnTo>
                  <a:lnTo>
                    <a:pt x="19607" y="2806"/>
                  </a:lnTo>
                  <a:lnTo>
                    <a:pt x="19591" y="2803"/>
                  </a:lnTo>
                  <a:lnTo>
                    <a:pt x="19577" y="2799"/>
                  </a:lnTo>
                  <a:lnTo>
                    <a:pt x="19555" y="2786"/>
                  </a:lnTo>
                  <a:lnTo>
                    <a:pt x="19547" y="2778"/>
                  </a:lnTo>
                  <a:lnTo>
                    <a:pt x="19539" y="2769"/>
                  </a:lnTo>
                  <a:lnTo>
                    <a:pt x="19527" y="2753"/>
                  </a:lnTo>
                  <a:lnTo>
                    <a:pt x="19514" y="2739"/>
                  </a:lnTo>
                  <a:lnTo>
                    <a:pt x="19507" y="2734"/>
                  </a:lnTo>
                  <a:lnTo>
                    <a:pt x="19500" y="2730"/>
                  </a:lnTo>
                  <a:lnTo>
                    <a:pt x="19491" y="2727"/>
                  </a:lnTo>
                  <a:lnTo>
                    <a:pt x="19479" y="2728"/>
                  </a:lnTo>
                  <a:lnTo>
                    <a:pt x="19452" y="2736"/>
                  </a:lnTo>
                  <a:lnTo>
                    <a:pt x="19421" y="2749"/>
                  </a:lnTo>
                  <a:lnTo>
                    <a:pt x="19405" y="2754"/>
                  </a:lnTo>
                  <a:lnTo>
                    <a:pt x="19388" y="2755"/>
                  </a:lnTo>
                  <a:lnTo>
                    <a:pt x="19366" y="2753"/>
                  </a:lnTo>
                  <a:lnTo>
                    <a:pt x="19347" y="2746"/>
                  </a:lnTo>
                  <a:lnTo>
                    <a:pt x="19316" y="2731"/>
                  </a:lnTo>
                  <a:lnTo>
                    <a:pt x="19301" y="2727"/>
                  </a:lnTo>
                  <a:lnTo>
                    <a:pt x="19293" y="2726"/>
                  </a:lnTo>
                  <a:lnTo>
                    <a:pt x="19287" y="2727"/>
                  </a:lnTo>
                  <a:lnTo>
                    <a:pt x="19270" y="2736"/>
                  </a:lnTo>
                  <a:lnTo>
                    <a:pt x="19251" y="2753"/>
                  </a:lnTo>
                  <a:lnTo>
                    <a:pt x="19230" y="2776"/>
                  </a:lnTo>
                  <a:lnTo>
                    <a:pt x="19214" y="2791"/>
                  </a:lnTo>
                  <a:lnTo>
                    <a:pt x="19200" y="2799"/>
                  </a:lnTo>
                  <a:lnTo>
                    <a:pt x="19187" y="2804"/>
                  </a:lnTo>
                  <a:lnTo>
                    <a:pt x="19157" y="2805"/>
                  </a:lnTo>
                  <a:lnTo>
                    <a:pt x="19138" y="2806"/>
                  </a:lnTo>
                  <a:lnTo>
                    <a:pt x="19112" y="2810"/>
                  </a:lnTo>
                  <a:lnTo>
                    <a:pt x="19098" y="2817"/>
                  </a:lnTo>
                  <a:lnTo>
                    <a:pt x="19093" y="2822"/>
                  </a:lnTo>
                  <a:lnTo>
                    <a:pt x="19088" y="2828"/>
                  </a:lnTo>
                  <a:lnTo>
                    <a:pt x="19082" y="2844"/>
                  </a:lnTo>
                  <a:lnTo>
                    <a:pt x="19078" y="2863"/>
                  </a:lnTo>
                  <a:lnTo>
                    <a:pt x="19071" y="2882"/>
                  </a:lnTo>
                  <a:lnTo>
                    <a:pt x="19064" y="2902"/>
                  </a:lnTo>
                  <a:lnTo>
                    <a:pt x="19050" y="2920"/>
                  </a:lnTo>
                  <a:lnTo>
                    <a:pt x="19041" y="2929"/>
                  </a:lnTo>
                  <a:lnTo>
                    <a:pt x="19029" y="2937"/>
                  </a:lnTo>
                  <a:lnTo>
                    <a:pt x="18985" y="2962"/>
                  </a:lnTo>
                  <a:lnTo>
                    <a:pt x="18974" y="2970"/>
                  </a:lnTo>
                  <a:lnTo>
                    <a:pt x="18967" y="2978"/>
                  </a:lnTo>
                  <a:lnTo>
                    <a:pt x="18965" y="2988"/>
                  </a:lnTo>
                  <a:lnTo>
                    <a:pt x="18966" y="3002"/>
                  </a:lnTo>
                  <a:lnTo>
                    <a:pt x="18974" y="3052"/>
                  </a:lnTo>
                  <a:lnTo>
                    <a:pt x="18974" y="3079"/>
                  </a:lnTo>
                  <a:lnTo>
                    <a:pt x="18967" y="3101"/>
                  </a:lnTo>
                  <a:lnTo>
                    <a:pt x="18956" y="3121"/>
                  </a:lnTo>
                  <a:lnTo>
                    <a:pt x="18941" y="3143"/>
                  </a:lnTo>
                  <a:lnTo>
                    <a:pt x="18926" y="3164"/>
                  </a:lnTo>
                  <a:lnTo>
                    <a:pt x="18923" y="3172"/>
                  </a:lnTo>
                  <a:lnTo>
                    <a:pt x="18921" y="3181"/>
                  </a:lnTo>
                  <a:lnTo>
                    <a:pt x="18924" y="3196"/>
                  </a:lnTo>
                  <a:lnTo>
                    <a:pt x="18928" y="3204"/>
                  </a:lnTo>
                  <a:lnTo>
                    <a:pt x="18932" y="3211"/>
                  </a:lnTo>
                  <a:lnTo>
                    <a:pt x="18953" y="3235"/>
                  </a:lnTo>
                  <a:lnTo>
                    <a:pt x="18964" y="3251"/>
                  </a:lnTo>
                  <a:lnTo>
                    <a:pt x="18970" y="3273"/>
                  </a:lnTo>
                  <a:lnTo>
                    <a:pt x="18973" y="3303"/>
                  </a:lnTo>
                  <a:lnTo>
                    <a:pt x="18971" y="3320"/>
                  </a:lnTo>
                  <a:lnTo>
                    <a:pt x="18969" y="3341"/>
                  </a:lnTo>
                  <a:lnTo>
                    <a:pt x="18966" y="3356"/>
                  </a:lnTo>
                  <a:lnTo>
                    <a:pt x="18966" y="3369"/>
                  </a:lnTo>
                  <a:lnTo>
                    <a:pt x="18969" y="3381"/>
                  </a:lnTo>
                  <a:lnTo>
                    <a:pt x="18973" y="3388"/>
                  </a:lnTo>
                  <a:lnTo>
                    <a:pt x="18984" y="3401"/>
                  </a:lnTo>
                  <a:lnTo>
                    <a:pt x="19001" y="3410"/>
                  </a:lnTo>
                  <a:lnTo>
                    <a:pt x="19020" y="3419"/>
                  </a:lnTo>
                  <a:lnTo>
                    <a:pt x="19039" y="3430"/>
                  </a:lnTo>
                  <a:lnTo>
                    <a:pt x="19057" y="3448"/>
                  </a:lnTo>
                  <a:lnTo>
                    <a:pt x="19065" y="3461"/>
                  </a:lnTo>
                  <a:lnTo>
                    <a:pt x="19071" y="3476"/>
                  </a:lnTo>
                  <a:lnTo>
                    <a:pt x="19085" y="3524"/>
                  </a:lnTo>
                  <a:lnTo>
                    <a:pt x="19091" y="3538"/>
                  </a:lnTo>
                  <a:lnTo>
                    <a:pt x="19093" y="3542"/>
                  </a:lnTo>
                  <a:lnTo>
                    <a:pt x="19097" y="3546"/>
                  </a:lnTo>
                  <a:lnTo>
                    <a:pt x="19106" y="3549"/>
                  </a:lnTo>
                  <a:lnTo>
                    <a:pt x="19120" y="3551"/>
                  </a:lnTo>
                  <a:lnTo>
                    <a:pt x="19170" y="3556"/>
                  </a:lnTo>
                  <a:lnTo>
                    <a:pt x="19187" y="3558"/>
                  </a:lnTo>
                  <a:lnTo>
                    <a:pt x="19201" y="3562"/>
                  </a:lnTo>
                  <a:lnTo>
                    <a:pt x="19221" y="3576"/>
                  </a:lnTo>
                  <a:lnTo>
                    <a:pt x="19230" y="3584"/>
                  </a:lnTo>
                  <a:lnTo>
                    <a:pt x="19238" y="3592"/>
                  </a:lnTo>
                  <a:lnTo>
                    <a:pt x="19251" y="3608"/>
                  </a:lnTo>
                  <a:lnTo>
                    <a:pt x="19262" y="3622"/>
                  </a:lnTo>
                  <a:lnTo>
                    <a:pt x="19270" y="3627"/>
                  </a:lnTo>
                  <a:lnTo>
                    <a:pt x="19278" y="3631"/>
                  </a:lnTo>
                  <a:lnTo>
                    <a:pt x="19287" y="3634"/>
                  </a:lnTo>
                  <a:lnTo>
                    <a:pt x="19297" y="3634"/>
                  </a:lnTo>
                  <a:lnTo>
                    <a:pt x="19325" y="3625"/>
                  </a:lnTo>
                  <a:lnTo>
                    <a:pt x="19347" y="3616"/>
                  </a:lnTo>
                  <a:lnTo>
                    <a:pt x="19369" y="3608"/>
                  </a:lnTo>
                  <a:lnTo>
                    <a:pt x="19369" y="3506"/>
                  </a:lnTo>
                  <a:lnTo>
                    <a:pt x="19364" y="3502"/>
                  </a:lnTo>
                  <a:lnTo>
                    <a:pt x="19360" y="3498"/>
                  </a:lnTo>
                  <a:lnTo>
                    <a:pt x="19359" y="3487"/>
                  </a:lnTo>
                  <a:lnTo>
                    <a:pt x="19264" y="3358"/>
                  </a:lnTo>
                  <a:lnTo>
                    <a:pt x="19260" y="3349"/>
                  </a:lnTo>
                  <a:lnTo>
                    <a:pt x="19260" y="3341"/>
                  </a:lnTo>
                  <a:lnTo>
                    <a:pt x="19264" y="3335"/>
                  </a:lnTo>
                  <a:lnTo>
                    <a:pt x="19269" y="3329"/>
                  </a:lnTo>
                  <a:lnTo>
                    <a:pt x="19275" y="3326"/>
                  </a:lnTo>
                  <a:lnTo>
                    <a:pt x="19283" y="3326"/>
                  </a:lnTo>
                  <a:lnTo>
                    <a:pt x="19289" y="3328"/>
                  </a:lnTo>
                  <a:lnTo>
                    <a:pt x="19297" y="3333"/>
                  </a:lnTo>
                  <a:lnTo>
                    <a:pt x="19369" y="3433"/>
                  </a:lnTo>
                  <a:lnTo>
                    <a:pt x="19369" y="3320"/>
                  </a:lnTo>
                  <a:lnTo>
                    <a:pt x="19262" y="3176"/>
                  </a:lnTo>
                  <a:lnTo>
                    <a:pt x="19259" y="3167"/>
                  </a:lnTo>
                  <a:lnTo>
                    <a:pt x="19259" y="3159"/>
                  </a:lnTo>
                  <a:lnTo>
                    <a:pt x="19262" y="3153"/>
                  </a:lnTo>
                  <a:lnTo>
                    <a:pt x="19268" y="3148"/>
                  </a:lnTo>
                  <a:lnTo>
                    <a:pt x="19274" y="3144"/>
                  </a:lnTo>
                  <a:lnTo>
                    <a:pt x="19282" y="3144"/>
                  </a:lnTo>
                  <a:lnTo>
                    <a:pt x="19289" y="3147"/>
                  </a:lnTo>
                  <a:lnTo>
                    <a:pt x="19296" y="3152"/>
                  </a:lnTo>
                  <a:lnTo>
                    <a:pt x="19369" y="3253"/>
                  </a:lnTo>
                  <a:lnTo>
                    <a:pt x="19369" y="3227"/>
                  </a:lnTo>
                  <a:lnTo>
                    <a:pt x="19369" y="3221"/>
                  </a:lnTo>
                  <a:close/>
                  <a:moveTo>
                    <a:pt x="22962" y="2597"/>
                  </a:moveTo>
                  <a:lnTo>
                    <a:pt x="22954" y="2597"/>
                  </a:lnTo>
                  <a:lnTo>
                    <a:pt x="22962" y="2597"/>
                  </a:lnTo>
                  <a:close/>
                  <a:moveTo>
                    <a:pt x="20013" y="2597"/>
                  </a:moveTo>
                  <a:lnTo>
                    <a:pt x="20006" y="2597"/>
                  </a:lnTo>
                  <a:lnTo>
                    <a:pt x="20013" y="2597"/>
                  </a:lnTo>
                  <a:close/>
                  <a:moveTo>
                    <a:pt x="19409" y="3491"/>
                  </a:moveTo>
                  <a:lnTo>
                    <a:pt x="19409" y="3498"/>
                  </a:lnTo>
                  <a:lnTo>
                    <a:pt x="19409" y="3491"/>
                  </a:lnTo>
                  <a:close/>
                  <a:moveTo>
                    <a:pt x="19369" y="3227"/>
                  </a:moveTo>
                  <a:lnTo>
                    <a:pt x="19369" y="3221"/>
                  </a:lnTo>
                  <a:lnTo>
                    <a:pt x="19369" y="3227"/>
                  </a:lnTo>
                  <a:close/>
                  <a:moveTo>
                    <a:pt x="20708" y="1885"/>
                  </a:moveTo>
                  <a:lnTo>
                    <a:pt x="20672" y="1152"/>
                  </a:lnTo>
                  <a:lnTo>
                    <a:pt x="20636" y="420"/>
                  </a:lnTo>
                  <a:lnTo>
                    <a:pt x="20345" y="420"/>
                  </a:lnTo>
                  <a:lnTo>
                    <a:pt x="20306" y="1139"/>
                  </a:lnTo>
                  <a:lnTo>
                    <a:pt x="20269" y="1858"/>
                  </a:lnTo>
                  <a:lnTo>
                    <a:pt x="20268" y="1867"/>
                  </a:lnTo>
                  <a:lnTo>
                    <a:pt x="20263" y="1872"/>
                  </a:lnTo>
                  <a:lnTo>
                    <a:pt x="20256" y="1876"/>
                  </a:lnTo>
                  <a:lnTo>
                    <a:pt x="20248" y="1877"/>
                  </a:lnTo>
                  <a:lnTo>
                    <a:pt x="20241" y="1874"/>
                  </a:lnTo>
                  <a:lnTo>
                    <a:pt x="20234" y="1870"/>
                  </a:lnTo>
                  <a:lnTo>
                    <a:pt x="20231" y="1864"/>
                  </a:lnTo>
                  <a:lnTo>
                    <a:pt x="20229" y="1855"/>
                  </a:lnTo>
                  <a:lnTo>
                    <a:pt x="20268" y="1126"/>
                  </a:lnTo>
                  <a:lnTo>
                    <a:pt x="20306" y="399"/>
                  </a:lnTo>
                  <a:lnTo>
                    <a:pt x="20307" y="392"/>
                  </a:lnTo>
                  <a:lnTo>
                    <a:pt x="20313" y="386"/>
                  </a:lnTo>
                  <a:lnTo>
                    <a:pt x="20318" y="382"/>
                  </a:lnTo>
                  <a:lnTo>
                    <a:pt x="20325" y="381"/>
                  </a:lnTo>
                  <a:lnTo>
                    <a:pt x="20655" y="381"/>
                  </a:lnTo>
                  <a:lnTo>
                    <a:pt x="20661" y="382"/>
                  </a:lnTo>
                  <a:lnTo>
                    <a:pt x="20668" y="386"/>
                  </a:lnTo>
                  <a:lnTo>
                    <a:pt x="20673" y="392"/>
                  </a:lnTo>
                  <a:lnTo>
                    <a:pt x="20674" y="399"/>
                  </a:lnTo>
                  <a:lnTo>
                    <a:pt x="20710" y="1140"/>
                  </a:lnTo>
                  <a:lnTo>
                    <a:pt x="20747" y="1882"/>
                  </a:lnTo>
                  <a:lnTo>
                    <a:pt x="20746" y="1891"/>
                  </a:lnTo>
                  <a:lnTo>
                    <a:pt x="20742" y="1897"/>
                  </a:lnTo>
                  <a:lnTo>
                    <a:pt x="20736" y="1901"/>
                  </a:lnTo>
                  <a:lnTo>
                    <a:pt x="20728" y="1902"/>
                  </a:lnTo>
                  <a:lnTo>
                    <a:pt x="20715" y="1899"/>
                  </a:lnTo>
                  <a:lnTo>
                    <a:pt x="20710" y="1892"/>
                  </a:lnTo>
                  <a:lnTo>
                    <a:pt x="20708" y="1885"/>
                  </a:lnTo>
                  <a:close/>
                  <a:moveTo>
                    <a:pt x="2868" y="3476"/>
                  </a:moveTo>
                  <a:lnTo>
                    <a:pt x="2980" y="3323"/>
                  </a:lnTo>
                  <a:lnTo>
                    <a:pt x="2953" y="3268"/>
                  </a:lnTo>
                  <a:lnTo>
                    <a:pt x="2939" y="3245"/>
                  </a:lnTo>
                  <a:lnTo>
                    <a:pt x="2925" y="3225"/>
                  </a:lnTo>
                  <a:lnTo>
                    <a:pt x="2911" y="3207"/>
                  </a:lnTo>
                  <a:lnTo>
                    <a:pt x="2897" y="3193"/>
                  </a:lnTo>
                  <a:lnTo>
                    <a:pt x="2883" y="3181"/>
                  </a:lnTo>
                  <a:lnTo>
                    <a:pt x="2868" y="3175"/>
                  </a:lnTo>
                  <a:lnTo>
                    <a:pt x="2868" y="3476"/>
                  </a:lnTo>
                  <a:close/>
                  <a:moveTo>
                    <a:pt x="2998" y="3365"/>
                  </a:moveTo>
                  <a:lnTo>
                    <a:pt x="2868" y="3544"/>
                  </a:lnTo>
                  <a:lnTo>
                    <a:pt x="2868" y="3753"/>
                  </a:lnTo>
                  <a:lnTo>
                    <a:pt x="3045" y="3507"/>
                  </a:lnTo>
                  <a:lnTo>
                    <a:pt x="3027" y="3445"/>
                  </a:lnTo>
                  <a:lnTo>
                    <a:pt x="2998" y="3365"/>
                  </a:lnTo>
                  <a:close/>
                  <a:moveTo>
                    <a:pt x="2716" y="3324"/>
                  </a:moveTo>
                  <a:lnTo>
                    <a:pt x="2829" y="3479"/>
                  </a:lnTo>
                  <a:lnTo>
                    <a:pt x="2829" y="3173"/>
                  </a:lnTo>
                  <a:lnTo>
                    <a:pt x="2813" y="3181"/>
                  </a:lnTo>
                  <a:lnTo>
                    <a:pt x="2798" y="3193"/>
                  </a:lnTo>
                  <a:lnTo>
                    <a:pt x="2790" y="3199"/>
                  </a:lnTo>
                  <a:lnTo>
                    <a:pt x="2783" y="3207"/>
                  </a:lnTo>
                  <a:lnTo>
                    <a:pt x="2768" y="3225"/>
                  </a:lnTo>
                  <a:lnTo>
                    <a:pt x="2742" y="3269"/>
                  </a:lnTo>
                  <a:lnTo>
                    <a:pt x="2715" y="3323"/>
                  </a:lnTo>
                  <a:lnTo>
                    <a:pt x="2716" y="3324"/>
                  </a:lnTo>
                  <a:close/>
                  <a:moveTo>
                    <a:pt x="3060" y="3557"/>
                  </a:moveTo>
                  <a:lnTo>
                    <a:pt x="2868" y="3820"/>
                  </a:lnTo>
                  <a:lnTo>
                    <a:pt x="2868" y="4028"/>
                  </a:lnTo>
                  <a:lnTo>
                    <a:pt x="3089" y="3725"/>
                  </a:lnTo>
                  <a:lnTo>
                    <a:pt x="3094" y="3718"/>
                  </a:lnTo>
                  <a:lnTo>
                    <a:pt x="3080" y="3640"/>
                  </a:lnTo>
                  <a:lnTo>
                    <a:pt x="3060" y="3557"/>
                  </a:lnTo>
                  <a:close/>
                  <a:moveTo>
                    <a:pt x="2654" y="3515"/>
                  </a:moveTo>
                  <a:lnTo>
                    <a:pt x="2829" y="3754"/>
                  </a:lnTo>
                  <a:lnTo>
                    <a:pt x="2829" y="3547"/>
                  </a:lnTo>
                  <a:lnTo>
                    <a:pt x="2698" y="3367"/>
                  </a:lnTo>
                  <a:lnTo>
                    <a:pt x="2672" y="3437"/>
                  </a:lnTo>
                  <a:lnTo>
                    <a:pt x="2650" y="3511"/>
                  </a:lnTo>
                  <a:lnTo>
                    <a:pt x="2654" y="3515"/>
                  </a:lnTo>
                  <a:close/>
                  <a:moveTo>
                    <a:pt x="3103" y="3773"/>
                  </a:moveTo>
                  <a:lnTo>
                    <a:pt x="2868" y="4095"/>
                  </a:lnTo>
                  <a:lnTo>
                    <a:pt x="2868" y="4102"/>
                  </a:lnTo>
                  <a:lnTo>
                    <a:pt x="2893" y="4098"/>
                  </a:lnTo>
                  <a:lnTo>
                    <a:pt x="2917" y="4093"/>
                  </a:lnTo>
                  <a:lnTo>
                    <a:pt x="2940" y="4085"/>
                  </a:lnTo>
                  <a:lnTo>
                    <a:pt x="2962" y="4076"/>
                  </a:lnTo>
                  <a:lnTo>
                    <a:pt x="2983" y="4065"/>
                  </a:lnTo>
                  <a:lnTo>
                    <a:pt x="3003" y="4051"/>
                  </a:lnTo>
                  <a:lnTo>
                    <a:pt x="3021" y="4037"/>
                  </a:lnTo>
                  <a:lnTo>
                    <a:pt x="3038" y="4020"/>
                  </a:lnTo>
                  <a:lnTo>
                    <a:pt x="3067" y="3982"/>
                  </a:lnTo>
                  <a:lnTo>
                    <a:pt x="3079" y="3961"/>
                  </a:lnTo>
                  <a:lnTo>
                    <a:pt x="3089" y="3939"/>
                  </a:lnTo>
                  <a:lnTo>
                    <a:pt x="3097" y="3916"/>
                  </a:lnTo>
                  <a:lnTo>
                    <a:pt x="3103" y="3893"/>
                  </a:lnTo>
                  <a:lnTo>
                    <a:pt x="3107" y="3868"/>
                  </a:lnTo>
                  <a:lnTo>
                    <a:pt x="3108" y="3843"/>
                  </a:lnTo>
                  <a:lnTo>
                    <a:pt x="3107" y="3811"/>
                  </a:lnTo>
                  <a:lnTo>
                    <a:pt x="3103" y="3773"/>
                  </a:lnTo>
                  <a:close/>
                  <a:moveTo>
                    <a:pt x="2603" y="3719"/>
                  </a:moveTo>
                  <a:lnTo>
                    <a:pt x="2829" y="4012"/>
                  </a:lnTo>
                  <a:lnTo>
                    <a:pt x="2829" y="3822"/>
                  </a:lnTo>
                  <a:lnTo>
                    <a:pt x="2638" y="3560"/>
                  </a:lnTo>
                  <a:lnTo>
                    <a:pt x="2618" y="3644"/>
                  </a:lnTo>
                  <a:lnTo>
                    <a:pt x="2603" y="3719"/>
                  </a:lnTo>
                  <a:close/>
                  <a:moveTo>
                    <a:pt x="2784" y="1296"/>
                  </a:moveTo>
                  <a:lnTo>
                    <a:pt x="2784" y="1465"/>
                  </a:lnTo>
                  <a:lnTo>
                    <a:pt x="2781" y="1474"/>
                  </a:lnTo>
                  <a:lnTo>
                    <a:pt x="2777" y="1480"/>
                  </a:lnTo>
                  <a:lnTo>
                    <a:pt x="2771" y="1484"/>
                  </a:lnTo>
                  <a:lnTo>
                    <a:pt x="2763" y="1486"/>
                  </a:lnTo>
                  <a:lnTo>
                    <a:pt x="2756" y="1484"/>
                  </a:lnTo>
                  <a:lnTo>
                    <a:pt x="2749" y="1480"/>
                  </a:lnTo>
                  <a:lnTo>
                    <a:pt x="2745" y="1474"/>
                  </a:lnTo>
                  <a:lnTo>
                    <a:pt x="2743" y="1465"/>
                  </a:lnTo>
                  <a:lnTo>
                    <a:pt x="2743" y="1296"/>
                  </a:lnTo>
                  <a:lnTo>
                    <a:pt x="2650" y="1296"/>
                  </a:lnTo>
                  <a:lnTo>
                    <a:pt x="2650" y="1465"/>
                  </a:lnTo>
                  <a:lnTo>
                    <a:pt x="2649" y="1474"/>
                  </a:lnTo>
                  <a:lnTo>
                    <a:pt x="2644" y="1480"/>
                  </a:lnTo>
                  <a:lnTo>
                    <a:pt x="2638" y="1484"/>
                  </a:lnTo>
                  <a:lnTo>
                    <a:pt x="2631" y="1486"/>
                  </a:lnTo>
                  <a:lnTo>
                    <a:pt x="2624" y="1484"/>
                  </a:lnTo>
                  <a:lnTo>
                    <a:pt x="2617" y="1480"/>
                  </a:lnTo>
                  <a:lnTo>
                    <a:pt x="2612" y="1474"/>
                  </a:lnTo>
                  <a:lnTo>
                    <a:pt x="2611" y="1465"/>
                  </a:lnTo>
                  <a:lnTo>
                    <a:pt x="2611" y="1296"/>
                  </a:lnTo>
                  <a:lnTo>
                    <a:pt x="2518" y="1296"/>
                  </a:lnTo>
                  <a:lnTo>
                    <a:pt x="2518" y="1465"/>
                  </a:lnTo>
                  <a:lnTo>
                    <a:pt x="2516" y="1474"/>
                  </a:lnTo>
                  <a:lnTo>
                    <a:pt x="2512" y="1480"/>
                  </a:lnTo>
                  <a:lnTo>
                    <a:pt x="2506" y="1484"/>
                  </a:lnTo>
                  <a:lnTo>
                    <a:pt x="2498" y="1486"/>
                  </a:lnTo>
                  <a:lnTo>
                    <a:pt x="2490" y="1484"/>
                  </a:lnTo>
                  <a:lnTo>
                    <a:pt x="2484" y="1480"/>
                  </a:lnTo>
                  <a:lnTo>
                    <a:pt x="2480" y="1474"/>
                  </a:lnTo>
                  <a:lnTo>
                    <a:pt x="2477" y="1465"/>
                  </a:lnTo>
                  <a:lnTo>
                    <a:pt x="2477" y="1296"/>
                  </a:lnTo>
                  <a:lnTo>
                    <a:pt x="2385" y="1296"/>
                  </a:lnTo>
                  <a:lnTo>
                    <a:pt x="2385" y="1465"/>
                  </a:lnTo>
                  <a:lnTo>
                    <a:pt x="2384" y="1474"/>
                  </a:lnTo>
                  <a:lnTo>
                    <a:pt x="2379" y="1480"/>
                  </a:lnTo>
                  <a:lnTo>
                    <a:pt x="2372" y="1484"/>
                  </a:lnTo>
                  <a:lnTo>
                    <a:pt x="2366" y="1486"/>
                  </a:lnTo>
                  <a:lnTo>
                    <a:pt x="2358" y="1484"/>
                  </a:lnTo>
                  <a:lnTo>
                    <a:pt x="2352" y="1480"/>
                  </a:lnTo>
                  <a:lnTo>
                    <a:pt x="2347" y="1474"/>
                  </a:lnTo>
                  <a:lnTo>
                    <a:pt x="2345" y="1465"/>
                  </a:lnTo>
                  <a:lnTo>
                    <a:pt x="2345" y="1296"/>
                  </a:lnTo>
                  <a:lnTo>
                    <a:pt x="2282" y="1296"/>
                  </a:lnTo>
                  <a:lnTo>
                    <a:pt x="2282" y="1634"/>
                  </a:lnTo>
                  <a:lnTo>
                    <a:pt x="2852" y="1634"/>
                  </a:lnTo>
                  <a:lnTo>
                    <a:pt x="2852" y="1296"/>
                  </a:lnTo>
                  <a:lnTo>
                    <a:pt x="2784" y="1296"/>
                  </a:lnTo>
                  <a:close/>
                  <a:moveTo>
                    <a:pt x="332" y="4356"/>
                  </a:moveTo>
                  <a:lnTo>
                    <a:pt x="322" y="4359"/>
                  </a:lnTo>
                  <a:lnTo>
                    <a:pt x="313" y="4356"/>
                  </a:lnTo>
                  <a:lnTo>
                    <a:pt x="0" y="4356"/>
                  </a:lnTo>
                  <a:lnTo>
                    <a:pt x="0" y="4317"/>
                  </a:lnTo>
                  <a:lnTo>
                    <a:pt x="64" y="4317"/>
                  </a:lnTo>
                  <a:lnTo>
                    <a:pt x="64" y="3833"/>
                  </a:lnTo>
                  <a:lnTo>
                    <a:pt x="0" y="3833"/>
                  </a:lnTo>
                  <a:lnTo>
                    <a:pt x="0" y="3792"/>
                  </a:lnTo>
                  <a:lnTo>
                    <a:pt x="197" y="3792"/>
                  </a:lnTo>
                  <a:lnTo>
                    <a:pt x="206" y="3795"/>
                  </a:lnTo>
                  <a:lnTo>
                    <a:pt x="213" y="3799"/>
                  </a:lnTo>
                  <a:lnTo>
                    <a:pt x="217" y="3805"/>
                  </a:lnTo>
                  <a:lnTo>
                    <a:pt x="218" y="3813"/>
                  </a:lnTo>
                  <a:lnTo>
                    <a:pt x="217" y="3820"/>
                  </a:lnTo>
                  <a:lnTo>
                    <a:pt x="213" y="3827"/>
                  </a:lnTo>
                  <a:lnTo>
                    <a:pt x="206" y="3831"/>
                  </a:lnTo>
                  <a:lnTo>
                    <a:pt x="197" y="3833"/>
                  </a:lnTo>
                  <a:lnTo>
                    <a:pt x="104" y="3833"/>
                  </a:lnTo>
                  <a:lnTo>
                    <a:pt x="104" y="4317"/>
                  </a:lnTo>
                  <a:lnTo>
                    <a:pt x="303" y="4317"/>
                  </a:lnTo>
                  <a:lnTo>
                    <a:pt x="303" y="3544"/>
                  </a:lnTo>
                  <a:lnTo>
                    <a:pt x="303" y="2772"/>
                  </a:lnTo>
                  <a:lnTo>
                    <a:pt x="304" y="2764"/>
                  </a:lnTo>
                  <a:lnTo>
                    <a:pt x="308" y="2758"/>
                  </a:lnTo>
                  <a:lnTo>
                    <a:pt x="314" y="2753"/>
                  </a:lnTo>
                  <a:lnTo>
                    <a:pt x="322" y="2751"/>
                  </a:lnTo>
                  <a:lnTo>
                    <a:pt x="440" y="2751"/>
                  </a:lnTo>
                  <a:lnTo>
                    <a:pt x="440" y="2579"/>
                  </a:lnTo>
                  <a:lnTo>
                    <a:pt x="441" y="2571"/>
                  </a:lnTo>
                  <a:lnTo>
                    <a:pt x="446" y="2565"/>
                  </a:lnTo>
                  <a:lnTo>
                    <a:pt x="453" y="2560"/>
                  </a:lnTo>
                  <a:lnTo>
                    <a:pt x="460" y="2558"/>
                  </a:lnTo>
                  <a:lnTo>
                    <a:pt x="541" y="2558"/>
                  </a:lnTo>
                  <a:lnTo>
                    <a:pt x="1007" y="2558"/>
                  </a:lnTo>
                  <a:lnTo>
                    <a:pt x="1997" y="2558"/>
                  </a:lnTo>
                  <a:lnTo>
                    <a:pt x="2004" y="2560"/>
                  </a:lnTo>
                  <a:lnTo>
                    <a:pt x="2011" y="2565"/>
                  </a:lnTo>
                  <a:lnTo>
                    <a:pt x="2014" y="2571"/>
                  </a:lnTo>
                  <a:lnTo>
                    <a:pt x="2017" y="2579"/>
                  </a:lnTo>
                  <a:lnTo>
                    <a:pt x="2017" y="2751"/>
                  </a:lnTo>
                  <a:lnTo>
                    <a:pt x="2098" y="2751"/>
                  </a:lnTo>
                  <a:lnTo>
                    <a:pt x="2098" y="2203"/>
                  </a:lnTo>
                  <a:lnTo>
                    <a:pt x="2098" y="1654"/>
                  </a:lnTo>
                  <a:lnTo>
                    <a:pt x="2099" y="1647"/>
                  </a:lnTo>
                  <a:lnTo>
                    <a:pt x="2103" y="1640"/>
                  </a:lnTo>
                  <a:lnTo>
                    <a:pt x="2109" y="1635"/>
                  </a:lnTo>
                  <a:lnTo>
                    <a:pt x="2117" y="1634"/>
                  </a:lnTo>
                  <a:lnTo>
                    <a:pt x="2243" y="1634"/>
                  </a:lnTo>
                  <a:lnTo>
                    <a:pt x="2243" y="1276"/>
                  </a:lnTo>
                  <a:lnTo>
                    <a:pt x="2244" y="1268"/>
                  </a:lnTo>
                  <a:lnTo>
                    <a:pt x="2249" y="1262"/>
                  </a:lnTo>
                  <a:lnTo>
                    <a:pt x="2254" y="1258"/>
                  </a:lnTo>
                  <a:lnTo>
                    <a:pt x="2262" y="1257"/>
                  </a:lnTo>
                  <a:lnTo>
                    <a:pt x="2872" y="1257"/>
                  </a:lnTo>
                  <a:lnTo>
                    <a:pt x="2880" y="1258"/>
                  </a:lnTo>
                  <a:lnTo>
                    <a:pt x="2886" y="1262"/>
                  </a:lnTo>
                  <a:lnTo>
                    <a:pt x="2890" y="1268"/>
                  </a:lnTo>
                  <a:lnTo>
                    <a:pt x="2893" y="1276"/>
                  </a:lnTo>
                  <a:lnTo>
                    <a:pt x="2893" y="1634"/>
                  </a:lnTo>
                  <a:lnTo>
                    <a:pt x="3017" y="1634"/>
                  </a:lnTo>
                  <a:lnTo>
                    <a:pt x="3025" y="1635"/>
                  </a:lnTo>
                  <a:lnTo>
                    <a:pt x="3031" y="1640"/>
                  </a:lnTo>
                  <a:lnTo>
                    <a:pt x="3035" y="1647"/>
                  </a:lnTo>
                  <a:lnTo>
                    <a:pt x="3038" y="1654"/>
                  </a:lnTo>
                  <a:lnTo>
                    <a:pt x="3038" y="2434"/>
                  </a:lnTo>
                  <a:lnTo>
                    <a:pt x="3038" y="3214"/>
                  </a:lnTo>
                  <a:lnTo>
                    <a:pt x="3035" y="3223"/>
                  </a:lnTo>
                  <a:lnTo>
                    <a:pt x="3031" y="3230"/>
                  </a:lnTo>
                  <a:lnTo>
                    <a:pt x="3025" y="3234"/>
                  </a:lnTo>
                  <a:lnTo>
                    <a:pt x="3017" y="3235"/>
                  </a:lnTo>
                  <a:lnTo>
                    <a:pt x="3010" y="3234"/>
                  </a:lnTo>
                  <a:lnTo>
                    <a:pt x="3003" y="3230"/>
                  </a:lnTo>
                  <a:lnTo>
                    <a:pt x="2999" y="3223"/>
                  </a:lnTo>
                  <a:lnTo>
                    <a:pt x="2998" y="3214"/>
                  </a:lnTo>
                  <a:lnTo>
                    <a:pt x="2998" y="2443"/>
                  </a:lnTo>
                  <a:lnTo>
                    <a:pt x="2998" y="1674"/>
                  </a:lnTo>
                  <a:lnTo>
                    <a:pt x="2138" y="1674"/>
                  </a:lnTo>
                  <a:lnTo>
                    <a:pt x="2138" y="2333"/>
                  </a:lnTo>
                  <a:lnTo>
                    <a:pt x="2138" y="2994"/>
                  </a:lnTo>
                  <a:lnTo>
                    <a:pt x="2138" y="3655"/>
                  </a:lnTo>
                  <a:lnTo>
                    <a:pt x="2138" y="4317"/>
                  </a:lnTo>
                  <a:lnTo>
                    <a:pt x="2829" y="4317"/>
                  </a:lnTo>
                  <a:lnTo>
                    <a:pt x="2829" y="4141"/>
                  </a:lnTo>
                  <a:lnTo>
                    <a:pt x="2799" y="4138"/>
                  </a:lnTo>
                  <a:lnTo>
                    <a:pt x="2771" y="4132"/>
                  </a:lnTo>
                  <a:lnTo>
                    <a:pt x="2744" y="4123"/>
                  </a:lnTo>
                  <a:lnTo>
                    <a:pt x="2731" y="4118"/>
                  </a:lnTo>
                  <a:lnTo>
                    <a:pt x="2718" y="4113"/>
                  </a:lnTo>
                  <a:lnTo>
                    <a:pt x="2694" y="4099"/>
                  </a:lnTo>
                  <a:lnTo>
                    <a:pt x="2671" y="4084"/>
                  </a:lnTo>
                  <a:lnTo>
                    <a:pt x="2649" y="4067"/>
                  </a:lnTo>
                  <a:lnTo>
                    <a:pt x="2630" y="4048"/>
                  </a:lnTo>
                  <a:lnTo>
                    <a:pt x="2612" y="4026"/>
                  </a:lnTo>
                  <a:lnTo>
                    <a:pt x="2595" y="4005"/>
                  </a:lnTo>
                  <a:lnTo>
                    <a:pt x="2581" y="3980"/>
                  </a:lnTo>
                  <a:lnTo>
                    <a:pt x="2570" y="3955"/>
                  </a:lnTo>
                  <a:lnTo>
                    <a:pt x="2561" y="3929"/>
                  </a:lnTo>
                  <a:lnTo>
                    <a:pt x="2554" y="3901"/>
                  </a:lnTo>
                  <a:lnTo>
                    <a:pt x="2549" y="3873"/>
                  </a:lnTo>
                  <a:lnTo>
                    <a:pt x="2548" y="3843"/>
                  </a:lnTo>
                  <a:lnTo>
                    <a:pt x="2549" y="3813"/>
                  </a:lnTo>
                  <a:lnTo>
                    <a:pt x="2554" y="3773"/>
                  </a:lnTo>
                  <a:lnTo>
                    <a:pt x="2570" y="3675"/>
                  </a:lnTo>
                  <a:lnTo>
                    <a:pt x="2581" y="3617"/>
                  </a:lnTo>
                  <a:lnTo>
                    <a:pt x="2595" y="3558"/>
                  </a:lnTo>
                  <a:lnTo>
                    <a:pt x="2630" y="3436"/>
                  </a:lnTo>
                  <a:lnTo>
                    <a:pt x="2650" y="3377"/>
                  </a:lnTo>
                  <a:lnTo>
                    <a:pt x="2674" y="3320"/>
                  </a:lnTo>
                  <a:lnTo>
                    <a:pt x="2698" y="3268"/>
                  </a:lnTo>
                  <a:lnTo>
                    <a:pt x="2725" y="3222"/>
                  </a:lnTo>
                  <a:lnTo>
                    <a:pt x="2753" y="3185"/>
                  </a:lnTo>
                  <a:lnTo>
                    <a:pt x="2783" y="3156"/>
                  </a:lnTo>
                  <a:lnTo>
                    <a:pt x="2799" y="3144"/>
                  </a:lnTo>
                  <a:lnTo>
                    <a:pt x="2815" y="3136"/>
                  </a:lnTo>
                  <a:lnTo>
                    <a:pt x="2831" y="3133"/>
                  </a:lnTo>
                  <a:lnTo>
                    <a:pt x="2848" y="3130"/>
                  </a:lnTo>
                  <a:lnTo>
                    <a:pt x="2866" y="3133"/>
                  </a:lnTo>
                  <a:lnTo>
                    <a:pt x="2883" y="3138"/>
                  </a:lnTo>
                  <a:lnTo>
                    <a:pt x="2899" y="3145"/>
                  </a:lnTo>
                  <a:lnTo>
                    <a:pt x="2915" y="3157"/>
                  </a:lnTo>
                  <a:lnTo>
                    <a:pt x="2945" y="3187"/>
                  </a:lnTo>
                  <a:lnTo>
                    <a:pt x="2953" y="3196"/>
                  </a:lnTo>
                  <a:lnTo>
                    <a:pt x="2960" y="3205"/>
                  </a:lnTo>
                  <a:lnTo>
                    <a:pt x="2974" y="3226"/>
                  </a:lnTo>
                  <a:lnTo>
                    <a:pt x="3001" y="3272"/>
                  </a:lnTo>
                  <a:lnTo>
                    <a:pt x="3024" y="3323"/>
                  </a:lnTo>
                  <a:lnTo>
                    <a:pt x="3045" y="3377"/>
                  </a:lnTo>
                  <a:lnTo>
                    <a:pt x="3065" y="3433"/>
                  </a:lnTo>
                  <a:lnTo>
                    <a:pt x="3083" y="3492"/>
                  </a:lnTo>
                  <a:lnTo>
                    <a:pt x="3099" y="3551"/>
                  </a:lnTo>
                  <a:lnTo>
                    <a:pt x="3113" y="3609"/>
                  </a:lnTo>
                  <a:lnTo>
                    <a:pt x="3125" y="3666"/>
                  </a:lnTo>
                  <a:lnTo>
                    <a:pt x="3135" y="3719"/>
                  </a:lnTo>
                  <a:lnTo>
                    <a:pt x="3142" y="3767"/>
                  </a:lnTo>
                  <a:lnTo>
                    <a:pt x="3147" y="3809"/>
                  </a:lnTo>
                  <a:lnTo>
                    <a:pt x="3148" y="3843"/>
                  </a:lnTo>
                  <a:lnTo>
                    <a:pt x="3147" y="3873"/>
                  </a:lnTo>
                  <a:lnTo>
                    <a:pt x="3143" y="3901"/>
                  </a:lnTo>
                  <a:lnTo>
                    <a:pt x="3135" y="3929"/>
                  </a:lnTo>
                  <a:lnTo>
                    <a:pt x="3126" y="3955"/>
                  </a:lnTo>
                  <a:lnTo>
                    <a:pt x="3115" y="3980"/>
                  </a:lnTo>
                  <a:lnTo>
                    <a:pt x="3101" y="4005"/>
                  </a:lnTo>
                  <a:lnTo>
                    <a:pt x="3067" y="4048"/>
                  </a:lnTo>
                  <a:lnTo>
                    <a:pt x="3025" y="4084"/>
                  </a:lnTo>
                  <a:lnTo>
                    <a:pt x="3002" y="4099"/>
                  </a:lnTo>
                  <a:lnTo>
                    <a:pt x="2977" y="4113"/>
                  </a:lnTo>
                  <a:lnTo>
                    <a:pt x="2952" y="4123"/>
                  </a:lnTo>
                  <a:lnTo>
                    <a:pt x="2925" y="4132"/>
                  </a:lnTo>
                  <a:lnTo>
                    <a:pt x="2897" y="4138"/>
                  </a:lnTo>
                  <a:lnTo>
                    <a:pt x="2868" y="4141"/>
                  </a:lnTo>
                  <a:lnTo>
                    <a:pt x="2868" y="4317"/>
                  </a:lnTo>
                  <a:lnTo>
                    <a:pt x="2998" y="4317"/>
                  </a:lnTo>
                  <a:lnTo>
                    <a:pt x="2998" y="4193"/>
                  </a:lnTo>
                  <a:lnTo>
                    <a:pt x="2999" y="4184"/>
                  </a:lnTo>
                  <a:lnTo>
                    <a:pt x="3003" y="4177"/>
                  </a:lnTo>
                  <a:lnTo>
                    <a:pt x="3010" y="4173"/>
                  </a:lnTo>
                  <a:lnTo>
                    <a:pt x="3017" y="4172"/>
                  </a:lnTo>
                  <a:lnTo>
                    <a:pt x="3025" y="4173"/>
                  </a:lnTo>
                  <a:lnTo>
                    <a:pt x="3031" y="4177"/>
                  </a:lnTo>
                  <a:lnTo>
                    <a:pt x="3035" y="4184"/>
                  </a:lnTo>
                  <a:lnTo>
                    <a:pt x="3038" y="4193"/>
                  </a:lnTo>
                  <a:lnTo>
                    <a:pt x="3038" y="4332"/>
                  </a:lnTo>
                  <a:lnTo>
                    <a:pt x="3036" y="4340"/>
                  </a:lnTo>
                  <a:lnTo>
                    <a:pt x="3031" y="4346"/>
                  </a:lnTo>
                  <a:lnTo>
                    <a:pt x="3025" y="4354"/>
                  </a:lnTo>
                  <a:lnTo>
                    <a:pt x="3013" y="4356"/>
                  </a:lnTo>
                  <a:lnTo>
                    <a:pt x="2343" y="4356"/>
                  </a:lnTo>
                  <a:lnTo>
                    <a:pt x="1672" y="4356"/>
                  </a:lnTo>
                  <a:lnTo>
                    <a:pt x="1001" y="4356"/>
                  </a:lnTo>
                  <a:lnTo>
                    <a:pt x="332" y="4356"/>
                  </a:lnTo>
                  <a:close/>
                  <a:moveTo>
                    <a:pt x="1458" y="2791"/>
                  </a:moveTo>
                  <a:lnTo>
                    <a:pt x="900" y="2791"/>
                  </a:lnTo>
                  <a:lnTo>
                    <a:pt x="342" y="2791"/>
                  </a:lnTo>
                  <a:lnTo>
                    <a:pt x="342" y="3553"/>
                  </a:lnTo>
                  <a:lnTo>
                    <a:pt x="342" y="4317"/>
                  </a:lnTo>
                  <a:lnTo>
                    <a:pt x="1218" y="4317"/>
                  </a:lnTo>
                  <a:lnTo>
                    <a:pt x="2095" y="4317"/>
                  </a:lnTo>
                  <a:lnTo>
                    <a:pt x="2095" y="3553"/>
                  </a:lnTo>
                  <a:lnTo>
                    <a:pt x="2095" y="2791"/>
                  </a:lnTo>
                  <a:lnTo>
                    <a:pt x="1723" y="2791"/>
                  </a:lnTo>
                  <a:lnTo>
                    <a:pt x="1714" y="2790"/>
                  </a:lnTo>
                  <a:lnTo>
                    <a:pt x="1708" y="2786"/>
                  </a:lnTo>
                  <a:lnTo>
                    <a:pt x="1704" y="2780"/>
                  </a:lnTo>
                  <a:lnTo>
                    <a:pt x="1703" y="2772"/>
                  </a:lnTo>
                  <a:lnTo>
                    <a:pt x="1704" y="2764"/>
                  </a:lnTo>
                  <a:lnTo>
                    <a:pt x="1708" y="2758"/>
                  </a:lnTo>
                  <a:lnTo>
                    <a:pt x="1714" y="2754"/>
                  </a:lnTo>
                  <a:lnTo>
                    <a:pt x="1723" y="2751"/>
                  </a:lnTo>
                  <a:lnTo>
                    <a:pt x="1976" y="2751"/>
                  </a:lnTo>
                  <a:lnTo>
                    <a:pt x="1976" y="2598"/>
                  </a:lnTo>
                  <a:lnTo>
                    <a:pt x="1025" y="2598"/>
                  </a:lnTo>
                  <a:lnTo>
                    <a:pt x="1018" y="2602"/>
                  </a:lnTo>
                  <a:lnTo>
                    <a:pt x="1010" y="2603"/>
                  </a:lnTo>
                  <a:lnTo>
                    <a:pt x="544" y="2603"/>
                  </a:lnTo>
                  <a:lnTo>
                    <a:pt x="536" y="2602"/>
                  </a:lnTo>
                  <a:lnTo>
                    <a:pt x="531" y="2598"/>
                  </a:lnTo>
                  <a:lnTo>
                    <a:pt x="480" y="2598"/>
                  </a:lnTo>
                  <a:lnTo>
                    <a:pt x="480" y="2751"/>
                  </a:lnTo>
                  <a:lnTo>
                    <a:pt x="1458" y="2751"/>
                  </a:lnTo>
                  <a:lnTo>
                    <a:pt x="1467" y="2754"/>
                  </a:lnTo>
                  <a:lnTo>
                    <a:pt x="1473" y="2758"/>
                  </a:lnTo>
                  <a:lnTo>
                    <a:pt x="1477" y="2764"/>
                  </a:lnTo>
                  <a:lnTo>
                    <a:pt x="1478" y="2772"/>
                  </a:lnTo>
                  <a:lnTo>
                    <a:pt x="1477" y="2780"/>
                  </a:lnTo>
                  <a:lnTo>
                    <a:pt x="1473" y="2786"/>
                  </a:lnTo>
                  <a:lnTo>
                    <a:pt x="1467" y="2790"/>
                  </a:lnTo>
                  <a:lnTo>
                    <a:pt x="1458" y="2791"/>
                  </a:lnTo>
                  <a:close/>
                  <a:moveTo>
                    <a:pt x="2829" y="4085"/>
                  </a:moveTo>
                  <a:lnTo>
                    <a:pt x="2829" y="4077"/>
                  </a:lnTo>
                  <a:lnTo>
                    <a:pt x="2594" y="3774"/>
                  </a:lnTo>
                  <a:lnTo>
                    <a:pt x="2590" y="3814"/>
                  </a:lnTo>
                  <a:lnTo>
                    <a:pt x="2588" y="3843"/>
                  </a:lnTo>
                  <a:lnTo>
                    <a:pt x="2589" y="3868"/>
                  </a:lnTo>
                  <a:lnTo>
                    <a:pt x="2593" y="3893"/>
                  </a:lnTo>
                  <a:lnTo>
                    <a:pt x="2599" y="3916"/>
                  </a:lnTo>
                  <a:lnTo>
                    <a:pt x="2607" y="3939"/>
                  </a:lnTo>
                  <a:lnTo>
                    <a:pt x="2617" y="3961"/>
                  </a:lnTo>
                  <a:lnTo>
                    <a:pt x="2629" y="3982"/>
                  </a:lnTo>
                  <a:lnTo>
                    <a:pt x="2643" y="4002"/>
                  </a:lnTo>
                  <a:lnTo>
                    <a:pt x="2658" y="4020"/>
                  </a:lnTo>
                  <a:lnTo>
                    <a:pt x="2675" y="4037"/>
                  </a:lnTo>
                  <a:lnTo>
                    <a:pt x="2693" y="4051"/>
                  </a:lnTo>
                  <a:lnTo>
                    <a:pt x="2713" y="4065"/>
                  </a:lnTo>
                  <a:lnTo>
                    <a:pt x="2734" y="4076"/>
                  </a:lnTo>
                  <a:lnTo>
                    <a:pt x="2756" y="4085"/>
                  </a:lnTo>
                  <a:lnTo>
                    <a:pt x="2779" y="4093"/>
                  </a:lnTo>
                  <a:lnTo>
                    <a:pt x="2803" y="4098"/>
                  </a:lnTo>
                  <a:lnTo>
                    <a:pt x="2829" y="4102"/>
                  </a:lnTo>
                  <a:lnTo>
                    <a:pt x="2829" y="4093"/>
                  </a:lnTo>
                  <a:lnTo>
                    <a:pt x="2829" y="4085"/>
                  </a:lnTo>
                  <a:close/>
                  <a:moveTo>
                    <a:pt x="1903" y="3824"/>
                  </a:moveTo>
                  <a:lnTo>
                    <a:pt x="1903" y="3937"/>
                  </a:lnTo>
                  <a:lnTo>
                    <a:pt x="1902" y="3946"/>
                  </a:lnTo>
                  <a:lnTo>
                    <a:pt x="1896" y="3952"/>
                  </a:lnTo>
                  <a:lnTo>
                    <a:pt x="1890" y="3956"/>
                  </a:lnTo>
                  <a:lnTo>
                    <a:pt x="1882" y="3957"/>
                  </a:lnTo>
                  <a:lnTo>
                    <a:pt x="1876" y="3956"/>
                  </a:lnTo>
                  <a:lnTo>
                    <a:pt x="1870" y="3952"/>
                  </a:lnTo>
                  <a:lnTo>
                    <a:pt x="1864" y="3946"/>
                  </a:lnTo>
                  <a:lnTo>
                    <a:pt x="1863" y="3937"/>
                  </a:lnTo>
                  <a:lnTo>
                    <a:pt x="1863" y="3824"/>
                  </a:lnTo>
                  <a:lnTo>
                    <a:pt x="1864" y="3817"/>
                  </a:lnTo>
                  <a:lnTo>
                    <a:pt x="1870" y="3810"/>
                  </a:lnTo>
                  <a:lnTo>
                    <a:pt x="1876" y="3806"/>
                  </a:lnTo>
                  <a:lnTo>
                    <a:pt x="1882" y="3805"/>
                  </a:lnTo>
                  <a:lnTo>
                    <a:pt x="1890" y="3806"/>
                  </a:lnTo>
                  <a:lnTo>
                    <a:pt x="1896" y="3810"/>
                  </a:lnTo>
                  <a:lnTo>
                    <a:pt x="1902" y="3817"/>
                  </a:lnTo>
                  <a:lnTo>
                    <a:pt x="1903" y="3824"/>
                  </a:lnTo>
                  <a:close/>
                  <a:moveTo>
                    <a:pt x="587" y="3118"/>
                  </a:moveTo>
                  <a:lnTo>
                    <a:pt x="587" y="3231"/>
                  </a:lnTo>
                  <a:lnTo>
                    <a:pt x="586" y="3240"/>
                  </a:lnTo>
                  <a:lnTo>
                    <a:pt x="581" y="3246"/>
                  </a:lnTo>
                  <a:lnTo>
                    <a:pt x="574" y="3250"/>
                  </a:lnTo>
                  <a:lnTo>
                    <a:pt x="567" y="3251"/>
                  </a:lnTo>
                  <a:lnTo>
                    <a:pt x="560" y="3250"/>
                  </a:lnTo>
                  <a:lnTo>
                    <a:pt x="554" y="3246"/>
                  </a:lnTo>
                  <a:lnTo>
                    <a:pt x="549" y="3240"/>
                  </a:lnTo>
                  <a:lnTo>
                    <a:pt x="548" y="3231"/>
                  </a:lnTo>
                  <a:lnTo>
                    <a:pt x="548" y="3118"/>
                  </a:lnTo>
                  <a:lnTo>
                    <a:pt x="549" y="3111"/>
                  </a:lnTo>
                  <a:lnTo>
                    <a:pt x="554" y="3104"/>
                  </a:lnTo>
                  <a:lnTo>
                    <a:pt x="560" y="3101"/>
                  </a:lnTo>
                  <a:lnTo>
                    <a:pt x="567" y="3099"/>
                  </a:lnTo>
                  <a:lnTo>
                    <a:pt x="574" y="3101"/>
                  </a:lnTo>
                  <a:lnTo>
                    <a:pt x="581" y="3104"/>
                  </a:lnTo>
                  <a:lnTo>
                    <a:pt x="586" y="3111"/>
                  </a:lnTo>
                  <a:lnTo>
                    <a:pt x="587" y="3118"/>
                  </a:lnTo>
                  <a:close/>
                  <a:moveTo>
                    <a:pt x="850" y="3118"/>
                  </a:moveTo>
                  <a:lnTo>
                    <a:pt x="850" y="3231"/>
                  </a:lnTo>
                  <a:lnTo>
                    <a:pt x="849" y="3240"/>
                  </a:lnTo>
                  <a:lnTo>
                    <a:pt x="844" y="3246"/>
                  </a:lnTo>
                  <a:lnTo>
                    <a:pt x="837" y="3250"/>
                  </a:lnTo>
                  <a:lnTo>
                    <a:pt x="831" y="3251"/>
                  </a:lnTo>
                  <a:lnTo>
                    <a:pt x="823" y="3250"/>
                  </a:lnTo>
                  <a:lnTo>
                    <a:pt x="817" y="3246"/>
                  </a:lnTo>
                  <a:lnTo>
                    <a:pt x="812" y="3240"/>
                  </a:lnTo>
                  <a:lnTo>
                    <a:pt x="810" y="3231"/>
                  </a:lnTo>
                  <a:lnTo>
                    <a:pt x="810" y="3118"/>
                  </a:lnTo>
                  <a:lnTo>
                    <a:pt x="812" y="3111"/>
                  </a:lnTo>
                  <a:lnTo>
                    <a:pt x="817" y="3104"/>
                  </a:lnTo>
                  <a:lnTo>
                    <a:pt x="823" y="3101"/>
                  </a:lnTo>
                  <a:lnTo>
                    <a:pt x="831" y="3099"/>
                  </a:lnTo>
                  <a:lnTo>
                    <a:pt x="837" y="3101"/>
                  </a:lnTo>
                  <a:lnTo>
                    <a:pt x="844" y="3104"/>
                  </a:lnTo>
                  <a:lnTo>
                    <a:pt x="849" y="3111"/>
                  </a:lnTo>
                  <a:lnTo>
                    <a:pt x="850" y="3118"/>
                  </a:lnTo>
                  <a:close/>
                  <a:moveTo>
                    <a:pt x="1113" y="3118"/>
                  </a:moveTo>
                  <a:lnTo>
                    <a:pt x="1113" y="3231"/>
                  </a:lnTo>
                  <a:lnTo>
                    <a:pt x="1112" y="3240"/>
                  </a:lnTo>
                  <a:lnTo>
                    <a:pt x="1107" y="3246"/>
                  </a:lnTo>
                  <a:lnTo>
                    <a:pt x="1100" y="3250"/>
                  </a:lnTo>
                  <a:lnTo>
                    <a:pt x="1094" y="3251"/>
                  </a:lnTo>
                  <a:lnTo>
                    <a:pt x="1086" y="3250"/>
                  </a:lnTo>
                  <a:lnTo>
                    <a:pt x="1080" y="3246"/>
                  </a:lnTo>
                  <a:lnTo>
                    <a:pt x="1076" y="3240"/>
                  </a:lnTo>
                  <a:lnTo>
                    <a:pt x="1073" y="3231"/>
                  </a:lnTo>
                  <a:lnTo>
                    <a:pt x="1073" y="3118"/>
                  </a:lnTo>
                  <a:lnTo>
                    <a:pt x="1076" y="3111"/>
                  </a:lnTo>
                  <a:lnTo>
                    <a:pt x="1080" y="3104"/>
                  </a:lnTo>
                  <a:lnTo>
                    <a:pt x="1086" y="3101"/>
                  </a:lnTo>
                  <a:lnTo>
                    <a:pt x="1094" y="3099"/>
                  </a:lnTo>
                  <a:lnTo>
                    <a:pt x="1100" y="3101"/>
                  </a:lnTo>
                  <a:lnTo>
                    <a:pt x="1107" y="3104"/>
                  </a:lnTo>
                  <a:lnTo>
                    <a:pt x="1112" y="3111"/>
                  </a:lnTo>
                  <a:lnTo>
                    <a:pt x="1113" y="3118"/>
                  </a:lnTo>
                  <a:close/>
                  <a:moveTo>
                    <a:pt x="1377" y="3118"/>
                  </a:moveTo>
                  <a:lnTo>
                    <a:pt x="1377" y="3231"/>
                  </a:lnTo>
                  <a:lnTo>
                    <a:pt x="1375" y="3240"/>
                  </a:lnTo>
                  <a:lnTo>
                    <a:pt x="1371" y="3246"/>
                  </a:lnTo>
                  <a:lnTo>
                    <a:pt x="1364" y="3250"/>
                  </a:lnTo>
                  <a:lnTo>
                    <a:pt x="1357" y="3251"/>
                  </a:lnTo>
                  <a:lnTo>
                    <a:pt x="1349" y="3250"/>
                  </a:lnTo>
                  <a:lnTo>
                    <a:pt x="1343" y="3246"/>
                  </a:lnTo>
                  <a:lnTo>
                    <a:pt x="1339" y="3240"/>
                  </a:lnTo>
                  <a:lnTo>
                    <a:pt x="1336" y="3231"/>
                  </a:lnTo>
                  <a:lnTo>
                    <a:pt x="1336" y="3118"/>
                  </a:lnTo>
                  <a:lnTo>
                    <a:pt x="1339" y="3111"/>
                  </a:lnTo>
                  <a:lnTo>
                    <a:pt x="1343" y="3104"/>
                  </a:lnTo>
                  <a:lnTo>
                    <a:pt x="1349" y="3101"/>
                  </a:lnTo>
                  <a:lnTo>
                    <a:pt x="1357" y="3099"/>
                  </a:lnTo>
                  <a:lnTo>
                    <a:pt x="1364" y="3101"/>
                  </a:lnTo>
                  <a:lnTo>
                    <a:pt x="1371" y="3104"/>
                  </a:lnTo>
                  <a:lnTo>
                    <a:pt x="1375" y="3111"/>
                  </a:lnTo>
                  <a:lnTo>
                    <a:pt x="1377" y="3118"/>
                  </a:lnTo>
                  <a:close/>
                  <a:moveTo>
                    <a:pt x="1640" y="3118"/>
                  </a:moveTo>
                  <a:lnTo>
                    <a:pt x="1640" y="3231"/>
                  </a:lnTo>
                  <a:lnTo>
                    <a:pt x="1637" y="3240"/>
                  </a:lnTo>
                  <a:lnTo>
                    <a:pt x="1634" y="3246"/>
                  </a:lnTo>
                  <a:lnTo>
                    <a:pt x="1627" y="3250"/>
                  </a:lnTo>
                  <a:lnTo>
                    <a:pt x="1620" y="3251"/>
                  </a:lnTo>
                  <a:lnTo>
                    <a:pt x="1612" y="3250"/>
                  </a:lnTo>
                  <a:lnTo>
                    <a:pt x="1605" y="3246"/>
                  </a:lnTo>
                  <a:lnTo>
                    <a:pt x="1602" y="3240"/>
                  </a:lnTo>
                  <a:lnTo>
                    <a:pt x="1600" y="3231"/>
                  </a:lnTo>
                  <a:lnTo>
                    <a:pt x="1600" y="3118"/>
                  </a:lnTo>
                  <a:lnTo>
                    <a:pt x="1602" y="3111"/>
                  </a:lnTo>
                  <a:lnTo>
                    <a:pt x="1605" y="3104"/>
                  </a:lnTo>
                  <a:lnTo>
                    <a:pt x="1612" y="3101"/>
                  </a:lnTo>
                  <a:lnTo>
                    <a:pt x="1620" y="3099"/>
                  </a:lnTo>
                  <a:lnTo>
                    <a:pt x="1627" y="3101"/>
                  </a:lnTo>
                  <a:lnTo>
                    <a:pt x="1634" y="3104"/>
                  </a:lnTo>
                  <a:lnTo>
                    <a:pt x="1637" y="3111"/>
                  </a:lnTo>
                  <a:lnTo>
                    <a:pt x="1640" y="3118"/>
                  </a:lnTo>
                  <a:close/>
                  <a:moveTo>
                    <a:pt x="1903" y="3118"/>
                  </a:moveTo>
                  <a:lnTo>
                    <a:pt x="1903" y="3231"/>
                  </a:lnTo>
                  <a:lnTo>
                    <a:pt x="1902" y="3240"/>
                  </a:lnTo>
                  <a:lnTo>
                    <a:pt x="1896" y="3246"/>
                  </a:lnTo>
                  <a:lnTo>
                    <a:pt x="1890" y="3250"/>
                  </a:lnTo>
                  <a:lnTo>
                    <a:pt x="1882" y="3251"/>
                  </a:lnTo>
                  <a:lnTo>
                    <a:pt x="1876" y="3250"/>
                  </a:lnTo>
                  <a:lnTo>
                    <a:pt x="1870" y="3246"/>
                  </a:lnTo>
                  <a:lnTo>
                    <a:pt x="1864" y="3240"/>
                  </a:lnTo>
                  <a:lnTo>
                    <a:pt x="1863" y="3231"/>
                  </a:lnTo>
                  <a:lnTo>
                    <a:pt x="1863" y="3118"/>
                  </a:lnTo>
                  <a:lnTo>
                    <a:pt x="1864" y="3111"/>
                  </a:lnTo>
                  <a:lnTo>
                    <a:pt x="1870" y="3104"/>
                  </a:lnTo>
                  <a:lnTo>
                    <a:pt x="1876" y="3101"/>
                  </a:lnTo>
                  <a:lnTo>
                    <a:pt x="1882" y="3099"/>
                  </a:lnTo>
                  <a:lnTo>
                    <a:pt x="1890" y="3101"/>
                  </a:lnTo>
                  <a:lnTo>
                    <a:pt x="1896" y="3104"/>
                  </a:lnTo>
                  <a:lnTo>
                    <a:pt x="1902" y="3111"/>
                  </a:lnTo>
                  <a:lnTo>
                    <a:pt x="1903" y="3118"/>
                  </a:lnTo>
                  <a:close/>
                  <a:moveTo>
                    <a:pt x="587" y="3354"/>
                  </a:moveTo>
                  <a:lnTo>
                    <a:pt x="587" y="3466"/>
                  </a:lnTo>
                  <a:lnTo>
                    <a:pt x="586" y="3475"/>
                  </a:lnTo>
                  <a:lnTo>
                    <a:pt x="581" y="3482"/>
                  </a:lnTo>
                  <a:lnTo>
                    <a:pt x="574" y="3485"/>
                  </a:lnTo>
                  <a:lnTo>
                    <a:pt x="567" y="3487"/>
                  </a:lnTo>
                  <a:lnTo>
                    <a:pt x="560" y="3485"/>
                  </a:lnTo>
                  <a:lnTo>
                    <a:pt x="554" y="3482"/>
                  </a:lnTo>
                  <a:lnTo>
                    <a:pt x="549" y="3475"/>
                  </a:lnTo>
                  <a:lnTo>
                    <a:pt x="548" y="3466"/>
                  </a:lnTo>
                  <a:lnTo>
                    <a:pt x="548" y="3354"/>
                  </a:lnTo>
                  <a:lnTo>
                    <a:pt x="549" y="3346"/>
                  </a:lnTo>
                  <a:lnTo>
                    <a:pt x="554" y="3340"/>
                  </a:lnTo>
                  <a:lnTo>
                    <a:pt x="560" y="3336"/>
                  </a:lnTo>
                  <a:lnTo>
                    <a:pt x="567" y="3335"/>
                  </a:lnTo>
                  <a:lnTo>
                    <a:pt x="574" y="3336"/>
                  </a:lnTo>
                  <a:lnTo>
                    <a:pt x="581" y="3340"/>
                  </a:lnTo>
                  <a:lnTo>
                    <a:pt x="586" y="3346"/>
                  </a:lnTo>
                  <a:lnTo>
                    <a:pt x="587" y="3354"/>
                  </a:lnTo>
                  <a:close/>
                  <a:moveTo>
                    <a:pt x="850" y="3354"/>
                  </a:moveTo>
                  <a:lnTo>
                    <a:pt x="850" y="3466"/>
                  </a:lnTo>
                  <a:lnTo>
                    <a:pt x="849" y="3475"/>
                  </a:lnTo>
                  <a:lnTo>
                    <a:pt x="844" y="3482"/>
                  </a:lnTo>
                  <a:lnTo>
                    <a:pt x="837" y="3485"/>
                  </a:lnTo>
                  <a:lnTo>
                    <a:pt x="831" y="3487"/>
                  </a:lnTo>
                  <a:lnTo>
                    <a:pt x="823" y="3485"/>
                  </a:lnTo>
                  <a:lnTo>
                    <a:pt x="817" y="3482"/>
                  </a:lnTo>
                  <a:lnTo>
                    <a:pt x="812" y="3475"/>
                  </a:lnTo>
                  <a:lnTo>
                    <a:pt x="810" y="3466"/>
                  </a:lnTo>
                  <a:lnTo>
                    <a:pt x="810" y="3354"/>
                  </a:lnTo>
                  <a:lnTo>
                    <a:pt x="812" y="3346"/>
                  </a:lnTo>
                  <a:lnTo>
                    <a:pt x="817" y="3340"/>
                  </a:lnTo>
                  <a:lnTo>
                    <a:pt x="823" y="3336"/>
                  </a:lnTo>
                  <a:lnTo>
                    <a:pt x="831" y="3335"/>
                  </a:lnTo>
                  <a:lnTo>
                    <a:pt x="837" y="3336"/>
                  </a:lnTo>
                  <a:lnTo>
                    <a:pt x="844" y="3340"/>
                  </a:lnTo>
                  <a:lnTo>
                    <a:pt x="849" y="3346"/>
                  </a:lnTo>
                  <a:lnTo>
                    <a:pt x="850" y="3354"/>
                  </a:lnTo>
                  <a:close/>
                  <a:moveTo>
                    <a:pt x="1113" y="3354"/>
                  </a:moveTo>
                  <a:lnTo>
                    <a:pt x="1113" y="3466"/>
                  </a:lnTo>
                  <a:lnTo>
                    <a:pt x="1112" y="3475"/>
                  </a:lnTo>
                  <a:lnTo>
                    <a:pt x="1107" y="3482"/>
                  </a:lnTo>
                  <a:lnTo>
                    <a:pt x="1100" y="3485"/>
                  </a:lnTo>
                  <a:lnTo>
                    <a:pt x="1094" y="3487"/>
                  </a:lnTo>
                  <a:lnTo>
                    <a:pt x="1086" y="3485"/>
                  </a:lnTo>
                  <a:lnTo>
                    <a:pt x="1080" y="3482"/>
                  </a:lnTo>
                  <a:lnTo>
                    <a:pt x="1076" y="3475"/>
                  </a:lnTo>
                  <a:lnTo>
                    <a:pt x="1073" y="3466"/>
                  </a:lnTo>
                  <a:lnTo>
                    <a:pt x="1073" y="3354"/>
                  </a:lnTo>
                  <a:lnTo>
                    <a:pt x="1076" y="3346"/>
                  </a:lnTo>
                  <a:lnTo>
                    <a:pt x="1080" y="3340"/>
                  </a:lnTo>
                  <a:lnTo>
                    <a:pt x="1086" y="3336"/>
                  </a:lnTo>
                  <a:lnTo>
                    <a:pt x="1094" y="3335"/>
                  </a:lnTo>
                  <a:lnTo>
                    <a:pt x="1100" y="3336"/>
                  </a:lnTo>
                  <a:lnTo>
                    <a:pt x="1107" y="3340"/>
                  </a:lnTo>
                  <a:lnTo>
                    <a:pt x="1112" y="3346"/>
                  </a:lnTo>
                  <a:lnTo>
                    <a:pt x="1113" y="3354"/>
                  </a:lnTo>
                  <a:close/>
                  <a:moveTo>
                    <a:pt x="1377" y="3354"/>
                  </a:moveTo>
                  <a:lnTo>
                    <a:pt x="1377" y="3466"/>
                  </a:lnTo>
                  <a:lnTo>
                    <a:pt x="1375" y="3475"/>
                  </a:lnTo>
                  <a:lnTo>
                    <a:pt x="1371" y="3482"/>
                  </a:lnTo>
                  <a:lnTo>
                    <a:pt x="1364" y="3485"/>
                  </a:lnTo>
                  <a:lnTo>
                    <a:pt x="1357" y="3487"/>
                  </a:lnTo>
                  <a:lnTo>
                    <a:pt x="1349" y="3485"/>
                  </a:lnTo>
                  <a:lnTo>
                    <a:pt x="1343" y="3482"/>
                  </a:lnTo>
                  <a:lnTo>
                    <a:pt x="1339" y="3475"/>
                  </a:lnTo>
                  <a:lnTo>
                    <a:pt x="1336" y="3466"/>
                  </a:lnTo>
                  <a:lnTo>
                    <a:pt x="1336" y="3354"/>
                  </a:lnTo>
                  <a:lnTo>
                    <a:pt x="1339" y="3346"/>
                  </a:lnTo>
                  <a:lnTo>
                    <a:pt x="1343" y="3340"/>
                  </a:lnTo>
                  <a:lnTo>
                    <a:pt x="1349" y="3336"/>
                  </a:lnTo>
                  <a:lnTo>
                    <a:pt x="1357" y="3335"/>
                  </a:lnTo>
                  <a:lnTo>
                    <a:pt x="1364" y="3336"/>
                  </a:lnTo>
                  <a:lnTo>
                    <a:pt x="1371" y="3340"/>
                  </a:lnTo>
                  <a:lnTo>
                    <a:pt x="1375" y="3346"/>
                  </a:lnTo>
                  <a:lnTo>
                    <a:pt x="1377" y="3354"/>
                  </a:lnTo>
                  <a:close/>
                  <a:moveTo>
                    <a:pt x="1640" y="3354"/>
                  </a:moveTo>
                  <a:lnTo>
                    <a:pt x="1640" y="3466"/>
                  </a:lnTo>
                  <a:lnTo>
                    <a:pt x="1637" y="3475"/>
                  </a:lnTo>
                  <a:lnTo>
                    <a:pt x="1634" y="3482"/>
                  </a:lnTo>
                  <a:lnTo>
                    <a:pt x="1627" y="3485"/>
                  </a:lnTo>
                  <a:lnTo>
                    <a:pt x="1620" y="3487"/>
                  </a:lnTo>
                  <a:lnTo>
                    <a:pt x="1612" y="3485"/>
                  </a:lnTo>
                  <a:lnTo>
                    <a:pt x="1605" y="3482"/>
                  </a:lnTo>
                  <a:lnTo>
                    <a:pt x="1602" y="3475"/>
                  </a:lnTo>
                  <a:lnTo>
                    <a:pt x="1600" y="3466"/>
                  </a:lnTo>
                  <a:lnTo>
                    <a:pt x="1600" y="3354"/>
                  </a:lnTo>
                  <a:lnTo>
                    <a:pt x="1602" y="3346"/>
                  </a:lnTo>
                  <a:lnTo>
                    <a:pt x="1605" y="3340"/>
                  </a:lnTo>
                  <a:lnTo>
                    <a:pt x="1612" y="3336"/>
                  </a:lnTo>
                  <a:lnTo>
                    <a:pt x="1620" y="3335"/>
                  </a:lnTo>
                  <a:lnTo>
                    <a:pt x="1627" y="3336"/>
                  </a:lnTo>
                  <a:lnTo>
                    <a:pt x="1634" y="3340"/>
                  </a:lnTo>
                  <a:lnTo>
                    <a:pt x="1637" y="3346"/>
                  </a:lnTo>
                  <a:lnTo>
                    <a:pt x="1640" y="3354"/>
                  </a:lnTo>
                  <a:close/>
                  <a:moveTo>
                    <a:pt x="1903" y="3354"/>
                  </a:moveTo>
                  <a:lnTo>
                    <a:pt x="1903" y="3466"/>
                  </a:lnTo>
                  <a:lnTo>
                    <a:pt x="1902" y="3475"/>
                  </a:lnTo>
                  <a:lnTo>
                    <a:pt x="1896" y="3482"/>
                  </a:lnTo>
                  <a:lnTo>
                    <a:pt x="1890" y="3485"/>
                  </a:lnTo>
                  <a:lnTo>
                    <a:pt x="1882" y="3487"/>
                  </a:lnTo>
                  <a:lnTo>
                    <a:pt x="1876" y="3485"/>
                  </a:lnTo>
                  <a:lnTo>
                    <a:pt x="1870" y="3482"/>
                  </a:lnTo>
                  <a:lnTo>
                    <a:pt x="1864" y="3475"/>
                  </a:lnTo>
                  <a:lnTo>
                    <a:pt x="1863" y="3466"/>
                  </a:lnTo>
                  <a:lnTo>
                    <a:pt x="1863" y="3354"/>
                  </a:lnTo>
                  <a:lnTo>
                    <a:pt x="1864" y="3346"/>
                  </a:lnTo>
                  <a:lnTo>
                    <a:pt x="1870" y="3340"/>
                  </a:lnTo>
                  <a:lnTo>
                    <a:pt x="1876" y="3336"/>
                  </a:lnTo>
                  <a:lnTo>
                    <a:pt x="1882" y="3335"/>
                  </a:lnTo>
                  <a:lnTo>
                    <a:pt x="1890" y="3336"/>
                  </a:lnTo>
                  <a:lnTo>
                    <a:pt x="1896" y="3340"/>
                  </a:lnTo>
                  <a:lnTo>
                    <a:pt x="1902" y="3346"/>
                  </a:lnTo>
                  <a:lnTo>
                    <a:pt x="1903" y="3354"/>
                  </a:lnTo>
                  <a:close/>
                  <a:moveTo>
                    <a:pt x="587" y="3589"/>
                  </a:moveTo>
                  <a:lnTo>
                    <a:pt x="587" y="3702"/>
                  </a:lnTo>
                  <a:lnTo>
                    <a:pt x="586" y="3710"/>
                  </a:lnTo>
                  <a:lnTo>
                    <a:pt x="581" y="3717"/>
                  </a:lnTo>
                  <a:lnTo>
                    <a:pt x="574" y="3721"/>
                  </a:lnTo>
                  <a:lnTo>
                    <a:pt x="567" y="3722"/>
                  </a:lnTo>
                  <a:lnTo>
                    <a:pt x="560" y="3721"/>
                  </a:lnTo>
                  <a:lnTo>
                    <a:pt x="554" y="3717"/>
                  </a:lnTo>
                  <a:lnTo>
                    <a:pt x="549" y="3710"/>
                  </a:lnTo>
                  <a:lnTo>
                    <a:pt x="548" y="3702"/>
                  </a:lnTo>
                  <a:lnTo>
                    <a:pt x="548" y="3589"/>
                  </a:lnTo>
                  <a:lnTo>
                    <a:pt x="549" y="3581"/>
                  </a:lnTo>
                  <a:lnTo>
                    <a:pt x="554" y="3575"/>
                  </a:lnTo>
                  <a:lnTo>
                    <a:pt x="560" y="3571"/>
                  </a:lnTo>
                  <a:lnTo>
                    <a:pt x="567" y="3570"/>
                  </a:lnTo>
                  <a:lnTo>
                    <a:pt x="574" y="3571"/>
                  </a:lnTo>
                  <a:lnTo>
                    <a:pt x="581" y="3575"/>
                  </a:lnTo>
                  <a:lnTo>
                    <a:pt x="586" y="3581"/>
                  </a:lnTo>
                  <a:lnTo>
                    <a:pt x="587" y="3589"/>
                  </a:lnTo>
                  <a:close/>
                  <a:moveTo>
                    <a:pt x="850" y="3589"/>
                  </a:moveTo>
                  <a:lnTo>
                    <a:pt x="850" y="3702"/>
                  </a:lnTo>
                  <a:lnTo>
                    <a:pt x="849" y="3710"/>
                  </a:lnTo>
                  <a:lnTo>
                    <a:pt x="844" y="3717"/>
                  </a:lnTo>
                  <a:lnTo>
                    <a:pt x="837" y="3721"/>
                  </a:lnTo>
                  <a:lnTo>
                    <a:pt x="831" y="3722"/>
                  </a:lnTo>
                  <a:lnTo>
                    <a:pt x="823" y="3721"/>
                  </a:lnTo>
                  <a:lnTo>
                    <a:pt x="817" y="3717"/>
                  </a:lnTo>
                  <a:lnTo>
                    <a:pt x="812" y="3710"/>
                  </a:lnTo>
                  <a:lnTo>
                    <a:pt x="810" y="3702"/>
                  </a:lnTo>
                  <a:lnTo>
                    <a:pt x="810" y="3589"/>
                  </a:lnTo>
                  <a:lnTo>
                    <a:pt x="812" y="3581"/>
                  </a:lnTo>
                  <a:lnTo>
                    <a:pt x="817" y="3575"/>
                  </a:lnTo>
                  <a:lnTo>
                    <a:pt x="823" y="3571"/>
                  </a:lnTo>
                  <a:lnTo>
                    <a:pt x="831" y="3570"/>
                  </a:lnTo>
                  <a:lnTo>
                    <a:pt x="837" y="3571"/>
                  </a:lnTo>
                  <a:lnTo>
                    <a:pt x="844" y="3575"/>
                  </a:lnTo>
                  <a:lnTo>
                    <a:pt x="849" y="3581"/>
                  </a:lnTo>
                  <a:lnTo>
                    <a:pt x="850" y="3589"/>
                  </a:lnTo>
                  <a:close/>
                  <a:moveTo>
                    <a:pt x="1113" y="3589"/>
                  </a:moveTo>
                  <a:lnTo>
                    <a:pt x="1113" y="3702"/>
                  </a:lnTo>
                  <a:lnTo>
                    <a:pt x="1112" y="3710"/>
                  </a:lnTo>
                  <a:lnTo>
                    <a:pt x="1107" y="3717"/>
                  </a:lnTo>
                  <a:lnTo>
                    <a:pt x="1100" y="3721"/>
                  </a:lnTo>
                  <a:lnTo>
                    <a:pt x="1094" y="3722"/>
                  </a:lnTo>
                  <a:lnTo>
                    <a:pt x="1086" y="3721"/>
                  </a:lnTo>
                  <a:lnTo>
                    <a:pt x="1080" y="3717"/>
                  </a:lnTo>
                  <a:lnTo>
                    <a:pt x="1076" y="3710"/>
                  </a:lnTo>
                  <a:lnTo>
                    <a:pt x="1073" y="3702"/>
                  </a:lnTo>
                  <a:lnTo>
                    <a:pt x="1073" y="3589"/>
                  </a:lnTo>
                  <a:lnTo>
                    <a:pt x="1076" y="3581"/>
                  </a:lnTo>
                  <a:lnTo>
                    <a:pt x="1080" y="3575"/>
                  </a:lnTo>
                  <a:lnTo>
                    <a:pt x="1086" y="3571"/>
                  </a:lnTo>
                  <a:lnTo>
                    <a:pt x="1094" y="3570"/>
                  </a:lnTo>
                  <a:lnTo>
                    <a:pt x="1100" y="3571"/>
                  </a:lnTo>
                  <a:lnTo>
                    <a:pt x="1107" y="3575"/>
                  </a:lnTo>
                  <a:lnTo>
                    <a:pt x="1112" y="3581"/>
                  </a:lnTo>
                  <a:lnTo>
                    <a:pt x="1113" y="3589"/>
                  </a:lnTo>
                  <a:close/>
                  <a:moveTo>
                    <a:pt x="1377" y="3589"/>
                  </a:moveTo>
                  <a:lnTo>
                    <a:pt x="1377" y="3702"/>
                  </a:lnTo>
                  <a:lnTo>
                    <a:pt x="1375" y="3710"/>
                  </a:lnTo>
                  <a:lnTo>
                    <a:pt x="1371" y="3717"/>
                  </a:lnTo>
                  <a:lnTo>
                    <a:pt x="1364" y="3721"/>
                  </a:lnTo>
                  <a:lnTo>
                    <a:pt x="1357" y="3722"/>
                  </a:lnTo>
                  <a:lnTo>
                    <a:pt x="1349" y="3721"/>
                  </a:lnTo>
                  <a:lnTo>
                    <a:pt x="1343" y="3717"/>
                  </a:lnTo>
                  <a:lnTo>
                    <a:pt x="1339" y="3710"/>
                  </a:lnTo>
                  <a:lnTo>
                    <a:pt x="1336" y="3702"/>
                  </a:lnTo>
                  <a:lnTo>
                    <a:pt x="1336" y="3589"/>
                  </a:lnTo>
                  <a:lnTo>
                    <a:pt x="1339" y="3581"/>
                  </a:lnTo>
                  <a:lnTo>
                    <a:pt x="1343" y="3575"/>
                  </a:lnTo>
                  <a:lnTo>
                    <a:pt x="1349" y="3571"/>
                  </a:lnTo>
                  <a:lnTo>
                    <a:pt x="1357" y="3570"/>
                  </a:lnTo>
                  <a:lnTo>
                    <a:pt x="1364" y="3571"/>
                  </a:lnTo>
                  <a:lnTo>
                    <a:pt x="1371" y="3575"/>
                  </a:lnTo>
                  <a:lnTo>
                    <a:pt x="1375" y="3581"/>
                  </a:lnTo>
                  <a:lnTo>
                    <a:pt x="1377" y="3589"/>
                  </a:lnTo>
                  <a:close/>
                  <a:moveTo>
                    <a:pt x="1640" y="3589"/>
                  </a:moveTo>
                  <a:lnTo>
                    <a:pt x="1640" y="3702"/>
                  </a:lnTo>
                  <a:lnTo>
                    <a:pt x="1637" y="3710"/>
                  </a:lnTo>
                  <a:lnTo>
                    <a:pt x="1634" y="3717"/>
                  </a:lnTo>
                  <a:lnTo>
                    <a:pt x="1627" y="3721"/>
                  </a:lnTo>
                  <a:lnTo>
                    <a:pt x="1620" y="3722"/>
                  </a:lnTo>
                  <a:lnTo>
                    <a:pt x="1612" y="3721"/>
                  </a:lnTo>
                  <a:lnTo>
                    <a:pt x="1605" y="3717"/>
                  </a:lnTo>
                  <a:lnTo>
                    <a:pt x="1602" y="3710"/>
                  </a:lnTo>
                  <a:lnTo>
                    <a:pt x="1600" y="3702"/>
                  </a:lnTo>
                  <a:lnTo>
                    <a:pt x="1600" y="3589"/>
                  </a:lnTo>
                  <a:lnTo>
                    <a:pt x="1602" y="3581"/>
                  </a:lnTo>
                  <a:lnTo>
                    <a:pt x="1605" y="3575"/>
                  </a:lnTo>
                  <a:lnTo>
                    <a:pt x="1612" y="3571"/>
                  </a:lnTo>
                  <a:lnTo>
                    <a:pt x="1620" y="3570"/>
                  </a:lnTo>
                  <a:lnTo>
                    <a:pt x="1627" y="3571"/>
                  </a:lnTo>
                  <a:lnTo>
                    <a:pt x="1634" y="3575"/>
                  </a:lnTo>
                  <a:lnTo>
                    <a:pt x="1637" y="3581"/>
                  </a:lnTo>
                  <a:lnTo>
                    <a:pt x="1640" y="3589"/>
                  </a:lnTo>
                  <a:close/>
                  <a:moveTo>
                    <a:pt x="1903" y="3589"/>
                  </a:moveTo>
                  <a:lnTo>
                    <a:pt x="1903" y="3702"/>
                  </a:lnTo>
                  <a:lnTo>
                    <a:pt x="1902" y="3710"/>
                  </a:lnTo>
                  <a:lnTo>
                    <a:pt x="1896" y="3717"/>
                  </a:lnTo>
                  <a:lnTo>
                    <a:pt x="1890" y="3721"/>
                  </a:lnTo>
                  <a:lnTo>
                    <a:pt x="1882" y="3722"/>
                  </a:lnTo>
                  <a:lnTo>
                    <a:pt x="1876" y="3721"/>
                  </a:lnTo>
                  <a:lnTo>
                    <a:pt x="1870" y="3717"/>
                  </a:lnTo>
                  <a:lnTo>
                    <a:pt x="1864" y="3710"/>
                  </a:lnTo>
                  <a:lnTo>
                    <a:pt x="1863" y="3702"/>
                  </a:lnTo>
                  <a:lnTo>
                    <a:pt x="1863" y="3589"/>
                  </a:lnTo>
                  <a:lnTo>
                    <a:pt x="1864" y="3581"/>
                  </a:lnTo>
                  <a:lnTo>
                    <a:pt x="1870" y="3575"/>
                  </a:lnTo>
                  <a:lnTo>
                    <a:pt x="1876" y="3571"/>
                  </a:lnTo>
                  <a:lnTo>
                    <a:pt x="1882" y="3570"/>
                  </a:lnTo>
                  <a:lnTo>
                    <a:pt x="1890" y="3571"/>
                  </a:lnTo>
                  <a:lnTo>
                    <a:pt x="1896" y="3575"/>
                  </a:lnTo>
                  <a:lnTo>
                    <a:pt x="1902" y="3581"/>
                  </a:lnTo>
                  <a:lnTo>
                    <a:pt x="1903" y="3589"/>
                  </a:lnTo>
                  <a:close/>
                  <a:moveTo>
                    <a:pt x="587" y="3824"/>
                  </a:moveTo>
                  <a:lnTo>
                    <a:pt x="587" y="3937"/>
                  </a:lnTo>
                  <a:lnTo>
                    <a:pt x="586" y="3946"/>
                  </a:lnTo>
                  <a:lnTo>
                    <a:pt x="581" y="3952"/>
                  </a:lnTo>
                  <a:lnTo>
                    <a:pt x="574" y="3956"/>
                  </a:lnTo>
                  <a:lnTo>
                    <a:pt x="567" y="3957"/>
                  </a:lnTo>
                  <a:lnTo>
                    <a:pt x="560" y="3956"/>
                  </a:lnTo>
                  <a:lnTo>
                    <a:pt x="554" y="3952"/>
                  </a:lnTo>
                  <a:lnTo>
                    <a:pt x="549" y="3946"/>
                  </a:lnTo>
                  <a:lnTo>
                    <a:pt x="548" y="3937"/>
                  </a:lnTo>
                  <a:lnTo>
                    <a:pt x="548" y="3824"/>
                  </a:lnTo>
                  <a:lnTo>
                    <a:pt x="549" y="3817"/>
                  </a:lnTo>
                  <a:lnTo>
                    <a:pt x="554" y="3810"/>
                  </a:lnTo>
                  <a:lnTo>
                    <a:pt x="560" y="3806"/>
                  </a:lnTo>
                  <a:lnTo>
                    <a:pt x="567" y="3805"/>
                  </a:lnTo>
                  <a:lnTo>
                    <a:pt x="574" y="3806"/>
                  </a:lnTo>
                  <a:lnTo>
                    <a:pt x="581" y="3810"/>
                  </a:lnTo>
                  <a:lnTo>
                    <a:pt x="586" y="3817"/>
                  </a:lnTo>
                  <a:lnTo>
                    <a:pt x="587" y="3824"/>
                  </a:lnTo>
                  <a:close/>
                  <a:moveTo>
                    <a:pt x="850" y="3824"/>
                  </a:moveTo>
                  <a:lnTo>
                    <a:pt x="850" y="3937"/>
                  </a:lnTo>
                  <a:lnTo>
                    <a:pt x="849" y="3946"/>
                  </a:lnTo>
                  <a:lnTo>
                    <a:pt x="844" y="3952"/>
                  </a:lnTo>
                  <a:lnTo>
                    <a:pt x="837" y="3956"/>
                  </a:lnTo>
                  <a:lnTo>
                    <a:pt x="831" y="3957"/>
                  </a:lnTo>
                  <a:lnTo>
                    <a:pt x="823" y="3956"/>
                  </a:lnTo>
                  <a:lnTo>
                    <a:pt x="817" y="3952"/>
                  </a:lnTo>
                  <a:lnTo>
                    <a:pt x="812" y="3946"/>
                  </a:lnTo>
                  <a:lnTo>
                    <a:pt x="810" y="3937"/>
                  </a:lnTo>
                  <a:lnTo>
                    <a:pt x="810" y="3824"/>
                  </a:lnTo>
                  <a:lnTo>
                    <a:pt x="812" y="3817"/>
                  </a:lnTo>
                  <a:lnTo>
                    <a:pt x="817" y="3810"/>
                  </a:lnTo>
                  <a:lnTo>
                    <a:pt x="823" y="3806"/>
                  </a:lnTo>
                  <a:lnTo>
                    <a:pt x="831" y="3805"/>
                  </a:lnTo>
                  <a:lnTo>
                    <a:pt x="837" y="3806"/>
                  </a:lnTo>
                  <a:lnTo>
                    <a:pt x="844" y="3810"/>
                  </a:lnTo>
                  <a:lnTo>
                    <a:pt x="849" y="3817"/>
                  </a:lnTo>
                  <a:lnTo>
                    <a:pt x="850" y="3824"/>
                  </a:lnTo>
                  <a:close/>
                  <a:moveTo>
                    <a:pt x="1113" y="3824"/>
                  </a:moveTo>
                  <a:lnTo>
                    <a:pt x="1113" y="3937"/>
                  </a:lnTo>
                  <a:lnTo>
                    <a:pt x="1112" y="3946"/>
                  </a:lnTo>
                  <a:lnTo>
                    <a:pt x="1107" y="3952"/>
                  </a:lnTo>
                  <a:lnTo>
                    <a:pt x="1100" y="3956"/>
                  </a:lnTo>
                  <a:lnTo>
                    <a:pt x="1094" y="3957"/>
                  </a:lnTo>
                  <a:lnTo>
                    <a:pt x="1086" y="3956"/>
                  </a:lnTo>
                  <a:lnTo>
                    <a:pt x="1080" y="3952"/>
                  </a:lnTo>
                  <a:lnTo>
                    <a:pt x="1076" y="3946"/>
                  </a:lnTo>
                  <a:lnTo>
                    <a:pt x="1073" y="3937"/>
                  </a:lnTo>
                  <a:lnTo>
                    <a:pt x="1073" y="3824"/>
                  </a:lnTo>
                  <a:lnTo>
                    <a:pt x="1076" y="3817"/>
                  </a:lnTo>
                  <a:lnTo>
                    <a:pt x="1080" y="3810"/>
                  </a:lnTo>
                  <a:lnTo>
                    <a:pt x="1086" y="3806"/>
                  </a:lnTo>
                  <a:lnTo>
                    <a:pt x="1094" y="3805"/>
                  </a:lnTo>
                  <a:lnTo>
                    <a:pt x="1100" y="3806"/>
                  </a:lnTo>
                  <a:lnTo>
                    <a:pt x="1107" y="3810"/>
                  </a:lnTo>
                  <a:lnTo>
                    <a:pt x="1112" y="3817"/>
                  </a:lnTo>
                  <a:lnTo>
                    <a:pt x="1113" y="3824"/>
                  </a:lnTo>
                  <a:close/>
                  <a:moveTo>
                    <a:pt x="1377" y="3824"/>
                  </a:moveTo>
                  <a:lnTo>
                    <a:pt x="1377" y="3937"/>
                  </a:lnTo>
                  <a:lnTo>
                    <a:pt x="1375" y="3946"/>
                  </a:lnTo>
                  <a:lnTo>
                    <a:pt x="1371" y="3952"/>
                  </a:lnTo>
                  <a:lnTo>
                    <a:pt x="1364" y="3956"/>
                  </a:lnTo>
                  <a:lnTo>
                    <a:pt x="1357" y="3957"/>
                  </a:lnTo>
                  <a:lnTo>
                    <a:pt x="1349" y="3956"/>
                  </a:lnTo>
                  <a:lnTo>
                    <a:pt x="1343" y="3952"/>
                  </a:lnTo>
                  <a:lnTo>
                    <a:pt x="1339" y="3946"/>
                  </a:lnTo>
                  <a:lnTo>
                    <a:pt x="1336" y="3937"/>
                  </a:lnTo>
                  <a:lnTo>
                    <a:pt x="1336" y="3824"/>
                  </a:lnTo>
                  <a:lnTo>
                    <a:pt x="1339" y="3817"/>
                  </a:lnTo>
                  <a:lnTo>
                    <a:pt x="1343" y="3810"/>
                  </a:lnTo>
                  <a:lnTo>
                    <a:pt x="1349" y="3806"/>
                  </a:lnTo>
                  <a:lnTo>
                    <a:pt x="1357" y="3805"/>
                  </a:lnTo>
                  <a:lnTo>
                    <a:pt x="1364" y="3806"/>
                  </a:lnTo>
                  <a:lnTo>
                    <a:pt x="1371" y="3810"/>
                  </a:lnTo>
                  <a:lnTo>
                    <a:pt x="1375" y="3817"/>
                  </a:lnTo>
                  <a:lnTo>
                    <a:pt x="1377" y="3824"/>
                  </a:lnTo>
                  <a:close/>
                  <a:moveTo>
                    <a:pt x="1640" y="3824"/>
                  </a:moveTo>
                  <a:lnTo>
                    <a:pt x="1640" y="3937"/>
                  </a:lnTo>
                  <a:lnTo>
                    <a:pt x="1637" y="3946"/>
                  </a:lnTo>
                  <a:lnTo>
                    <a:pt x="1634" y="3952"/>
                  </a:lnTo>
                  <a:lnTo>
                    <a:pt x="1627" y="3956"/>
                  </a:lnTo>
                  <a:lnTo>
                    <a:pt x="1620" y="3957"/>
                  </a:lnTo>
                  <a:lnTo>
                    <a:pt x="1612" y="3956"/>
                  </a:lnTo>
                  <a:lnTo>
                    <a:pt x="1605" y="3952"/>
                  </a:lnTo>
                  <a:lnTo>
                    <a:pt x="1602" y="3946"/>
                  </a:lnTo>
                  <a:lnTo>
                    <a:pt x="1600" y="3937"/>
                  </a:lnTo>
                  <a:lnTo>
                    <a:pt x="1600" y="3824"/>
                  </a:lnTo>
                  <a:lnTo>
                    <a:pt x="1602" y="3817"/>
                  </a:lnTo>
                  <a:lnTo>
                    <a:pt x="1605" y="3810"/>
                  </a:lnTo>
                  <a:lnTo>
                    <a:pt x="1612" y="3806"/>
                  </a:lnTo>
                  <a:lnTo>
                    <a:pt x="1620" y="3805"/>
                  </a:lnTo>
                  <a:lnTo>
                    <a:pt x="1627" y="3806"/>
                  </a:lnTo>
                  <a:lnTo>
                    <a:pt x="1634" y="3810"/>
                  </a:lnTo>
                  <a:lnTo>
                    <a:pt x="1637" y="3817"/>
                  </a:lnTo>
                  <a:lnTo>
                    <a:pt x="1640" y="3824"/>
                  </a:lnTo>
                  <a:close/>
                  <a:moveTo>
                    <a:pt x="2829" y="4093"/>
                  </a:moveTo>
                  <a:lnTo>
                    <a:pt x="2829" y="4085"/>
                  </a:lnTo>
                  <a:lnTo>
                    <a:pt x="2829" y="4093"/>
                  </a:lnTo>
                  <a:close/>
                  <a:moveTo>
                    <a:pt x="0" y="915"/>
                  </a:moveTo>
                  <a:lnTo>
                    <a:pt x="492" y="915"/>
                  </a:lnTo>
                  <a:lnTo>
                    <a:pt x="500" y="917"/>
                  </a:lnTo>
                  <a:lnTo>
                    <a:pt x="507" y="922"/>
                  </a:lnTo>
                  <a:lnTo>
                    <a:pt x="512" y="928"/>
                  </a:lnTo>
                  <a:lnTo>
                    <a:pt x="513" y="936"/>
                  </a:lnTo>
                  <a:lnTo>
                    <a:pt x="513" y="1633"/>
                  </a:lnTo>
                  <a:lnTo>
                    <a:pt x="513" y="2329"/>
                  </a:lnTo>
                  <a:lnTo>
                    <a:pt x="512" y="2338"/>
                  </a:lnTo>
                  <a:lnTo>
                    <a:pt x="507" y="2345"/>
                  </a:lnTo>
                  <a:lnTo>
                    <a:pt x="500" y="2349"/>
                  </a:lnTo>
                  <a:lnTo>
                    <a:pt x="492" y="2350"/>
                  </a:lnTo>
                  <a:lnTo>
                    <a:pt x="486" y="2349"/>
                  </a:lnTo>
                  <a:lnTo>
                    <a:pt x="480" y="2345"/>
                  </a:lnTo>
                  <a:lnTo>
                    <a:pt x="474" y="2338"/>
                  </a:lnTo>
                  <a:lnTo>
                    <a:pt x="473" y="2329"/>
                  </a:lnTo>
                  <a:lnTo>
                    <a:pt x="473" y="1642"/>
                  </a:lnTo>
                  <a:lnTo>
                    <a:pt x="473" y="955"/>
                  </a:lnTo>
                  <a:lnTo>
                    <a:pt x="0" y="955"/>
                  </a:lnTo>
                  <a:lnTo>
                    <a:pt x="0" y="915"/>
                  </a:lnTo>
                  <a:close/>
                  <a:moveTo>
                    <a:pt x="190" y="1345"/>
                  </a:moveTo>
                  <a:lnTo>
                    <a:pt x="190" y="1450"/>
                  </a:lnTo>
                  <a:lnTo>
                    <a:pt x="188" y="1457"/>
                  </a:lnTo>
                  <a:lnTo>
                    <a:pt x="183" y="1464"/>
                  </a:lnTo>
                  <a:lnTo>
                    <a:pt x="177" y="1468"/>
                  </a:lnTo>
                  <a:lnTo>
                    <a:pt x="171" y="1469"/>
                  </a:lnTo>
                  <a:lnTo>
                    <a:pt x="163" y="1468"/>
                  </a:lnTo>
                  <a:lnTo>
                    <a:pt x="156" y="1464"/>
                  </a:lnTo>
                  <a:lnTo>
                    <a:pt x="151" y="1457"/>
                  </a:lnTo>
                  <a:lnTo>
                    <a:pt x="150" y="1450"/>
                  </a:lnTo>
                  <a:lnTo>
                    <a:pt x="150" y="1345"/>
                  </a:lnTo>
                  <a:lnTo>
                    <a:pt x="151" y="1337"/>
                  </a:lnTo>
                  <a:lnTo>
                    <a:pt x="156" y="1331"/>
                  </a:lnTo>
                  <a:lnTo>
                    <a:pt x="163" y="1327"/>
                  </a:lnTo>
                  <a:lnTo>
                    <a:pt x="171" y="1326"/>
                  </a:lnTo>
                  <a:lnTo>
                    <a:pt x="177" y="1327"/>
                  </a:lnTo>
                  <a:lnTo>
                    <a:pt x="183" y="1331"/>
                  </a:lnTo>
                  <a:lnTo>
                    <a:pt x="188" y="1337"/>
                  </a:lnTo>
                  <a:lnTo>
                    <a:pt x="190" y="1345"/>
                  </a:lnTo>
                  <a:close/>
                  <a:moveTo>
                    <a:pt x="190" y="1576"/>
                  </a:moveTo>
                  <a:lnTo>
                    <a:pt x="190" y="1680"/>
                  </a:lnTo>
                  <a:lnTo>
                    <a:pt x="188" y="1689"/>
                  </a:lnTo>
                  <a:lnTo>
                    <a:pt x="183" y="1695"/>
                  </a:lnTo>
                  <a:lnTo>
                    <a:pt x="177" y="1699"/>
                  </a:lnTo>
                  <a:lnTo>
                    <a:pt x="171" y="1700"/>
                  </a:lnTo>
                  <a:lnTo>
                    <a:pt x="163" y="1699"/>
                  </a:lnTo>
                  <a:lnTo>
                    <a:pt x="156" y="1695"/>
                  </a:lnTo>
                  <a:lnTo>
                    <a:pt x="151" y="1689"/>
                  </a:lnTo>
                  <a:lnTo>
                    <a:pt x="150" y="1680"/>
                  </a:lnTo>
                  <a:lnTo>
                    <a:pt x="150" y="1576"/>
                  </a:lnTo>
                  <a:lnTo>
                    <a:pt x="151" y="1567"/>
                  </a:lnTo>
                  <a:lnTo>
                    <a:pt x="156" y="1561"/>
                  </a:lnTo>
                  <a:lnTo>
                    <a:pt x="163" y="1558"/>
                  </a:lnTo>
                  <a:lnTo>
                    <a:pt x="171" y="1557"/>
                  </a:lnTo>
                  <a:lnTo>
                    <a:pt x="177" y="1558"/>
                  </a:lnTo>
                  <a:lnTo>
                    <a:pt x="183" y="1561"/>
                  </a:lnTo>
                  <a:lnTo>
                    <a:pt x="188" y="1567"/>
                  </a:lnTo>
                  <a:lnTo>
                    <a:pt x="190" y="1576"/>
                  </a:lnTo>
                  <a:close/>
                  <a:moveTo>
                    <a:pt x="190" y="1808"/>
                  </a:moveTo>
                  <a:lnTo>
                    <a:pt x="190" y="1911"/>
                  </a:lnTo>
                  <a:lnTo>
                    <a:pt x="188" y="1920"/>
                  </a:lnTo>
                  <a:lnTo>
                    <a:pt x="183" y="1927"/>
                  </a:lnTo>
                  <a:lnTo>
                    <a:pt x="177" y="1931"/>
                  </a:lnTo>
                  <a:lnTo>
                    <a:pt x="171" y="1932"/>
                  </a:lnTo>
                  <a:lnTo>
                    <a:pt x="163" y="1931"/>
                  </a:lnTo>
                  <a:lnTo>
                    <a:pt x="156" y="1927"/>
                  </a:lnTo>
                  <a:lnTo>
                    <a:pt x="151" y="1920"/>
                  </a:lnTo>
                  <a:lnTo>
                    <a:pt x="150" y="1911"/>
                  </a:lnTo>
                  <a:lnTo>
                    <a:pt x="150" y="1808"/>
                  </a:lnTo>
                  <a:lnTo>
                    <a:pt x="151" y="1799"/>
                  </a:lnTo>
                  <a:lnTo>
                    <a:pt x="156" y="1792"/>
                  </a:lnTo>
                  <a:lnTo>
                    <a:pt x="163" y="1789"/>
                  </a:lnTo>
                  <a:lnTo>
                    <a:pt x="171" y="1787"/>
                  </a:lnTo>
                  <a:lnTo>
                    <a:pt x="177" y="1789"/>
                  </a:lnTo>
                  <a:lnTo>
                    <a:pt x="183" y="1792"/>
                  </a:lnTo>
                  <a:lnTo>
                    <a:pt x="188" y="1799"/>
                  </a:lnTo>
                  <a:lnTo>
                    <a:pt x="190" y="1808"/>
                  </a:lnTo>
                  <a:close/>
                  <a:moveTo>
                    <a:pt x="190" y="2039"/>
                  </a:moveTo>
                  <a:lnTo>
                    <a:pt x="190" y="2143"/>
                  </a:lnTo>
                  <a:lnTo>
                    <a:pt x="188" y="2150"/>
                  </a:lnTo>
                  <a:lnTo>
                    <a:pt x="183" y="2157"/>
                  </a:lnTo>
                  <a:lnTo>
                    <a:pt x="177" y="2161"/>
                  </a:lnTo>
                  <a:lnTo>
                    <a:pt x="171" y="2162"/>
                  </a:lnTo>
                  <a:lnTo>
                    <a:pt x="163" y="2161"/>
                  </a:lnTo>
                  <a:lnTo>
                    <a:pt x="156" y="2157"/>
                  </a:lnTo>
                  <a:lnTo>
                    <a:pt x="151" y="2150"/>
                  </a:lnTo>
                  <a:lnTo>
                    <a:pt x="150" y="2143"/>
                  </a:lnTo>
                  <a:lnTo>
                    <a:pt x="150" y="2039"/>
                  </a:lnTo>
                  <a:lnTo>
                    <a:pt x="151" y="2030"/>
                  </a:lnTo>
                  <a:lnTo>
                    <a:pt x="156" y="2024"/>
                  </a:lnTo>
                  <a:lnTo>
                    <a:pt x="163" y="2020"/>
                  </a:lnTo>
                  <a:lnTo>
                    <a:pt x="171" y="2019"/>
                  </a:lnTo>
                  <a:lnTo>
                    <a:pt x="177" y="2020"/>
                  </a:lnTo>
                  <a:lnTo>
                    <a:pt x="183" y="2024"/>
                  </a:lnTo>
                  <a:lnTo>
                    <a:pt x="188" y="2030"/>
                  </a:lnTo>
                  <a:lnTo>
                    <a:pt x="190" y="2039"/>
                  </a:lnTo>
                  <a:close/>
                  <a:moveTo>
                    <a:pt x="190" y="2269"/>
                  </a:moveTo>
                  <a:lnTo>
                    <a:pt x="190" y="2373"/>
                  </a:lnTo>
                  <a:lnTo>
                    <a:pt x="188" y="2382"/>
                  </a:lnTo>
                  <a:lnTo>
                    <a:pt x="183" y="2388"/>
                  </a:lnTo>
                  <a:lnTo>
                    <a:pt x="177" y="2392"/>
                  </a:lnTo>
                  <a:lnTo>
                    <a:pt x="171" y="2393"/>
                  </a:lnTo>
                  <a:lnTo>
                    <a:pt x="163" y="2392"/>
                  </a:lnTo>
                  <a:lnTo>
                    <a:pt x="156" y="2388"/>
                  </a:lnTo>
                  <a:lnTo>
                    <a:pt x="151" y="2382"/>
                  </a:lnTo>
                  <a:lnTo>
                    <a:pt x="150" y="2373"/>
                  </a:lnTo>
                  <a:lnTo>
                    <a:pt x="150" y="2269"/>
                  </a:lnTo>
                  <a:lnTo>
                    <a:pt x="151" y="2260"/>
                  </a:lnTo>
                  <a:lnTo>
                    <a:pt x="156" y="2255"/>
                  </a:lnTo>
                  <a:lnTo>
                    <a:pt x="163" y="2251"/>
                  </a:lnTo>
                  <a:lnTo>
                    <a:pt x="171" y="2250"/>
                  </a:lnTo>
                  <a:lnTo>
                    <a:pt x="177" y="2251"/>
                  </a:lnTo>
                  <a:lnTo>
                    <a:pt x="183" y="2255"/>
                  </a:lnTo>
                  <a:lnTo>
                    <a:pt x="188" y="2260"/>
                  </a:lnTo>
                  <a:lnTo>
                    <a:pt x="190" y="2269"/>
                  </a:lnTo>
                  <a:close/>
                  <a:moveTo>
                    <a:pt x="190" y="2501"/>
                  </a:moveTo>
                  <a:lnTo>
                    <a:pt x="190" y="2604"/>
                  </a:lnTo>
                  <a:lnTo>
                    <a:pt x="188" y="2613"/>
                  </a:lnTo>
                  <a:lnTo>
                    <a:pt x="183" y="2620"/>
                  </a:lnTo>
                  <a:lnTo>
                    <a:pt x="177" y="2624"/>
                  </a:lnTo>
                  <a:lnTo>
                    <a:pt x="171" y="2625"/>
                  </a:lnTo>
                  <a:lnTo>
                    <a:pt x="163" y="2624"/>
                  </a:lnTo>
                  <a:lnTo>
                    <a:pt x="156" y="2620"/>
                  </a:lnTo>
                  <a:lnTo>
                    <a:pt x="151" y="2613"/>
                  </a:lnTo>
                  <a:lnTo>
                    <a:pt x="150" y="2604"/>
                  </a:lnTo>
                  <a:lnTo>
                    <a:pt x="150" y="2501"/>
                  </a:lnTo>
                  <a:lnTo>
                    <a:pt x="151" y="2492"/>
                  </a:lnTo>
                  <a:lnTo>
                    <a:pt x="156" y="2485"/>
                  </a:lnTo>
                  <a:lnTo>
                    <a:pt x="163" y="2482"/>
                  </a:lnTo>
                  <a:lnTo>
                    <a:pt x="171" y="2480"/>
                  </a:lnTo>
                  <a:lnTo>
                    <a:pt x="177" y="2482"/>
                  </a:lnTo>
                  <a:lnTo>
                    <a:pt x="183" y="2485"/>
                  </a:lnTo>
                  <a:lnTo>
                    <a:pt x="188" y="2492"/>
                  </a:lnTo>
                  <a:lnTo>
                    <a:pt x="190" y="2501"/>
                  </a:lnTo>
                  <a:close/>
                  <a:moveTo>
                    <a:pt x="190" y="2732"/>
                  </a:moveTo>
                  <a:lnTo>
                    <a:pt x="190" y="2836"/>
                  </a:lnTo>
                  <a:lnTo>
                    <a:pt x="188" y="2845"/>
                  </a:lnTo>
                  <a:lnTo>
                    <a:pt x="183" y="2850"/>
                  </a:lnTo>
                  <a:lnTo>
                    <a:pt x="177" y="2854"/>
                  </a:lnTo>
                  <a:lnTo>
                    <a:pt x="171" y="2855"/>
                  </a:lnTo>
                  <a:lnTo>
                    <a:pt x="163" y="2854"/>
                  </a:lnTo>
                  <a:lnTo>
                    <a:pt x="156" y="2850"/>
                  </a:lnTo>
                  <a:lnTo>
                    <a:pt x="151" y="2845"/>
                  </a:lnTo>
                  <a:lnTo>
                    <a:pt x="150" y="2836"/>
                  </a:lnTo>
                  <a:lnTo>
                    <a:pt x="150" y="2732"/>
                  </a:lnTo>
                  <a:lnTo>
                    <a:pt x="151" y="2723"/>
                  </a:lnTo>
                  <a:lnTo>
                    <a:pt x="156" y="2717"/>
                  </a:lnTo>
                  <a:lnTo>
                    <a:pt x="163" y="2713"/>
                  </a:lnTo>
                  <a:lnTo>
                    <a:pt x="171" y="2712"/>
                  </a:lnTo>
                  <a:lnTo>
                    <a:pt x="177" y="2713"/>
                  </a:lnTo>
                  <a:lnTo>
                    <a:pt x="183" y="2717"/>
                  </a:lnTo>
                  <a:lnTo>
                    <a:pt x="188" y="2723"/>
                  </a:lnTo>
                  <a:lnTo>
                    <a:pt x="190" y="2732"/>
                  </a:lnTo>
                  <a:close/>
                  <a:moveTo>
                    <a:pt x="190" y="2962"/>
                  </a:moveTo>
                  <a:lnTo>
                    <a:pt x="190" y="3066"/>
                  </a:lnTo>
                  <a:lnTo>
                    <a:pt x="188" y="3075"/>
                  </a:lnTo>
                  <a:lnTo>
                    <a:pt x="183" y="3081"/>
                  </a:lnTo>
                  <a:lnTo>
                    <a:pt x="177" y="3085"/>
                  </a:lnTo>
                  <a:lnTo>
                    <a:pt x="171" y="3086"/>
                  </a:lnTo>
                  <a:lnTo>
                    <a:pt x="163" y="3085"/>
                  </a:lnTo>
                  <a:lnTo>
                    <a:pt x="156" y="3081"/>
                  </a:lnTo>
                  <a:lnTo>
                    <a:pt x="151" y="3075"/>
                  </a:lnTo>
                  <a:lnTo>
                    <a:pt x="150" y="3066"/>
                  </a:lnTo>
                  <a:lnTo>
                    <a:pt x="150" y="2962"/>
                  </a:lnTo>
                  <a:lnTo>
                    <a:pt x="151" y="2953"/>
                  </a:lnTo>
                  <a:lnTo>
                    <a:pt x="156" y="2948"/>
                  </a:lnTo>
                  <a:lnTo>
                    <a:pt x="163" y="2945"/>
                  </a:lnTo>
                  <a:lnTo>
                    <a:pt x="171" y="2943"/>
                  </a:lnTo>
                  <a:lnTo>
                    <a:pt x="177" y="2945"/>
                  </a:lnTo>
                  <a:lnTo>
                    <a:pt x="183" y="2948"/>
                  </a:lnTo>
                  <a:lnTo>
                    <a:pt x="188" y="2953"/>
                  </a:lnTo>
                  <a:lnTo>
                    <a:pt x="190" y="2962"/>
                  </a:lnTo>
                  <a:close/>
                  <a:moveTo>
                    <a:pt x="2375" y="1897"/>
                  </a:moveTo>
                  <a:lnTo>
                    <a:pt x="2375" y="2001"/>
                  </a:lnTo>
                  <a:lnTo>
                    <a:pt x="2372" y="2010"/>
                  </a:lnTo>
                  <a:lnTo>
                    <a:pt x="2368" y="2016"/>
                  </a:lnTo>
                  <a:lnTo>
                    <a:pt x="2362" y="2020"/>
                  </a:lnTo>
                  <a:lnTo>
                    <a:pt x="2354" y="2021"/>
                  </a:lnTo>
                  <a:lnTo>
                    <a:pt x="2347" y="2020"/>
                  </a:lnTo>
                  <a:lnTo>
                    <a:pt x="2340" y="2016"/>
                  </a:lnTo>
                  <a:lnTo>
                    <a:pt x="2336" y="2010"/>
                  </a:lnTo>
                  <a:lnTo>
                    <a:pt x="2334" y="2001"/>
                  </a:lnTo>
                  <a:lnTo>
                    <a:pt x="2334" y="1897"/>
                  </a:lnTo>
                  <a:lnTo>
                    <a:pt x="2336" y="1888"/>
                  </a:lnTo>
                  <a:lnTo>
                    <a:pt x="2340" y="1882"/>
                  </a:lnTo>
                  <a:lnTo>
                    <a:pt x="2347" y="1878"/>
                  </a:lnTo>
                  <a:lnTo>
                    <a:pt x="2354" y="1877"/>
                  </a:lnTo>
                  <a:lnTo>
                    <a:pt x="2362" y="1878"/>
                  </a:lnTo>
                  <a:lnTo>
                    <a:pt x="2368" y="1882"/>
                  </a:lnTo>
                  <a:lnTo>
                    <a:pt x="2372" y="1888"/>
                  </a:lnTo>
                  <a:lnTo>
                    <a:pt x="2375" y="1897"/>
                  </a:lnTo>
                  <a:close/>
                  <a:moveTo>
                    <a:pt x="2589" y="1897"/>
                  </a:moveTo>
                  <a:lnTo>
                    <a:pt x="2589" y="2001"/>
                  </a:lnTo>
                  <a:lnTo>
                    <a:pt x="2588" y="2010"/>
                  </a:lnTo>
                  <a:lnTo>
                    <a:pt x="2583" y="2016"/>
                  </a:lnTo>
                  <a:lnTo>
                    <a:pt x="2576" y="2020"/>
                  </a:lnTo>
                  <a:lnTo>
                    <a:pt x="2570" y="2021"/>
                  </a:lnTo>
                  <a:lnTo>
                    <a:pt x="2562" y="2020"/>
                  </a:lnTo>
                  <a:lnTo>
                    <a:pt x="2556" y="2016"/>
                  </a:lnTo>
                  <a:lnTo>
                    <a:pt x="2550" y="2010"/>
                  </a:lnTo>
                  <a:lnTo>
                    <a:pt x="2549" y="2001"/>
                  </a:lnTo>
                  <a:lnTo>
                    <a:pt x="2549" y="1897"/>
                  </a:lnTo>
                  <a:lnTo>
                    <a:pt x="2550" y="1888"/>
                  </a:lnTo>
                  <a:lnTo>
                    <a:pt x="2556" y="1882"/>
                  </a:lnTo>
                  <a:lnTo>
                    <a:pt x="2562" y="1878"/>
                  </a:lnTo>
                  <a:lnTo>
                    <a:pt x="2570" y="1877"/>
                  </a:lnTo>
                  <a:lnTo>
                    <a:pt x="2576" y="1878"/>
                  </a:lnTo>
                  <a:lnTo>
                    <a:pt x="2583" y="1882"/>
                  </a:lnTo>
                  <a:lnTo>
                    <a:pt x="2588" y="1888"/>
                  </a:lnTo>
                  <a:lnTo>
                    <a:pt x="2589" y="1897"/>
                  </a:lnTo>
                  <a:close/>
                  <a:moveTo>
                    <a:pt x="2804" y="1897"/>
                  </a:moveTo>
                  <a:lnTo>
                    <a:pt x="2804" y="2001"/>
                  </a:lnTo>
                  <a:lnTo>
                    <a:pt x="2803" y="2010"/>
                  </a:lnTo>
                  <a:lnTo>
                    <a:pt x="2798" y="2016"/>
                  </a:lnTo>
                  <a:lnTo>
                    <a:pt x="2792" y="2020"/>
                  </a:lnTo>
                  <a:lnTo>
                    <a:pt x="2784" y="2021"/>
                  </a:lnTo>
                  <a:lnTo>
                    <a:pt x="2777" y="2020"/>
                  </a:lnTo>
                  <a:lnTo>
                    <a:pt x="2771" y="2016"/>
                  </a:lnTo>
                  <a:lnTo>
                    <a:pt x="2766" y="2010"/>
                  </a:lnTo>
                  <a:lnTo>
                    <a:pt x="2765" y="2001"/>
                  </a:lnTo>
                  <a:lnTo>
                    <a:pt x="2765" y="1897"/>
                  </a:lnTo>
                  <a:lnTo>
                    <a:pt x="2766" y="1888"/>
                  </a:lnTo>
                  <a:lnTo>
                    <a:pt x="2771" y="1882"/>
                  </a:lnTo>
                  <a:lnTo>
                    <a:pt x="2777" y="1878"/>
                  </a:lnTo>
                  <a:lnTo>
                    <a:pt x="2784" y="1877"/>
                  </a:lnTo>
                  <a:lnTo>
                    <a:pt x="2792" y="1878"/>
                  </a:lnTo>
                  <a:lnTo>
                    <a:pt x="2798" y="1882"/>
                  </a:lnTo>
                  <a:lnTo>
                    <a:pt x="2803" y="1888"/>
                  </a:lnTo>
                  <a:lnTo>
                    <a:pt x="2804" y="1897"/>
                  </a:lnTo>
                  <a:close/>
                  <a:moveTo>
                    <a:pt x="2375" y="2245"/>
                  </a:moveTo>
                  <a:lnTo>
                    <a:pt x="2375" y="2349"/>
                  </a:lnTo>
                  <a:lnTo>
                    <a:pt x="2372" y="2358"/>
                  </a:lnTo>
                  <a:lnTo>
                    <a:pt x="2368" y="2364"/>
                  </a:lnTo>
                  <a:lnTo>
                    <a:pt x="2362" y="2368"/>
                  </a:lnTo>
                  <a:lnTo>
                    <a:pt x="2354" y="2369"/>
                  </a:lnTo>
                  <a:lnTo>
                    <a:pt x="2347" y="2368"/>
                  </a:lnTo>
                  <a:lnTo>
                    <a:pt x="2340" y="2364"/>
                  </a:lnTo>
                  <a:lnTo>
                    <a:pt x="2336" y="2358"/>
                  </a:lnTo>
                  <a:lnTo>
                    <a:pt x="2334" y="2349"/>
                  </a:lnTo>
                  <a:lnTo>
                    <a:pt x="2334" y="2245"/>
                  </a:lnTo>
                  <a:lnTo>
                    <a:pt x="2336" y="2236"/>
                  </a:lnTo>
                  <a:lnTo>
                    <a:pt x="2340" y="2230"/>
                  </a:lnTo>
                  <a:lnTo>
                    <a:pt x="2347" y="2226"/>
                  </a:lnTo>
                  <a:lnTo>
                    <a:pt x="2354" y="2225"/>
                  </a:lnTo>
                  <a:lnTo>
                    <a:pt x="2362" y="2226"/>
                  </a:lnTo>
                  <a:lnTo>
                    <a:pt x="2368" y="2230"/>
                  </a:lnTo>
                  <a:lnTo>
                    <a:pt x="2372" y="2236"/>
                  </a:lnTo>
                  <a:lnTo>
                    <a:pt x="2375" y="2245"/>
                  </a:lnTo>
                  <a:close/>
                  <a:moveTo>
                    <a:pt x="2589" y="2245"/>
                  </a:moveTo>
                  <a:lnTo>
                    <a:pt x="2589" y="2349"/>
                  </a:lnTo>
                  <a:lnTo>
                    <a:pt x="2588" y="2358"/>
                  </a:lnTo>
                  <a:lnTo>
                    <a:pt x="2583" y="2364"/>
                  </a:lnTo>
                  <a:lnTo>
                    <a:pt x="2576" y="2368"/>
                  </a:lnTo>
                  <a:lnTo>
                    <a:pt x="2570" y="2369"/>
                  </a:lnTo>
                  <a:lnTo>
                    <a:pt x="2562" y="2368"/>
                  </a:lnTo>
                  <a:lnTo>
                    <a:pt x="2556" y="2364"/>
                  </a:lnTo>
                  <a:lnTo>
                    <a:pt x="2550" y="2358"/>
                  </a:lnTo>
                  <a:lnTo>
                    <a:pt x="2549" y="2349"/>
                  </a:lnTo>
                  <a:lnTo>
                    <a:pt x="2549" y="2245"/>
                  </a:lnTo>
                  <a:lnTo>
                    <a:pt x="2550" y="2236"/>
                  </a:lnTo>
                  <a:lnTo>
                    <a:pt x="2556" y="2230"/>
                  </a:lnTo>
                  <a:lnTo>
                    <a:pt x="2562" y="2226"/>
                  </a:lnTo>
                  <a:lnTo>
                    <a:pt x="2570" y="2225"/>
                  </a:lnTo>
                  <a:lnTo>
                    <a:pt x="2576" y="2226"/>
                  </a:lnTo>
                  <a:lnTo>
                    <a:pt x="2583" y="2230"/>
                  </a:lnTo>
                  <a:lnTo>
                    <a:pt x="2588" y="2236"/>
                  </a:lnTo>
                  <a:lnTo>
                    <a:pt x="2589" y="2245"/>
                  </a:lnTo>
                  <a:close/>
                  <a:moveTo>
                    <a:pt x="2804" y="2245"/>
                  </a:moveTo>
                  <a:lnTo>
                    <a:pt x="2804" y="2349"/>
                  </a:lnTo>
                  <a:lnTo>
                    <a:pt x="2803" y="2358"/>
                  </a:lnTo>
                  <a:lnTo>
                    <a:pt x="2798" y="2364"/>
                  </a:lnTo>
                  <a:lnTo>
                    <a:pt x="2792" y="2368"/>
                  </a:lnTo>
                  <a:lnTo>
                    <a:pt x="2784" y="2369"/>
                  </a:lnTo>
                  <a:lnTo>
                    <a:pt x="2777" y="2368"/>
                  </a:lnTo>
                  <a:lnTo>
                    <a:pt x="2771" y="2364"/>
                  </a:lnTo>
                  <a:lnTo>
                    <a:pt x="2766" y="2358"/>
                  </a:lnTo>
                  <a:lnTo>
                    <a:pt x="2765" y="2349"/>
                  </a:lnTo>
                  <a:lnTo>
                    <a:pt x="2765" y="2245"/>
                  </a:lnTo>
                  <a:lnTo>
                    <a:pt x="2766" y="2236"/>
                  </a:lnTo>
                  <a:lnTo>
                    <a:pt x="2771" y="2230"/>
                  </a:lnTo>
                  <a:lnTo>
                    <a:pt x="2777" y="2226"/>
                  </a:lnTo>
                  <a:lnTo>
                    <a:pt x="2784" y="2225"/>
                  </a:lnTo>
                  <a:lnTo>
                    <a:pt x="2792" y="2226"/>
                  </a:lnTo>
                  <a:lnTo>
                    <a:pt x="2798" y="2230"/>
                  </a:lnTo>
                  <a:lnTo>
                    <a:pt x="2803" y="2236"/>
                  </a:lnTo>
                  <a:lnTo>
                    <a:pt x="2804" y="2245"/>
                  </a:lnTo>
                  <a:close/>
                  <a:moveTo>
                    <a:pt x="2375" y="2593"/>
                  </a:moveTo>
                  <a:lnTo>
                    <a:pt x="2375" y="2696"/>
                  </a:lnTo>
                  <a:lnTo>
                    <a:pt x="2372" y="2705"/>
                  </a:lnTo>
                  <a:lnTo>
                    <a:pt x="2368" y="2712"/>
                  </a:lnTo>
                  <a:lnTo>
                    <a:pt x="2362" y="2716"/>
                  </a:lnTo>
                  <a:lnTo>
                    <a:pt x="2354" y="2717"/>
                  </a:lnTo>
                  <a:lnTo>
                    <a:pt x="2347" y="2716"/>
                  </a:lnTo>
                  <a:lnTo>
                    <a:pt x="2340" y="2712"/>
                  </a:lnTo>
                  <a:lnTo>
                    <a:pt x="2336" y="2705"/>
                  </a:lnTo>
                  <a:lnTo>
                    <a:pt x="2334" y="2696"/>
                  </a:lnTo>
                  <a:lnTo>
                    <a:pt x="2334" y="2593"/>
                  </a:lnTo>
                  <a:lnTo>
                    <a:pt x="2336" y="2584"/>
                  </a:lnTo>
                  <a:lnTo>
                    <a:pt x="2340" y="2578"/>
                  </a:lnTo>
                  <a:lnTo>
                    <a:pt x="2347" y="2574"/>
                  </a:lnTo>
                  <a:lnTo>
                    <a:pt x="2354" y="2572"/>
                  </a:lnTo>
                  <a:lnTo>
                    <a:pt x="2362" y="2574"/>
                  </a:lnTo>
                  <a:lnTo>
                    <a:pt x="2368" y="2578"/>
                  </a:lnTo>
                  <a:lnTo>
                    <a:pt x="2372" y="2584"/>
                  </a:lnTo>
                  <a:lnTo>
                    <a:pt x="2375" y="2593"/>
                  </a:lnTo>
                  <a:close/>
                  <a:moveTo>
                    <a:pt x="2589" y="2593"/>
                  </a:moveTo>
                  <a:lnTo>
                    <a:pt x="2589" y="2696"/>
                  </a:lnTo>
                  <a:lnTo>
                    <a:pt x="2588" y="2705"/>
                  </a:lnTo>
                  <a:lnTo>
                    <a:pt x="2583" y="2712"/>
                  </a:lnTo>
                  <a:lnTo>
                    <a:pt x="2576" y="2716"/>
                  </a:lnTo>
                  <a:lnTo>
                    <a:pt x="2570" y="2717"/>
                  </a:lnTo>
                  <a:lnTo>
                    <a:pt x="2562" y="2716"/>
                  </a:lnTo>
                  <a:lnTo>
                    <a:pt x="2556" y="2712"/>
                  </a:lnTo>
                  <a:lnTo>
                    <a:pt x="2550" y="2705"/>
                  </a:lnTo>
                  <a:lnTo>
                    <a:pt x="2549" y="2696"/>
                  </a:lnTo>
                  <a:lnTo>
                    <a:pt x="2549" y="2593"/>
                  </a:lnTo>
                  <a:lnTo>
                    <a:pt x="2550" y="2584"/>
                  </a:lnTo>
                  <a:lnTo>
                    <a:pt x="2556" y="2578"/>
                  </a:lnTo>
                  <a:lnTo>
                    <a:pt x="2562" y="2574"/>
                  </a:lnTo>
                  <a:lnTo>
                    <a:pt x="2570" y="2572"/>
                  </a:lnTo>
                  <a:lnTo>
                    <a:pt x="2576" y="2574"/>
                  </a:lnTo>
                  <a:lnTo>
                    <a:pt x="2583" y="2578"/>
                  </a:lnTo>
                  <a:lnTo>
                    <a:pt x="2588" y="2584"/>
                  </a:lnTo>
                  <a:lnTo>
                    <a:pt x="2589" y="2593"/>
                  </a:lnTo>
                  <a:close/>
                  <a:moveTo>
                    <a:pt x="2804" y="2593"/>
                  </a:moveTo>
                  <a:lnTo>
                    <a:pt x="2804" y="2696"/>
                  </a:lnTo>
                  <a:lnTo>
                    <a:pt x="2803" y="2705"/>
                  </a:lnTo>
                  <a:lnTo>
                    <a:pt x="2798" y="2712"/>
                  </a:lnTo>
                  <a:lnTo>
                    <a:pt x="2792" y="2716"/>
                  </a:lnTo>
                  <a:lnTo>
                    <a:pt x="2784" y="2717"/>
                  </a:lnTo>
                  <a:lnTo>
                    <a:pt x="2777" y="2716"/>
                  </a:lnTo>
                  <a:lnTo>
                    <a:pt x="2771" y="2712"/>
                  </a:lnTo>
                  <a:lnTo>
                    <a:pt x="2766" y="2705"/>
                  </a:lnTo>
                  <a:lnTo>
                    <a:pt x="2765" y="2696"/>
                  </a:lnTo>
                  <a:lnTo>
                    <a:pt x="2765" y="2593"/>
                  </a:lnTo>
                  <a:lnTo>
                    <a:pt x="2766" y="2584"/>
                  </a:lnTo>
                  <a:lnTo>
                    <a:pt x="2771" y="2578"/>
                  </a:lnTo>
                  <a:lnTo>
                    <a:pt x="2777" y="2574"/>
                  </a:lnTo>
                  <a:lnTo>
                    <a:pt x="2784" y="2572"/>
                  </a:lnTo>
                  <a:lnTo>
                    <a:pt x="2792" y="2574"/>
                  </a:lnTo>
                  <a:lnTo>
                    <a:pt x="2798" y="2578"/>
                  </a:lnTo>
                  <a:lnTo>
                    <a:pt x="2803" y="2584"/>
                  </a:lnTo>
                  <a:lnTo>
                    <a:pt x="2804" y="2593"/>
                  </a:lnTo>
                  <a:close/>
                  <a:moveTo>
                    <a:pt x="2375" y="2941"/>
                  </a:moveTo>
                  <a:lnTo>
                    <a:pt x="2375" y="3044"/>
                  </a:lnTo>
                  <a:lnTo>
                    <a:pt x="2372" y="3053"/>
                  </a:lnTo>
                  <a:lnTo>
                    <a:pt x="2368" y="3060"/>
                  </a:lnTo>
                  <a:lnTo>
                    <a:pt x="2362" y="3063"/>
                  </a:lnTo>
                  <a:lnTo>
                    <a:pt x="2354" y="3065"/>
                  </a:lnTo>
                  <a:lnTo>
                    <a:pt x="2347" y="3063"/>
                  </a:lnTo>
                  <a:lnTo>
                    <a:pt x="2340" y="3060"/>
                  </a:lnTo>
                  <a:lnTo>
                    <a:pt x="2336" y="3053"/>
                  </a:lnTo>
                  <a:lnTo>
                    <a:pt x="2334" y="3044"/>
                  </a:lnTo>
                  <a:lnTo>
                    <a:pt x="2334" y="2941"/>
                  </a:lnTo>
                  <a:lnTo>
                    <a:pt x="2336" y="2932"/>
                  </a:lnTo>
                  <a:lnTo>
                    <a:pt x="2340" y="2925"/>
                  </a:lnTo>
                  <a:lnTo>
                    <a:pt x="2347" y="2922"/>
                  </a:lnTo>
                  <a:lnTo>
                    <a:pt x="2354" y="2920"/>
                  </a:lnTo>
                  <a:lnTo>
                    <a:pt x="2362" y="2922"/>
                  </a:lnTo>
                  <a:lnTo>
                    <a:pt x="2368" y="2925"/>
                  </a:lnTo>
                  <a:lnTo>
                    <a:pt x="2372" y="2932"/>
                  </a:lnTo>
                  <a:lnTo>
                    <a:pt x="2375" y="2941"/>
                  </a:lnTo>
                  <a:close/>
                  <a:moveTo>
                    <a:pt x="2589" y="2941"/>
                  </a:moveTo>
                  <a:lnTo>
                    <a:pt x="2589" y="3044"/>
                  </a:lnTo>
                  <a:lnTo>
                    <a:pt x="2588" y="3053"/>
                  </a:lnTo>
                  <a:lnTo>
                    <a:pt x="2583" y="3060"/>
                  </a:lnTo>
                  <a:lnTo>
                    <a:pt x="2576" y="3063"/>
                  </a:lnTo>
                  <a:lnTo>
                    <a:pt x="2570" y="3065"/>
                  </a:lnTo>
                  <a:lnTo>
                    <a:pt x="2562" y="3063"/>
                  </a:lnTo>
                  <a:lnTo>
                    <a:pt x="2556" y="3060"/>
                  </a:lnTo>
                  <a:lnTo>
                    <a:pt x="2550" y="3053"/>
                  </a:lnTo>
                  <a:lnTo>
                    <a:pt x="2549" y="3044"/>
                  </a:lnTo>
                  <a:lnTo>
                    <a:pt x="2549" y="2941"/>
                  </a:lnTo>
                  <a:lnTo>
                    <a:pt x="2550" y="2932"/>
                  </a:lnTo>
                  <a:lnTo>
                    <a:pt x="2556" y="2925"/>
                  </a:lnTo>
                  <a:lnTo>
                    <a:pt x="2562" y="2922"/>
                  </a:lnTo>
                  <a:lnTo>
                    <a:pt x="2570" y="2920"/>
                  </a:lnTo>
                  <a:lnTo>
                    <a:pt x="2576" y="2922"/>
                  </a:lnTo>
                  <a:lnTo>
                    <a:pt x="2583" y="2925"/>
                  </a:lnTo>
                  <a:lnTo>
                    <a:pt x="2588" y="2932"/>
                  </a:lnTo>
                  <a:lnTo>
                    <a:pt x="2589" y="2941"/>
                  </a:lnTo>
                  <a:close/>
                  <a:moveTo>
                    <a:pt x="2804" y="2941"/>
                  </a:moveTo>
                  <a:lnTo>
                    <a:pt x="2804" y="3044"/>
                  </a:lnTo>
                  <a:lnTo>
                    <a:pt x="2803" y="3053"/>
                  </a:lnTo>
                  <a:lnTo>
                    <a:pt x="2798" y="3060"/>
                  </a:lnTo>
                  <a:lnTo>
                    <a:pt x="2792" y="3063"/>
                  </a:lnTo>
                  <a:lnTo>
                    <a:pt x="2784" y="3065"/>
                  </a:lnTo>
                  <a:lnTo>
                    <a:pt x="2777" y="3063"/>
                  </a:lnTo>
                  <a:lnTo>
                    <a:pt x="2771" y="3060"/>
                  </a:lnTo>
                  <a:lnTo>
                    <a:pt x="2766" y="3053"/>
                  </a:lnTo>
                  <a:lnTo>
                    <a:pt x="2765" y="3044"/>
                  </a:lnTo>
                  <a:lnTo>
                    <a:pt x="2765" y="2941"/>
                  </a:lnTo>
                  <a:lnTo>
                    <a:pt x="2766" y="2932"/>
                  </a:lnTo>
                  <a:lnTo>
                    <a:pt x="2771" y="2925"/>
                  </a:lnTo>
                  <a:lnTo>
                    <a:pt x="2777" y="2922"/>
                  </a:lnTo>
                  <a:lnTo>
                    <a:pt x="2784" y="2920"/>
                  </a:lnTo>
                  <a:lnTo>
                    <a:pt x="2792" y="2922"/>
                  </a:lnTo>
                  <a:lnTo>
                    <a:pt x="2798" y="2925"/>
                  </a:lnTo>
                  <a:lnTo>
                    <a:pt x="2803" y="2932"/>
                  </a:lnTo>
                  <a:lnTo>
                    <a:pt x="2804" y="2941"/>
                  </a:lnTo>
                  <a:close/>
                  <a:moveTo>
                    <a:pt x="6888" y="1521"/>
                  </a:moveTo>
                  <a:lnTo>
                    <a:pt x="6778" y="1521"/>
                  </a:lnTo>
                  <a:lnTo>
                    <a:pt x="6778" y="1631"/>
                  </a:lnTo>
                  <a:lnTo>
                    <a:pt x="6888" y="1631"/>
                  </a:lnTo>
                  <a:lnTo>
                    <a:pt x="6888" y="1521"/>
                  </a:lnTo>
                  <a:close/>
                  <a:moveTo>
                    <a:pt x="7276" y="2772"/>
                  </a:moveTo>
                  <a:lnTo>
                    <a:pt x="7276" y="2585"/>
                  </a:lnTo>
                  <a:lnTo>
                    <a:pt x="7276" y="2277"/>
                  </a:lnTo>
                  <a:lnTo>
                    <a:pt x="7277" y="2271"/>
                  </a:lnTo>
                  <a:lnTo>
                    <a:pt x="7277" y="1671"/>
                  </a:lnTo>
                  <a:lnTo>
                    <a:pt x="6909" y="1671"/>
                  </a:lnTo>
                  <a:lnTo>
                    <a:pt x="6758" y="1671"/>
                  </a:lnTo>
                  <a:lnTo>
                    <a:pt x="6469" y="1671"/>
                  </a:lnTo>
                  <a:lnTo>
                    <a:pt x="6460" y="1670"/>
                  </a:lnTo>
                  <a:lnTo>
                    <a:pt x="6454" y="1665"/>
                  </a:lnTo>
                  <a:lnTo>
                    <a:pt x="6450" y="1658"/>
                  </a:lnTo>
                  <a:lnTo>
                    <a:pt x="6449" y="1652"/>
                  </a:lnTo>
                  <a:lnTo>
                    <a:pt x="6450" y="1644"/>
                  </a:lnTo>
                  <a:lnTo>
                    <a:pt x="6454" y="1638"/>
                  </a:lnTo>
                  <a:lnTo>
                    <a:pt x="6460" y="1633"/>
                  </a:lnTo>
                  <a:lnTo>
                    <a:pt x="6469" y="1631"/>
                  </a:lnTo>
                  <a:lnTo>
                    <a:pt x="6574" y="1631"/>
                  </a:lnTo>
                  <a:lnTo>
                    <a:pt x="6574" y="1488"/>
                  </a:lnTo>
                  <a:lnTo>
                    <a:pt x="6172" y="1488"/>
                  </a:lnTo>
                  <a:lnTo>
                    <a:pt x="6172" y="1631"/>
                  </a:lnTo>
                  <a:lnTo>
                    <a:pt x="6204" y="1631"/>
                  </a:lnTo>
                  <a:lnTo>
                    <a:pt x="6213" y="1633"/>
                  </a:lnTo>
                  <a:lnTo>
                    <a:pt x="6219" y="1638"/>
                  </a:lnTo>
                  <a:lnTo>
                    <a:pt x="6223" y="1644"/>
                  </a:lnTo>
                  <a:lnTo>
                    <a:pt x="6224" y="1652"/>
                  </a:lnTo>
                  <a:lnTo>
                    <a:pt x="6223" y="1658"/>
                  </a:lnTo>
                  <a:lnTo>
                    <a:pt x="6219" y="1665"/>
                  </a:lnTo>
                  <a:lnTo>
                    <a:pt x="6213" y="1670"/>
                  </a:lnTo>
                  <a:lnTo>
                    <a:pt x="6204" y="1671"/>
                  </a:lnTo>
                  <a:lnTo>
                    <a:pt x="6037" y="1671"/>
                  </a:lnTo>
                  <a:lnTo>
                    <a:pt x="6037" y="2332"/>
                  </a:lnTo>
                  <a:lnTo>
                    <a:pt x="6037" y="2993"/>
                  </a:lnTo>
                  <a:lnTo>
                    <a:pt x="6037" y="3654"/>
                  </a:lnTo>
                  <a:lnTo>
                    <a:pt x="6037" y="4317"/>
                  </a:lnTo>
                  <a:lnTo>
                    <a:pt x="6656" y="4317"/>
                  </a:lnTo>
                  <a:lnTo>
                    <a:pt x="7276" y="4317"/>
                  </a:lnTo>
                  <a:lnTo>
                    <a:pt x="7276" y="3544"/>
                  </a:lnTo>
                  <a:lnTo>
                    <a:pt x="7276" y="2772"/>
                  </a:lnTo>
                  <a:close/>
                  <a:moveTo>
                    <a:pt x="9050" y="2792"/>
                  </a:moveTo>
                  <a:lnTo>
                    <a:pt x="8182" y="2792"/>
                  </a:lnTo>
                  <a:lnTo>
                    <a:pt x="7315" y="2792"/>
                  </a:lnTo>
                  <a:lnTo>
                    <a:pt x="7315" y="3554"/>
                  </a:lnTo>
                  <a:lnTo>
                    <a:pt x="7315" y="4317"/>
                  </a:lnTo>
                  <a:lnTo>
                    <a:pt x="8182" y="4317"/>
                  </a:lnTo>
                  <a:lnTo>
                    <a:pt x="9050" y="4317"/>
                  </a:lnTo>
                  <a:lnTo>
                    <a:pt x="9050" y="3554"/>
                  </a:lnTo>
                  <a:lnTo>
                    <a:pt x="9050" y="2792"/>
                  </a:lnTo>
                  <a:close/>
                  <a:moveTo>
                    <a:pt x="8412" y="2258"/>
                  </a:moveTo>
                  <a:lnTo>
                    <a:pt x="8412" y="2135"/>
                  </a:lnTo>
                  <a:lnTo>
                    <a:pt x="8413" y="2127"/>
                  </a:lnTo>
                  <a:lnTo>
                    <a:pt x="8418" y="2121"/>
                  </a:lnTo>
                  <a:lnTo>
                    <a:pt x="8425" y="2117"/>
                  </a:lnTo>
                  <a:lnTo>
                    <a:pt x="8432" y="2116"/>
                  </a:lnTo>
                  <a:lnTo>
                    <a:pt x="8677" y="2116"/>
                  </a:lnTo>
                  <a:lnTo>
                    <a:pt x="8685" y="2117"/>
                  </a:lnTo>
                  <a:lnTo>
                    <a:pt x="8691" y="2121"/>
                  </a:lnTo>
                  <a:lnTo>
                    <a:pt x="8695" y="2127"/>
                  </a:lnTo>
                  <a:lnTo>
                    <a:pt x="8698" y="2135"/>
                  </a:lnTo>
                  <a:lnTo>
                    <a:pt x="8698" y="2258"/>
                  </a:lnTo>
                  <a:lnTo>
                    <a:pt x="8853" y="2258"/>
                  </a:lnTo>
                  <a:lnTo>
                    <a:pt x="8868" y="2266"/>
                  </a:lnTo>
                  <a:lnTo>
                    <a:pt x="9089" y="2565"/>
                  </a:lnTo>
                  <a:lnTo>
                    <a:pt x="9100" y="2565"/>
                  </a:lnTo>
                  <a:lnTo>
                    <a:pt x="9108" y="2566"/>
                  </a:lnTo>
                  <a:lnTo>
                    <a:pt x="9114" y="2571"/>
                  </a:lnTo>
                  <a:lnTo>
                    <a:pt x="9120" y="2578"/>
                  </a:lnTo>
                  <a:lnTo>
                    <a:pt x="9121" y="2585"/>
                  </a:lnTo>
                  <a:lnTo>
                    <a:pt x="9121" y="2772"/>
                  </a:lnTo>
                  <a:lnTo>
                    <a:pt x="9120" y="2780"/>
                  </a:lnTo>
                  <a:lnTo>
                    <a:pt x="9114" y="2786"/>
                  </a:lnTo>
                  <a:lnTo>
                    <a:pt x="9108" y="2791"/>
                  </a:lnTo>
                  <a:lnTo>
                    <a:pt x="9100" y="2792"/>
                  </a:lnTo>
                  <a:lnTo>
                    <a:pt x="9090" y="2792"/>
                  </a:lnTo>
                  <a:lnTo>
                    <a:pt x="9090" y="3563"/>
                  </a:lnTo>
                  <a:lnTo>
                    <a:pt x="9090" y="4336"/>
                  </a:lnTo>
                  <a:lnTo>
                    <a:pt x="9089" y="4343"/>
                  </a:lnTo>
                  <a:lnTo>
                    <a:pt x="9084" y="4350"/>
                  </a:lnTo>
                  <a:lnTo>
                    <a:pt x="9077" y="4355"/>
                  </a:lnTo>
                  <a:lnTo>
                    <a:pt x="9070" y="4356"/>
                  </a:lnTo>
                  <a:lnTo>
                    <a:pt x="8184" y="4356"/>
                  </a:lnTo>
                  <a:lnTo>
                    <a:pt x="7297" y="4356"/>
                  </a:lnTo>
                  <a:lnTo>
                    <a:pt x="7295" y="4356"/>
                  </a:lnTo>
                  <a:lnTo>
                    <a:pt x="6656" y="4356"/>
                  </a:lnTo>
                  <a:lnTo>
                    <a:pt x="6018" y="4356"/>
                  </a:lnTo>
                  <a:lnTo>
                    <a:pt x="6010" y="4355"/>
                  </a:lnTo>
                  <a:lnTo>
                    <a:pt x="6004" y="4350"/>
                  </a:lnTo>
                  <a:lnTo>
                    <a:pt x="5999" y="4343"/>
                  </a:lnTo>
                  <a:lnTo>
                    <a:pt x="5997" y="4336"/>
                  </a:lnTo>
                  <a:lnTo>
                    <a:pt x="5997" y="3664"/>
                  </a:lnTo>
                  <a:lnTo>
                    <a:pt x="5997" y="2993"/>
                  </a:lnTo>
                  <a:lnTo>
                    <a:pt x="5997" y="2322"/>
                  </a:lnTo>
                  <a:lnTo>
                    <a:pt x="5997" y="1652"/>
                  </a:lnTo>
                  <a:lnTo>
                    <a:pt x="5999" y="1644"/>
                  </a:lnTo>
                  <a:lnTo>
                    <a:pt x="6004" y="1638"/>
                  </a:lnTo>
                  <a:lnTo>
                    <a:pt x="6010" y="1633"/>
                  </a:lnTo>
                  <a:lnTo>
                    <a:pt x="6018" y="1631"/>
                  </a:lnTo>
                  <a:lnTo>
                    <a:pt x="6132" y="1631"/>
                  </a:lnTo>
                  <a:lnTo>
                    <a:pt x="6132" y="1469"/>
                  </a:lnTo>
                  <a:lnTo>
                    <a:pt x="6133" y="1461"/>
                  </a:lnTo>
                  <a:lnTo>
                    <a:pt x="6138" y="1455"/>
                  </a:lnTo>
                  <a:lnTo>
                    <a:pt x="6145" y="1451"/>
                  </a:lnTo>
                  <a:lnTo>
                    <a:pt x="6152" y="1448"/>
                  </a:lnTo>
                  <a:lnTo>
                    <a:pt x="6595" y="1448"/>
                  </a:lnTo>
                  <a:lnTo>
                    <a:pt x="6602" y="1451"/>
                  </a:lnTo>
                  <a:lnTo>
                    <a:pt x="6609" y="1455"/>
                  </a:lnTo>
                  <a:lnTo>
                    <a:pt x="6613" y="1461"/>
                  </a:lnTo>
                  <a:lnTo>
                    <a:pt x="6614" y="1469"/>
                  </a:lnTo>
                  <a:lnTo>
                    <a:pt x="6614" y="1631"/>
                  </a:lnTo>
                  <a:lnTo>
                    <a:pt x="6738" y="1631"/>
                  </a:lnTo>
                  <a:lnTo>
                    <a:pt x="6738" y="1501"/>
                  </a:lnTo>
                  <a:lnTo>
                    <a:pt x="6740" y="1493"/>
                  </a:lnTo>
                  <a:lnTo>
                    <a:pt x="6744" y="1487"/>
                  </a:lnTo>
                  <a:lnTo>
                    <a:pt x="6750" y="1483"/>
                  </a:lnTo>
                  <a:lnTo>
                    <a:pt x="6758" y="1480"/>
                  </a:lnTo>
                  <a:lnTo>
                    <a:pt x="6909" y="1480"/>
                  </a:lnTo>
                  <a:lnTo>
                    <a:pt x="6917" y="1483"/>
                  </a:lnTo>
                  <a:lnTo>
                    <a:pt x="6923" y="1487"/>
                  </a:lnTo>
                  <a:lnTo>
                    <a:pt x="6927" y="1493"/>
                  </a:lnTo>
                  <a:lnTo>
                    <a:pt x="6928" y="1501"/>
                  </a:lnTo>
                  <a:lnTo>
                    <a:pt x="6928" y="1631"/>
                  </a:lnTo>
                  <a:lnTo>
                    <a:pt x="7297" y="1631"/>
                  </a:lnTo>
                  <a:lnTo>
                    <a:pt x="7305" y="1633"/>
                  </a:lnTo>
                  <a:lnTo>
                    <a:pt x="7312" y="1638"/>
                  </a:lnTo>
                  <a:lnTo>
                    <a:pt x="7315" y="1644"/>
                  </a:lnTo>
                  <a:lnTo>
                    <a:pt x="7317" y="1652"/>
                  </a:lnTo>
                  <a:lnTo>
                    <a:pt x="7317" y="2258"/>
                  </a:lnTo>
                  <a:lnTo>
                    <a:pt x="7864" y="2258"/>
                  </a:lnTo>
                  <a:lnTo>
                    <a:pt x="8412" y="2258"/>
                  </a:lnTo>
                  <a:close/>
                  <a:moveTo>
                    <a:pt x="8657" y="2258"/>
                  </a:moveTo>
                  <a:lnTo>
                    <a:pt x="8657" y="2156"/>
                  </a:lnTo>
                  <a:lnTo>
                    <a:pt x="8452" y="2156"/>
                  </a:lnTo>
                  <a:lnTo>
                    <a:pt x="8452" y="2258"/>
                  </a:lnTo>
                  <a:lnTo>
                    <a:pt x="8482" y="2258"/>
                  </a:lnTo>
                  <a:lnTo>
                    <a:pt x="8491" y="2259"/>
                  </a:lnTo>
                  <a:lnTo>
                    <a:pt x="8496" y="2264"/>
                  </a:lnTo>
                  <a:lnTo>
                    <a:pt x="8500" y="2271"/>
                  </a:lnTo>
                  <a:lnTo>
                    <a:pt x="8502" y="2277"/>
                  </a:lnTo>
                  <a:lnTo>
                    <a:pt x="8500" y="2285"/>
                  </a:lnTo>
                  <a:lnTo>
                    <a:pt x="8496" y="2291"/>
                  </a:lnTo>
                  <a:lnTo>
                    <a:pt x="8491" y="2296"/>
                  </a:lnTo>
                  <a:lnTo>
                    <a:pt x="8482" y="2298"/>
                  </a:lnTo>
                  <a:lnTo>
                    <a:pt x="7899" y="2298"/>
                  </a:lnTo>
                  <a:lnTo>
                    <a:pt x="7315" y="2298"/>
                  </a:lnTo>
                  <a:lnTo>
                    <a:pt x="7315" y="2565"/>
                  </a:lnTo>
                  <a:lnTo>
                    <a:pt x="8177" y="2565"/>
                  </a:lnTo>
                  <a:lnTo>
                    <a:pt x="9039" y="2565"/>
                  </a:lnTo>
                  <a:lnTo>
                    <a:pt x="8843" y="2298"/>
                  </a:lnTo>
                  <a:lnTo>
                    <a:pt x="8637" y="2298"/>
                  </a:lnTo>
                  <a:lnTo>
                    <a:pt x="8630" y="2296"/>
                  </a:lnTo>
                  <a:lnTo>
                    <a:pt x="8623" y="2291"/>
                  </a:lnTo>
                  <a:lnTo>
                    <a:pt x="8619" y="2285"/>
                  </a:lnTo>
                  <a:lnTo>
                    <a:pt x="8618" y="2277"/>
                  </a:lnTo>
                  <a:lnTo>
                    <a:pt x="8619" y="2271"/>
                  </a:lnTo>
                  <a:lnTo>
                    <a:pt x="8623" y="2264"/>
                  </a:lnTo>
                  <a:lnTo>
                    <a:pt x="8630" y="2259"/>
                  </a:lnTo>
                  <a:lnTo>
                    <a:pt x="8637" y="2258"/>
                  </a:lnTo>
                  <a:lnTo>
                    <a:pt x="8657" y="2258"/>
                  </a:lnTo>
                  <a:close/>
                  <a:moveTo>
                    <a:pt x="9075" y="2604"/>
                  </a:moveTo>
                  <a:lnTo>
                    <a:pt x="8195" y="2604"/>
                  </a:lnTo>
                  <a:lnTo>
                    <a:pt x="7315" y="2604"/>
                  </a:lnTo>
                  <a:lnTo>
                    <a:pt x="7315" y="2753"/>
                  </a:lnTo>
                  <a:lnTo>
                    <a:pt x="8192" y="2753"/>
                  </a:lnTo>
                  <a:lnTo>
                    <a:pt x="9070" y="2753"/>
                  </a:lnTo>
                  <a:lnTo>
                    <a:pt x="9081" y="2753"/>
                  </a:lnTo>
                  <a:lnTo>
                    <a:pt x="9081" y="2604"/>
                  </a:lnTo>
                  <a:lnTo>
                    <a:pt x="9075" y="2604"/>
                  </a:lnTo>
                  <a:close/>
                  <a:moveTo>
                    <a:pt x="6236" y="1893"/>
                  </a:moveTo>
                  <a:lnTo>
                    <a:pt x="6369" y="1893"/>
                  </a:lnTo>
                  <a:lnTo>
                    <a:pt x="6378" y="1895"/>
                  </a:lnTo>
                  <a:lnTo>
                    <a:pt x="6384" y="1900"/>
                  </a:lnTo>
                  <a:lnTo>
                    <a:pt x="6387" y="1906"/>
                  </a:lnTo>
                  <a:lnTo>
                    <a:pt x="6388" y="1913"/>
                  </a:lnTo>
                  <a:lnTo>
                    <a:pt x="6387" y="1920"/>
                  </a:lnTo>
                  <a:lnTo>
                    <a:pt x="6384" y="1927"/>
                  </a:lnTo>
                  <a:lnTo>
                    <a:pt x="6378" y="1932"/>
                  </a:lnTo>
                  <a:lnTo>
                    <a:pt x="6369" y="1933"/>
                  </a:lnTo>
                  <a:lnTo>
                    <a:pt x="6236" y="1933"/>
                  </a:lnTo>
                  <a:lnTo>
                    <a:pt x="6227" y="1932"/>
                  </a:lnTo>
                  <a:lnTo>
                    <a:pt x="6220" y="1927"/>
                  </a:lnTo>
                  <a:lnTo>
                    <a:pt x="6216" y="1920"/>
                  </a:lnTo>
                  <a:lnTo>
                    <a:pt x="6215" y="1913"/>
                  </a:lnTo>
                  <a:lnTo>
                    <a:pt x="6216" y="1906"/>
                  </a:lnTo>
                  <a:lnTo>
                    <a:pt x="6220" y="1900"/>
                  </a:lnTo>
                  <a:lnTo>
                    <a:pt x="6227" y="1895"/>
                  </a:lnTo>
                  <a:lnTo>
                    <a:pt x="6236" y="1893"/>
                  </a:lnTo>
                  <a:close/>
                  <a:moveTo>
                    <a:pt x="6472" y="1893"/>
                  </a:moveTo>
                  <a:lnTo>
                    <a:pt x="6605" y="1893"/>
                  </a:lnTo>
                  <a:lnTo>
                    <a:pt x="6614" y="1895"/>
                  </a:lnTo>
                  <a:lnTo>
                    <a:pt x="6620" y="1900"/>
                  </a:lnTo>
                  <a:lnTo>
                    <a:pt x="6624" y="1906"/>
                  </a:lnTo>
                  <a:lnTo>
                    <a:pt x="6626" y="1913"/>
                  </a:lnTo>
                  <a:lnTo>
                    <a:pt x="6624" y="1920"/>
                  </a:lnTo>
                  <a:lnTo>
                    <a:pt x="6620" y="1927"/>
                  </a:lnTo>
                  <a:lnTo>
                    <a:pt x="6614" y="1932"/>
                  </a:lnTo>
                  <a:lnTo>
                    <a:pt x="6605" y="1933"/>
                  </a:lnTo>
                  <a:lnTo>
                    <a:pt x="6472" y="1933"/>
                  </a:lnTo>
                  <a:lnTo>
                    <a:pt x="6464" y="1932"/>
                  </a:lnTo>
                  <a:lnTo>
                    <a:pt x="6458" y="1927"/>
                  </a:lnTo>
                  <a:lnTo>
                    <a:pt x="6454" y="1920"/>
                  </a:lnTo>
                  <a:lnTo>
                    <a:pt x="6452" y="1913"/>
                  </a:lnTo>
                  <a:lnTo>
                    <a:pt x="6454" y="1906"/>
                  </a:lnTo>
                  <a:lnTo>
                    <a:pt x="6458" y="1900"/>
                  </a:lnTo>
                  <a:lnTo>
                    <a:pt x="6464" y="1895"/>
                  </a:lnTo>
                  <a:lnTo>
                    <a:pt x="6472" y="1893"/>
                  </a:lnTo>
                  <a:close/>
                  <a:moveTo>
                    <a:pt x="6709" y="1893"/>
                  </a:moveTo>
                  <a:lnTo>
                    <a:pt x="6842" y="1893"/>
                  </a:lnTo>
                  <a:lnTo>
                    <a:pt x="6851" y="1895"/>
                  </a:lnTo>
                  <a:lnTo>
                    <a:pt x="6858" y="1900"/>
                  </a:lnTo>
                  <a:lnTo>
                    <a:pt x="6861" y="1906"/>
                  </a:lnTo>
                  <a:lnTo>
                    <a:pt x="6863" y="1913"/>
                  </a:lnTo>
                  <a:lnTo>
                    <a:pt x="6861" y="1920"/>
                  </a:lnTo>
                  <a:lnTo>
                    <a:pt x="6858" y="1927"/>
                  </a:lnTo>
                  <a:lnTo>
                    <a:pt x="6851" y="1932"/>
                  </a:lnTo>
                  <a:lnTo>
                    <a:pt x="6842" y="1933"/>
                  </a:lnTo>
                  <a:lnTo>
                    <a:pt x="6709" y="1933"/>
                  </a:lnTo>
                  <a:lnTo>
                    <a:pt x="6700" y="1932"/>
                  </a:lnTo>
                  <a:lnTo>
                    <a:pt x="6693" y="1927"/>
                  </a:lnTo>
                  <a:lnTo>
                    <a:pt x="6690" y="1920"/>
                  </a:lnTo>
                  <a:lnTo>
                    <a:pt x="6688" y="1913"/>
                  </a:lnTo>
                  <a:lnTo>
                    <a:pt x="6690" y="1906"/>
                  </a:lnTo>
                  <a:lnTo>
                    <a:pt x="6693" y="1900"/>
                  </a:lnTo>
                  <a:lnTo>
                    <a:pt x="6700" y="1895"/>
                  </a:lnTo>
                  <a:lnTo>
                    <a:pt x="6709" y="1893"/>
                  </a:lnTo>
                  <a:close/>
                  <a:moveTo>
                    <a:pt x="6946" y="1893"/>
                  </a:moveTo>
                  <a:lnTo>
                    <a:pt x="7078" y="1893"/>
                  </a:lnTo>
                  <a:lnTo>
                    <a:pt x="7087" y="1895"/>
                  </a:lnTo>
                  <a:lnTo>
                    <a:pt x="7094" y="1900"/>
                  </a:lnTo>
                  <a:lnTo>
                    <a:pt x="7097" y="1906"/>
                  </a:lnTo>
                  <a:lnTo>
                    <a:pt x="7099" y="1913"/>
                  </a:lnTo>
                  <a:lnTo>
                    <a:pt x="7097" y="1920"/>
                  </a:lnTo>
                  <a:lnTo>
                    <a:pt x="7094" y="1927"/>
                  </a:lnTo>
                  <a:lnTo>
                    <a:pt x="7087" y="1932"/>
                  </a:lnTo>
                  <a:lnTo>
                    <a:pt x="7078" y="1933"/>
                  </a:lnTo>
                  <a:lnTo>
                    <a:pt x="6946" y="1933"/>
                  </a:lnTo>
                  <a:lnTo>
                    <a:pt x="6937" y="1932"/>
                  </a:lnTo>
                  <a:lnTo>
                    <a:pt x="6931" y="1927"/>
                  </a:lnTo>
                  <a:lnTo>
                    <a:pt x="6927" y="1920"/>
                  </a:lnTo>
                  <a:lnTo>
                    <a:pt x="6926" y="1913"/>
                  </a:lnTo>
                  <a:lnTo>
                    <a:pt x="6927" y="1906"/>
                  </a:lnTo>
                  <a:lnTo>
                    <a:pt x="6931" y="1900"/>
                  </a:lnTo>
                  <a:lnTo>
                    <a:pt x="6937" y="1895"/>
                  </a:lnTo>
                  <a:lnTo>
                    <a:pt x="6946" y="1893"/>
                  </a:lnTo>
                  <a:close/>
                  <a:moveTo>
                    <a:pt x="6236" y="2156"/>
                  </a:moveTo>
                  <a:lnTo>
                    <a:pt x="6369" y="2156"/>
                  </a:lnTo>
                  <a:lnTo>
                    <a:pt x="6378" y="2158"/>
                  </a:lnTo>
                  <a:lnTo>
                    <a:pt x="6384" y="2162"/>
                  </a:lnTo>
                  <a:lnTo>
                    <a:pt x="6387" y="2168"/>
                  </a:lnTo>
                  <a:lnTo>
                    <a:pt x="6388" y="2176"/>
                  </a:lnTo>
                  <a:lnTo>
                    <a:pt x="6387" y="2184"/>
                  </a:lnTo>
                  <a:lnTo>
                    <a:pt x="6384" y="2190"/>
                  </a:lnTo>
                  <a:lnTo>
                    <a:pt x="6378" y="2194"/>
                  </a:lnTo>
                  <a:lnTo>
                    <a:pt x="6369" y="2197"/>
                  </a:lnTo>
                  <a:lnTo>
                    <a:pt x="6236" y="2197"/>
                  </a:lnTo>
                  <a:lnTo>
                    <a:pt x="6227" y="2194"/>
                  </a:lnTo>
                  <a:lnTo>
                    <a:pt x="6220" y="2190"/>
                  </a:lnTo>
                  <a:lnTo>
                    <a:pt x="6216" y="2184"/>
                  </a:lnTo>
                  <a:lnTo>
                    <a:pt x="6215" y="2176"/>
                  </a:lnTo>
                  <a:lnTo>
                    <a:pt x="6216" y="2168"/>
                  </a:lnTo>
                  <a:lnTo>
                    <a:pt x="6220" y="2162"/>
                  </a:lnTo>
                  <a:lnTo>
                    <a:pt x="6227" y="2158"/>
                  </a:lnTo>
                  <a:lnTo>
                    <a:pt x="6236" y="2156"/>
                  </a:lnTo>
                  <a:close/>
                  <a:moveTo>
                    <a:pt x="6472" y="2156"/>
                  </a:moveTo>
                  <a:lnTo>
                    <a:pt x="6605" y="2156"/>
                  </a:lnTo>
                  <a:lnTo>
                    <a:pt x="6614" y="2158"/>
                  </a:lnTo>
                  <a:lnTo>
                    <a:pt x="6620" y="2162"/>
                  </a:lnTo>
                  <a:lnTo>
                    <a:pt x="6624" y="2168"/>
                  </a:lnTo>
                  <a:lnTo>
                    <a:pt x="6626" y="2176"/>
                  </a:lnTo>
                  <a:lnTo>
                    <a:pt x="6624" y="2184"/>
                  </a:lnTo>
                  <a:lnTo>
                    <a:pt x="6620" y="2190"/>
                  </a:lnTo>
                  <a:lnTo>
                    <a:pt x="6614" y="2194"/>
                  </a:lnTo>
                  <a:lnTo>
                    <a:pt x="6605" y="2197"/>
                  </a:lnTo>
                  <a:lnTo>
                    <a:pt x="6472" y="2197"/>
                  </a:lnTo>
                  <a:lnTo>
                    <a:pt x="6464" y="2194"/>
                  </a:lnTo>
                  <a:lnTo>
                    <a:pt x="6458" y="2190"/>
                  </a:lnTo>
                  <a:lnTo>
                    <a:pt x="6454" y="2184"/>
                  </a:lnTo>
                  <a:lnTo>
                    <a:pt x="6452" y="2176"/>
                  </a:lnTo>
                  <a:lnTo>
                    <a:pt x="6454" y="2168"/>
                  </a:lnTo>
                  <a:lnTo>
                    <a:pt x="6458" y="2162"/>
                  </a:lnTo>
                  <a:lnTo>
                    <a:pt x="6464" y="2158"/>
                  </a:lnTo>
                  <a:lnTo>
                    <a:pt x="6472" y="2156"/>
                  </a:lnTo>
                  <a:close/>
                  <a:moveTo>
                    <a:pt x="6709" y="2156"/>
                  </a:moveTo>
                  <a:lnTo>
                    <a:pt x="6842" y="2156"/>
                  </a:lnTo>
                  <a:lnTo>
                    <a:pt x="6851" y="2158"/>
                  </a:lnTo>
                  <a:lnTo>
                    <a:pt x="6858" y="2162"/>
                  </a:lnTo>
                  <a:lnTo>
                    <a:pt x="6861" y="2168"/>
                  </a:lnTo>
                  <a:lnTo>
                    <a:pt x="6863" y="2176"/>
                  </a:lnTo>
                  <a:lnTo>
                    <a:pt x="6861" y="2184"/>
                  </a:lnTo>
                  <a:lnTo>
                    <a:pt x="6858" y="2190"/>
                  </a:lnTo>
                  <a:lnTo>
                    <a:pt x="6851" y="2194"/>
                  </a:lnTo>
                  <a:lnTo>
                    <a:pt x="6842" y="2197"/>
                  </a:lnTo>
                  <a:lnTo>
                    <a:pt x="6709" y="2197"/>
                  </a:lnTo>
                  <a:lnTo>
                    <a:pt x="6700" y="2194"/>
                  </a:lnTo>
                  <a:lnTo>
                    <a:pt x="6693" y="2190"/>
                  </a:lnTo>
                  <a:lnTo>
                    <a:pt x="6690" y="2184"/>
                  </a:lnTo>
                  <a:lnTo>
                    <a:pt x="6688" y="2176"/>
                  </a:lnTo>
                  <a:lnTo>
                    <a:pt x="6690" y="2168"/>
                  </a:lnTo>
                  <a:lnTo>
                    <a:pt x="6693" y="2162"/>
                  </a:lnTo>
                  <a:lnTo>
                    <a:pt x="6700" y="2158"/>
                  </a:lnTo>
                  <a:lnTo>
                    <a:pt x="6709" y="2156"/>
                  </a:lnTo>
                  <a:close/>
                  <a:moveTo>
                    <a:pt x="6946" y="2156"/>
                  </a:moveTo>
                  <a:lnTo>
                    <a:pt x="7078" y="2156"/>
                  </a:lnTo>
                  <a:lnTo>
                    <a:pt x="7087" y="2158"/>
                  </a:lnTo>
                  <a:lnTo>
                    <a:pt x="7094" y="2162"/>
                  </a:lnTo>
                  <a:lnTo>
                    <a:pt x="7097" y="2168"/>
                  </a:lnTo>
                  <a:lnTo>
                    <a:pt x="7099" y="2176"/>
                  </a:lnTo>
                  <a:lnTo>
                    <a:pt x="7097" y="2184"/>
                  </a:lnTo>
                  <a:lnTo>
                    <a:pt x="7094" y="2190"/>
                  </a:lnTo>
                  <a:lnTo>
                    <a:pt x="7087" y="2194"/>
                  </a:lnTo>
                  <a:lnTo>
                    <a:pt x="7078" y="2197"/>
                  </a:lnTo>
                  <a:lnTo>
                    <a:pt x="6946" y="2197"/>
                  </a:lnTo>
                  <a:lnTo>
                    <a:pt x="6937" y="2194"/>
                  </a:lnTo>
                  <a:lnTo>
                    <a:pt x="6931" y="2190"/>
                  </a:lnTo>
                  <a:lnTo>
                    <a:pt x="6927" y="2184"/>
                  </a:lnTo>
                  <a:lnTo>
                    <a:pt x="6926" y="2176"/>
                  </a:lnTo>
                  <a:lnTo>
                    <a:pt x="6927" y="2168"/>
                  </a:lnTo>
                  <a:lnTo>
                    <a:pt x="6931" y="2162"/>
                  </a:lnTo>
                  <a:lnTo>
                    <a:pt x="6937" y="2158"/>
                  </a:lnTo>
                  <a:lnTo>
                    <a:pt x="6946" y="2156"/>
                  </a:lnTo>
                  <a:close/>
                  <a:moveTo>
                    <a:pt x="6236" y="2419"/>
                  </a:moveTo>
                  <a:lnTo>
                    <a:pt x="6369" y="2419"/>
                  </a:lnTo>
                  <a:lnTo>
                    <a:pt x="6378" y="2420"/>
                  </a:lnTo>
                  <a:lnTo>
                    <a:pt x="6384" y="2425"/>
                  </a:lnTo>
                  <a:lnTo>
                    <a:pt x="6387" y="2432"/>
                  </a:lnTo>
                  <a:lnTo>
                    <a:pt x="6388" y="2439"/>
                  </a:lnTo>
                  <a:lnTo>
                    <a:pt x="6387" y="2446"/>
                  </a:lnTo>
                  <a:lnTo>
                    <a:pt x="6384" y="2452"/>
                  </a:lnTo>
                  <a:lnTo>
                    <a:pt x="6378" y="2457"/>
                  </a:lnTo>
                  <a:lnTo>
                    <a:pt x="6369" y="2459"/>
                  </a:lnTo>
                  <a:lnTo>
                    <a:pt x="6236" y="2459"/>
                  </a:lnTo>
                  <a:lnTo>
                    <a:pt x="6227" y="2457"/>
                  </a:lnTo>
                  <a:lnTo>
                    <a:pt x="6220" y="2452"/>
                  </a:lnTo>
                  <a:lnTo>
                    <a:pt x="6216" y="2446"/>
                  </a:lnTo>
                  <a:lnTo>
                    <a:pt x="6215" y="2439"/>
                  </a:lnTo>
                  <a:lnTo>
                    <a:pt x="6216" y="2432"/>
                  </a:lnTo>
                  <a:lnTo>
                    <a:pt x="6220" y="2425"/>
                  </a:lnTo>
                  <a:lnTo>
                    <a:pt x="6227" y="2420"/>
                  </a:lnTo>
                  <a:lnTo>
                    <a:pt x="6236" y="2419"/>
                  </a:lnTo>
                  <a:close/>
                  <a:moveTo>
                    <a:pt x="6472" y="2419"/>
                  </a:moveTo>
                  <a:lnTo>
                    <a:pt x="6605" y="2419"/>
                  </a:lnTo>
                  <a:lnTo>
                    <a:pt x="6614" y="2420"/>
                  </a:lnTo>
                  <a:lnTo>
                    <a:pt x="6620" y="2425"/>
                  </a:lnTo>
                  <a:lnTo>
                    <a:pt x="6624" y="2432"/>
                  </a:lnTo>
                  <a:lnTo>
                    <a:pt x="6626" y="2439"/>
                  </a:lnTo>
                  <a:lnTo>
                    <a:pt x="6624" y="2446"/>
                  </a:lnTo>
                  <a:lnTo>
                    <a:pt x="6620" y="2452"/>
                  </a:lnTo>
                  <a:lnTo>
                    <a:pt x="6614" y="2457"/>
                  </a:lnTo>
                  <a:lnTo>
                    <a:pt x="6605" y="2459"/>
                  </a:lnTo>
                  <a:lnTo>
                    <a:pt x="6472" y="2459"/>
                  </a:lnTo>
                  <a:lnTo>
                    <a:pt x="6464" y="2457"/>
                  </a:lnTo>
                  <a:lnTo>
                    <a:pt x="6458" y="2452"/>
                  </a:lnTo>
                  <a:lnTo>
                    <a:pt x="6454" y="2446"/>
                  </a:lnTo>
                  <a:lnTo>
                    <a:pt x="6452" y="2439"/>
                  </a:lnTo>
                  <a:lnTo>
                    <a:pt x="6454" y="2432"/>
                  </a:lnTo>
                  <a:lnTo>
                    <a:pt x="6458" y="2425"/>
                  </a:lnTo>
                  <a:lnTo>
                    <a:pt x="6464" y="2420"/>
                  </a:lnTo>
                  <a:lnTo>
                    <a:pt x="6472" y="2419"/>
                  </a:lnTo>
                  <a:close/>
                  <a:moveTo>
                    <a:pt x="6709" y="2419"/>
                  </a:moveTo>
                  <a:lnTo>
                    <a:pt x="6842" y="2419"/>
                  </a:lnTo>
                  <a:lnTo>
                    <a:pt x="6851" y="2420"/>
                  </a:lnTo>
                  <a:lnTo>
                    <a:pt x="6858" y="2425"/>
                  </a:lnTo>
                  <a:lnTo>
                    <a:pt x="6861" y="2432"/>
                  </a:lnTo>
                  <a:lnTo>
                    <a:pt x="6863" y="2439"/>
                  </a:lnTo>
                  <a:lnTo>
                    <a:pt x="6861" y="2446"/>
                  </a:lnTo>
                  <a:lnTo>
                    <a:pt x="6858" y="2452"/>
                  </a:lnTo>
                  <a:lnTo>
                    <a:pt x="6851" y="2457"/>
                  </a:lnTo>
                  <a:lnTo>
                    <a:pt x="6842" y="2459"/>
                  </a:lnTo>
                  <a:lnTo>
                    <a:pt x="6709" y="2459"/>
                  </a:lnTo>
                  <a:lnTo>
                    <a:pt x="6700" y="2457"/>
                  </a:lnTo>
                  <a:lnTo>
                    <a:pt x="6693" y="2452"/>
                  </a:lnTo>
                  <a:lnTo>
                    <a:pt x="6690" y="2446"/>
                  </a:lnTo>
                  <a:lnTo>
                    <a:pt x="6688" y="2439"/>
                  </a:lnTo>
                  <a:lnTo>
                    <a:pt x="6690" y="2432"/>
                  </a:lnTo>
                  <a:lnTo>
                    <a:pt x="6693" y="2425"/>
                  </a:lnTo>
                  <a:lnTo>
                    <a:pt x="6700" y="2420"/>
                  </a:lnTo>
                  <a:lnTo>
                    <a:pt x="6709" y="2419"/>
                  </a:lnTo>
                  <a:close/>
                  <a:moveTo>
                    <a:pt x="6946" y="2419"/>
                  </a:moveTo>
                  <a:lnTo>
                    <a:pt x="7078" y="2419"/>
                  </a:lnTo>
                  <a:lnTo>
                    <a:pt x="7087" y="2420"/>
                  </a:lnTo>
                  <a:lnTo>
                    <a:pt x="7094" y="2425"/>
                  </a:lnTo>
                  <a:lnTo>
                    <a:pt x="7097" y="2432"/>
                  </a:lnTo>
                  <a:lnTo>
                    <a:pt x="7099" y="2439"/>
                  </a:lnTo>
                  <a:lnTo>
                    <a:pt x="7097" y="2446"/>
                  </a:lnTo>
                  <a:lnTo>
                    <a:pt x="7094" y="2452"/>
                  </a:lnTo>
                  <a:lnTo>
                    <a:pt x="7087" y="2457"/>
                  </a:lnTo>
                  <a:lnTo>
                    <a:pt x="7078" y="2459"/>
                  </a:lnTo>
                  <a:lnTo>
                    <a:pt x="6946" y="2459"/>
                  </a:lnTo>
                  <a:lnTo>
                    <a:pt x="6937" y="2457"/>
                  </a:lnTo>
                  <a:lnTo>
                    <a:pt x="6931" y="2452"/>
                  </a:lnTo>
                  <a:lnTo>
                    <a:pt x="6927" y="2446"/>
                  </a:lnTo>
                  <a:lnTo>
                    <a:pt x="6926" y="2439"/>
                  </a:lnTo>
                  <a:lnTo>
                    <a:pt x="6927" y="2432"/>
                  </a:lnTo>
                  <a:lnTo>
                    <a:pt x="6931" y="2425"/>
                  </a:lnTo>
                  <a:lnTo>
                    <a:pt x="6937" y="2420"/>
                  </a:lnTo>
                  <a:lnTo>
                    <a:pt x="6946" y="2419"/>
                  </a:lnTo>
                  <a:close/>
                  <a:moveTo>
                    <a:pt x="6236" y="2682"/>
                  </a:moveTo>
                  <a:lnTo>
                    <a:pt x="6369" y="2682"/>
                  </a:lnTo>
                  <a:lnTo>
                    <a:pt x="6378" y="2684"/>
                  </a:lnTo>
                  <a:lnTo>
                    <a:pt x="6384" y="2689"/>
                  </a:lnTo>
                  <a:lnTo>
                    <a:pt x="6387" y="2695"/>
                  </a:lnTo>
                  <a:lnTo>
                    <a:pt x="6388" y="2702"/>
                  </a:lnTo>
                  <a:lnTo>
                    <a:pt x="6387" y="2709"/>
                  </a:lnTo>
                  <a:lnTo>
                    <a:pt x="6384" y="2716"/>
                  </a:lnTo>
                  <a:lnTo>
                    <a:pt x="6378" y="2721"/>
                  </a:lnTo>
                  <a:lnTo>
                    <a:pt x="6369" y="2722"/>
                  </a:lnTo>
                  <a:lnTo>
                    <a:pt x="6236" y="2722"/>
                  </a:lnTo>
                  <a:lnTo>
                    <a:pt x="6227" y="2721"/>
                  </a:lnTo>
                  <a:lnTo>
                    <a:pt x="6220" y="2716"/>
                  </a:lnTo>
                  <a:lnTo>
                    <a:pt x="6216" y="2709"/>
                  </a:lnTo>
                  <a:lnTo>
                    <a:pt x="6215" y="2702"/>
                  </a:lnTo>
                  <a:lnTo>
                    <a:pt x="6216" y="2695"/>
                  </a:lnTo>
                  <a:lnTo>
                    <a:pt x="6220" y="2689"/>
                  </a:lnTo>
                  <a:lnTo>
                    <a:pt x="6227" y="2684"/>
                  </a:lnTo>
                  <a:lnTo>
                    <a:pt x="6236" y="2682"/>
                  </a:lnTo>
                  <a:close/>
                  <a:moveTo>
                    <a:pt x="6472" y="2682"/>
                  </a:moveTo>
                  <a:lnTo>
                    <a:pt x="6605" y="2682"/>
                  </a:lnTo>
                  <a:lnTo>
                    <a:pt x="6614" y="2684"/>
                  </a:lnTo>
                  <a:lnTo>
                    <a:pt x="6620" y="2689"/>
                  </a:lnTo>
                  <a:lnTo>
                    <a:pt x="6624" y="2695"/>
                  </a:lnTo>
                  <a:lnTo>
                    <a:pt x="6626" y="2702"/>
                  </a:lnTo>
                  <a:lnTo>
                    <a:pt x="6624" y="2709"/>
                  </a:lnTo>
                  <a:lnTo>
                    <a:pt x="6620" y="2716"/>
                  </a:lnTo>
                  <a:lnTo>
                    <a:pt x="6614" y="2721"/>
                  </a:lnTo>
                  <a:lnTo>
                    <a:pt x="6605" y="2722"/>
                  </a:lnTo>
                  <a:lnTo>
                    <a:pt x="6472" y="2722"/>
                  </a:lnTo>
                  <a:lnTo>
                    <a:pt x="6464" y="2721"/>
                  </a:lnTo>
                  <a:lnTo>
                    <a:pt x="6458" y="2716"/>
                  </a:lnTo>
                  <a:lnTo>
                    <a:pt x="6454" y="2709"/>
                  </a:lnTo>
                  <a:lnTo>
                    <a:pt x="6452" y="2702"/>
                  </a:lnTo>
                  <a:lnTo>
                    <a:pt x="6454" y="2695"/>
                  </a:lnTo>
                  <a:lnTo>
                    <a:pt x="6458" y="2689"/>
                  </a:lnTo>
                  <a:lnTo>
                    <a:pt x="6464" y="2684"/>
                  </a:lnTo>
                  <a:lnTo>
                    <a:pt x="6472" y="2682"/>
                  </a:lnTo>
                  <a:close/>
                  <a:moveTo>
                    <a:pt x="6709" y="2682"/>
                  </a:moveTo>
                  <a:lnTo>
                    <a:pt x="6842" y="2682"/>
                  </a:lnTo>
                  <a:lnTo>
                    <a:pt x="6851" y="2684"/>
                  </a:lnTo>
                  <a:lnTo>
                    <a:pt x="6858" y="2689"/>
                  </a:lnTo>
                  <a:lnTo>
                    <a:pt x="6861" y="2695"/>
                  </a:lnTo>
                  <a:lnTo>
                    <a:pt x="6863" y="2702"/>
                  </a:lnTo>
                  <a:lnTo>
                    <a:pt x="6861" y="2709"/>
                  </a:lnTo>
                  <a:lnTo>
                    <a:pt x="6858" y="2716"/>
                  </a:lnTo>
                  <a:lnTo>
                    <a:pt x="6851" y="2721"/>
                  </a:lnTo>
                  <a:lnTo>
                    <a:pt x="6842" y="2722"/>
                  </a:lnTo>
                  <a:lnTo>
                    <a:pt x="6709" y="2722"/>
                  </a:lnTo>
                  <a:lnTo>
                    <a:pt x="6700" y="2721"/>
                  </a:lnTo>
                  <a:lnTo>
                    <a:pt x="6693" y="2716"/>
                  </a:lnTo>
                  <a:lnTo>
                    <a:pt x="6690" y="2709"/>
                  </a:lnTo>
                  <a:lnTo>
                    <a:pt x="6688" y="2702"/>
                  </a:lnTo>
                  <a:lnTo>
                    <a:pt x="6690" y="2695"/>
                  </a:lnTo>
                  <a:lnTo>
                    <a:pt x="6693" y="2689"/>
                  </a:lnTo>
                  <a:lnTo>
                    <a:pt x="6700" y="2684"/>
                  </a:lnTo>
                  <a:lnTo>
                    <a:pt x="6709" y="2682"/>
                  </a:lnTo>
                  <a:close/>
                  <a:moveTo>
                    <a:pt x="6946" y="2682"/>
                  </a:moveTo>
                  <a:lnTo>
                    <a:pt x="7078" y="2682"/>
                  </a:lnTo>
                  <a:lnTo>
                    <a:pt x="7087" y="2684"/>
                  </a:lnTo>
                  <a:lnTo>
                    <a:pt x="7094" y="2689"/>
                  </a:lnTo>
                  <a:lnTo>
                    <a:pt x="7097" y="2695"/>
                  </a:lnTo>
                  <a:lnTo>
                    <a:pt x="7099" y="2702"/>
                  </a:lnTo>
                  <a:lnTo>
                    <a:pt x="7097" y="2709"/>
                  </a:lnTo>
                  <a:lnTo>
                    <a:pt x="7094" y="2716"/>
                  </a:lnTo>
                  <a:lnTo>
                    <a:pt x="7087" y="2721"/>
                  </a:lnTo>
                  <a:lnTo>
                    <a:pt x="7078" y="2722"/>
                  </a:lnTo>
                  <a:lnTo>
                    <a:pt x="6946" y="2722"/>
                  </a:lnTo>
                  <a:lnTo>
                    <a:pt x="6937" y="2721"/>
                  </a:lnTo>
                  <a:lnTo>
                    <a:pt x="6931" y="2716"/>
                  </a:lnTo>
                  <a:lnTo>
                    <a:pt x="6927" y="2709"/>
                  </a:lnTo>
                  <a:lnTo>
                    <a:pt x="6926" y="2702"/>
                  </a:lnTo>
                  <a:lnTo>
                    <a:pt x="6927" y="2695"/>
                  </a:lnTo>
                  <a:lnTo>
                    <a:pt x="6931" y="2689"/>
                  </a:lnTo>
                  <a:lnTo>
                    <a:pt x="6937" y="2684"/>
                  </a:lnTo>
                  <a:lnTo>
                    <a:pt x="6946" y="2682"/>
                  </a:lnTo>
                  <a:close/>
                  <a:moveTo>
                    <a:pt x="6236" y="2946"/>
                  </a:moveTo>
                  <a:lnTo>
                    <a:pt x="6369" y="2946"/>
                  </a:lnTo>
                  <a:lnTo>
                    <a:pt x="6378" y="2947"/>
                  </a:lnTo>
                  <a:lnTo>
                    <a:pt x="6384" y="2951"/>
                  </a:lnTo>
                  <a:lnTo>
                    <a:pt x="6387" y="2957"/>
                  </a:lnTo>
                  <a:lnTo>
                    <a:pt x="6388" y="2965"/>
                  </a:lnTo>
                  <a:lnTo>
                    <a:pt x="6387" y="2973"/>
                  </a:lnTo>
                  <a:lnTo>
                    <a:pt x="6384" y="2979"/>
                  </a:lnTo>
                  <a:lnTo>
                    <a:pt x="6378" y="2983"/>
                  </a:lnTo>
                  <a:lnTo>
                    <a:pt x="6369" y="2985"/>
                  </a:lnTo>
                  <a:lnTo>
                    <a:pt x="6236" y="2985"/>
                  </a:lnTo>
                  <a:lnTo>
                    <a:pt x="6227" y="2983"/>
                  </a:lnTo>
                  <a:lnTo>
                    <a:pt x="6220" y="2979"/>
                  </a:lnTo>
                  <a:lnTo>
                    <a:pt x="6216" y="2973"/>
                  </a:lnTo>
                  <a:lnTo>
                    <a:pt x="6215" y="2965"/>
                  </a:lnTo>
                  <a:lnTo>
                    <a:pt x="6216" y="2957"/>
                  </a:lnTo>
                  <a:lnTo>
                    <a:pt x="6220" y="2951"/>
                  </a:lnTo>
                  <a:lnTo>
                    <a:pt x="6227" y="2947"/>
                  </a:lnTo>
                  <a:lnTo>
                    <a:pt x="6236" y="2946"/>
                  </a:lnTo>
                  <a:close/>
                  <a:moveTo>
                    <a:pt x="6472" y="2946"/>
                  </a:moveTo>
                  <a:lnTo>
                    <a:pt x="6605" y="2946"/>
                  </a:lnTo>
                  <a:lnTo>
                    <a:pt x="6614" y="2947"/>
                  </a:lnTo>
                  <a:lnTo>
                    <a:pt x="6620" y="2951"/>
                  </a:lnTo>
                  <a:lnTo>
                    <a:pt x="6624" y="2957"/>
                  </a:lnTo>
                  <a:lnTo>
                    <a:pt x="6626" y="2965"/>
                  </a:lnTo>
                  <a:lnTo>
                    <a:pt x="6624" y="2973"/>
                  </a:lnTo>
                  <a:lnTo>
                    <a:pt x="6620" y="2979"/>
                  </a:lnTo>
                  <a:lnTo>
                    <a:pt x="6614" y="2983"/>
                  </a:lnTo>
                  <a:lnTo>
                    <a:pt x="6605" y="2985"/>
                  </a:lnTo>
                  <a:lnTo>
                    <a:pt x="6472" y="2985"/>
                  </a:lnTo>
                  <a:lnTo>
                    <a:pt x="6464" y="2983"/>
                  </a:lnTo>
                  <a:lnTo>
                    <a:pt x="6458" y="2979"/>
                  </a:lnTo>
                  <a:lnTo>
                    <a:pt x="6454" y="2973"/>
                  </a:lnTo>
                  <a:lnTo>
                    <a:pt x="6452" y="2965"/>
                  </a:lnTo>
                  <a:lnTo>
                    <a:pt x="6454" y="2957"/>
                  </a:lnTo>
                  <a:lnTo>
                    <a:pt x="6458" y="2951"/>
                  </a:lnTo>
                  <a:lnTo>
                    <a:pt x="6464" y="2947"/>
                  </a:lnTo>
                  <a:lnTo>
                    <a:pt x="6472" y="2946"/>
                  </a:lnTo>
                  <a:close/>
                  <a:moveTo>
                    <a:pt x="6709" y="2946"/>
                  </a:moveTo>
                  <a:lnTo>
                    <a:pt x="6842" y="2946"/>
                  </a:lnTo>
                  <a:lnTo>
                    <a:pt x="6851" y="2947"/>
                  </a:lnTo>
                  <a:lnTo>
                    <a:pt x="6858" y="2951"/>
                  </a:lnTo>
                  <a:lnTo>
                    <a:pt x="6861" y="2957"/>
                  </a:lnTo>
                  <a:lnTo>
                    <a:pt x="6863" y="2965"/>
                  </a:lnTo>
                  <a:lnTo>
                    <a:pt x="6861" y="2973"/>
                  </a:lnTo>
                  <a:lnTo>
                    <a:pt x="6858" y="2979"/>
                  </a:lnTo>
                  <a:lnTo>
                    <a:pt x="6851" y="2983"/>
                  </a:lnTo>
                  <a:lnTo>
                    <a:pt x="6842" y="2985"/>
                  </a:lnTo>
                  <a:lnTo>
                    <a:pt x="6709" y="2985"/>
                  </a:lnTo>
                  <a:lnTo>
                    <a:pt x="6700" y="2983"/>
                  </a:lnTo>
                  <a:lnTo>
                    <a:pt x="6693" y="2979"/>
                  </a:lnTo>
                  <a:lnTo>
                    <a:pt x="6690" y="2973"/>
                  </a:lnTo>
                  <a:lnTo>
                    <a:pt x="6688" y="2965"/>
                  </a:lnTo>
                  <a:lnTo>
                    <a:pt x="6690" y="2957"/>
                  </a:lnTo>
                  <a:lnTo>
                    <a:pt x="6693" y="2951"/>
                  </a:lnTo>
                  <a:lnTo>
                    <a:pt x="6700" y="2947"/>
                  </a:lnTo>
                  <a:lnTo>
                    <a:pt x="6709" y="2946"/>
                  </a:lnTo>
                  <a:close/>
                  <a:moveTo>
                    <a:pt x="6946" y="2946"/>
                  </a:moveTo>
                  <a:lnTo>
                    <a:pt x="7078" y="2946"/>
                  </a:lnTo>
                  <a:lnTo>
                    <a:pt x="7087" y="2947"/>
                  </a:lnTo>
                  <a:lnTo>
                    <a:pt x="7094" y="2951"/>
                  </a:lnTo>
                  <a:lnTo>
                    <a:pt x="7097" y="2957"/>
                  </a:lnTo>
                  <a:lnTo>
                    <a:pt x="7099" y="2965"/>
                  </a:lnTo>
                  <a:lnTo>
                    <a:pt x="7097" y="2973"/>
                  </a:lnTo>
                  <a:lnTo>
                    <a:pt x="7094" y="2979"/>
                  </a:lnTo>
                  <a:lnTo>
                    <a:pt x="7087" y="2983"/>
                  </a:lnTo>
                  <a:lnTo>
                    <a:pt x="7078" y="2985"/>
                  </a:lnTo>
                  <a:lnTo>
                    <a:pt x="6946" y="2985"/>
                  </a:lnTo>
                  <a:lnTo>
                    <a:pt x="6937" y="2983"/>
                  </a:lnTo>
                  <a:lnTo>
                    <a:pt x="6931" y="2979"/>
                  </a:lnTo>
                  <a:lnTo>
                    <a:pt x="6927" y="2973"/>
                  </a:lnTo>
                  <a:lnTo>
                    <a:pt x="6926" y="2965"/>
                  </a:lnTo>
                  <a:lnTo>
                    <a:pt x="6927" y="2957"/>
                  </a:lnTo>
                  <a:lnTo>
                    <a:pt x="6931" y="2951"/>
                  </a:lnTo>
                  <a:lnTo>
                    <a:pt x="6937" y="2947"/>
                  </a:lnTo>
                  <a:lnTo>
                    <a:pt x="6946" y="2946"/>
                  </a:lnTo>
                  <a:close/>
                  <a:moveTo>
                    <a:pt x="6236" y="3208"/>
                  </a:moveTo>
                  <a:lnTo>
                    <a:pt x="6369" y="3208"/>
                  </a:lnTo>
                  <a:lnTo>
                    <a:pt x="6378" y="3211"/>
                  </a:lnTo>
                  <a:lnTo>
                    <a:pt x="6384" y="3214"/>
                  </a:lnTo>
                  <a:lnTo>
                    <a:pt x="6387" y="3221"/>
                  </a:lnTo>
                  <a:lnTo>
                    <a:pt x="6388" y="3228"/>
                  </a:lnTo>
                  <a:lnTo>
                    <a:pt x="6387" y="3236"/>
                  </a:lnTo>
                  <a:lnTo>
                    <a:pt x="6384" y="3242"/>
                  </a:lnTo>
                  <a:lnTo>
                    <a:pt x="6378" y="3246"/>
                  </a:lnTo>
                  <a:lnTo>
                    <a:pt x="6369" y="3248"/>
                  </a:lnTo>
                  <a:lnTo>
                    <a:pt x="6236" y="3248"/>
                  </a:lnTo>
                  <a:lnTo>
                    <a:pt x="6227" y="3246"/>
                  </a:lnTo>
                  <a:lnTo>
                    <a:pt x="6220" y="3242"/>
                  </a:lnTo>
                  <a:lnTo>
                    <a:pt x="6216" y="3236"/>
                  </a:lnTo>
                  <a:lnTo>
                    <a:pt x="6215" y="3228"/>
                  </a:lnTo>
                  <a:lnTo>
                    <a:pt x="6216" y="3221"/>
                  </a:lnTo>
                  <a:lnTo>
                    <a:pt x="6220" y="3214"/>
                  </a:lnTo>
                  <a:lnTo>
                    <a:pt x="6227" y="3211"/>
                  </a:lnTo>
                  <a:lnTo>
                    <a:pt x="6236" y="3208"/>
                  </a:lnTo>
                  <a:close/>
                  <a:moveTo>
                    <a:pt x="6472" y="3208"/>
                  </a:moveTo>
                  <a:lnTo>
                    <a:pt x="6605" y="3208"/>
                  </a:lnTo>
                  <a:lnTo>
                    <a:pt x="6614" y="3211"/>
                  </a:lnTo>
                  <a:lnTo>
                    <a:pt x="6620" y="3214"/>
                  </a:lnTo>
                  <a:lnTo>
                    <a:pt x="6624" y="3221"/>
                  </a:lnTo>
                  <a:lnTo>
                    <a:pt x="6626" y="3228"/>
                  </a:lnTo>
                  <a:lnTo>
                    <a:pt x="6624" y="3236"/>
                  </a:lnTo>
                  <a:lnTo>
                    <a:pt x="6620" y="3242"/>
                  </a:lnTo>
                  <a:lnTo>
                    <a:pt x="6614" y="3246"/>
                  </a:lnTo>
                  <a:lnTo>
                    <a:pt x="6605" y="3248"/>
                  </a:lnTo>
                  <a:lnTo>
                    <a:pt x="6472" y="3248"/>
                  </a:lnTo>
                  <a:lnTo>
                    <a:pt x="6464" y="3246"/>
                  </a:lnTo>
                  <a:lnTo>
                    <a:pt x="6458" y="3242"/>
                  </a:lnTo>
                  <a:lnTo>
                    <a:pt x="6454" y="3236"/>
                  </a:lnTo>
                  <a:lnTo>
                    <a:pt x="6452" y="3228"/>
                  </a:lnTo>
                  <a:lnTo>
                    <a:pt x="6454" y="3221"/>
                  </a:lnTo>
                  <a:lnTo>
                    <a:pt x="6458" y="3214"/>
                  </a:lnTo>
                  <a:lnTo>
                    <a:pt x="6464" y="3211"/>
                  </a:lnTo>
                  <a:lnTo>
                    <a:pt x="6472" y="3208"/>
                  </a:lnTo>
                  <a:close/>
                  <a:moveTo>
                    <a:pt x="6709" y="3208"/>
                  </a:moveTo>
                  <a:lnTo>
                    <a:pt x="6842" y="3208"/>
                  </a:lnTo>
                  <a:lnTo>
                    <a:pt x="6851" y="3211"/>
                  </a:lnTo>
                  <a:lnTo>
                    <a:pt x="6858" y="3214"/>
                  </a:lnTo>
                  <a:lnTo>
                    <a:pt x="6861" y="3221"/>
                  </a:lnTo>
                  <a:lnTo>
                    <a:pt x="6863" y="3228"/>
                  </a:lnTo>
                  <a:lnTo>
                    <a:pt x="6861" y="3236"/>
                  </a:lnTo>
                  <a:lnTo>
                    <a:pt x="6858" y="3242"/>
                  </a:lnTo>
                  <a:lnTo>
                    <a:pt x="6851" y="3246"/>
                  </a:lnTo>
                  <a:lnTo>
                    <a:pt x="6842" y="3248"/>
                  </a:lnTo>
                  <a:lnTo>
                    <a:pt x="6709" y="3248"/>
                  </a:lnTo>
                  <a:lnTo>
                    <a:pt x="6700" y="3246"/>
                  </a:lnTo>
                  <a:lnTo>
                    <a:pt x="6693" y="3242"/>
                  </a:lnTo>
                  <a:lnTo>
                    <a:pt x="6690" y="3236"/>
                  </a:lnTo>
                  <a:lnTo>
                    <a:pt x="6688" y="3228"/>
                  </a:lnTo>
                  <a:lnTo>
                    <a:pt x="6690" y="3221"/>
                  </a:lnTo>
                  <a:lnTo>
                    <a:pt x="6693" y="3214"/>
                  </a:lnTo>
                  <a:lnTo>
                    <a:pt x="6700" y="3211"/>
                  </a:lnTo>
                  <a:lnTo>
                    <a:pt x="6709" y="3208"/>
                  </a:lnTo>
                  <a:close/>
                  <a:moveTo>
                    <a:pt x="6946" y="3208"/>
                  </a:moveTo>
                  <a:lnTo>
                    <a:pt x="7078" y="3208"/>
                  </a:lnTo>
                  <a:lnTo>
                    <a:pt x="7087" y="3211"/>
                  </a:lnTo>
                  <a:lnTo>
                    <a:pt x="7094" y="3214"/>
                  </a:lnTo>
                  <a:lnTo>
                    <a:pt x="7097" y="3221"/>
                  </a:lnTo>
                  <a:lnTo>
                    <a:pt x="7099" y="3228"/>
                  </a:lnTo>
                  <a:lnTo>
                    <a:pt x="7097" y="3236"/>
                  </a:lnTo>
                  <a:lnTo>
                    <a:pt x="7094" y="3242"/>
                  </a:lnTo>
                  <a:lnTo>
                    <a:pt x="7087" y="3246"/>
                  </a:lnTo>
                  <a:lnTo>
                    <a:pt x="7078" y="3248"/>
                  </a:lnTo>
                  <a:lnTo>
                    <a:pt x="6946" y="3248"/>
                  </a:lnTo>
                  <a:lnTo>
                    <a:pt x="6937" y="3246"/>
                  </a:lnTo>
                  <a:lnTo>
                    <a:pt x="6931" y="3242"/>
                  </a:lnTo>
                  <a:lnTo>
                    <a:pt x="6927" y="3236"/>
                  </a:lnTo>
                  <a:lnTo>
                    <a:pt x="6926" y="3228"/>
                  </a:lnTo>
                  <a:lnTo>
                    <a:pt x="6927" y="3221"/>
                  </a:lnTo>
                  <a:lnTo>
                    <a:pt x="6931" y="3214"/>
                  </a:lnTo>
                  <a:lnTo>
                    <a:pt x="6937" y="3211"/>
                  </a:lnTo>
                  <a:lnTo>
                    <a:pt x="6946" y="3208"/>
                  </a:lnTo>
                  <a:close/>
                  <a:moveTo>
                    <a:pt x="6236" y="3471"/>
                  </a:moveTo>
                  <a:lnTo>
                    <a:pt x="6369" y="3471"/>
                  </a:lnTo>
                  <a:lnTo>
                    <a:pt x="6378" y="3473"/>
                  </a:lnTo>
                  <a:lnTo>
                    <a:pt x="6384" y="3478"/>
                  </a:lnTo>
                  <a:lnTo>
                    <a:pt x="6387" y="3484"/>
                  </a:lnTo>
                  <a:lnTo>
                    <a:pt x="6388" y="3492"/>
                  </a:lnTo>
                  <a:lnTo>
                    <a:pt x="6387" y="3498"/>
                  </a:lnTo>
                  <a:lnTo>
                    <a:pt x="6384" y="3505"/>
                  </a:lnTo>
                  <a:lnTo>
                    <a:pt x="6378" y="3510"/>
                  </a:lnTo>
                  <a:lnTo>
                    <a:pt x="6369" y="3511"/>
                  </a:lnTo>
                  <a:lnTo>
                    <a:pt x="6236" y="3511"/>
                  </a:lnTo>
                  <a:lnTo>
                    <a:pt x="6227" y="3510"/>
                  </a:lnTo>
                  <a:lnTo>
                    <a:pt x="6220" y="3505"/>
                  </a:lnTo>
                  <a:lnTo>
                    <a:pt x="6216" y="3498"/>
                  </a:lnTo>
                  <a:lnTo>
                    <a:pt x="6215" y="3492"/>
                  </a:lnTo>
                  <a:lnTo>
                    <a:pt x="6216" y="3484"/>
                  </a:lnTo>
                  <a:lnTo>
                    <a:pt x="6220" y="3478"/>
                  </a:lnTo>
                  <a:lnTo>
                    <a:pt x="6227" y="3473"/>
                  </a:lnTo>
                  <a:lnTo>
                    <a:pt x="6236" y="3471"/>
                  </a:lnTo>
                  <a:close/>
                  <a:moveTo>
                    <a:pt x="6472" y="3471"/>
                  </a:moveTo>
                  <a:lnTo>
                    <a:pt x="6605" y="3471"/>
                  </a:lnTo>
                  <a:lnTo>
                    <a:pt x="6614" y="3473"/>
                  </a:lnTo>
                  <a:lnTo>
                    <a:pt x="6620" y="3478"/>
                  </a:lnTo>
                  <a:lnTo>
                    <a:pt x="6624" y="3484"/>
                  </a:lnTo>
                  <a:lnTo>
                    <a:pt x="6626" y="3492"/>
                  </a:lnTo>
                  <a:lnTo>
                    <a:pt x="6624" y="3498"/>
                  </a:lnTo>
                  <a:lnTo>
                    <a:pt x="6620" y="3505"/>
                  </a:lnTo>
                  <a:lnTo>
                    <a:pt x="6614" y="3510"/>
                  </a:lnTo>
                  <a:lnTo>
                    <a:pt x="6605" y="3511"/>
                  </a:lnTo>
                  <a:lnTo>
                    <a:pt x="6472" y="3511"/>
                  </a:lnTo>
                  <a:lnTo>
                    <a:pt x="6464" y="3510"/>
                  </a:lnTo>
                  <a:lnTo>
                    <a:pt x="6458" y="3505"/>
                  </a:lnTo>
                  <a:lnTo>
                    <a:pt x="6454" y="3498"/>
                  </a:lnTo>
                  <a:lnTo>
                    <a:pt x="6452" y="3492"/>
                  </a:lnTo>
                  <a:lnTo>
                    <a:pt x="6454" y="3484"/>
                  </a:lnTo>
                  <a:lnTo>
                    <a:pt x="6458" y="3478"/>
                  </a:lnTo>
                  <a:lnTo>
                    <a:pt x="6464" y="3473"/>
                  </a:lnTo>
                  <a:lnTo>
                    <a:pt x="6472" y="3471"/>
                  </a:lnTo>
                  <a:close/>
                  <a:moveTo>
                    <a:pt x="6709" y="3471"/>
                  </a:moveTo>
                  <a:lnTo>
                    <a:pt x="6842" y="3471"/>
                  </a:lnTo>
                  <a:lnTo>
                    <a:pt x="6851" y="3473"/>
                  </a:lnTo>
                  <a:lnTo>
                    <a:pt x="6858" y="3478"/>
                  </a:lnTo>
                  <a:lnTo>
                    <a:pt x="6861" y="3484"/>
                  </a:lnTo>
                  <a:lnTo>
                    <a:pt x="6863" y="3492"/>
                  </a:lnTo>
                  <a:lnTo>
                    <a:pt x="6861" y="3498"/>
                  </a:lnTo>
                  <a:lnTo>
                    <a:pt x="6858" y="3505"/>
                  </a:lnTo>
                  <a:lnTo>
                    <a:pt x="6851" y="3510"/>
                  </a:lnTo>
                  <a:lnTo>
                    <a:pt x="6842" y="3511"/>
                  </a:lnTo>
                  <a:lnTo>
                    <a:pt x="6709" y="3511"/>
                  </a:lnTo>
                  <a:lnTo>
                    <a:pt x="6700" y="3510"/>
                  </a:lnTo>
                  <a:lnTo>
                    <a:pt x="6693" y="3505"/>
                  </a:lnTo>
                  <a:lnTo>
                    <a:pt x="6690" y="3498"/>
                  </a:lnTo>
                  <a:lnTo>
                    <a:pt x="6688" y="3492"/>
                  </a:lnTo>
                  <a:lnTo>
                    <a:pt x="6690" y="3484"/>
                  </a:lnTo>
                  <a:lnTo>
                    <a:pt x="6693" y="3478"/>
                  </a:lnTo>
                  <a:lnTo>
                    <a:pt x="6700" y="3473"/>
                  </a:lnTo>
                  <a:lnTo>
                    <a:pt x="6709" y="3471"/>
                  </a:lnTo>
                  <a:close/>
                  <a:moveTo>
                    <a:pt x="6946" y="3471"/>
                  </a:moveTo>
                  <a:lnTo>
                    <a:pt x="7078" y="3471"/>
                  </a:lnTo>
                  <a:lnTo>
                    <a:pt x="7087" y="3473"/>
                  </a:lnTo>
                  <a:lnTo>
                    <a:pt x="7094" y="3478"/>
                  </a:lnTo>
                  <a:lnTo>
                    <a:pt x="7097" y="3484"/>
                  </a:lnTo>
                  <a:lnTo>
                    <a:pt x="7099" y="3492"/>
                  </a:lnTo>
                  <a:lnTo>
                    <a:pt x="7097" y="3498"/>
                  </a:lnTo>
                  <a:lnTo>
                    <a:pt x="7094" y="3505"/>
                  </a:lnTo>
                  <a:lnTo>
                    <a:pt x="7087" y="3510"/>
                  </a:lnTo>
                  <a:lnTo>
                    <a:pt x="7078" y="3511"/>
                  </a:lnTo>
                  <a:lnTo>
                    <a:pt x="6946" y="3511"/>
                  </a:lnTo>
                  <a:lnTo>
                    <a:pt x="6937" y="3510"/>
                  </a:lnTo>
                  <a:lnTo>
                    <a:pt x="6931" y="3505"/>
                  </a:lnTo>
                  <a:lnTo>
                    <a:pt x="6927" y="3498"/>
                  </a:lnTo>
                  <a:lnTo>
                    <a:pt x="6926" y="3492"/>
                  </a:lnTo>
                  <a:lnTo>
                    <a:pt x="6927" y="3484"/>
                  </a:lnTo>
                  <a:lnTo>
                    <a:pt x="6931" y="3478"/>
                  </a:lnTo>
                  <a:lnTo>
                    <a:pt x="6937" y="3473"/>
                  </a:lnTo>
                  <a:lnTo>
                    <a:pt x="6946" y="3471"/>
                  </a:lnTo>
                  <a:close/>
                  <a:moveTo>
                    <a:pt x="6236" y="3735"/>
                  </a:moveTo>
                  <a:lnTo>
                    <a:pt x="6369" y="3735"/>
                  </a:lnTo>
                  <a:lnTo>
                    <a:pt x="6378" y="3736"/>
                  </a:lnTo>
                  <a:lnTo>
                    <a:pt x="6384" y="3741"/>
                  </a:lnTo>
                  <a:lnTo>
                    <a:pt x="6387" y="3748"/>
                  </a:lnTo>
                  <a:lnTo>
                    <a:pt x="6388" y="3754"/>
                  </a:lnTo>
                  <a:lnTo>
                    <a:pt x="6387" y="3762"/>
                  </a:lnTo>
                  <a:lnTo>
                    <a:pt x="6384" y="3768"/>
                  </a:lnTo>
                  <a:lnTo>
                    <a:pt x="6378" y="3773"/>
                  </a:lnTo>
                  <a:lnTo>
                    <a:pt x="6369" y="3774"/>
                  </a:lnTo>
                  <a:lnTo>
                    <a:pt x="6236" y="3774"/>
                  </a:lnTo>
                  <a:lnTo>
                    <a:pt x="6227" y="3773"/>
                  </a:lnTo>
                  <a:lnTo>
                    <a:pt x="6220" y="3768"/>
                  </a:lnTo>
                  <a:lnTo>
                    <a:pt x="6216" y="3762"/>
                  </a:lnTo>
                  <a:lnTo>
                    <a:pt x="6215" y="3754"/>
                  </a:lnTo>
                  <a:lnTo>
                    <a:pt x="6216" y="3748"/>
                  </a:lnTo>
                  <a:lnTo>
                    <a:pt x="6220" y="3741"/>
                  </a:lnTo>
                  <a:lnTo>
                    <a:pt x="6227" y="3736"/>
                  </a:lnTo>
                  <a:lnTo>
                    <a:pt x="6236" y="3735"/>
                  </a:lnTo>
                  <a:close/>
                  <a:moveTo>
                    <a:pt x="6472" y="3735"/>
                  </a:moveTo>
                  <a:lnTo>
                    <a:pt x="6605" y="3735"/>
                  </a:lnTo>
                  <a:lnTo>
                    <a:pt x="6614" y="3736"/>
                  </a:lnTo>
                  <a:lnTo>
                    <a:pt x="6620" y="3741"/>
                  </a:lnTo>
                  <a:lnTo>
                    <a:pt x="6624" y="3748"/>
                  </a:lnTo>
                  <a:lnTo>
                    <a:pt x="6626" y="3754"/>
                  </a:lnTo>
                  <a:lnTo>
                    <a:pt x="6624" y="3762"/>
                  </a:lnTo>
                  <a:lnTo>
                    <a:pt x="6620" y="3768"/>
                  </a:lnTo>
                  <a:lnTo>
                    <a:pt x="6614" y="3773"/>
                  </a:lnTo>
                  <a:lnTo>
                    <a:pt x="6605" y="3774"/>
                  </a:lnTo>
                  <a:lnTo>
                    <a:pt x="6472" y="3774"/>
                  </a:lnTo>
                  <a:lnTo>
                    <a:pt x="6464" y="3773"/>
                  </a:lnTo>
                  <a:lnTo>
                    <a:pt x="6458" y="3768"/>
                  </a:lnTo>
                  <a:lnTo>
                    <a:pt x="6454" y="3762"/>
                  </a:lnTo>
                  <a:lnTo>
                    <a:pt x="6452" y="3754"/>
                  </a:lnTo>
                  <a:lnTo>
                    <a:pt x="6454" y="3748"/>
                  </a:lnTo>
                  <a:lnTo>
                    <a:pt x="6458" y="3741"/>
                  </a:lnTo>
                  <a:lnTo>
                    <a:pt x="6464" y="3736"/>
                  </a:lnTo>
                  <a:lnTo>
                    <a:pt x="6472" y="3735"/>
                  </a:lnTo>
                  <a:close/>
                  <a:moveTo>
                    <a:pt x="6709" y="3735"/>
                  </a:moveTo>
                  <a:lnTo>
                    <a:pt x="6842" y="3735"/>
                  </a:lnTo>
                  <a:lnTo>
                    <a:pt x="6851" y="3736"/>
                  </a:lnTo>
                  <a:lnTo>
                    <a:pt x="6858" y="3741"/>
                  </a:lnTo>
                  <a:lnTo>
                    <a:pt x="6861" y="3748"/>
                  </a:lnTo>
                  <a:lnTo>
                    <a:pt x="6863" y="3754"/>
                  </a:lnTo>
                  <a:lnTo>
                    <a:pt x="6861" y="3762"/>
                  </a:lnTo>
                  <a:lnTo>
                    <a:pt x="6858" y="3768"/>
                  </a:lnTo>
                  <a:lnTo>
                    <a:pt x="6851" y="3773"/>
                  </a:lnTo>
                  <a:lnTo>
                    <a:pt x="6842" y="3774"/>
                  </a:lnTo>
                  <a:lnTo>
                    <a:pt x="6709" y="3774"/>
                  </a:lnTo>
                  <a:lnTo>
                    <a:pt x="6700" y="3773"/>
                  </a:lnTo>
                  <a:lnTo>
                    <a:pt x="6693" y="3768"/>
                  </a:lnTo>
                  <a:lnTo>
                    <a:pt x="6690" y="3762"/>
                  </a:lnTo>
                  <a:lnTo>
                    <a:pt x="6688" y="3754"/>
                  </a:lnTo>
                  <a:lnTo>
                    <a:pt x="6690" y="3748"/>
                  </a:lnTo>
                  <a:lnTo>
                    <a:pt x="6693" y="3741"/>
                  </a:lnTo>
                  <a:lnTo>
                    <a:pt x="6700" y="3736"/>
                  </a:lnTo>
                  <a:lnTo>
                    <a:pt x="6709" y="3735"/>
                  </a:lnTo>
                  <a:close/>
                  <a:moveTo>
                    <a:pt x="6946" y="3735"/>
                  </a:moveTo>
                  <a:lnTo>
                    <a:pt x="7078" y="3735"/>
                  </a:lnTo>
                  <a:lnTo>
                    <a:pt x="7087" y="3736"/>
                  </a:lnTo>
                  <a:lnTo>
                    <a:pt x="7094" y="3741"/>
                  </a:lnTo>
                  <a:lnTo>
                    <a:pt x="7097" y="3748"/>
                  </a:lnTo>
                  <a:lnTo>
                    <a:pt x="7099" y="3754"/>
                  </a:lnTo>
                  <a:lnTo>
                    <a:pt x="7097" y="3762"/>
                  </a:lnTo>
                  <a:lnTo>
                    <a:pt x="7094" y="3768"/>
                  </a:lnTo>
                  <a:lnTo>
                    <a:pt x="7087" y="3773"/>
                  </a:lnTo>
                  <a:lnTo>
                    <a:pt x="7078" y="3774"/>
                  </a:lnTo>
                  <a:lnTo>
                    <a:pt x="6946" y="3774"/>
                  </a:lnTo>
                  <a:lnTo>
                    <a:pt x="6937" y="3773"/>
                  </a:lnTo>
                  <a:lnTo>
                    <a:pt x="6931" y="3768"/>
                  </a:lnTo>
                  <a:lnTo>
                    <a:pt x="6927" y="3762"/>
                  </a:lnTo>
                  <a:lnTo>
                    <a:pt x="6926" y="3754"/>
                  </a:lnTo>
                  <a:lnTo>
                    <a:pt x="6927" y="3748"/>
                  </a:lnTo>
                  <a:lnTo>
                    <a:pt x="6931" y="3741"/>
                  </a:lnTo>
                  <a:lnTo>
                    <a:pt x="6937" y="3736"/>
                  </a:lnTo>
                  <a:lnTo>
                    <a:pt x="6946" y="3735"/>
                  </a:lnTo>
                  <a:close/>
                  <a:moveTo>
                    <a:pt x="6236" y="3997"/>
                  </a:moveTo>
                  <a:lnTo>
                    <a:pt x="6369" y="3997"/>
                  </a:lnTo>
                  <a:lnTo>
                    <a:pt x="6378" y="3999"/>
                  </a:lnTo>
                  <a:lnTo>
                    <a:pt x="6384" y="4003"/>
                  </a:lnTo>
                  <a:lnTo>
                    <a:pt x="6387" y="4010"/>
                  </a:lnTo>
                  <a:lnTo>
                    <a:pt x="6388" y="4017"/>
                  </a:lnTo>
                  <a:lnTo>
                    <a:pt x="6387" y="4025"/>
                  </a:lnTo>
                  <a:lnTo>
                    <a:pt x="6384" y="4031"/>
                  </a:lnTo>
                  <a:lnTo>
                    <a:pt x="6378" y="4035"/>
                  </a:lnTo>
                  <a:lnTo>
                    <a:pt x="6369" y="4038"/>
                  </a:lnTo>
                  <a:lnTo>
                    <a:pt x="6236" y="4038"/>
                  </a:lnTo>
                  <a:lnTo>
                    <a:pt x="6227" y="4035"/>
                  </a:lnTo>
                  <a:lnTo>
                    <a:pt x="6220" y="4031"/>
                  </a:lnTo>
                  <a:lnTo>
                    <a:pt x="6216" y="4025"/>
                  </a:lnTo>
                  <a:lnTo>
                    <a:pt x="6215" y="4017"/>
                  </a:lnTo>
                  <a:lnTo>
                    <a:pt x="6216" y="4010"/>
                  </a:lnTo>
                  <a:lnTo>
                    <a:pt x="6220" y="4003"/>
                  </a:lnTo>
                  <a:lnTo>
                    <a:pt x="6227" y="3999"/>
                  </a:lnTo>
                  <a:lnTo>
                    <a:pt x="6236" y="3997"/>
                  </a:lnTo>
                  <a:close/>
                  <a:moveTo>
                    <a:pt x="6472" y="3997"/>
                  </a:moveTo>
                  <a:lnTo>
                    <a:pt x="6605" y="3997"/>
                  </a:lnTo>
                  <a:lnTo>
                    <a:pt x="6614" y="3999"/>
                  </a:lnTo>
                  <a:lnTo>
                    <a:pt x="6620" y="4003"/>
                  </a:lnTo>
                  <a:lnTo>
                    <a:pt x="6624" y="4010"/>
                  </a:lnTo>
                  <a:lnTo>
                    <a:pt x="6626" y="4017"/>
                  </a:lnTo>
                  <a:lnTo>
                    <a:pt x="6624" y="4025"/>
                  </a:lnTo>
                  <a:lnTo>
                    <a:pt x="6620" y="4031"/>
                  </a:lnTo>
                  <a:lnTo>
                    <a:pt x="6614" y="4035"/>
                  </a:lnTo>
                  <a:lnTo>
                    <a:pt x="6605" y="4038"/>
                  </a:lnTo>
                  <a:lnTo>
                    <a:pt x="6472" y="4038"/>
                  </a:lnTo>
                  <a:lnTo>
                    <a:pt x="6464" y="4035"/>
                  </a:lnTo>
                  <a:lnTo>
                    <a:pt x="6458" y="4031"/>
                  </a:lnTo>
                  <a:lnTo>
                    <a:pt x="6454" y="4025"/>
                  </a:lnTo>
                  <a:lnTo>
                    <a:pt x="6452" y="4017"/>
                  </a:lnTo>
                  <a:lnTo>
                    <a:pt x="6454" y="4010"/>
                  </a:lnTo>
                  <a:lnTo>
                    <a:pt x="6458" y="4003"/>
                  </a:lnTo>
                  <a:lnTo>
                    <a:pt x="6464" y="3999"/>
                  </a:lnTo>
                  <a:lnTo>
                    <a:pt x="6472" y="3997"/>
                  </a:lnTo>
                  <a:close/>
                  <a:moveTo>
                    <a:pt x="6709" y="3997"/>
                  </a:moveTo>
                  <a:lnTo>
                    <a:pt x="6842" y="3997"/>
                  </a:lnTo>
                  <a:lnTo>
                    <a:pt x="6851" y="3999"/>
                  </a:lnTo>
                  <a:lnTo>
                    <a:pt x="6858" y="4003"/>
                  </a:lnTo>
                  <a:lnTo>
                    <a:pt x="6861" y="4010"/>
                  </a:lnTo>
                  <a:lnTo>
                    <a:pt x="6863" y="4017"/>
                  </a:lnTo>
                  <a:lnTo>
                    <a:pt x="6861" y="4025"/>
                  </a:lnTo>
                  <a:lnTo>
                    <a:pt x="6858" y="4031"/>
                  </a:lnTo>
                  <a:lnTo>
                    <a:pt x="6851" y="4035"/>
                  </a:lnTo>
                  <a:lnTo>
                    <a:pt x="6842" y="4038"/>
                  </a:lnTo>
                  <a:lnTo>
                    <a:pt x="6709" y="4038"/>
                  </a:lnTo>
                  <a:lnTo>
                    <a:pt x="6700" y="4035"/>
                  </a:lnTo>
                  <a:lnTo>
                    <a:pt x="6693" y="4031"/>
                  </a:lnTo>
                  <a:lnTo>
                    <a:pt x="6690" y="4025"/>
                  </a:lnTo>
                  <a:lnTo>
                    <a:pt x="6688" y="4017"/>
                  </a:lnTo>
                  <a:lnTo>
                    <a:pt x="6690" y="4010"/>
                  </a:lnTo>
                  <a:lnTo>
                    <a:pt x="6693" y="4003"/>
                  </a:lnTo>
                  <a:lnTo>
                    <a:pt x="6700" y="3999"/>
                  </a:lnTo>
                  <a:lnTo>
                    <a:pt x="6709" y="3997"/>
                  </a:lnTo>
                  <a:close/>
                  <a:moveTo>
                    <a:pt x="6946" y="3997"/>
                  </a:moveTo>
                  <a:lnTo>
                    <a:pt x="7078" y="3997"/>
                  </a:lnTo>
                  <a:lnTo>
                    <a:pt x="7087" y="3999"/>
                  </a:lnTo>
                  <a:lnTo>
                    <a:pt x="7094" y="4003"/>
                  </a:lnTo>
                  <a:lnTo>
                    <a:pt x="7097" y="4010"/>
                  </a:lnTo>
                  <a:lnTo>
                    <a:pt x="7099" y="4017"/>
                  </a:lnTo>
                  <a:lnTo>
                    <a:pt x="7097" y="4025"/>
                  </a:lnTo>
                  <a:lnTo>
                    <a:pt x="7094" y="4031"/>
                  </a:lnTo>
                  <a:lnTo>
                    <a:pt x="7087" y="4035"/>
                  </a:lnTo>
                  <a:lnTo>
                    <a:pt x="7078" y="4038"/>
                  </a:lnTo>
                  <a:lnTo>
                    <a:pt x="6946" y="4038"/>
                  </a:lnTo>
                  <a:lnTo>
                    <a:pt x="6937" y="4035"/>
                  </a:lnTo>
                  <a:lnTo>
                    <a:pt x="6931" y="4031"/>
                  </a:lnTo>
                  <a:lnTo>
                    <a:pt x="6927" y="4025"/>
                  </a:lnTo>
                  <a:lnTo>
                    <a:pt x="6926" y="4017"/>
                  </a:lnTo>
                  <a:lnTo>
                    <a:pt x="6927" y="4010"/>
                  </a:lnTo>
                  <a:lnTo>
                    <a:pt x="6931" y="4003"/>
                  </a:lnTo>
                  <a:lnTo>
                    <a:pt x="6937" y="3999"/>
                  </a:lnTo>
                  <a:lnTo>
                    <a:pt x="6946" y="3997"/>
                  </a:lnTo>
                  <a:close/>
                  <a:moveTo>
                    <a:pt x="7545" y="2941"/>
                  </a:moveTo>
                  <a:lnTo>
                    <a:pt x="7545" y="3052"/>
                  </a:lnTo>
                  <a:lnTo>
                    <a:pt x="7542" y="3061"/>
                  </a:lnTo>
                  <a:lnTo>
                    <a:pt x="7539" y="3067"/>
                  </a:lnTo>
                  <a:lnTo>
                    <a:pt x="7532" y="3071"/>
                  </a:lnTo>
                  <a:lnTo>
                    <a:pt x="7524" y="3072"/>
                  </a:lnTo>
                  <a:lnTo>
                    <a:pt x="7517" y="3071"/>
                  </a:lnTo>
                  <a:lnTo>
                    <a:pt x="7510" y="3067"/>
                  </a:lnTo>
                  <a:lnTo>
                    <a:pt x="7506" y="3061"/>
                  </a:lnTo>
                  <a:lnTo>
                    <a:pt x="7505" y="3052"/>
                  </a:lnTo>
                  <a:lnTo>
                    <a:pt x="7505" y="2941"/>
                  </a:lnTo>
                  <a:lnTo>
                    <a:pt x="7506" y="2932"/>
                  </a:lnTo>
                  <a:lnTo>
                    <a:pt x="7510" y="2925"/>
                  </a:lnTo>
                  <a:lnTo>
                    <a:pt x="7517" y="2922"/>
                  </a:lnTo>
                  <a:lnTo>
                    <a:pt x="7524" y="2920"/>
                  </a:lnTo>
                  <a:lnTo>
                    <a:pt x="7532" y="2922"/>
                  </a:lnTo>
                  <a:lnTo>
                    <a:pt x="7539" y="2925"/>
                  </a:lnTo>
                  <a:lnTo>
                    <a:pt x="7542" y="2932"/>
                  </a:lnTo>
                  <a:lnTo>
                    <a:pt x="7545" y="2941"/>
                  </a:lnTo>
                  <a:close/>
                  <a:moveTo>
                    <a:pt x="7808" y="2941"/>
                  </a:moveTo>
                  <a:lnTo>
                    <a:pt x="7808" y="3052"/>
                  </a:lnTo>
                  <a:lnTo>
                    <a:pt x="7807" y="3061"/>
                  </a:lnTo>
                  <a:lnTo>
                    <a:pt x="7801" y="3067"/>
                  </a:lnTo>
                  <a:lnTo>
                    <a:pt x="7795" y="3071"/>
                  </a:lnTo>
                  <a:lnTo>
                    <a:pt x="7787" y="3072"/>
                  </a:lnTo>
                  <a:lnTo>
                    <a:pt x="7781" y="3071"/>
                  </a:lnTo>
                  <a:lnTo>
                    <a:pt x="7774" y="3067"/>
                  </a:lnTo>
                  <a:lnTo>
                    <a:pt x="7769" y="3061"/>
                  </a:lnTo>
                  <a:lnTo>
                    <a:pt x="7768" y="3052"/>
                  </a:lnTo>
                  <a:lnTo>
                    <a:pt x="7768" y="2941"/>
                  </a:lnTo>
                  <a:lnTo>
                    <a:pt x="7769" y="2932"/>
                  </a:lnTo>
                  <a:lnTo>
                    <a:pt x="7774" y="2925"/>
                  </a:lnTo>
                  <a:lnTo>
                    <a:pt x="7781" y="2922"/>
                  </a:lnTo>
                  <a:lnTo>
                    <a:pt x="7787" y="2920"/>
                  </a:lnTo>
                  <a:lnTo>
                    <a:pt x="7795" y="2922"/>
                  </a:lnTo>
                  <a:lnTo>
                    <a:pt x="7801" y="2925"/>
                  </a:lnTo>
                  <a:lnTo>
                    <a:pt x="7807" y="2932"/>
                  </a:lnTo>
                  <a:lnTo>
                    <a:pt x="7808" y="2941"/>
                  </a:lnTo>
                  <a:close/>
                  <a:moveTo>
                    <a:pt x="8071" y="2941"/>
                  </a:moveTo>
                  <a:lnTo>
                    <a:pt x="8071" y="3052"/>
                  </a:lnTo>
                  <a:lnTo>
                    <a:pt x="8069" y="3061"/>
                  </a:lnTo>
                  <a:lnTo>
                    <a:pt x="8064" y="3067"/>
                  </a:lnTo>
                  <a:lnTo>
                    <a:pt x="8058" y="3071"/>
                  </a:lnTo>
                  <a:lnTo>
                    <a:pt x="8051" y="3072"/>
                  </a:lnTo>
                  <a:lnTo>
                    <a:pt x="8044" y="3071"/>
                  </a:lnTo>
                  <a:lnTo>
                    <a:pt x="8037" y="3067"/>
                  </a:lnTo>
                  <a:lnTo>
                    <a:pt x="8032" y="3061"/>
                  </a:lnTo>
                  <a:lnTo>
                    <a:pt x="8031" y="3052"/>
                  </a:lnTo>
                  <a:lnTo>
                    <a:pt x="8031" y="2941"/>
                  </a:lnTo>
                  <a:lnTo>
                    <a:pt x="8032" y="2932"/>
                  </a:lnTo>
                  <a:lnTo>
                    <a:pt x="8037" y="2925"/>
                  </a:lnTo>
                  <a:lnTo>
                    <a:pt x="8044" y="2922"/>
                  </a:lnTo>
                  <a:lnTo>
                    <a:pt x="8051" y="2920"/>
                  </a:lnTo>
                  <a:lnTo>
                    <a:pt x="8058" y="2922"/>
                  </a:lnTo>
                  <a:lnTo>
                    <a:pt x="8064" y="2925"/>
                  </a:lnTo>
                  <a:lnTo>
                    <a:pt x="8069" y="2932"/>
                  </a:lnTo>
                  <a:lnTo>
                    <a:pt x="8071" y="2941"/>
                  </a:lnTo>
                  <a:close/>
                  <a:moveTo>
                    <a:pt x="8334" y="2941"/>
                  </a:moveTo>
                  <a:lnTo>
                    <a:pt x="8334" y="3052"/>
                  </a:lnTo>
                  <a:lnTo>
                    <a:pt x="8332" y="3061"/>
                  </a:lnTo>
                  <a:lnTo>
                    <a:pt x="8327" y="3067"/>
                  </a:lnTo>
                  <a:lnTo>
                    <a:pt x="8322" y="3071"/>
                  </a:lnTo>
                  <a:lnTo>
                    <a:pt x="8314" y="3072"/>
                  </a:lnTo>
                  <a:lnTo>
                    <a:pt x="8307" y="3071"/>
                  </a:lnTo>
                  <a:lnTo>
                    <a:pt x="8300" y="3067"/>
                  </a:lnTo>
                  <a:lnTo>
                    <a:pt x="8296" y="3061"/>
                  </a:lnTo>
                  <a:lnTo>
                    <a:pt x="8294" y="3052"/>
                  </a:lnTo>
                  <a:lnTo>
                    <a:pt x="8294" y="2941"/>
                  </a:lnTo>
                  <a:lnTo>
                    <a:pt x="8296" y="2932"/>
                  </a:lnTo>
                  <a:lnTo>
                    <a:pt x="8300" y="2925"/>
                  </a:lnTo>
                  <a:lnTo>
                    <a:pt x="8307" y="2922"/>
                  </a:lnTo>
                  <a:lnTo>
                    <a:pt x="8314" y="2920"/>
                  </a:lnTo>
                  <a:lnTo>
                    <a:pt x="8322" y="2922"/>
                  </a:lnTo>
                  <a:lnTo>
                    <a:pt x="8327" y="2925"/>
                  </a:lnTo>
                  <a:lnTo>
                    <a:pt x="8332" y="2932"/>
                  </a:lnTo>
                  <a:lnTo>
                    <a:pt x="8334" y="2941"/>
                  </a:lnTo>
                  <a:close/>
                  <a:moveTo>
                    <a:pt x="8598" y="2941"/>
                  </a:moveTo>
                  <a:lnTo>
                    <a:pt x="8598" y="3052"/>
                  </a:lnTo>
                  <a:lnTo>
                    <a:pt x="8595" y="3061"/>
                  </a:lnTo>
                  <a:lnTo>
                    <a:pt x="8591" y="3067"/>
                  </a:lnTo>
                  <a:lnTo>
                    <a:pt x="8585" y="3071"/>
                  </a:lnTo>
                  <a:lnTo>
                    <a:pt x="8577" y="3072"/>
                  </a:lnTo>
                  <a:lnTo>
                    <a:pt x="8569" y="3071"/>
                  </a:lnTo>
                  <a:lnTo>
                    <a:pt x="8563" y="3067"/>
                  </a:lnTo>
                  <a:lnTo>
                    <a:pt x="8559" y="3061"/>
                  </a:lnTo>
                  <a:lnTo>
                    <a:pt x="8557" y="3052"/>
                  </a:lnTo>
                  <a:lnTo>
                    <a:pt x="8557" y="2941"/>
                  </a:lnTo>
                  <a:lnTo>
                    <a:pt x="8559" y="2932"/>
                  </a:lnTo>
                  <a:lnTo>
                    <a:pt x="8563" y="2925"/>
                  </a:lnTo>
                  <a:lnTo>
                    <a:pt x="8569" y="2922"/>
                  </a:lnTo>
                  <a:lnTo>
                    <a:pt x="8577" y="2920"/>
                  </a:lnTo>
                  <a:lnTo>
                    <a:pt x="8585" y="2922"/>
                  </a:lnTo>
                  <a:lnTo>
                    <a:pt x="8591" y="2925"/>
                  </a:lnTo>
                  <a:lnTo>
                    <a:pt x="8595" y="2932"/>
                  </a:lnTo>
                  <a:lnTo>
                    <a:pt x="8598" y="2941"/>
                  </a:lnTo>
                  <a:close/>
                  <a:moveTo>
                    <a:pt x="8861" y="2941"/>
                  </a:moveTo>
                  <a:lnTo>
                    <a:pt x="8861" y="3052"/>
                  </a:lnTo>
                  <a:lnTo>
                    <a:pt x="8858" y="3061"/>
                  </a:lnTo>
                  <a:lnTo>
                    <a:pt x="8854" y="3067"/>
                  </a:lnTo>
                  <a:lnTo>
                    <a:pt x="8848" y="3071"/>
                  </a:lnTo>
                  <a:lnTo>
                    <a:pt x="8840" y="3072"/>
                  </a:lnTo>
                  <a:lnTo>
                    <a:pt x="8832" y="3071"/>
                  </a:lnTo>
                  <a:lnTo>
                    <a:pt x="8826" y="3067"/>
                  </a:lnTo>
                  <a:lnTo>
                    <a:pt x="8822" y="3061"/>
                  </a:lnTo>
                  <a:lnTo>
                    <a:pt x="8821" y="3052"/>
                  </a:lnTo>
                  <a:lnTo>
                    <a:pt x="8821" y="2941"/>
                  </a:lnTo>
                  <a:lnTo>
                    <a:pt x="8822" y="2932"/>
                  </a:lnTo>
                  <a:lnTo>
                    <a:pt x="8826" y="2925"/>
                  </a:lnTo>
                  <a:lnTo>
                    <a:pt x="8832" y="2922"/>
                  </a:lnTo>
                  <a:lnTo>
                    <a:pt x="8840" y="2920"/>
                  </a:lnTo>
                  <a:lnTo>
                    <a:pt x="8848" y="2922"/>
                  </a:lnTo>
                  <a:lnTo>
                    <a:pt x="8854" y="2925"/>
                  </a:lnTo>
                  <a:lnTo>
                    <a:pt x="8858" y="2932"/>
                  </a:lnTo>
                  <a:lnTo>
                    <a:pt x="8861" y="2941"/>
                  </a:lnTo>
                  <a:close/>
                  <a:moveTo>
                    <a:pt x="7545" y="3186"/>
                  </a:moveTo>
                  <a:lnTo>
                    <a:pt x="7545" y="3299"/>
                  </a:lnTo>
                  <a:lnTo>
                    <a:pt x="7542" y="3308"/>
                  </a:lnTo>
                  <a:lnTo>
                    <a:pt x="7539" y="3314"/>
                  </a:lnTo>
                  <a:lnTo>
                    <a:pt x="7532" y="3318"/>
                  </a:lnTo>
                  <a:lnTo>
                    <a:pt x="7524" y="3319"/>
                  </a:lnTo>
                  <a:lnTo>
                    <a:pt x="7517" y="3318"/>
                  </a:lnTo>
                  <a:lnTo>
                    <a:pt x="7510" y="3314"/>
                  </a:lnTo>
                  <a:lnTo>
                    <a:pt x="7506" y="3308"/>
                  </a:lnTo>
                  <a:lnTo>
                    <a:pt x="7505" y="3299"/>
                  </a:lnTo>
                  <a:lnTo>
                    <a:pt x="7505" y="3186"/>
                  </a:lnTo>
                  <a:lnTo>
                    <a:pt x="7506" y="3179"/>
                  </a:lnTo>
                  <a:lnTo>
                    <a:pt x="7510" y="3172"/>
                  </a:lnTo>
                  <a:lnTo>
                    <a:pt x="7517" y="3168"/>
                  </a:lnTo>
                  <a:lnTo>
                    <a:pt x="7524" y="3167"/>
                  </a:lnTo>
                  <a:lnTo>
                    <a:pt x="7532" y="3168"/>
                  </a:lnTo>
                  <a:lnTo>
                    <a:pt x="7539" y="3172"/>
                  </a:lnTo>
                  <a:lnTo>
                    <a:pt x="7542" y="3179"/>
                  </a:lnTo>
                  <a:lnTo>
                    <a:pt x="7545" y="3186"/>
                  </a:lnTo>
                  <a:close/>
                  <a:moveTo>
                    <a:pt x="7808" y="3186"/>
                  </a:moveTo>
                  <a:lnTo>
                    <a:pt x="7808" y="3299"/>
                  </a:lnTo>
                  <a:lnTo>
                    <a:pt x="7807" y="3308"/>
                  </a:lnTo>
                  <a:lnTo>
                    <a:pt x="7801" y="3314"/>
                  </a:lnTo>
                  <a:lnTo>
                    <a:pt x="7795" y="3318"/>
                  </a:lnTo>
                  <a:lnTo>
                    <a:pt x="7787" y="3319"/>
                  </a:lnTo>
                  <a:lnTo>
                    <a:pt x="7781" y="3318"/>
                  </a:lnTo>
                  <a:lnTo>
                    <a:pt x="7774" y="3314"/>
                  </a:lnTo>
                  <a:lnTo>
                    <a:pt x="7769" y="3308"/>
                  </a:lnTo>
                  <a:lnTo>
                    <a:pt x="7768" y="3299"/>
                  </a:lnTo>
                  <a:lnTo>
                    <a:pt x="7768" y="3186"/>
                  </a:lnTo>
                  <a:lnTo>
                    <a:pt x="7769" y="3179"/>
                  </a:lnTo>
                  <a:lnTo>
                    <a:pt x="7774" y="3172"/>
                  </a:lnTo>
                  <a:lnTo>
                    <a:pt x="7781" y="3168"/>
                  </a:lnTo>
                  <a:lnTo>
                    <a:pt x="7787" y="3167"/>
                  </a:lnTo>
                  <a:lnTo>
                    <a:pt x="7795" y="3168"/>
                  </a:lnTo>
                  <a:lnTo>
                    <a:pt x="7801" y="3172"/>
                  </a:lnTo>
                  <a:lnTo>
                    <a:pt x="7807" y="3179"/>
                  </a:lnTo>
                  <a:lnTo>
                    <a:pt x="7808" y="3186"/>
                  </a:lnTo>
                  <a:close/>
                  <a:moveTo>
                    <a:pt x="8071" y="3186"/>
                  </a:moveTo>
                  <a:lnTo>
                    <a:pt x="8071" y="3299"/>
                  </a:lnTo>
                  <a:lnTo>
                    <a:pt x="8069" y="3308"/>
                  </a:lnTo>
                  <a:lnTo>
                    <a:pt x="8064" y="3314"/>
                  </a:lnTo>
                  <a:lnTo>
                    <a:pt x="8058" y="3318"/>
                  </a:lnTo>
                  <a:lnTo>
                    <a:pt x="8051" y="3319"/>
                  </a:lnTo>
                  <a:lnTo>
                    <a:pt x="8044" y="3318"/>
                  </a:lnTo>
                  <a:lnTo>
                    <a:pt x="8037" y="3314"/>
                  </a:lnTo>
                  <a:lnTo>
                    <a:pt x="8032" y="3308"/>
                  </a:lnTo>
                  <a:lnTo>
                    <a:pt x="8031" y="3299"/>
                  </a:lnTo>
                  <a:lnTo>
                    <a:pt x="8031" y="3186"/>
                  </a:lnTo>
                  <a:lnTo>
                    <a:pt x="8032" y="3179"/>
                  </a:lnTo>
                  <a:lnTo>
                    <a:pt x="8037" y="3172"/>
                  </a:lnTo>
                  <a:lnTo>
                    <a:pt x="8044" y="3168"/>
                  </a:lnTo>
                  <a:lnTo>
                    <a:pt x="8051" y="3167"/>
                  </a:lnTo>
                  <a:lnTo>
                    <a:pt x="8058" y="3168"/>
                  </a:lnTo>
                  <a:lnTo>
                    <a:pt x="8064" y="3172"/>
                  </a:lnTo>
                  <a:lnTo>
                    <a:pt x="8069" y="3179"/>
                  </a:lnTo>
                  <a:lnTo>
                    <a:pt x="8071" y="3186"/>
                  </a:lnTo>
                  <a:close/>
                  <a:moveTo>
                    <a:pt x="8334" y="3186"/>
                  </a:moveTo>
                  <a:lnTo>
                    <a:pt x="8334" y="3299"/>
                  </a:lnTo>
                  <a:lnTo>
                    <a:pt x="8332" y="3308"/>
                  </a:lnTo>
                  <a:lnTo>
                    <a:pt x="8327" y="3314"/>
                  </a:lnTo>
                  <a:lnTo>
                    <a:pt x="8322" y="3318"/>
                  </a:lnTo>
                  <a:lnTo>
                    <a:pt x="8314" y="3319"/>
                  </a:lnTo>
                  <a:lnTo>
                    <a:pt x="8307" y="3318"/>
                  </a:lnTo>
                  <a:lnTo>
                    <a:pt x="8300" y="3314"/>
                  </a:lnTo>
                  <a:lnTo>
                    <a:pt x="8296" y="3308"/>
                  </a:lnTo>
                  <a:lnTo>
                    <a:pt x="8294" y="3299"/>
                  </a:lnTo>
                  <a:lnTo>
                    <a:pt x="8294" y="3186"/>
                  </a:lnTo>
                  <a:lnTo>
                    <a:pt x="8296" y="3179"/>
                  </a:lnTo>
                  <a:lnTo>
                    <a:pt x="8300" y="3172"/>
                  </a:lnTo>
                  <a:lnTo>
                    <a:pt x="8307" y="3168"/>
                  </a:lnTo>
                  <a:lnTo>
                    <a:pt x="8314" y="3167"/>
                  </a:lnTo>
                  <a:lnTo>
                    <a:pt x="8322" y="3168"/>
                  </a:lnTo>
                  <a:lnTo>
                    <a:pt x="8327" y="3172"/>
                  </a:lnTo>
                  <a:lnTo>
                    <a:pt x="8332" y="3179"/>
                  </a:lnTo>
                  <a:lnTo>
                    <a:pt x="8334" y="3186"/>
                  </a:lnTo>
                  <a:close/>
                  <a:moveTo>
                    <a:pt x="8598" y="3186"/>
                  </a:moveTo>
                  <a:lnTo>
                    <a:pt x="8598" y="3299"/>
                  </a:lnTo>
                  <a:lnTo>
                    <a:pt x="8595" y="3308"/>
                  </a:lnTo>
                  <a:lnTo>
                    <a:pt x="8591" y="3314"/>
                  </a:lnTo>
                  <a:lnTo>
                    <a:pt x="8585" y="3318"/>
                  </a:lnTo>
                  <a:lnTo>
                    <a:pt x="8577" y="3319"/>
                  </a:lnTo>
                  <a:lnTo>
                    <a:pt x="8569" y="3318"/>
                  </a:lnTo>
                  <a:lnTo>
                    <a:pt x="8563" y="3314"/>
                  </a:lnTo>
                  <a:lnTo>
                    <a:pt x="8559" y="3308"/>
                  </a:lnTo>
                  <a:lnTo>
                    <a:pt x="8557" y="3299"/>
                  </a:lnTo>
                  <a:lnTo>
                    <a:pt x="8557" y="3186"/>
                  </a:lnTo>
                  <a:lnTo>
                    <a:pt x="8559" y="3179"/>
                  </a:lnTo>
                  <a:lnTo>
                    <a:pt x="8563" y="3172"/>
                  </a:lnTo>
                  <a:lnTo>
                    <a:pt x="8569" y="3168"/>
                  </a:lnTo>
                  <a:lnTo>
                    <a:pt x="8577" y="3167"/>
                  </a:lnTo>
                  <a:lnTo>
                    <a:pt x="8585" y="3168"/>
                  </a:lnTo>
                  <a:lnTo>
                    <a:pt x="8591" y="3172"/>
                  </a:lnTo>
                  <a:lnTo>
                    <a:pt x="8595" y="3179"/>
                  </a:lnTo>
                  <a:lnTo>
                    <a:pt x="8598" y="3186"/>
                  </a:lnTo>
                  <a:close/>
                  <a:moveTo>
                    <a:pt x="8861" y="3186"/>
                  </a:moveTo>
                  <a:lnTo>
                    <a:pt x="8861" y="3299"/>
                  </a:lnTo>
                  <a:lnTo>
                    <a:pt x="8858" y="3308"/>
                  </a:lnTo>
                  <a:lnTo>
                    <a:pt x="8854" y="3314"/>
                  </a:lnTo>
                  <a:lnTo>
                    <a:pt x="8848" y="3318"/>
                  </a:lnTo>
                  <a:lnTo>
                    <a:pt x="8840" y="3319"/>
                  </a:lnTo>
                  <a:lnTo>
                    <a:pt x="8832" y="3318"/>
                  </a:lnTo>
                  <a:lnTo>
                    <a:pt x="8826" y="3314"/>
                  </a:lnTo>
                  <a:lnTo>
                    <a:pt x="8822" y="3308"/>
                  </a:lnTo>
                  <a:lnTo>
                    <a:pt x="8821" y="3299"/>
                  </a:lnTo>
                  <a:lnTo>
                    <a:pt x="8821" y="3186"/>
                  </a:lnTo>
                  <a:lnTo>
                    <a:pt x="8822" y="3179"/>
                  </a:lnTo>
                  <a:lnTo>
                    <a:pt x="8826" y="3172"/>
                  </a:lnTo>
                  <a:lnTo>
                    <a:pt x="8832" y="3168"/>
                  </a:lnTo>
                  <a:lnTo>
                    <a:pt x="8840" y="3167"/>
                  </a:lnTo>
                  <a:lnTo>
                    <a:pt x="8848" y="3168"/>
                  </a:lnTo>
                  <a:lnTo>
                    <a:pt x="8854" y="3172"/>
                  </a:lnTo>
                  <a:lnTo>
                    <a:pt x="8858" y="3179"/>
                  </a:lnTo>
                  <a:lnTo>
                    <a:pt x="8861" y="3186"/>
                  </a:lnTo>
                  <a:close/>
                  <a:moveTo>
                    <a:pt x="7545" y="3433"/>
                  </a:moveTo>
                  <a:lnTo>
                    <a:pt x="7545" y="3546"/>
                  </a:lnTo>
                  <a:lnTo>
                    <a:pt x="7542" y="3554"/>
                  </a:lnTo>
                  <a:lnTo>
                    <a:pt x="7539" y="3561"/>
                  </a:lnTo>
                  <a:lnTo>
                    <a:pt x="7532" y="3565"/>
                  </a:lnTo>
                  <a:lnTo>
                    <a:pt x="7524" y="3565"/>
                  </a:lnTo>
                  <a:lnTo>
                    <a:pt x="7517" y="3565"/>
                  </a:lnTo>
                  <a:lnTo>
                    <a:pt x="7510" y="3561"/>
                  </a:lnTo>
                  <a:lnTo>
                    <a:pt x="7506" y="3554"/>
                  </a:lnTo>
                  <a:lnTo>
                    <a:pt x="7505" y="3546"/>
                  </a:lnTo>
                  <a:lnTo>
                    <a:pt x="7505" y="3433"/>
                  </a:lnTo>
                  <a:lnTo>
                    <a:pt x="7506" y="3424"/>
                  </a:lnTo>
                  <a:lnTo>
                    <a:pt x="7510" y="3419"/>
                  </a:lnTo>
                  <a:lnTo>
                    <a:pt x="7517" y="3415"/>
                  </a:lnTo>
                  <a:lnTo>
                    <a:pt x="7524" y="3414"/>
                  </a:lnTo>
                  <a:lnTo>
                    <a:pt x="7532" y="3415"/>
                  </a:lnTo>
                  <a:lnTo>
                    <a:pt x="7539" y="3419"/>
                  </a:lnTo>
                  <a:lnTo>
                    <a:pt x="7542" y="3424"/>
                  </a:lnTo>
                  <a:lnTo>
                    <a:pt x="7545" y="3433"/>
                  </a:lnTo>
                  <a:close/>
                  <a:moveTo>
                    <a:pt x="7808" y="3433"/>
                  </a:moveTo>
                  <a:lnTo>
                    <a:pt x="7808" y="3546"/>
                  </a:lnTo>
                  <a:lnTo>
                    <a:pt x="7807" y="3554"/>
                  </a:lnTo>
                  <a:lnTo>
                    <a:pt x="7801" y="3561"/>
                  </a:lnTo>
                  <a:lnTo>
                    <a:pt x="7795" y="3565"/>
                  </a:lnTo>
                  <a:lnTo>
                    <a:pt x="7787" y="3565"/>
                  </a:lnTo>
                  <a:lnTo>
                    <a:pt x="7781" y="3565"/>
                  </a:lnTo>
                  <a:lnTo>
                    <a:pt x="7774" y="3561"/>
                  </a:lnTo>
                  <a:lnTo>
                    <a:pt x="7769" y="3554"/>
                  </a:lnTo>
                  <a:lnTo>
                    <a:pt x="7768" y="3546"/>
                  </a:lnTo>
                  <a:lnTo>
                    <a:pt x="7768" y="3433"/>
                  </a:lnTo>
                  <a:lnTo>
                    <a:pt x="7769" y="3424"/>
                  </a:lnTo>
                  <a:lnTo>
                    <a:pt x="7774" y="3419"/>
                  </a:lnTo>
                  <a:lnTo>
                    <a:pt x="7781" y="3415"/>
                  </a:lnTo>
                  <a:lnTo>
                    <a:pt x="7787" y="3414"/>
                  </a:lnTo>
                  <a:lnTo>
                    <a:pt x="7795" y="3415"/>
                  </a:lnTo>
                  <a:lnTo>
                    <a:pt x="7801" y="3419"/>
                  </a:lnTo>
                  <a:lnTo>
                    <a:pt x="7807" y="3424"/>
                  </a:lnTo>
                  <a:lnTo>
                    <a:pt x="7808" y="3433"/>
                  </a:lnTo>
                  <a:close/>
                  <a:moveTo>
                    <a:pt x="8071" y="3433"/>
                  </a:moveTo>
                  <a:lnTo>
                    <a:pt x="8071" y="3546"/>
                  </a:lnTo>
                  <a:lnTo>
                    <a:pt x="8069" y="3554"/>
                  </a:lnTo>
                  <a:lnTo>
                    <a:pt x="8064" y="3561"/>
                  </a:lnTo>
                  <a:lnTo>
                    <a:pt x="8058" y="3565"/>
                  </a:lnTo>
                  <a:lnTo>
                    <a:pt x="8051" y="3565"/>
                  </a:lnTo>
                  <a:lnTo>
                    <a:pt x="8044" y="3565"/>
                  </a:lnTo>
                  <a:lnTo>
                    <a:pt x="8037" y="3561"/>
                  </a:lnTo>
                  <a:lnTo>
                    <a:pt x="8032" y="3554"/>
                  </a:lnTo>
                  <a:lnTo>
                    <a:pt x="8031" y="3546"/>
                  </a:lnTo>
                  <a:lnTo>
                    <a:pt x="8031" y="3433"/>
                  </a:lnTo>
                  <a:lnTo>
                    <a:pt x="8032" y="3424"/>
                  </a:lnTo>
                  <a:lnTo>
                    <a:pt x="8037" y="3419"/>
                  </a:lnTo>
                  <a:lnTo>
                    <a:pt x="8044" y="3415"/>
                  </a:lnTo>
                  <a:lnTo>
                    <a:pt x="8051" y="3414"/>
                  </a:lnTo>
                  <a:lnTo>
                    <a:pt x="8058" y="3415"/>
                  </a:lnTo>
                  <a:lnTo>
                    <a:pt x="8064" y="3419"/>
                  </a:lnTo>
                  <a:lnTo>
                    <a:pt x="8069" y="3424"/>
                  </a:lnTo>
                  <a:lnTo>
                    <a:pt x="8071" y="3433"/>
                  </a:lnTo>
                  <a:close/>
                  <a:moveTo>
                    <a:pt x="8334" y="3433"/>
                  </a:moveTo>
                  <a:lnTo>
                    <a:pt x="8334" y="3546"/>
                  </a:lnTo>
                  <a:lnTo>
                    <a:pt x="8332" y="3554"/>
                  </a:lnTo>
                  <a:lnTo>
                    <a:pt x="8327" y="3561"/>
                  </a:lnTo>
                  <a:lnTo>
                    <a:pt x="8322" y="3565"/>
                  </a:lnTo>
                  <a:lnTo>
                    <a:pt x="8314" y="3565"/>
                  </a:lnTo>
                  <a:lnTo>
                    <a:pt x="8307" y="3565"/>
                  </a:lnTo>
                  <a:lnTo>
                    <a:pt x="8300" y="3561"/>
                  </a:lnTo>
                  <a:lnTo>
                    <a:pt x="8296" y="3554"/>
                  </a:lnTo>
                  <a:lnTo>
                    <a:pt x="8294" y="3546"/>
                  </a:lnTo>
                  <a:lnTo>
                    <a:pt x="8294" y="3433"/>
                  </a:lnTo>
                  <a:lnTo>
                    <a:pt x="8296" y="3424"/>
                  </a:lnTo>
                  <a:lnTo>
                    <a:pt x="8300" y="3419"/>
                  </a:lnTo>
                  <a:lnTo>
                    <a:pt x="8307" y="3415"/>
                  </a:lnTo>
                  <a:lnTo>
                    <a:pt x="8314" y="3414"/>
                  </a:lnTo>
                  <a:lnTo>
                    <a:pt x="8322" y="3415"/>
                  </a:lnTo>
                  <a:lnTo>
                    <a:pt x="8327" y="3419"/>
                  </a:lnTo>
                  <a:lnTo>
                    <a:pt x="8332" y="3424"/>
                  </a:lnTo>
                  <a:lnTo>
                    <a:pt x="8334" y="3433"/>
                  </a:lnTo>
                  <a:close/>
                  <a:moveTo>
                    <a:pt x="8598" y="3433"/>
                  </a:moveTo>
                  <a:lnTo>
                    <a:pt x="8598" y="3546"/>
                  </a:lnTo>
                  <a:lnTo>
                    <a:pt x="8595" y="3554"/>
                  </a:lnTo>
                  <a:lnTo>
                    <a:pt x="8591" y="3561"/>
                  </a:lnTo>
                  <a:lnTo>
                    <a:pt x="8585" y="3565"/>
                  </a:lnTo>
                  <a:lnTo>
                    <a:pt x="8577" y="3565"/>
                  </a:lnTo>
                  <a:lnTo>
                    <a:pt x="8569" y="3565"/>
                  </a:lnTo>
                  <a:lnTo>
                    <a:pt x="8563" y="3561"/>
                  </a:lnTo>
                  <a:lnTo>
                    <a:pt x="8559" y="3554"/>
                  </a:lnTo>
                  <a:lnTo>
                    <a:pt x="8557" y="3546"/>
                  </a:lnTo>
                  <a:lnTo>
                    <a:pt x="8557" y="3433"/>
                  </a:lnTo>
                  <a:lnTo>
                    <a:pt x="8559" y="3424"/>
                  </a:lnTo>
                  <a:lnTo>
                    <a:pt x="8563" y="3419"/>
                  </a:lnTo>
                  <a:lnTo>
                    <a:pt x="8569" y="3415"/>
                  </a:lnTo>
                  <a:lnTo>
                    <a:pt x="8577" y="3414"/>
                  </a:lnTo>
                  <a:lnTo>
                    <a:pt x="8585" y="3415"/>
                  </a:lnTo>
                  <a:lnTo>
                    <a:pt x="8591" y="3419"/>
                  </a:lnTo>
                  <a:lnTo>
                    <a:pt x="8595" y="3424"/>
                  </a:lnTo>
                  <a:lnTo>
                    <a:pt x="8598" y="3433"/>
                  </a:lnTo>
                  <a:close/>
                  <a:moveTo>
                    <a:pt x="8861" y="3433"/>
                  </a:moveTo>
                  <a:lnTo>
                    <a:pt x="8861" y="3546"/>
                  </a:lnTo>
                  <a:lnTo>
                    <a:pt x="8858" y="3554"/>
                  </a:lnTo>
                  <a:lnTo>
                    <a:pt x="8854" y="3561"/>
                  </a:lnTo>
                  <a:lnTo>
                    <a:pt x="8848" y="3565"/>
                  </a:lnTo>
                  <a:lnTo>
                    <a:pt x="8840" y="3565"/>
                  </a:lnTo>
                  <a:lnTo>
                    <a:pt x="8832" y="3565"/>
                  </a:lnTo>
                  <a:lnTo>
                    <a:pt x="8826" y="3561"/>
                  </a:lnTo>
                  <a:lnTo>
                    <a:pt x="8822" y="3554"/>
                  </a:lnTo>
                  <a:lnTo>
                    <a:pt x="8821" y="3546"/>
                  </a:lnTo>
                  <a:lnTo>
                    <a:pt x="8821" y="3433"/>
                  </a:lnTo>
                  <a:lnTo>
                    <a:pt x="8822" y="3424"/>
                  </a:lnTo>
                  <a:lnTo>
                    <a:pt x="8826" y="3419"/>
                  </a:lnTo>
                  <a:lnTo>
                    <a:pt x="8832" y="3415"/>
                  </a:lnTo>
                  <a:lnTo>
                    <a:pt x="8840" y="3414"/>
                  </a:lnTo>
                  <a:lnTo>
                    <a:pt x="8848" y="3415"/>
                  </a:lnTo>
                  <a:lnTo>
                    <a:pt x="8854" y="3419"/>
                  </a:lnTo>
                  <a:lnTo>
                    <a:pt x="8858" y="3424"/>
                  </a:lnTo>
                  <a:lnTo>
                    <a:pt x="8861" y="3433"/>
                  </a:lnTo>
                  <a:close/>
                  <a:moveTo>
                    <a:pt x="7545" y="3680"/>
                  </a:moveTo>
                  <a:lnTo>
                    <a:pt x="7545" y="3792"/>
                  </a:lnTo>
                  <a:lnTo>
                    <a:pt x="7542" y="3801"/>
                  </a:lnTo>
                  <a:lnTo>
                    <a:pt x="7539" y="3806"/>
                  </a:lnTo>
                  <a:lnTo>
                    <a:pt x="7532" y="3810"/>
                  </a:lnTo>
                  <a:lnTo>
                    <a:pt x="7524" y="3811"/>
                  </a:lnTo>
                  <a:lnTo>
                    <a:pt x="7517" y="3810"/>
                  </a:lnTo>
                  <a:lnTo>
                    <a:pt x="7510" y="3806"/>
                  </a:lnTo>
                  <a:lnTo>
                    <a:pt x="7506" y="3801"/>
                  </a:lnTo>
                  <a:lnTo>
                    <a:pt x="7505" y="3792"/>
                  </a:lnTo>
                  <a:lnTo>
                    <a:pt x="7505" y="3680"/>
                  </a:lnTo>
                  <a:lnTo>
                    <a:pt x="7506" y="3671"/>
                  </a:lnTo>
                  <a:lnTo>
                    <a:pt x="7510" y="3664"/>
                  </a:lnTo>
                  <a:lnTo>
                    <a:pt x="7517" y="3661"/>
                  </a:lnTo>
                  <a:lnTo>
                    <a:pt x="7524" y="3659"/>
                  </a:lnTo>
                  <a:lnTo>
                    <a:pt x="7532" y="3661"/>
                  </a:lnTo>
                  <a:lnTo>
                    <a:pt x="7539" y="3664"/>
                  </a:lnTo>
                  <a:lnTo>
                    <a:pt x="7542" y="3671"/>
                  </a:lnTo>
                  <a:lnTo>
                    <a:pt x="7545" y="3680"/>
                  </a:lnTo>
                  <a:close/>
                  <a:moveTo>
                    <a:pt x="7808" y="3680"/>
                  </a:moveTo>
                  <a:lnTo>
                    <a:pt x="7808" y="3792"/>
                  </a:lnTo>
                  <a:lnTo>
                    <a:pt x="7807" y="3801"/>
                  </a:lnTo>
                  <a:lnTo>
                    <a:pt x="7801" y="3806"/>
                  </a:lnTo>
                  <a:lnTo>
                    <a:pt x="7795" y="3810"/>
                  </a:lnTo>
                  <a:lnTo>
                    <a:pt x="7787" y="3811"/>
                  </a:lnTo>
                  <a:lnTo>
                    <a:pt x="7781" y="3810"/>
                  </a:lnTo>
                  <a:lnTo>
                    <a:pt x="7774" y="3806"/>
                  </a:lnTo>
                  <a:lnTo>
                    <a:pt x="7769" y="3801"/>
                  </a:lnTo>
                  <a:lnTo>
                    <a:pt x="7768" y="3792"/>
                  </a:lnTo>
                  <a:lnTo>
                    <a:pt x="7768" y="3680"/>
                  </a:lnTo>
                  <a:lnTo>
                    <a:pt x="7769" y="3671"/>
                  </a:lnTo>
                  <a:lnTo>
                    <a:pt x="7774" y="3664"/>
                  </a:lnTo>
                  <a:lnTo>
                    <a:pt x="7781" y="3661"/>
                  </a:lnTo>
                  <a:lnTo>
                    <a:pt x="7787" y="3659"/>
                  </a:lnTo>
                  <a:lnTo>
                    <a:pt x="7795" y="3661"/>
                  </a:lnTo>
                  <a:lnTo>
                    <a:pt x="7801" y="3664"/>
                  </a:lnTo>
                  <a:lnTo>
                    <a:pt x="7807" y="3671"/>
                  </a:lnTo>
                  <a:lnTo>
                    <a:pt x="7808" y="3680"/>
                  </a:lnTo>
                  <a:close/>
                  <a:moveTo>
                    <a:pt x="8071" y="3680"/>
                  </a:moveTo>
                  <a:lnTo>
                    <a:pt x="8071" y="3792"/>
                  </a:lnTo>
                  <a:lnTo>
                    <a:pt x="8069" y="3801"/>
                  </a:lnTo>
                  <a:lnTo>
                    <a:pt x="8064" y="3806"/>
                  </a:lnTo>
                  <a:lnTo>
                    <a:pt x="8058" y="3810"/>
                  </a:lnTo>
                  <a:lnTo>
                    <a:pt x="8051" y="3811"/>
                  </a:lnTo>
                  <a:lnTo>
                    <a:pt x="8044" y="3810"/>
                  </a:lnTo>
                  <a:lnTo>
                    <a:pt x="8037" y="3806"/>
                  </a:lnTo>
                  <a:lnTo>
                    <a:pt x="8032" y="3801"/>
                  </a:lnTo>
                  <a:lnTo>
                    <a:pt x="8031" y="3792"/>
                  </a:lnTo>
                  <a:lnTo>
                    <a:pt x="8031" y="3680"/>
                  </a:lnTo>
                  <a:lnTo>
                    <a:pt x="8032" y="3671"/>
                  </a:lnTo>
                  <a:lnTo>
                    <a:pt x="8037" y="3664"/>
                  </a:lnTo>
                  <a:lnTo>
                    <a:pt x="8044" y="3661"/>
                  </a:lnTo>
                  <a:lnTo>
                    <a:pt x="8051" y="3659"/>
                  </a:lnTo>
                  <a:lnTo>
                    <a:pt x="8058" y="3661"/>
                  </a:lnTo>
                  <a:lnTo>
                    <a:pt x="8064" y="3664"/>
                  </a:lnTo>
                  <a:lnTo>
                    <a:pt x="8069" y="3671"/>
                  </a:lnTo>
                  <a:lnTo>
                    <a:pt x="8071" y="3680"/>
                  </a:lnTo>
                  <a:close/>
                  <a:moveTo>
                    <a:pt x="8334" y="3680"/>
                  </a:moveTo>
                  <a:lnTo>
                    <a:pt x="8334" y="3792"/>
                  </a:lnTo>
                  <a:lnTo>
                    <a:pt x="8332" y="3801"/>
                  </a:lnTo>
                  <a:lnTo>
                    <a:pt x="8327" y="3806"/>
                  </a:lnTo>
                  <a:lnTo>
                    <a:pt x="8322" y="3810"/>
                  </a:lnTo>
                  <a:lnTo>
                    <a:pt x="8314" y="3811"/>
                  </a:lnTo>
                  <a:lnTo>
                    <a:pt x="8307" y="3810"/>
                  </a:lnTo>
                  <a:lnTo>
                    <a:pt x="8300" y="3806"/>
                  </a:lnTo>
                  <a:lnTo>
                    <a:pt x="8296" y="3801"/>
                  </a:lnTo>
                  <a:lnTo>
                    <a:pt x="8294" y="3792"/>
                  </a:lnTo>
                  <a:lnTo>
                    <a:pt x="8294" y="3680"/>
                  </a:lnTo>
                  <a:lnTo>
                    <a:pt x="8296" y="3671"/>
                  </a:lnTo>
                  <a:lnTo>
                    <a:pt x="8300" y="3664"/>
                  </a:lnTo>
                  <a:lnTo>
                    <a:pt x="8307" y="3661"/>
                  </a:lnTo>
                  <a:lnTo>
                    <a:pt x="8314" y="3659"/>
                  </a:lnTo>
                  <a:lnTo>
                    <a:pt x="8322" y="3661"/>
                  </a:lnTo>
                  <a:lnTo>
                    <a:pt x="8327" y="3664"/>
                  </a:lnTo>
                  <a:lnTo>
                    <a:pt x="8332" y="3671"/>
                  </a:lnTo>
                  <a:lnTo>
                    <a:pt x="8334" y="3680"/>
                  </a:lnTo>
                  <a:close/>
                  <a:moveTo>
                    <a:pt x="8598" y="3680"/>
                  </a:moveTo>
                  <a:lnTo>
                    <a:pt x="8598" y="3792"/>
                  </a:lnTo>
                  <a:lnTo>
                    <a:pt x="8595" y="3801"/>
                  </a:lnTo>
                  <a:lnTo>
                    <a:pt x="8591" y="3806"/>
                  </a:lnTo>
                  <a:lnTo>
                    <a:pt x="8585" y="3810"/>
                  </a:lnTo>
                  <a:lnTo>
                    <a:pt x="8577" y="3811"/>
                  </a:lnTo>
                  <a:lnTo>
                    <a:pt x="8569" y="3810"/>
                  </a:lnTo>
                  <a:lnTo>
                    <a:pt x="8563" y="3806"/>
                  </a:lnTo>
                  <a:lnTo>
                    <a:pt x="8559" y="3801"/>
                  </a:lnTo>
                  <a:lnTo>
                    <a:pt x="8557" y="3792"/>
                  </a:lnTo>
                  <a:lnTo>
                    <a:pt x="8557" y="3680"/>
                  </a:lnTo>
                  <a:lnTo>
                    <a:pt x="8559" y="3671"/>
                  </a:lnTo>
                  <a:lnTo>
                    <a:pt x="8563" y="3664"/>
                  </a:lnTo>
                  <a:lnTo>
                    <a:pt x="8569" y="3661"/>
                  </a:lnTo>
                  <a:lnTo>
                    <a:pt x="8577" y="3659"/>
                  </a:lnTo>
                  <a:lnTo>
                    <a:pt x="8585" y="3661"/>
                  </a:lnTo>
                  <a:lnTo>
                    <a:pt x="8591" y="3664"/>
                  </a:lnTo>
                  <a:lnTo>
                    <a:pt x="8595" y="3671"/>
                  </a:lnTo>
                  <a:lnTo>
                    <a:pt x="8598" y="3680"/>
                  </a:lnTo>
                  <a:close/>
                  <a:moveTo>
                    <a:pt x="8861" y="3680"/>
                  </a:moveTo>
                  <a:lnTo>
                    <a:pt x="8861" y="3792"/>
                  </a:lnTo>
                  <a:lnTo>
                    <a:pt x="8858" y="3801"/>
                  </a:lnTo>
                  <a:lnTo>
                    <a:pt x="8854" y="3806"/>
                  </a:lnTo>
                  <a:lnTo>
                    <a:pt x="8848" y="3810"/>
                  </a:lnTo>
                  <a:lnTo>
                    <a:pt x="8840" y="3811"/>
                  </a:lnTo>
                  <a:lnTo>
                    <a:pt x="8832" y="3810"/>
                  </a:lnTo>
                  <a:lnTo>
                    <a:pt x="8826" y="3806"/>
                  </a:lnTo>
                  <a:lnTo>
                    <a:pt x="8822" y="3801"/>
                  </a:lnTo>
                  <a:lnTo>
                    <a:pt x="8821" y="3792"/>
                  </a:lnTo>
                  <a:lnTo>
                    <a:pt x="8821" y="3680"/>
                  </a:lnTo>
                  <a:lnTo>
                    <a:pt x="8822" y="3671"/>
                  </a:lnTo>
                  <a:lnTo>
                    <a:pt x="8826" y="3664"/>
                  </a:lnTo>
                  <a:lnTo>
                    <a:pt x="8832" y="3661"/>
                  </a:lnTo>
                  <a:lnTo>
                    <a:pt x="8840" y="3659"/>
                  </a:lnTo>
                  <a:lnTo>
                    <a:pt x="8848" y="3661"/>
                  </a:lnTo>
                  <a:lnTo>
                    <a:pt x="8854" y="3664"/>
                  </a:lnTo>
                  <a:lnTo>
                    <a:pt x="8858" y="3671"/>
                  </a:lnTo>
                  <a:lnTo>
                    <a:pt x="8861" y="3680"/>
                  </a:lnTo>
                  <a:close/>
                  <a:moveTo>
                    <a:pt x="9081" y="2604"/>
                  </a:moveTo>
                  <a:lnTo>
                    <a:pt x="9075" y="2604"/>
                  </a:lnTo>
                  <a:lnTo>
                    <a:pt x="9081" y="2604"/>
                  </a:lnTo>
                  <a:close/>
                  <a:moveTo>
                    <a:pt x="5536" y="1840"/>
                  </a:moveTo>
                  <a:lnTo>
                    <a:pt x="5109" y="1840"/>
                  </a:lnTo>
                  <a:lnTo>
                    <a:pt x="5109" y="1950"/>
                  </a:lnTo>
                  <a:lnTo>
                    <a:pt x="5536" y="1950"/>
                  </a:lnTo>
                  <a:lnTo>
                    <a:pt x="5536" y="1840"/>
                  </a:lnTo>
                  <a:close/>
                  <a:moveTo>
                    <a:pt x="4446" y="3790"/>
                  </a:moveTo>
                  <a:lnTo>
                    <a:pt x="5309" y="3790"/>
                  </a:lnTo>
                  <a:lnTo>
                    <a:pt x="5318" y="3791"/>
                  </a:lnTo>
                  <a:lnTo>
                    <a:pt x="5324" y="3796"/>
                  </a:lnTo>
                  <a:lnTo>
                    <a:pt x="5328" y="3803"/>
                  </a:lnTo>
                  <a:lnTo>
                    <a:pt x="5329" y="3809"/>
                  </a:lnTo>
                  <a:lnTo>
                    <a:pt x="5328" y="3817"/>
                  </a:lnTo>
                  <a:lnTo>
                    <a:pt x="5324" y="3823"/>
                  </a:lnTo>
                  <a:lnTo>
                    <a:pt x="5318" y="3828"/>
                  </a:lnTo>
                  <a:lnTo>
                    <a:pt x="5309" y="3829"/>
                  </a:lnTo>
                  <a:lnTo>
                    <a:pt x="5215" y="3829"/>
                  </a:lnTo>
                  <a:lnTo>
                    <a:pt x="5215" y="4317"/>
                  </a:lnTo>
                  <a:lnTo>
                    <a:pt x="5754" y="4317"/>
                  </a:lnTo>
                  <a:lnTo>
                    <a:pt x="5754" y="3782"/>
                  </a:lnTo>
                  <a:lnTo>
                    <a:pt x="5754" y="3249"/>
                  </a:lnTo>
                  <a:lnTo>
                    <a:pt x="5754" y="2716"/>
                  </a:lnTo>
                  <a:lnTo>
                    <a:pt x="5754" y="2182"/>
                  </a:lnTo>
                  <a:lnTo>
                    <a:pt x="5195" y="2182"/>
                  </a:lnTo>
                  <a:lnTo>
                    <a:pt x="4637" y="2182"/>
                  </a:lnTo>
                  <a:lnTo>
                    <a:pt x="4629" y="2181"/>
                  </a:lnTo>
                  <a:lnTo>
                    <a:pt x="4623" y="2176"/>
                  </a:lnTo>
                  <a:lnTo>
                    <a:pt x="4619" y="2170"/>
                  </a:lnTo>
                  <a:lnTo>
                    <a:pt x="4617" y="2163"/>
                  </a:lnTo>
                  <a:lnTo>
                    <a:pt x="4619" y="2156"/>
                  </a:lnTo>
                  <a:lnTo>
                    <a:pt x="4623" y="2149"/>
                  </a:lnTo>
                  <a:lnTo>
                    <a:pt x="4629" y="2144"/>
                  </a:lnTo>
                  <a:lnTo>
                    <a:pt x="4637" y="2143"/>
                  </a:lnTo>
                  <a:lnTo>
                    <a:pt x="5615" y="2143"/>
                  </a:lnTo>
                  <a:lnTo>
                    <a:pt x="5615" y="1989"/>
                  </a:lnTo>
                  <a:lnTo>
                    <a:pt x="5555" y="1989"/>
                  </a:lnTo>
                  <a:lnTo>
                    <a:pt x="5089" y="1989"/>
                  </a:lnTo>
                  <a:lnTo>
                    <a:pt x="4119" y="1989"/>
                  </a:lnTo>
                  <a:lnTo>
                    <a:pt x="4119" y="2143"/>
                  </a:lnTo>
                  <a:lnTo>
                    <a:pt x="4373" y="2143"/>
                  </a:lnTo>
                  <a:lnTo>
                    <a:pt x="4382" y="2144"/>
                  </a:lnTo>
                  <a:lnTo>
                    <a:pt x="4387" y="2149"/>
                  </a:lnTo>
                  <a:lnTo>
                    <a:pt x="4391" y="2156"/>
                  </a:lnTo>
                  <a:lnTo>
                    <a:pt x="4392" y="2163"/>
                  </a:lnTo>
                  <a:lnTo>
                    <a:pt x="4391" y="2170"/>
                  </a:lnTo>
                  <a:lnTo>
                    <a:pt x="4387" y="2176"/>
                  </a:lnTo>
                  <a:lnTo>
                    <a:pt x="4382" y="2181"/>
                  </a:lnTo>
                  <a:lnTo>
                    <a:pt x="4373" y="2182"/>
                  </a:lnTo>
                  <a:lnTo>
                    <a:pt x="4001" y="2182"/>
                  </a:lnTo>
                  <a:lnTo>
                    <a:pt x="4001" y="3195"/>
                  </a:lnTo>
                  <a:lnTo>
                    <a:pt x="3999" y="3204"/>
                  </a:lnTo>
                  <a:lnTo>
                    <a:pt x="3994" y="3211"/>
                  </a:lnTo>
                  <a:lnTo>
                    <a:pt x="3988" y="3214"/>
                  </a:lnTo>
                  <a:lnTo>
                    <a:pt x="3980" y="3216"/>
                  </a:lnTo>
                  <a:lnTo>
                    <a:pt x="3974" y="3214"/>
                  </a:lnTo>
                  <a:lnTo>
                    <a:pt x="3967" y="3211"/>
                  </a:lnTo>
                  <a:lnTo>
                    <a:pt x="3962" y="3204"/>
                  </a:lnTo>
                  <a:lnTo>
                    <a:pt x="3961" y="3195"/>
                  </a:lnTo>
                  <a:lnTo>
                    <a:pt x="3961" y="2679"/>
                  </a:lnTo>
                  <a:lnTo>
                    <a:pt x="3961" y="2163"/>
                  </a:lnTo>
                  <a:lnTo>
                    <a:pt x="3962" y="2156"/>
                  </a:lnTo>
                  <a:lnTo>
                    <a:pt x="3966" y="2149"/>
                  </a:lnTo>
                  <a:lnTo>
                    <a:pt x="3973" y="2144"/>
                  </a:lnTo>
                  <a:lnTo>
                    <a:pt x="3980" y="2143"/>
                  </a:lnTo>
                  <a:lnTo>
                    <a:pt x="4079" y="2143"/>
                  </a:lnTo>
                  <a:lnTo>
                    <a:pt x="4079" y="1970"/>
                  </a:lnTo>
                  <a:lnTo>
                    <a:pt x="4080" y="1963"/>
                  </a:lnTo>
                  <a:lnTo>
                    <a:pt x="4085" y="1956"/>
                  </a:lnTo>
                  <a:lnTo>
                    <a:pt x="4092" y="1951"/>
                  </a:lnTo>
                  <a:lnTo>
                    <a:pt x="4099" y="1950"/>
                  </a:lnTo>
                  <a:lnTo>
                    <a:pt x="5069" y="1950"/>
                  </a:lnTo>
                  <a:lnTo>
                    <a:pt x="5069" y="1819"/>
                  </a:lnTo>
                  <a:lnTo>
                    <a:pt x="5070" y="1812"/>
                  </a:lnTo>
                  <a:lnTo>
                    <a:pt x="5075" y="1805"/>
                  </a:lnTo>
                  <a:lnTo>
                    <a:pt x="5082" y="1801"/>
                  </a:lnTo>
                  <a:lnTo>
                    <a:pt x="5089" y="1799"/>
                  </a:lnTo>
                  <a:lnTo>
                    <a:pt x="5555" y="1799"/>
                  </a:lnTo>
                  <a:lnTo>
                    <a:pt x="5563" y="1801"/>
                  </a:lnTo>
                  <a:lnTo>
                    <a:pt x="5569" y="1805"/>
                  </a:lnTo>
                  <a:lnTo>
                    <a:pt x="5573" y="1812"/>
                  </a:lnTo>
                  <a:lnTo>
                    <a:pt x="5575" y="1819"/>
                  </a:lnTo>
                  <a:lnTo>
                    <a:pt x="5575" y="1950"/>
                  </a:lnTo>
                  <a:lnTo>
                    <a:pt x="5636" y="1950"/>
                  </a:lnTo>
                  <a:lnTo>
                    <a:pt x="5643" y="1951"/>
                  </a:lnTo>
                  <a:lnTo>
                    <a:pt x="5650" y="1956"/>
                  </a:lnTo>
                  <a:lnTo>
                    <a:pt x="5654" y="1963"/>
                  </a:lnTo>
                  <a:lnTo>
                    <a:pt x="5656" y="1970"/>
                  </a:lnTo>
                  <a:lnTo>
                    <a:pt x="5656" y="2143"/>
                  </a:lnTo>
                  <a:lnTo>
                    <a:pt x="5773" y="2143"/>
                  </a:lnTo>
                  <a:lnTo>
                    <a:pt x="5781" y="2144"/>
                  </a:lnTo>
                  <a:lnTo>
                    <a:pt x="5787" y="2149"/>
                  </a:lnTo>
                  <a:lnTo>
                    <a:pt x="5792" y="2156"/>
                  </a:lnTo>
                  <a:lnTo>
                    <a:pt x="5793" y="2163"/>
                  </a:lnTo>
                  <a:lnTo>
                    <a:pt x="5793" y="2705"/>
                  </a:lnTo>
                  <a:lnTo>
                    <a:pt x="5793" y="3249"/>
                  </a:lnTo>
                  <a:lnTo>
                    <a:pt x="5793" y="3792"/>
                  </a:lnTo>
                  <a:lnTo>
                    <a:pt x="5793" y="4336"/>
                  </a:lnTo>
                  <a:lnTo>
                    <a:pt x="5792" y="4343"/>
                  </a:lnTo>
                  <a:lnTo>
                    <a:pt x="5787" y="4350"/>
                  </a:lnTo>
                  <a:lnTo>
                    <a:pt x="5781" y="4355"/>
                  </a:lnTo>
                  <a:lnTo>
                    <a:pt x="5773" y="4356"/>
                  </a:lnTo>
                  <a:lnTo>
                    <a:pt x="5195" y="4356"/>
                  </a:lnTo>
                  <a:lnTo>
                    <a:pt x="4560" y="4356"/>
                  </a:lnTo>
                  <a:lnTo>
                    <a:pt x="3980" y="4356"/>
                  </a:lnTo>
                  <a:lnTo>
                    <a:pt x="3973" y="4355"/>
                  </a:lnTo>
                  <a:lnTo>
                    <a:pt x="3966" y="4350"/>
                  </a:lnTo>
                  <a:lnTo>
                    <a:pt x="3962" y="4343"/>
                  </a:lnTo>
                  <a:lnTo>
                    <a:pt x="3961" y="4336"/>
                  </a:lnTo>
                  <a:lnTo>
                    <a:pt x="3961" y="4037"/>
                  </a:lnTo>
                  <a:lnTo>
                    <a:pt x="3962" y="4028"/>
                  </a:lnTo>
                  <a:lnTo>
                    <a:pt x="3967" y="4021"/>
                  </a:lnTo>
                  <a:lnTo>
                    <a:pt x="3974" y="4017"/>
                  </a:lnTo>
                  <a:lnTo>
                    <a:pt x="3980" y="4016"/>
                  </a:lnTo>
                  <a:lnTo>
                    <a:pt x="3988" y="4017"/>
                  </a:lnTo>
                  <a:lnTo>
                    <a:pt x="3994" y="4021"/>
                  </a:lnTo>
                  <a:lnTo>
                    <a:pt x="3999" y="4028"/>
                  </a:lnTo>
                  <a:lnTo>
                    <a:pt x="4001" y="4037"/>
                  </a:lnTo>
                  <a:lnTo>
                    <a:pt x="4001" y="4317"/>
                  </a:lnTo>
                  <a:lnTo>
                    <a:pt x="4539" y="4317"/>
                  </a:lnTo>
                  <a:lnTo>
                    <a:pt x="4539" y="3829"/>
                  </a:lnTo>
                  <a:lnTo>
                    <a:pt x="4446" y="3829"/>
                  </a:lnTo>
                  <a:lnTo>
                    <a:pt x="4437" y="3828"/>
                  </a:lnTo>
                  <a:lnTo>
                    <a:pt x="4430" y="3823"/>
                  </a:lnTo>
                  <a:lnTo>
                    <a:pt x="4426" y="3817"/>
                  </a:lnTo>
                  <a:lnTo>
                    <a:pt x="4425" y="3809"/>
                  </a:lnTo>
                  <a:lnTo>
                    <a:pt x="4426" y="3803"/>
                  </a:lnTo>
                  <a:lnTo>
                    <a:pt x="4430" y="3796"/>
                  </a:lnTo>
                  <a:lnTo>
                    <a:pt x="4437" y="3791"/>
                  </a:lnTo>
                  <a:lnTo>
                    <a:pt x="4446" y="3790"/>
                  </a:lnTo>
                  <a:close/>
                  <a:moveTo>
                    <a:pt x="4897" y="3950"/>
                  </a:moveTo>
                  <a:lnTo>
                    <a:pt x="4897" y="4317"/>
                  </a:lnTo>
                  <a:lnTo>
                    <a:pt x="5175" y="4317"/>
                  </a:lnTo>
                  <a:lnTo>
                    <a:pt x="5175" y="3829"/>
                  </a:lnTo>
                  <a:lnTo>
                    <a:pt x="4579" y="3829"/>
                  </a:lnTo>
                  <a:lnTo>
                    <a:pt x="4579" y="4317"/>
                  </a:lnTo>
                  <a:lnTo>
                    <a:pt x="4857" y="4317"/>
                  </a:lnTo>
                  <a:lnTo>
                    <a:pt x="4857" y="3950"/>
                  </a:lnTo>
                  <a:lnTo>
                    <a:pt x="4859" y="3941"/>
                  </a:lnTo>
                  <a:lnTo>
                    <a:pt x="4864" y="3934"/>
                  </a:lnTo>
                  <a:lnTo>
                    <a:pt x="4870" y="3930"/>
                  </a:lnTo>
                  <a:lnTo>
                    <a:pt x="4877" y="3929"/>
                  </a:lnTo>
                  <a:lnTo>
                    <a:pt x="4884" y="3930"/>
                  </a:lnTo>
                  <a:lnTo>
                    <a:pt x="4891" y="3934"/>
                  </a:lnTo>
                  <a:lnTo>
                    <a:pt x="4896" y="3941"/>
                  </a:lnTo>
                  <a:lnTo>
                    <a:pt x="4897" y="3950"/>
                  </a:lnTo>
                  <a:close/>
                  <a:moveTo>
                    <a:pt x="8349" y="481"/>
                  </a:moveTo>
                  <a:lnTo>
                    <a:pt x="8337" y="483"/>
                  </a:lnTo>
                  <a:lnTo>
                    <a:pt x="8328" y="482"/>
                  </a:lnTo>
                  <a:lnTo>
                    <a:pt x="8321" y="475"/>
                  </a:lnTo>
                  <a:lnTo>
                    <a:pt x="8318" y="464"/>
                  </a:lnTo>
                  <a:lnTo>
                    <a:pt x="8316" y="446"/>
                  </a:lnTo>
                  <a:lnTo>
                    <a:pt x="8312" y="428"/>
                  </a:lnTo>
                  <a:lnTo>
                    <a:pt x="8299" y="394"/>
                  </a:lnTo>
                  <a:lnTo>
                    <a:pt x="8280" y="364"/>
                  </a:lnTo>
                  <a:lnTo>
                    <a:pt x="8255" y="337"/>
                  </a:lnTo>
                  <a:lnTo>
                    <a:pt x="8226" y="316"/>
                  </a:lnTo>
                  <a:lnTo>
                    <a:pt x="8192" y="299"/>
                  </a:lnTo>
                  <a:lnTo>
                    <a:pt x="8175" y="293"/>
                  </a:lnTo>
                  <a:lnTo>
                    <a:pt x="8157" y="289"/>
                  </a:lnTo>
                  <a:lnTo>
                    <a:pt x="8137" y="286"/>
                  </a:lnTo>
                  <a:lnTo>
                    <a:pt x="8119" y="285"/>
                  </a:lnTo>
                  <a:lnTo>
                    <a:pt x="8080" y="289"/>
                  </a:lnTo>
                  <a:lnTo>
                    <a:pt x="8060" y="294"/>
                  </a:lnTo>
                  <a:lnTo>
                    <a:pt x="8042" y="300"/>
                  </a:lnTo>
                  <a:lnTo>
                    <a:pt x="8008" y="318"/>
                  </a:lnTo>
                  <a:lnTo>
                    <a:pt x="7978" y="341"/>
                  </a:lnTo>
                  <a:lnTo>
                    <a:pt x="7966" y="355"/>
                  </a:lnTo>
                  <a:lnTo>
                    <a:pt x="7954" y="369"/>
                  </a:lnTo>
                  <a:lnTo>
                    <a:pt x="7935" y="403"/>
                  </a:lnTo>
                  <a:lnTo>
                    <a:pt x="7928" y="420"/>
                  </a:lnTo>
                  <a:lnTo>
                    <a:pt x="7923" y="438"/>
                  </a:lnTo>
                  <a:lnTo>
                    <a:pt x="7919" y="477"/>
                  </a:lnTo>
                  <a:lnTo>
                    <a:pt x="7867" y="477"/>
                  </a:lnTo>
                  <a:lnTo>
                    <a:pt x="7836" y="474"/>
                  </a:lnTo>
                  <a:lnTo>
                    <a:pt x="7815" y="477"/>
                  </a:lnTo>
                  <a:lnTo>
                    <a:pt x="7798" y="482"/>
                  </a:lnTo>
                  <a:lnTo>
                    <a:pt x="7780" y="492"/>
                  </a:lnTo>
                  <a:lnTo>
                    <a:pt x="7765" y="504"/>
                  </a:lnTo>
                  <a:lnTo>
                    <a:pt x="7754" y="519"/>
                  </a:lnTo>
                  <a:lnTo>
                    <a:pt x="7745" y="537"/>
                  </a:lnTo>
                  <a:lnTo>
                    <a:pt x="7740" y="556"/>
                  </a:lnTo>
                  <a:lnTo>
                    <a:pt x="7737" y="576"/>
                  </a:lnTo>
                  <a:lnTo>
                    <a:pt x="7740" y="598"/>
                  </a:lnTo>
                  <a:lnTo>
                    <a:pt x="8505" y="599"/>
                  </a:lnTo>
                  <a:lnTo>
                    <a:pt x="8508" y="574"/>
                  </a:lnTo>
                  <a:lnTo>
                    <a:pt x="8505" y="552"/>
                  </a:lnTo>
                  <a:lnTo>
                    <a:pt x="8499" y="532"/>
                  </a:lnTo>
                  <a:lnTo>
                    <a:pt x="8490" y="514"/>
                  </a:lnTo>
                  <a:lnTo>
                    <a:pt x="8477" y="497"/>
                  </a:lnTo>
                  <a:lnTo>
                    <a:pt x="8460" y="484"/>
                  </a:lnTo>
                  <a:lnTo>
                    <a:pt x="8443" y="474"/>
                  </a:lnTo>
                  <a:lnTo>
                    <a:pt x="8423" y="468"/>
                  </a:lnTo>
                  <a:lnTo>
                    <a:pt x="8401" y="465"/>
                  </a:lnTo>
                  <a:lnTo>
                    <a:pt x="8373" y="469"/>
                  </a:lnTo>
                  <a:lnTo>
                    <a:pt x="8349" y="481"/>
                  </a:lnTo>
                  <a:close/>
                  <a:moveTo>
                    <a:pt x="7880" y="455"/>
                  </a:moveTo>
                  <a:lnTo>
                    <a:pt x="7883" y="433"/>
                  </a:lnTo>
                  <a:lnTo>
                    <a:pt x="7889" y="411"/>
                  </a:lnTo>
                  <a:lnTo>
                    <a:pt x="7896" y="391"/>
                  </a:lnTo>
                  <a:lnTo>
                    <a:pt x="7905" y="372"/>
                  </a:lnTo>
                  <a:lnTo>
                    <a:pt x="7917" y="354"/>
                  </a:lnTo>
                  <a:lnTo>
                    <a:pt x="7930" y="336"/>
                  </a:lnTo>
                  <a:lnTo>
                    <a:pt x="7944" y="321"/>
                  </a:lnTo>
                  <a:lnTo>
                    <a:pt x="7959" y="305"/>
                  </a:lnTo>
                  <a:lnTo>
                    <a:pt x="7994" y="280"/>
                  </a:lnTo>
                  <a:lnTo>
                    <a:pt x="8032" y="261"/>
                  </a:lnTo>
                  <a:lnTo>
                    <a:pt x="8075" y="249"/>
                  </a:lnTo>
                  <a:lnTo>
                    <a:pt x="8119" y="245"/>
                  </a:lnTo>
                  <a:lnTo>
                    <a:pt x="8160" y="249"/>
                  </a:lnTo>
                  <a:lnTo>
                    <a:pt x="8200" y="259"/>
                  </a:lnTo>
                  <a:lnTo>
                    <a:pt x="8237" y="276"/>
                  </a:lnTo>
                  <a:lnTo>
                    <a:pt x="8254" y="286"/>
                  </a:lnTo>
                  <a:lnTo>
                    <a:pt x="8271" y="299"/>
                  </a:lnTo>
                  <a:lnTo>
                    <a:pt x="8300" y="326"/>
                  </a:lnTo>
                  <a:lnTo>
                    <a:pt x="8325" y="358"/>
                  </a:lnTo>
                  <a:lnTo>
                    <a:pt x="8335" y="376"/>
                  </a:lnTo>
                  <a:lnTo>
                    <a:pt x="8343" y="395"/>
                  </a:lnTo>
                  <a:lnTo>
                    <a:pt x="8350" y="414"/>
                  </a:lnTo>
                  <a:lnTo>
                    <a:pt x="8354" y="433"/>
                  </a:lnTo>
                  <a:lnTo>
                    <a:pt x="8377" y="428"/>
                  </a:lnTo>
                  <a:lnTo>
                    <a:pt x="8401" y="426"/>
                  </a:lnTo>
                  <a:lnTo>
                    <a:pt x="8431" y="428"/>
                  </a:lnTo>
                  <a:lnTo>
                    <a:pt x="8459" y="437"/>
                  </a:lnTo>
                  <a:lnTo>
                    <a:pt x="8484" y="451"/>
                  </a:lnTo>
                  <a:lnTo>
                    <a:pt x="8505" y="470"/>
                  </a:lnTo>
                  <a:lnTo>
                    <a:pt x="8523" y="492"/>
                  </a:lnTo>
                  <a:lnTo>
                    <a:pt x="8531" y="505"/>
                  </a:lnTo>
                  <a:lnTo>
                    <a:pt x="8536" y="518"/>
                  </a:lnTo>
                  <a:lnTo>
                    <a:pt x="8545" y="544"/>
                  </a:lnTo>
                  <a:lnTo>
                    <a:pt x="8548" y="560"/>
                  </a:lnTo>
                  <a:lnTo>
                    <a:pt x="8548" y="574"/>
                  </a:lnTo>
                  <a:lnTo>
                    <a:pt x="8548" y="592"/>
                  </a:lnTo>
                  <a:lnTo>
                    <a:pt x="8544" y="613"/>
                  </a:lnTo>
                  <a:lnTo>
                    <a:pt x="8540" y="624"/>
                  </a:lnTo>
                  <a:lnTo>
                    <a:pt x="8535" y="631"/>
                  </a:lnTo>
                  <a:lnTo>
                    <a:pt x="8528" y="638"/>
                  </a:lnTo>
                  <a:lnTo>
                    <a:pt x="8521" y="640"/>
                  </a:lnTo>
                  <a:lnTo>
                    <a:pt x="7724" y="638"/>
                  </a:lnTo>
                  <a:lnTo>
                    <a:pt x="7717" y="637"/>
                  </a:lnTo>
                  <a:lnTo>
                    <a:pt x="7710" y="631"/>
                  </a:lnTo>
                  <a:lnTo>
                    <a:pt x="7705" y="622"/>
                  </a:lnTo>
                  <a:lnTo>
                    <a:pt x="7701" y="613"/>
                  </a:lnTo>
                  <a:lnTo>
                    <a:pt x="7699" y="593"/>
                  </a:lnTo>
                  <a:lnTo>
                    <a:pt x="7698" y="576"/>
                  </a:lnTo>
                  <a:lnTo>
                    <a:pt x="7700" y="548"/>
                  </a:lnTo>
                  <a:lnTo>
                    <a:pt x="7708" y="521"/>
                  </a:lnTo>
                  <a:lnTo>
                    <a:pt x="7721" y="497"/>
                  </a:lnTo>
                  <a:lnTo>
                    <a:pt x="7737" y="477"/>
                  </a:lnTo>
                  <a:lnTo>
                    <a:pt x="7757" y="459"/>
                  </a:lnTo>
                  <a:lnTo>
                    <a:pt x="7781" y="446"/>
                  </a:lnTo>
                  <a:lnTo>
                    <a:pt x="7807" y="437"/>
                  </a:lnTo>
                  <a:lnTo>
                    <a:pt x="7836" y="434"/>
                  </a:lnTo>
                  <a:lnTo>
                    <a:pt x="7851" y="436"/>
                  </a:lnTo>
                  <a:lnTo>
                    <a:pt x="7864" y="440"/>
                  </a:lnTo>
                  <a:lnTo>
                    <a:pt x="7874" y="445"/>
                  </a:lnTo>
                  <a:lnTo>
                    <a:pt x="7880" y="455"/>
                  </a:lnTo>
                  <a:close/>
                  <a:moveTo>
                    <a:pt x="4157" y="902"/>
                  </a:moveTo>
                  <a:lnTo>
                    <a:pt x="4683" y="902"/>
                  </a:lnTo>
                  <a:lnTo>
                    <a:pt x="5210" y="902"/>
                  </a:lnTo>
                  <a:lnTo>
                    <a:pt x="5210" y="892"/>
                  </a:lnTo>
                  <a:lnTo>
                    <a:pt x="5207" y="865"/>
                  </a:lnTo>
                  <a:lnTo>
                    <a:pt x="5203" y="854"/>
                  </a:lnTo>
                  <a:lnTo>
                    <a:pt x="5200" y="841"/>
                  </a:lnTo>
                  <a:lnTo>
                    <a:pt x="5187" y="819"/>
                  </a:lnTo>
                  <a:lnTo>
                    <a:pt x="5179" y="809"/>
                  </a:lnTo>
                  <a:lnTo>
                    <a:pt x="5171" y="799"/>
                  </a:lnTo>
                  <a:lnTo>
                    <a:pt x="5151" y="784"/>
                  </a:lnTo>
                  <a:lnTo>
                    <a:pt x="5141" y="777"/>
                  </a:lnTo>
                  <a:lnTo>
                    <a:pt x="5129" y="771"/>
                  </a:lnTo>
                  <a:lnTo>
                    <a:pt x="5103" y="763"/>
                  </a:lnTo>
                  <a:lnTo>
                    <a:pt x="5077" y="761"/>
                  </a:lnTo>
                  <a:lnTo>
                    <a:pt x="5052" y="763"/>
                  </a:lnTo>
                  <a:lnTo>
                    <a:pt x="5042" y="767"/>
                  </a:lnTo>
                  <a:lnTo>
                    <a:pt x="5030" y="771"/>
                  </a:lnTo>
                  <a:lnTo>
                    <a:pt x="4996" y="791"/>
                  </a:lnTo>
                  <a:lnTo>
                    <a:pt x="4982" y="799"/>
                  </a:lnTo>
                  <a:lnTo>
                    <a:pt x="4970" y="801"/>
                  </a:lnTo>
                  <a:lnTo>
                    <a:pt x="4961" y="799"/>
                  </a:lnTo>
                  <a:lnTo>
                    <a:pt x="4955" y="786"/>
                  </a:lnTo>
                  <a:lnTo>
                    <a:pt x="4944" y="758"/>
                  </a:lnTo>
                  <a:lnTo>
                    <a:pt x="4938" y="745"/>
                  </a:lnTo>
                  <a:lnTo>
                    <a:pt x="4929" y="732"/>
                  </a:lnTo>
                  <a:lnTo>
                    <a:pt x="4911" y="711"/>
                  </a:lnTo>
                  <a:lnTo>
                    <a:pt x="4900" y="700"/>
                  </a:lnTo>
                  <a:lnTo>
                    <a:pt x="4888" y="690"/>
                  </a:lnTo>
                  <a:lnTo>
                    <a:pt x="4864" y="675"/>
                  </a:lnTo>
                  <a:lnTo>
                    <a:pt x="4837" y="662"/>
                  </a:lnTo>
                  <a:lnTo>
                    <a:pt x="4821" y="658"/>
                  </a:lnTo>
                  <a:lnTo>
                    <a:pt x="4807" y="656"/>
                  </a:lnTo>
                  <a:lnTo>
                    <a:pt x="4775" y="653"/>
                  </a:lnTo>
                  <a:lnTo>
                    <a:pt x="4751" y="656"/>
                  </a:lnTo>
                  <a:lnTo>
                    <a:pt x="4725" y="661"/>
                  </a:lnTo>
                  <a:lnTo>
                    <a:pt x="4702" y="665"/>
                  </a:lnTo>
                  <a:lnTo>
                    <a:pt x="4694" y="663"/>
                  </a:lnTo>
                  <a:lnTo>
                    <a:pt x="4688" y="660"/>
                  </a:lnTo>
                  <a:lnTo>
                    <a:pt x="4671" y="643"/>
                  </a:lnTo>
                  <a:lnTo>
                    <a:pt x="4653" y="628"/>
                  </a:lnTo>
                  <a:lnTo>
                    <a:pt x="4634" y="615"/>
                  </a:lnTo>
                  <a:lnTo>
                    <a:pt x="4614" y="605"/>
                  </a:lnTo>
                  <a:lnTo>
                    <a:pt x="4592" y="596"/>
                  </a:lnTo>
                  <a:lnTo>
                    <a:pt x="4570" y="589"/>
                  </a:lnTo>
                  <a:lnTo>
                    <a:pt x="4546" y="585"/>
                  </a:lnTo>
                  <a:lnTo>
                    <a:pt x="4521" y="584"/>
                  </a:lnTo>
                  <a:lnTo>
                    <a:pt x="4480" y="587"/>
                  </a:lnTo>
                  <a:lnTo>
                    <a:pt x="4462" y="590"/>
                  </a:lnTo>
                  <a:lnTo>
                    <a:pt x="4446" y="594"/>
                  </a:lnTo>
                  <a:lnTo>
                    <a:pt x="4416" y="607"/>
                  </a:lnTo>
                  <a:lnTo>
                    <a:pt x="4393" y="622"/>
                  </a:lnTo>
                  <a:lnTo>
                    <a:pt x="4373" y="640"/>
                  </a:lnTo>
                  <a:lnTo>
                    <a:pt x="4356" y="661"/>
                  </a:lnTo>
                  <a:lnTo>
                    <a:pt x="4343" y="683"/>
                  </a:lnTo>
                  <a:lnTo>
                    <a:pt x="4333" y="704"/>
                  </a:lnTo>
                  <a:lnTo>
                    <a:pt x="4317" y="749"/>
                  </a:lnTo>
                  <a:lnTo>
                    <a:pt x="4306" y="786"/>
                  </a:lnTo>
                  <a:lnTo>
                    <a:pt x="4293" y="812"/>
                  </a:lnTo>
                  <a:lnTo>
                    <a:pt x="4287" y="818"/>
                  </a:lnTo>
                  <a:lnTo>
                    <a:pt x="4276" y="819"/>
                  </a:lnTo>
                  <a:lnTo>
                    <a:pt x="4261" y="818"/>
                  </a:lnTo>
                  <a:lnTo>
                    <a:pt x="4242" y="819"/>
                  </a:lnTo>
                  <a:lnTo>
                    <a:pt x="4224" y="824"/>
                  </a:lnTo>
                  <a:lnTo>
                    <a:pt x="4207" y="832"/>
                  </a:lnTo>
                  <a:lnTo>
                    <a:pt x="4193" y="842"/>
                  </a:lnTo>
                  <a:lnTo>
                    <a:pt x="4180" y="854"/>
                  </a:lnTo>
                  <a:lnTo>
                    <a:pt x="4170" y="868"/>
                  </a:lnTo>
                  <a:lnTo>
                    <a:pt x="4162" y="885"/>
                  </a:lnTo>
                  <a:lnTo>
                    <a:pt x="4157" y="902"/>
                  </a:lnTo>
                  <a:close/>
                  <a:moveTo>
                    <a:pt x="5248" y="923"/>
                  </a:moveTo>
                  <a:lnTo>
                    <a:pt x="5243" y="933"/>
                  </a:lnTo>
                  <a:lnTo>
                    <a:pt x="5238" y="938"/>
                  </a:lnTo>
                  <a:lnTo>
                    <a:pt x="5227" y="942"/>
                  </a:lnTo>
                  <a:lnTo>
                    <a:pt x="4680" y="942"/>
                  </a:lnTo>
                  <a:lnTo>
                    <a:pt x="4135" y="942"/>
                  </a:lnTo>
                  <a:lnTo>
                    <a:pt x="4129" y="940"/>
                  </a:lnTo>
                  <a:lnTo>
                    <a:pt x="4123" y="936"/>
                  </a:lnTo>
                  <a:lnTo>
                    <a:pt x="4117" y="928"/>
                  </a:lnTo>
                  <a:lnTo>
                    <a:pt x="4116" y="920"/>
                  </a:lnTo>
                  <a:lnTo>
                    <a:pt x="4119" y="891"/>
                  </a:lnTo>
                  <a:lnTo>
                    <a:pt x="4128" y="864"/>
                  </a:lnTo>
                  <a:lnTo>
                    <a:pt x="4140" y="840"/>
                  </a:lnTo>
                  <a:lnTo>
                    <a:pt x="4158" y="819"/>
                  </a:lnTo>
                  <a:lnTo>
                    <a:pt x="4180" y="801"/>
                  </a:lnTo>
                  <a:lnTo>
                    <a:pt x="4205" y="789"/>
                  </a:lnTo>
                  <a:lnTo>
                    <a:pt x="4232" y="781"/>
                  </a:lnTo>
                  <a:lnTo>
                    <a:pt x="4261" y="777"/>
                  </a:lnTo>
                  <a:lnTo>
                    <a:pt x="4265" y="753"/>
                  </a:lnTo>
                  <a:lnTo>
                    <a:pt x="4270" y="730"/>
                  </a:lnTo>
                  <a:lnTo>
                    <a:pt x="4279" y="707"/>
                  </a:lnTo>
                  <a:lnTo>
                    <a:pt x="4288" y="686"/>
                  </a:lnTo>
                  <a:lnTo>
                    <a:pt x="4301" y="666"/>
                  </a:lnTo>
                  <a:lnTo>
                    <a:pt x="4314" y="647"/>
                  </a:lnTo>
                  <a:lnTo>
                    <a:pt x="4329" y="629"/>
                  </a:lnTo>
                  <a:lnTo>
                    <a:pt x="4346" y="612"/>
                  </a:lnTo>
                  <a:lnTo>
                    <a:pt x="4364" y="597"/>
                  </a:lnTo>
                  <a:lnTo>
                    <a:pt x="4383" y="584"/>
                  </a:lnTo>
                  <a:lnTo>
                    <a:pt x="4425" y="562"/>
                  </a:lnTo>
                  <a:lnTo>
                    <a:pt x="4448" y="555"/>
                  </a:lnTo>
                  <a:lnTo>
                    <a:pt x="4471" y="550"/>
                  </a:lnTo>
                  <a:lnTo>
                    <a:pt x="4496" y="546"/>
                  </a:lnTo>
                  <a:lnTo>
                    <a:pt x="4521" y="544"/>
                  </a:lnTo>
                  <a:lnTo>
                    <a:pt x="4548" y="546"/>
                  </a:lnTo>
                  <a:lnTo>
                    <a:pt x="4575" y="550"/>
                  </a:lnTo>
                  <a:lnTo>
                    <a:pt x="4625" y="565"/>
                  </a:lnTo>
                  <a:lnTo>
                    <a:pt x="4648" y="576"/>
                  </a:lnTo>
                  <a:lnTo>
                    <a:pt x="4670" y="590"/>
                  </a:lnTo>
                  <a:lnTo>
                    <a:pt x="4689" y="606"/>
                  </a:lnTo>
                  <a:lnTo>
                    <a:pt x="4709" y="622"/>
                  </a:lnTo>
                  <a:lnTo>
                    <a:pt x="4741" y="615"/>
                  </a:lnTo>
                  <a:lnTo>
                    <a:pt x="4775" y="612"/>
                  </a:lnTo>
                  <a:lnTo>
                    <a:pt x="4810" y="615"/>
                  </a:lnTo>
                  <a:lnTo>
                    <a:pt x="4827" y="619"/>
                  </a:lnTo>
                  <a:lnTo>
                    <a:pt x="4842" y="622"/>
                  </a:lnTo>
                  <a:lnTo>
                    <a:pt x="4873" y="635"/>
                  </a:lnTo>
                  <a:lnTo>
                    <a:pt x="4901" y="651"/>
                  </a:lnTo>
                  <a:lnTo>
                    <a:pt x="4927" y="671"/>
                  </a:lnTo>
                  <a:lnTo>
                    <a:pt x="4950" y="694"/>
                  </a:lnTo>
                  <a:lnTo>
                    <a:pt x="4969" y="720"/>
                  </a:lnTo>
                  <a:lnTo>
                    <a:pt x="4984" y="749"/>
                  </a:lnTo>
                  <a:lnTo>
                    <a:pt x="5005" y="738"/>
                  </a:lnTo>
                  <a:lnTo>
                    <a:pt x="5028" y="729"/>
                  </a:lnTo>
                  <a:lnTo>
                    <a:pt x="5052" y="722"/>
                  </a:lnTo>
                  <a:lnTo>
                    <a:pt x="5077" y="721"/>
                  </a:lnTo>
                  <a:lnTo>
                    <a:pt x="5112" y="725"/>
                  </a:lnTo>
                  <a:lnTo>
                    <a:pt x="5128" y="729"/>
                  </a:lnTo>
                  <a:lnTo>
                    <a:pt x="5145" y="734"/>
                  </a:lnTo>
                  <a:lnTo>
                    <a:pt x="5174" y="750"/>
                  </a:lnTo>
                  <a:lnTo>
                    <a:pt x="5200" y="771"/>
                  </a:lnTo>
                  <a:lnTo>
                    <a:pt x="5210" y="784"/>
                  </a:lnTo>
                  <a:lnTo>
                    <a:pt x="5220" y="796"/>
                  </a:lnTo>
                  <a:lnTo>
                    <a:pt x="5229" y="810"/>
                  </a:lnTo>
                  <a:lnTo>
                    <a:pt x="5237" y="826"/>
                  </a:lnTo>
                  <a:lnTo>
                    <a:pt x="5247" y="858"/>
                  </a:lnTo>
                  <a:lnTo>
                    <a:pt x="5250" y="892"/>
                  </a:lnTo>
                  <a:lnTo>
                    <a:pt x="5250" y="908"/>
                  </a:lnTo>
                  <a:lnTo>
                    <a:pt x="5248" y="923"/>
                  </a:lnTo>
                  <a:close/>
                  <a:moveTo>
                    <a:pt x="4239" y="2494"/>
                  </a:moveTo>
                  <a:lnTo>
                    <a:pt x="4239" y="2607"/>
                  </a:lnTo>
                  <a:lnTo>
                    <a:pt x="4238" y="2616"/>
                  </a:lnTo>
                  <a:lnTo>
                    <a:pt x="4233" y="2622"/>
                  </a:lnTo>
                  <a:lnTo>
                    <a:pt x="4226" y="2626"/>
                  </a:lnTo>
                  <a:lnTo>
                    <a:pt x="4219" y="2627"/>
                  </a:lnTo>
                  <a:lnTo>
                    <a:pt x="4212" y="2626"/>
                  </a:lnTo>
                  <a:lnTo>
                    <a:pt x="4206" y="2622"/>
                  </a:lnTo>
                  <a:lnTo>
                    <a:pt x="4201" y="2616"/>
                  </a:lnTo>
                  <a:lnTo>
                    <a:pt x="4199" y="2607"/>
                  </a:lnTo>
                  <a:lnTo>
                    <a:pt x="4199" y="2494"/>
                  </a:lnTo>
                  <a:lnTo>
                    <a:pt x="4201" y="2487"/>
                  </a:lnTo>
                  <a:lnTo>
                    <a:pt x="4206" y="2480"/>
                  </a:lnTo>
                  <a:lnTo>
                    <a:pt x="4212" y="2477"/>
                  </a:lnTo>
                  <a:lnTo>
                    <a:pt x="4219" y="2475"/>
                  </a:lnTo>
                  <a:lnTo>
                    <a:pt x="4226" y="2477"/>
                  </a:lnTo>
                  <a:lnTo>
                    <a:pt x="4233" y="2480"/>
                  </a:lnTo>
                  <a:lnTo>
                    <a:pt x="4238" y="2487"/>
                  </a:lnTo>
                  <a:lnTo>
                    <a:pt x="4239" y="2494"/>
                  </a:lnTo>
                  <a:close/>
                  <a:moveTo>
                    <a:pt x="4502" y="2494"/>
                  </a:moveTo>
                  <a:lnTo>
                    <a:pt x="4502" y="2607"/>
                  </a:lnTo>
                  <a:lnTo>
                    <a:pt x="4501" y="2616"/>
                  </a:lnTo>
                  <a:lnTo>
                    <a:pt x="4496" y="2622"/>
                  </a:lnTo>
                  <a:lnTo>
                    <a:pt x="4489" y="2626"/>
                  </a:lnTo>
                  <a:lnTo>
                    <a:pt x="4483" y="2627"/>
                  </a:lnTo>
                  <a:lnTo>
                    <a:pt x="4475" y="2626"/>
                  </a:lnTo>
                  <a:lnTo>
                    <a:pt x="4469" y="2622"/>
                  </a:lnTo>
                  <a:lnTo>
                    <a:pt x="4464" y="2616"/>
                  </a:lnTo>
                  <a:lnTo>
                    <a:pt x="4462" y="2607"/>
                  </a:lnTo>
                  <a:lnTo>
                    <a:pt x="4462" y="2494"/>
                  </a:lnTo>
                  <a:lnTo>
                    <a:pt x="4464" y="2487"/>
                  </a:lnTo>
                  <a:lnTo>
                    <a:pt x="4469" y="2480"/>
                  </a:lnTo>
                  <a:lnTo>
                    <a:pt x="4475" y="2477"/>
                  </a:lnTo>
                  <a:lnTo>
                    <a:pt x="4483" y="2475"/>
                  </a:lnTo>
                  <a:lnTo>
                    <a:pt x="4489" y="2477"/>
                  </a:lnTo>
                  <a:lnTo>
                    <a:pt x="4496" y="2480"/>
                  </a:lnTo>
                  <a:lnTo>
                    <a:pt x="4501" y="2487"/>
                  </a:lnTo>
                  <a:lnTo>
                    <a:pt x="4502" y="2494"/>
                  </a:lnTo>
                  <a:close/>
                  <a:moveTo>
                    <a:pt x="4765" y="2494"/>
                  </a:moveTo>
                  <a:lnTo>
                    <a:pt x="4765" y="2607"/>
                  </a:lnTo>
                  <a:lnTo>
                    <a:pt x="4764" y="2616"/>
                  </a:lnTo>
                  <a:lnTo>
                    <a:pt x="4759" y="2622"/>
                  </a:lnTo>
                  <a:lnTo>
                    <a:pt x="4752" y="2626"/>
                  </a:lnTo>
                  <a:lnTo>
                    <a:pt x="4746" y="2627"/>
                  </a:lnTo>
                  <a:lnTo>
                    <a:pt x="4738" y="2626"/>
                  </a:lnTo>
                  <a:lnTo>
                    <a:pt x="4732" y="2622"/>
                  </a:lnTo>
                  <a:lnTo>
                    <a:pt x="4728" y="2616"/>
                  </a:lnTo>
                  <a:lnTo>
                    <a:pt x="4725" y="2607"/>
                  </a:lnTo>
                  <a:lnTo>
                    <a:pt x="4725" y="2494"/>
                  </a:lnTo>
                  <a:lnTo>
                    <a:pt x="4728" y="2487"/>
                  </a:lnTo>
                  <a:lnTo>
                    <a:pt x="4732" y="2480"/>
                  </a:lnTo>
                  <a:lnTo>
                    <a:pt x="4738" y="2477"/>
                  </a:lnTo>
                  <a:lnTo>
                    <a:pt x="4746" y="2475"/>
                  </a:lnTo>
                  <a:lnTo>
                    <a:pt x="4752" y="2477"/>
                  </a:lnTo>
                  <a:lnTo>
                    <a:pt x="4759" y="2480"/>
                  </a:lnTo>
                  <a:lnTo>
                    <a:pt x="4764" y="2487"/>
                  </a:lnTo>
                  <a:lnTo>
                    <a:pt x="4765" y="2494"/>
                  </a:lnTo>
                  <a:close/>
                  <a:moveTo>
                    <a:pt x="5029" y="2494"/>
                  </a:moveTo>
                  <a:lnTo>
                    <a:pt x="5029" y="2607"/>
                  </a:lnTo>
                  <a:lnTo>
                    <a:pt x="5027" y="2616"/>
                  </a:lnTo>
                  <a:lnTo>
                    <a:pt x="5023" y="2622"/>
                  </a:lnTo>
                  <a:lnTo>
                    <a:pt x="5016" y="2626"/>
                  </a:lnTo>
                  <a:lnTo>
                    <a:pt x="5009" y="2627"/>
                  </a:lnTo>
                  <a:lnTo>
                    <a:pt x="5001" y="2626"/>
                  </a:lnTo>
                  <a:lnTo>
                    <a:pt x="4994" y="2622"/>
                  </a:lnTo>
                  <a:lnTo>
                    <a:pt x="4991" y="2616"/>
                  </a:lnTo>
                  <a:lnTo>
                    <a:pt x="4988" y="2607"/>
                  </a:lnTo>
                  <a:lnTo>
                    <a:pt x="4988" y="2494"/>
                  </a:lnTo>
                  <a:lnTo>
                    <a:pt x="4991" y="2487"/>
                  </a:lnTo>
                  <a:lnTo>
                    <a:pt x="4994" y="2480"/>
                  </a:lnTo>
                  <a:lnTo>
                    <a:pt x="5001" y="2477"/>
                  </a:lnTo>
                  <a:lnTo>
                    <a:pt x="5009" y="2475"/>
                  </a:lnTo>
                  <a:lnTo>
                    <a:pt x="5016" y="2477"/>
                  </a:lnTo>
                  <a:lnTo>
                    <a:pt x="5023" y="2480"/>
                  </a:lnTo>
                  <a:lnTo>
                    <a:pt x="5027" y="2487"/>
                  </a:lnTo>
                  <a:lnTo>
                    <a:pt x="5029" y="2494"/>
                  </a:lnTo>
                  <a:close/>
                  <a:moveTo>
                    <a:pt x="5292" y="2494"/>
                  </a:moveTo>
                  <a:lnTo>
                    <a:pt x="5292" y="2607"/>
                  </a:lnTo>
                  <a:lnTo>
                    <a:pt x="5289" y="2616"/>
                  </a:lnTo>
                  <a:lnTo>
                    <a:pt x="5286" y="2622"/>
                  </a:lnTo>
                  <a:lnTo>
                    <a:pt x="5279" y="2626"/>
                  </a:lnTo>
                  <a:lnTo>
                    <a:pt x="5271" y="2627"/>
                  </a:lnTo>
                  <a:lnTo>
                    <a:pt x="5264" y="2626"/>
                  </a:lnTo>
                  <a:lnTo>
                    <a:pt x="5257" y="2622"/>
                  </a:lnTo>
                  <a:lnTo>
                    <a:pt x="5253" y="2616"/>
                  </a:lnTo>
                  <a:lnTo>
                    <a:pt x="5252" y="2607"/>
                  </a:lnTo>
                  <a:lnTo>
                    <a:pt x="5252" y="2494"/>
                  </a:lnTo>
                  <a:lnTo>
                    <a:pt x="5253" y="2487"/>
                  </a:lnTo>
                  <a:lnTo>
                    <a:pt x="5257" y="2480"/>
                  </a:lnTo>
                  <a:lnTo>
                    <a:pt x="5264" y="2477"/>
                  </a:lnTo>
                  <a:lnTo>
                    <a:pt x="5271" y="2475"/>
                  </a:lnTo>
                  <a:lnTo>
                    <a:pt x="5279" y="2477"/>
                  </a:lnTo>
                  <a:lnTo>
                    <a:pt x="5286" y="2480"/>
                  </a:lnTo>
                  <a:lnTo>
                    <a:pt x="5289" y="2487"/>
                  </a:lnTo>
                  <a:lnTo>
                    <a:pt x="5292" y="2494"/>
                  </a:lnTo>
                  <a:close/>
                  <a:moveTo>
                    <a:pt x="5555" y="2494"/>
                  </a:moveTo>
                  <a:lnTo>
                    <a:pt x="5555" y="2607"/>
                  </a:lnTo>
                  <a:lnTo>
                    <a:pt x="5554" y="2616"/>
                  </a:lnTo>
                  <a:lnTo>
                    <a:pt x="5548" y="2622"/>
                  </a:lnTo>
                  <a:lnTo>
                    <a:pt x="5542" y="2626"/>
                  </a:lnTo>
                  <a:lnTo>
                    <a:pt x="5534" y="2627"/>
                  </a:lnTo>
                  <a:lnTo>
                    <a:pt x="5528" y="2626"/>
                  </a:lnTo>
                  <a:lnTo>
                    <a:pt x="5521" y="2622"/>
                  </a:lnTo>
                  <a:lnTo>
                    <a:pt x="5516" y="2616"/>
                  </a:lnTo>
                  <a:lnTo>
                    <a:pt x="5515" y="2607"/>
                  </a:lnTo>
                  <a:lnTo>
                    <a:pt x="5515" y="2494"/>
                  </a:lnTo>
                  <a:lnTo>
                    <a:pt x="5516" y="2487"/>
                  </a:lnTo>
                  <a:lnTo>
                    <a:pt x="5521" y="2480"/>
                  </a:lnTo>
                  <a:lnTo>
                    <a:pt x="5528" y="2477"/>
                  </a:lnTo>
                  <a:lnTo>
                    <a:pt x="5534" y="2475"/>
                  </a:lnTo>
                  <a:lnTo>
                    <a:pt x="5542" y="2477"/>
                  </a:lnTo>
                  <a:lnTo>
                    <a:pt x="5548" y="2480"/>
                  </a:lnTo>
                  <a:lnTo>
                    <a:pt x="5554" y="2487"/>
                  </a:lnTo>
                  <a:lnTo>
                    <a:pt x="5555" y="2494"/>
                  </a:lnTo>
                  <a:close/>
                  <a:moveTo>
                    <a:pt x="4239" y="2741"/>
                  </a:moveTo>
                  <a:lnTo>
                    <a:pt x="4239" y="2854"/>
                  </a:lnTo>
                  <a:lnTo>
                    <a:pt x="4238" y="2863"/>
                  </a:lnTo>
                  <a:lnTo>
                    <a:pt x="4233" y="2869"/>
                  </a:lnTo>
                  <a:lnTo>
                    <a:pt x="4226" y="2873"/>
                  </a:lnTo>
                  <a:lnTo>
                    <a:pt x="4219" y="2874"/>
                  </a:lnTo>
                  <a:lnTo>
                    <a:pt x="4212" y="2873"/>
                  </a:lnTo>
                  <a:lnTo>
                    <a:pt x="4206" y="2869"/>
                  </a:lnTo>
                  <a:lnTo>
                    <a:pt x="4201" y="2863"/>
                  </a:lnTo>
                  <a:lnTo>
                    <a:pt x="4199" y="2854"/>
                  </a:lnTo>
                  <a:lnTo>
                    <a:pt x="4199" y="2741"/>
                  </a:lnTo>
                  <a:lnTo>
                    <a:pt x="4201" y="2732"/>
                  </a:lnTo>
                  <a:lnTo>
                    <a:pt x="4206" y="2727"/>
                  </a:lnTo>
                  <a:lnTo>
                    <a:pt x="4212" y="2723"/>
                  </a:lnTo>
                  <a:lnTo>
                    <a:pt x="4219" y="2722"/>
                  </a:lnTo>
                  <a:lnTo>
                    <a:pt x="4226" y="2723"/>
                  </a:lnTo>
                  <a:lnTo>
                    <a:pt x="4233" y="2727"/>
                  </a:lnTo>
                  <a:lnTo>
                    <a:pt x="4238" y="2732"/>
                  </a:lnTo>
                  <a:lnTo>
                    <a:pt x="4239" y="2741"/>
                  </a:lnTo>
                  <a:close/>
                  <a:moveTo>
                    <a:pt x="4502" y="2741"/>
                  </a:moveTo>
                  <a:lnTo>
                    <a:pt x="4502" y="2854"/>
                  </a:lnTo>
                  <a:lnTo>
                    <a:pt x="4501" y="2863"/>
                  </a:lnTo>
                  <a:lnTo>
                    <a:pt x="4496" y="2869"/>
                  </a:lnTo>
                  <a:lnTo>
                    <a:pt x="4489" y="2873"/>
                  </a:lnTo>
                  <a:lnTo>
                    <a:pt x="4483" y="2874"/>
                  </a:lnTo>
                  <a:lnTo>
                    <a:pt x="4475" y="2873"/>
                  </a:lnTo>
                  <a:lnTo>
                    <a:pt x="4469" y="2869"/>
                  </a:lnTo>
                  <a:lnTo>
                    <a:pt x="4464" y="2863"/>
                  </a:lnTo>
                  <a:lnTo>
                    <a:pt x="4462" y="2854"/>
                  </a:lnTo>
                  <a:lnTo>
                    <a:pt x="4462" y="2741"/>
                  </a:lnTo>
                  <a:lnTo>
                    <a:pt x="4464" y="2732"/>
                  </a:lnTo>
                  <a:lnTo>
                    <a:pt x="4469" y="2727"/>
                  </a:lnTo>
                  <a:lnTo>
                    <a:pt x="4475" y="2723"/>
                  </a:lnTo>
                  <a:lnTo>
                    <a:pt x="4483" y="2722"/>
                  </a:lnTo>
                  <a:lnTo>
                    <a:pt x="4489" y="2723"/>
                  </a:lnTo>
                  <a:lnTo>
                    <a:pt x="4496" y="2727"/>
                  </a:lnTo>
                  <a:lnTo>
                    <a:pt x="4501" y="2732"/>
                  </a:lnTo>
                  <a:lnTo>
                    <a:pt x="4502" y="2741"/>
                  </a:lnTo>
                  <a:close/>
                  <a:moveTo>
                    <a:pt x="4765" y="2741"/>
                  </a:moveTo>
                  <a:lnTo>
                    <a:pt x="4765" y="2854"/>
                  </a:lnTo>
                  <a:lnTo>
                    <a:pt x="4764" y="2863"/>
                  </a:lnTo>
                  <a:lnTo>
                    <a:pt x="4759" y="2869"/>
                  </a:lnTo>
                  <a:lnTo>
                    <a:pt x="4752" y="2873"/>
                  </a:lnTo>
                  <a:lnTo>
                    <a:pt x="4746" y="2874"/>
                  </a:lnTo>
                  <a:lnTo>
                    <a:pt x="4738" y="2873"/>
                  </a:lnTo>
                  <a:lnTo>
                    <a:pt x="4732" y="2869"/>
                  </a:lnTo>
                  <a:lnTo>
                    <a:pt x="4728" y="2863"/>
                  </a:lnTo>
                  <a:lnTo>
                    <a:pt x="4725" y="2854"/>
                  </a:lnTo>
                  <a:lnTo>
                    <a:pt x="4725" y="2741"/>
                  </a:lnTo>
                  <a:lnTo>
                    <a:pt x="4728" y="2732"/>
                  </a:lnTo>
                  <a:lnTo>
                    <a:pt x="4732" y="2727"/>
                  </a:lnTo>
                  <a:lnTo>
                    <a:pt x="4738" y="2723"/>
                  </a:lnTo>
                  <a:lnTo>
                    <a:pt x="4746" y="2722"/>
                  </a:lnTo>
                  <a:lnTo>
                    <a:pt x="4752" y="2723"/>
                  </a:lnTo>
                  <a:lnTo>
                    <a:pt x="4759" y="2727"/>
                  </a:lnTo>
                  <a:lnTo>
                    <a:pt x="4764" y="2732"/>
                  </a:lnTo>
                  <a:lnTo>
                    <a:pt x="4765" y="2741"/>
                  </a:lnTo>
                  <a:close/>
                  <a:moveTo>
                    <a:pt x="5029" y="2741"/>
                  </a:moveTo>
                  <a:lnTo>
                    <a:pt x="5029" y="2854"/>
                  </a:lnTo>
                  <a:lnTo>
                    <a:pt x="5027" y="2863"/>
                  </a:lnTo>
                  <a:lnTo>
                    <a:pt x="5023" y="2869"/>
                  </a:lnTo>
                  <a:lnTo>
                    <a:pt x="5016" y="2873"/>
                  </a:lnTo>
                  <a:lnTo>
                    <a:pt x="5009" y="2874"/>
                  </a:lnTo>
                  <a:lnTo>
                    <a:pt x="5001" y="2873"/>
                  </a:lnTo>
                  <a:lnTo>
                    <a:pt x="4994" y="2869"/>
                  </a:lnTo>
                  <a:lnTo>
                    <a:pt x="4991" y="2863"/>
                  </a:lnTo>
                  <a:lnTo>
                    <a:pt x="4988" y="2854"/>
                  </a:lnTo>
                  <a:lnTo>
                    <a:pt x="4988" y="2741"/>
                  </a:lnTo>
                  <a:lnTo>
                    <a:pt x="4991" y="2732"/>
                  </a:lnTo>
                  <a:lnTo>
                    <a:pt x="4994" y="2727"/>
                  </a:lnTo>
                  <a:lnTo>
                    <a:pt x="5001" y="2723"/>
                  </a:lnTo>
                  <a:lnTo>
                    <a:pt x="5009" y="2722"/>
                  </a:lnTo>
                  <a:lnTo>
                    <a:pt x="5016" y="2723"/>
                  </a:lnTo>
                  <a:lnTo>
                    <a:pt x="5023" y="2727"/>
                  </a:lnTo>
                  <a:lnTo>
                    <a:pt x="5027" y="2732"/>
                  </a:lnTo>
                  <a:lnTo>
                    <a:pt x="5029" y="2741"/>
                  </a:lnTo>
                  <a:close/>
                  <a:moveTo>
                    <a:pt x="5292" y="2741"/>
                  </a:moveTo>
                  <a:lnTo>
                    <a:pt x="5292" y="2854"/>
                  </a:lnTo>
                  <a:lnTo>
                    <a:pt x="5289" y="2863"/>
                  </a:lnTo>
                  <a:lnTo>
                    <a:pt x="5286" y="2869"/>
                  </a:lnTo>
                  <a:lnTo>
                    <a:pt x="5279" y="2873"/>
                  </a:lnTo>
                  <a:lnTo>
                    <a:pt x="5271" y="2874"/>
                  </a:lnTo>
                  <a:lnTo>
                    <a:pt x="5264" y="2873"/>
                  </a:lnTo>
                  <a:lnTo>
                    <a:pt x="5257" y="2869"/>
                  </a:lnTo>
                  <a:lnTo>
                    <a:pt x="5253" y="2863"/>
                  </a:lnTo>
                  <a:lnTo>
                    <a:pt x="5252" y="2854"/>
                  </a:lnTo>
                  <a:lnTo>
                    <a:pt x="5252" y="2741"/>
                  </a:lnTo>
                  <a:lnTo>
                    <a:pt x="5253" y="2732"/>
                  </a:lnTo>
                  <a:lnTo>
                    <a:pt x="5257" y="2727"/>
                  </a:lnTo>
                  <a:lnTo>
                    <a:pt x="5264" y="2723"/>
                  </a:lnTo>
                  <a:lnTo>
                    <a:pt x="5271" y="2722"/>
                  </a:lnTo>
                  <a:lnTo>
                    <a:pt x="5279" y="2723"/>
                  </a:lnTo>
                  <a:lnTo>
                    <a:pt x="5286" y="2727"/>
                  </a:lnTo>
                  <a:lnTo>
                    <a:pt x="5289" y="2732"/>
                  </a:lnTo>
                  <a:lnTo>
                    <a:pt x="5292" y="2741"/>
                  </a:lnTo>
                  <a:close/>
                  <a:moveTo>
                    <a:pt x="5555" y="2741"/>
                  </a:moveTo>
                  <a:lnTo>
                    <a:pt x="5555" y="2854"/>
                  </a:lnTo>
                  <a:lnTo>
                    <a:pt x="5554" y="2863"/>
                  </a:lnTo>
                  <a:lnTo>
                    <a:pt x="5548" y="2869"/>
                  </a:lnTo>
                  <a:lnTo>
                    <a:pt x="5542" y="2873"/>
                  </a:lnTo>
                  <a:lnTo>
                    <a:pt x="5534" y="2874"/>
                  </a:lnTo>
                  <a:lnTo>
                    <a:pt x="5528" y="2873"/>
                  </a:lnTo>
                  <a:lnTo>
                    <a:pt x="5521" y="2869"/>
                  </a:lnTo>
                  <a:lnTo>
                    <a:pt x="5516" y="2863"/>
                  </a:lnTo>
                  <a:lnTo>
                    <a:pt x="5515" y="2854"/>
                  </a:lnTo>
                  <a:lnTo>
                    <a:pt x="5515" y="2741"/>
                  </a:lnTo>
                  <a:lnTo>
                    <a:pt x="5516" y="2732"/>
                  </a:lnTo>
                  <a:lnTo>
                    <a:pt x="5521" y="2727"/>
                  </a:lnTo>
                  <a:lnTo>
                    <a:pt x="5528" y="2723"/>
                  </a:lnTo>
                  <a:lnTo>
                    <a:pt x="5534" y="2722"/>
                  </a:lnTo>
                  <a:lnTo>
                    <a:pt x="5542" y="2723"/>
                  </a:lnTo>
                  <a:lnTo>
                    <a:pt x="5548" y="2727"/>
                  </a:lnTo>
                  <a:lnTo>
                    <a:pt x="5554" y="2732"/>
                  </a:lnTo>
                  <a:lnTo>
                    <a:pt x="5555" y="2741"/>
                  </a:lnTo>
                  <a:close/>
                  <a:moveTo>
                    <a:pt x="4239" y="2988"/>
                  </a:moveTo>
                  <a:lnTo>
                    <a:pt x="4239" y="3101"/>
                  </a:lnTo>
                  <a:lnTo>
                    <a:pt x="4238" y="3109"/>
                  </a:lnTo>
                  <a:lnTo>
                    <a:pt x="4233" y="3115"/>
                  </a:lnTo>
                  <a:lnTo>
                    <a:pt x="4226" y="3118"/>
                  </a:lnTo>
                  <a:lnTo>
                    <a:pt x="4219" y="3120"/>
                  </a:lnTo>
                  <a:lnTo>
                    <a:pt x="4212" y="3118"/>
                  </a:lnTo>
                  <a:lnTo>
                    <a:pt x="4206" y="3115"/>
                  </a:lnTo>
                  <a:lnTo>
                    <a:pt x="4201" y="3109"/>
                  </a:lnTo>
                  <a:lnTo>
                    <a:pt x="4199" y="3101"/>
                  </a:lnTo>
                  <a:lnTo>
                    <a:pt x="4199" y="2988"/>
                  </a:lnTo>
                  <a:lnTo>
                    <a:pt x="4201" y="2979"/>
                  </a:lnTo>
                  <a:lnTo>
                    <a:pt x="4206" y="2973"/>
                  </a:lnTo>
                  <a:lnTo>
                    <a:pt x="4212" y="2970"/>
                  </a:lnTo>
                  <a:lnTo>
                    <a:pt x="4219" y="2969"/>
                  </a:lnTo>
                  <a:lnTo>
                    <a:pt x="4226" y="2970"/>
                  </a:lnTo>
                  <a:lnTo>
                    <a:pt x="4233" y="2973"/>
                  </a:lnTo>
                  <a:lnTo>
                    <a:pt x="4238" y="2979"/>
                  </a:lnTo>
                  <a:lnTo>
                    <a:pt x="4239" y="2988"/>
                  </a:lnTo>
                  <a:close/>
                  <a:moveTo>
                    <a:pt x="4502" y="2988"/>
                  </a:moveTo>
                  <a:lnTo>
                    <a:pt x="4502" y="3101"/>
                  </a:lnTo>
                  <a:lnTo>
                    <a:pt x="4501" y="3109"/>
                  </a:lnTo>
                  <a:lnTo>
                    <a:pt x="4496" y="3115"/>
                  </a:lnTo>
                  <a:lnTo>
                    <a:pt x="4489" y="3118"/>
                  </a:lnTo>
                  <a:lnTo>
                    <a:pt x="4483" y="3120"/>
                  </a:lnTo>
                  <a:lnTo>
                    <a:pt x="4475" y="3118"/>
                  </a:lnTo>
                  <a:lnTo>
                    <a:pt x="4469" y="3115"/>
                  </a:lnTo>
                  <a:lnTo>
                    <a:pt x="4464" y="3109"/>
                  </a:lnTo>
                  <a:lnTo>
                    <a:pt x="4462" y="3101"/>
                  </a:lnTo>
                  <a:lnTo>
                    <a:pt x="4462" y="2988"/>
                  </a:lnTo>
                  <a:lnTo>
                    <a:pt x="4464" y="2979"/>
                  </a:lnTo>
                  <a:lnTo>
                    <a:pt x="4469" y="2973"/>
                  </a:lnTo>
                  <a:lnTo>
                    <a:pt x="4475" y="2970"/>
                  </a:lnTo>
                  <a:lnTo>
                    <a:pt x="4483" y="2969"/>
                  </a:lnTo>
                  <a:lnTo>
                    <a:pt x="4489" y="2970"/>
                  </a:lnTo>
                  <a:lnTo>
                    <a:pt x="4496" y="2973"/>
                  </a:lnTo>
                  <a:lnTo>
                    <a:pt x="4501" y="2979"/>
                  </a:lnTo>
                  <a:lnTo>
                    <a:pt x="4502" y="2988"/>
                  </a:lnTo>
                  <a:close/>
                  <a:moveTo>
                    <a:pt x="4765" y="2988"/>
                  </a:moveTo>
                  <a:lnTo>
                    <a:pt x="4765" y="3101"/>
                  </a:lnTo>
                  <a:lnTo>
                    <a:pt x="4764" y="3109"/>
                  </a:lnTo>
                  <a:lnTo>
                    <a:pt x="4759" y="3115"/>
                  </a:lnTo>
                  <a:lnTo>
                    <a:pt x="4752" y="3118"/>
                  </a:lnTo>
                  <a:lnTo>
                    <a:pt x="4746" y="3120"/>
                  </a:lnTo>
                  <a:lnTo>
                    <a:pt x="4738" y="3118"/>
                  </a:lnTo>
                  <a:lnTo>
                    <a:pt x="4732" y="3115"/>
                  </a:lnTo>
                  <a:lnTo>
                    <a:pt x="4728" y="3109"/>
                  </a:lnTo>
                  <a:lnTo>
                    <a:pt x="4725" y="3101"/>
                  </a:lnTo>
                  <a:lnTo>
                    <a:pt x="4725" y="2988"/>
                  </a:lnTo>
                  <a:lnTo>
                    <a:pt x="4728" y="2979"/>
                  </a:lnTo>
                  <a:lnTo>
                    <a:pt x="4732" y="2973"/>
                  </a:lnTo>
                  <a:lnTo>
                    <a:pt x="4738" y="2970"/>
                  </a:lnTo>
                  <a:lnTo>
                    <a:pt x="4746" y="2969"/>
                  </a:lnTo>
                  <a:lnTo>
                    <a:pt x="4752" y="2970"/>
                  </a:lnTo>
                  <a:lnTo>
                    <a:pt x="4759" y="2973"/>
                  </a:lnTo>
                  <a:lnTo>
                    <a:pt x="4764" y="2979"/>
                  </a:lnTo>
                  <a:lnTo>
                    <a:pt x="4765" y="2988"/>
                  </a:lnTo>
                  <a:close/>
                  <a:moveTo>
                    <a:pt x="5029" y="2988"/>
                  </a:moveTo>
                  <a:lnTo>
                    <a:pt x="5029" y="3101"/>
                  </a:lnTo>
                  <a:lnTo>
                    <a:pt x="5027" y="3109"/>
                  </a:lnTo>
                  <a:lnTo>
                    <a:pt x="5023" y="3115"/>
                  </a:lnTo>
                  <a:lnTo>
                    <a:pt x="5016" y="3118"/>
                  </a:lnTo>
                  <a:lnTo>
                    <a:pt x="5009" y="3120"/>
                  </a:lnTo>
                  <a:lnTo>
                    <a:pt x="5001" y="3118"/>
                  </a:lnTo>
                  <a:lnTo>
                    <a:pt x="4994" y="3115"/>
                  </a:lnTo>
                  <a:lnTo>
                    <a:pt x="4991" y="3109"/>
                  </a:lnTo>
                  <a:lnTo>
                    <a:pt x="4988" y="3101"/>
                  </a:lnTo>
                  <a:lnTo>
                    <a:pt x="4988" y="2988"/>
                  </a:lnTo>
                  <a:lnTo>
                    <a:pt x="4991" y="2979"/>
                  </a:lnTo>
                  <a:lnTo>
                    <a:pt x="4994" y="2973"/>
                  </a:lnTo>
                  <a:lnTo>
                    <a:pt x="5001" y="2970"/>
                  </a:lnTo>
                  <a:lnTo>
                    <a:pt x="5009" y="2969"/>
                  </a:lnTo>
                  <a:lnTo>
                    <a:pt x="5016" y="2970"/>
                  </a:lnTo>
                  <a:lnTo>
                    <a:pt x="5023" y="2973"/>
                  </a:lnTo>
                  <a:lnTo>
                    <a:pt x="5027" y="2979"/>
                  </a:lnTo>
                  <a:lnTo>
                    <a:pt x="5029" y="2988"/>
                  </a:lnTo>
                  <a:close/>
                  <a:moveTo>
                    <a:pt x="5292" y="2988"/>
                  </a:moveTo>
                  <a:lnTo>
                    <a:pt x="5292" y="3101"/>
                  </a:lnTo>
                  <a:lnTo>
                    <a:pt x="5289" y="3109"/>
                  </a:lnTo>
                  <a:lnTo>
                    <a:pt x="5286" y="3115"/>
                  </a:lnTo>
                  <a:lnTo>
                    <a:pt x="5279" y="3118"/>
                  </a:lnTo>
                  <a:lnTo>
                    <a:pt x="5271" y="3120"/>
                  </a:lnTo>
                  <a:lnTo>
                    <a:pt x="5264" y="3118"/>
                  </a:lnTo>
                  <a:lnTo>
                    <a:pt x="5257" y="3115"/>
                  </a:lnTo>
                  <a:lnTo>
                    <a:pt x="5253" y="3109"/>
                  </a:lnTo>
                  <a:lnTo>
                    <a:pt x="5252" y="3101"/>
                  </a:lnTo>
                  <a:lnTo>
                    <a:pt x="5252" y="2988"/>
                  </a:lnTo>
                  <a:lnTo>
                    <a:pt x="5253" y="2979"/>
                  </a:lnTo>
                  <a:lnTo>
                    <a:pt x="5257" y="2973"/>
                  </a:lnTo>
                  <a:lnTo>
                    <a:pt x="5264" y="2970"/>
                  </a:lnTo>
                  <a:lnTo>
                    <a:pt x="5271" y="2969"/>
                  </a:lnTo>
                  <a:lnTo>
                    <a:pt x="5279" y="2970"/>
                  </a:lnTo>
                  <a:lnTo>
                    <a:pt x="5286" y="2973"/>
                  </a:lnTo>
                  <a:lnTo>
                    <a:pt x="5289" y="2979"/>
                  </a:lnTo>
                  <a:lnTo>
                    <a:pt x="5292" y="2988"/>
                  </a:lnTo>
                  <a:close/>
                  <a:moveTo>
                    <a:pt x="5555" y="2988"/>
                  </a:moveTo>
                  <a:lnTo>
                    <a:pt x="5555" y="3101"/>
                  </a:lnTo>
                  <a:lnTo>
                    <a:pt x="5554" y="3109"/>
                  </a:lnTo>
                  <a:lnTo>
                    <a:pt x="5548" y="3115"/>
                  </a:lnTo>
                  <a:lnTo>
                    <a:pt x="5542" y="3118"/>
                  </a:lnTo>
                  <a:lnTo>
                    <a:pt x="5534" y="3120"/>
                  </a:lnTo>
                  <a:lnTo>
                    <a:pt x="5528" y="3118"/>
                  </a:lnTo>
                  <a:lnTo>
                    <a:pt x="5521" y="3115"/>
                  </a:lnTo>
                  <a:lnTo>
                    <a:pt x="5516" y="3109"/>
                  </a:lnTo>
                  <a:lnTo>
                    <a:pt x="5515" y="3101"/>
                  </a:lnTo>
                  <a:lnTo>
                    <a:pt x="5515" y="2988"/>
                  </a:lnTo>
                  <a:lnTo>
                    <a:pt x="5516" y="2979"/>
                  </a:lnTo>
                  <a:lnTo>
                    <a:pt x="5521" y="2973"/>
                  </a:lnTo>
                  <a:lnTo>
                    <a:pt x="5528" y="2970"/>
                  </a:lnTo>
                  <a:lnTo>
                    <a:pt x="5534" y="2969"/>
                  </a:lnTo>
                  <a:lnTo>
                    <a:pt x="5542" y="2970"/>
                  </a:lnTo>
                  <a:lnTo>
                    <a:pt x="5548" y="2973"/>
                  </a:lnTo>
                  <a:lnTo>
                    <a:pt x="5554" y="2979"/>
                  </a:lnTo>
                  <a:lnTo>
                    <a:pt x="5555" y="2988"/>
                  </a:lnTo>
                  <a:close/>
                  <a:moveTo>
                    <a:pt x="4239" y="3235"/>
                  </a:moveTo>
                  <a:lnTo>
                    <a:pt x="4239" y="3347"/>
                  </a:lnTo>
                  <a:lnTo>
                    <a:pt x="4238" y="3355"/>
                  </a:lnTo>
                  <a:lnTo>
                    <a:pt x="4233" y="3361"/>
                  </a:lnTo>
                  <a:lnTo>
                    <a:pt x="4226" y="3365"/>
                  </a:lnTo>
                  <a:lnTo>
                    <a:pt x="4219" y="3367"/>
                  </a:lnTo>
                  <a:lnTo>
                    <a:pt x="4212" y="3365"/>
                  </a:lnTo>
                  <a:lnTo>
                    <a:pt x="4206" y="3361"/>
                  </a:lnTo>
                  <a:lnTo>
                    <a:pt x="4201" y="3355"/>
                  </a:lnTo>
                  <a:lnTo>
                    <a:pt x="4199" y="3347"/>
                  </a:lnTo>
                  <a:lnTo>
                    <a:pt x="4199" y="3235"/>
                  </a:lnTo>
                  <a:lnTo>
                    <a:pt x="4201" y="3226"/>
                  </a:lnTo>
                  <a:lnTo>
                    <a:pt x="4206" y="3219"/>
                  </a:lnTo>
                  <a:lnTo>
                    <a:pt x="4212" y="3216"/>
                  </a:lnTo>
                  <a:lnTo>
                    <a:pt x="4219" y="3214"/>
                  </a:lnTo>
                  <a:lnTo>
                    <a:pt x="4226" y="3216"/>
                  </a:lnTo>
                  <a:lnTo>
                    <a:pt x="4233" y="3219"/>
                  </a:lnTo>
                  <a:lnTo>
                    <a:pt x="4238" y="3226"/>
                  </a:lnTo>
                  <a:lnTo>
                    <a:pt x="4239" y="3235"/>
                  </a:lnTo>
                  <a:close/>
                  <a:moveTo>
                    <a:pt x="4502" y="3235"/>
                  </a:moveTo>
                  <a:lnTo>
                    <a:pt x="4502" y="3347"/>
                  </a:lnTo>
                  <a:lnTo>
                    <a:pt x="4501" y="3355"/>
                  </a:lnTo>
                  <a:lnTo>
                    <a:pt x="4496" y="3361"/>
                  </a:lnTo>
                  <a:lnTo>
                    <a:pt x="4489" y="3365"/>
                  </a:lnTo>
                  <a:lnTo>
                    <a:pt x="4483" y="3367"/>
                  </a:lnTo>
                  <a:lnTo>
                    <a:pt x="4475" y="3365"/>
                  </a:lnTo>
                  <a:lnTo>
                    <a:pt x="4469" y="3361"/>
                  </a:lnTo>
                  <a:lnTo>
                    <a:pt x="4464" y="3355"/>
                  </a:lnTo>
                  <a:lnTo>
                    <a:pt x="4462" y="3347"/>
                  </a:lnTo>
                  <a:lnTo>
                    <a:pt x="4462" y="3235"/>
                  </a:lnTo>
                  <a:lnTo>
                    <a:pt x="4464" y="3226"/>
                  </a:lnTo>
                  <a:lnTo>
                    <a:pt x="4469" y="3219"/>
                  </a:lnTo>
                  <a:lnTo>
                    <a:pt x="4475" y="3216"/>
                  </a:lnTo>
                  <a:lnTo>
                    <a:pt x="4483" y="3214"/>
                  </a:lnTo>
                  <a:lnTo>
                    <a:pt x="4489" y="3216"/>
                  </a:lnTo>
                  <a:lnTo>
                    <a:pt x="4496" y="3219"/>
                  </a:lnTo>
                  <a:lnTo>
                    <a:pt x="4501" y="3226"/>
                  </a:lnTo>
                  <a:lnTo>
                    <a:pt x="4502" y="3235"/>
                  </a:lnTo>
                  <a:close/>
                  <a:moveTo>
                    <a:pt x="4765" y="3235"/>
                  </a:moveTo>
                  <a:lnTo>
                    <a:pt x="4765" y="3347"/>
                  </a:lnTo>
                  <a:lnTo>
                    <a:pt x="4764" y="3355"/>
                  </a:lnTo>
                  <a:lnTo>
                    <a:pt x="4759" y="3361"/>
                  </a:lnTo>
                  <a:lnTo>
                    <a:pt x="4752" y="3365"/>
                  </a:lnTo>
                  <a:lnTo>
                    <a:pt x="4746" y="3367"/>
                  </a:lnTo>
                  <a:lnTo>
                    <a:pt x="4738" y="3365"/>
                  </a:lnTo>
                  <a:lnTo>
                    <a:pt x="4732" y="3361"/>
                  </a:lnTo>
                  <a:lnTo>
                    <a:pt x="4728" y="3355"/>
                  </a:lnTo>
                  <a:lnTo>
                    <a:pt x="4725" y="3347"/>
                  </a:lnTo>
                  <a:lnTo>
                    <a:pt x="4725" y="3235"/>
                  </a:lnTo>
                  <a:lnTo>
                    <a:pt x="4728" y="3226"/>
                  </a:lnTo>
                  <a:lnTo>
                    <a:pt x="4732" y="3219"/>
                  </a:lnTo>
                  <a:lnTo>
                    <a:pt x="4738" y="3216"/>
                  </a:lnTo>
                  <a:lnTo>
                    <a:pt x="4746" y="3214"/>
                  </a:lnTo>
                  <a:lnTo>
                    <a:pt x="4752" y="3216"/>
                  </a:lnTo>
                  <a:lnTo>
                    <a:pt x="4759" y="3219"/>
                  </a:lnTo>
                  <a:lnTo>
                    <a:pt x="4764" y="3226"/>
                  </a:lnTo>
                  <a:lnTo>
                    <a:pt x="4765" y="3235"/>
                  </a:lnTo>
                  <a:close/>
                  <a:moveTo>
                    <a:pt x="5029" y="3235"/>
                  </a:moveTo>
                  <a:lnTo>
                    <a:pt x="5029" y="3347"/>
                  </a:lnTo>
                  <a:lnTo>
                    <a:pt x="5027" y="3355"/>
                  </a:lnTo>
                  <a:lnTo>
                    <a:pt x="5023" y="3361"/>
                  </a:lnTo>
                  <a:lnTo>
                    <a:pt x="5016" y="3365"/>
                  </a:lnTo>
                  <a:lnTo>
                    <a:pt x="5009" y="3367"/>
                  </a:lnTo>
                  <a:lnTo>
                    <a:pt x="5001" y="3365"/>
                  </a:lnTo>
                  <a:lnTo>
                    <a:pt x="4994" y="3361"/>
                  </a:lnTo>
                  <a:lnTo>
                    <a:pt x="4991" y="3355"/>
                  </a:lnTo>
                  <a:lnTo>
                    <a:pt x="4988" y="3347"/>
                  </a:lnTo>
                  <a:lnTo>
                    <a:pt x="4988" y="3235"/>
                  </a:lnTo>
                  <a:lnTo>
                    <a:pt x="4991" y="3226"/>
                  </a:lnTo>
                  <a:lnTo>
                    <a:pt x="4994" y="3219"/>
                  </a:lnTo>
                  <a:lnTo>
                    <a:pt x="5001" y="3216"/>
                  </a:lnTo>
                  <a:lnTo>
                    <a:pt x="5009" y="3214"/>
                  </a:lnTo>
                  <a:lnTo>
                    <a:pt x="5016" y="3216"/>
                  </a:lnTo>
                  <a:lnTo>
                    <a:pt x="5023" y="3219"/>
                  </a:lnTo>
                  <a:lnTo>
                    <a:pt x="5027" y="3226"/>
                  </a:lnTo>
                  <a:lnTo>
                    <a:pt x="5029" y="3235"/>
                  </a:lnTo>
                  <a:close/>
                  <a:moveTo>
                    <a:pt x="5292" y="3235"/>
                  </a:moveTo>
                  <a:lnTo>
                    <a:pt x="5292" y="3347"/>
                  </a:lnTo>
                  <a:lnTo>
                    <a:pt x="5289" y="3355"/>
                  </a:lnTo>
                  <a:lnTo>
                    <a:pt x="5286" y="3361"/>
                  </a:lnTo>
                  <a:lnTo>
                    <a:pt x="5279" y="3365"/>
                  </a:lnTo>
                  <a:lnTo>
                    <a:pt x="5271" y="3367"/>
                  </a:lnTo>
                  <a:lnTo>
                    <a:pt x="5264" y="3365"/>
                  </a:lnTo>
                  <a:lnTo>
                    <a:pt x="5257" y="3361"/>
                  </a:lnTo>
                  <a:lnTo>
                    <a:pt x="5253" y="3355"/>
                  </a:lnTo>
                  <a:lnTo>
                    <a:pt x="5252" y="3347"/>
                  </a:lnTo>
                  <a:lnTo>
                    <a:pt x="5252" y="3235"/>
                  </a:lnTo>
                  <a:lnTo>
                    <a:pt x="5253" y="3226"/>
                  </a:lnTo>
                  <a:lnTo>
                    <a:pt x="5257" y="3219"/>
                  </a:lnTo>
                  <a:lnTo>
                    <a:pt x="5264" y="3216"/>
                  </a:lnTo>
                  <a:lnTo>
                    <a:pt x="5271" y="3214"/>
                  </a:lnTo>
                  <a:lnTo>
                    <a:pt x="5279" y="3216"/>
                  </a:lnTo>
                  <a:lnTo>
                    <a:pt x="5286" y="3219"/>
                  </a:lnTo>
                  <a:lnTo>
                    <a:pt x="5289" y="3226"/>
                  </a:lnTo>
                  <a:lnTo>
                    <a:pt x="5292" y="3235"/>
                  </a:lnTo>
                  <a:close/>
                  <a:moveTo>
                    <a:pt x="5555" y="3235"/>
                  </a:moveTo>
                  <a:lnTo>
                    <a:pt x="5555" y="3347"/>
                  </a:lnTo>
                  <a:lnTo>
                    <a:pt x="5554" y="3355"/>
                  </a:lnTo>
                  <a:lnTo>
                    <a:pt x="5548" y="3361"/>
                  </a:lnTo>
                  <a:lnTo>
                    <a:pt x="5542" y="3365"/>
                  </a:lnTo>
                  <a:lnTo>
                    <a:pt x="5534" y="3367"/>
                  </a:lnTo>
                  <a:lnTo>
                    <a:pt x="5528" y="3365"/>
                  </a:lnTo>
                  <a:lnTo>
                    <a:pt x="5521" y="3361"/>
                  </a:lnTo>
                  <a:lnTo>
                    <a:pt x="5516" y="3355"/>
                  </a:lnTo>
                  <a:lnTo>
                    <a:pt x="5515" y="3347"/>
                  </a:lnTo>
                  <a:lnTo>
                    <a:pt x="5515" y="3235"/>
                  </a:lnTo>
                  <a:lnTo>
                    <a:pt x="5516" y="3226"/>
                  </a:lnTo>
                  <a:lnTo>
                    <a:pt x="5521" y="3219"/>
                  </a:lnTo>
                  <a:lnTo>
                    <a:pt x="5528" y="3216"/>
                  </a:lnTo>
                  <a:lnTo>
                    <a:pt x="5534" y="3214"/>
                  </a:lnTo>
                  <a:lnTo>
                    <a:pt x="5542" y="3216"/>
                  </a:lnTo>
                  <a:lnTo>
                    <a:pt x="5548" y="3219"/>
                  </a:lnTo>
                  <a:lnTo>
                    <a:pt x="5554" y="3226"/>
                  </a:lnTo>
                  <a:lnTo>
                    <a:pt x="5555" y="3235"/>
                  </a:lnTo>
                  <a:close/>
                  <a:moveTo>
                    <a:pt x="3624" y="4034"/>
                  </a:moveTo>
                  <a:lnTo>
                    <a:pt x="3624" y="3864"/>
                  </a:lnTo>
                  <a:lnTo>
                    <a:pt x="3625" y="3856"/>
                  </a:lnTo>
                  <a:lnTo>
                    <a:pt x="3629" y="3851"/>
                  </a:lnTo>
                  <a:lnTo>
                    <a:pt x="3634" y="3847"/>
                  </a:lnTo>
                  <a:lnTo>
                    <a:pt x="3639" y="3845"/>
                  </a:lnTo>
                  <a:lnTo>
                    <a:pt x="3646" y="3845"/>
                  </a:lnTo>
                  <a:lnTo>
                    <a:pt x="3652" y="3846"/>
                  </a:lnTo>
                  <a:lnTo>
                    <a:pt x="3657" y="3849"/>
                  </a:lnTo>
                  <a:lnTo>
                    <a:pt x="3662" y="3854"/>
                  </a:lnTo>
                  <a:lnTo>
                    <a:pt x="3666" y="3860"/>
                  </a:lnTo>
                  <a:lnTo>
                    <a:pt x="3667" y="3869"/>
                  </a:lnTo>
                  <a:lnTo>
                    <a:pt x="3667" y="4034"/>
                  </a:lnTo>
                  <a:lnTo>
                    <a:pt x="3710" y="4029"/>
                  </a:lnTo>
                  <a:lnTo>
                    <a:pt x="3751" y="4021"/>
                  </a:lnTo>
                  <a:lnTo>
                    <a:pt x="3789" y="4010"/>
                  </a:lnTo>
                  <a:lnTo>
                    <a:pt x="3828" y="3994"/>
                  </a:lnTo>
                  <a:lnTo>
                    <a:pt x="3846" y="3985"/>
                  </a:lnTo>
                  <a:lnTo>
                    <a:pt x="3864" y="3975"/>
                  </a:lnTo>
                  <a:lnTo>
                    <a:pt x="3897" y="3953"/>
                  </a:lnTo>
                  <a:lnTo>
                    <a:pt x="3928" y="3928"/>
                  </a:lnTo>
                  <a:lnTo>
                    <a:pt x="3957" y="3901"/>
                  </a:lnTo>
                  <a:lnTo>
                    <a:pt x="3970" y="3886"/>
                  </a:lnTo>
                  <a:lnTo>
                    <a:pt x="3983" y="3870"/>
                  </a:lnTo>
                  <a:lnTo>
                    <a:pt x="4006" y="3838"/>
                  </a:lnTo>
                  <a:lnTo>
                    <a:pt x="4026" y="3804"/>
                  </a:lnTo>
                  <a:lnTo>
                    <a:pt x="4043" y="3767"/>
                  </a:lnTo>
                  <a:lnTo>
                    <a:pt x="4057" y="3728"/>
                  </a:lnTo>
                  <a:lnTo>
                    <a:pt x="4067" y="3689"/>
                  </a:lnTo>
                  <a:lnTo>
                    <a:pt x="4074" y="3648"/>
                  </a:lnTo>
                  <a:lnTo>
                    <a:pt x="4075" y="3604"/>
                  </a:lnTo>
                  <a:lnTo>
                    <a:pt x="4074" y="3569"/>
                  </a:lnTo>
                  <a:lnTo>
                    <a:pt x="4069" y="3533"/>
                  </a:lnTo>
                  <a:lnTo>
                    <a:pt x="4062" y="3498"/>
                  </a:lnTo>
                  <a:lnTo>
                    <a:pt x="4052" y="3464"/>
                  </a:lnTo>
                  <a:lnTo>
                    <a:pt x="4039" y="3432"/>
                  </a:lnTo>
                  <a:lnTo>
                    <a:pt x="4024" y="3401"/>
                  </a:lnTo>
                  <a:lnTo>
                    <a:pt x="4006" y="3372"/>
                  </a:lnTo>
                  <a:lnTo>
                    <a:pt x="3987" y="3343"/>
                  </a:lnTo>
                  <a:lnTo>
                    <a:pt x="3955" y="3308"/>
                  </a:lnTo>
                  <a:lnTo>
                    <a:pt x="3919" y="3276"/>
                  </a:lnTo>
                  <a:lnTo>
                    <a:pt x="3880" y="3248"/>
                  </a:lnTo>
                  <a:lnTo>
                    <a:pt x="3860" y="3236"/>
                  </a:lnTo>
                  <a:lnTo>
                    <a:pt x="3839" y="3225"/>
                  </a:lnTo>
                  <a:lnTo>
                    <a:pt x="3817" y="3214"/>
                  </a:lnTo>
                  <a:lnTo>
                    <a:pt x="3794" y="3205"/>
                  </a:lnTo>
                  <a:lnTo>
                    <a:pt x="3748" y="3191"/>
                  </a:lnTo>
                  <a:lnTo>
                    <a:pt x="3699" y="3184"/>
                  </a:lnTo>
                  <a:lnTo>
                    <a:pt x="3674" y="3181"/>
                  </a:lnTo>
                  <a:lnTo>
                    <a:pt x="3648" y="3180"/>
                  </a:lnTo>
                  <a:lnTo>
                    <a:pt x="3604" y="3182"/>
                  </a:lnTo>
                  <a:lnTo>
                    <a:pt x="3562" y="3189"/>
                  </a:lnTo>
                  <a:lnTo>
                    <a:pt x="3521" y="3200"/>
                  </a:lnTo>
                  <a:lnTo>
                    <a:pt x="3481" y="3214"/>
                  </a:lnTo>
                  <a:lnTo>
                    <a:pt x="3443" y="3232"/>
                  </a:lnTo>
                  <a:lnTo>
                    <a:pt x="3408" y="3254"/>
                  </a:lnTo>
                  <a:lnTo>
                    <a:pt x="3375" y="3278"/>
                  </a:lnTo>
                  <a:lnTo>
                    <a:pt x="3344" y="3306"/>
                  </a:lnTo>
                  <a:lnTo>
                    <a:pt x="3316" y="3337"/>
                  </a:lnTo>
                  <a:lnTo>
                    <a:pt x="3292" y="3369"/>
                  </a:lnTo>
                  <a:lnTo>
                    <a:pt x="3270" y="3405"/>
                  </a:lnTo>
                  <a:lnTo>
                    <a:pt x="3252" y="3443"/>
                  </a:lnTo>
                  <a:lnTo>
                    <a:pt x="3238" y="3482"/>
                  </a:lnTo>
                  <a:lnTo>
                    <a:pt x="3226" y="3524"/>
                  </a:lnTo>
                  <a:lnTo>
                    <a:pt x="3220" y="3566"/>
                  </a:lnTo>
                  <a:lnTo>
                    <a:pt x="3219" y="3609"/>
                  </a:lnTo>
                  <a:lnTo>
                    <a:pt x="3220" y="3647"/>
                  </a:lnTo>
                  <a:lnTo>
                    <a:pt x="3224" y="3682"/>
                  </a:lnTo>
                  <a:lnTo>
                    <a:pt x="3231" y="3717"/>
                  </a:lnTo>
                  <a:lnTo>
                    <a:pt x="3242" y="3750"/>
                  </a:lnTo>
                  <a:lnTo>
                    <a:pt x="3254" y="3783"/>
                  </a:lnTo>
                  <a:lnTo>
                    <a:pt x="3270" y="3814"/>
                  </a:lnTo>
                  <a:lnTo>
                    <a:pt x="3288" y="3843"/>
                  </a:lnTo>
                  <a:lnTo>
                    <a:pt x="3307" y="3872"/>
                  </a:lnTo>
                  <a:lnTo>
                    <a:pt x="3336" y="3905"/>
                  </a:lnTo>
                  <a:lnTo>
                    <a:pt x="3370" y="3936"/>
                  </a:lnTo>
                  <a:lnTo>
                    <a:pt x="3388" y="3950"/>
                  </a:lnTo>
                  <a:lnTo>
                    <a:pt x="3407" y="3962"/>
                  </a:lnTo>
                  <a:lnTo>
                    <a:pt x="3445" y="3985"/>
                  </a:lnTo>
                  <a:lnTo>
                    <a:pt x="3487" y="4005"/>
                  </a:lnTo>
                  <a:lnTo>
                    <a:pt x="3531" y="4019"/>
                  </a:lnTo>
                  <a:lnTo>
                    <a:pt x="3576" y="4029"/>
                  </a:lnTo>
                  <a:lnTo>
                    <a:pt x="3624" y="4034"/>
                  </a:lnTo>
                  <a:close/>
                  <a:moveTo>
                    <a:pt x="3628" y="4333"/>
                  </a:moveTo>
                  <a:lnTo>
                    <a:pt x="3625" y="4328"/>
                  </a:lnTo>
                  <a:lnTo>
                    <a:pt x="3624" y="4320"/>
                  </a:lnTo>
                  <a:lnTo>
                    <a:pt x="3624" y="4079"/>
                  </a:lnTo>
                  <a:lnTo>
                    <a:pt x="3571" y="4072"/>
                  </a:lnTo>
                  <a:lnTo>
                    <a:pt x="3521" y="4062"/>
                  </a:lnTo>
                  <a:lnTo>
                    <a:pt x="3472" y="4045"/>
                  </a:lnTo>
                  <a:lnTo>
                    <a:pt x="3449" y="4035"/>
                  </a:lnTo>
                  <a:lnTo>
                    <a:pt x="3428" y="4024"/>
                  </a:lnTo>
                  <a:lnTo>
                    <a:pt x="3384" y="3998"/>
                  </a:lnTo>
                  <a:lnTo>
                    <a:pt x="3363" y="3984"/>
                  </a:lnTo>
                  <a:lnTo>
                    <a:pt x="3344" y="3967"/>
                  </a:lnTo>
                  <a:lnTo>
                    <a:pt x="3326" y="3951"/>
                  </a:lnTo>
                  <a:lnTo>
                    <a:pt x="3308" y="3934"/>
                  </a:lnTo>
                  <a:lnTo>
                    <a:pt x="3292" y="3915"/>
                  </a:lnTo>
                  <a:lnTo>
                    <a:pt x="3276" y="3896"/>
                  </a:lnTo>
                  <a:lnTo>
                    <a:pt x="3253" y="3865"/>
                  </a:lnTo>
                  <a:lnTo>
                    <a:pt x="3233" y="3832"/>
                  </a:lnTo>
                  <a:lnTo>
                    <a:pt x="3216" y="3797"/>
                  </a:lnTo>
                  <a:lnTo>
                    <a:pt x="3201" y="3762"/>
                  </a:lnTo>
                  <a:lnTo>
                    <a:pt x="3189" y="3725"/>
                  </a:lnTo>
                  <a:lnTo>
                    <a:pt x="3181" y="3686"/>
                  </a:lnTo>
                  <a:lnTo>
                    <a:pt x="3176" y="3645"/>
                  </a:lnTo>
                  <a:lnTo>
                    <a:pt x="3174" y="3604"/>
                  </a:lnTo>
                  <a:lnTo>
                    <a:pt x="3176" y="3557"/>
                  </a:lnTo>
                  <a:lnTo>
                    <a:pt x="3184" y="3510"/>
                  </a:lnTo>
                  <a:lnTo>
                    <a:pt x="3189" y="3488"/>
                  </a:lnTo>
                  <a:lnTo>
                    <a:pt x="3195" y="3465"/>
                  </a:lnTo>
                  <a:lnTo>
                    <a:pt x="3211" y="3423"/>
                  </a:lnTo>
                  <a:lnTo>
                    <a:pt x="3231" y="3382"/>
                  </a:lnTo>
                  <a:lnTo>
                    <a:pt x="3254" y="3342"/>
                  </a:lnTo>
                  <a:lnTo>
                    <a:pt x="3281" y="3306"/>
                  </a:lnTo>
                  <a:lnTo>
                    <a:pt x="3297" y="3290"/>
                  </a:lnTo>
                  <a:lnTo>
                    <a:pt x="3312" y="3273"/>
                  </a:lnTo>
                  <a:lnTo>
                    <a:pt x="3345" y="3242"/>
                  </a:lnTo>
                  <a:lnTo>
                    <a:pt x="3363" y="3228"/>
                  </a:lnTo>
                  <a:lnTo>
                    <a:pt x="3381" y="3216"/>
                  </a:lnTo>
                  <a:lnTo>
                    <a:pt x="3420" y="3193"/>
                  </a:lnTo>
                  <a:lnTo>
                    <a:pt x="3440" y="3182"/>
                  </a:lnTo>
                  <a:lnTo>
                    <a:pt x="3462" y="3172"/>
                  </a:lnTo>
                  <a:lnTo>
                    <a:pt x="3483" y="3164"/>
                  </a:lnTo>
                  <a:lnTo>
                    <a:pt x="3504" y="3157"/>
                  </a:lnTo>
                  <a:lnTo>
                    <a:pt x="3528" y="3150"/>
                  </a:lnTo>
                  <a:lnTo>
                    <a:pt x="3549" y="3145"/>
                  </a:lnTo>
                  <a:lnTo>
                    <a:pt x="3597" y="3138"/>
                  </a:lnTo>
                  <a:lnTo>
                    <a:pt x="3644" y="3135"/>
                  </a:lnTo>
                  <a:lnTo>
                    <a:pt x="3701" y="3139"/>
                  </a:lnTo>
                  <a:lnTo>
                    <a:pt x="3728" y="3143"/>
                  </a:lnTo>
                  <a:lnTo>
                    <a:pt x="3755" y="3149"/>
                  </a:lnTo>
                  <a:lnTo>
                    <a:pt x="3781" y="3156"/>
                  </a:lnTo>
                  <a:lnTo>
                    <a:pt x="3807" y="3164"/>
                  </a:lnTo>
                  <a:lnTo>
                    <a:pt x="3831" y="3175"/>
                  </a:lnTo>
                  <a:lnTo>
                    <a:pt x="3856" y="3185"/>
                  </a:lnTo>
                  <a:lnTo>
                    <a:pt x="3902" y="3212"/>
                  </a:lnTo>
                  <a:lnTo>
                    <a:pt x="3944" y="3242"/>
                  </a:lnTo>
                  <a:lnTo>
                    <a:pt x="3965" y="3260"/>
                  </a:lnTo>
                  <a:lnTo>
                    <a:pt x="3983" y="3278"/>
                  </a:lnTo>
                  <a:lnTo>
                    <a:pt x="4001" y="3299"/>
                  </a:lnTo>
                  <a:lnTo>
                    <a:pt x="4017" y="3318"/>
                  </a:lnTo>
                  <a:lnTo>
                    <a:pt x="4040" y="3350"/>
                  </a:lnTo>
                  <a:lnTo>
                    <a:pt x="4060" y="3382"/>
                  </a:lnTo>
                  <a:lnTo>
                    <a:pt x="4078" y="3416"/>
                  </a:lnTo>
                  <a:lnTo>
                    <a:pt x="4092" y="3453"/>
                  </a:lnTo>
                  <a:lnTo>
                    <a:pt x="4103" y="3491"/>
                  </a:lnTo>
                  <a:lnTo>
                    <a:pt x="4112" y="3529"/>
                  </a:lnTo>
                  <a:lnTo>
                    <a:pt x="4117" y="3569"/>
                  </a:lnTo>
                  <a:lnTo>
                    <a:pt x="4119" y="3609"/>
                  </a:lnTo>
                  <a:lnTo>
                    <a:pt x="4117" y="3657"/>
                  </a:lnTo>
                  <a:lnTo>
                    <a:pt x="4110" y="3702"/>
                  </a:lnTo>
                  <a:lnTo>
                    <a:pt x="4105" y="3725"/>
                  </a:lnTo>
                  <a:lnTo>
                    <a:pt x="4099" y="3746"/>
                  </a:lnTo>
                  <a:lnTo>
                    <a:pt x="4084" y="3788"/>
                  </a:lnTo>
                  <a:lnTo>
                    <a:pt x="4075" y="3809"/>
                  </a:lnTo>
                  <a:lnTo>
                    <a:pt x="4065" y="3828"/>
                  </a:lnTo>
                  <a:lnTo>
                    <a:pt x="4043" y="3866"/>
                  </a:lnTo>
                  <a:lnTo>
                    <a:pt x="4016" y="3902"/>
                  </a:lnTo>
                  <a:lnTo>
                    <a:pt x="3988" y="3936"/>
                  </a:lnTo>
                  <a:lnTo>
                    <a:pt x="3956" y="3965"/>
                  </a:lnTo>
                  <a:lnTo>
                    <a:pt x="3921" y="3993"/>
                  </a:lnTo>
                  <a:lnTo>
                    <a:pt x="3884" y="4016"/>
                  </a:lnTo>
                  <a:lnTo>
                    <a:pt x="3844" y="4037"/>
                  </a:lnTo>
                  <a:lnTo>
                    <a:pt x="3802" y="4053"/>
                  </a:lnTo>
                  <a:lnTo>
                    <a:pt x="3760" y="4066"/>
                  </a:lnTo>
                  <a:lnTo>
                    <a:pt x="3715" y="4075"/>
                  </a:lnTo>
                  <a:lnTo>
                    <a:pt x="3667" y="4079"/>
                  </a:lnTo>
                  <a:lnTo>
                    <a:pt x="3667" y="4336"/>
                  </a:lnTo>
                  <a:lnTo>
                    <a:pt x="3666" y="4345"/>
                  </a:lnTo>
                  <a:lnTo>
                    <a:pt x="3661" y="4351"/>
                  </a:lnTo>
                  <a:lnTo>
                    <a:pt x="3654" y="4355"/>
                  </a:lnTo>
                  <a:lnTo>
                    <a:pt x="3648" y="4356"/>
                  </a:lnTo>
                  <a:lnTo>
                    <a:pt x="3640" y="4355"/>
                  </a:lnTo>
                  <a:lnTo>
                    <a:pt x="3634" y="4351"/>
                  </a:lnTo>
                  <a:lnTo>
                    <a:pt x="3629" y="4345"/>
                  </a:lnTo>
                  <a:lnTo>
                    <a:pt x="3628" y="4336"/>
                  </a:lnTo>
                  <a:lnTo>
                    <a:pt x="3628" y="4333"/>
                  </a:lnTo>
                  <a:close/>
                </a:path>
              </a:pathLst>
            </a:custGeom>
            <a:solidFill>
              <a:srgbClr val="FF6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12">
              <a:extLst>
                <a:ext uri="{FF2B5EF4-FFF2-40B4-BE49-F238E27FC236}">
                  <a16:creationId xmlns:a16="http://schemas.microsoft.com/office/drawing/2014/main" id="{D1B949EF-E873-4EC8-9984-717CF3B6E746}"/>
                </a:ext>
              </a:extLst>
            </p:cNvPr>
            <p:cNvSpPr>
              <a:spLocks noChangeAspect="1" noEditPoints="1"/>
            </p:cNvSpPr>
            <p:nvPr userDrawn="1"/>
          </p:nvSpPr>
          <p:spPr bwMode="black">
            <a:xfrm>
              <a:off x="5610994" y="5177099"/>
              <a:ext cx="193514" cy="216000"/>
            </a:xfrm>
            <a:custGeom>
              <a:avLst/>
              <a:gdLst>
                <a:gd name="T0" fmla="*/ 2964 w 3578"/>
                <a:gd name="T1" fmla="*/ 3151 h 3996"/>
                <a:gd name="T2" fmla="*/ 2988 w 3578"/>
                <a:gd name="T3" fmla="*/ 3131 h 3996"/>
                <a:gd name="T4" fmla="*/ 3002 w 3578"/>
                <a:gd name="T5" fmla="*/ 3095 h 3996"/>
                <a:gd name="T6" fmla="*/ 2998 w 3578"/>
                <a:gd name="T7" fmla="*/ 3052 h 3996"/>
                <a:gd name="T8" fmla="*/ 2570 w 3578"/>
                <a:gd name="T9" fmla="*/ 2480 h 3996"/>
                <a:gd name="T10" fmla="*/ 2976 w 3578"/>
                <a:gd name="T11" fmla="*/ 956 h 3996"/>
                <a:gd name="T12" fmla="*/ 2988 w 3578"/>
                <a:gd name="T13" fmla="*/ 917 h 3996"/>
                <a:gd name="T14" fmla="*/ 2981 w 3578"/>
                <a:gd name="T15" fmla="*/ 878 h 3996"/>
                <a:gd name="T16" fmla="*/ 2961 w 3578"/>
                <a:gd name="T17" fmla="*/ 853 h 3996"/>
                <a:gd name="T18" fmla="*/ 2936 w 3578"/>
                <a:gd name="T19" fmla="*/ 840 h 3996"/>
                <a:gd name="T20" fmla="*/ 2275 w 3578"/>
                <a:gd name="T21" fmla="*/ 835 h 3996"/>
                <a:gd name="T22" fmla="*/ 2209 w 3578"/>
                <a:gd name="T23" fmla="*/ 845 h 3996"/>
                <a:gd name="T24" fmla="*/ 2160 w 3578"/>
                <a:gd name="T25" fmla="*/ 872 h 3996"/>
                <a:gd name="T26" fmla="*/ 2119 w 3578"/>
                <a:gd name="T27" fmla="*/ 915 h 3996"/>
                <a:gd name="T28" fmla="*/ 1365 w 3578"/>
                <a:gd name="T29" fmla="*/ 931 h 3996"/>
                <a:gd name="T30" fmla="*/ 1356 w 3578"/>
                <a:gd name="T31" fmla="*/ 884 h 3996"/>
                <a:gd name="T32" fmla="*/ 1325 w 3578"/>
                <a:gd name="T33" fmla="*/ 851 h 3996"/>
                <a:gd name="T34" fmla="*/ 1280 w 3578"/>
                <a:gd name="T35" fmla="*/ 835 h 3996"/>
                <a:gd name="T36" fmla="*/ 664 w 3578"/>
                <a:gd name="T37" fmla="*/ 840 h 3996"/>
                <a:gd name="T38" fmla="*/ 625 w 3578"/>
                <a:gd name="T39" fmla="*/ 862 h 3996"/>
                <a:gd name="T40" fmla="*/ 602 w 3578"/>
                <a:gd name="T41" fmla="*/ 902 h 3996"/>
                <a:gd name="T42" fmla="*/ 598 w 3578"/>
                <a:gd name="T43" fmla="*/ 1998 h 3996"/>
                <a:gd name="T44" fmla="*/ 602 w 3578"/>
                <a:gd name="T45" fmla="*/ 3094 h 3996"/>
                <a:gd name="T46" fmla="*/ 625 w 3578"/>
                <a:gd name="T47" fmla="*/ 3133 h 3996"/>
                <a:gd name="T48" fmla="*/ 664 w 3578"/>
                <a:gd name="T49" fmla="*/ 3156 h 3996"/>
                <a:gd name="T50" fmla="*/ 1280 w 3578"/>
                <a:gd name="T51" fmla="*/ 3160 h 3996"/>
                <a:gd name="T52" fmla="*/ 1325 w 3578"/>
                <a:gd name="T53" fmla="*/ 3144 h 3996"/>
                <a:gd name="T54" fmla="*/ 1356 w 3578"/>
                <a:gd name="T55" fmla="*/ 3111 h 3996"/>
                <a:gd name="T56" fmla="*/ 1365 w 3578"/>
                <a:gd name="T57" fmla="*/ 3064 h 3996"/>
                <a:gd name="T58" fmla="*/ 2119 w 3578"/>
                <a:gd name="T59" fmla="*/ 3080 h 3996"/>
                <a:gd name="T60" fmla="*/ 2160 w 3578"/>
                <a:gd name="T61" fmla="*/ 3123 h 3996"/>
                <a:gd name="T62" fmla="*/ 2209 w 3578"/>
                <a:gd name="T63" fmla="*/ 3151 h 3996"/>
                <a:gd name="T64" fmla="*/ 2275 w 3578"/>
                <a:gd name="T65" fmla="*/ 3160 h 3996"/>
                <a:gd name="T66" fmla="*/ 4 w 3578"/>
                <a:gd name="T67" fmla="*/ 3929 h 3996"/>
                <a:gd name="T68" fmla="*/ 27 w 3578"/>
                <a:gd name="T69" fmla="*/ 3968 h 3996"/>
                <a:gd name="T70" fmla="*/ 66 w 3578"/>
                <a:gd name="T71" fmla="*/ 3991 h 3996"/>
                <a:gd name="T72" fmla="*/ 1789 w 3578"/>
                <a:gd name="T73" fmla="*/ 3996 h 3996"/>
                <a:gd name="T74" fmla="*/ 3512 w 3578"/>
                <a:gd name="T75" fmla="*/ 3991 h 3996"/>
                <a:gd name="T76" fmla="*/ 3552 w 3578"/>
                <a:gd name="T77" fmla="*/ 3968 h 3996"/>
                <a:gd name="T78" fmla="*/ 3574 w 3578"/>
                <a:gd name="T79" fmla="*/ 3929 h 3996"/>
                <a:gd name="T80" fmla="*/ 3577 w 3578"/>
                <a:gd name="T81" fmla="*/ 3624 h 3996"/>
                <a:gd name="T82" fmla="*/ 3563 w 3578"/>
                <a:gd name="T83" fmla="*/ 3579 h 3996"/>
                <a:gd name="T84" fmla="*/ 3529 w 3578"/>
                <a:gd name="T85" fmla="*/ 3549 h 3996"/>
                <a:gd name="T86" fmla="*/ 3482 w 3578"/>
                <a:gd name="T87" fmla="*/ 3538 h 3996"/>
                <a:gd name="T88" fmla="*/ 85 w 3578"/>
                <a:gd name="T89" fmla="*/ 3538 h 3996"/>
                <a:gd name="T90" fmla="*/ 41 w 3578"/>
                <a:gd name="T91" fmla="*/ 3554 h 3996"/>
                <a:gd name="T92" fmla="*/ 11 w 3578"/>
                <a:gd name="T93" fmla="*/ 3587 h 3996"/>
                <a:gd name="T94" fmla="*/ 0 w 3578"/>
                <a:gd name="T95" fmla="*/ 3634 h 3996"/>
                <a:gd name="T96" fmla="*/ 4 w 3578"/>
                <a:gd name="T97" fmla="*/ 391 h 3996"/>
                <a:gd name="T98" fmla="*/ 27 w 3578"/>
                <a:gd name="T99" fmla="*/ 430 h 3996"/>
                <a:gd name="T100" fmla="*/ 66 w 3578"/>
                <a:gd name="T101" fmla="*/ 453 h 3996"/>
                <a:gd name="T102" fmla="*/ 1789 w 3578"/>
                <a:gd name="T103" fmla="*/ 456 h 3996"/>
                <a:gd name="T104" fmla="*/ 3512 w 3578"/>
                <a:gd name="T105" fmla="*/ 453 h 3996"/>
                <a:gd name="T106" fmla="*/ 3552 w 3578"/>
                <a:gd name="T107" fmla="*/ 430 h 3996"/>
                <a:gd name="T108" fmla="*/ 3574 w 3578"/>
                <a:gd name="T109" fmla="*/ 391 h 3996"/>
                <a:gd name="T110" fmla="*/ 3577 w 3578"/>
                <a:gd name="T111" fmla="*/ 85 h 3996"/>
                <a:gd name="T112" fmla="*/ 3563 w 3578"/>
                <a:gd name="T113" fmla="*/ 41 h 3996"/>
                <a:gd name="T114" fmla="*/ 3529 w 3578"/>
                <a:gd name="T115" fmla="*/ 11 h 3996"/>
                <a:gd name="T116" fmla="*/ 3482 w 3578"/>
                <a:gd name="T117" fmla="*/ 0 h 3996"/>
                <a:gd name="T118" fmla="*/ 85 w 3578"/>
                <a:gd name="T119" fmla="*/ 0 h 3996"/>
                <a:gd name="T120" fmla="*/ 41 w 3578"/>
                <a:gd name="T121" fmla="*/ 16 h 3996"/>
                <a:gd name="T122" fmla="*/ 11 w 3578"/>
                <a:gd name="T123" fmla="*/ 49 h 3996"/>
                <a:gd name="T124" fmla="*/ 0 w 3578"/>
                <a:gd name="T125" fmla="*/ 95 h 3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78" h="3996">
                  <a:moveTo>
                    <a:pt x="2924" y="3160"/>
                  </a:moveTo>
                  <a:lnTo>
                    <a:pt x="2936" y="3160"/>
                  </a:lnTo>
                  <a:lnTo>
                    <a:pt x="2947" y="3157"/>
                  </a:lnTo>
                  <a:lnTo>
                    <a:pt x="2958" y="3153"/>
                  </a:lnTo>
                  <a:lnTo>
                    <a:pt x="2964" y="3151"/>
                  </a:lnTo>
                  <a:lnTo>
                    <a:pt x="2968" y="3148"/>
                  </a:lnTo>
                  <a:lnTo>
                    <a:pt x="2977" y="3142"/>
                  </a:lnTo>
                  <a:lnTo>
                    <a:pt x="2981" y="3139"/>
                  </a:lnTo>
                  <a:lnTo>
                    <a:pt x="2985" y="3135"/>
                  </a:lnTo>
                  <a:lnTo>
                    <a:pt x="2988" y="3131"/>
                  </a:lnTo>
                  <a:lnTo>
                    <a:pt x="2991" y="3126"/>
                  </a:lnTo>
                  <a:lnTo>
                    <a:pt x="2996" y="3117"/>
                  </a:lnTo>
                  <a:lnTo>
                    <a:pt x="3000" y="3106"/>
                  </a:lnTo>
                  <a:lnTo>
                    <a:pt x="3001" y="3101"/>
                  </a:lnTo>
                  <a:lnTo>
                    <a:pt x="3002" y="3095"/>
                  </a:lnTo>
                  <a:lnTo>
                    <a:pt x="3003" y="3084"/>
                  </a:lnTo>
                  <a:lnTo>
                    <a:pt x="3002" y="3072"/>
                  </a:lnTo>
                  <a:lnTo>
                    <a:pt x="3001" y="3065"/>
                  </a:lnTo>
                  <a:lnTo>
                    <a:pt x="2999" y="3059"/>
                  </a:lnTo>
                  <a:lnTo>
                    <a:pt x="2998" y="3052"/>
                  </a:lnTo>
                  <a:lnTo>
                    <a:pt x="2995" y="3045"/>
                  </a:lnTo>
                  <a:lnTo>
                    <a:pt x="2988" y="3032"/>
                  </a:lnTo>
                  <a:lnTo>
                    <a:pt x="2985" y="3026"/>
                  </a:lnTo>
                  <a:lnTo>
                    <a:pt x="2980" y="3019"/>
                  </a:lnTo>
                  <a:lnTo>
                    <a:pt x="2570" y="2480"/>
                  </a:lnTo>
                  <a:lnTo>
                    <a:pt x="2162" y="1941"/>
                  </a:lnTo>
                  <a:lnTo>
                    <a:pt x="2562" y="1459"/>
                  </a:lnTo>
                  <a:lnTo>
                    <a:pt x="2962" y="976"/>
                  </a:lnTo>
                  <a:lnTo>
                    <a:pt x="2972" y="962"/>
                  </a:lnTo>
                  <a:lnTo>
                    <a:pt x="2976" y="956"/>
                  </a:lnTo>
                  <a:lnTo>
                    <a:pt x="2979" y="949"/>
                  </a:lnTo>
                  <a:lnTo>
                    <a:pt x="2985" y="936"/>
                  </a:lnTo>
                  <a:lnTo>
                    <a:pt x="2986" y="929"/>
                  </a:lnTo>
                  <a:lnTo>
                    <a:pt x="2988" y="923"/>
                  </a:lnTo>
                  <a:lnTo>
                    <a:pt x="2988" y="917"/>
                  </a:lnTo>
                  <a:lnTo>
                    <a:pt x="2989" y="910"/>
                  </a:lnTo>
                  <a:lnTo>
                    <a:pt x="2988" y="899"/>
                  </a:lnTo>
                  <a:lnTo>
                    <a:pt x="2987" y="894"/>
                  </a:lnTo>
                  <a:lnTo>
                    <a:pt x="2986" y="888"/>
                  </a:lnTo>
                  <a:lnTo>
                    <a:pt x="2981" y="878"/>
                  </a:lnTo>
                  <a:lnTo>
                    <a:pt x="2979" y="873"/>
                  </a:lnTo>
                  <a:lnTo>
                    <a:pt x="2976" y="868"/>
                  </a:lnTo>
                  <a:lnTo>
                    <a:pt x="2972" y="864"/>
                  </a:lnTo>
                  <a:lnTo>
                    <a:pt x="2969" y="861"/>
                  </a:lnTo>
                  <a:lnTo>
                    <a:pt x="2961" y="853"/>
                  </a:lnTo>
                  <a:lnTo>
                    <a:pt x="2957" y="849"/>
                  </a:lnTo>
                  <a:lnTo>
                    <a:pt x="2951" y="846"/>
                  </a:lnTo>
                  <a:lnTo>
                    <a:pt x="2947" y="844"/>
                  </a:lnTo>
                  <a:lnTo>
                    <a:pt x="2941" y="842"/>
                  </a:lnTo>
                  <a:lnTo>
                    <a:pt x="2936" y="840"/>
                  </a:lnTo>
                  <a:lnTo>
                    <a:pt x="2930" y="838"/>
                  </a:lnTo>
                  <a:lnTo>
                    <a:pt x="2925" y="836"/>
                  </a:lnTo>
                  <a:lnTo>
                    <a:pt x="2919" y="836"/>
                  </a:lnTo>
                  <a:lnTo>
                    <a:pt x="2907" y="835"/>
                  </a:lnTo>
                  <a:lnTo>
                    <a:pt x="2275" y="835"/>
                  </a:lnTo>
                  <a:lnTo>
                    <a:pt x="2260" y="835"/>
                  </a:lnTo>
                  <a:lnTo>
                    <a:pt x="2246" y="836"/>
                  </a:lnTo>
                  <a:lnTo>
                    <a:pt x="2234" y="838"/>
                  </a:lnTo>
                  <a:lnTo>
                    <a:pt x="2222" y="841"/>
                  </a:lnTo>
                  <a:lnTo>
                    <a:pt x="2209" y="845"/>
                  </a:lnTo>
                  <a:lnTo>
                    <a:pt x="2198" y="848"/>
                  </a:lnTo>
                  <a:lnTo>
                    <a:pt x="2188" y="854"/>
                  </a:lnTo>
                  <a:lnTo>
                    <a:pt x="2178" y="859"/>
                  </a:lnTo>
                  <a:lnTo>
                    <a:pt x="2168" y="865"/>
                  </a:lnTo>
                  <a:lnTo>
                    <a:pt x="2160" y="872"/>
                  </a:lnTo>
                  <a:lnTo>
                    <a:pt x="2151" y="879"/>
                  </a:lnTo>
                  <a:lnTo>
                    <a:pt x="2142" y="887"/>
                  </a:lnTo>
                  <a:lnTo>
                    <a:pt x="2134" y="896"/>
                  </a:lnTo>
                  <a:lnTo>
                    <a:pt x="2126" y="905"/>
                  </a:lnTo>
                  <a:lnTo>
                    <a:pt x="2119" y="915"/>
                  </a:lnTo>
                  <a:lnTo>
                    <a:pt x="2111" y="925"/>
                  </a:lnTo>
                  <a:lnTo>
                    <a:pt x="1738" y="1404"/>
                  </a:lnTo>
                  <a:lnTo>
                    <a:pt x="1365" y="1885"/>
                  </a:lnTo>
                  <a:lnTo>
                    <a:pt x="1365" y="1408"/>
                  </a:lnTo>
                  <a:lnTo>
                    <a:pt x="1365" y="931"/>
                  </a:lnTo>
                  <a:lnTo>
                    <a:pt x="1365" y="920"/>
                  </a:lnTo>
                  <a:lnTo>
                    <a:pt x="1364" y="910"/>
                  </a:lnTo>
                  <a:lnTo>
                    <a:pt x="1362" y="902"/>
                  </a:lnTo>
                  <a:lnTo>
                    <a:pt x="1359" y="892"/>
                  </a:lnTo>
                  <a:lnTo>
                    <a:pt x="1356" y="884"/>
                  </a:lnTo>
                  <a:lnTo>
                    <a:pt x="1350" y="876"/>
                  </a:lnTo>
                  <a:lnTo>
                    <a:pt x="1346" y="868"/>
                  </a:lnTo>
                  <a:lnTo>
                    <a:pt x="1339" y="862"/>
                  </a:lnTo>
                  <a:lnTo>
                    <a:pt x="1332" y="856"/>
                  </a:lnTo>
                  <a:lnTo>
                    <a:pt x="1325" y="851"/>
                  </a:lnTo>
                  <a:lnTo>
                    <a:pt x="1317" y="846"/>
                  </a:lnTo>
                  <a:lnTo>
                    <a:pt x="1309" y="842"/>
                  </a:lnTo>
                  <a:lnTo>
                    <a:pt x="1300" y="840"/>
                  </a:lnTo>
                  <a:lnTo>
                    <a:pt x="1290" y="837"/>
                  </a:lnTo>
                  <a:lnTo>
                    <a:pt x="1280" y="835"/>
                  </a:lnTo>
                  <a:lnTo>
                    <a:pt x="1270" y="835"/>
                  </a:lnTo>
                  <a:lnTo>
                    <a:pt x="694" y="835"/>
                  </a:lnTo>
                  <a:lnTo>
                    <a:pt x="684" y="835"/>
                  </a:lnTo>
                  <a:lnTo>
                    <a:pt x="674" y="837"/>
                  </a:lnTo>
                  <a:lnTo>
                    <a:pt x="664" y="840"/>
                  </a:lnTo>
                  <a:lnTo>
                    <a:pt x="656" y="842"/>
                  </a:lnTo>
                  <a:lnTo>
                    <a:pt x="647" y="846"/>
                  </a:lnTo>
                  <a:lnTo>
                    <a:pt x="639" y="851"/>
                  </a:lnTo>
                  <a:lnTo>
                    <a:pt x="632" y="856"/>
                  </a:lnTo>
                  <a:lnTo>
                    <a:pt x="625" y="862"/>
                  </a:lnTo>
                  <a:lnTo>
                    <a:pt x="619" y="868"/>
                  </a:lnTo>
                  <a:lnTo>
                    <a:pt x="614" y="876"/>
                  </a:lnTo>
                  <a:lnTo>
                    <a:pt x="609" y="884"/>
                  </a:lnTo>
                  <a:lnTo>
                    <a:pt x="606" y="892"/>
                  </a:lnTo>
                  <a:lnTo>
                    <a:pt x="602" y="902"/>
                  </a:lnTo>
                  <a:lnTo>
                    <a:pt x="600" y="910"/>
                  </a:lnTo>
                  <a:lnTo>
                    <a:pt x="599" y="920"/>
                  </a:lnTo>
                  <a:lnTo>
                    <a:pt x="598" y="931"/>
                  </a:lnTo>
                  <a:lnTo>
                    <a:pt x="598" y="1464"/>
                  </a:lnTo>
                  <a:lnTo>
                    <a:pt x="598" y="1998"/>
                  </a:lnTo>
                  <a:lnTo>
                    <a:pt x="598" y="2531"/>
                  </a:lnTo>
                  <a:lnTo>
                    <a:pt x="598" y="3064"/>
                  </a:lnTo>
                  <a:lnTo>
                    <a:pt x="599" y="3074"/>
                  </a:lnTo>
                  <a:lnTo>
                    <a:pt x="600" y="3084"/>
                  </a:lnTo>
                  <a:lnTo>
                    <a:pt x="602" y="3094"/>
                  </a:lnTo>
                  <a:lnTo>
                    <a:pt x="606" y="3103"/>
                  </a:lnTo>
                  <a:lnTo>
                    <a:pt x="609" y="3111"/>
                  </a:lnTo>
                  <a:lnTo>
                    <a:pt x="614" y="3120"/>
                  </a:lnTo>
                  <a:lnTo>
                    <a:pt x="619" y="3126"/>
                  </a:lnTo>
                  <a:lnTo>
                    <a:pt x="625" y="3133"/>
                  </a:lnTo>
                  <a:lnTo>
                    <a:pt x="632" y="3140"/>
                  </a:lnTo>
                  <a:lnTo>
                    <a:pt x="639" y="3144"/>
                  </a:lnTo>
                  <a:lnTo>
                    <a:pt x="647" y="3150"/>
                  </a:lnTo>
                  <a:lnTo>
                    <a:pt x="656" y="3153"/>
                  </a:lnTo>
                  <a:lnTo>
                    <a:pt x="664" y="3156"/>
                  </a:lnTo>
                  <a:lnTo>
                    <a:pt x="674" y="3158"/>
                  </a:lnTo>
                  <a:lnTo>
                    <a:pt x="684" y="3160"/>
                  </a:lnTo>
                  <a:lnTo>
                    <a:pt x="694" y="3160"/>
                  </a:lnTo>
                  <a:lnTo>
                    <a:pt x="1270" y="3160"/>
                  </a:lnTo>
                  <a:lnTo>
                    <a:pt x="1280" y="3160"/>
                  </a:lnTo>
                  <a:lnTo>
                    <a:pt x="1290" y="3158"/>
                  </a:lnTo>
                  <a:lnTo>
                    <a:pt x="1300" y="3156"/>
                  </a:lnTo>
                  <a:lnTo>
                    <a:pt x="1309" y="3153"/>
                  </a:lnTo>
                  <a:lnTo>
                    <a:pt x="1317" y="3150"/>
                  </a:lnTo>
                  <a:lnTo>
                    <a:pt x="1325" y="3144"/>
                  </a:lnTo>
                  <a:lnTo>
                    <a:pt x="1332" y="3140"/>
                  </a:lnTo>
                  <a:lnTo>
                    <a:pt x="1339" y="3133"/>
                  </a:lnTo>
                  <a:lnTo>
                    <a:pt x="1346" y="3126"/>
                  </a:lnTo>
                  <a:lnTo>
                    <a:pt x="1350" y="3120"/>
                  </a:lnTo>
                  <a:lnTo>
                    <a:pt x="1356" y="3111"/>
                  </a:lnTo>
                  <a:lnTo>
                    <a:pt x="1359" y="3103"/>
                  </a:lnTo>
                  <a:lnTo>
                    <a:pt x="1362" y="3094"/>
                  </a:lnTo>
                  <a:lnTo>
                    <a:pt x="1364" y="3084"/>
                  </a:lnTo>
                  <a:lnTo>
                    <a:pt x="1365" y="3074"/>
                  </a:lnTo>
                  <a:lnTo>
                    <a:pt x="1365" y="3064"/>
                  </a:lnTo>
                  <a:lnTo>
                    <a:pt x="1365" y="2539"/>
                  </a:lnTo>
                  <a:lnTo>
                    <a:pt x="1365" y="2014"/>
                  </a:lnTo>
                  <a:lnTo>
                    <a:pt x="1738" y="2542"/>
                  </a:lnTo>
                  <a:lnTo>
                    <a:pt x="2111" y="3070"/>
                  </a:lnTo>
                  <a:lnTo>
                    <a:pt x="2119" y="3080"/>
                  </a:lnTo>
                  <a:lnTo>
                    <a:pt x="2126" y="3090"/>
                  </a:lnTo>
                  <a:lnTo>
                    <a:pt x="2134" y="3099"/>
                  </a:lnTo>
                  <a:lnTo>
                    <a:pt x="2142" y="3108"/>
                  </a:lnTo>
                  <a:lnTo>
                    <a:pt x="2151" y="3115"/>
                  </a:lnTo>
                  <a:lnTo>
                    <a:pt x="2160" y="3123"/>
                  </a:lnTo>
                  <a:lnTo>
                    <a:pt x="2168" y="3130"/>
                  </a:lnTo>
                  <a:lnTo>
                    <a:pt x="2178" y="3136"/>
                  </a:lnTo>
                  <a:lnTo>
                    <a:pt x="2188" y="3142"/>
                  </a:lnTo>
                  <a:lnTo>
                    <a:pt x="2198" y="3146"/>
                  </a:lnTo>
                  <a:lnTo>
                    <a:pt x="2209" y="3151"/>
                  </a:lnTo>
                  <a:lnTo>
                    <a:pt x="2222" y="3154"/>
                  </a:lnTo>
                  <a:lnTo>
                    <a:pt x="2234" y="3156"/>
                  </a:lnTo>
                  <a:lnTo>
                    <a:pt x="2246" y="3158"/>
                  </a:lnTo>
                  <a:lnTo>
                    <a:pt x="2260" y="3160"/>
                  </a:lnTo>
                  <a:lnTo>
                    <a:pt x="2275" y="3160"/>
                  </a:lnTo>
                  <a:lnTo>
                    <a:pt x="2924" y="3160"/>
                  </a:lnTo>
                  <a:close/>
                  <a:moveTo>
                    <a:pt x="0" y="3899"/>
                  </a:moveTo>
                  <a:lnTo>
                    <a:pt x="1" y="3909"/>
                  </a:lnTo>
                  <a:lnTo>
                    <a:pt x="2" y="3919"/>
                  </a:lnTo>
                  <a:lnTo>
                    <a:pt x="4" y="3929"/>
                  </a:lnTo>
                  <a:lnTo>
                    <a:pt x="8" y="3938"/>
                  </a:lnTo>
                  <a:lnTo>
                    <a:pt x="11" y="3947"/>
                  </a:lnTo>
                  <a:lnTo>
                    <a:pt x="16" y="3955"/>
                  </a:lnTo>
                  <a:lnTo>
                    <a:pt x="21" y="3961"/>
                  </a:lnTo>
                  <a:lnTo>
                    <a:pt x="27" y="3968"/>
                  </a:lnTo>
                  <a:lnTo>
                    <a:pt x="33" y="3975"/>
                  </a:lnTo>
                  <a:lnTo>
                    <a:pt x="41" y="3980"/>
                  </a:lnTo>
                  <a:lnTo>
                    <a:pt x="49" y="3985"/>
                  </a:lnTo>
                  <a:lnTo>
                    <a:pt x="58" y="3988"/>
                  </a:lnTo>
                  <a:lnTo>
                    <a:pt x="66" y="3991"/>
                  </a:lnTo>
                  <a:lnTo>
                    <a:pt x="75" y="3993"/>
                  </a:lnTo>
                  <a:lnTo>
                    <a:pt x="85" y="3995"/>
                  </a:lnTo>
                  <a:lnTo>
                    <a:pt x="96" y="3996"/>
                  </a:lnTo>
                  <a:lnTo>
                    <a:pt x="942" y="3996"/>
                  </a:lnTo>
                  <a:lnTo>
                    <a:pt x="1789" y="3996"/>
                  </a:lnTo>
                  <a:lnTo>
                    <a:pt x="2635" y="3996"/>
                  </a:lnTo>
                  <a:lnTo>
                    <a:pt x="3482" y="3996"/>
                  </a:lnTo>
                  <a:lnTo>
                    <a:pt x="3493" y="3995"/>
                  </a:lnTo>
                  <a:lnTo>
                    <a:pt x="3503" y="3993"/>
                  </a:lnTo>
                  <a:lnTo>
                    <a:pt x="3512" y="3991"/>
                  </a:lnTo>
                  <a:lnTo>
                    <a:pt x="3521" y="3988"/>
                  </a:lnTo>
                  <a:lnTo>
                    <a:pt x="3529" y="3985"/>
                  </a:lnTo>
                  <a:lnTo>
                    <a:pt x="3537" y="3980"/>
                  </a:lnTo>
                  <a:lnTo>
                    <a:pt x="3545" y="3975"/>
                  </a:lnTo>
                  <a:lnTo>
                    <a:pt x="3552" y="3968"/>
                  </a:lnTo>
                  <a:lnTo>
                    <a:pt x="3557" y="3961"/>
                  </a:lnTo>
                  <a:lnTo>
                    <a:pt x="3563" y="3955"/>
                  </a:lnTo>
                  <a:lnTo>
                    <a:pt x="3567" y="3947"/>
                  </a:lnTo>
                  <a:lnTo>
                    <a:pt x="3572" y="3938"/>
                  </a:lnTo>
                  <a:lnTo>
                    <a:pt x="3574" y="3929"/>
                  </a:lnTo>
                  <a:lnTo>
                    <a:pt x="3576" y="3919"/>
                  </a:lnTo>
                  <a:lnTo>
                    <a:pt x="3577" y="3909"/>
                  </a:lnTo>
                  <a:lnTo>
                    <a:pt x="3578" y="3899"/>
                  </a:lnTo>
                  <a:lnTo>
                    <a:pt x="3578" y="3634"/>
                  </a:lnTo>
                  <a:lnTo>
                    <a:pt x="3577" y="3624"/>
                  </a:lnTo>
                  <a:lnTo>
                    <a:pt x="3576" y="3614"/>
                  </a:lnTo>
                  <a:lnTo>
                    <a:pt x="3574" y="3605"/>
                  </a:lnTo>
                  <a:lnTo>
                    <a:pt x="3572" y="3595"/>
                  </a:lnTo>
                  <a:lnTo>
                    <a:pt x="3567" y="3587"/>
                  </a:lnTo>
                  <a:lnTo>
                    <a:pt x="3563" y="3579"/>
                  </a:lnTo>
                  <a:lnTo>
                    <a:pt x="3557" y="3572"/>
                  </a:lnTo>
                  <a:lnTo>
                    <a:pt x="3552" y="3565"/>
                  </a:lnTo>
                  <a:lnTo>
                    <a:pt x="3545" y="3559"/>
                  </a:lnTo>
                  <a:lnTo>
                    <a:pt x="3537" y="3554"/>
                  </a:lnTo>
                  <a:lnTo>
                    <a:pt x="3529" y="3549"/>
                  </a:lnTo>
                  <a:lnTo>
                    <a:pt x="3521" y="3545"/>
                  </a:lnTo>
                  <a:lnTo>
                    <a:pt x="3512" y="3542"/>
                  </a:lnTo>
                  <a:lnTo>
                    <a:pt x="3503" y="3539"/>
                  </a:lnTo>
                  <a:lnTo>
                    <a:pt x="3493" y="3538"/>
                  </a:lnTo>
                  <a:lnTo>
                    <a:pt x="3482" y="3538"/>
                  </a:lnTo>
                  <a:lnTo>
                    <a:pt x="2635" y="3538"/>
                  </a:lnTo>
                  <a:lnTo>
                    <a:pt x="1789" y="3538"/>
                  </a:lnTo>
                  <a:lnTo>
                    <a:pt x="942" y="3538"/>
                  </a:lnTo>
                  <a:lnTo>
                    <a:pt x="96" y="3538"/>
                  </a:lnTo>
                  <a:lnTo>
                    <a:pt x="85" y="3538"/>
                  </a:lnTo>
                  <a:lnTo>
                    <a:pt x="75" y="3539"/>
                  </a:lnTo>
                  <a:lnTo>
                    <a:pt x="66" y="3542"/>
                  </a:lnTo>
                  <a:lnTo>
                    <a:pt x="58" y="3545"/>
                  </a:lnTo>
                  <a:lnTo>
                    <a:pt x="49" y="3549"/>
                  </a:lnTo>
                  <a:lnTo>
                    <a:pt x="41" y="3554"/>
                  </a:lnTo>
                  <a:lnTo>
                    <a:pt x="33" y="3559"/>
                  </a:lnTo>
                  <a:lnTo>
                    <a:pt x="27" y="3565"/>
                  </a:lnTo>
                  <a:lnTo>
                    <a:pt x="21" y="3572"/>
                  </a:lnTo>
                  <a:lnTo>
                    <a:pt x="16" y="3579"/>
                  </a:lnTo>
                  <a:lnTo>
                    <a:pt x="11" y="3587"/>
                  </a:lnTo>
                  <a:lnTo>
                    <a:pt x="8" y="3595"/>
                  </a:lnTo>
                  <a:lnTo>
                    <a:pt x="4" y="3605"/>
                  </a:lnTo>
                  <a:lnTo>
                    <a:pt x="2" y="3614"/>
                  </a:lnTo>
                  <a:lnTo>
                    <a:pt x="1" y="3624"/>
                  </a:lnTo>
                  <a:lnTo>
                    <a:pt x="0" y="3634"/>
                  </a:lnTo>
                  <a:lnTo>
                    <a:pt x="0" y="3899"/>
                  </a:lnTo>
                  <a:close/>
                  <a:moveTo>
                    <a:pt x="0" y="361"/>
                  </a:moveTo>
                  <a:lnTo>
                    <a:pt x="1" y="371"/>
                  </a:lnTo>
                  <a:lnTo>
                    <a:pt x="2" y="381"/>
                  </a:lnTo>
                  <a:lnTo>
                    <a:pt x="4" y="391"/>
                  </a:lnTo>
                  <a:lnTo>
                    <a:pt x="8" y="400"/>
                  </a:lnTo>
                  <a:lnTo>
                    <a:pt x="11" y="409"/>
                  </a:lnTo>
                  <a:lnTo>
                    <a:pt x="16" y="416"/>
                  </a:lnTo>
                  <a:lnTo>
                    <a:pt x="21" y="423"/>
                  </a:lnTo>
                  <a:lnTo>
                    <a:pt x="27" y="430"/>
                  </a:lnTo>
                  <a:lnTo>
                    <a:pt x="33" y="436"/>
                  </a:lnTo>
                  <a:lnTo>
                    <a:pt x="41" y="441"/>
                  </a:lnTo>
                  <a:lnTo>
                    <a:pt x="49" y="446"/>
                  </a:lnTo>
                  <a:lnTo>
                    <a:pt x="58" y="450"/>
                  </a:lnTo>
                  <a:lnTo>
                    <a:pt x="66" y="453"/>
                  </a:lnTo>
                  <a:lnTo>
                    <a:pt x="75" y="455"/>
                  </a:lnTo>
                  <a:lnTo>
                    <a:pt x="85" y="456"/>
                  </a:lnTo>
                  <a:lnTo>
                    <a:pt x="96" y="456"/>
                  </a:lnTo>
                  <a:lnTo>
                    <a:pt x="942" y="456"/>
                  </a:lnTo>
                  <a:lnTo>
                    <a:pt x="1789" y="456"/>
                  </a:lnTo>
                  <a:lnTo>
                    <a:pt x="2635" y="456"/>
                  </a:lnTo>
                  <a:lnTo>
                    <a:pt x="3482" y="456"/>
                  </a:lnTo>
                  <a:lnTo>
                    <a:pt x="3493" y="456"/>
                  </a:lnTo>
                  <a:lnTo>
                    <a:pt x="3503" y="455"/>
                  </a:lnTo>
                  <a:lnTo>
                    <a:pt x="3512" y="453"/>
                  </a:lnTo>
                  <a:lnTo>
                    <a:pt x="3521" y="450"/>
                  </a:lnTo>
                  <a:lnTo>
                    <a:pt x="3529" y="446"/>
                  </a:lnTo>
                  <a:lnTo>
                    <a:pt x="3537" y="441"/>
                  </a:lnTo>
                  <a:lnTo>
                    <a:pt x="3545" y="436"/>
                  </a:lnTo>
                  <a:lnTo>
                    <a:pt x="3552" y="430"/>
                  </a:lnTo>
                  <a:lnTo>
                    <a:pt x="3557" y="423"/>
                  </a:lnTo>
                  <a:lnTo>
                    <a:pt x="3563" y="416"/>
                  </a:lnTo>
                  <a:lnTo>
                    <a:pt x="3567" y="409"/>
                  </a:lnTo>
                  <a:lnTo>
                    <a:pt x="3572" y="400"/>
                  </a:lnTo>
                  <a:lnTo>
                    <a:pt x="3574" y="391"/>
                  </a:lnTo>
                  <a:lnTo>
                    <a:pt x="3576" y="381"/>
                  </a:lnTo>
                  <a:lnTo>
                    <a:pt x="3577" y="371"/>
                  </a:lnTo>
                  <a:lnTo>
                    <a:pt x="3578" y="361"/>
                  </a:lnTo>
                  <a:lnTo>
                    <a:pt x="3578" y="95"/>
                  </a:lnTo>
                  <a:lnTo>
                    <a:pt x="3577" y="85"/>
                  </a:lnTo>
                  <a:lnTo>
                    <a:pt x="3576" y="75"/>
                  </a:lnTo>
                  <a:lnTo>
                    <a:pt x="3574" y="65"/>
                  </a:lnTo>
                  <a:lnTo>
                    <a:pt x="3572" y="57"/>
                  </a:lnTo>
                  <a:lnTo>
                    <a:pt x="3567" y="49"/>
                  </a:lnTo>
                  <a:lnTo>
                    <a:pt x="3563" y="41"/>
                  </a:lnTo>
                  <a:lnTo>
                    <a:pt x="3557" y="33"/>
                  </a:lnTo>
                  <a:lnTo>
                    <a:pt x="3552" y="27"/>
                  </a:lnTo>
                  <a:lnTo>
                    <a:pt x="3545" y="20"/>
                  </a:lnTo>
                  <a:lnTo>
                    <a:pt x="3537" y="16"/>
                  </a:lnTo>
                  <a:lnTo>
                    <a:pt x="3529" y="11"/>
                  </a:lnTo>
                  <a:lnTo>
                    <a:pt x="3521" y="7"/>
                  </a:lnTo>
                  <a:lnTo>
                    <a:pt x="3512" y="3"/>
                  </a:lnTo>
                  <a:lnTo>
                    <a:pt x="3503" y="1"/>
                  </a:lnTo>
                  <a:lnTo>
                    <a:pt x="3493" y="0"/>
                  </a:lnTo>
                  <a:lnTo>
                    <a:pt x="3482" y="0"/>
                  </a:lnTo>
                  <a:lnTo>
                    <a:pt x="2635" y="0"/>
                  </a:lnTo>
                  <a:lnTo>
                    <a:pt x="1789" y="0"/>
                  </a:lnTo>
                  <a:lnTo>
                    <a:pt x="942" y="0"/>
                  </a:lnTo>
                  <a:lnTo>
                    <a:pt x="96" y="0"/>
                  </a:lnTo>
                  <a:lnTo>
                    <a:pt x="85" y="0"/>
                  </a:lnTo>
                  <a:lnTo>
                    <a:pt x="75" y="1"/>
                  </a:lnTo>
                  <a:lnTo>
                    <a:pt x="66" y="3"/>
                  </a:lnTo>
                  <a:lnTo>
                    <a:pt x="58" y="7"/>
                  </a:lnTo>
                  <a:lnTo>
                    <a:pt x="49" y="11"/>
                  </a:lnTo>
                  <a:lnTo>
                    <a:pt x="41" y="16"/>
                  </a:lnTo>
                  <a:lnTo>
                    <a:pt x="33" y="20"/>
                  </a:lnTo>
                  <a:lnTo>
                    <a:pt x="27" y="27"/>
                  </a:lnTo>
                  <a:lnTo>
                    <a:pt x="21" y="33"/>
                  </a:lnTo>
                  <a:lnTo>
                    <a:pt x="16" y="41"/>
                  </a:lnTo>
                  <a:lnTo>
                    <a:pt x="11" y="49"/>
                  </a:lnTo>
                  <a:lnTo>
                    <a:pt x="8" y="57"/>
                  </a:lnTo>
                  <a:lnTo>
                    <a:pt x="4" y="65"/>
                  </a:lnTo>
                  <a:lnTo>
                    <a:pt x="2" y="75"/>
                  </a:lnTo>
                  <a:lnTo>
                    <a:pt x="1" y="85"/>
                  </a:lnTo>
                  <a:lnTo>
                    <a:pt x="0" y="95"/>
                  </a:lnTo>
                  <a:lnTo>
                    <a:pt x="0" y="36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Skatta Sans Regular" pitchFamily="50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C030384-8DA6-42D9-9DB7-36F1211929ED}"/>
              </a:ext>
            </a:extLst>
          </p:cNvPr>
          <p:cNvGrpSpPr/>
          <p:nvPr userDrawn="1"/>
        </p:nvGrpSpPr>
        <p:grpSpPr>
          <a:xfrm>
            <a:off x="10344472" y="692696"/>
            <a:ext cx="1260000" cy="2520280"/>
            <a:chOff x="10579338" y="620688"/>
            <a:chExt cx="1260000" cy="2520280"/>
          </a:xfrm>
          <a:solidFill>
            <a:schemeClr val="accent2"/>
          </a:solidFill>
        </p:grpSpPr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F796B9BE-A2BB-454B-86F5-F5E0B6F30885}"/>
                </a:ext>
              </a:extLst>
            </p:cNvPr>
            <p:cNvSpPr>
              <a:spLocks noChangeAspect="1" noEditPoints="1"/>
            </p:cNvSpPr>
            <p:nvPr/>
          </p:nvSpPr>
          <p:spPr bwMode="black">
            <a:xfrm>
              <a:off x="10705591" y="620688"/>
              <a:ext cx="1007493" cy="1124563"/>
            </a:xfrm>
            <a:custGeom>
              <a:avLst/>
              <a:gdLst>
                <a:gd name="T0" fmla="*/ 2964 w 3578"/>
                <a:gd name="T1" fmla="*/ 3151 h 3996"/>
                <a:gd name="T2" fmla="*/ 2988 w 3578"/>
                <a:gd name="T3" fmla="*/ 3131 h 3996"/>
                <a:gd name="T4" fmla="*/ 3002 w 3578"/>
                <a:gd name="T5" fmla="*/ 3095 h 3996"/>
                <a:gd name="T6" fmla="*/ 2998 w 3578"/>
                <a:gd name="T7" fmla="*/ 3052 h 3996"/>
                <a:gd name="T8" fmla="*/ 2570 w 3578"/>
                <a:gd name="T9" fmla="*/ 2480 h 3996"/>
                <a:gd name="T10" fmla="*/ 2976 w 3578"/>
                <a:gd name="T11" fmla="*/ 956 h 3996"/>
                <a:gd name="T12" fmla="*/ 2988 w 3578"/>
                <a:gd name="T13" fmla="*/ 917 h 3996"/>
                <a:gd name="T14" fmla="*/ 2981 w 3578"/>
                <a:gd name="T15" fmla="*/ 878 h 3996"/>
                <a:gd name="T16" fmla="*/ 2961 w 3578"/>
                <a:gd name="T17" fmla="*/ 853 h 3996"/>
                <a:gd name="T18" fmla="*/ 2936 w 3578"/>
                <a:gd name="T19" fmla="*/ 840 h 3996"/>
                <a:gd name="T20" fmla="*/ 2275 w 3578"/>
                <a:gd name="T21" fmla="*/ 835 h 3996"/>
                <a:gd name="T22" fmla="*/ 2209 w 3578"/>
                <a:gd name="T23" fmla="*/ 845 h 3996"/>
                <a:gd name="T24" fmla="*/ 2160 w 3578"/>
                <a:gd name="T25" fmla="*/ 872 h 3996"/>
                <a:gd name="T26" fmla="*/ 2119 w 3578"/>
                <a:gd name="T27" fmla="*/ 915 h 3996"/>
                <a:gd name="T28" fmla="*/ 1365 w 3578"/>
                <a:gd name="T29" fmla="*/ 931 h 3996"/>
                <a:gd name="T30" fmla="*/ 1356 w 3578"/>
                <a:gd name="T31" fmla="*/ 884 h 3996"/>
                <a:gd name="T32" fmla="*/ 1325 w 3578"/>
                <a:gd name="T33" fmla="*/ 851 h 3996"/>
                <a:gd name="T34" fmla="*/ 1280 w 3578"/>
                <a:gd name="T35" fmla="*/ 835 h 3996"/>
                <a:gd name="T36" fmla="*/ 664 w 3578"/>
                <a:gd name="T37" fmla="*/ 840 h 3996"/>
                <a:gd name="T38" fmla="*/ 625 w 3578"/>
                <a:gd name="T39" fmla="*/ 862 h 3996"/>
                <a:gd name="T40" fmla="*/ 602 w 3578"/>
                <a:gd name="T41" fmla="*/ 902 h 3996"/>
                <a:gd name="T42" fmla="*/ 598 w 3578"/>
                <a:gd name="T43" fmla="*/ 1998 h 3996"/>
                <a:gd name="T44" fmla="*/ 602 w 3578"/>
                <a:gd name="T45" fmla="*/ 3094 h 3996"/>
                <a:gd name="T46" fmla="*/ 625 w 3578"/>
                <a:gd name="T47" fmla="*/ 3133 h 3996"/>
                <a:gd name="T48" fmla="*/ 664 w 3578"/>
                <a:gd name="T49" fmla="*/ 3156 h 3996"/>
                <a:gd name="T50" fmla="*/ 1280 w 3578"/>
                <a:gd name="T51" fmla="*/ 3160 h 3996"/>
                <a:gd name="T52" fmla="*/ 1325 w 3578"/>
                <a:gd name="T53" fmla="*/ 3144 h 3996"/>
                <a:gd name="T54" fmla="*/ 1356 w 3578"/>
                <a:gd name="T55" fmla="*/ 3111 h 3996"/>
                <a:gd name="T56" fmla="*/ 1365 w 3578"/>
                <a:gd name="T57" fmla="*/ 3064 h 3996"/>
                <a:gd name="T58" fmla="*/ 2119 w 3578"/>
                <a:gd name="T59" fmla="*/ 3080 h 3996"/>
                <a:gd name="T60" fmla="*/ 2160 w 3578"/>
                <a:gd name="T61" fmla="*/ 3123 h 3996"/>
                <a:gd name="T62" fmla="*/ 2209 w 3578"/>
                <a:gd name="T63" fmla="*/ 3151 h 3996"/>
                <a:gd name="T64" fmla="*/ 2275 w 3578"/>
                <a:gd name="T65" fmla="*/ 3160 h 3996"/>
                <a:gd name="T66" fmla="*/ 4 w 3578"/>
                <a:gd name="T67" fmla="*/ 3929 h 3996"/>
                <a:gd name="T68" fmla="*/ 27 w 3578"/>
                <a:gd name="T69" fmla="*/ 3968 h 3996"/>
                <a:gd name="T70" fmla="*/ 66 w 3578"/>
                <a:gd name="T71" fmla="*/ 3991 h 3996"/>
                <a:gd name="T72" fmla="*/ 1789 w 3578"/>
                <a:gd name="T73" fmla="*/ 3996 h 3996"/>
                <a:gd name="T74" fmla="*/ 3512 w 3578"/>
                <a:gd name="T75" fmla="*/ 3991 h 3996"/>
                <a:gd name="T76" fmla="*/ 3552 w 3578"/>
                <a:gd name="T77" fmla="*/ 3968 h 3996"/>
                <a:gd name="T78" fmla="*/ 3574 w 3578"/>
                <a:gd name="T79" fmla="*/ 3929 h 3996"/>
                <a:gd name="T80" fmla="*/ 3577 w 3578"/>
                <a:gd name="T81" fmla="*/ 3624 h 3996"/>
                <a:gd name="T82" fmla="*/ 3563 w 3578"/>
                <a:gd name="T83" fmla="*/ 3579 h 3996"/>
                <a:gd name="T84" fmla="*/ 3529 w 3578"/>
                <a:gd name="T85" fmla="*/ 3549 h 3996"/>
                <a:gd name="T86" fmla="*/ 3482 w 3578"/>
                <a:gd name="T87" fmla="*/ 3538 h 3996"/>
                <a:gd name="T88" fmla="*/ 85 w 3578"/>
                <a:gd name="T89" fmla="*/ 3538 h 3996"/>
                <a:gd name="T90" fmla="*/ 41 w 3578"/>
                <a:gd name="T91" fmla="*/ 3554 h 3996"/>
                <a:gd name="T92" fmla="*/ 11 w 3578"/>
                <a:gd name="T93" fmla="*/ 3587 h 3996"/>
                <a:gd name="T94" fmla="*/ 0 w 3578"/>
                <a:gd name="T95" fmla="*/ 3634 h 3996"/>
                <a:gd name="T96" fmla="*/ 4 w 3578"/>
                <a:gd name="T97" fmla="*/ 391 h 3996"/>
                <a:gd name="T98" fmla="*/ 27 w 3578"/>
                <a:gd name="T99" fmla="*/ 430 h 3996"/>
                <a:gd name="T100" fmla="*/ 66 w 3578"/>
                <a:gd name="T101" fmla="*/ 453 h 3996"/>
                <a:gd name="T102" fmla="*/ 1789 w 3578"/>
                <a:gd name="T103" fmla="*/ 456 h 3996"/>
                <a:gd name="T104" fmla="*/ 3512 w 3578"/>
                <a:gd name="T105" fmla="*/ 453 h 3996"/>
                <a:gd name="T106" fmla="*/ 3552 w 3578"/>
                <a:gd name="T107" fmla="*/ 430 h 3996"/>
                <a:gd name="T108" fmla="*/ 3574 w 3578"/>
                <a:gd name="T109" fmla="*/ 391 h 3996"/>
                <a:gd name="T110" fmla="*/ 3577 w 3578"/>
                <a:gd name="T111" fmla="*/ 85 h 3996"/>
                <a:gd name="T112" fmla="*/ 3563 w 3578"/>
                <a:gd name="T113" fmla="*/ 41 h 3996"/>
                <a:gd name="T114" fmla="*/ 3529 w 3578"/>
                <a:gd name="T115" fmla="*/ 11 h 3996"/>
                <a:gd name="T116" fmla="*/ 3482 w 3578"/>
                <a:gd name="T117" fmla="*/ 0 h 3996"/>
                <a:gd name="T118" fmla="*/ 85 w 3578"/>
                <a:gd name="T119" fmla="*/ 0 h 3996"/>
                <a:gd name="T120" fmla="*/ 41 w 3578"/>
                <a:gd name="T121" fmla="*/ 16 h 3996"/>
                <a:gd name="T122" fmla="*/ 11 w 3578"/>
                <a:gd name="T123" fmla="*/ 49 h 3996"/>
                <a:gd name="T124" fmla="*/ 0 w 3578"/>
                <a:gd name="T125" fmla="*/ 95 h 39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78" h="3996">
                  <a:moveTo>
                    <a:pt x="2924" y="3160"/>
                  </a:moveTo>
                  <a:lnTo>
                    <a:pt x="2936" y="3160"/>
                  </a:lnTo>
                  <a:lnTo>
                    <a:pt x="2947" y="3157"/>
                  </a:lnTo>
                  <a:lnTo>
                    <a:pt x="2958" y="3153"/>
                  </a:lnTo>
                  <a:lnTo>
                    <a:pt x="2964" y="3151"/>
                  </a:lnTo>
                  <a:lnTo>
                    <a:pt x="2968" y="3148"/>
                  </a:lnTo>
                  <a:lnTo>
                    <a:pt x="2977" y="3142"/>
                  </a:lnTo>
                  <a:lnTo>
                    <a:pt x="2981" y="3139"/>
                  </a:lnTo>
                  <a:lnTo>
                    <a:pt x="2985" y="3135"/>
                  </a:lnTo>
                  <a:lnTo>
                    <a:pt x="2988" y="3131"/>
                  </a:lnTo>
                  <a:lnTo>
                    <a:pt x="2991" y="3126"/>
                  </a:lnTo>
                  <a:lnTo>
                    <a:pt x="2996" y="3117"/>
                  </a:lnTo>
                  <a:lnTo>
                    <a:pt x="3000" y="3106"/>
                  </a:lnTo>
                  <a:lnTo>
                    <a:pt x="3001" y="3101"/>
                  </a:lnTo>
                  <a:lnTo>
                    <a:pt x="3002" y="3095"/>
                  </a:lnTo>
                  <a:lnTo>
                    <a:pt x="3003" y="3084"/>
                  </a:lnTo>
                  <a:lnTo>
                    <a:pt x="3002" y="3072"/>
                  </a:lnTo>
                  <a:lnTo>
                    <a:pt x="3001" y="3065"/>
                  </a:lnTo>
                  <a:lnTo>
                    <a:pt x="2999" y="3059"/>
                  </a:lnTo>
                  <a:lnTo>
                    <a:pt x="2998" y="3052"/>
                  </a:lnTo>
                  <a:lnTo>
                    <a:pt x="2995" y="3045"/>
                  </a:lnTo>
                  <a:lnTo>
                    <a:pt x="2988" y="3032"/>
                  </a:lnTo>
                  <a:lnTo>
                    <a:pt x="2985" y="3026"/>
                  </a:lnTo>
                  <a:lnTo>
                    <a:pt x="2980" y="3019"/>
                  </a:lnTo>
                  <a:lnTo>
                    <a:pt x="2570" y="2480"/>
                  </a:lnTo>
                  <a:lnTo>
                    <a:pt x="2162" y="1941"/>
                  </a:lnTo>
                  <a:lnTo>
                    <a:pt x="2562" y="1459"/>
                  </a:lnTo>
                  <a:lnTo>
                    <a:pt x="2962" y="976"/>
                  </a:lnTo>
                  <a:lnTo>
                    <a:pt x="2972" y="962"/>
                  </a:lnTo>
                  <a:lnTo>
                    <a:pt x="2976" y="956"/>
                  </a:lnTo>
                  <a:lnTo>
                    <a:pt x="2979" y="949"/>
                  </a:lnTo>
                  <a:lnTo>
                    <a:pt x="2985" y="936"/>
                  </a:lnTo>
                  <a:lnTo>
                    <a:pt x="2986" y="929"/>
                  </a:lnTo>
                  <a:lnTo>
                    <a:pt x="2988" y="923"/>
                  </a:lnTo>
                  <a:lnTo>
                    <a:pt x="2988" y="917"/>
                  </a:lnTo>
                  <a:lnTo>
                    <a:pt x="2989" y="910"/>
                  </a:lnTo>
                  <a:lnTo>
                    <a:pt x="2988" y="899"/>
                  </a:lnTo>
                  <a:lnTo>
                    <a:pt x="2987" y="894"/>
                  </a:lnTo>
                  <a:lnTo>
                    <a:pt x="2986" y="888"/>
                  </a:lnTo>
                  <a:lnTo>
                    <a:pt x="2981" y="878"/>
                  </a:lnTo>
                  <a:lnTo>
                    <a:pt x="2979" y="873"/>
                  </a:lnTo>
                  <a:lnTo>
                    <a:pt x="2976" y="868"/>
                  </a:lnTo>
                  <a:lnTo>
                    <a:pt x="2972" y="864"/>
                  </a:lnTo>
                  <a:lnTo>
                    <a:pt x="2969" y="861"/>
                  </a:lnTo>
                  <a:lnTo>
                    <a:pt x="2961" y="853"/>
                  </a:lnTo>
                  <a:lnTo>
                    <a:pt x="2957" y="849"/>
                  </a:lnTo>
                  <a:lnTo>
                    <a:pt x="2951" y="846"/>
                  </a:lnTo>
                  <a:lnTo>
                    <a:pt x="2947" y="844"/>
                  </a:lnTo>
                  <a:lnTo>
                    <a:pt x="2941" y="842"/>
                  </a:lnTo>
                  <a:lnTo>
                    <a:pt x="2936" y="840"/>
                  </a:lnTo>
                  <a:lnTo>
                    <a:pt x="2930" y="838"/>
                  </a:lnTo>
                  <a:lnTo>
                    <a:pt x="2925" y="836"/>
                  </a:lnTo>
                  <a:lnTo>
                    <a:pt x="2919" y="836"/>
                  </a:lnTo>
                  <a:lnTo>
                    <a:pt x="2907" y="835"/>
                  </a:lnTo>
                  <a:lnTo>
                    <a:pt x="2275" y="835"/>
                  </a:lnTo>
                  <a:lnTo>
                    <a:pt x="2260" y="835"/>
                  </a:lnTo>
                  <a:lnTo>
                    <a:pt x="2246" y="836"/>
                  </a:lnTo>
                  <a:lnTo>
                    <a:pt x="2234" y="838"/>
                  </a:lnTo>
                  <a:lnTo>
                    <a:pt x="2222" y="841"/>
                  </a:lnTo>
                  <a:lnTo>
                    <a:pt x="2209" y="845"/>
                  </a:lnTo>
                  <a:lnTo>
                    <a:pt x="2198" y="848"/>
                  </a:lnTo>
                  <a:lnTo>
                    <a:pt x="2188" y="854"/>
                  </a:lnTo>
                  <a:lnTo>
                    <a:pt x="2178" y="859"/>
                  </a:lnTo>
                  <a:lnTo>
                    <a:pt x="2168" y="865"/>
                  </a:lnTo>
                  <a:lnTo>
                    <a:pt x="2160" y="872"/>
                  </a:lnTo>
                  <a:lnTo>
                    <a:pt x="2151" y="879"/>
                  </a:lnTo>
                  <a:lnTo>
                    <a:pt x="2142" y="887"/>
                  </a:lnTo>
                  <a:lnTo>
                    <a:pt x="2134" y="896"/>
                  </a:lnTo>
                  <a:lnTo>
                    <a:pt x="2126" y="905"/>
                  </a:lnTo>
                  <a:lnTo>
                    <a:pt x="2119" y="915"/>
                  </a:lnTo>
                  <a:lnTo>
                    <a:pt x="2111" y="925"/>
                  </a:lnTo>
                  <a:lnTo>
                    <a:pt x="1738" y="1404"/>
                  </a:lnTo>
                  <a:lnTo>
                    <a:pt x="1365" y="1885"/>
                  </a:lnTo>
                  <a:lnTo>
                    <a:pt x="1365" y="1408"/>
                  </a:lnTo>
                  <a:lnTo>
                    <a:pt x="1365" y="931"/>
                  </a:lnTo>
                  <a:lnTo>
                    <a:pt x="1365" y="920"/>
                  </a:lnTo>
                  <a:lnTo>
                    <a:pt x="1364" y="910"/>
                  </a:lnTo>
                  <a:lnTo>
                    <a:pt x="1362" y="902"/>
                  </a:lnTo>
                  <a:lnTo>
                    <a:pt x="1359" y="892"/>
                  </a:lnTo>
                  <a:lnTo>
                    <a:pt x="1356" y="884"/>
                  </a:lnTo>
                  <a:lnTo>
                    <a:pt x="1350" y="876"/>
                  </a:lnTo>
                  <a:lnTo>
                    <a:pt x="1346" y="868"/>
                  </a:lnTo>
                  <a:lnTo>
                    <a:pt x="1339" y="862"/>
                  </a:lnTo>
                  <a:lnTo>
                    <a:pt x="1332" y="856"/>
                  </a:lnTo>
                  <a:lnTo>
                    <a:pt x="1325" y="851"/>
                  </a:lnTo>
                  <a:lnTo>
                    <a:pt x="1317" y="846"/>
                  </a:lnTo>
                  <a:lnTo>
                    <a:pt x="1309" y="842"/>
                  </a:lnTo>
                  <a:lnTo>
                    <a:pt x="1300" y="840"/>
                  </a:lnTo>
                  <a:lnTo>
                    <a:pt x="1290" y="837"/>
                  </a:lnTo>
                  <a:lnTo>
                    <a:pt x="1280" y="835"/>
                  </a:lnTo>
                  <a:lnTo>
                    <a:pt x="1270" y="835"/>
                  </a:lnTo>
                  <a:lnTo>
                    <a:pt x="694" y="835"/>
                  </a:lnTo>
                  <a:lnTo>
                    <a:pt x="684" y="835"/>
                  </a:lnTo>
                  <a:lnTo>
                    <a:pt x="674" y="837"/>
                  </a:lnTo>
                  <a:lnTo>
                    <a:pt x="664" y="840"/>
                  </a:lnTo>
                  <a:lnTo>
                    <a:pt x="656" y="842"/>
                  </a:lnTo>
                  <a:lnTo>
                    <a:pt x="647" y="846"/>
                  </a:lnTo>
                  <a:lnTo>
                    <a:pt x="639" y="851"/>
                  </a:lnTo>
                  <a:lnTo>
                    <a:pt x="632" y="856"/>
                  </a:lnTo>
                  <a:lnTo>
                    <a:pt x="625" y="862"/>
                  </a:lnTo>
                  <a:lnTo>
                    <a:pt x="619" y="868"/>
                  </a:lnTo>
                  <a:lnTo>
                    <a:pt x="614" y="876"/>
                  </a:lnTo>
                  <a:lnTo>
                    <a:pt x="609" y="884"/>
                  </a:lnTo>
                  <a:lnTo>
                    <a:pt x="606" y="892"/>
                  </a:lnTo>
                  <a:lnTo>
                    <a:pt x="602" y="902"/>
                  </a:lnTo>
                  <a:lnTo>
                    <a:pt x="600" y="910"/>
                  </a:lnTo>
                  <a:lnTo>
                    <a:pt x="599" y="920"/>
                  </a:lnTo>
                  <a:lnTo>
                    <a:pt x="598" y="931"/>
                  </a:lnTo>
                  <a:lnTo>
                    <a:pt x="598" y="1464"/>
                  </a:lnTo>
                  <a:lnTo>
                    <a:pt x="598" y="1998"/>
                  </a:lnTo>
                  <a:lnTo>
                    <a:pt x="598" y="2531"/>
                  </a:lnTo>
                  <a:lnTo>
                    <a:pt x="598" y="3064"/>
                  </a:lnTo>
                  <a:lnTo>
                    <a:pt x="599" y="3074"/>
                  </a:lnTo>
                  <a:lnTo>
                    <a:pt x="600" y="3084"/>
                  </a:lnTo>
                  <a:lnTo>
                    <a:pt x="602" y="3094"/>
                  </a:lnTo>
                  <a:lnTo>
                    <a:pt x="606" y="3103"/>
                  </a:lnTo>
                  <a:lnTo>
                    <a:pt x="609" y="3111"/>
                  </a:lnTo>
                  <a:lnTo>
                    <a:pt x="614" y="3120"/>
                  </a:lnTo>
                  <a:lnTo>
                    <a:pt x="619" y="3126"/>
                  </a:lnTo>
                  <a:lnTo>
                    <a:pt x="625" y="3133"/>
                  </a:lnTo>
                  <a:lnTo>
                    <a:pt x="632" y="3140"/>
                  </a:lnTo>
                  <a:lnTo>
                    <a:pt x="639" y="3144"/>
                  </a:lnTo>
                  <a:lnTo>
                    <a:pt x="647" y="3150"/>
                  </a:lnTo>
                  <a:lnTo>
                    <a:pt x="656" y="3153"/>
                  </a:lnTo>
                  <a:lnTo>
                    <a:pt x="664" y="3156"/>
                  </a:lnTo>
                  <a:lnTo>
                    <a:pt x="674" y="3158"/>
                  </a:lnTo>
                  <a:lnTo>
                    <a:pt x="684" y="3160"/>
                  </a:lnTo>
                  <a:lnTo>
                    <a:pt x="694" y="3160"/>
                  </a:lnTo>
                  <a:lnTo>
                    <a:pt x="1270" y="3160"/>
                  </a:lnTo>
                  <a:lnTo>
                    <a:pt x="1280" y="3160"/>
                  </a:lnTo>
                  <a:lnTo>
                    <a:pt x="1290" y="3158"/>
                  </a:lnTo>
                  <a:lnTo>
                    <a:pt x="1300" y="3156"/>
                  </a:lnTo>
                  <a:lnTo>
                    <a:pt x="1309" y="3153"/>
                  </a:lnTo>
                  <a:lnTo>
                    <a:pt x="1317" y="3150"/>
                  </a:lnTo>
                  <a:lnTo>
                    <a:pt x="1325" y="3144"/>
                  </a:lnTo>
                  <a:lnTo>
                    <a:pt x="1332" y="3140"/>
                  </a:lnTo>
                  <a:lnTo>
                    <a:pt x="1339" y="3133"/>
                  </a:lnTo>
                  <a:lnTo>
                    <a:pt x="1346" y="3126"/>
                  </a:lnTo>
                  <a:lnTo>
                    <a:pt x="1350" y="3120"/>
                  </a:lnTo>
                  <a:lnTo>
                    <a:pt x="1356" y="3111"/>
                  </a:lnTo>
                  <a:lnTo>
                    <a:pt x="1359" y="3103"/>
                  </a:lnTo>
                  <a:lnTo>
                    <a:pt x="1362" y="3094"/>
                  </a:lnTo>
                  <a:lnTo>
                    <a:pt x="1364" y="3084"/>
                  </a:lnTo>
                  <a:lnTo>
                    <a:pt x="1365" y="3074"/>
                  </a:lnTo>
                  <a:lnTo>
                    <a:pt x="1365" y="3064"/>
                  </a:lnTo>
                  <a:lnTo>
                    <a:pt x="1365" y="2539"/>
                  </a:lnTo>
                  <a:lnTo>
                    <a:pt x="1365" y="2014"/>
                  </a:lnTo>
                  <a:lnTo>
                    <a:pt x="1738" y="2542"/>
                  </a:lnTo>
                  <a:lnTo>
                    <a:pt x="2111" y="3070"/>
                  </a:lnTo>
                  <a:lnTo>
                    <a:pt x="2119" y="3080"/>
                  </a:lnTo>
                  <a:lnTo>
                    <a:pt x="2126" y="3090"/>
                  </a:lnTo>
                  <a:lnTo>
                    <a:pt x="2134" y="3099"/>
                  </a:lnTo>
                  <a:lnTo>
                    <a:pt x="2142" y="3108"/>
                  </a:lnTo>
                  <a:lnTo>
                    <a:pt x="2151" y="3115"/>
                  </a:lnTo>
                  <a:lnTo>
                    <a:pt x="2160" y="3123"/>
                  </a:lnTo>
                  <a:lnTo>
                    <a:pt x="2168" y="3130"/>
                  </a:lnTo>
                  <a:lnTo>
                    <a:pt x="2178" y="3136"/>
                  </a:lnTo>
                  <a:lnTo>
                    <a:pt x="2188" y="3142"/>
                  </a:lnTo>
                  <a:lnTo>
                    <a:pt x="2198" y="3146"/>
                  </a:lnTo>
                  <a:lnTo>
                    <a:pt x="2209" y="3151"/>
                  </a:lnTo>
                  <a:lnTo>
                    <a:pt x="2222" y="3154"/>
                  </a:lnTo>
                  <a:lnTo>
                    <a:pt x="2234" y="3156"/>
                  </a:lnTo>
                  <a:lnTo>
                    <a:pt x="2246" y="3158"/>
                  </a:lnTo>
                  <a:lnTo>
                    <a:pt x="2260" y="3160"/>
                  </a:lnTo>
                  <a:lnTo>
                    <a:pt x="2275" y="3160"/>
                  </a:lnTo>
                  <a:lnTo>
                    <a:pt x="2924" y="3160"/>
                  </a:lnTo>
                  <a:close/>
                  <a:moveTo>
                    <a:pt x="0" y="3899"/>
                  </a:moveTo>
                  <a:lnTo>
                    <a:pt x="1" y="3909"/>
                  </a:lnTo>
                  <a:lnTo>
                    <a:pt x="2" y="3919"/>
                  </a:lnTo>
                  <a:lnTo>
                    <a:pt x="4" y="3929"/>
                  </a:lnTo>
                  <a:lnTo>
                    <a:pt x="8" y="3938"/>
                  </a:lnTo>
                  <a:lnTo>
                    <a:pt x="11" y="3947"/>
                  </a:lnTo>
                  <a:lnTo>
                    <a:pt x="16" y="3955"/>
                  </a:lnTo>
                  <a:lnTo>
                    <a:pt x="21" y="3961"/>
                  </a:lnTo>
                  <a:lnTo>
                    <a:pt x="27" y="3968"/>
                  </a:lnTo>
                  <a:lnTo>
                    <a:pt x="33" y="3975"/>
                  </a:lnTo>
                  <a:lnTo>
                    <a:pt x="41" y="3980"/>
                  </a:lnTo>
                  <a:lnTo>
                    <a:pt x="49" y="3985"/>
                  </a:lnTo>
                  <a:lnTo>
                    <a:pt x="58" y="3988"/>
                  </a:lnTo>
                  <a:lnTo>
                    <a:pt x="66" y="3991"/>
                  </a:lnTo>
                  <a:lnTo>
                    <a:pt x="75" y="3993"/>
                  </a:lnTo>
                  <a:lnTo>
                    <a:pt x="85" y="3995"/>
                  </a:lnTo>
                  <a:lnTo>
                    <a:pt x="96" y="3996"/>
                  </a:lnTo>
                  <a:lnTo>
                    <a:pt x="942" y="3996"/>
                  </a:lnTo>
                  <a:lnTo>
                    <a:pt x="1789" y="3996"/>
                  </a:lnTo>
                  <a:lnTo>
                    <a:pt x="2635" y="3996"/>
                  </a:lnTo>
                  <a:lnTo>
                    <a:pt x="3482" y="3996"/>
                  </a:lnTo>
                  <a:lnTo>
                    <a:pt x="3493" y="3995"/>
                  </a:lnTo>
                  <a:lnTo>
                    <a:pt x="3503" y="3993"/>
                  </a:lnTo>
                  <a:lnTo>
                    <a:pt x="3512" y="3991"/>
                  </a:lnTo>
                  <a:lnTo>
                    <a:pt x="3521" y="3988"/>
                  </a:lnTo>
                  <a:lnTo>
                    <a:pt x="3529" y="3985"/>
                  </a:lnTo>
                  <a:lnTo>
                    <a:pt x="3537" y="3980"/>
                  </a:lnTo>
                  <a:lnTo>
                    <a:pt x="3545" y="3975"/>
                  </a:lnTo>
                  <a:lnTo>
                    <a:pt x="3552" y="3968"/>
                  </a:lnTo>
                  <a:lnTo>
                    <a:pt x="3557" y="3961"/>
                  </a:lnTo>
                  <a:lnTo>
                    <a:pt x="3563" y="3955"/>
                  </a:lnTo>
                  <a:lnTo>
                    <a:pt x="3567" y="3947"/>
                  </a:lnTo>
                  <a:lnTo>
                    <a:pt x="3572" y="3938"/>
                  </a:lnTo>
                  <a:lnTo>
                    <a:pt x="3574" y="3929"/>
                  </a:lnTo>
                  <a:lnTo>
                    <a:pt x="3576" y="3919"/>
                  </a:lnTo>
                  <a:lnTo>
                    <a:pt x="3577" y="3909"/>
                  </a:lnTo>
                  <a:lnTo>
                    <a:pt x="3578" y="3899"/>
                  </a:lnTo>
                  <a:lnTo>
                    <a:pt x="3578" y="3634"/>
                  </a:lnTo>
                  <a:lnTo>
                    <a:pt x="3577" y="3624"/>
                  </a:lnTo>
                  <a:lnTo>
                    <a:pt x="3576" y="3614"/>
                  </a:lnTo>
                  <a:lnTo>
                    <a:pt x="3574" y="3605"/>
                  </a:lnTo>
                  <a:lnTo>
                    <a:pt x="3572" y="3595"/>
                  </a:lnTo>
                  <a:lnTo>
                    <a:pt x="3567" y="3587"/>
                  </a:lnTo>
                  <a:lnTo>
                    <a:pt x="3563" y="3579"/>
                  </a:lnTo>
                  <a:lnTo>
                    <a:pt x="3557" y="3572"/>
                  </a:lnTo>
                  <a:lnTo>
                    <a:pt x="3552" y="3565"/>
                  </a:lnTo>
                  <a:lnTo>
                    <a:pt x="3545" y="3559"/>
                  </a:lnTo>
                  <a:lnTo>
                    <a:pt x="3537" y="3554"/>
                  </a:lnTo>
                  <a:lnTo>
                    <a:pt x="3529" y="3549"/>
                  </a:lnTo>
                  <a:lnTo>
                    <a:pt x="3521" y="3545"/>
                  </a:lnTo>
                  <a:lnTo>
                    <a:pt x="3512" y="3542"/>
                  </a:lnTo>
                  <a:lnTo>
                    <a:pt x="3503" y="3539"/>
                  </a:lnTo>
                  <a:lnTo>
                    <a:pt x="3493" y="3538"/>
                  </a:lnTo>
                  <a:lnTo>
                    <a:pt x="3482" y="3538"/>
                  </a:lnTo>
                  <a:lnTo>
                    <a:pt x="2635" y="3538"/>
                  </a:lnTo>
                  <a:lnTo>
                    <a:pt x="1789" y="3538"/>
                  </a:lnTo>
                  <a:lnTo>
                    <a:pt x="942" y="3538"/>
                  </a:lnTo>
                  <a:lnTo>
                    <a:pt x="96" y="3538"/>
                  </a:lnTo>
                  <a:lnTo>
                    <a:pt x="85" y="3538"/>
                  </a:lnTo>
                  <a:lnTo>
                    <a:pt x="75" y="3539"/>
                  </a:lnTo>
                  <a:lnTo>
                    <a:pt x="66" y="3542"/>
                  </a:lnTo>
                  <a:lnTo>
                    <a:pt x="58" y="3545"/>
                  </a:lnTo>
                  <a:lnTo>
                    <a:pt x="49" y="3549"/>
                  </a:lnTo>
                  <a:lnTo>
                    <a:pt x="41" y="3554"/>
                  </a:lnTo>
                  <a:lnTo>
                    <a:pt x="33" y="3559"/>
                  </a:lnTo>
                  <a:lnTo>
                    <a:pt x="27" y="3565"/>
                  </a:lnTo>
                  <a:lnTo>
                    <a:pt x="21" y="3572"/>
                  </a:lnTo>
                  <a:lnTo>
                    <a:pt x="16" y="3579"/>
                  </a:lnTo>
                  <a:lnTo>
                    <a:pt x="11" y="3587"/>
                  </a:lnTo>
                  <a:lnTo>
                    <a:pt x="8" y="3595"/>
                  </a:lnTo>
                  <a:lnTo>
                    <a:pt x="4" y="3605"/>
                  </a:lnTo>
                  <a:lnTo>
                    <a:pt x="2" y="3614"/>
                  </a:lnTo>
                  <a:lnTo>
                    <a:pt x="1" y="3624"/>
                  </a:lnTo>
                  <a:lnTo>
                    <a:pt x="0" y="3634"/>
                  </a:lnTo>
                  <a:lnTo>
                    <a:pt x="0" y="3899"/>
                  </a:lnTo>
                  <a:close/>
                  <a:moveTo>
                    <a:pt x="0" y="361"/>
                  </a:moveTo>
                  <a:lnTo>
                    <a:pt x="1" y="371"/>
                  </a:lnTo>
                  <a:lnTo>
                    <a:pt x="2" y="381"/>
                  </a:lnTo>
                  <a:lnTo>
                    <a:pt x="4" y="391"/>
                  </a:lnTo>
                  <a:lnTo>
                    <a:pt x="8" y="400"/>
                  </a:lnTo>
                  <a:lnTo>
                    <a:pt x="11" y="409"/>
                  </a:lnTo>
                  <a:lnTo>
                    <a:pt x="16" y="416"/>
                  </a:lnTo>
                  <a:lnTo>
                    <a:pt x="21" y="423"/>
                  </a:lnTo>
                  <a:lnTo>
                    <a:pt x="27" y="430"/>
                  </a:lnTo>
                  <a:lnTo>
                    <a:pt x="33" y="436"/>
                  </a:lnTo>
                  <a:lnTo>
                    <a:pt x="41" y="441"/>
                  </a:lnTo>
                  <a:lnTo>
                    <a:pt x="49" y="446"/>
                  </a:lnTo>
                  <a:lnTo>
                    <a:pt x="58" y="450"/>
                  </a:lnTo>
                  <a:lnTo>
                    <a:pt x="66" y="453"/>
                  </a:lnTo>
                  <a:lnTo>
                    <a:pt x="75" y="455"/>
                  </a:lnTo>
                  <a:lnTo>
                    <a:pt x="85" y="456"/>
                  </a:lnTo>
                  <a:lnTo>
                    <a:pt x="96" y="456"/>
                  </a:lnTo>
                  <a:lnTo>
                    <a:pt x="942" y="456"/>
                  </a:lnTo>
                  <a:lnTo>
                    <a:pt x="1789" y="456"/>
                  </a:lnTo>
                  <a:lnTo>
                    <a:pt x="2635" y="456"/>
                  </a:lnTo>
                  <a:lnTo>
                    <a:pt x="3482" y="456"/>
                  </a:lnTo>
                  <a:lnTo>
                    <a:pt x="3493" y="456"/>
                  </a:lnTo>
                  <a:lnTo>
                    <a:pt x="3503" y="455"/>
                  </a:lnTo>
                  <a:lnTo>
                    <a:pt x="3512" y="453"/>
                  </a:lnTo>
                  <a:lnTo>
                    <a:pt x="3521" y="450"/>
                  </a:lnTo>
                  <a:lnTo>
                    <a:pt x="3529" y="446"/>
                  </a:lnTo>
                  <a:lnTo>
                    <a:pt x="3537" y="441"/>
                  </a:lnTo>
                  <a:lnTo>
                    <a:pt x="3545" y="436"/>
                  </a:lnTo>
                  <a:lnTo>
                    <a:pt x="3552" y="430"/>
                  </a:lnTo>
                  <a:lnTo>
                    <a:pt x="3557" y="423"/>
                  </a:lnTo>
                  <a:lnTo>
                    <a:pt x="3563" y="416"/>
                  </a:lnTo>
                  <a:lnTo>
                    <a:pt x="3567" y="409"/>
                  </a:lnTo>
                  <a:lnTo>
                    <a:pt x="3572" y="400"/>
                  </a:lnTo>
                  <a:lnTo>
                    <a:pt x="3574" y="391"/>
                  </a:lnTo>
                  <a:lnTo>
                    <a:pt x="3576" y="381"/>
                  </a:lnTo>
                  <a:lnTo>
                    <a:pt x="3577" y="371"/>
                  </a:lnTo>
                  <a:lnTo>
                    <a:pt x="3578" y="361"/>
                  </a:lnTo>
                  <a:lnTo>
                    <a:pt x="3578" y="95"/>
                  </a:lnTo>
                  <a:lnTo>
                    <a:pt x="3577" y="85"/>
                  </a:lnTo>
                  <a:lnTo>
                    <a:pt x="3576" y="75"/>
                  </a:lnTo>
                  <a:lnTo>
                    <a:pt x="3574" y="65"/>
                  </a:lnTo>
                  <a:lnTo>
                    <a:pt x="3572" y="57"/>
                  </a:lnTo>
                  <a:lnTo>
                    <a:pt x="3567" y="49"/>
                  </a:lnTo>
                  <a:lnTo>
                    <a:pt x="3563" y="41"/>
                  </a:lnTo>
                  <a:lnTo>
                    <a:pt x="3557" y="33"/>
                  </a:lnTo>
                  <a:lnTo>
                    <a:pt x="3552" y="27"/>
                  </a:lnTo>
                  <a:lnTo>
                    <a:pt x="3545" y="20"/>
                  </a:lnTo>
                  <a:lnTo>
                    <a:pt x="3537" y="16"/>
                  </a:lnTo>
                  <a:lnTo>
                    <a:pt x="3529" y="11"/>
                  </a:lnTo>
                  <a:lnTo>
                    <a:pt x="3521" y="7"/>
                  </a:lnTo>
                  <a:lnTo>
                    <a:pt x="3512" y="3"/>
                  </a:lnTo>
                  <a:lnTo>
                    <a:pt x="3503" y="1"/>
                  </a:lnTo>
                  <a:lnTo>
                    <a:pt x="3493" y="0"/>
                  </a:lnTo>
                  <a:lnTo>
                    <a:pt x="3482" y="0"/>
                  </a:lnTo>
                  <a:lnTo>
                    <a:pt x="2635" y="0"/>
                  </a:lnTo>
                  <a:lnTo>
                    <a:pt x="1789" y="0"/>
                  </a:lnTo>
                  <a:lnTo>
                    <a:pt x="942" y="0"/>
                  </a:lnTo>
                  <a:lnTo>
                    <a:pt x="96" y="0"/>
                  </a:lnTo>
                  <a:lnTo>
                    <a:pt x="85" y="0"/>
                  </a:lnTo>
                  <a:lnTo>
                    <a:pt x="75" y="1"/>
                  </a:lnTo>
                  <a:lnTo>
                    <a:pt x="66" y="3"/>
                  </a:lnTo>
                  <a:lnTo>
                    <a:pt x="58" y="7"/>
                  </a:lnTo>
                  <a:lnTo>
                    <a:pt x="49" y="11"/>
                  </a:lnTo>
                  <a:lnTo>
                    <a:pt x="41" y="16"/>
                  </a:lnTo>
                  <a:lnTo>
                    <a:pt x="33" y="20"/>
                  </a:lnTo>
                  <a:lnTo>
                    <a:pt x="27" y="27"/>
                  </a:lnTo>
                  <a:lnTo>
                    <a:pt x="21" y="33"/>
                  </a:lnTo>
                  <a:lnTo>
                    <a:pt x="16" y="41"/>
                  </a:lnTo>
                  <a:lnTo>
                    <a:pt x="11" y="49"/>
                  </a:lnTo>
                  <a:lnTo>
                    <a:pt x="8" y="57"/>
                  </a:lnTo>
                  <a:lnTo>
                    <a:pt x="4" y="65"/>
                  </a:lnTo>
                  <a:lnTo>
                    <a:pt x="2" y="75"/>
                  </a:lnTo>
                  <a:lnTo>
                    <a:pt x="1" y="85"/>
                  </a:lnTo>
                  <a:lnTo>
                    <a:pt x="0" y="95"/>
                  </a:lnTo>
                  <a:lnTo>
                    <a:pt x="0" y="36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Skatta Sans Regular" pitchFamily="50" charset="0"/>
              </a:endParaRPr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BE1640A1-F5C8-47E0-94BC-B915B5C2E326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579338" y="2067802"/>
              <a:ext cx="1260000" cy="1073166"/>
            </a:xfrm>
            <a:custGeom>
              <a:avLst/>
              <a:gdLst>
                <a:gd name="T0" fmla="*/ 2264 w 3082"/>
                <a:gd name="T1" fmla="*/ 744 h 2625"/>
                <a:gd name="T2" fmla="*/ 2266 w 3082"/>
                <a:gd name="T3" fmla="*/ 977 h 2625"/>
                <a:gd name="T4" fmla="*/ 2059 w 3082"/>
                <a:gd name="T5" fmla="*/ 1141 h 2625"/>
                <a:gd name="T6" fmla="*/ 2128 w 3082"/>
                <a:gd name="T7" fmla="*/ 961 h 2625"/>
                <a:gd name="T8" fmla="*/ 2534 w 3082"/>
                <a:gd name="T9" fmla="*/ 737 h 2625"/>
                <a:gd name="T10" fmla="*/ 2516 w 3082"/>
                <a:gd name="T11" fmla="*/ 927 h 2625"/>
                <a:gd name="T12" fmla="*/ 2383 w 3082"/>
                <a:gd name="T13" fmla="*/ 1154 h 2625"/>
                <a:gd name="T14" fmla="*/ 2470 w 3082"/>
                <a:gd name="T15" fmla="*/ 1025 h 2625"/>
                <a:gd name="T16" fmla="*/ 733 w 3082"/>
                <a:gd name="T17" fmla="*/ 1006 h 2625"/>
                <a:gd name="T18" fmla="*/ 885 w 3082"/>
                <a:gd name="T19" fmla="*/ 1154 h 2625"/>
                <a:gd name="T20" fmla="*/ 60 w 3082"/>
                <a:gd name="T21" fmla="*/ 1150 h 2625"/>
                <a:gd name="T22" fmla="*/ 1819 w 3082"/>
                <a:gd name="T23" fmla="*/ 1010 h 2625"/>
                <a:gd name="T24" fmla="*/ 1910 w 3082"/>
                <a:gd name="T25" fmla="*/ 1155 h 2625"/>
                <a:gd name="T26" fmla="*/ 1110 w 3082"/>
                <a:gd name="T27" fmla="*/ 1070 h 2625"/>
                <a:gd name="T28" fmla="*/ 1273 w 3082"/>
                <a:gd name="T29" fmla="*/ 1060 h 2625"/>
                <a:gd name="T30" fmla="*/ 962 w 3082"/>
                <a:gd name="T31" fmla="*/ 1091 h 2625"/>
                <a:gd name="T32" fmla="*/ 1547 w 3082"/>
                <a:gd name="T33" fmla="*/ 832 h 2625"/>
                <a:gd name="T34" fmla="*/ 1673 w 3082"/>
                <a:gd name="T35" fmla="*/ 911 h 2625"/>
                <a:gd name="T36" fmla="*/ 1380 w 3082"/>
                <a:gd name="T37" fmla="*/ 739 h 2625"/>
                <a:gd name="T38" fmla="*/ 3022 w 3082"/>
                <a:gd name="T39" fmla="*/ 1141 h 2625"/>
                <a:gd name="T40" fmla="*/ 706 w 3082"/>
                <a:gd name="T41" fmla="*/ 2392 h 2625"/>
                <a:gd name="T42" fmla="*/ 702 w 3082"/>
                <a:gd name="T43" fmla="*/ 2624 h 2625"/>
                <a:gd name="T44" fmla="*/ 1320 w 3082"/>
                <a:gd name="T45" fmla="*/ 2090 h 2625"/>
                <a:gd name="T46" fmla="*/ 1026 w 3082"/>
                <a:gd name="T47" fmla="*/ 2625 h 2625"/>
                <a:gd name="T48" fmla="*/ 1151 w 3082"/>
                <a:gd name="T49" fmla="*/ 2177 h 2625"/>
                <a:gd name="T50" fmla="*/ 1200 w 3082"/>
                <a:gd name="T51" fmla="*/ 2104 h 2625"/>
                <a:gd name="T52" fmla="*/ 1429 w 3082"/>
                <a:gd name="T53" fmla="*/ 2214 h 2625"/>
                <a:gd name="T54" fmla="*/ 1980 w 3082"/>
                <a:gd name="T55" fmla="*/ 2526 h 2625"/>
                <a:gd name="T56" fmla="*/ 1928 w 3082"/>
                <a:gd name="T57" fmla="*/ 2207 h 2625"/>
                <a:gd name="T58" fmla="*/ 2141 w 3082"/>
                <a:gd name="T59" fmla="*/ 2491 h 2625"/>
                <a:gd name="T60" fmla="*/ 1928 w 3082"/>
                <a:gd name="T61" fmla="*/ 2207 h 2625"/>
                <a:gd name="T62" fmla="*/ 2436 w 3082"/>
                <a:gd name="T63" fmla="*/ 2096 h 2625"/>
                <a:gd name="T64" fmla="*/ 2188 w 3082"/>
                <a:gd name="T65" fmla="*/ 2624 h 2625"/>
                <a:gd name="T66" fmla="*/ 2236 w 3082"/>
                <a:gd name="T67" fmla="*/ 2169 h 2625"/>
                <a:gd name="T68" fmla="*/ 2314 w 3082"/>
                <a:gd name="T69" fmla="*/ 2123 h 2625"/>
                <a:gd name="T70" fmla="*/ 1320 w 3082"/>
                <a:gd name="T71" fmla="*/ 177 h 2625"/>
                <a:gd name="T72" fmla="*/ 1094 w 3082"/>
                <a:gd name="T73" fmla="*/ 230 h 2625"/>
                <a:gd name="T74" fmla="*/ 1361 w 3082"/>
                <a:gd name="T75" fmla="*/ 54 h 2625"/>
                <a:gd name="T76" fmla="*/ 1345 w 3082"/>
                <a:gd name="T77" fmla="*/ 391 h 2625"/>
                <a:gd name="T78" fmla="*/ 1007 w 3082"/>
                <a:gd name="T79" fmla="*/ 313 h 2625"/>
                <a:gd name="T80" fmla="*/ 1174 w 3082"/>
                <a:gd name="T81" fmla="*/ 2 h 2625"/>
                <a:gd name="T82" fmla="*/ 1786 w 3082"/>
                <a:gd name="T83" fmla="*/ 89 h 2625"/>
                <a:gd name="T84" fmla="*/ 1490 w 3082"/>
                <a:gd name="T85" fmla="*/ 99 h 2625"/>
                <a:gd name="T86" fmla="*/ 2149 w 3082"/>
                <a:gd name="T87" fmla="*/ 9 h 2625"/>
                <a:gd name="T88" fmla="*/ 908 w 3082"/>
                <a:gd name="T89" fmla="*/ 365 h 2625"/>
                <a:gd name="T90" fmla="*/ 816 w 3082"/>
                <a:gd name="T91" fmla="*/ 336 h 2625"/>
                <a:gd name="T92" fmla="*/ 2672 w 3082"/>
                <a:gd name="T93" fmla="*/ 1878 h 2625"/>
                <a:gd name="T94" fmla="*/ 1737 w 3082"/>
                <a:gd name="T95" fmla="*/ 1879 h 2625"/>
                <a:gd name="T96" fmla="*/ 2104 w 3082"/>
                <a:gd name="T97" fmla="*/ 1888 h 2625"/>
                <a:gd name="T98" fmla="*/ 2174 w 3082"/>
                <a:gd name="T99" fmla="*/ 1888 h 2625"/>
                <a:gd name="T100" fmla="*/ 2719 w 3082"/>
                <a:gd name="T101" fmla="*/ 1481 h 2625"/>
                <a:gd name="T102" fmla="*/ 333 w 3082"/>
                <a:gd name="T103" fmla="*/ 1634 h 2625"/>
                <a:gd name="T104" fmla="*/ 110 w 3082"/>
                <a:gd name="T105" fmla="*/ 1707 h 2625"/>
                <a:gd name="T106" fmla="*/ 383 w 3082"/>
                <a:gd name="T107" fmla="*/ 1524 h 2625"/>
                <a:gd name="T108" fmla="*/ 351 w 3082"/>
                <a:gd name="T109" fmla="*/ 1860 h 2625"/>
                <a:gd name="T110" fmla="*/ 17 w 3082"/>
                <a:gd name="T111" fmla="*/ 1766 h 2625"/>
                <a:gd name="T112" fmla="*/ 200 w 3082"/>
                <a:gd name="T113" fmla="*/ 1464 h 2625"/>
                <a:gd name="T114" fmla="*/ 974 w 3082"/>
                <a:gd name="T115" fmla="*/ 1638 h 2625"/>
                <a:gd name="T116" fmla="*/ 1221 w 3082"/>
                <a:gd name="T117" fmla="*/ 1494 h 2625"/>
                <a:gd name="T118" fmla="*/ 1083 w 3082"/>
                <a:gd name="T119" fmla="*/ 1612 h 2625"/>
                <a:gd name="T120" fmla="*/ 1173 w 3082"/>
                <a:gd name="T121" fmla="*/ 1878 h 2625"/>
                <a:gd name="T122" fmla="*/ 1067 w 3082"/>
                <a:gd name="T123" fmla="*/ 1808 h 2625"/>
                <a:gd name="T124" fmla="*/ 777 w 3082"/>
                <a:gd name="T125" fmla="*/ 1480 h 26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082" h="2625">
                  <a:moveTo>
                    <a:pt x="1319" y="1480"/>
                  </a:moveTo>
                  <a:lnTo>
                    <a:pt x="1319" y="1478"/>
                  </a:lnTo>
                  <a:lnTo>
                    <a:pt x="1320" y="1476"/>
                  </a:lnTo>
                  <a:lnTo>
                    <a:pt x="1322" y="1473"/>
                  </a:lnTo>
                  <a:lnTo>
                    <a:pt x="1323" y="1472"/>
                  </a:lnTo>
                  <a:lnTo>
                    <a:pt x="1325" y="1471"/>
                  </a:lnTo>
                  <a:lnTo>
                    <a:pt x="1329" y="1470"/>
                  </a:lnTo>
                  <a:lnTo>
                    <a:pt x="1411" y="1470"/>
                  </a:lnTo>
                  <a:lnTo>
                    <a:pt x="1415" y="1471"/>
                  </a:lnTo>
                  <a:lnTo>
                    <a:pt x="1419" y="1473"/>
                  </a:lnTo>
                  <a:lnTo>
                    <a:pt x="1420" y="1474"/>
                  </a:lnTo>
                  <a:lnTo>
                    <a:pt x="1421" y="1476"/>
                  </a:lnTo>
                  <a:lnTo>
                    <a:pt x="1421" y="1478"/>
                  </a:lnTo>
                  <a:lnTo>
                    <a:pt x="1421" y="1480"/>
                  </a:lnTo>
                  <a:lnTo>
                    <a:pt x="1421" y="1879"/>
                  </a:lnTo>
                  <a:lnTo>
                    <a:pt x="1421" y="1881"/>
                  </a:lnTo>
                  <a:lnTo>
                    <a:pt x="1421" y="1883"/>
                  </a:lnTo>
                  <a:lnTo>
                    <a:pt x="1419" y="1886"/>
                  </a:lnTo>
                  <a:lnTo>
                    <a:pt x="1417" y="1887"/>
                  </a:lnTo>
                  <a:lnTo>
                    <a:pt x="1415" y="1888"/>
                  </a:lnTo>
                  <a:lnTo>
                    <a:pt x="1411" y="1889"/>
                  </a:lnTo>
                  <a:lnTo>
                    <a:pt x="1329" y="1889"/>
                  </a:lnTo>
                  <a:lnTo>
                    <a:pt x="1325" y="1888"/>
                  </a:lnTo>
                  <a:lnTo>
                    <a:pt x="1322" y="1886"/>
                  </a:lnTo>
                  <a:lnTo>
                    <a:pt x="1321" y="1885"/>
                  </a:lnTo>
                  <a:lnTo>
                    <a:pt x="1320" y="1883"/>
                  </a:lnTo>
                  <a:lnTo>
                    <a:pt x="1319" y="1881"/>
                  </a:lnTo>
                  <a:lnTo>
                    <a:pt x="1319" y="1879"/>
                  </a:lnTo>
                  <a:lnTo>
                    <a:pt x="1319" y="1480"/>
                  </a:lnTo>
                  <a:close/>
                  <a:moveTo>
                    <a:pt x="2184" y="729"/>
                  </a:moveTo>
                  <a:lnTo>
                    <a:pt x="2195" y="729"/>
                  </a:lnTo>
                  <a:lnTo>
                    <a:pt x="2206" y="730"/>
                  </a:lnTo>
                  <a:lnTo>
                    <a:pt x="2217" y="731"/>
                  </a:lnTo>
                  <a:lnTo>
                    <a:pt x="2227" y="733"/>
                  </a:lnTo>
                  <a:lnTo>
                    <a:pt x="2237" y="735"/>
                  </a:lnTo>
                  <a:lnTo>
                    <a:pt x="2246" y="737"/>
                  </a:lnTo>
                  <a:lnTo>
                    <a:pt x="2253" y="739"/>
                  </a:lnTo>
                  <a:lnTo>
                    <a:pt x="2259" y="741"/>
                  </a:lnTo>
                  <a:lnTo>
                    <a:pt x="2262" y="742"/>
                  </a:lnTo>
                  <a:lnTo>
                    <a:pt x="2264" y="744"/>
                  </a:lnTo>
                  <a:lnTo>
                    <a:pt x="2265" y="745"/>
                  </a:lnTo>
                  <a:lnTo>
                    <a:pt x="2266" y="747"/>
                  </a:lnTo>
                  <a:lnTo>
                    <a:pt x="2267" y="749"/>
                  </a:lnTo>
                  <a:lnTo>
                    <a:pt x="2267" y="752"/>
                  </a:lnTo>
                  <a:lnTo>
                    <a:pt x="2267" y="757"/>
                  </a:lnTo>
                  <a:lnTo>
                    <a:pt x="2248" y="818"/>
                  </a:lnTo>
                  <a:lnTo>
                    <a:pt x="2247" y="821"/>
                  </a:lnTo>
                  <a:lnTo>
                    <a:pt x="2246" y="823"/>
                  </a:lnTo>
                  <a:lnTo>
                    <a:pt x="2245" y="825"/>
                  </a:lnTo>
                  <a:lnTo>
                    <a:pt x="2243" y="826"/>
                  </a:lnTo>
                  <a:lnTo>
                    <a:pt x="2241" y="827"/>
                  </a:lnTo>
                  <a:lnTo>
                    <a:pt x="2239" y="827"/>
                  </a:lnTo>
                  <a:lnTo>
                    <a:pt x="2233" y="827"/>
                  </a:lnTo>
                  <a:lnTo>
                    <a:pt x="2223" y="823"/>
                  </a:lnTo>
                  <a:lnTo>
                    <a:pt x="2213" y="821"/>
                  </a:lnTo>
                  <a:lnTo>
                    <a:pt x="2204" y="819"/>
                  </a:lnTo>
                  <a:lnTo>
                    <a:pt x="2194" y="818"/>
                  </a:lnTo>
                  <a:lnTo>
                    <a:pt x="2188" y="819"/>
                  </a:lnTo>
                  <a:lnTo>
                    <a:pt x="2185" y="819"/>
                  </a:lnTo>
                  <a:lnTo>
                    <a:pt x="2182" y="820"/>
                  </a:lnTo>
                  <a:lnTo>
                    <a:pt x="2180" y="821"/>
                  </a:lnTo>
                  <a:lnTo>
                    <a:pt x="2177" y="823"/>
                  </a:lnTo>
                  <a:lnTo>
                    <a:pt x="2173" y="826"/>
                  </a:lnTo>
                  <a:lnTo>
                    <a:pt x="2170" y="829"/>
                  </a:lnTo>
                  <a:lnTo>
                    <a:pt x="2169" y="831"/>
                  </a:lnTo>
                  <a:lnTo>
                    <a:pt x="2168" y="834"/>
                  </a:lnTo>
                  <a:lnTo>
                    <a:pt x="2166" y="839"/>
                  </a:lnTo>
                  <a:lnTo>
                    <a:pt x="2166" y="844"/>
                  </a:lnTo>
                  <a:lnTo>
                    <a:pt x="2167" y="850"/>
                  </a:lnTo>
                  <a:lnTo>
                    <a:pt x="2168" y="856"/>
                  </a:lnTo>
                  <a:lnTo>
                    <a:pt x="2171" y="862"/>
                  </a:lnTo>
                  <a:lnTo>
                    <a:pt x="2175" y="867"/>
                  </a:lnTo>
                  <a:lnTo>
                    <a:pt x="2179" y="872"/>
                  </a:lnTo>
                  <a:lnTo>
                    <a:pt x="2184" y="878"/>
                  </a:lnTo>
                  <a:lnTo>
                    <a:pt x="2195" y="890"/>
                  </a:lnTo>
                  <a:lnTo>
                    <a:pt x="2228" y="927"/>
                  </a:lnTo>
                  <a:lnTo>
                    <a:pt x="2238" y="938"/>
                  </a:lnTo>
                  <a:lnTo>
                    <a:pt x="2248" y="950"/>
                  </a:lnTo>
                  <a:lnTo>
                    <a:pt x="2257" y="963"/>
                  </a:lnTo>
                  <a:lnTo>
                    <a:pt x="2266" y="977"/>
                  </a:lnTo>
                  <a:lnTo>
                    <a:pt x="2270" y="985"/>
                  </a:lnTo>
                  <a:lnTo>
                    <a:pt x="2273" y="992"/>
                  </a:lnTo>
                  <a:lnTo>
                    <a:pt x="2276" y="1000"/>
                  </a:lnTo>
                  <a:lnTo>
                    <a:pt x="2279" y="1007"/>
                  </a:lnTo>
                  <a:lnTo>
                    <a:pt x="2281" y="1015"/>
                  </a:lnTo>
                  <a:lnTo>
                    <a:pt x="2282" y="1023"/>
                  </a:lnTo>
                  <a:lnTo>
                    <a:pt x="2283" y="1031"/>
                  </a:lnTo>
                  <a:lnTo>
                    <a:pt x="2284" y="1039"/>
                  </a:lnTo>
                  <a:lnTo>
                    <a:pt x="2284" y="1047"/>
                  </a:lnTo>
                  <a:lnTo>
                    <a:pt x="2283" y="1054"/>
                  </a:lnTo>
                  <a:lnTo>
                    <a:pt x="2282" y="1061"/>
                  </a:lnTo>
                  <a:lnTo>
                    <a:pt x="2281" y="1068"/>
                  </a:lnTo>
                  <a:lnTo>
                    <a:pt x="2280" y="1075"/>
                  </a:lnTo>
                  <a:lnTo>
                    <a:pt x="2278" y="1081"/>
                  </a:lnTo>
                  <a:lnTo>
                    <a:pt x="2274" y="1093"/>
                  </a:lnTo>
                  <a:lnTo>
                    <a:pt x="2268" y="1104"/>
                  </a:lnTo>
                  <a:lnTo>
                    <a:pt x="2265" y="1109"/>
                  </a:lnTo>
                  <a:lnTo>
                    <a:pt x="2262" y="1114"/>
                  </a:lnTo>
                  <a:lnTo>
                    <a:pt x="2258" y="1119"/>
                  </a:lnTo>
                  <a:lnTo>
                    <a:pt x="2255" y="1123"/>
                  </a:lnTo>
                  <a:lnTo>
                    <a:pt x="2246" y="1131"/>
                  </a:lnTo>
                  <a:lnTo>
                    <a:pt x="2237" y="1139"/>
                  </a:lnTo>
                  <a:lnTo>
                    <a:pt x="2227" y="1145"/>
                  </a:lnTo>
                  <a:lnTo>
                    <a:pt x="2217" y="1150"/>
                  </a:lnTo>
                  <a:lnTo>
                    <a:pt x="2205" y="1154"/>
                  </a:lnTo>
                  <a:lnTo>
                    <a:pt x="2193" y="1158"/>
                  </a:lnTo>
                  <a:lnTo>
                    <a:pt x="2187" y="1159"/>
                  </a:lnTo>
                  <a:lnTo>
                    <a:pt x="2181" y="1160"/>
                  </a:lnTo>
                  <a:lnTo>
                    <a:pt x="2168" y="1161"/>
                  </a:lnTo>
                  <a:lnTo>
                    <a:pt x="2155" y="1162"/>
                  </a:lnTo>
                  <a:lnTo>
                    <a:pt x="2143" y="1162"/>
                  </a:lnTo>
                  <a:lnTo>
                    <a:pt x="2131" y="1161"/>
                  </a:lnTo>
                  <a:lnTo>
                    <a:pt x="2118" y="1159"/>
                  </a:lnTo>
                  <a:lnTo>
                    <a:pt x="2106" y="1157"/>
                  </a:lnTo>
                  <a:lnTo>
                    <a:pt x="2094" y="1154"/>
                  </a:lnTo>
                  <a:lnTo>
                    <a:pt x="2083" y="1151"/>
                  </a:lnTo>
                  <a:lnTo>
                    <a:pt x="2073" y="1148"/>
                  </a:lnTo>
                  <a:lnTo>
                    <a:pt x="2064" y="1144"/>
                  </a:lnTo>
                  <a:lnTo>
                    <a:pt x="2062" y="1143"/>
                  </a:lnTo>
                  <a:lnTo>
                    <a:pt x="2059" y="1141"/>
                  </a:lnTo>
                  <a:lnTo>
                    <a:pt x="2058" y="1140"/>
                  </a:lnTo>
                  <a:lnTo>
                    <a:pt x="2057" y="1138"/>
                  </a:lnTo>
                  <a:lnTo>
                    <a:pt x="2057" y="1136"/>
                  </a:lnTo>
                  <a:lnTo>
                    <a:pt x="2056" y="1134"/>
                  </a:lnTo>
                  <a:lnTo>
                    <a:pt x="2057" y="1131"/>
                  </a:lnTo>
                  <a:lnTo>
                    <a:pt x="2077" y="1065"/>
                  </a:lnTo>
                  <a:lnTo>
                    <a:pt x="2078" y="1062"/>
                  </a:lnTo>
                  <a:lnTo>
                    <a:pt x="2079" y="1060"/>
                  </a:lnTo>
                  <a:lnTo>
                    <a:pt x="2080" y="1058"/>
                  </a:lnTo>
                  <a:lnTo>
                    <a:pt x="2082" y="1057"/>
                  </a:lnTo>
                  <a:lnTo>
                    <a:pt x="2084" y="1057"/>
                  </a:lnTo>
                  <a:lnTo>
                    <a:pt x="2086" y="1057"/>
                  </a:lnTo>
                  <a:lnTo>
                    <a:pt x="2088" y="1057"/>
                  </a:lnTo>
                  <a:lnTo>
                    <a:pt x="2091" y="1058"/>
                  </a:lnTo>
                  <a:lnTo>
                    <a:pt x="2098" y="1062"/>
                  </a:lnTo>
                  <a:lnTo>
                    <a:pt x="2106" y="1064"/>
                  </a:lnTo>
                  <a:lnTo>
                    <a:pt x="2113" y="1067"/>
                  </a:lnTo>
                  <a:lnTo>
                    <a:pt x="2120" y="1069"/>
                  </a:lnTo>
                  <a:lnTo>
                    <a:pt x="2128" y="1070"/>
                  </a:lnTo>
                  <a:lnTo>
                    <a:pt x="2135" y="1071"/>
                  </a:lnTo>
                  <a:lnTo>
                    <a:pt x="2142" y="1072"/>
                  </a:lnTo>
                  <a:lnTo>
                    <a:pt x="2148" y="1072"/>
                  </a:lnTo>
                  <a:lnTo>
                    <a:pt x="2157" y="1071"/>
                  </a:lnTo>
                  <a:lnTo>
                    <a:pt x="2161" y="1071"/>
                  </a:lnTo>
                  <a:lnTo>
                    <a:pt x="2165" y="1070"/>
                  </a:lnTo>
                  <a:lnTo>
                    <a:pt x="2171" y="1067"/>
                  </a:lnTo>
                  <a:lnTo>
                    <a:pt x="2176" y="1064"/>
                  </a:lnTo>
                  <a:lnTo>
                    <a:pt x="2180" y="1060"/>
                  </a:lnTo>
                  <a:lnTo>
                    <a:pt x="2182" y="1057"/>
                  </a:lnTo>
                  <a:lnTo>
                    <a:pt x="2183" y="1055"/>
                  </a:lnTo>
                  <a:lnTo>
                    <a:pt x="2185" y="1049"/>
                  </a:lnTo>
                  <a:lnTo>
                    <a:pt x="2186" y="1042"/>
                  </a:lnTo>
                  <a:lnTo>
                    <a:pt x="2185" y="1037"/>
                  </a:lnTo>
                  <a:lnTo>
                    <a:pt x="2184" y="1031"/>
                  </a:lnTo>
                  <a:lnTo>
                    <a:pt x="2181" y="1025"/>
                  </a:lnTo>
                  <a:lnTo>
                    <a:pt x="2178" y="1020"/>
                  </a:lnTo>
                  <a:lnTo>
                    <a:pt x="2175" y="1014"/>
                  </a:lnTo>
                  <a:lnTo>
                    <a:pt x="2170" y="1008"/>
                  </a:lnTo>
                  <a:lnTo>
                    <a:pt x="2161" y="997"/>
                  </a:lnTo>
                  <a:lnTo>
                    <a:pt x="2128" y="961"/>
                  </a:lnTo>
                  <a:lnTo>
                    <a:pt x="2116" y="948"/>
                  </a:lnTo>
                  <a:lnTo>
                    <a:pt x="2106" y="935"/>
                  </a:lnTo>
                  <a:lnTo>
                    <a:pt x="2095" y="922"/>
                  </a:lnTo>
                  <a:lnTo>
                    <a:pt x="2091" y="915"/>
                  </a:lnTo>
                  <a:lnTo>
                    <a:pt x="2086" y="908"/>
                  </a:lnTo>
                  <a:lnTo>
                    <a:pt x="2082" y="900"/>
                  </a:lnTo>
                  <a:lnTo>
                    <a:pt x="2079" y="893"/>
                  </a:lnTo>
                  <a:lnTo>
                    <a:pt x="2076" y="885"/>
                  </a:lnTo>
                  <a:lnTo>
                    <a:pt x="2073" y="877"/>
                  </a:lnTo>
                  <a:lnTo>
                    <a:pt x="2071" y="868"/>
                  </a:lnTo>
                  <a:lnTo>
                    <a:pt x="2070" y="864"/>
                  </a:lnTo>
                  <a:lnTo>
                    <a:pt x="2069" y="859"/>
                  </a:lnTo>
                  <a:lnTo>
                    <a:pt x="2068" y="850"/>
                  </a:lnTo>
                  <a:lnTo>
                    <a:pt x="2068" y="841"/>
                  </a:lnTo>
                  <a:lnTo>
                    <a:pt x="2068" y="829"/>
                  </a:lnTo>
                  <a:lnTo>
                    <a:pt x="2070" y="817"/>
                  </a:lnTo>
                  <a:lnTo>
                    <a:pt x="2073" y="806"/>
                  </a:lnTo>
                  <a:lnTo>
                    <a:pt x="2077" y="795"/>
                  </a:lnTo>
                  <a:lnTo>
                    <a:pt x="2081" y="785"/>
                  </a:lnTo>
                  <a:lnTo>
                    <a:pt x="2087" y="776"/>
                  </a:lnTo>
                  <a:lnTo>
                    <a:pt x="2094" y="768"/>
                  </a:lnTo>
                  <a:lnTo>
                    <a:pt x="2101" y="760"/>
                  </a:lnTo>
                  <a:lnTo>
                    <a:pt x="2105" y="756"/>
                  </a:lnTo>
                  <a:lnTo>
                    <a:pt x="2109" y="753"/>
                  </a:lnTo>
                  <a:lnTo>
                    <a:pt x="2118" y="747"/>
                  </a:lnTo>
                  <a:lnTo>
                    <a:pt x="2123" y="744"/>
                  </a:lnTo>
                  <a:lnTo>
                    <a:pt x="2128" y="741"/>
                  </a:lnTo>
                  <a:lnTo>
                    <a:pt x="2138" y="737"/>
                  </a:lnTo>
                  <a:lnTo>
                    <a:pt x="2148" y="734"/>
                  </a:lnTo>
                  <a:lnTo>
                    <a:pt x="2160" y="731"/>
                  </a:lnTo>
                  <a:lnTo>
                    <a:pt x="2166" y="730"/>
                  </a:lnTo>
                  <a:lnTo>
                    <a:pt x="2172" y="730"/>
                  </a:lnTo>
                  <a:lnTo>
                    <a:pt x="2184" y="729"/>
                  </a:lnTo>
                  <a:close/>
                  <a:moveTo>
                    <a:pt x="2472" y="729"/>
                  </a:moveTo>
                  <a:lnTo>
                    <a:pt x="2483" y="729"/>
                  </a:lnTo>
                  <a:lnTo>
                    <a:pt x="2495" y="730"/>
                  </a:lnTo>
                  <a:lnTo>
                    <a:pt x="2505" y="731"/>
                  </a:lnTo>
                  <a:lnTo>
                    <a:pt x="2516" y="733"/>
                  </a:lnTo>
                  <a:lnTo>
                    <a:pt x="2525" y="735"/>
                  </a:lnTo>
                  <a:lnTo>
                    <a:pt x="2534" y="737"/>
                  </a:lnTo>
                  <a:lnTo>
                    <a:pt x="2542" y="739"/>
                  </a:lnTo>
                  <a:lnTo>
                    <a:pt x="2548" y="741"/>
                  </a:lnTo>
                  <a:lnTo>
                    <a:pt x="2550" y="742"/>
                  </a:lnTo>
                  <a:lnTo>
                    <a:pt x="2552" y="744"/>
                  </a:lnTo>
                  <a:lnTo>
                    <a:pt x="2554" y="745"/>
                  </a:lnTo>
                  <a:lnTo>
                    <a:pt x="2555" y="747"/>
                  </a:lnTo>
                  <a:lnTo>
                    <a:pt x="2555" y="749"/>
                  </a:lnTo>
                  <a:lnTo>
                    <a:pt x="2556" y="752"/>
                  </a:lnTo>
                  <a:lnTo>
                    <a:pt x="2555" y="757"/>
                  </a:lnTo>
                  <a:lnTo>
                    <a:pt x="2537" y="818"/>
                  </a:lnTo>
                  <a:lnTo>
                    <a:pt x="2536" y="821"/>
                  </a:lnTo>
                  <a:lnTo>
                    <a:pt x="2534" y="823"/>
                  </a:lnTo>
                  <a:lnTo>
                    <a:pt x="2533" y="825"/>
                  </a:lnTo>
                  <a:lnTo>
                    <a:pt x="2531" y="826"/>
                  </a:lnTo>
                  <a:lnTo>
                    <a:pt x="2529" y="827"/>
                  </a:lnTo>
                  <a:lnTo>
                    <a:pt x="2527" y="827"/>
                  </a:lnTo>
                  <a:lnTo>
                    <a:pt x="2522" y="827"/>
                  </a:lnTo>
                  <a:lnTo>
                    <a:pt x="2511" y="823"/>
                  </a:lnTo>
                  <a:lnTo>
                    <a:pt x="2501" y="821"/>
                  </a:lnTo>
                  <a:lnTo>
                    <a:pt x="2492" y="819"/>
                  </a:lnTo>
                  <a:lnTo>
                    <a:pt x="2483" y="818"/>
                  </a:lnTo>
                  <a:lnTo>
                    <a:pt x="2476" y="819"/>
                  </a:lnTo>
                  <a:lnTo>
                    <a:pt x="2473" y="819"/>
                  </a:lnTo>
                  <a:lnTo>
                    <a:pt x="2471" y="820"/>
                  </a:lnTo>
                  <a:lnTo>
                    <a:pt x="2468" y="821"/>
                  </a:lnTo>
                  <a:lnTo>
                    <a:pt x="2466" y="823"/>
                  </a:lnTo>
                  <a:lnTo>
                    <a:pt x="2462" y="826"/>
                  </a:lnTo>
                  <a:lnTo>
                    <a:pt x="2459" y="829"/>
                  </a:lnTo>
                  <a:lnTo>
                    <a:pt x="2457" y="831"/>
                  </a:lnTo>
                  <a:lnTo>
                    <a:pt x="2456" y="834"/>
                  </a:lnTo>
                  <a:lnTo>
                    <a:pt x="2455" y="839"/>
                  </a:lnTo>
                  <a:lnTo>
                    <a:pt x="2454" y="844"/>
                  </a:lnTo>
                  <a:lnTo>
                    <a:pt x="2455" y="850"/>
                  </a:lnTo>
                  <a:lnTo>
                    <a:pt x="2457" y="856"/>
                  </a:lnTo>
                  <a:lnTo>
                    <a:pt x="2459" y="862"/>
                  </a:lnTo>
                  <a:lnTo>
                    <a:pt x="2463" y="867"/>
                  </a:lnTo>
                  <a:lnTo>
                    <a:pt x="2467" y="872"/>
                  </a:lnTo>
                  <a:lnTo>
                    <a:pt x="2472" y="878"/>
                  </a:lnTo>
                  <a:lnTo>
                    <a:pt x="2483" y="890"/>
                  </a:lnTo>
                  <a:lnTo>
                    <a:pt x="2516" y="927"/>
                  </a:lnTo>
                  <a:lnTo>
                    <a:pt x="2526" y="938"/>
                  </a:lnTo>
                  <a:lnTo>
                    <a:pt x="2536" y="950"/>
                  </a:lnTo>
                  <a:lnTo>
                    <a:pt x="2546" y="963"/>
                  </a:lnTo>
                  <a:lnTo>
                    <a:pt x="2554" y="977"/>
                  </a:lnTo>
                  <a:lnTo>
                    <a:pt x="2558" y="985"/>
                  </a:lnTo>
                  <a:lnTo>
                    <a:pt x="2561" y="992"/>
                  </a:lnTo>
                  <a:lnTo>
                    <a:pt x="2564" y="1000"/>
                  </a:lnTo>
                  <a:lnTo>
                    <a:pt x="2567" y="1007"/>
                  </a:lnTo>
                  <a:lnTo>
                    <a:pt x="2569" y="1015"/>
                  </a:lnTo>
                  <a:lnTo>
                    <a:pt x="2571" y="1023"/>
                  </a:lnTo>
                  <a:lnTo>
                    <a:pt x="2572" y="1031"/>
                  </a:lnTo>
                  <a:lnTo>
                    <a:pt x="2572" y="1039"/>
                  </a:lnTo>
                  <a:lnTo>
                    <a:pt x="2572" y="1047"/>
                  </a:lnTo>
                  <a:lnTo>
                    <a:pt x="2571" y="1054"/>
                  </a:lnTo>
                  <a:lnTo>
                    <a:pt x="2571" y="1061"/>
                  </a:lnTo>
                  <a:lnTo>
                    <a:pt x="2569" y="1068"/>
                  </a:lnTo>
                  <a:lnTo>
                    <a:pt x="2568" y="1075"/>
                  </a:lnTo>
                  <a:lnTo>
                    <a:pt x="2566" y="1081"/>
                  </a:lnTo>
                  <a:lnTo>
                    <a:pt x="2562" y="1093"/>
                  </a:lnTo>
                  <a:lnTo>
                    <a:pt x="2557" y="1104"/>
                  </a:lnTo>
                  <a:lnTo>
                    <a:pt x="2554" y="1109"/>
                  </a:lnTo>
                  <a:lnTo>
                    <a:pt x="2550" y="1114"/>
                  </a:lnTo>
                  <a:lnTo>
                    <a:pt x="2547" y="1119"/>
                  </a:lnTo>
                  <a:lnTo>
                    <a:pt x="2543" y="1123"/>
                  </a:lnTo>
                  <a:lnTo>
                    <a:pt x="2535" y="1131"/>
                  </a:lnTo>
                  <a:lnTo>
                    <a:pt x="2526" y="1139"/>
                  </a:lnTo>
                  <a:lnTo>
                    <a:pt x="2516" y="1145"/>
                  </a:lnTo>
                  <a:lnTo>
                    <a:pt x="2510" y="1148"/>
                  </a:lnTo>
                  <a:lnTo>
                    <a:pt x="2505" y="1150"/>
                  </a:lnTo>
                  <a:lnTo>
                    <a:pt x="2494" y="1154"/>
                  </a:lnTo>
                  <a:lnTo>
                    <a:pt x="2482" y="1158"/>
                  </a:lnTo>
                  <a:lnTo>
                    <a:pt x="2476" y="1159"/>
                  </a:lnTo>
                  <a:lnTo>
                    <a:pt x="2469" y="1160"/>
                  </a:lnTo>
                  <a:lnTo>
                    <a:pt x="2456" y="1161"/>
                  </a:lnTo>
                  <a:lnTo>
                    <a:pt x="2443" y="1162"/>
                  </a:lnTo>
                  <a:lnTo>
                    <a:pt x="2431" y="1162"/>
                  </a:lnTo>
                  <a:lnTo>
                    <a:pt x="2419" y="1161"/>
                  </a:lnTo>
                  <a:lnTo>
                    <a:pt x="2407" y="1159"/>
                  </a:lnTo>
                  <a:lnTo>
                    <a:pt x="2395" y="1157"/>
                  </a:lnTo>
                  <a:lnTo>
                    <a:pt x="2383" y="1154"/>
                  </a:lnTo>
                  <a:lnTo>
                    <a:pt x="2372" y="1151"/>
                  </a:lnTo>
                  <a:lnTo>
                    <a:pt x="2362" y="1148"/>
                  </a:lnTo>
                  <a:lnTo>
                    <a:pt x="2353" y="1144"/>
                  </a:lnTo>
                  <a:lnTo>
                    <a:pt x="2350" y="1143"/>
                  </a:lnTo>
                  <a:lnTo>
                    <a:pt x="2348" y="1141"/>
                  </a:lnTo>
                  <a:lnTo>
                    <a:pt x="2346" y="1140"/>
                  </a:lnTo>
                  <a:lnTo>
                    <a:pt x="2345" y="1138"/>
                  </a:lnTo>
                  <a:lnTo>
                    <a:pt x="2345" y="1136"/>
                  </a:lnTo>
                  <a:lnTo>
                    <a:pt x="2345" y="1134"/>
                  </a:lnTo>
                  <a:lnTo>
                    <a:pt x="2346" y="1131"/>
                  </a:lnTo>
                  <a:lnTo>
                    <a:pt x="2365" y="1065"/>
                  </a:lnTo>
                  <a:lnTo>
                    <a:pt x="2366" y="1062"/>
                  </a:lnTo>
                  <a:lnTo>
                    <a:pt x="2367" y="1060"/>
                  </a:lnTo>
                  <a:lnTo>
                    <a:pt x="2369" y="1058"/>
                  </a:lnTo>
                  <a:lnTo>
                    <a:pt x="2370" y="1057"/>
                  </a:lnTo>
                  <a:lnTo>
                    <a:pt x="2372" y="1057"/>
                  </a:lnTo>
                  <a:lnTo>
                    <a:pt x="2374" y="1057"/>
                  </a:lnTo>
                  <a:lnTo>
                    <a:pt x="2377" y="1057"/>
                  </a:lnTo>
                  <a:lnTo>
                    <a:pt x="2379" y="1058"/>
                  </a:lnTo>
                  <a:lnTo>
                    <a:pt x="2387" y="1062"/>
                  </a:lnTo>
                  <a:lnTo>
                    <a:pt x="2394" y="1064"/>
                  </a:lnTo>
                  <a:lnTo>
                    <a:pt x="2401" y="1067"/>
                  </a:lnTo>
                  <a:lnTo>
                    <a:pt x="2409" y="1069"/>
                  </a:lnTo>
                  <a:lnTo>
                    <a:pt x="2416" y="1070"/>
                  </a:lnTo>
                  <a:lnTo>
                    <a:pt x="2423" y="1071"/>
                  </a:lnTo>
                  <a:lnTo>
                    <a:pt x="2430" y="1072"/>
                  </a:lnTo>
                  <a:lnTo>
                    <a:pt x="2437" y="1072"/>
                  </a:lnTo>
                  <a:lnTo>
                    <a:pt x="2446" y="1071"/>
                  </a:lnTo>
                  <a:lnTo>
                    <a:pt x="2449" y="1071"/>
                  </a:lnTo>
                  <a:lnTo>
                    <a:pt x="2453" y="1070"/>
                  </a:lnTo>
                  <a:lnTo>
                    <a:pt x="2460" y="1067"/>
                  </a:lnTo>
                  <a:lnTo>
                    <a:pt x="2465" y="1064"/>
                  </a:lnTo>
                  <a:lnTo>
                    <a:pt x="2469" y="1060"/>
                  </a:lnTo>
                  <a:lnTo>
                    <a:pt x="2470" y="1057"/>
                  </a:lnTo>
                  <a:lnTo>
                    <a:pt x="2472" y="1055"/>
                  </a:lnTo>
                  <a:lnTo>
                    <a:pt x="2473" y="1049"/>
                  </a:lnTo>
                  <a:lnTo>
                    <a:pt x="2474" y="1042"/>
                  </a:lnTo>
                  <a:lnTo>
                    <a:pt x="2473" y="1037"/>
                  </a:lnTo>
                  <a:lnTo>
                    <a:pt x="2472" y="1031"/>
                  </a:lnTo>
                  <a:lnTo>
                    <a:pt x="2470" y="1025"/>
                  </a:lnTo>
                  <a:lnTo>
                    <a:pt x="2467" y="1020"/>
                  </a:lnTo>
                  <a:lnTo>
                    <a:pt x="2463" y="1014"/>
                  </a:lnTo>
                  <a:lnTo>
                    <a:pt x="2459" y="1008"/>
                  </a:lnTo>
                  <a:lnTo>
                    <a:pt x="2449" y="997"/>
                  </a:lnTo>
                  <a:lnTo>
                    <a:pt x="2416" y="961"/>
                  </a:lnTo>
                  <a:lnTo>
                    <a:pt x="2405" y="948"/>
                  </a:lnTo>
                  <a:lnTo>
                    <a:pt x="2394" y="935"/>
                  </a:lnTo>
                  <a:lnTo>
                    <a:pt x="2384" y="922"/>
                  </a:lnTo>
                  <a:lnTo>
                    <a:pt x="2379" y="915"/>
                  </a:lnTo>
                  <a:lnTo>
                    <a:pt x="2375" y="908"/>
                  </a:lnTo>
                  <a:lnTo>
                    <a:pt x="2371" y="900"/>
                  </a:lnTo>
                  <a:lnTo>
                    <a:pt x="2367" y="893"/>
                  </a:lnTo>
                  <a:lnTo>
                    <a:pt x="2364" y="885"/>
                  </a:lnTo>
                  <a:lnTo>
                    <a:pt x="2361" y="877"/>
                  </a:lnTo>
                  <a:lnTo>
                    <a:pt x="2359" y="868"/>
                  </a:lnTo>
                  <a:lnTo>
                    <a:pt x="2358" y="864"/>
                  </a:lnTo>
                  <a:lnTo>
                    <a:pt x="2358" y="859"/>
                  </a:lnTo>
                  <a:lnTo>
                    <a:pt x="2357" y="850"/>
                  </a:lnTo>
                  <a:lnTo>
                    <a:pt x="2356" y="841"/>
                  </a:lnTo>
                  <a:lnTo>
                    <a:pt x="2357" y="829"/>
                  </a:lnTo>
                  <a:lnTo>
                    <a:pt x="2358" y="817"/>
                  </a:lnTo>
                  <a:lnTo>
                    <a:pt x="2361" y="806"/>
                  </a:lnTo>
                  <a:lnTo>
                    <a:pt x="2365" y="795"/>
                  </a:lnTo>
                  <a:lnTo>
                    <a:pt x="2370" y="785"/>
                  </a:lnTo>
                  <a:lnTo>
                    <a:pt x="2375" y="776"/>
                  </a:lnTo>
                  <a:lnTo>
                    <a:pt x="2382" y="768"/>
                  </a:lnTo>
                  <a:lnTo>
                    <a:pt x="2389" y="760"/>
                  </a:lnTo>
                  <a:lnTo>
                    <a:pt x="2393" y="756"/>
                  </a:lnTo>
                  <a:lnTo>
                    <a:pt x="2397" y="753"/>
                  </a:lnTo>
                  <a:lnTo>
                    <a:pt x="2406" y="747"/>
                  </a:lnTo>
                  <a:lnTo>
                    <a:pt x="2411" y="744"/>
                  </a:lnTo>
                  <a:lnTo>
                    <a:pt x="2416" y="741"/>
                  </a:lnTo>
                  <a:lnTo>
                    <a:pt x="2426" y="737"/>
                  </a:lnTo>
                  <a:lnTo>
                    <a:pt x="2437" y="734"/>
                  </a:lnTo>
                  <a:lnTo>
                    <a:pt x="2448" y="731"/>
                  </a:lnTo>
                  <a:lnTo>
                    <a:pt x="2454" y="730"/>
                  </a:lnTo>
                  <a:lnTo>
                    <a:pt x="2460" y="730"/>
                  </a:lnTo>
                  <a:lnTo>
                    <a:pt x="2472" y="729"/>
                  </a:lnTo>
                  <a:close/>
                  <a:moveTo>
                    <a:pt x="633" y="1006"/>
                  </a:moveTo>
                  <a:lnTo>
                    <a:pt x="733" y="1006"/>
                  </a:lnTo>
                  <a:lnTo>
                    <a:pt x="683" y="875"/>
                  </a:lnTo>
                  <a:lnTo>
                    <a:pt x="633" y="1006"/>
                  </a:lnTo>
                  <a:close/>
                  <a:moveTo>
                    <a:pt x="763" y="1088"/>
                  </a:moveTo>
                  <a:lnTo>
                    <a:pt x="603" y="1088"/>
                  </a:lnTo>
                  <a:lnTo>
                    <a:pt x="581" y="1145"/>
                  </a:lnTo>
                  <a:lnTo>
                    <a:pt x="580" y="1148"/>
                  </a:lnTo>
                  <a:lnTo>
                    <a:pt x="579" y="1150"/>
                  </a:lnTo>
                  <a:lnTo>
                    <a:pt x="577" y="1151"/>
                  </a:lnTo>
                  <a:lnTo>
                    <a:pt x="576" y="1153"/>
                  </a:lnTo>
                  <a:lnTo>
                    <a:pt x="572" y="1154"/>
                  </a:lnTo>
                  <a:lnTo>
                    <a:pt x="568" y="1155"/>
                  </a:lnTo>
                  <a:lnTo>
                    <a:pt x="489" y="1155"/>
                  </a:lnTo>
                  <a:lnTo>
                    <a:pt x="486" y="1155"/>
                  </a:lnTo>
                  <a:lnTo>
                    <a:pt x="484" y="1154"/>
                  </a:lnTo>
                  <a:lnTo>
                    <a:pt x="482" y="1153"/>
                  </a:lnTo>
                  <a:lnTo>
                    <a:pt x="481" y="1151"/>
                  </a:lnTo>
                  <a:lnTo>
                    <a:pt x="479" y="1149"/>
                  </a:lnTo>
                  <a:lnTo>
                    <a:pt x="479" y="1147"/>
                  </a:lnTo>
                  <a:lnTo>
                    <a:pt x="479" y="1144"/>
                  </a:lnTo>
                  <a:lnTo>
                    <a:pt x="480" y="1141"/>
                  </a:lnTo>
                  <a:lnTo>
                    <a:pt x="636" y="746"/>
                  </a:lnTo>
                  <a:lnTo>
                    <a:pt x="637" y="743"/>
                  </a:lnTo>
                  <a:lnTo>
                    <a:pt x="638" y="741"/>
                  </a:lnTo>
                  <a:lnTo>
                    <a:pt x="641" y="738"/>
                  </a:lnTo>
                  <a:lnTo>
                    <a:pt x="645" y="737"/>
                  </a:lnTo>
                  <a:lnTo>
                    <a:pt x="647" y="736"/>
                  </a:lnTo>
                  <a:lnTo>
                    <a:pt x="649" y="736"/>
                  </a:lnTo>
                  <a:lnTo>
                    <a:pt x="719" y="736"/>
                  </a:lnTo>
                  <a:lnTo>
                    <a:pt x="724" y="737"/>
                  </a:lnTo>
                  <a:lnTo>
                    <a:pt x="728" y="738"/>
                  </a:lnTo>
                  <a:lnTo>
                    <a:pt x="730" y="741"/>
                  </a:lnTo>
                  <a:lnTo>
                    <a:pt x="732" y="743"/>
                  </a:lnTo>
                  <a:lnTo>
                    <a:pt x="733" y="746"/>
                  </a:lnTo>
                  <a:lnTo>
                    <a:pt x="889" y="1141"/>
                  </a:lnTo>
                  <a:lnTo>
                    <a:pt x="890" y="1144"/>
                  </a:lnTo>
                  <a:lnTo>
                    <a:pt x="890" y="1147"/>
                  </a:lnTo>
                  <a:lnTo>
                    <a:pt x="890" y="1149"/>
                  </a:lnTo>
                  <a:lnTo>
                    <a:pt x="889" y="1151"/>
                  </a:lnTo>
                  <a:lnTo>
                    <a:pt x="887" y="1153"/>
                  </a:lnTo>
                  <a:lnTo>
                    <a:pt x="885" y="1154"/>
                  </a:lnTo>
                  <a:lnTo>
                    <a:pt x="883" y="1155"/>
                  </a:lnTo>
                  <a:lnTo>
                    <a:pt x="880" y="1155"/>
                  </a:lnTo>
                  <a:lnTo>
                    <a:pt x="800" y="1155"/>
                  </a:lnTo>
                  <a:lnTo>
                    <a:pt x="796" y="1154"/>
                  </a:lnTo>
                  <a:lnTo>
                    <a:pt x="794" y="1154"/>
                  </a:lnTo>
                  <a:lnTo>
                    <a:pt x="792" y="1153"/>
                  </a:lnTo>
                  <a:lnTo>
                    <a:pt x="790" y="1151"/>
                  </a:lnTo>
                  <a:lnTo>
                    <a:pt x="788" y="1150"/>
                  </a:lnTo>
                  <a:lnTo>
                    <a:pt x="787" y="1148"/>
                  </a:lnTo>
                  <a:lnTo>
                    <a:pt x="786" y="1145"/>
                  </a:lnTo>
                  <a:lnTo>
                    <a:pt x="763" y="1088"/>
                  </a:lnTo>
                  <a:close/>
                  <a:moveTo>
                    <a:pt x="292" y="912"/>
                  </a:moveTo>
                  <a:lnTo>
                    <a:pt x="428" y="1142"/>
                  </a:lnTo>
                  <a:lnTo>
                    <a:pt x="429" y="1144"/>
                  </a:lnTo>
                  <a:lnTo>
                    <a:pt x="429" y="1146"/>
                  </a:lnTo>
                  <a:lnTo>
                    <a:pt x="429" y="1148"/>
                  </a:lnTo>
                  <a:lnTo>
                    <a:pt x="429" y="1150"/>
                  </a:lnTo>
                  <a:lnTo>
                    <a:pt x="428" y="1152"/>
                  </a:lnTo>
                  <a:lnTo>
                    <a:pt x="426" y="1154"/>
                  </a:lnTo>
                  <a:lnTo>
                    <a:pt x="424" y="1154"/>
                  </a:lnTo>
                  <a:lnTo>
                    <a:pt x="421" y="1155"/>
                  </a:lnTo>
                  <a:lnTo>
                    <a:pt x="325" y="1155"/>
                  </a:lnTo>
                  <a:lnTo>
                    <a:pt x="321" y="1154"/>
                  </a:lnTo>
                  <a:lnTo>
                    <a:pt x="316" y="1152"/>
                  </a:lnTo>
                  <a:lnTo>
                    <a:pt x="315" y="1151"/>
                  </a:lnTo>
                  <a:lnTo>
                    <a:pt x="313" y="1150"/>
                  </a:lnTo>
                  <a:lnTo>
                    <a:pt x="310" y="1145"/>
                  </a:lnTo>
                  <a:lnTo>
                    <a:pt x="214" y="979"/>
                  </a:lnTo>
                  <a:lnTo>
                    <a:pt x="161" y="1044"/>
                  </a:lnTo>
                  <a:lnTo>
                    <a:pt x="161" y="1145"/>
                  </a:lnTo>
                  <a:lnTo>
                    <a:pt x="161" y="1147"/>
                  </a:lnTo>
                  <a:lnTo>
                    <a:pt x="160" y="1149"/>
                  </a:lnTo>
                  <a:lnTo>
                    <a:pt x="158" y="1152"/>
                  </a:lnTo>
                  <a:lnTo>
                    <a:pt x="157" y="1153"/>
                  </a:lnTo>
                  <a:lnTo>
                    <a:pt x="155" y="1154"/>
                  </a:lnTo>
                  <a:lnTo>
                    <a:pt x="151" y="1155"/>
                  </a:lnTo>
                  <a:lnTo>
                    <a:pt x="69" y="1155"/>
                  </a:lnTo>
                  <a:lnTo>
                    <a:pt x="65" y="1154"/>
                  </a:lnTo>
                  <a:lnTo>
                    <a:pt x="62" y="1152"/>
                  </a:lnTo>
                  <a:lnTo>
                    <a:pt x="60" y="1150"/>
                  </a:lnTo>
                  <a:lnTo>
                    <a:pt x="60" y="1149"/>
                  </a:lnTo>
                  <a:lnTo>
                    <a:pt x="59" y="1147"/>
                  </a:lnTo>
                  <a:lnTo>
                    <a:pt x="59" y="1145"/>
                  </a:lnTo>
                  <a:lnTo>
                    <a:pt x="59" y="746"/>
                  </a:lnTo>
                  <a:lnTo>
                    <a:pt x="59" y="744"/>
                  </a:lnTo>
                  <a:lnTo>
                    <a:pt x="60" y="742"/>
                  </a:lnTo>
                  <a:lnTo>
                    <a:pt x="62" y="739"/>
                  </a:lnTo>
                  <a:lnTo>
                    <a:pt x="63" y="738"/>
                  </a:lnTo>
                  <a:lnTo>
                    <a:pt x="65" y="737"/>
                  </a:lnTo>
                  <a:lnTo>
                    <a:pt x="69" y="736"/>
                  </a:lnTo>
                  <a:lnTo>
                    <a:pt x="151" y="736"/>
                  </a:lnTo>
                  <a:lnTo>
                    <a:pt x="155" y="737"/>
                  </a:lnTo>
                  <a:lnTo>
                    <a:pt x="158" y="739"/>
                  </a:lnTo>
                  <a:lnTo>
                    <a:pt x="159" y="740"/>
                  </a:lnTo>
                  <a:lnTo>
                    <a:pt x="160" y="742"/>
                  </a:lnTo>
                  <a:lnTo>
                    <a:pt x="161" y="744"/>
                  </a:lnTo>
                  <a:lnTo>
                    <a:pt x="161" y="746"/>
                  </a:lnTo>
                  <a:lnTo>
                    <a:pt x="161" y="921"/>
                  </a:lnTo>
                  <a:lnTo>
                    <a:pt x="304" y="746"/>
                  </a:lnTo>
                  <a:lnTo>
                    <a:pt x="308" y="742"/>
                  </a:lnTo>
                  <a:lnTo>
                    <a:pt x="310" y="740"/>
                  </a:lnTo>
                  <a:lnTo>
                    <a:pt x="312" y="739"/>
                  </a:lnTo>
                  <a:lnTo>
                    <a:pt x="314" y="738"/>
                  </a:lnTo>
                  <a:lnTo>
                    <a:pt x="317" y="737"/>
                  </a:lnTo>
                  <a:lnTo>
                    <a:pt x="319" y="736"/>
                  </a:lnTo>
                  <a:lnTo>
                    <a:pt x="322" y="736"/>
                  </a:lnTo>
                  <a:lnTo>
                    <a:pt x="418" y="736"/>
                  </a:lnTo>
                  <a:lnTo>
                    <a:pt x="421" y="737"/>
                  </a:lnTo>
                  <a:lnTo>
                    <a:pt x="423" y="738"/>
                  </a:lnTo>
                  <a:lnTo>
                    <a:pt x="425" y="739"/>
                  </a:lnTo>
                  <a:lnTo>
                    <a:pt x="426" y="741"/>
                  </a:lnTo>
                  <a:lnTo>
                    <a:pt x="426" y="744"/>
                  </a:lnTo>
                  <a:lnTo>
                    <a:pt x="426" y="746"/>
                  </a:lnTo>
                  <a:lnTo>
                    <a:pt x="425" y="749"/>
                  </a:lnTo>
                  <a:lnTo>
                    <a:pt x="424" y="751"/>
                  </a:lnTo>
                  <a:lnTo>
                    <a:pt x="292" y="912"/>
                  </a:lnTo>
                  <a:close/>
                  <a:moveTo>
                    <a:pt x="1819" y="1010"/>
                  </a:moveTo>
                  <a:lnTo>
                    <a:pt x="1872" y="1010"/>
                  </a:lnTo>
                  <a:lnTo>
                    <a:pt x="1845" y="883"/>
                  </a:lnTo>
                  <a:lnTo>
                    <a:pt x="1819" y="1010"/>
                  </a:lnTo>
                  <a:close/>
                  <a:moveTo>
                    <a:pt x="1887" y="1088"/>
                  </a:moveTo>
                  <a:lnTo>
                    <a:pt x="1805" y="1088"/>
                  </a:lnTo>
                  <a:lnTo>
                    <a:pt x="1793" y="1145"/>
                  </a:lnTo>
                  <a:lnTo>
                    <a:pt x="1792" y="1147"/>
                  </a:lnTo>
                  <a:lnTo>
                    <a:pt x="1791" y="1149"/>
                  </a:lnTo>
                  <a:lnTo>
                    <a:pt x="1788" y="1152"/>
                  </a:lnTo>
                  <a:lnTo>
                    <a:pt x="1787" y="1153"/>
                  </a:lnTo>
                  <a:lnTo>
                    <a:pt x="1785" y="1154"/>
                  </a:lnTo>
                  <a:lnTo>
                    <a:pt x="1783" y="1155"/>
                  </a:lnTo>
                  <a:lnTo>
                    <a:pt x="1781" y="1155"/>
                  </a:lnTo>
                  <a:lnTo>
                    <a:pt x="1708" y="1155"/>
                  </a:lnTo>
                  <a:lnTo>
                    <a:pt x="1706" y="1155"/>
                  </a:lnTo>
                  <a:lnTo>
                    <a:pt x="1704" y="1154"/>
                  </a:lnTo>
                  <a:lnTo>
                    <a:pt x="1702" y="1153"/>
                  </a:lnTo>
                  <a:lnTo>
                    <a:pt x="1701" y="1152"/>
                  </a:lnTo>
                  <a:lnTo>
                    <a:pt x="1700" y="1150"/>
                  </a:lnTo>
                  <a:lnTo>
                    <a:pt x="1700" y="1147"/>
                  </a:lnTo>
                  <a:lnTo>
                    <a:pt x="1701" y="1141"/>
                  </a:lnTo>
                  <a:lnTo>
                    <a:pt x="1793" y="746"/>
                  </a:lnTo>
                  <a:lnTo>
                    <a:pt x="1793" y="744"/>
                  </a:lnTo>
                  <a:lnTo>
                    <a:pt x="1794" y="742"/>
                  </a:lnTo>
                  <a:lnTo>
                    <a:pt x="1797" y="739"/>
                  </a:lnTo>
                  <a:lnTo>
                    <a:pt x="1799" y="738"/>
                  </a:lnTo>
                  <a:lnTo>
                    <a:pt x="1801" y="737"/>
                  </a:lnTo>
                  <a:lnTo>
                    <a:pt x="1806" y="736"/>
                  </a:lnTo>
                  <a:lnTo>
                    <a:pt x="1887" y="736"/>
                  </a:lnTo>
                  <a:lnTo>
                    <a:pt x="1889" y="736"/>
                  </a:lnTo>
                  <a:lnTo>
                    <a:pt x="1892" y="737"/>
                  </a:lnTo>
                  <a:lnTo>
                    <a:pt x="1896" y="739"/>
                  </a:lnTo>
                  <a:lnTo>
                    <a:pt x="1898" y="742"/>
                  </a:lnTo>
                  <a:lnTo>
                    <a:pt x="1899" y="744"/>
                  </a:lnTo>
                  <a:lnTo>
                    <a:pt x="1900" y="746"/>
                  </a:lnTo>
                  <a:lnTo>
                    <a:pt x="1992" y="1141"/>
                  </a:lnTo>
                  <a:lnTo>
                    <a:pt x="1993" y="1147"/>
                  </a:lnTo>
                  <a:lnTo>
                    <a:pt x="1992" y="1150"/>
                  </a:lnTo>
                  <a:lnTo>
                    <a:pt x="1992" y="1152"/>
                  </a:lnTo>
                  <a:lnTo>
                    <a:pt x="1990" y="1153"/>
                  </a:lnTo>
                  <a:lnTo>
                    <a:pt x="1989" y="1154"/>
                  </a:lnTo>
                  <a:lnTo>
                    <a:pt x="1984" y="1155"/>
                  </a:lnTo>
                  <a:lnTo>
                    <a:pt x="1910" y="1155"/>
                  </a:lnTo>
                  <a:lnTo>
                    <a:pt x="1906" y="1154"/>
                  </a:lnTo>
                  <a:lnTo>
                    <a:pt x="1902" y="1152"/>
                  </a:lnTo>
                  <a:lnTo>
                    <a:pt x="1901" y="1151"/>
                  </a:lnTo>
                  <a:lnTo>
                    <a:pt x="1900" y="1149"/>
                  </a:lnTo>
                  <a:lnTo>
                    <a:pt x="1899" y="1147"/>
                  </a:lnTo>
                  <a:lnTo>
                    <a:pt x="1898" y="1145"/>
                  </a:lnTo>
                  <a:lnTo>
                    <a:pt x="1887" y="1088"/>
                  </a:lnTo>
                  <a:close/>
                  <a:moveTo>
                    <a:pt x="937" y="991"/>
                  </a:moveTo>
                  <a:lnTo>
                    <a:pt x="937" y="746"/>
                  </a:lnTo>
                  <a:lnTo>
                    <a:pt x="937" y="744"/>
                  </a:lnTo>
                  <a:lnTo>
                    <a:pt x="938" y="742"/>
                  </a:lnTo>
                  <a:lnTo>
                    <a:pt x="940" y="739"/>
                  </a:lnTo>
                  <a:lnTo>
                    <a:pt x="941" y="738"/>
                  </a:lnTo>
                  <a:lnTo>
                    <a:pt x="943" y="737"/>
                  </a:lnTo>
                  <a:lnTo>
                    <a:pt x="947" y="736"/>
                  </a:lnTo>
                  <a:lnTo>
                    <a:pt x="1029" y="736"/>
                  </a:lnTo>
                  <a:lnTo>
                    <a:pt x="1033" y="737"/>
                  </a:lnTo>
                  <a:lnTo>
                    <a:pt x="1037" y="739"/>
                  </a:lnTo>
                  <a:lnTo>
                    <a:pt x="1038" y="740"/>
                  </a:lnTo>
                  <a:lnTo>
                    <a:pt x="1039" y="742"/>
                  </a:lnTo>
                  <a:lnTo>
                    <a:pt x="1039" y="744"/>
                  </a:lnTo>
                  <a:lnTo>
                    <a:pt x="1039" y="746"/>
                  </a:lnTo>
                  <a:lnTo>
                    <a:pt x="1039" y="986"/>
                  </a:lnTo>
                  <a:lnTo>
                    <a:pt x="1040" y="996"/>
                  </a:lnTo>
                  <a:lnTo>
                    <a:pt x="1041" y="1005"/>
                  </a:lnTo>
                  <a:lnTo>
                    <a:pt x="1042" y="1014"/>
                  </a:lnTo>
                  <a:lnTo>
                    <a:pt x="1044" y="1022"/>
                  </a:lnTo>
                  <a:lnTo>
                    <a:pt x="1047" y="1030"/>
                  </a:lnTo>
                  <a:lnTo>
                    <a:pt x="1050" y="1037"/>
                  </a:lnTo>
                  <a:lnTo>
                    <a:pt x="1054" y="1043"/>
                  </a:lnTo>
                  <a:lnTo>
                    <a:pt x="1058" y="1049"/>
                  </a:lnTo>
                  <a:lnTo>
                    <a:pt x="1063" y="1054"/>
                  </a:lnTo>
                  <a:lnTo>
                    <a:pt x="1068" y="1058"/>
                  </a:lnTo>
                  <a:lnTo>
                    <a:pt x="1074" y="1062"/>
                  </a:lnTo>
                  <a:lnTo>
                    <a:pt x="1077" y="1063"/>
                  </a:lnTo>
                  <a:lnTo>
                    <a:pt x="1080" y="1065"/>
                  </a:lnTo>
                  <a:lnTo>
                    <a:pt x="1087" y="1067"/>
                  </a:lnTo>
                  <a:lnTo>
                    <a:pt x="1094" y="1069"/>
                  </a:lnTo>
                  <a:lnTo>
                    <a:pt x="1102" y="1070"/>
                  </a:lnTo>
                  <a:lnTo>
                    <a:pt x="1110" y="1070"/>
                  </a:lnTo>
                  <a:lnTo>
                    <a:pt x="1118" y="1070"/>
                  </a:lnTo>
                  <a:lnTo>
                    <a:pt x="1126" y="1069"/>
                  </a:lnTo>
                  <a:lnTo>
                    <a:pt x="1133" y="1067"/>
                  </a:lnTo>
                  <a:lnTo>
                    <a:pt x="1140" y="1065"/>
                  </a:lnTo>
                  <a:lnTo>
                    <a:pt x="1146" y="1062"/>
                  </a:lnTo>
                  <a:lnTo>
                    <a:pt x="1149" y="1060"/>
                  </a:lnTo>
                  <a:lnTo>
                    <a:pt x="1152" y="1058"/>
                  </a:lnTo>
                  <a:lnTo>
                    <a:pt x="1157" y="1054"/>
                  </a:lnTo>
                  <a:lnTo>
                    <a:pt x="1162" y="1049"/>
                  </a:lnTo>
                  <a:lnTo>
                    <a:pt x="1166" y="1043"/>
                  </a:lnTo>
                  <a:lnTo>
                    <a:pt x="1170" y="1037"/>
                  </a:lnTo>
                  <a:lnTo>
                    <a:pt x="1173" y="1030"/>
                  </a:lnTo>
                  <a:lnTo>
                    <a:pt x="1176" y="1022"/>
                  </a:lnTo>
                  <a:lnTo>
                    <a:pt x="1178" y="1014"/>
                  </a:lnTo>
                  <a:lnTo>
                    <a:pt x="1180" y="1005"/>
                  </a:lnTo>
                  <a:lnTo>
                    <a:pt x="1180" y="996"/>
                  </a:lnTo>
                  <a:lnTo>
                    <a:pt x="1181" y="986"/>
                  </a:lnTo>
                  <a:lnTo>
                    <a:pt x="1181" y="746"/>
                  </a:lnTo>
                  <a:lnTo>
                    <a:pt x="1181" y="744"/>
                  </a:lnTo>
                  <a:lnTo>
                    <a:pt x="1182" y="742"/>
                  </a:lnTo>
                  <a:lnTo>
                    <a:pt x="1184" y="739"/>
                  </a:lnTo>
                  <a:lnTo>
                    <a:pt x="1185" y="738"/>
                  </a:lnTo>
                  <a:lnTo>
                    <a:pt x="1187" y="737"/>
                  </a:lnTo>
                  <a:lnTo>
                    <a:pt x="1191" y="736"/>
                  </a:lnTo>
                  <a:lnTo>
                    <a:pt x="1273" y="736"/>
                  </a:lnTo>
                  <a:lnTo>
                    <a:pt x="1277" y="737"/>
                  </a:lnTo>
                  <a:lnTo>
                    <a:pt x="1280" y="739"/>
                  </a:lnTo>
                  <a:lnTo>
                    <a:pt x="1281" y="740"/>
                  </a:lnTo>
                  <a:lnTo>
                    <a:pt x="1282" y="742"/>
                  </a:lnTo>
                  <a:lnTo>
                    <a:pt x="1283" y="744"/>
                  </a:lnTo>
                  <a:lnTo>
                    <a:pt x="1283" y="746"/>
                  </a:lnTo>
                  <a:lnTo>
                    <a:pt x="1283" y="991"/>
                  </a:lnTo>
                  <a:lnTo>
                    <a:pt x="1283" y="1002"/>
                  </a:lnTo>
                  <a:lnTo>
                    <a:pt x="1283" y="1007"/>
                  </a:lnTo>
                  <a:lnTo>
                    <a:pt x="1282" y="1013"/>
                  </a:lnTo>
                  <a:lnTo>
                    <a:pt x="1281" y="1023"/>
                  </a:lnTo>
                  <a:lnTo>
                    <a:pt x="1280" y="1033"/>
                  </a:lnTo>
                  <a:lnTo>
                    <a:pt x="1278" y="1042"/>
                  </a:lnTo>
                  <a:lnTo>
                    <a:pt x="1275" y="1051"/>
                  </a:lnTo>
                  <a:lnTo>
                    <a:pt x="1273" y="1060"/>
                  </a:lnTo>
                  <a:lnTo>
                    <a:pt x="1270" y="1068"/>
                  </a:lnTo>
                  <a:lnTo>
                    <a:pt x="1266" y="1076"/>
                  </a:lnTo>
                  <a:lnTo>
                    <a:pt x="1262" y="1084"/>
                  </a:lnTo>
                  <a:lnTo>
                    <a:pt x="1254" y="1098"/>
                  </a:lnTo>
                  <a:lnTo>
                    <a:pt x="1249" y="1104"/>
                  </a:lnTo>
                  <a:lnTo>
                    <a:pt x="1244" y="1110"/>
                  </a:lnTo>
                  <a:lnTo>
                    <a:pt x="1239" y="1116"/>
                  </a:lnTo>
                  <a:lnTo>
                    <a:pt x="1233" y="1121"/>
                  </a:lnTo>
                  <a:lnTo>
                    <a:pt x="1227" y="1126"/>
                  </a:lnTo>
                  <a:lnTo>
                    <a:pt x="1221" y="1131"/>
                  </a:lnTo>
                  <a:lnTo>
                    <a:pt x="1214" y="1135"/>
                  </a:lnTo>
                  <a:lnTo>
                    <a:pt x="1207" y="1139"/>
                  </a:lnTo>
                  <a:lnTo>
                    <a:pt x="1200" y="1143"/>
                  </a:lnTo>
                  <a:lnTo>
                    <a:pt x="1193" y="1146"/>
                  </a:lnTo>
                  <a:lnTo>
                    <a:pt x="1178" y="1152"/>
                  </a:lnTo>
                  <a:lnTo>
                    <a:pt x="1170" y="1154"/>
                  </a:lnTo>
                  <a:lnTo>
                    <a:pt x="1162" y="1156"/>
                  </a:lnTo>
                  <a:lnTo>
                    <a:pt x="1154" y="1158"/>
                  </a:lnTo>
                  <a:lnTo>
                    <a:pt x="1145" y="1159"/>
                  </a:lnTo>
                  <a:lnTo>
                    <a:pt x="1137" y="1160"/>
                  </a:lnTo>
                  <a:lnTo>
                    <a:pt x="1128" y="1161"/>
                  </a:lnTo>
                  <a:lnTo>
                    <a:pt x="1119" y="1162"/>
                  </a:lnTo>
                  <a:lnTo>
                    <a:pt x="1110" y="1162"/>
                  </a:lnTo>
                  <a:lnTo>
                    <a:pt x="1092" y="1161"/>
                  </a:lnTo>
                  <a:lnTo>
                    <a:pt x="1075" y="1159"/>
                  </a:lnTo>
                  <a:lnTo>
                    <a:pt x="1066" y="1158"/>
                  </a:lnTo>
                  <a:lnTo>
                    <a:pt x="1058" y="1156"/>
                  </a:lnTo>
                  <a:lnTo>
                    <a:pt x="1042" y="1152"/>
                  </a:lnTo>
                  <a:lnTo>
                    <a:pt x="1035" y="1149"/>
                  </a:lnTo>
                  <a:lnTo>
                    <a:pt x="1027" y="1146"/>
                  </a:lnTo>
                  <a:lnTo>
                    <a:pt x="1020" y="1143"/>
                  </a:lnTo>
                  <a:lnTo>
                    <a:pt x="1013" y="1139"/>
                  </a:lnTo>
                  <a:lnTo>
                    <a:pt x="1006" y="1135"/>
                  </a:lnTo>
                  <a:lnTo>
                    <a:pt x="1000" y="1131"/>
                  </a:lnTo>
                  <a:lnTo>
                    <a:pt x="993" y="1126"/>
                  </a:lnTo>
                  <a:lnTo>
                    <a:pt x="987" y="1121"/>
                  </a:lnTo>
                  <a:lnTo>
                    <a:pt x="982" y="1116"/>
                  </a:lnTo>
                  <a:lnTo>
                    <a:pt x="976" y="1110"/>
                  </a:lnTo>
                  <a:lnTo>
                    <a:pt x="966" y="1098"/>
                  </a:lnTo>
                  <a:lnTo>
                    <a:pt x="962" y="1091"/>
                  </a:lnTo>
                  <a:lnTo>
                    <a:pt x="958" y="1084"/>
                  </a:lnTo>
                  <a:lnTo>
                    <a:pt x="954" y="1076"/>
                  </a:lnTo>
                  <a:lnTo>
                    <a:pt x="951" y="1068"/>
                  </a:lnTo>
                  <a:lnTo>
                    <a:pt x="948" y="1060"/>
                  </a:lnTo>
                  <a:lnTo>
                    <a:pt x="945" y="1051"/>
                  </a:lnTo>
                  <a:lnTo>
                    <a:pt x="943" y="1042"/>
                  </a:lnTo>
                  <a:lnTo>
                    <a:pt x="941" y="1033"/>
                  </a:lnTo>
                  <a:lnTo>
                    <a:pt x="939" y="1023"/>
                  </a:lnTo>
                  <a:lnTo>
                    <a:pt x="938" y="1013"/>
                  </a:lnTo>
                  <a:lnTo>
                    <a:pt x="937" y="1002"/>
                  </a:lnTo>
                  <a:lnTo>
                    <a:pt x="937" y="991"/>
                  </a:lnTo>
                  <a:close/>
                  <a:moveTo>
                    <a:pt x="1479" y="824"/>
                  </a:moveTo>
                  <a:lnTo>
                    <a:pt x="1479" y="934"/>
                  </a:lnTo>
                  <a:lnTo>
                    <a:pt x="1514" y="934"/>
                  </a:lnTo>
                  <a:lnTo>
                    <a:pt x="1520" y="933"/>
                  </a:lnTo>
                  <a:lnTo>
                    <a:pt x="1526" y="933"/>
                  </a:lnTo>
                  <a:lnTo>
                    <a:pt x="1532" y="932"/>
                  </a:lnTo>
                  <a:lnTo>
                    <a:pt x="1538" y="930"/>
                  </a:lnTo>
                  <a:lnTo>
                    <a:pt x="1543" y="928"/>
                  </a:lnTo>
                  <a:lnTo>
                    <a:pt x="1547" y="926"/>
                  </a:lnTo>
                  <a:lnTo>
                    <a:pt x="1551" y="923"/>
                  </a:lnTo>
                  <a:lnTo>
                    <a:pt x="1555" y="919"/>
                  </a:lnTo>
                  <a:lnTo>
                    <a:pt x="1559" y="916"/>
                  </a:lnTo>
                  <a:lnTo>
                    <a:pt x="1562" y="912"/>
                  </a:lnTo>
                  <a:lnTo>
                    <a:pt x="1564" y="907"/>
                  </a:lnTo>
                  <a:lnTo>
                    <a:pt x="1566" y="902"/>
                  </a:lnTo>
                  <a:lnTo>
                    <a:pt x="1568" y="897"/>
                  </a:lnTo>
                  <a:lnTo>
                    <a:pt x="1569" y="891"/>
                  </a:lnTo>
                  <a:lnTo>
                    <a:pt x="1570" y="885"/>
                  </a:lnTo>
                  <a:lnTo>
                    <a:pt x="1570" y="879"/>
                  </a:lnTo>
                  <a:lnTo>
                    <a:pt x="1570" y="872"/>
                  </a:lnTo>
                  <a:lnTo>
                    <a:pt x="1569" y="866"/>
                  </a:lnTo>
                  <a:lnTo>
                    <a:pt x="1568" y="861"/>
                  </a:lnTo>
                  <a:lnTo>
                    <a:pt x="1566" y="855"/>
                  </a:lnTo>
                  <a:lnTo>
                    <a:pt x="1564" y="850"/>
                  </a:lnTo>
                  <a:lnTo>
                    <a:pt x="1562" y="846"/>
                  </a:lnTo>
                  <a:lnTo>
                    <a:pt x="1559" y="842"/>
                  </a:lnTo>
                  <a:lnTo>
                    <a:pt x="1555" y="838"/>
                  </a:lnTo>
                  <a:lnTo>
                    <a:pt x="1551" y="835"/>
                  </a:lnTo>
                  <a:lnTo>
                    <a:pt x="1547" y="832"/>
                  </a:lnTo>
                  <a:lnTo>
                    <a:pt x="1543" y="829"/>
                  </a:lnTo>
                  <a:lnTo>
                    <a:pt x="1538" y="827"/>
                  </a:lnTo>
                  <a:lnTo>
                    <a:pt x="1535" y="826"/>
                  </a:lnTo>
                  <a:lnTo>
                    <a:pt x="1532" y="826"/>
                  </a:lnTo>
                  <a:lnTo>
                    <a:pt x="1526" y="825"/>
                  </a:lnTo>
                  <a:lnTo>
                    <a:pt x="1520" y="824"/>
                  </a:lnTo>
                  <a:lnTo>
                    <a:pt x="1514" y="824"/>
                  </a:lnTo>
                  <a:lnTo>
                    <a:pt x="1479" y="824"/>
                  </a:lnTo>
                  <a:close/>
                  <a:moveTo>
                    <a:pt x="1514" y="736"/>
                  </a:moveTo>
                  <a:lnTo>
                    <a:pt x="1532" y="737"/>
                  </a:lnTo>
                  <a:lnTo>
                    <a:pt x="1549" y="738"/>
                  </a:lnTo>
                  <a:lnTo>
                    <a:pt x="1557" y="740"/>
                  </a:lnTo>
                  <a:lnTo>
                    <a:pt x="1565" y="741"/>
                  </a:lnTo>
                  <a:lnTo>
                    <a:pt x="1580" y="745"/>
                  </a:lnTo>
                  <a:lnTo>
                    <a:pt x="1588" y="748"/>
                  </a:lnTo>
                  <a:lnTo>
                    <a:pt x="1595" y="750"/>
                  </a:lnTo>
                  <a:lnTo>
                    <a:pt x="1608" y="757"/>
                  </a:lnTo>
                  <a:lnTo>
                    <a:pt x="1620" y="764"/>
                  </a:lnTo>
                  <a:lnTo>
                    <a:pt x="1626" y="768"/>
                  </a:lnTo>
                  <a:lnTo>
                    <a:pt x="1631" y="773"/>
                  </a:lnTo>
                  <a:lnTo>
                    <a:pt x="1637" y="777"/>
                  </a:lnTo>
                  <a:lnTo>
                    <a:pt x="1641" y="782"/>
                  </a:lnTo>
                  <a:lnTo>
                    <a:pt x="1646" y="787"/>
                  </a:lnTo>
                  <a:lnTo>
                    <a:pt x="1650" y="793"/>
                  </a:lnTo>
                  <a:lnTo>
                    <a:pt x="1654" y="798"/>
                  </a:lnTo>
                  <a:lnTo>
                    <a:pt x="1658" y="804"/>
                  </a:lnTo>
                  <a:lnTo>
                    <a:pt x="1661" y="811"/>
                  </a:lnTo>
                  <a:lnTo>
                    <a:pt x="1664" y="817"/>
                  </a:lnTo>
                  <a:lnTo>
                    <a:pt x="1667" y="824"/>
                  </a:lnTo>
                  <a:lnTo>
                    <a:pt x="1669" y="831"/>
                  </a:lnTo>
                  <a:lnTo>
                    <a:pt x="1671" y="838"/>
                  </a:lnTo>
                  <a:lnTo>
                    <a:pt x="1673" y="846"/>
                  </a:lnTo>
                  <a:lnTo>
                    <a:pt x="1674" y="854"/>
                  </a:lnTo>
                  <a:lnTo>
                    <a:pt x="1675" y="862"/>
                  </a:lnTo>
                  <a:lnTo>
                    <a:pt x="1676" y="870"/>
                  </a:lnTo>
                  <a:lnTo>
                    <a:pt x="1676" y="879"/>
                  </a:lnTo>
                  <a:lnTo>
                    <a:pt x="1676" y="887"/>
                  </a:lnTo>
                  <a:lnTo>
                    <a:pt x="1675" y="896"/>
                  </a:lnTo>
                  <a:lnTo>
                    <a:pt x="1674" y="904"/>
                  </a:lnTo>
                  <a:lnTo>
                    <a:pt x="1673" y="911"/>
                  </a:lnTo>
                  <a:lnTo>
                    <a:pt x="1669" y="926"/>
                  </a:lnTo>
                  <a:lnTo>
                    <a:pt x="1667" y="933"/>
                  </a:lnTo>
                  <a:lnTo>
                    <a:pt x="1664" y="940"/>
                  </a:lnTo>
                  <a:lnTo>
                    <a:pt x="1658" y="953"/>
                  </a:lnTo>
                  <a:lnTo>
                    <a:pt x="1654" y="959"/>
                  </a:lnTo>
                  <a:lnTo>
                    <a:pt x="1650" y="965"/>
                  </a:lnTo>
                  <a:lnTo>
                    <a:pt x="1642" y="975"/>
                  </a:lnTo>
                  <a:lnTo>
                    <a:pt x="1632" y="985"/>
                  </a:lnTo>
                  <a:lnTo>
                    <a:pt x="1626" y="989"/>
                  </a:lnTo>
                  <a:lnTo>
                    <a:pt x="1620" y="993"/>
                  </a:lnTo>
                  <a:lnTo>
                    <a:pt x="1614" y="997"/>
                  </a:lnTo>
                  <a:lnTo>
                    <a:pt x="1608" y="1001"/>
                  </a:lnTo>
                  <a:lnTo>
                    <a:pt x="1595" y="1007"/>
                  </a:lnTo>
                  <a:lnTo>
                    <a:pt x="1588" y="1009"/>
                  </a:lnTo>
                  <a:lnTo>
                    <a:pt x="1580" y="1012"/>
                  </a:lnTo>
                  <a:lnTo>
                    <a:pt x="1565" y="1016"/>
                  </a:lnTo>
                  <a:lnTo>
                    <a:pt x="1557" y="1018"/>
                  </a:lnTo>
                  <a:lnTo>
                    <a:pt x="1549" y="1019"/>
                  </a:lnTo>
                  <a:lnTo>
                    <a:pt x="1532" y="1021"/>
                  </a:lnTo>
                  <a:lnTo>
                    <a:pt x="1523" y="1021"/>
                  </a:lnTo>
                  <a:lnTo>
                    <a:pt x="1514" y="1021"/>
                  </a:lnTo>
                  <a:lnTo>
                    <a:pt x="1479" y="1021"/>
                  </a:lnTo>
                  <a:lnTo>
                    <a:pt x="1479" y="1145"/>
                  </a:lnTo>
                  <a:lnTo>
                    <a:pt x="1479" y="1147"/>
                  </a:lnTo>
                  <a:lnTo>
                    <a:pt x="1479" y="1149"/>
                  </a:lnTo>
                  <a:lnTo>
                    <a:pt x="1477" y="1152"/>
                  </a:lnTo>
                  <a:lnTo>
                    <a:pt x="1475" y="1153"/>
                  </a:lnTo>
                  <a:lnTo>
                    <a:pt x="1473" y="1154"/>
                  </a:lnTo>
                  <a:lnTo>
                    <a:pt x="1469" y="1155"/>
                  </a:lnTo>
                  <a:lnTo>
                    <a:pt x="1387" y="1155"/>
                  </a:lnTo>
                  <a:lnTo>
                    <a:pt x="1383" y="1154"/>
                  </a:lnTo>
                  <a:lnTo>
                    <a:pt x="1380" y="1152"/>
                  </a:lnTo>
                  <a:lnTo>
                    <a:pt x="1379" y="1150"/>
                  </a:lnTo>
                  <a:lnTo>
                    <a:pt x="1378" y="1149"/>
                  </a:lnTo>
                  <a:lnTo>
                    <a:pt x="1377" y="1147"/>
                  </a:lnTo>
                  <a:lnTo>
                    <a:pt x="1377" y="1145"/>
                  </a:lnTo>
                  <a:lnTo>
                    <a:pt x="1377" y="746"/>
                  </a:lnTo>
                  <a:lnTo>
                    <a:pt x="1377" y="744"/>
                  </a:lnTo>
                  <a:lnTo>
                    <a:pt x="1378" y="742"/>
                  </a:lnTo>
                  <a:lnTo>
                    <a:pt x="1380" y="739"/>
                  </a:lnTo>
                  <a:lnTo>
                    <a:pt x="1381" y="738"/>
                  </a:lnTo>
                  <a:lnTo>
                    <a:pt x="1383" y="737"/>
                  </a:lnTo>
                  <a:lnTo>
                    <a:pt x="1387" y="736"/>
                  </a:lnTo>
                  <a:lnTo>
                    <a:pt x="1514" y="736"/>
                  </a:lnTo>
                  <a:close/>
                  <a:moveTo>
                    <a:pt x="2767" y="1006"/>
                  </a:moveTo>
                  <a:lnTo>
                    <a:pt x="2866" y="1006"/>
                  </a:lnTo>
                  <a:lnTo>
                    <a:pt x="2817" y="875"/>
                  </a:lnTo>
                  <a:lnTo>
                    <a:pt x="2767" y="1006"/>
                  </a:lnTo>
                  <a:close/>
                  <a:moveTo>
                    <a:pt x="2897" y="1088"/>
                  </a:moveTo>
                  <a:lnTo>
                    <a:pt x="2737" y="1088"/>
                  </a:lnTo>
                  <a:lnTo>
                    <a:pt x="2715" y="1145"/>
                  </a:lnTo>
                  <a:lnTo>
                    <a:pt x="2714" y="1148"/>
                  </a:lnTo>
                  <a:lnTo>
                    <a:pt x="2713" y="1150"/>
                  </a:lnTo>
                  <a:lnTo>
                    <a:pt x="2711" y="1151"/>
                  </a:lnTo>
                  <a:lnTo>
                    <a:pt x="2710" y="1153"/>
                  </a:lnTo>
                  <a:lnTo>
                    <a:pt x="2706" y="1154"/>
                  </a:lnTo>
                  <a:lnTo>
                    <a:pt x="2701" y="1155"/>
                  </a:lnTo>
                  <a:lnTo>
                    <a:pt x="2623" y="1155"/>
                  </a:lnTo>
                  <a:lnTo>
                    <a:pt x="2620" y="1155"/>
                  </a:lnTo>
                  <a:lnTo>
                    <a:pt x="2618" y="1154"/>
                  </a:lnTo>
                  <a:lnTo>
                    <a:pt x="2616" y="1153"/>
                  </a:lnTo>
                  <a:lnTo>
                    <a:pt x="2614" y="1151"/>
                  </a:lnTo>
                  <a:lnTo>
                    <a:pt x="2613" y="1149"/>
                  </a:lnTo>
                  <a:lnTo>
                    <a:pt x="2613" y="1147"/>
                  </a:lnTo>
                  <a:lnTo>
                    <a:pt x="2613" y="1144"/>
                  </a:lnTo>
                  <a:lnTo>
                    <a:pt x="2614" y="1141"/>
                  </a:lnTo>
                  <a:lnTo>
                    <a:pt x="2769" y="746"/>
                  </a:lnTo>
                  <a:lnTo>
                    <a:pt x="2770" y="743"/>
                  </a:lnTo>
                  <a:lnTo>
                    <a:pt x="2772" y="741"/>
                  </a:lnTo>
                  <a:lnTo>
                    <a:pt x="2775" y="738"/>
                  </a:lnTo>
                  <a:lnTo>
                    <a:pt x="2779" y="737"/>
                  </a:lnTo>
                  <a:lnTo>
                    <a:pt x="2781" y="736"/>
                  </a:lnTo>
                  <a:lnTo>
                    <a:pt x="2783" y="736"/>
                  </a:lnTo>
                  <a:lnTo>
                    <a:pt x="2853" y="736"/>
                  </a:lnTo>
                  <a:lnTo>
                    <a:pt x="2858" y="737"/>
                  </a:lnTo>
                  <a:lnTo>
                    <a:pt x="2861" y="738"/>
                  </a:lnTo>
                  <a:lnTo>
                    <a:pt x="2864" y="741"/>
                  </a:lnTo>
                  <a:lnTo>
                    <a:pt x="2865" y="743"/>
                  </a:lnTo>
                  <a:lnTo>
                    <a:pt x="2866" y="746"/>
                  </a:lnTo>
                  <a:lnTo>
                    <a:pt x="3022" y="1141"/>
                  </a:lnTo>
                  <a:lnTo>
                    <a:pt x="3023" y="1144"/>
                  </a:lnTo>
                  <a:lnTo>
                    <a:pt x="3023" y="1147"/>
                  </a:lnTo>
                  <a:lnTo>
                    <a:pt x="3023" y="1149"/>
                  </a:lnTo>
                  <a:lnTo>
                    <a:pt x="3021" y="1151"/>
                  </a:lnTo>
                  <a:lnTo>
                    <a:pt x="3020" y="1153"/>
                  </a:lnTo>
                  <a:lnTo>
                    <a:pt x="3018" y="1154"/>
                  </a:lnTo>
                  <a:lnTo>
                    <a:pt x="3016" y="1155"/>
                  </a:lnTo>
                  <a:lnTo>
                    <a:pt x="3013" y="1155"/>
                  </a:lnTo>
                  <a:lnTo>
                    <a:pt x="2933" y="1155"/>
                  </a:lnTo>
                  <a:lnTo>
                    <a:pt x="2928" y="1154"/>
                  </a:lnTo>
                  <a:lnTo>
                    <a:pt x="2926" y="1154"/>
                  </a:lnTo>
                  <a:lnTo>
                    <a:pt x="2925" y="1153"/>
                  </a:lnTo>
                  <a:lnTo>
                    <a:pt x="2923" y="1151"/>
                  </a:lnTo>
                  <a:lnTo>
                    <a:pt x="2921" y="1150"/>
                  </a:lnTo>
                  <a:lnTo>
                    <a:pt x="2920" y="1148"/>
                  </a:lnTo>
                  <a:lnTo>
                    <a:pt x="2919" y="1145"/>
                  </a:lnTo>
                  <a:lnTo>
                    <a:pt x="2897" y="1088"/>
                  </a:lnTo>
                  <a:close/>
                  <a:moveTo>
                    <a:pt x="696" y="2625"/>
                  </a:moveTo>
                  <a:lnTo>
                    <a:pt x="614" y="2625"/>
                  </a:lnTo>
                  <a:lnTo>
                    <a:pt x="610" y="2624"/>
                  </a:lnTo>
                  <a:lnTo>
                    <a:pt x="607" y="2622"/>
                  </a:lnTo>
                  <a:lnTo>
                    <a:pt x="605" y="2621"/>
                  </a:lnTo>
                  <a:lnTo>
                    <a:pt x="605" y="2619"/>
                  </a:lnTo>
                  <a:lnTo>
                    <a:pt x="604" y="2617"/>
                  </a:lnTo>
                  <a:lnTo>
                    <a:pt x="604" y="2615"/>
                  </a:lnTo>
                  <a:lnTo>
                    <a:pt x="604" y="2217"/>
                  </a:lnTo>
                  <a:lnTo>
                    <a:pt x="604" y="2214"/>
                  </a:lnTo>
                  <a:lnTo>
                    <a:pt x="605" y="2212"/>
                  </a:lnTo>
                  <a:lnTo>
                    <a:pt x="607" y="2209"/>
                  </a:lnTo>
                  <a:lnTo>
                    <a:pt x="608" y="2208"/>
                  </a:lnTo>
                  <a:lnTo>
                    <a:pt x="610" y="2207"/>
                  </a:lnTo>
                  <a:lnTo>
                    <a:pt x="614" y="2207"/>
                  </a:lnTo>
                  <a:lnTo>
                    <a:pt x="696" y="2207"/>
                  </a:lnTo>
                  <a:lnTo>
                    <a:pt x="700" y="2207"/>
                  </a:lnTo>
                  <a:lnTo>
                    <a:pt x="703" y="2209"/>
                  </a:lnTo>
                  <a:lnTo>
                    <a:pt x="704" y="2211"/>
                  </a:lnTo>
                  <a:lnTo>
                    <a:pt x="705" y="2212"/>
                  </a:lnTo>
                  <a:lnTo>
                    <a:pt x="706" y="2214"/>
                  </a:lnTo>
                  <a:lnTo>
                    <a:pt x="706" y="2217"/>
                  </a:lnTo>
                  <a:lnTo>
                    <a:pt x="706" y="2392"/>
                  </a:lnTo>
                  <a:lnTo>
                    <a:pt x="850" y="2216"/>
                  </a:lnTo>
                  <a:lnTo>
                    <a:pt x="854" y="2212"/>
                  </a:lnTo>
                  <a:lnTo>
                    <a:pt x="856" y="2210"/>
                  </a:lnTo>
                  <a:lnTo>
                    <a:pt x="858" y="2209"/>
                  </a:lnTo>
                  <a:lnTo>
                    <a:pt x="860" y="2208"/>
                  </a:lnTo>
                  <a:lnTo>
                    <a:pt x="863" y="2207"/>
                  </a:lnTo>
                  <a:lnTo>
                    <a:pt x="865" y="2207"/>
                  </a:lnTo>
                  <a:lnTo>
                    <a:pt x="868" y="2207"/>
                  </a:lnTo>
                  <a:lnTo>
                    <a:pt x="964" y="2207"/>
                  </a:lnTo>
                  <a:lnTo>
                    <a:pt x="967" y="2207"/>
                  </a:lnTo>
                  <a:lnTo>
                    <a:pt x="969" y="2208"/>
                  </a:lnTo>
                  <a:lnTo>
                    <a:pt x="971" y="2210"/>
                  </a:lnTo>
                  <a:lnTo>
                    <a:pt x="972" y="2212"/>
                  </a:lnTo>
                  <a:lnTo>
                    <a:pt x="972" y="2214"/>
                  </a:lnTo>
                  <a:lnTo>
                    <a:pt x="972" y="2216"/>
                  </a:lnTo>
                  <a:lnTo>
                    <a:pt x="971" y="2219"/>
                  </a:lnTo>
                  <a:lnTo>
                    <a:pt x="970" y="2221"/>
                  </a:lnTo>
                  <a:lnTo>
                    <a:pt x="838" y="2382"/>
                  </a:lnTo>
                  <a:lnTo>
                    <a:pt x="974" y="2612"/>
                  </a:lnTo>
                  <a:lnTo>
                    <a:pt x="975" y="2614"/>
                  </a:lnTo>
                  <a:lnTo>
                    <a:pt x="975" y="2617"/>
                  </a:lnTo>
                  <a:lnTo>
                    <a:pt x="975" y="2619"/>
                  </a:lnTo>
                  <a:lnTo>
                    <a:pt x="975" y="2621"/>
                  </a:lnTo>
                  <a:lnTo>
                    <a:pt x="974" y="2623"/>
                  </a:lnTo>
                  <a:lnTo>
                    <a:pt x="972" y="2624"/>
                  </a:lnTo>
                  <a:lnTo>
                    <a:pt x="970" y="2625"/>
                  </a:lnTo>
                  <a:lnTo>
                    <a:pt x="967" y="2625"/>
                  </a:lnTo>
                  <a:lnTo>
                    <a:pt x="871" y="2625"/>
                  </a:lnTo>
                  <a:lnTo>
                    <a:pt x="867" y="2625"/>
                  </a:lnTo>
                  <a:lnTo>
                    <a:pt x="862" y="2623"/>
                  </a:lnTo>
                  <a:lnTo>
                    <a:pt x="861" y="2622"/>
                  </a:lnTo>
                  <a:lnTo>
                    <a:pt x="859" y="2620"/>
                  </a:lnTo>
                  <a:lnTo>
                    <a:pt x="856" y="2616"/>
                  </a:lnTo>
                  <a:lnTo>
                    <a:pt x="759" y="2450"/>
                  </a:lnTo>
                  <a:lnTo>
                    <a:pt x="706" y="2514"/>
                  </a:lnTo>
                  <a:lnTo>
                    <a:pt x="706" y="2615"/>
                  </a:lnTo>
                  <a:lnTo>
                    <a:pt x="706" y="2617"/>
                  </a:lnTo>
                  <a:lnTo>
                    <a:pt x="705" y="2619"/>
                  </a:lnTo>
                  <a:lnTo>
                    <a:pt x="703" y="2622"/>
                  </a:lnTo>
                  <a:lnTo>
                    <a:pt x="702" y="2624"/>
                  </a:lnTo>
                  <a:lnTo>
                    <a:pt x="700" y="2624"/>
                  </a:lnTo>
                  <a:lnTo>
                    <a:pt x="696" y="2625"/>
                  </a:lnTo>
                  <a:close/>
                  <a:moveTo>
                    <a:pt x="1288" y="2177"/>
                  </a:moveTo>
                  <a:lnTo>
                    <a:pt x="1283" y="2177"/>
                  </a:lnTo>
                  <a:lnTo>
                    <a:pt x="1278" y="2176"/>
                  </a:lnTo>
                  <a:lnTo>
                    <a:pt x="1273" y="2175"/>
                  </a:lnTo>
                  <a:lnTo>
                    <a:pt x="1268" y="2173"/>
                  </a:lnTo>
                  <a:lnTo>
                    <a:pt x="1260" y="2169"/>
                  </a:lnTo>
                  <a:lnTo>
                    <a:pt x="1256" y="2166"/>
                  </a:lnTo>
                  <a:lnTo>
                    <a:pt x="1253" y="2163"/>
                  </a:lnTo>
                  <a:lnTo>
                    <a:pt x="1249" y="2160"/>
                  </a:lnTo>
                  <a:lnTo>
                    <a:pt x="1247" y="2156"/>
                  </a:lnTo>
                  <a:lnTo>
                    <a:pt x="1244" y="2152"/>
                  </a:lnTo>
                  <a:lnTo>
                    <a:pt x="1242" y="2148"/>
                  </a:lnTo>
                  <a:lnTo>
                    <a:pt x="1241" y="2143"/>
                  </a:lnTo>
                  <a:lnTo>
                    <a:pt x="1240" y="2138"/>
                  </a:lnTo>
                  <a:lnTo>
                    <a:pt x="1239" y="2133"/>
                  </a:lnTo>
                  <a:lnTo>
                    <a:pt x="1239" y="2128"/>
                  </a:lnTo>
                  <a:lnTo>
                    <a:pt x="1239" y="2123"/>
                  </a:lnTo>
                  <a:lnTo>
                    <a:pt x="1240" y="2118"/>
                  </a:lnTo>
                  <a:lnTo>
                    <a:pt x="1241" y="2113"/>
                  </a:lnTo>
                  <a:lnTo>
                    <a:pt x="1242" y="2108"/>
                  </a:lnTo>
                  <a:lnTo>
                    <a:pt x="1244" y="2104"/>
                  </a:lnTo>
                  <a:lnTo>
                    <a:pt x="1247" y="2100"/>
                  </a:lnTo>
                  <a:lnTo>
                    <a:pt x="1249" y="2096"/>
                  </a:lnTo>
                  <a:lnTo>
                    <a:pt x="1253" y="2093"/>
                  </a:lnTo>
                  <a:lnTo>
                    <a:pt x="1256" y="2090"/>
                  </a:lnTo>
                  <a:lnTo>
                    <a:pt x="1260" y="2087"/>
                  </a:lnTo>
                  <a:lnTo>
                    <a:pt x="1264" y="2084"/>
                  </a:lnTo>
                  <a:lnTo>
                    <a:pt x="1268" y="2082"/>
                  </a:lnTo>
                  <a:lnTo>
                    <a:pt x="1273" y="2081"/>
                  </a:lnTo>
                  <a:lnTo>
                    <a:pt x="1278" y="2080"/>
                  </a:lnTo>
                  <a:lnTo>
                    <a:pt x="1283" y="2079"/>
                  </a:lnTo>
                  <a:lnTo>
                    <a:pt x="1288" y="2079"/>
                  </a:lnTo>
                  <a:lnTo>
                    <a:pt x="1294" y="2079"/>
                  </a:lnTo>
                  <a:lnTo>
                    <a:pt x="1299" y="2080"/>
                  </a:lnTo>
                  <a:lnTo>
                    <a:pt x="1304" y="2081"/>
                  </a:lnTo>
                  <a:lnTo>
                    <a:pt x="1308" y="2082"/>
                  </a:lnTo>
                  <a:lnTo>
                    <a:pt x="1317" y="2087"/>
                  </a:lnTo>
                  <a:lnTo>
                    <a:pt x="1320" y="2090"/>
                  </a:lnTo>
                  <a:lnTo>
                    <a:pt x="1324" y="2093"/>
                  </a:lnTo>
                  <a:lnTo>
                    <a:pt x="1327" y="2096"/>
                  </a:lnTo>
                  <a:lnTo>
                    <a:pt x="1330" y="2100"/>
                  </a:lnTo>
                  <a:lnTo>
                    <a:pt x="1332" y="2104"/>
                  </a:lnTo>
                  <a:lnTo>
                    <a:pt x="1334" y="2108"/>
                  </a:lnTo>
                  <a:lnTo>
                    <a:pt x="1336" y="2113"/>
                  </a:lnTo>
                  <a:lnTo>
                    <a:pt x="1337" y="2118"/>
                  </a:lnTo>
                  <a:lnTo>
                    <a:pt x="1338" y="2123"/>
                  </a:lnTo>
                  <a:lnTo>
                    <a:pt x="1338" y="2128"/>
                  </a:lnTo>
                  <a:lnTo>
                    <a:pt x="1338" y="2133"/>
                  </a:lnTo>
                  <a:lnTo>
                    <a:pt x="1337" y="2138"/>
                  </a:lnTo>
                  <a:lnTo>
                    <a:pt x="1336" y="2143"/>
                  </a:lnTo>
                  <a:lnTo>
                    <a:pt x="1334" y="2148"/>
                  </a:lnTo>
                  <a:lnTo>
                    <a:pt x="1332" y="2152"/>
                  </a:lnTo>
                  <a:lnTo>
                    <a:pt x="1330" y="2156"/>
                  </a:lnTo>
                  <a:lnTo>
                    <a:pt x="1327" y="2160"/>
                  </a:lnTo>
                  <a:lnTo>
                    <a:pt x="1324" y="2163"/>
                  </a:lnTo>
                  <a:lnTo>
                    <a:pt x="1320" y="2166"/>
                  </a:lnTo>
                  <a:lnTo>
                    <a:pt x="1317" y="2169"/>
                  </a:lnTo>
                  <a:lnTo>
                    <a:pt x="1313" y="2171"/>
                  </a:lnTo>
                  <a:lnTo>
                    <a:pt x="1308" y="2173"/>
                  </a:lnTo>
                  <a:lnTo>
                    <a:pt x="1304" y="2175"/>
                  </a:lnTo>
                  <a:lnTo>
                    <a:pt x="1299" y="2176"/>
                  </a:lnTo>
                  <a:lnTo>
                    <a:pt x="1294" y="2177"/>
                  </a:lnTo>
                  <a:lnTo>
                    <a:pt x="1288" y="2177"/>
                  </a:lnTo>
                  <a:close/>
                  <a:moveTo>
                    <a:pt x="1173" y="2477"/>
                  </a:moveTo>
                  <a:lnTo>
                    <a:pt x="1272" y="2477"/>
                  </a:lnTo>
                  <a:lnTo>
                    <a:pt x="1223" y="2345"/>
                  </a:lnTo>
                  <a:lnTo>
                    <a:pt x="1173" y="2477"/>
                  </a:lnTo>
                  <a:close/>
                  <a:moveTo>
                    <a:pt x="1303" y="2558"/>
                  </a:moveTo>
                  <a:lnTo>
                    <a:pt x="1143" y="2558"/>
                  </a:lnTo>
                  <a:lnTo>
                    <a:pt x="1121" y="2616"/>
                  </a:lnTo>
                  <a:lnTo>
                    <a:pt x="1120" y="2618"/>
                  </a:lnTo>
                  <a:lnTo>
                    <a:pt x="1119" y="2620"/>
                  </a:lnTo>
                  <a:lnTo>
                    <a:pt x="1117" y="2622"/>
                  </a:lnTo>
                  <a:lnTo>
                    <a:pt x="1115" y="2623"/>
                  </a:lnTo>
                  <a:lnTo>
                    <a:pt x="1112" y="2625"/>
                  </a:lnTo>
                  <a:lnTo>
                    <a:pt x="1107" y="2625"/>
                  </a:lnTo>
                  <a:lnTo>
                    <a:pt x="1029" y="2625"/>
                  </a:lnTo>
                  <a:lnTo>
                    <a:pt x="1026" y="2625"/>
                  </a:lnTo>
                  <a:lnTo>
                    <a:pt x="1024" y="2624"/>
                  </a:lnTo>
                  <a:lnTo>
                    <a:pt x="1022" y="2623"/>
                  </a:lnTo>
                  <a:lnTo>
                    <a:pt x="1020" y="2622"/>
                  </a:lnTo>
                  <a:lnTo>
                    <a:pt x="1019" y="2620"/>
                  </a:lnTo>
                  <a:lnTo>
                    <a:pt x="1019" y="2617"/>
                  </a:lnTo>
                  <a:lnTo>
                    <a:pt x="1019" y="2615"/>
                  </a:lnTo>
                  <a:lnTo>
                    <a:pt x="1020" y="2612"/>
                  </a:lnTo>
                  <a:lnTo>
                    <a:pt x="1175" y="2216"/>
                  </a:lnTo>
                  <a:lnTo>
                    <a:pt x="1176" y="2214"/>
                  </a:lnTo>
                  <a:lnTo>
                    <a:pt x="1178" y="2212"/>
                  </a:lnTo>
                  <a:lnTo>
                    <a:pt x="1181" y="2209"/>
                  </a:lnTo>
                  <a:lnTo>
                    <a:pt x="1184" y="2207"/>
                  </a:lnTo>
                  <a:lnTo>
                    <a:pt x="1187" y="2207"/>
                  </a:lnTo>
                  <a:lnTo>
                    <a:pt x="1189" y="2207"/>
                  </a:lnTo>
                  <a:lnTo>
                    <a:pt x="1259" y="2207"/>
                  </a:lnTo>
                  <a:lnTo>
                    <a:pt x="1263" y="2207"/>
                  </a:lnTo>
                  <a:lnTo>
                    <a:pt x="1267" y="2209"/>
                  </a:lnTo>
                  <a:lnTo>
                    <a:pt x="1270" y="2212"/>
                  </a:lnTo>
                  <a:lnTo>
                    <a:pt x="1271" y="2214"/>
                  </a:lnTo>
                  <a:lnTo>
                    <a:pt x="1272" y="2216"/>
                  </a:lnTo>
                  <a:lnTo>
                    <a:pt x="1428" y="2612"/>
                  </a:lnTo>
                  <a:lnTo>
                    <a:pt x="1429" y="2615"/>
                  </a:lnTo>
                  <a:lnTo>
                    <a:pt x="1429" y="2617"/>
                  </a:lnTo>
                  <a:lnTo>
                    <a:pt x="1428" y="2620"/>
                  </a:lnTo>
                  <a:lnTo>
                    <a:pt x="1427" y="2622"/>
                  </a:lnTo>
                  <a:lnTo>
                    <a:pt x="1426" y="2623"/>
                  </a:lnTo>
                  <a:lnTo>
                    <a:pt x="1424" y="2624"/>
                  </a:lnTo>
                  <a:lnTo>
                    <a:pt x="1421" y="2625"/>
                  </a:lnTo>
                  <a:lnTo>
                    <a:pt x="1419" y="2625"/>
                  </a:lnTo>
                  <a:lnTo>
                    <a:pt x="1339" y="2625"/>
                  </a:lnTo>
                  <a:lnTo>
                    <a:pt x="1334" y="2625"/>
                  </a:lnTo>
                  <a:lnTo>
                    <a:pt x="1332" y="2624"/>
                  </a:lnTo>
                  <a:lnTo>
                    <a:pt x="1330" y="2623"/>
                  </a:lnTo>
                  <a:lnTo>
                    <a:pt x="1329" y="2622"/>
                  </a:lnTo>
                  <a:lnTo>
                    <a:pt x="1327" y="2620"/>
                  </a:lnTo>
                  <a:lnTo>
                    <a:pt x="1326" y="2618"/>
                  </a:lnTo>
                  <a:lnTo>
                    <a:pt x="1325" y="2616"/>
                  </a:lnTo>
                  <a:lnTo>
                    <a:pt x="1303" y="2558"/>
                  </a:lnTo>
                  <a:close/>
                  <a:moveTo>
                    <a:pt x="1156" y="2177"/>
                  </a:moveTo>
                  <a:lnTo>
                    <a:pt x="1151" y="2177"/>
                  </a:lnTo>
                  <a:lnTo>
                    <a:pt x="1146" y="2176"/>
                  </a:lnTo>
                  <a:lnTo>
                    <a:pt x="1141" y="2175"/>
                  </a:lnTo>
                  <a:lnTo>
                    <a:pt x="1136" y="2173"/>
                  </a:lnTo>
                  <a:lnTo>
                    <a:pt x="1128" y="2169"/>
                  </a:lnTo>
                  <a:lnTo>
                    <a:pt x="1124" y="2166"/>
                  </a:lnTo>
                  <a:lnTo>
                    <a:pt x="1121" y="2163"/>
                  </a:lnTo>
                  <a:lnTo>
                    <a:pt x="1118" y="2160"/>
                  </a:lnTo>
                  <a:lnTo>
                    <a:pt x="1115" y="2156"/>
                  </a:lnTo>
                  <a:lnTo>
                    <a:pt x="1112" y="2152"/>
                  </a:lnTo>
                  <a:lnTo>
                    <a:pt x="1110" y="2148"/>
                  </a:lnTo>
                  <a:lnTo>
                    <a:pt x="1109" y="2143"/>
                  </a:lnTo>
                  <a:lnTo>
                    <a:pt x="1108" y="2138"/>
                  </a:lnTo>
                  <a:lnTo>
                    <a:pt x="1107" y="2133"/>
                  </a:lnTo>
                  <a:lnTo>
                    <a:pt x="1107" y="2128"/>
                  </a:lnTo>
                  <a:lnTo>
                    <a:pt x="1107" y="2123"/>
                  </a:lnTo>
                  <a:lnTo>
                    <a:pt x="1108" y="2118"/>
                  </a:lnTo>
                  <a:lnTo>
                    <a:pt x="1109" y="2113"/>
                  </a:lnTo>
                  <a:lnTo>
                    <a:pt x="1110" y="2108"/>
                  </a:lnTo>
                  <a:lnTo>
                    <a:pt x="1112" y="2104"/>
                  </a:lnTo>
                  <a:lnTo>
                    <a:pt x="1115" y="2100"/>
                  </a:lnTo>
                  <a:lnTo>
                    <a:pt x="1118" y="2096"/>
                  </a:lnTo>
                  <a:lnTo>
                    <a:pt x="1121" y="2093"/>
                  </a:lnTo>
                  <a:lnTo>
                    <a:pt x="1124" y="2090"/>
                  </a:lnTo>
                  <a:lnTo>
                    <a:pt x="1128" y="2087"/>
                  </a:lnTo>
                  <a:lnTo>
                    <a:pt x="1132" y="2084"/>
                  </a:lnTo>
                  <a:lnTo>
                    <a:pt x="1136" y="2082"/>
                  </a:lnTo>
                  <a:lnTo>
                    <a:pt x="1141" y="2081"/>
                  </a:lnTo>
                  <a:lnTo>
                    <a:pt x="1146" y="2080"/>
                  </a:lnTo>
                  <a:lnTo>
                    <a:pt x="1151" y="2079"/>
                  </a:lnTo>
                  <a:lnTo>
                    <a:pt x="1156" y="2079"/>
                  </a:lnTo>
                  <a:lnTo>
                    <a:pt x="1162" y="2079"/>
                  </a:lnTo>
                  <a:lnTo>
                    <a:pt x="1167" y="2080"/>
                  </a:lnTo>
                  <a:lnTo>
                    <a:pt x="1172" y="2081"/>
                  </a:lnTo>
                  <a:lnTo>
                    <a:pt x="1176" y="2082"/>
                  </a:lnTo>
                  <a:lnTo>
                    <a:pt x="1185" y="2087"/>
                  </a:lnTo>
                  <a:lnTo>
                    <a:pt x="1189" y="2090"/>
                  </a:lnTo>
                  <a:lnTo>
                    <a:pt x="1192" y="2093"/>
                  </a:lnTo>
                  <a:lnTo>
                    <a:pt x="1195" y="2096"/>
                  </a:lnTo>
                  <a:lnTo>
                    <a:pt x="1198" y="2100"/>
                  </a:lnTo>
                  <a:lnTo>
                    <a:pt x="1200" y="2104"/>
                  </a:lnTo>
                  <a:lnTo>
                    <a:pt x="1202" y="2108"/>
                  </a:lnTo>
                  <a:lnTo>
                    <a:pt x="1204" y="2113"/>
                  </a:lnTo>
                  <a:lnTo>
                    <a:pt x="1205" y="2118"/>
                  </a:lnTo>
                  <a:lnTo>
                    <a:pt x="1206" y="2123"/>
                  </a:lnTo>
                  <a:lnTo>
                    <a:pt x="1206" y="2128"/>
                  </a:lnTo>
                  <a:lnTo>
                    <a:pt x="1206" y="2133"/>
                  </a:lnTo>
                  <a:lnTo>
                    <a:pt x="1205" y="2138"/>
                  </a:lnTo>
                  <a:lnTo>
                    <a:pt x="1204" y="2143"/>
                  </a:lnTo>
                  <a:lnTo>
                    <a:pt x="1202" y="2148"/>
                  </a:lnTo>
                  <a:lnTo>
                    <a:pt x="1200" y="2152"/>
                  </a:lnTo>
                  <a:lnTo>
                    <a:pt x="1198" y="2156"/>
                  </a:lnTo>
                  <a:lnTo>
                    <a:pt x="1195" y="2160"/>
                  </a:lnTo>
                  <a:lnTo>
                    <a:pt x="1192" y="2163"/>
                  </a:lnTo>
                  <a:lnTo>
                    <a:pt x="1189" y="2166"/>
                  </a:lnTo>
                  <a:lnTo>
                    <a:pt x="1185" y="2169"/>
                  </a:lnTo>
                  <a:lnTo>
                    <a:pt x="1181" y="2171"/>
                  </a:lnTo>
                  <a:lnTo>
                    <a:pt x="1176" y="2173"/>
                  </a:lnTo>
                  <a:lnTo>
                    <a:pt x="1172" y="2175"/>
                  </a:lnTo>
                  <a:lnTo>
                    <a:pt x="1167" y="2176"/>
                  </a:lnTo>
                  <a:lnTo>
                    <a:pt x="1162" y="2177"/>
                  </a:lnTo>
                  <a:lnTo>
                    <a:pt x="1156" y="2177"/>
                  </a:lnTo>
                  <a:close/>
                  <a:moveTo>
                    <a:pt x="1624" y="2446"/>
                  </a:moveTo>
                  <a:lnTo>
                    <a:pt x="1624" y="2615"/>
                  </a:lnTo>
                  <a:lnTo>
                    <a:pt x="1624" y="2617"/>
                  </a:lnTo>
                  <a:lnTo>
                    <a:pt x="1623" y="2619"/>
                  </a:lnTo>
                  <a:lnTo>
                    <a:pt x="1622" y="2622"/>
                  </a:lnTo>
                  <a:lnTo>
                    <a:pt x="1620" y="2623"/>
                  </a:lnTo>
                  <a:lnTo>
                    <a:pt x="1619" y="2624"/>
                  </a:lnTo>
                  <a:lnTo>
                    <a:pt x="1617" y="2625"/>
                  </a:lnTo>
                  <a:lnTo>
                    <a:pt x="1615" y="2625"/>
                  </a:lnTo>
                  <a:lnTo>
                    <a:pt x="1536" y="2625"/>
                  </a:lnTo>
                  <a:lnTo>
                    <a:pt x="1532" y="2624"/>
                  </a:lnTo>
                  <a:lnTo>
                    <a:pt x="1529" y="2622"/>
                  </a:lnTo>
                  <a:lnTo>
                    <a:pt x="1527" y="2619"/>
                  </a:lnTo>
                  <a:lnTo>
                    <a:pt x="1527" y="2617"/>
                  </a:lnTo>
                  <a:lnTo>
                    <a:pt x="1526" y="2615"/>
                  </a:lnTo>
                  <a:lnTo>
                    <a:pt x="1526" y="2446"/>
                  </a:lnTo>
                  <a:lnTo>
                    <a:pt x="1430" y="2220"/>
                  </a:lnTo>
                  <a:lnTo>
                    <a:pt x="1429" y="2217"/>
                  </a:lnTo>
                  <a:lnTo>
                    <a:pt x="1429" y="2214"/>
                  </a:lnTo>
                  <a:lnTo>
                    <a:pt x="1429" y="2212"/>
                  </a:lnTo>
                  <a:lnTo>
                    <a:pt x="1430" y="2210"/>
                  </a:lnTo>
                  <a:lnTo>
                    <a:pt x="1431" y="2209"/>
                  </a:lnTo>
                  <a:lnTo>
                    <a:pt x="1432" y="2208"/>
                  </a:lnTo>
                  <a:lnTo>
                    <a:pt x="1434" y="2207"/>
                  </a:lnTo>
                  <a:lnTo>
                    <a:pt x="1437" y="2207"/>
                  </a:lnTo>
                  <a:lnTo>
                    <a:pt x="1516" y="2207"/>
                  </a:lnTo>
                  <a:lnTo>
                    <a:pt x="1520" y="2207"/>
                  </a:lnTo>
                  <a:lnTo>
                    <a:pt x="1523" y="2208"/>
                  </a:lnTo>
                  <a:lnTo>
                    <a:pt x="1524" y="2209"/>
                  </a:lnTo>
                  <a:lnTo>
                    <a:pt x="1526" y="2210"/>
                  </a:lnTo>
                  <a:lnTo>
                    <a:pt x="1528" y="2211"/>
                  </a:lnTo>
                  <a:lnTo>
                    <a:pt x="1529" y="2213"/>
                  </a:lnTo>
                  <a:lnTo>
                    <a:pt x="1530" y="2215"/>
                  </a:lnTo>
                  <a:lnTo>
                    <a:pt x="1577" y="2342"/>
                  </a:lnTo>
                  <a:lnTo>
                    <a:pt x="1621" y="2215"/>
                  </a:lnTo>
                  <a:lnTo>
                    <a:pt x="1622" y="2213"/>
                  </a:lnTo>
                  <a:lnTo>
                    <a:pt x="1623" y="2211"/>
                  </a:lnTo>
                  <a:lnTo>
                    <a:pt x="1625" y="2210"/>
                  </a:lnTo>
                  <a:lnTo>
                    <a:pt x="1627" y="2209"/>
                  </a:lnTo>
                  <a:lnTo>
                    <a:pt x="1629" y="2208"/>
                  </a:lnTo>
                  <a:lnTo>
                    <a:pt x="1631" y="2207"/>
                  </a:lnTo>
                  <a:lnTo>
                    <a:pt x="1635" y="2207"/>
                  </a:lnTo>
                  <a:lnTo>
                    <a:pt x="1712" y="2207"/>
                  </a:lnTo>
                  <a:lnTo>
                    <a:pt x="1714" y="2207"/>
                  </a:lnTo>
                  <a:lnTo>
                    <a:pt x="1716" y="2208"/>
                  </a:lnTo>
                  <a:lnTo>
                    <a:pt x="1717" y="2209"/>
                  </a:lnTo>
                  <a:lnTo>
                    <a:pt x="1718" y="2210"/>
                  </a:lnTo>
                  <a:lnTo>
                    <a:pt x="1719" y="2212"/>
                  </a:lnTo>
                  <a:lnTo>
                    <a:pt x="1719" y="2214"/>
                  </a:lnTo>
                  <a:lnTo>
                    <a:pt x="1719" y="2217"/>
                  </a:lnTo>
                  <a:lnTo>
                    <a:pt x="1718" y="2220"/>
                  </a:lnTo>
                  <a:lnTo>
                    <a:pt x="1624" y="2446"/>
                  </a:lnTo>
                  <a:close/>
                  <a:moveTo>
                    <a:pt x="1929" y="2536"/>
                  </a:moveTo>
                  <a:lnTo>
                    <a:pt x="1941" y="2536"/>
                  </a:lnTo>
                  <a:lnTo>
                    <a:pt x="1947" y="2535"/>
                  </a:lnTo>
                  <a:lnTo>
                    <a:pt x="1953" y="2534"/>
                  </a:lnTo>
                  <a:lnTo>
                    <a:pt x="1964" y="2532"/>
                  </a:lnTo>
                  <a:lnTo>
                    <a:pt x="1975" y="2528"/>
                  </a:lnTo>
                  <a:lnTo>
                    <a:pt x="1980" y="2526"/>
                  </a:lnTo>
                  <a:lnTo>
                    <a:pt x="1985" y="2524"/>
                  </a:lnTo>
                  <a:lnTo>
                    <a:pt x="1995" y="2519"/>
                  </a:lnTo>
                  <a:lnTo>
                    <a:pt x="2004" y="2512"/>
                  </a:lnTo>
                  <a:lnTo>
                    <a:pt x="2012" y="2505"/>
                  </a:lnTo>
                  <a:lnTo>
                    <a:pt x="2019" y="2497"/>
                  </a:lnTo>
                  <a:lnTo>
                    <a:pt x="2026" y="2488"/>
                  </a:lnTo>
                  <a:lnTo>
                    <a:pt x="2032" y="2478"/>
                  </a:lnTo>
                  <a:lnTo>
                    <a:pt x="2034" y="2473"/>
                  </a:lnTo>
                  <a:lnTo>
                    <a:pt x="2036" y="2467"/>
                  </a:lnTo>
                  <a:lnTo>
                    <a:pt x="2038" y="2461"/>
                  </a:lnTo>
                  <a:lnTo>
                    <a:pt x="2040" y="2455"/>
                  </a:lnTo>
                  <a:lnTo>
                    <a:pt x="2043" y="2443"/>
                  </a:lnTo>
                  <a:lnTo>
                    <a:pt x="2045" y="2430"/>
                  </a:lnTo>
                  <a:lnTo>
                    <a:pt x="2045" y="2423"/>
                  </a:lnTo>
                  <a:lnTo>
                    <a:pt x="2045" y="2416"/>
                  </a:lnTo>
                  <a:lnTo>
                    <a:pt x="2045" y="2402"/>
                  </a:lnTo>
                  <a:lnTo>
                    <a:pt x="2043" y="2388"/>
                  </a:lnTo>
                  <a:lnTo>
                    <a:pt x="2040" y="2376"/>
                  </a:lnTo>
                  <a:lnTo>
                    <a:pt x="2036" y="2364"/>
                  </a:lnTo>
                  <a:lnTo>
                    <a:pt x="2032" y="2354"/>
                  </a:lnTo>
                  <a:lnTo>
                    <a:pt x="2026" y="2344"/>
                  </a:lnTo>
                  <a:lnTo>
                    <a:pt x="2023" y="2339"/>
                  </a:lnTo>
                  <a:lnTo>
                    <a:pt x="2019" y="2335"/>
                  </a:lnTo>
                  <a:lnTo>
                    <a:pt x="2012" y="2326"/>
                  </a:lnTo>
                  <a:lnTo>
                    <a:pt x="2008" y="2323"/>
                  </a:lnTo>
                  <a:lnTo>
                    <a:pt x="2004" y="2319"/>
                  </a:lnTo>
                  <a:lnTo>
                    <a:pt x="1995" y="2313"/>
                  </a:lnTo>
                  <a:lnTo>
                    <a:pt x="1990" y="2310"/>
                  </a:lnTo>
                  <a:lnTo>
                    <a:pt x="1985" y="2308"/>
                  </a:lnTo>
                  <a:lnTo>
                    <a:pt x="1980" y="2305"/>
                  </a:lnTo>
                  <a:lnTo>
                    <a:pt x="1975" y="2303"/>
                  </a:lnTo>
                  <a:lnTo>
                    <a:pt x="1964" y="2300"/>
                  </a:lnTo>
                  <a:lnTo>
                    <a:pt x="1953" y="2297"/>
                  </a:lnTo>
                  <a:lnTo>
                    <a:pt x="1947" y="2296"/>
                  </a:lnTo>
                  <a:lnTo>
                    <a:pt x="1941" y="2296"/>
                  </a:lnTo>
                  <a:lnTo>
                    <a:pt x="1929" y="2295"/>
                  </a:lnTo>
                  <a:lnTo>
                    <a:pt x="1888" y="2295"/>
                  </a:lnTo>
                  <a:lnTo>
                    <a:pt x="1888" y="2536"/>
                  </a:lnTo>
                  <a:lnTo>
                    <a:pt x="1929" y="2536"/>
                  </a:lnTo>
                  <a:close/>
                  <a:moveTo>
                    <a:pt x="1928" y="2207"/>
                  </a:moveTo>
                  <a:lnTo>
                    <a:pt x="1941" y="2207"/>
                  </a:lnTo>
                  <a:lnTo>
                    <a:pt x="1953" y="2207"/>
                  </a:lnTo>
                  <a:lnTo>
                    <a:pt x="1966" y="2209"/>
                  </a:lnTo>
                  <a:lnTo>
                    <a:pt x="1978" y="2210"/>
                  </a:lnTo>
                  <a:lnTo>
                    <a:pt x="1989" y="2212"/>
                  </a:lnTo>
                  <a:lnTo>
                    <a:pt x="2001" y="2215"/>
                  </a:lnTo>
                  <a:lnTo>
                    <a:pt x="2011" y="2218"/>
                  </a:lnTo>
                  <a:lnTo>
                    <a:pt x="2022" y="2222"/>
                  </a:lnTo>
                  <a:lnTo>
                    <a:pt x="2032" y="2225"/>
                  </a:lnTo>
                  <a:lnTo>
                    <a:pt x="2042" y="2230"/>
                  </a:lnTo>
                  <a:lnTo>
                    <a:pt x="2051" y="2235"/>
                  </a:lnTo>
                  <a:lnTo>
                    <a:pt x="2061" y="2240"/>
                  </a:lnTo>
                  <a:lnTo>
                    <a:pt x="2069" y="2245"/>
                  </a:lnTo>
                  <a:lnTo>
                    <a:pt x="2078" y="2251"/>
                  </a:lnTo>
                  <a:lnTo>
                    <a:pt x="2085" y="2257"/>
                  </a:lnTo>
                  <a:lnTo>
                    <a:pt x="2093" y="2264"/>
                  </a:lnTo>
                  <a:lnTo>
                    <a:pt x="2100" y="2271"/>
                  </a:lnTo>
                  <a:lnTo>
                    <a:pt x="2107" y="2279"/>
                  </a:lnTo>
                  <a:lnTo>
                    <a:pt x="2113" y="2286"/>
                  </a:lnTo>
                  <a:lnTo>
                    <a:pt x="2119" y="2294"/>
                  </a:lnTo>
                  <a:lnTo>
                    <a:pt x="2121" y="2299"/>
                  </a:lnTo>
                  <a:lnTo>
                    <a:pt x="2124" y="2303"/>
                  </a:lnTo>
                  <a:lnTo>
                    <a:pt x="2129" y="2312"/>
                  </a:lnTo>
                  <a:lnTo>
                    <a:pt x="2133" y="2321"/>
                  </a:lnTo>
                  <a:lnTo>
                    <a:pt x="2137" y="2330"/>
                  </a:lnTo>
                  <a:lnTo>
                    <a:pt x="2141" y="2340"/>
                  </a:lnTo>
                  <a:lnTo>
                    <a:pt x="2144" y="2350"/>
                  </a:lnTo>
                  <a:lnTo>
                    <a:pt x="2147" y="2360"/>
                  </a:lnTo>
                  <a:lnTo>
                    <a:pt x="2149" y="2371"/>
                  </a:lnTo>
                  <a:lnTo>
                    <a:pt x="2151" y="2382"/>
                  </a:lnTo>
                  <a:lnTo>
                    <a:pt x="2152" y="2393"/>
                  </a:lnTo>
                  <a:lnTo>
                    <a:pt x="2153" y="2404"/>
                  </a:lnTo>
                  <a:lnTo>
                    <a:pt x="2153" y="2416"/>
                  </a:lnTo>
                  <a:lnTo>
                    <a:pt x="2153" y="2427"/>
                  </a:lnTo>
                  <a:lnTo>
                    <a:pt x="2152" y="2439"/>
                  </a:lnTo>
                  <a:lnTo>
                    <a:pt x="2151" y="2450"/>
                  </a:lnTo>
                  <a:lnTo>
                    <a:pt x="2149" y="2461"/>
                  </a:lnTo>
                  <a:lnTo>
                    <a:pt x="2147" y="2471"/>
                  </a:lnTo>
                  <a:lnTo>
                    <a:pt x="2144" y="2481"/>
                  </a:lnTo>
                  <a:lnTo>
                    <a:pt x="2141" y="2491"/>
                  </a:lnTo>
                  <a:lnTo>
                    <a:pt x="2137" y="2501"/>
                  </a:lnTo>
                  <a:lnTo>
                    <a:pt x="2133" y="2511"/>
                  </a:lnTo>
                  <a:lnTo>
                    <a:pt x="2129" y="2520"/>
                  </a:lnTo>
                  <a:lnTo>
                    <a:pt x="2124" y="2528"/>
                  </a:lnTo>
                  <a:lnTo>
                    <a:pt x="2119" y="2537"/>
                  </a:lnTo>
                  <a:lnTo>
                    <a:pt x="2113" y="2545"/>
                  </a:lnTo>
                  <a:lnTo>
                    <a:pt x="2107" y="2553"/>
                  </a:lnTo>
                  <a:lnTo>
                    <a:pt x="2100" y="2560"/>
                  </a:lnTo>
                  <a:lnTo>
                    <a:pt x="2093" y="2567"/>
                  </a:lnTo>
                  <a:lnTo>
                    <a:pt x="2085" y="2574"/>
                  </a:lnTo>
                  <a:lnTo>
                    <a:pt x="2078" y="2580"/>
                  </a:lnTo>
                  <a:lnTo>
                    <a:pt x="2069" y="2586"/>
                  </a:lnTo>
                  <a:lnTo>
                    <a:pt x="2061" y="2592"/>
                  </a:lnTo>
                  <a:lnTo>
                    <a:pt x="2051" y="2597"/>
                  </a:lnTo>
                  <a:lnTo>
                    <a:pt x="2042" y="2602"/>
                  </a:lnTo>
                  <a:lnTo>
                    <a:pt x="2032" y="2606"/>
                  </a:lnTo>
                  <a:lnTo>
                    <a:pt x="2022" y="2610"/>
                  </a:lnTo>
                  <a:lnTo>
                    <a:pt x="2011" y="2613"/>
                  </a:lnTo>
                  <a:lnTo>
                    <a:pt x="2001" y="2616"/>
                  </a:lnTo>
                  <a:lnTo>
                    <a:pt x="1989" y="2619"/>
                  </a:lnTo>
                  <a:lnTo>
                    <a:pt x="1978" y="2621"/>
                  </a:lnTo>
                  <a:lnTo>
                    <a:pt x="1966" y="2623"/>
                  </a:lnTo>
                  <a:lnTo>
                    <a:pt x="1953" y="2624"/>
                  </a:lnTo>
                  <a:lnTo>
                    <a:pt x="1941" y="2625"/>
                  </a:lnTo>
                  <a:lnTo>
                    <a:pt x="1928" y="2625"/>
                  </a:lnTo>
                  <a:lnTo>
                    <a:pt x="1795" y="2625"/>
                  </a:lnTo>
                  <a:lnTo>
                    <a:pt x="1791" y="2624"/>
                  </a:lnTo>
                  <a:lnTo>
                    <a:pt x="1788" y="2622"/>
                  </a:lnTo>
                  <a:lnTo>
                    <a:pt x="1787" y="2621"/>
                  </a:lnTo>
                  <a:lnTo>
                    <a:pt x="1786" y="2619"/>
                  </a:lnTo>
                  <a:lnTo>
                    <a:pt x="1785" y="2617"/>
                  </a:lnTo>
                  <a:lnTo>
                    <a:pt x="1785" y="2615"/>
                  </a:lnTo>
                  <a:lnTo>
                    <a:pt x="1785" y="2217"/>
                  </a:lnTo>
                  <a:lnTo>
                    <a:pt x="1785" y="2214"/>
                  </a:lnTo>
                  <a:lnTo>
                    <a:pt x="1786" y="2212"/>
                  </a:lnTo>
                  <a:lnTo>
                    <a:pt x="1788" y="2209"/>
                  </a:lnTo>
                  <a:lnTo>
                    <a:pt x="1789" y="2208"/>
                  </a:lnTo>
                  <a:lnTo>
                    <a:pt x="1791" y="2207"/>
                  </a:lnTo>
                  <a:lnTo>
                    <a:pt x="1795" y="2207"/>
                  </a:lnTo>
                  <a:lnTo>
                    <a:pt x="1928" y="2207"/>
                  </a:lnTo>
                  <a:close/>
                  <a:moveTo>
                    <a:pt x="2397" y="2177"/>
                  </a:moveTo>
                  <a:lnTo>
                    <a:pt x="2392" y="2177"/>
                  </a:lnTo>
                  <a:lnTo>
                    <a:pt x="2386" y="2176"/>
                  </a:lnTo>
                  <a:lnTo>
                    <a:pt x="2382" y="2175"/>
                  </a:lnTo>
                  <a:lnTo>
                    <a:pt x="2377" y="2173"/>
                  </a:lnTo>
                  <a:lnTo>
                    <a:pt x="2368" y="2169"/>
                  </a:lnTo>
                  <a:lnTo>
                    <a:pt x="2365" y="2166"/>
                  </a:lnTo>
                  <a:lnTo>
                    <a:pt x="2361" y="2163"/>
                  </a:lnTo>
                  <a:lnTo>
                    <a:pt x="2358" y="2160"/>
                  </a:lnTo>
                  <a:lnTo>
                    <a:pt x="2355" y="2156"/>
                  </a:lnTo>
                  <a:lnTo>
                    <a:pt x="2353" y="2152"/>
                  </a:lnTo>
                  <a:lnTo>
                    <a:pt x="2351" y="2148"/>
                  </a:lnTo>
                  <a:lnTo>
                    <a:pt x="2349" y="2143"/>
                  </a:lnTo>
                  <a:lnTo>
                    <a:pt x="2348" y="2138"/>
                  </a:lnTo>
                  <a:lnTo>
                    <a:pt x="2347" y="2133"/>
                  </a:lnTo>
                  <a:lnTo>
                    <a:pt x="2347" y="2128"/>
                  </a:lnTo>
                  <a:lnTo>
                    <a:pt x="2347" y="2123"/>
                  </a:lnTo>
                  <a:lnTo>
                    <a:pt x="2348" y="2118"/>
                  </a:lnTo>
                  <a:lnTo>
                    <a:pt x="2349" y="2113"/>
                  </a:lnTo>
                  <a:lnTo>
                    <a:pt x="2351" y="2108"/>
                  </a:lnTo>
                  <a:lnTo>
                    <a:pt x="2353" y="2104"/>
                  </a:lnTo>
                  <a:lnTo>
                    <a:pt x="2355" y="2100"/>
                  </a:lnTo>
                  <a:lnTo>
                    <a:pt x="2358" y="2096"/>
                  </a:lnTo>
                  <a:lnTo>
                    <a:pt x="2361" y="2093"/>
                  </a:lnTo>
                  <a:lnTo>
                    <a:pt x="2365" y="2090"/>
                  </a:lnTo>
                  <a:lnTo>
                    <a:pt x="2368" y="2087"/>
                  </a:lnTo>
                  <a:lnTo>
                    <a:pt x="2373" y="2084"/>
                  </a:lnTo>
                  <a:lnTo>
                    <a:pt x="2377" y="2082"/>
                  </a:lnTo>
                  <a:lnTo>
                    <a:pt x="2382" y="2081"/>
                  </a:lnTo>
                  <a:lnTo>
                    <a:pt x="2386" y="2080"/>
                  </a:lnTo>
                  <a:lnTo>
                    <a:pt x="2392" y="2079"/>
                  </a:lnTo>
                  <a:lnTo>
                    <a:pt x="2397" y="2079"/>
                  </a:lnTo>
                  <a:lnTo>
                    <a:pt x="2402" y="2079"/>
                  </a:lnTo>
                  <a:lnTo>
                    <a:pt x="2407" y="2080"/>
                  </a:lnTo>
                  <a:lnTo>
                    <a:pt x="2412" y="2081"/>
                  </a:lnTo>
                  <a:lnTo>
                    <a:pt x="2417" y="2082"/>
                  </a:lnTo>
                  <a:lnTo>
                    <a:pt x="2425" y="2087"/>
                  </a:lnTo>
                  <a:lnTo>
                    <a:pt x="2429" y="2090"/>
                  </a:lnTo>
                  <a:lnTo>
                    <a:pt x="2433" y="2093"/>
                  </a:lnTo>
                  <a:lnTo>
                    <a:pt x="2436" y="2096"/>
                  </a:lnTo>
                  <a:lnTo>
                    <a:pt x="2438" y="2100"/>
                  </a:lnTo>
                  <a:lnTo>
                    <a:pt x="2441" y="2104"/>
                  </a:lnTo>
                  <a:lnTo>
                    <a:pt x="2443" y="2108"/>
                  </a:lnTo>
                  <a:lnTo>
                    <a:pt x="2444" y="2113"/>
                  </a:lnTo>
                  <a:lnTo>
                    <a:pt x="2446" y="2118"/>
                  </a:lnTo>
                  <a:lnTo>
                    <a:pt x="2446" y="2123"/>
                  </a:lnTo>
                  <a:lnTo>
                    <a:pt x="2447" y="2128"/>
                  </a:lnTo>
                  <a:lnTo>
                    <a:pt x="2446" y="2133"/>
                  </a:lnTo>
                  <a:lnTo>
                    <a:pt x="2446" y="2138"/>
                  </a:lnTo>
                  <a:lnTo>
                    <a:pt x="2444" y="2143"/>
                  </a:lnTo>
                  <a:lnTo>
                    <a:pt x="2443" y="2148"/>
                  </a:lnTo>
                  <a:lnTo>
                    <a:pt x="2441" y="2152"/>
                  </a:lnTo>
                  <a:lnTo>
                    <a:pt x="2438" y="2156"/>
                  </a:lnTo>
                  <a:lnTo>
                    <a:pt x="2436" y="2160"/>
                  </a:lnTo>
                  <a:lnTo>
                    <a:pt x="2433" y="2163"/>
                  </a:lnTo>
                  <a:lnTo>
                    <a:pt x="2429" y="2166"/>
                  </a:lnTo>
                  <a:lnTo>
                    <a:pt x="2425" y="2169"/>
                  </a:lnTo>
                  <a:lnTo>
                    <a:pt x="2421" y="2171"/>
                  </a:lnTo>
                  <a:lnTo>
                    <a:pt x="2417" y="2173"/>
                  </a:lnTo>
                  <a:lnTo>
                    <a:pt x="2412" y="2175"/>
                  </a:lnTo>
                  <a:lnTo>
                    <a:pt x="2407" y="2176"/>
                  </a:lnTo>
                  <a:lnTo>
                    <a:pt x="2402" y="2177"/>
                  </a:lnTo>
                  <a:lnTo>
                    <a:pt x="2397" y="2177"/>
                  </a:lnTo>
                  <a:close/>
                  <a:moveTo>
                    <a:pt x="2303" y="2480"/>
                  </a:moveTo>
                  <a:lnTo>
                    <a:pt x="2357" y="2480"/>
                  </a:lnTo>
                  <a:lnTo>
                    <a:pt x="2331" y="2354"/>
                  </a:lnTo>
                  <a:lnTo>
                    <a:pt x="2303" y="2480"/>
                  </a:lnTo>
                  <a:close/>
                  <a:moveTo>
                    <a:pt x="2372" y="2558"/>
                  </a:moveTo>
                  <a:lnTo>
                    <a:pt x="2289" y="2558"/>
                  </a:lnTo>
                  <a:lnTo>
                    <a:pt x="2277" y="2615"/>
                  </a:lnTo>
                  <a:lnTo>
                    <a:pt x="2276" y="2618"/>
                  </a:lnTo>
                  <a:lnTo>
                    <a:pt x="2275" y="2620"/>
                  </a:lnTo>
                  <a:lnTo>
                    <a:pt x="2273" y="2623"/>
                  </a:lnTo>
                  <a:lnTo>
                    <a:pt x="2271" y="2624"/>
                  </a:lnTo>
                  <a:lnTo>
                    <a:pt x="2269" y="2625"/>
                  </a:lnTo>
                  <a:lnTo>
                    <a:pt x="2267" y="2625"/>
                  </a:lnTo>
                  <a:lnTo>
                    <a:pt x="2265" y="2625"/>
                  </a:lnTo>
                  <a:lnTo>
                    <a:pt x="2192" y="2625"/>
                  </a:lnTo>
                  <a:lnTo>
                    <a:pt x="2190" y="2625"/>
                  </a:lnTo>
                  <a:lnTo>
                    <a:pt x="2188" y="2624"/>
                  </a:lnTo>
                  <a:lnTo>
                    <a:pt x="2187" y="2623"/>
                  </a:lnTo>
                  <a:lnTo>
                    <a:pt x="2185" y="2622"/>
                  </a:lnTo>
                  <a:lnTo>
                    <a:pt x="2184" y="2620"/>
                  </a:lnTo>
                  <a:lnTo>
                    <a:pt x="2184" y="2618"/>
                  </a:lnTo>
                  <a:lnTo>
                    <a:pt x="2185" y="2612"/>
                  </a:lnTo>
                  <a:lnTo>
                    <a:pt x="2277" y="2217"/>
                  </a:lnTo>
                  <a:lnTo>
                    <a:pt x="2278" y="2214"/>
                  </a:lnTo>
                  <a:lnTo>
                    <a:pt x="2279" y="2212"/>
                  </a:lnTo>
                  <a:lnTo>
                    <a:pt x="2281" y="2209"/>
                  </a:lnTo>
                  <a:lnTo>
                    <a:pt x="2283" y="2208"/>
                  </a:lnTo>
                  <a:lnTo>
                    <a:pt x="2285" y="2207"/>
                  </a:lnTo>
                  <a:lnTo>
                    <a:pt x="2290" y="2207"/>
                  </a:lnTo>
                  <a:lnTo>
                    <a:pt x="2372" y="2207"/>
                  </a:lnTo>
                  <a:lnTo>
                    <a:pt x="2375" y="2207"/>
                  </a:lnTo>
                  <a:lnTo>
                    <a:pt x="2377" y="2207"/>
                  </a:lnTo>
                  <a:lnTo>
                    <a:pt x="2381" y="2209"/>
                  </a:lnTo>
                  <a:lnTo>
                    <a:pt x="2384" y="2212"/>
                  </a:lnTo>
                  <a:lnTo>
                    <a:pt x="2384" y="2214"/>
                  </a:lnTo>
                  <a:lnTo>
                    <a:pt x="2385" y="2217"/>
                  </a:lnTo>
                  <a:lnTo>
                    <a:pt x="2477" y="2612"/>
                  </a:lnTo>
                  <a:lnTo>
                    <a:pt x="2478" y="2618"/>
                  </a:lnTo>
                  <a:lnTo>
                    <a:pt x="2478" y="2620"/>
                  </a:lnTo>
                  <a:lnTo>
                    <a:pt x="2477" y="2622"/>
                  </a:lnTo>
                  <a:lnTo>
                    <a:pt x="2476" y="2623"/>
                  </a:lnTo>
                  <a:lnTo>
                    <a:pt x="2474" y="2624"/>
                  </a:lnTo>
                  <a:lnTo>
                    <a:pt x="2470" y="2625"/>
                  </a:lnTo>
                  <a:lnTo>
                    <a:pt x="2395" y="2625"/>
                  </a:lnTo>
                  <a:lnTo>
                    <a:pt x="2391" y="2625"/>
                  </a:lnTo>
                  <a:lnTo>
                    <a:pt x="2388" y="2623"/>
                  </a:lnTo>
                  <a:lnTo>
                    <a:pt x="2386" y="2621"/>
                  </a:lnTo>
                  <a:lnTo>
                    <a:pt x="2385" y="2620"/>
                  </a:lnTo>
                  <a:lnTo>
                    <a:pt x="2384" y="2618"/>
                  </a:lnTo>
                  <a:lnTo>
                    <a:pt x="2383" y="2615"/>
                  </a:lnTo>
                  <a:lnTo>
                    <a:pt x="2372" y="2558"/>
                  </a:lnTo>
                  <a:close/>
                  <a:moveTo>
                    <a:pt x="2264" y="2177"/>
                  </a:moveTo>
                  <a:lnTo>
                    <a:pt x="2259" y="2177"/>
                  </a:lnTo>
                  <a:lnTo>
                    <a:pt x="2254" y="2176"/>
                  </a:lnTo>
                  <a:lnTo>
                    <a:pt x="2249" y="2175"/>
                  </a:lnTo>
                  <a:lnTo>
                    <a:pt x="2244" y="2173"/>
                  </a:lnTo>
                  <a:lnTo>
                    <a:pt x="2236" y="2169"/>
                  </a:lnTo>
                  <a:lnTo>
                    <a:pt x="2232" y="2166"/>
                  </a:lnTo>
                  <a:lnTo>
                    <a:pt x="2228" y="2163"/>
                  </a:lnTo>
                  <a:lnTo>
                    <a:pt x="2225" y="2160"/>
                  </a:lnTo>
                  <a:lnTo>
                    <a:pt x="2222" y="2156"/>
                  </a:lnTo>
                  <a:lnTo>
                    <a:pt x="2220" y="2152"/>
                  </a:lnTo>
                  <a:lnTo>
                    <a:pt x="2218" y="2148"/>
                  </a:lnTo>
                  <a:lnTo>
                    <a:pt x="2216" y="2143"/>
                  </a:lnTo>
                  <a:lnTo>
                    <a:pt x="2215" y="2138"/>
                  </a:lnTo>
                  <a:lnTo>
                    <a:pt x="2215" y="2133"/>
                  </a:lnTo>
                  <a:lnTo>
                    <a:pt x="2214" y="2128"/>
                  </a:lnTo>
                  <a:lnTo>
                    <a:pt x="2215" y="2123"/>
                  </a:lnTo>
                  <a:lnTo>
                    <a:pt x="2215" y="2118"/>
                  </a:lnTo>
                  <a:lnTo>
                    <a:pt x="2216" y="2113"/>
                  </a:lnTo>
                  <a:lnTo>
                    <a:pt x="2218" y="2108"/>
                  </a:lnTo>
                  <a:lnTo>
                    <a:pt x="2220" y="2104"/>
                  </a:lnTo>
                  <a:lnTo>
                    <a:pt x="2222" y="2100"/>
                  </a:lnTo>
                  <a:lnTo>
                    <a:pt x="2225" y="2096"/>
                  </a:lnTo>
                  <a:lnTo>
                    <a:pt x="2228" y="2093"/>
                  </a:lnTo>
                  <a:lnTo>
                    <a:pt x="2232" y="2090"/>
                  </a:lnTo>
                  <a:lnTo>
                    <a:pt x="2236" y="2087"/>
                  </a:lnTo>
                  <a:lnTo>
                    <a:pt x="2240" y="2084"/>
                  </a:lnTo>
                  <a:lnTo>
                    <a:pt x="2244" y="2082"/>
                  </a:lnTo>
                  <a:lnTo>
                    <a:pt x="2249" y="2081"/>
                  </a:lnTo>
                  <a:lnTo>
                    <a:pt x="2254" y="2080"/>
                  </a:lnTo>
                  <a:lnTo>
                    <a:pt x="2259" y="2079"/>
                  </a:lnTo>
                  <a:lnTo>
                    <a:pt x="2264" y="2079"/>
                  </a:lnTo>
                  <a:lnTo>
                    <a:pt x="2269" y="2079"/>
                  </a:lnTo>
                  <a:lnTo>
                    <a:pt x="2274" y="2080"/>
                  </a:lnTo>
                  <a:lnTo>
                    <a:pt x="2279" y="2081"/>
                  </a:lnTo>
                  <a:lnTo>
                    <a:pt x="2284" y="2082"/>
                  </a:lnTo>
                  <a:lnTo>
                    <a:pt x="2292" y="2087"/>
                  </a:lnTo>
                  <a:lnTo>
                    <a:pt x="2296" y="2090"/>
                  </a:lnTo>
                  <a:lnTo>
                    <a:pt x="2300" y="2093"/>
                  </a:lnTo>
                  <a:lnTo>
                    <a:pt x="2303" y="2096"/>
                  </a:lnTo>
                  <a:lnTo>
                    <a:pt x="2306" y="2100"/>
                  </a:lnTo>
                  <a:lnTo>
                    <a:pt x="2308" y="2104"/>
                  </a:lnTo>
                  <a:lnTo>
                    <a:pt x="2310" y="2108"/>
                  </a:lnTo>
                  <a:lnTo>
                    <a:pt x="2313" y="2113"/>
                  </a:lnTo>
                  <a:lnTo>
                    <a:pt x="2314" y="2118"/>
                  </a:lnTo>
                  <a:lnTo>
                    <a:pt x="2314" y="2123"/>
                  </a:lnTo>
                  <a:lnTo>
                    <a:pt x="2315" y="2128"/>
                  </a:lnTo>
                  <a:lnTo>
                    <a:pt x="2314" y="2133"/>
                  </a:lnTo>
                  <a:lnTo>
                    <a:pt x="2314" y="2138"/>
                  </a:lnTo>
                  <a:lnTo>
                    <a:pt x="2313" y="2143"/>
                  </a:lnTo>
                  <a:lnTo>
                    <a:pt x="2310" y="2148"/>
                  </a:lnTo>
                  <a:lnTo>
                    <a:pt x="2308" y="2152"/>
                  </a:lnTo>
                  <a:lnTo>
                    <a:pt x="2306" y="2156"/>
                  </a:lnTo>
                  <a:lnTo>
                    <a:pt x="2303" y="2160"/>
                  </a:lnTo>
                  <a:lnTo>
                    <a:pt x="2300" y="2163"/>
                  </a:lnTo>
                  <a:lnTo>
                    <a:pt x="2296" y="2166"/>
                  </a:lnTo>
                  <a:lnTo>
                    <a:pt x="2292" y="2169"/>
                  </a:lnTo>
                  <a:lnTo>
                    <a:pt x="2288" y="2171"/>
                  </a:lnTo>
                  <a:lnTo>
                    <a:pt x="2284" y="2173"/>
                  </a:lnTo>
                  <a:lnTo>
                    <a:pt x="2279" y="2175"/>
                  </a:lnTo>
                  <a:lnTo>
                    <a:pt x="2274" y="2176"/>
                  </a:lnTo>
                  <a:lnTo>
                    <a:pt x="2269" y="2177"/>
                  </a:lnTo>
                  <a:lnTo>
                    <a:pt x="2264" y="2177"/>
                  </a:lnTo>
                  <a:close/>
                  <a:moveTo>
                    <a:pt x="1209" y="341"/>
                  </a:moveTo>
                  <a:lnTo>
                    <a:pt x="1221" y="341"/>
                  </a:lnTo>
                  <a:lnTo>
                    <a:pt x="1233" y="339"/>
                  </a:lnTo>
                  <a:lnTo>
                    <a:pt x="1244" y="336"/>
                  </a:lnTo>
                  <a:lnTo>
                    <a:pt x="1250" y="334"/>
                  </a:lnTo>
                  <a:lnTo>
                    <a:pt x="1255" y="332"/>
                  </a:lnTo>
                  <a:lnTo>
                    <a:pt x="1265" y="327"/>
                  </a:lnTo>
                  <a:lnTo>
                    <a:pt x="1275" y="322"/>
                  </a:lnTo>
                  <a:lnTo>
                    <a:pt x="1284" y="315"/>
                  </a:lnTo>
                  <a:lnTo>
                    <a:pt x="1292" y="307"/>
                  </a:lnTo>
                  <a:lnTo>
                    <a:pt x="1299" y="299"/>
                  </a:lnTo>
                  <a:lnTo>
                    <a:pt x="1306" y="289"/>
                  </a:lnTo>
                  <a:lnTo>
                    <a:pt x="1311" y="279"/>
                  </a:lnTo>
                  <a:lnTo>
                    <a:pt x="1316" y="268"/>
                  </a:lnTo>
                  <a:lnTo>
                    <a:pt x="1318" y="262"/>
                  </a:lnTo>
                  <a:lnTo>
                    <a:pt x="1320" y="256"/>
                  </a:lnTo>
                  <a:lnTo>
                    <a:pt x="1323" y="243"/>
                  </a:lnTo>
                  <a:lnTo>
                    <a:pt x="1324" y="230"/>
                  </a:lnTo>
                  <a:lnTo>
                    <a:pt x="1325" y="223"/>
                  </a:lnTo>
                  <a:lnTo>
                    <a:pt x="1325" y="216"/>
                  </a:lnTo>
                  <a:lnTo>
                    <a:pt x="1324" y="202"/>
                  </a:lnTo>
                  <a:lnTo>
                    <a:pt x="1323" y="189"/>
                  </a:lnTo>
                  <a:lnTo>
                    <a:pt x="1320" y="177"/>
                  </a:lnTo>
                  <a:lnTo>
                    <a:pt x="1318" y="171"/>
                  </a:lnTo>
                  <a:lnTo>
                    <a:pt x="1316" y="165"/>
                  </a:lnTo>
                  <a:lnTo>
                    <a:pt x="1311" y="154"/>
                  </a:lnTo>
                  <a:lnTo>
                    <a:pt x="1306" y="144"/>
                  </a:lnTo>
                  <a:lnTo>
                    <a:pt x="1299" y="134"/>
                  </a:lnTo>
                  <a:lnTo>
                    <a:pt x="1296" y="130"/>
                  </a:lnTo>
                  <a:lnTo>
                    <a:pt x="1292" y="126"/>
                  </a:lnTo>
                  <a:lnTo>
                    <a:pt x="1288" y="122"/>
                  </a:lnTo>
                  <a:lnTo>
                    <a:pt x="1284" y="118"/>
                  </a:lnTo>
                  <a:lnTo>
                    <a:pt x="1279" y="114"/>
                  </a:lnTo>
                  <a:lnTo>
                    <a:pt x="1275" y="111"/>
                  </a:lnTo>
                  <a:lnTo>
                    <a:pt x="1265" y="105"/>
                  </a:lnTo>
                  <a:lnTo>
                    <a:pt x="1260" y="103"/>
                  </a:lnTo>
                  <a:lnTo>
                    <a:pt x="1255" y="100"/>
                  </a:lnTo>
                  <a:lnTo>
                    <a:pt x="1250" y="98"/>
                  </a:lnTo>
                  <a:lnTo>
                    <a:pt x="1244" y="97"/>
                  </a:lnTo>
                  <a:lnTo>
                    <a:pt x="1233" y="94"/>
                  </a:lnTo>
                  <a:lnTo>
                    <a:pt x="1221" y="92"/>
                  </a:lnTo>
                  <a:lnTo>
                    <a:pt x="1215" y="92"/>
                  </a:lnTo>
                  <a:lnTo>
                    <a:pt x="1209" y="92"/>
                  </a:lnTo>
                  <a:lnTo>
                    <a:pt x="1197" y="92"/>
                  </a:lnTo>
                  <a:lnTo>
                    <a:pt x="1185" y="94"/>
                  </a:lnTo>
                  <a:lnTo>
                    <a:pt x="1174" y="97"/>
                  </a:lnTo>
                  <a:lnTo>
                    <a:pt x="1169" y="98"/>
                  </a:lnTo>
                  <a:lnTo>
                    <a:pt x="1163" y="100"/>
                  </a:lnTo>
                  <a:lnTo>
                    <a:pt x="1153" y="105"/>
                  </a:lnTo>
                  <a:lnTo>
                    <a:pt x="1144" y="111"/>
                  </a:lnTo>
                  <a:lnTo>
                    <a:pt x="1135" y="118"/>
                  </a:lnTo>
                  <a:lnTo>
                    <a:pt x="1127" y="126"/>
                  </a:lnTo>
                  <a:lnTo>
                    <a:pt x="1119" y="134"/>
                  </a:lnTo>
                  <a:lnTo>
                    <a:pt x="1113" y="144"/>
                  </a:lnTo>
                  <a:lnTo>
                    <a:pt x="1107" y="154"/>
                  </a:lnTo>
                  <a:lnTo>
                    <a:pt x="1102" y="165"/>
                  </a:lnTo>
                  <a:lnTo>
                    <a:pt x="1100" y="171"/>
                  </a:lnTo>
                  <a:lnTo>
                    <a:pt x="1098" y="177"/>
                  </a:lnTo>
                  <a:lnTo>
                    <a:pt x="1096" y="189"/>
                  </a:lnTo>
                  <a:lnTo>
                    <a:pt x="1094" y="202"/>
                  </a:lnTo>
                  <a:lnTo>
                    <a:pt x="1093" y="209"/>
                  </a:lnTo>
                  <a:lnTo>
                    <a:pt x="1093" y="216"/>
                  </a:lnTo>
                  <a:lnTo>
                    <a:pt x="1094" y="230"/>
                  </a:lnTo>
                  <a:lnTo>
                    <a:pt x="1096" y="243"/>
                  </a:lnTo>
                  <a:lnTo>
                    <a:pt x="1098" y="256"/>
                  </a:lnTo>
                  <a:lnTo>
                    <a:pt x="1100" y="262"/>
                  </a:lnTo>
                  <a:lnTo>
                    <a:pt x="1102" y="268"/>
                  </a:lnTo>
                  <a:lnTo>
                    <a:pt x="1107" y="279"/>
                  </a:lnTo>
                  <a:lnTo>
                    <a:pt x="1113" y="289"/>
                  </a:lnTo>
                  <a:lnTo>
                    <a:pt x="1119" y="299"/>
                  </a:lnTo>
                  <a:lnTo>
                    <a:pt x="1123" y="303"/>
                  </a:lnTo>
                  <a:lnTo>
                    <a:pt x="1127" y="307"/>
                  </a:lnTo>
                  <a:lnTo>
                    <a:pt x="1131" y="311"/>
                  </a:lnTo>
                  <a:lnTo>
                    <a:pt x="1135" y="315"/>
                  </a:lnTo>
                  <a:lnTo>
                    <a:pt x="1139" y="318"/>
                  </a:lnTo>
                  <a:lnTo>
                    <a:pt x="1144" y="322"/>
                  </a:lnTo>
                  <a:lnTo>
                    <a:pt x="1153" y="327"/>
                  </a:lnTo>
                  <a:lnTo>
                    <a:pt x="1158" y="330"/>
                  </a:lnTo>
                  <a:lnTo>
                    <a:pt x="1163" y="332"/>
                  </a:lnTo>
                  <a:lnTo>
                    <a:pt x="1169" y="334"/>
                  </a:lnTo>
                  <a:lnTo>
                    <a:pt x="1174" y="336"/>
                  </a:lnTo>
                  <a:lnTo>
                    <a:pt x="1185" y="339"/>
                  </a:lnTo>
                  <a:lnTo>
                    <a:pt x="1197" y="341"/>
                  </a:lnTo>
                  <a:lnTo>
                    <a:pt x="1203" y="341"/>
                  </a:lnTo>
                  <a:lnTo>
                    <a:pt x="1209" y="341"/>
                  </a:lnTo>
                  <a:close/>
                  <a:moveTo>
                    <a:pt x="1209" y="0"/>
                  </a:moveTo>
                  <a:lnTo>
                    <a:pt x="1221" y="0"/>
                  </a:lnTo>
                  <a:lnTo>
                    <a:pt x="1233" y="1"/>
                  </a:lnTo>
                  <a:lnTo>
                    <a:pt x="1244" y="2"/>
                  </a:lnTo>
                  <a:lnTo>
                    <a:pt x="1256" y="4"/>
                  </a:lnTo>
                  <a:lnTo>
                    <a:pt x="1267" y="6"/>
                  </a:lnTo>
                  <a:lnTo>
                    <a:pt x="1277" y="9"/>
                  </a:lnTo>
                  <a:lnTo>
                    <a:pt x="1288" y="12"/>
                  </a:lnTo>
                  <a:lnTo>
                    <a:pt x="1298" y="16"/>
                  </a:lnTo>
                  <a:lnTo>
                    <a:pt x="1308" y="20"/>
                  </a:lnTo>
                  <a:lnTo>
                    <a:pt x="1318" y="25"/>
                  </a:lnTo>
                  <a:lnTo>
                    <a:pt x="1327" y="30"/>
                  </a:lnTo>
                  <a:lnTo>
                    <a:pt x="1336" y="35"/>
                  </a:lnTo>
                  <a:lnTo>
                    <a:pt x="1345" y="41"/>
                  </a:lnTo>
                  <a:lnTo>
                    <a:pt x="1349" y="44"/>
                  </a:lnTo>
                  <a:lnTo>
                    <a:pt x="1353" y="47"/>
                  </a:lnTo>
                  <a:lnTo>
                    <a:pt x="1357" y="51"/>
                  </a:lnTo>
                  <a:lnTo>
                    <a:pt x="1361" y="54"/>
                  </a:lnTo>
                  <a:lnTo>
                    <a:pt x="1369" y="61"/>
                  </a:lnTo>
                  <a:lnTo>
                    <a:pt x="1373" y="65"/>
                  </a:lnTo>
                  <a:lnTo>
                    <a:pt x="1376" y="69"/>
                  </a:lnTo>
                  <a:lnTo>
                    <a:pt x="1383" y="76"/>
                  </a:lnTo>
                  <a:lnTo>
                    <a:pt x="1390" y="84"/>
                  </a:lnTo>
                  <a:lnTo>
                    <a:pt x="1393" y="89"/>
                  </a:lnTo>
                  <a:lnTo>
                    <a:pt x="1396" y="93"/>
                  </a:lnTo>
                  <a:lnTo>
                    <a:pt x="1401" y="102"/>
                  </a:lnTo>
                  <a:lnTo>
                    <a:pt x="1407" y="111"/>
                  </a:lnTo>
                  <a:lnTo>
                    <a:pt x="1411" y="120"/>
                  </a:lnTo>
                  <a:lnTo>
                    <a:pt x="1416" y="130"/>
                  </a:lnTo>
                  <a:lnTo>
                    <a:pt x="1418" y="135"/>
                  </a:lnTo>
                  <a:lnTo>
                    <a:pt x="1420" y="140"/>
                  </a:lnTo>
                  <a:lnTo>
                    <a:pt x="1423" y="150"/>
                  </a:lnTo>
                  <a:lnTo>
                    <a:pt x="1426" y="160"/>
                  </a:lnTo>
                  <a:lnTo>
                    <a:pt x="1428" y="171"/>
                  </a:lnTo>
                  <a:lnTo>
                    <a:pt x="1430" y="182"/>
                  </a:lnTo>
                  <a:lnTo>
                    <a:pt x="1432" y="193"/>
                  </a:lnTo>
                  <a:lnTo>
                    <a:pt x="1432" y="199"/>
                  </a:lnTo>
                  <a:lnTo>
                    <a:pt x="1432" y="205"/>
                  </a:lnTo>
                  <a:lnTo>
                    <a:pt x="1433" y="216"/>
                  </a:lnTo>
                  <a:lnTo>
                    <a:pt x="1432" y="228"/>
                  </a:lnTo>
                  <a:lnTo>
                    <a:pt x="1432" y="239"/>
                  </a:lnTo>
                  <a:lnTo>
                    <a:pt x="1430" y="251"/>
                  </a:lnTo>
                  <a:lnTo>
                    <a:pt x="1428" y="262"/>
                  </a:lnTo>
                  <a:lnTo>
                    <a:pt x="1426" y="272"/>
                  </a:lnTo>
                  <a:lnTo>
                    <a:pt x="1423" y="283"/>
                  </a:lnTo>
                  <a:lnTo>
                    <a:pt x="1420" y="293"/>
                  </a:lnTo>
                  <a:lnTo>
                    <a:pt x="1416" y="303"/>
                  </a:lnTo>
                  <a:lnTo>
                    <a:pt x="1411" y="313"/>
                  </a:lnTo>
                  <a:lnTo>
                    <a:pt x="1407" y="322"/>
                  </a:lnTo>
                  <a:lnTo>
                    <a:pt x="1401" y="331"/>
                  </a:lnTo>
                  <a:lnTo>
                    <a:pt x="1396" y="340"/>
                  </a:lnTo>
                  <a:lnTo>
                    <a:pt x="1390" y="348"/>
                  </a:lnTo>
                  <a:lnTo>
                    <a:pt x="1383" y="356"/>
                  </a:lnTo>
                  <a:lnTo>
                    <a:pt x="1376" y="364"/>
                  </a:lnTo>
                  <a:lnTo>
                    <a:pt x="1369" y="372"/>
                  </a:lnTo>
                  <a:lnTo>
                    <a:pt x="1361" y="379"/>
                  </a:lnTo>
                  <a:lnTo>
                    <a:pt x="1353" y="385"/>
                  </a:lnTo>
                  <a:lnTo>
                    <a:pt x="1345" y="391"/>
                  </a:lnTo>
                  <a:lnTo>
                    <a:pt x="1336" y="397"/>
                  </a:lnTo>
                  <a:lnTo>
                    <a:pt x="1327" y="403"/>
                  </a:lnTo>
                  <a:lnTo>
                    <a:pt x="1318" y="408"/>
                  </a:lnTo>
                  <a:lnTo>
                    <a:pt x="1308" y="412"/>
                  </a:lnTo>
                  <a:lnTo>
                    <a:pt x="1298" y="417"/>
                  </a:lnTo>
                  <a:lnTo>
                    <a:pt x="1288" y="420"/>
                  </a:lnTo>
                  <a:lnTo>
                    <a:pt x="1277" y="424"/>
                  </a:lnTo>
                  <a:lnTo>
                    <a:pt x="1267" y="426"/>
                  </a:lnTo>
                  <a:lnTo>
                    <a:pt x="1256" y="429"/>
                  </a:lnTo>
                  <a:lnTo>
                    <a:pt x="1244" y="430"/>
                  </a:lnTo>
                  <a:lnTo>
                    <a:pt x="1233" y="432"/>
                  </a:lnTo>
                  <a:lnTo>
                    <a:pt x="1221" y="433"/>
                  </a:lnTo>
                  <a:lnTo>
                    <a:pt x="1209" y="433"/>
                  </a:lnTo>
                  <a:lnTo>
                    <a:pt x="1197" y="433"/>
                  </a:lnTo>
                  <a:lnTo>
                    <a:pt x="1186" y="432"/>
                  </a:lnTo>
                  <a:lnTo>
                    <a:pt x="1174" y="430"/>
                  </a:lnTo>
                  <a:lnTo>
                    <a:pt x="1163" y="429"/>
                  </a:lnTo>
                  <a:lnTo>
                    <a:pt x="1152" y="426"/>
                  </a:lnTo>
                  <a:lnTo>
                    <a:pt x="1141" y="424"/>
                  </a:lnTo>
                  <a:lnTo>
                    <a:pt x="1130" y="420"/>
                  </a:lnTo>
                  <a:lnTo>
                    <a:pt x="1120" y="417"/>
                  </a:lnTo>
                  <a:lnTo>
                    <a:pt x="1110" y="412"/>
                  </a:lnTo>
                  <a:lnTo>
                    <a:pt x="1100" y="408"/>
                  </a:lnTo>
                  <a:lnTo>
                    <a:pt x="1091" y="403"/>
                  </a:lnTo>
                  <a:lnTo>
                    <a:pt x="1082" y="397"/>
                  </a:lnTo>
                  <a:lnTo>
                    <a:pt x="1073" y="391"/>
                  </a:lnTo>
                  <a:lnTo>
                    <a:pt x="1069" y="388"/>
                  </a:lnTo>
                  <a:lnTo>
                    <a:pt x="1065" y="385"/>
                  </a:lnTo>
                  <a:lnTo>
                    <a:pt x="1061" y="382"/>
                  </a:lnTo>
                  <a:lnTo>
                    <a:pt x="1057" y="379"/>
                  </a:lnTo>
                  <a:lnTo>
                    <a:pt x="1049" y="372"/>
                  </a:lnTo>
                  <a:lnTo>
                    <a:pt x="1046" y="368"/>
                  </a:lnTo>
                  <a:lnTo>
                    <a:pt x="1042" y="364"/>
                  </a:lnTo>
                  <a:lnTo>
                    <a:pt x="1035" y="356"/>
                  </a:lnTo>
                  <a:lnTo>
                    <a:pt x="1029" y="348"/>
                  </a:lnTo>
                  <a:lnTo>
                    <a:pt x="1026" y="344"/>
                  </a:lnTo>
                  <a:lnTo>
                    <a:pt x="1023" y="340"/>
                  </a:lnTo>
                  <a:lnTo>
                    <a:pt x="1017" y="331"/>
                  </a:lnTo>
                  <a:lnTo>
                    <a:pt x="1012" y="322"/>
                  </a:lnTo>
                  <a:lnTo>
                    <a:pt x="1007" y="313"/>
                  </a:lnTo>
                  <a:lnTo>
                    <a:pt x="1003" y="303"/>
                  </a:lnTo>
                  <a:lnTo>
                    <a:pt x="1001" y="298"/>
                  </a:lnTo>
                  <a:lnTo>
                    <a:pt x="999" y="293"/>
                  </a:lnTo>
                  <a:lnTo>
                    <a:pt x="995" y="283"/>
                  </a:lnTo>
                  <a:lnTo>
                    <a:pt x="992" y="272"/>
                  </a:lnTo>
                  <a:lnTo>
                    <a:pt x="990" y="262"/>
                  </a:lnTo>
                  <a:lnTo>
                    <a:pt x="988" y="251"/>
                  </a:lnTo>
                  <a:lnTo>
                    <a:pt x="987" y="239"/>
                  </a:lnTo>
                  <a:lnTo>
                    <a:pt x="986" y="234"/>
                  </a:lnTo>
                  <a:lnTo>
                    <a:pt x="986" y="228"/>
                  </a:lnTo>
                  <a:lnTo>
                    <a:pt x="986" y="216"/>
                  </a:lnTo>
                  <a:lnTo>
                    <a:pt x="986" y="205"/>
                  </a:lnTo>
                  <a:lnTo>
                    <a:pt x="987" y="193"/>
                  </a:lnTo>
                  <a:lnTo>
                    <a:pt x="988" y="182"/>
                  </a:lnTo>
                  <a:lnTo>
                    <a:pt x="990" y="171"/>
                  </a:lnTo>
                  <a:lnTo>
                    <a:pt x="992" y="160"/>
                  </a:lnTo>
                  <a:lnTo>
                    <a:pt x="995" y="150"/>
                  </a:lnTo>
                  <a:lnTo>
                    <a:pt x="999" y="140"/>
                  </a:lnTo>
                  <a:lnTo>
                    <a:pt x="1003" y="130"/>
                  </a:lnTo>
                  <a:lnTo>
                    <a:pt x="1007" y="120"/>
                  </a:lnTo>
                  <a:lnTo>
                    <a:pt x="1012" y="111"/>
                  </a:lnTo>
                  <a:lnTo>
                    <a:pt x="1017" y="102"/>
                  </a:lnTo>
                  <a:lnTo>
                    <a:pt x="1023" y="93"/>
                  </a:lnTo>
                  <a:lnTo>
                    <a:pt x="1029" y="84"/>
                  </a:lnTo>
                  <a:lnTo>
                    <a:pt x="1035" y="76"/>
                  </a:lnTo>
                  <a:lnTo>
                    <a:pt x="1042" y="69"/>
                  </a:lnTo>
                  <a:lnTo>
                    <a:pt x="1049" y="61"/>
                  </a:lnTo>
                  <a:lnTo>
                    <a:pt x="1057" y="54"/>
                  </a:lnTo>
                  <a:lnTo>
                    <a:pt x="1065" y="47"/>
                  </a:lnTo>
                  <a:lnTo>
                    <a:pt x="1073" y="41"/>
                  </a:lnTo>
                  <a:lnTo>
                    <a:pt x="1082" y="35"/>
                  </a:lnTo>
                  <a:lnTo>
                    <a:pt x="1091" y="30"/>
                  </a:lnTo>
                  <a:lnTo>
                    <a:pt x="1100" y="25"/>
                  </a:lnTo>
                  <a:lnTo>
                    <a:pt x="1110" y="20"/>
                  </a:lnTo>
                  <a:lnTo>
                    <a:pt x="1120" y="16"/>
                  </a:lnTo>
                  <a:lnTo>
                    <a:pt x="1130" y="12"/>
                  </a:lnTo>
                  <a:lnTo>
                    <a:pt x="1141" y="9"/>
                  </a:lnTo>
                  <a:lnTo>
                    <a:pt x="1152" y="6"/>
                  </a:lnTo>
                  <a:lnTo>
                    <a:pt x="1163" y="4"/>
                  </a:lnTo>
                  <a:lnTo>
                    <a:pt x="1174" y="2"/>
                  </a:lnTo>
                  <a:lnTo>
                    <a:pt x="1186" y="1"/>
                  </a:lnTo>
                  <a:lnTo>
                    <a:pt x="1197" y="0"/>
                  </a:lnTo>
                  <a:lnTo>
                    <a:pt x="1209" y="0"/>
                  </a:lnTo>
                  <a:close/>
                  <a:moveTo>
                    <a:pt x="2022" y="7"/>
                  </a:moveTo>
                  <a:lnTo>
                    <a:pt x="2026" y="8"/>
                  </a:lnTo>
                  <a:lnTo>
                    <a:pt x="2028" y="8"/>
                  </a:lnTo>
                  <a:lnTo>
                    <a:pt x="2029" y="10"/>
                  </a:lnTo>
                  <a:lnTo>
                    <a:pt x="2030" y="11"/>
                  </a:lnTo>
                  <a:lnTo>
                    <a:pt x="2031" y="13"/>
                  </a:lnTo>
                  <a:lnTo>
                    <a:pt x="2031" y="16"/>
                  </a:lnTo>
                  <a:lnTo>
                    <a:pt x="2031" y="19"/>
                  </a:lnTo>
                  <a:lnTo>
                    <a:pt x="2017" y="88"/>
                  </a:lnTo>
                  <a:lnTo>
                    <a:pt x="2015" y="93"/>
                  </a:lnTo>
                  <a:lnTo>
                    <a:pt x="2013" y="96"/>
                  </a:lnTo>
                  <a:lnTo>
                    <a:pt x="2012" y="97"/>
                  </a:lnTo>
                  <a:lnTo>
                    <a:pt x="2010" y="98"/>
                  </a:lnTo>
                  <a:lnTo>
                    <a:pt x="2008" y="99"/>
                  </a:lnTo>
                  <a:lnTo>
                    <a:pt x="2005" y="99"/>
                  </a:lnTo>
                  <a:lnTo>
                    <a:pt x="1950" y="99"/>
                  </a:lnTo>
                  <a:lnTo>
                    <a:pt x="1950" y="416"/>
                  </a:lnTo>
                  <a:lnTo>
                    <a:pt x="1949" y="418"/>
                  </a:lnTo>
                  <a:lnTo>
                    <a:pt x="1949" y="420"/>
                  </a:lnTo>
                  <a:lnTo>
                    <a:pt x="1947" y="423"/>
                  </a:lnTo>
                  <a:lnTo>
                    <a:pt x="1945" y="424"/>
                  </a:lnTo>
                  <a:lnTo>
                    <a:pt x="1944" y="425"/>
                  </a:lnTo>
                  <a:lnTo>
                    <a:pt x="1940" y="426"/>
                  </a:lnTo>
                  <a:lnTo>
                    <a:pt x="1861" y="426"/>
                  </a:lnTo>
                  <a:lnTo>
                    <a:pt x="1858" y="425"/>
                  </a:lnTo>
                  <a:lnTo>
                    <a:pt x="1855" y="423"/>
                  </a:lnTo>
                  <a:lnTo>
                    <a:pt x="1854" y="421"/>
                  </a:lnTo>
                  <a:lnTo>
                    <a:pt x="1853" y="420"/>
                  </a:lnTo>
                  <a:lnTo>
                    <a:pt x="1853" y="418"/>
                  </a:lnTo>
                  <a:lnTo>
                    <a:pt x="1853" y="416"/>
                  </a:lnTo>
                  <a:lnTo>
                    <a:pt x="1853" y="99"/>
                  </a:lnTo>
                  <a:lnTo>
                    <a:pt x="1796" y="99"/>
                  </a:lnTo>
                  <a:lnTo>
                    <a:pt x="1792" y="98"/>
                  </a:lnTo>
                  <a:lnTo>
                    <a:pt x="1789" y="96"/>
                  </a:lnTo>
                  <a:lnTo>
                    <a:pt x="1787" y="93"/>
                  </a:lnTo>
                  <a:lnTo>
                    <a:pt x="1786" y="91"/>
                  </a:lnTo>
                  <a:lnTo>
                    <a:pt x="1786" y="89"/>
                  </a:lnTo>
                  <a:lnTo>
                    <a:pt x="1786" y="17"/>
                  </a:lnTo>
                  <a:lnTo>
                    <a:pt x="1786" y="15"/>
                  </a:lnTo>
                  <a:lnTo>
                    <a:pt x="1787" y="13"/>
                  </a:lnTo>
                  <a:lnTo>
                    <a:pt x="1789" y="10"/>
                  </a:lnTo>
                  <a:lnTo>
                    <a:pt x="1790" y="9"/>
                  </a:lnTo>
                  <a:lnTo>
                    <a:pt x="1792" y="8"/>
                  </a:lnTo>
                  <a:lnTo>
                    <a:pt x="1796" y="7"/>
                  </a:lnTo>
                  <a:lnTo>
                    <a:pt x="2022" y="7"/>
                  </a:lnTo>
                  <a:close/>
                  <a:moveTo>
                    <a:pt x="1716" y="7"/>
                  </a:moveTo>
                  <a:lnTo>
                    <a:pt x="1720" y="8"/>
                  </a:lnTo>
                  <a:lnTo>
                    <a:pt x="1722" y="8"/>
                  </a:lnTo>
                  <a:lnTo>
                    <a:pt x="1723" y="10"/>
                  </a:lnTo>
                  <a:lnTo>
                    <a:pt x="1724" y="11"/>
                  </a:lnTo>
                  <a:lnTo>
                    <a:pt x="1725" y="13"/>
                  </a:lnTo>
                  <a:lnTo>
                    <a:pt x="1725" y="16"/>
                  </a:lnTo>
                  <a:lnTo>
                    <a:pt x="1725" y="19"/>
                  </a:lnTo>
                  <a:lnTo>
                    <a:pt x="1711" y="88"/>
                  </a:lnTo>
                  <a:lnTo>
                    <a:pt x="1710" y="93"/>
                  </a:lnTo>
                  <a:lnTo>
                    <a:pt x="1707" y="96"/>
                  </a:lnTo>
                  <a:lnTo>
                    <a:pt x="1706" y="97"/>
                  </a:lnTo>
                  <a:lnTo>
                    <a:pt x="1704" y="98"/>
                  </a:lnTo>
                  <a:lnTo>
                    <a:pt x="1702" y="99"/>
                  </a:lnTo>
                  <a:lnTo>
                    <a:pt x="1699" y="99"/>
                  </a:lnTo>
                  <a:lnTo>
                    <a:pt x="1653" y="99"/>
                  </a:lnTo>
                  <a:lnTo>
                    <a:pt x="1653" y="416"/>
                  </a:lnTo>
                  <a:lnTo>
                    <a:pt x="1653" y="418"/>
                  </a:lnTo>
                  <a:lnTo>
                    <a:pt x="1652" y="420"/>
                  </a:lnTo>
                  <a:lnTo>
                    <a:pt x="1650" y="423"/>
                  </a:lnTo>
                  <a:lnTo>
                    <a:pt x="1649" y="424"/>
                  </a:lnTo>
                  <a:lnTo>
                    <a:pt x="1647" y="425"/>
                  </a:lnTo>
                  <a:lnTo>
                    <a:pt x="1644" y="426"/>
                  </a:lnTo>
                  <a:lnTo>
                    <a:pt x="1565" y="426"/>
                  </a:lnTo>
                  <a:lnTo>
                    <a:pt x="1561" y="425"/>
                  </a:lnTo>
                  <a:lnTo>
                    <a:pt x="1558" y="423"/>
                  </a:lnTo>
                  <a:lnTo>
                    <a:pt x="1557" y="421"/>
                  </a:lnTo>
                  <a:lnTo>
                    <a:pt x="1557" y="420"/>
                  </a:lnTo>
                  <a:lnTo>
                    <a:pt x="1556" y="418"/>
                  </a:lnTo>
                  <a:lnTo>
                    <a:pt x="1556" y="416"/>
                  </a:lnTo>
                  <a:lnTo>
                    <a:pt x="1556" y="99"/>
                  </a:lnTo>
                  <a:lnTo>
                    <a:pt x="1490" y="99"/>
                  </a:lnTo>
                  <a:lnTo>
                    <a:pt x="1486" y="98"/>
                  </a:lnTo>
                  <a:lnTo>
                    <a:pt x="1483" y="96"/>
                  </a:lnTo>
                  <a:lnTo>
                    <a:pt x="1481" y="93"/>
                  </a:lnTo>
                  <a:lnTo>
                    <a:pt x="1481" y="91"/>
                  </a:lnTo>
                  <a:lnTo>
                    <a:pt x="1480" y="89"/>
                  </a:lnTo>
                  <a:lnTo>
                    <a:pt x="1480" y="17"/>
                  </a:lnTo>
                  <a:lnTo>
                    <a:pt x="1481" y="15"/>
                  </a:lnTo>
                  <a:lnTo>
                    <a:pt x="1481" y="13"/>
                  </a:lnTo>
                  <a:lnTo>
                    <a:pt x="1483" y="10"/>
                  </a:lnTo>
                  <a:lnTo>
                    <a:pt x="1484" y="9"/>
                  </a:lnTo>
                  <a:lnTo>
                    <a:pt x="1486" y="8"/>
                  </a:lnTo>
                  <a:lnTo>
                    <a:pt x="1490" y="7"/>
                  </a:lnTo>
                  <a:lnTo>
                    <a:pt x="1716" y="7"/>
                  </a:lnTo>
                  <a:close/>
                  <a:moveTo>
                    <a:pt x="2168" y="281"/>
                  </a:moveTo>
                  <a:lnTo>
                    <a:pt x="2222" y="281"/>
                  </a:lnTo>
                  <a:lnTo>
                    <a:pt x="2195" y="154"/>
                  </a:lnTo>
                  <a:lnTo>
                    <a:pt x="2168" y="281"/>
                  </a:lnTo>
                  <a:close/>
                  <a:moveTo>
                    <a:pt x="2236" y="359"/>
                  </a:moveTo>
                  <a:lnTo>
                    <a:pt x="2154" y="359"/>
                  </a:lnTo>
                  <a:lnTo>
                    <a:pt x="2142" y="416"/>
                  </a:lnTo>
                  <a:lnTo>
                    <a:pt x="2142" y="418"/>
                  </a:lnTo>
                  <a:lnTo>
                    <a:pt x="2141" y="420"/>
                  </a:lnTo>
                  <a:lnTo>
                    <a:pt x="2138" y="423"/>
                  </a:lnTo>
                  <a:lnTo>
                    <a:pt x="2136" y="424"/>
                  </a:lnTo>
                  <a:lnTo>
                    <a:pt x="2135" y="425"/>
                  </a:lnTo>
                  <a:lnTo>
                    <a:pt x="2133" y="426"/>
                  </a:lnTo>
                  <a:lnTo>
                    <a:pt x="2131" y="426"/>
                  </a:lnTo>
                  <a:lnTo>
                    <a:pt x="2058" y="426"/>
                  </a:lnTo>
                  <a:lnTo>
                    <a:pt x="2056" y="425"/>
                  </a:lnTo>
                  <a:lnTo>
                    <a:pt x="2054" y="425"/>
                  </a:lnTo>
                  <a:lnTo>
                    <a:pt x="2052" y="424"/>
                  </a:lnTo>
                  <a:lnTo>
                    <a:pt x="2051" y="422"/>
                  </a:lnTo>
                  <a:lnTo>
                    <a:pt x="2050" y="421"/>
                  </a:lnTo>
                  <a:lnTo>
                    <a:pt x="2049" y="418"/>
                  </a:lnTo>
                  <a:lnTo>
                    <a:pt x="2050" y="412"/>
                  </a:lnTo>
                  <a:lnTo>
                    <a:pt x="2142" y="17"/>
                  </a:lnTo>
                  <a:lnTo>
                    <a:pt x="2143" y="15"/>
                  </a:lnTo>
                  <a:lnTo>
                    <a:pt x="2144" y="13"/>
                  </a:lnTo>
                  <a:lnTo>
                    <a:pt x="2147" y="10"/>
                  </a:lnTo>
                  <a:lnTo>
                    <a:pt x="2149" y="9"/>
                  </a:lnTo>
                  <a:lnTo>
                    <a:pt x="2151" y="8"/>
                  </a:lnTo>
                  <a:lnTo>
                    <a:pt x="2155" y="7"/>
                  </a:lnTo>
                  <a:lnTo>
                    <a:pt x="2236" y="7"/>
                  </a:lnTo>
                  <a:lnTo>
                    <a:pt x="2239" y="7"/>
                  </a:lnTo>
                  <a:lnTo>
                    <a:pt x="2241" y="8"/>
                  </a:lnTo>
                  <a:lnTo>
                    <a:pt x="2245" y="10"/>
                  </a:lnTo>
                  <a:lnTo>
                    <a:pt x="2248" y="13"/>
                  </a:lnTo>
                  <a:lnTo>
                    <a:pt x="2249" y="15"/>
                  </a:lnTo>
                  <a:lnTo>
                    <a:pt x="2249" y="17"/>
                  </a:lnTo>
                  <a:lnTo>
                    <a:pt x="2343" y="412"/>
                  </a:lnTo>
                  <a:lnTo>
                    <a:pt x="2343" y="418"/>
                  </a:lnTo>
                  <a:lnTo>
                    <a:pt x="2343" y="421"/>
                  </a:lnTo>
                  <a:lnTo>
                    <a:pt x="2342" y="422"/>
                  </a:lnTo>
                  <a:lnTo>
                    <a:pt x="2341" y="424"/>
                  </a:lnTo>
                  <a:lnTo>
                    <a:pt x="2339" y="425"/>
                  </a:lnTo>
                  <a:lnTo>
                    <a:pt x="2335" y="426"/>
                  </a:lnTo>
                  <a:lnTo>
                    <a:pt x="2260" y="426"/>
                  </a:lnTo>
                  <a:lnTo>
                    <a:pt x="2256" y="425"/>
                  </a:lnTo>
                  <a:lnTo>
                    <a:pt x="2252" y="423"/>
                  </a:lnTo>
                  <a:lnTo>
                    <a:pt x="2251" y="422"/>
                  </a:lnTo>
                  <a:lnTo>
                    <a:pt x="2249" y="420"/>
                  </a:lnTo>
                  <a:lnTo>
                    <a:pt x="2248" y="418"/>
                  </a:lnTo>
                  <a:lnTo>
                    <a:pt x="2248" y="416"/>
                  </a:lnTo>
                  <a:lnTo>
                    <a:pt x="2236" y="359"/>
                  </a:lnTo>
                  <a:close/>
                  <a:moveTo>
                    <a:pt x="912" y="4"/>
                  </a:moveTo>
                  <a:lnTo>
                    <a:pt x="915" y="5"/>
                  </a:lnTo>
                  <a:lnTo>
                    <a:pt x="918" y="7"/>
                  </a:lnTo>
                  <a:lnTo>
                    <a:pt x="919" y="9"/>
                  </a:lnTo>
                  <a:lnTo>
                    <a:pt x="920" y="10"/>
                  </a:lnTo>
                  <a:lnTo>
                    <a:pt x="921" y="12"/>
                  </a:lnTo>
                  <a:lnTo>
                    <a:pt x="921" y="14"/>
                  </a:lnTo>
                  <a:lnTo>
                    <a:pt x="921" y="291"/>
                  </a:lnTo>
                  <a:lnTo>
                    <a:pt x="921" y="301"/>
                  </a:lnTo>
                  <a:lnTo>
                    <a:pt x="920" y="310"/>
                  </a:lnTo>
                  <a:lnTo>
                    <a:pt x="919" y="320"/>
                  </a:lnTo>
                  <a:lnTo>
                    <a:pt x="918" y="328"/>
                  </a:lnTo>
                  <a:lnTo>
                    <a:pt x="917" y="336"/>
                  </a:lnTo>
                  <a:lnTo>
                    <a:pt x="915" y="344"/>
                  </a:lnTo>
                  <a:lnTo>
                    <a:pt x="911" y="359"/>
                  </a:lnTo>
                  <a:lnTo>
                    <a:pt x="908" y="365"/>
                  </a:lnTo>
                  <a:lnTo>
                    <a:pt x="906" y="372"/>
                  </a:lnTo>
                  <a:lnTo>
                    <a:pt x="899" y="383"/>
                  </a:lnTo>
                  <a:lnTo>
                    <a:pt x="896" y="388"/>
                  </a:lnTo>
                  <a:lnTo>
                    <a:pt x="893" y="393"/>
                  </a:lnTo>
                  <a:lnTo>
                    <a:pt x="885" y="401"/>
                  </a:lnTo>
                  <a:lnTo>
                    <a:pt x="877" y="408"/>
                  </a:lnTo>
                  <a:lnTo>
                    <a:pt x="872" y="411"/>
                  </a:lnTo>
                  <a:lnTo>
                    <a:pt x="868" y="414"/>
                  </a:lnTo>
                  <a:lnTo>
                    <a:pt x="858" y="419"/>
                  </a:lnTo>
                  <a:lnTo>
                    <a:pt x="849" y="422"/>
                  </a:lnTo>
                  <a:lnTo>
                    <a:pt x="839" y="425"/>
                  </a:lnTo>
                  <a:lnTo>
                    <a:pt x="829" y="427"/>
                  </a:lnTo>
                  <a:lnTo>
                    <a:pt x="819" y="428"/>
                  </a:lnTo>
                  <a:lnTo>
                    <a:pt x="808" y="428"/>
                  </a:lnTo>
                  <a:lnTo>
                    <a:pt x="796" y="428"/>
                  </a:lnTo>
                  <a:lnTo>
                    <a:pt x="784" y="427"/>
                  </a:lnTo>
                  <a:lnTo>
                    <a:pt x="774" y="425"/>
                  </a:lnTo>
                  <a:lnTo>
                    <a:pt x="764" y="423"/>
                  </a:lnTo>
                  <a:lnTo>
                    <a:pt x="759" y="421"/>
                  </a:lnTo>
                  <a:lnTo>
                    <a:pt x="756" y="419"/>
                  </a:lnTo>
                  <a:lnTo>
                    <a:pt x="753" y="415"/>
                  </a:lnTo>
                  <a:lnTo>
                    <a:pt x="752" y="411"/>
                  </a:lnTo>
                  <a:lnTo>
                    <a:pt x="739" y="353"/>
                  </a:lnTo>
                  <a:lnTo>
                    <a:pt x="738" y="350"/>
                  </a:lnTo>
                  <a:lnTo>
                    <a:pt x="739" y="347"/>
                  </a:lnTo>
                  <a:lnTo>
                    <a:pt x="739" y="345"/>
                  </a:lnTo>
                  <a:lnTo>
                    <a:pt x="741" y="344"/>
                  </a:lnTo>
                  <a:lnTo>
                    <a:pt x="742" y="342"/>
                  </a:lnTo>
                  <a:lnTo>
                    <a:pt x="744" y="341"/>
                  </a:lnTo>
                  <a:lnTo>
                    <a:pt x="746" y="341"/>
                  </a:lnTo>
                  <a:lnTo>
                    <a:pt x="749" y="341"/>
                  </a:lnTo>
                  <a:lnTo>
                    <a:pt x="763" y="344"/>
                  </a:lnTo>
                  <a:lnTo>
                    <a:pt x="773" y="346"/>
                  </a:lnTo>
                  <a:lnTo>
                    <a:pt x="785" y="346"/>
                  </a:lnTo>
                  <a:lnTo>
                    <a:pt x="791" y="346"/>
                  </a:lnTo>
                  <a:lnTo>
                    <a:pt x="797" y="345"/>
                  </a:lnTo>
                  <a:lnTo>
                    <a:pt x="803" y="344"/>
                  </a:lnTo>
                  <a:lnTo>
                    <a:pt x="808" y="342"/>
                  </a:lnTo>
                  <a:lnTo>
                    <a:pt x="812" y="339"/>
                  </a:lnTo>
                  <a:lnTo>
                    <a:pt x="816" y="336"/>
                  </a:lnTo>
                  <a:lnTo>
                    <a:pt x="817" y="335"/>
                  </a:lnTo>
                  <a:lnTo>
                    <a:pt x="819" y="333"/>
                  </a:lnTo>
                  <a:lnTo>
                    <a:pt x="821" y="328"/>
                  </a:lnTo>
                  <a:lnTo>
                    <a:pt x="824" y="323"/>
                  </a:lnTo>
                  <a:lnTo>
                    <a:pt x="825" y="318"/>
                  </a:lnTo>
                  <a:lnTo>
                    <a:pt x="827" y="311"/>
                  </a:lnTo>
                  <a:lnTo>
                    <a:pt x="828" y="304"/>
                  </a:lnTo>
                  <a:lnTo>
                    <a:pt x="829" y="297"/>
                  </a:lnTo>
                  <a:lnTo>
                    <a:pt x="829" y="288"/>
                  </a:lnTo>
                  <a:lnTo>
                    <a:pt x="830" y="269"/>
                  </a:lnTo>
                  <a:lnTo>
                    <a:pt x="830" y="14"/>
                  </a:lnTo>
                  <a:lnTo>
                    <a:pt x="830" y="12"/>
                  </a:lnTo>
                  <a:lnTo>
                    <a:pt x="830" y="10"/>
                  </a:lnTo>
                  <a:lnTo>
                    <a:pt x="832" y="7"/>
                  </a:lnTo>
                  <a:lnTo>
                    <a:pt x="833" y="6"/>
                  </a:lnTo>
                  <a:lnTo>
                    <a:pt x="835" y="5"/>
                  </a:lnTo>
                  <a:lnTo>
                    <a:pt x="837" y="5"/>
                  </a:lnTo>
                  <a:lnTo>
                    <a:pt x="838" y="4"/>
                  </a:lnTo>
                  <a:lnTo>
                    <a:pt x="912" y="4"/>
                  </a:lnTo>
                  <a:close/>
                  <a:moveTo>
                    <a:pt x="2826" y="1740"/>
                  </a:moveTo>
                  <a:lnTo>
                    <a:pt x="2925" y="1740"/>
                  </a:lnTo>
                  <a:lnTo>
                    <a:pt x="2875" y="1609"/>
                  </a:lnTo>
                  <a:lnTo>
                    <a:pt x="2826" y="1740"/>
                  </a:lnTo>
                  <a:close/>
                  <a:moveTo>
                    <a:pt x="2956" y="1822"/>
                  </a:moveTo>
                  <a:lnTo>
                    <a:pt x="2796" y="1822"/>
                  </a:lnTo>
                  <a:lnTo>
                    <a:pt x="2774" y="1879"/>
                  </a:lnTo>
                  <a:lnTo>
                    <a:pt x="2773" y="1882"/>
                  </a:lnTo>
                  <a:lnTo>
                    <a:pt x="2771" y="1884"/>
                  </a:lnTo>
                  <a:lnTo>
                    <a:pt x="2770" y="1885"/>
                  </a:lnTo>
                  <a:lnTo>
                    <a:pt x="2768" y="1887"/>
                  </a:lnTo>
                  <a:lnTo>
                    <a:pt x="2764" y="1888"/>
                  </a:lnTo>
                  <a:lnTo>
                    <a:pt x="2760" y="1889"/>
                  </a:lnTo>
                  <a:lnTo>
                    <a:pt x="2681" y="1889"/>
                  </a:lnTo>
                  <a:lnTo>
                    <a:pt x="2679" y="1889"/>
                  </a:lnTo>
                  <a:lnTo>
                    <a:pt x="2677" y="1888"/>
                  </a:lnTo>
                  <a:lnTo>
                    <a:pt x="2675" y="1887"/>
                  </a:lnTo>
                  <a:lnTo>
                    <a:pt x="2673" y="1885"/>
                  </a:lnTo>
                  <a:lnTo>
                    <a:pt x="2672" y="1883"/>
                  </a:lnTo>
                  <a:lnTo>
                    <a:pt x="2671" y="1881"/>
                  </a:lnTo>
                  <a:lnTo>
                    <a:pt x="2672" y="1878"/>
                  </a:lnTo>
                  <a:lnTo>
                    <a:pt x="2673" y="1875"/>
                  </a:lnTo>
                  <a:lnTo>
                    <a:pt x="2828" y="1480"/>
                  </a:lnTo>
                  <a:lnTo>
                    <a:pt x="2829" y="1477"/>
                  </a:lnTo>
                  <a:lnTo>
                    <a:pt x="2830" y="1475"/>
                  </a:lnTo>
                  <a:lnTo>
                    <a:pt x="2833" y="1472"/>
                  </a:lnTo>
                  <a:lnTo>
                    <a:pt x="2837" y="1471"/>
                  </a:lnTo>
                  <a:lnTo>
                    <a:pt x="2839" y="1470"/>
                  </a:lnTo>
                  <a:lnTo>
                    <a:pt x="2842" y="1470"/>
                  </a:lnTo>
                  <a:lnTo>
                    <a:pt x="2911" y="1470"/>
                  </a:lnTo>
                  <a:lnTo>
                    <a:pt x="2916" y="1471"/>
                  </a:lnTo>
                  <a:lnTo>
                    <a:pt x="2920" y="1472"/>
                  </a:lnTo>
                  <a:lnTo>
                    <a:pt x="2923" y="1475"/>
                  </a:lnTo>
                  <a:lnTo>
                    <a:pt x="2924" y="1477"/>
                  </a:lnTo>
                  <a:lnTo>
                    <a:pt x="2925" y="1480"/>
                  </a:lnTo>
                  <a:lnTo>
                    <a:pt x="3081" y="1875"/>
                  </a:lnTo>
                  <a:lnTo>
                    <a:pt x="3082" y="1878"/>
                  </a:lnTo>
                  <a:lnTo>
                    <a:pt x="3082" y="1881"/>
                  </a:lnTo>
                  <a:lnTo>
                    <a:pt x="3081" y="1883"/>
                  </a:lnTo>
                  <a:lnTo>
                    <a:pt x="3080" y="1885"/>
                  </a:lnTo>
                  <a:lnTo>
                    <a:pt x="3079" y="1887"/>
                  </a:lnTo>
                  <a:lnTo>
                    <a:pt x="3077" y="1888"/>
                  </a:lnTo>
                  <a:lnTo>
                    <a:pt x="3074" y="1889"/>
                  </a:lnTo>
                  <a:lnTo>
                    <a:pt x="3072" y="1889"/>
                  </a:lnTo>
                  <a:lnTo>
                    <a:pt x="2991" y="1889"/>
                  </a:lnTo>
                  <a:lnTo>
                    <a:pt x="2987" y="1888"/>
                  </a:lnTo>
                  <a:lnTo>
                    <a:pt x="2985" y="1888"/>
                  </a:lnTo>
                  <a:lnTo>
                    <a:pt x="2983" y="1887"/>
                  </a:lnTo>
                  <a:lnTo>
                    <a:pt x="2981" y="1885"/>
                  </a:lnTo>
                  <a:lnTo>
                    <a:pt x="2980" y="1884"/>
                  </a:lnTo>
                  <a:lnTo>
                    <a:pt x="2979" y="1882"/>
                  </a:lnTo>
                  <a:lnTo>
                    <a:pt x="2978" y="1879"/>
                  </a:lnTo>
                  <a:lnTo>
                    <a:pt x="2956" y="1822"/>
                  </a:lnTo>
                  <a:close/>
                  <a:moveTo>
                    <a:pt x="1829" y="1889"/>
                  </a:moveTo>
                  <a:lnTo>
                    <a:pt x="1747" y="1889"/>
                  </a:lnTo>
                  <a:lnTo>
                    <a:pt x="1743" y="1888"/>
                  </a:lnTo>
                  <a:lnTo>
                    <a:pt x="1739" y="1886"/>
                  </a:lnTo>
                  <a:lnTo>
                    <a:pt x="1738" y="1885"/>
                  </a:lnTo>
                  <a:lnTo>
                    <a:pt x="1737" y="1883"/>
                  </a:lnTo>
                  <a:lnTo>
                    <a:pt x="1737" y="1881"/>
                  </a:lnTo>
                  <a:lnTo>
                    <a:pt x="1737" y="1879"/>
                  </a:lnTo>
                  <a:lnTo>
                    <a:pt x="1737" y="1480"/>
                  </a:lnTo>
                  <a:lnTo>
                    <a:pt x="1737" y="1478"/>
                  </a:lnTo>
                  <a:lnTo>
                    <a:pt x="1737" y="1476"/>
                  </a:lnTo>
                  <a:lnTo>
                    <a:pt x="1739" y="1473"/>
                  </a:lnTo>
                  <a:lnTo>
                    <a:pt x="1741" y="1472"/>
                  </a:lnTo>
                  <a:lnTo>
                    <a:pt x="1743" y="1471"/>
                  </a:lnTo>
                  <a:lnTo>
                    <a:pt x="1747" y="1470"/>
                  </a:lnTo>
                  <a:lnTo>
                    <a:pt x="1829" y="1470"/>
                  </a:lnTo>
                  <a:lnTo>
                    <a:pt x="1833" y="1471"/>
                  </a:lnTo>
                  <a:lnTo>
                    <a:pt x="1836" y="1473"/>
                  </a:lnTo>
                  <a:lnTo>
                    <a:pt x="1837" y="1474"/>
                  </a:lnTo>
                  <a:lnTo>
                    <a:pt x="1838" y="1476"/>
                  </a:lnTo>
                  <a:lnTo>
                    <a:pt x="1839" y="1478"/>
                  </a:lnTo>
                  <a:lnTo>
                    <a:pt x="1839" y="1480"/>
                  </a:lnTo>
                  <a:lnTo>
                    <a:pt x="1839" y="1655"/>
                  </a:lnTo>
                  <a:lnTo>
                    <a:pt x="1982" y="1480"/>
                  </a:lnTo>
                  <a:lnTo>
                    <a:pt x="1986" y="1476"/>
                  </a:lnTo>
                  <a:lnTo>
                    <a:pt x="1987" y="1474"/>
                  </a:lnTo>
                  <a:lnTo>
                    <a:pt x="1990" y="1473"/>
                  </a:lnTo>
                  <a:lnTo>
                    <a:pt x="1992" y="1472"/>
                  </a:lnTo>
                  <a:lnTo>
                    <a:pt x="1994" y="1471"/>
                  </a:lnTo>
                  <a:lnTo>
                    <a:pt x="1997" y="1470"/>
                  </a:lnTo>
                  <a:lnTo>
                    <a:pt x="2000" y="1470"/>
                  </a:lnTo>
                  <a:lnTo>
                    <a:pt x="2095" y="1470"/>
                  </a:lnTo>
                  <a:lnTo>
                    <a:pt x="2098" y="1471"/>
                  </a:lnTo>
                  <a:lnTo>
                    <a:pt x="2101" y="1472"/>
                  </a:lnTo>
                  <a:lnTo>
                    <a:pt x="2102" y="1473"/>
                  </a:lnTo>
                  <a:lnTo>
                    <a:pt x="2103" y="1475"/>
                  </a:lnTo>
                  <a:lnTo>
                    <a:pt x="2104" y="1478"/>
                  </a:lnTo>
                  <a:lnTo>
                    <a:pt x="2104" y="1480"/>
                  </a:lnTo>
                  <a:lnTo>
                    <a:pt x="2103" y="1483"/>
                  </a:lnTo>
                  <a:lnTo>
                    <a:pt x="2101" y="1485"/>
                  </a:lnTo>
                  <a:lnTo>
                    <a:pt x="1970" y="1646"/>
                  </a:lnTo>
                  <a:lnTo>
                    <a:pt x="2105" y="1876"/>
                  </a:lnTo>
                  <a:lnTo>
                    <a:pt x="2107" y="1878"/>
                  </a:lnTo>
                  <a:lnTo>
                    <a:pt x="2107" y="1880"/>
                  </a:lnTo>
                  <a:lnTo>
                    <a:pt x="2107" y="1883"/>
                  </a:lnTo>
                  <a:lnTo>
                    <a:pt x="2106" y="1885"/>
                  </a:lnTo>
                  <a:lnTo>
                    <a:pt x="2105" y="1886"/>
                  </a:lnTo>
                  <a:lnTo>
                    <a:pt x="2104" y="1888"/>
                  </a:lnTo>
                  <a:lnTo>
                    <a:pt x="2102" y="1888"/>
                  </a:lnTo>
                  <a:lnTo>
                    <a:pt x="2099" y="1889"/>
                  </a:lnTo>
                  <a:lnTo>
                    <a:pt x="2003" y="1889"/>
                  </a:lnTo>
                  <a:lnTo>
                    <a:pt x="1998" y="1888"/>
                  </a:lnTo>
                  <a:lnTo>
                    <a:pt x="1994" y="1887"/>
                  </a:lnTo>
                  <a:lnTo>
                    <a:pt x="1992" y="1885"/>
                  </a:lnTo>
                  <a:lnTo>
                    <a:pt x="1991" y="1884"/>
                  </a:lnTo>
                  <a:lnTo>
                    <a:pt x="1988" y="1879"/>
                  </a:lnTo>
                  <a:lnTo>
                    <a:pt x="1892" y="1713"/>
                  </a:lnTo>
                  <a:lnTo>
                    <a:pt x="1839" y="1778"/>
                  </a:lnTo>
                  <a:lnTo>
                    <a:pt x="1839" y="1879"/>
                  </a:lnTo>
                  <a:lnTo>
                    <a:pt x="1839" y="1881"/>
                  </a:lnTo>
                  <a:lnTo>
                    <a:pt x="1838" y="1883"/>
                  </a:lnTo>
                  <a:lnTo>
                    <a:pt x="1836" y="1886"/>
                  </a:lnTo>
                  <a:lnTo>
                    <a:pt x="1835" y="1887"/>
                  </a:lnTo>
                  <a:lnTo>
                    <a:pt x="1833" y="1888"/>
                  </a:lnTo>
                  <a:lnTo>
                    <a:pt x="1829" y="1889"/>
                  </a:lnTo>
                  <a:close/>
                  <a:moveTo>
                    <a:pt x="2168" y="1480"/>
                  </a:moveTo>
                  <a:lnTo>
                    <a:pt x="2168" y="1478"/>
                  </a:lnTo>
                  <a:lnTo>
                    <a:pt x="2168" y="1476"/>
                  </a:lnTo>
                  <a:lnTo>
                    <a:pt x="2171" y="1473"/>
                  </a:lnTo>
                  <a:lnTo>
                    <a:pt x="2172" y="1472"/>
                  </a:lnTo>
                  <a:lnTo>
                    <a:pt x="2174" y="1471"/>
                  </a:lnTo>
                  <a:lnTo>
                    <a:pt x="2178" y="1470"/>
                  </a:lnTo>
                  <a:lnTo>
                    <a:pt x="2260" y="1470"/>
                  </a:lnTo>
                  <a:lnTo>
                    <a:pt x="2264" y="1471"/>
                  </a:lnTo>
                  <a:lnTo>
                    <a:pt x="2267" y="1473"/>
                  </a:lnTo>
                  <a:lnTo>
                    <a:pt x="2268" y="1474"/>
                  </a:lnTo>
                  <a:lnTo>
                    <a:pt x="2269" y="1476"/>
                  </a:lnTo>
                  <a:lnTo>
                    <a:pt x="2270" y="1478"/>
                  </a:lnTo>
                  <a:lnTo>
                    <a:pt x="2270" y="1480"/>
                  </a:lnTo>
                  <a:lnTo>
                    <a:pt x="2270" y="1879"/>
                  </a:lnTo>
                  <a:lnTo>
                    <a:pt x="2270" y="1881"/>
                  </a:lnTo>
                  <a:lnTo>
                    <a:pt x="2269" y="1883"/>
                  </a:lnTo>
                  <a:lnTo>
                    <a:pt x="2267" y="1886"/>
                  </a:lnTo>
                  <a:lnTo>
                    <a:pt x="2266" y="1887"/>
                  </a:lnTo>
                  <a:lnTo>
                    <a:pt x="2264" y="1888"/>
                  </a:lnTo>
                  <a:lnTo>
                    <a:pt x="2260" y="1889"/>
                  </a:lnTo>
                  <a:lnTo>
                    <a:pt x="2178" y="1889"/>
                  </a:lnTo>
                  <a:lnTo>
                    <a:pt x="2174" y="1888"/>
                  </a:lnTo>
                  <a:lnTo>
                    <a:pt x="2171" y="1886"/>
                  </a:lnTo>
                  <a:lnTo>
                    <a:pt x="2169" y="1885"/>
                  </a:lnTo>
                  <a:lnTo>
                    <a:pt x="2168" y="1883"/>
                  </a:lnTo>
                  <a:lnTo>
                    <a:pt x="2168" y="1881"/>
                  </a:lnTo>
                  <a:lnTo>
                    <a:pt x="2168" y="1879"/>
                  </a:lnTo>
                  <a:lnTo>
                    <a:pt x="2168" y="1480"/>
                  </a:lnTo>
                  <a:close/>
                  <a:moveTo>
                    <a:pt x="2470" y="1879"/>
                  </a:moveTo>
                  <a:lnTo>
                    <a:pt x="2323" y="1484"/>
                  </a:lnTo>
                  <a:lnTo>
                    <a:pt x="2322" y="1481"/>
                  </a:lnTo>
                  <a:lnTo>
                    <a:pt x="2322" y="1478"/>
                  </a:lnTo>
                  <a:lnTo>
                    <a:pt x="2322" y="1476"/>
                  </a:lnTo>
                  <a:lnTo>
                    <a:pt x="2323" y="1474"/>
                  </a:lnTo>
                  <a:lnTo>
                    <a:pt x="2325" y="1472"/>
                  </a:lnTo>
                  <a:lnTo>
                    <a:pt x="2327" y="1471"/>
                  </a:lnTo>
                  <a:lnTo>
                    <a:pt x="2329" y="1470"/>
                  </a:lnTo>
                  <a:lnTo>
                    <a:pt x="2332" y="1470"/>
                  </a:lnTo>
                  <a:lnTo>
                    <a:pt x="2415" y="1470"/>
                  </a:lnTo>
                  <a:lnTo>
                    <a:pt x="2419" y="1471"/>
                  </a:lnTo>
                  <a:lnTo>
                    <a:pt x="2421" y="1471"/>
                  </a:lnTo>
                  <a:lnTo>
                    <a:pt x="2423" y="1472"/>
                  </a:lnTo>
                  <a:lnTo>
                    <a:pt x="2425" y="1474"/>
                  </a:lnTo>
                  <a:lnTo>
                    <a:pt x="2426" y="1475"/>
                  </a:lnTo>
                  <a:lnTo>
                    <a:pt x="2428" y="1477"/>
                  </a:lnTo>
                  <a:lnTo>
                    <a:pt x="2429" y="1480"/>
                  </a:lnTo>
                  <a:lnTo>
                    <a:pt x="2521" y="1734"/>
                  </a:lnTo>
                  <a:lnTo>
                    <a:pt x="2614" y="1480"/>
                  </a:lnTo>
                  <a:lnTo>
                    <a:pt x="2615" y="1477"/>
                  </a:lnTo>
                  <a:lnTo>
                    <a:pt x="2616" y="1475"/>
                  </a:lnTo>
                  <a:lnTo>
                    <a:pt x="2618" y="1474"/>
                  </a:lnTo>
                  <a:lnTo>
                    <a:pt x="2619" y="1472"/>
                  </a:lnTo>
                  <a:lnTo>
                    <a:pt x="2623" y="1471"/>
                  </a:lnTo>
                  <a:lnTo>
                    <a:pt x="2627" y="1470"/>
                  </a:lnTo>
                  <a:lnTo>
                    <a:pt x="2709" y="1470"/>
                  </a:lnTo>
                  <a:lnTo>
                    <a:pt x="2711" y="1470"/>
                  </a:lnTo>
                  <a:lnTo>
                    <a:pt x="2714" y="1471"/>
                  </a:lnTo>
                  <a:lnTo>
                    <a:pt x="2716" y="1472"/>
                  </a:lnTo>
                  <a:lnTo>
                    <a:pt x="2717" y="1474"/>
                  </a:lnTo>
                  <a:lnTo>
                    <a:pt x="2718" y="1476"/>
                  </a:lnTo>
                  <a:lnTo>
                    <a:pt x="2719" y="1478"/>
                  </a:lnTo>
                  <a:lnTo>
                    <a:pt x="2719" y="1481"/>
                  </a:lnTo>
                  <a:lnTo>
                    <a:pt x="2718" y="1484"/>
                  </a:lnTo>
                  <a:lnTo>
                    <a:pt x="2571" y="1879"/>
                  </a:lnTo>
                  <a:lnTo>
                    <a:pt x="2569" y="1883"/>
                  </a:lnTo>
                  <a:lnTo>
                    <a:pt x="2567" y="1885"/>
                  </a:lnTo>
                  <a:lnTo>
                    <a:pt x="2566" y="1886"/>
                  </a:lnTo>
                  <a:lnTo>
                    <a:pt x="2564" y="1887"/>
                  </a:lnTo>
                  <a:lnTo>
                    <a:pt x="2562" y="1888"/>
                  </a:lnTo>
                  <a:lnTo>
                    <a:pt x="2560" y="1889"/>
                  </a:lnTo>
                  <a:lnTo>
                    <a:pt x="2557" y="1889"/>
                  </a:lnTo>
                  <a:lnTo>
                    <a:pt x="2484" y="1889"/>
                  </a:lnTo>
                  <a:lnTo>
                    <a:pt x="2481" y="1889"/>
                  </a:lnTo>
                  <a:lnTo>
                    <a:pt x="2479" y="1888"/>
                  </a:lnTo>
                  <a:lnTo>
                    <a:pt x="2475" y="1886"/>
                  </a:lnTo>
                  <a:lnTo>
                    <a:pt x="2473" y="1885"/>
                  </a:lnTo>
                  <a:lnTo>
                    <a:pt x="2472" y="1883"/>
                  </a:lnTo>
                  <a:lnTo>
                    <a:pt x="2470" y="1879"/>
                  </a:lnTo>
                  <a:close/>
                  <a:moveTo>
                    <a:pt x="224" y="1804"/>
                  </a:moveTo>
                  <a:lnTo>
                    <a:pt x="236" y="1804"/>
                  </a:lnTo>
                  <a:lnTo>
                    <a:pt x="247" y="1802"/>
                  </a:lnTo>
                  <a:lnTo>
                    <a:pt x="259" y="1799"/>
                  </a:lnTo>
                  <a:lnTo>
                    <a:pt x="264" y="1797"/>
                  </a:lnTo>
                  <a:lnTo>
                    <a:pt x="269" y="1795"/>
                  </a:lnTo>
                  <a:lnTo>
                    <a:pt x="280" y="1791"/>
                  </a:lnTo>
                  <a:lnTo>
                    <a:pt x="289" y="1785"/>
                  </a:lnTo>
                  <a:lnTo>
                    <a:pt x="298" y="1778"/>
                  </a:lnTo>
                  <a:lnTo>
                    <a:pt x="306" y="1770"/>
                  </a:lnTo>
                  <a:lnTo>
                    <a:pt x="314" y="1762"/>
                  </a:lnTo>
                  <a:lnTo>
                    <a:pt x="320" y="1752"/>
                  </a:lnTo>
                  <a:lnTo>
                    <a:pt x="326" y="1742"/>
                  </a:lnTo>
                  <a:lnTo>
                    <a:pt x="331" y="1731"/>
                  </a:lnTo>
                  <a:lnTo>
                    <a:pt x="333" y="1725"/>
                  </a:lnTo>
                  <a:lnTo>
                    <a:pt x="334" y="1719"/>
                  </a:lnTo>
                  <a:lnTo>
                    <a:pt x="337" y="1707"/>
                  </a:lnTo>
                  <a:lnTo>
                    <a:pt x="339" y="1693"/>
                  </a:lnTo>
                  <a:lnTo>
                    <a:pt x="339" y="1687"/>
                  </a:lnTo>
                  <a:lnTo>
                    <a:pt x="340" y="1680"/>
                  </a:lnTo>
                  <a:lnTo>
                    <a:pt x="339" y="1666"/>
                  </a:lnTo>
                  <a:lnTo>
                    <a:pt x="337" y="1652"/>
                  </a:lnTo>
                  <a:lnTo>
                    <a:pt x="334" y="1640"/>
                  </a:lnTo>
                  <a:lnTo>
                    <a:pt x="333" y="1634"/>
                  </a:lnTo>
                  <a:lnTo>
                    <a:pt x="331" y="1628"/>
                  </a:lnTo>
                  <a:lnTo>
                    <a:pt x="326" y="1617"/>
                  </a:lnTo>
                  <a:lnTo>
                    <a:pt x="320" y="1607"/>
                  </a:lnTo>
                  <a:lnTo>
                    <a:pt x="314" y="1597"/>
                  </a:lnTo>
                  <a:lnTo>
                    <a:pt x="310" y="1593"/>
                  </a:lnTo>
                  <a:lnTo>
                    <a:pt x="306" y="1589"/>
                  </a:lnTo>
                  <a:lnTo>
                    <a:pt x="302" y="1585"/>
                  </a:lnTo>
                  <a:lnTo>
                    <a:pt x="298" y="1581"/>
                  </a:lnTo>
                  <a:lnTo>
                    <a:pt x="294" y="1578"/>
                  </a:lnTo>
                  <a:lnTo>
                    <a:pt x="289" y="1574"/>
                  </a:lnTo>
                  <a:lnTo>
                    <a:pt x="280" y="1568"/>
                  </a:lnTo>
                  <a:lnTo>
                    <a:pt x="275" y="1566"/>
                  </a:lnTo>
                  <a:lnTo>
                    <a:pt x="269" y="1564"/>
                  </a:lnTo>
                  <a:lnTo>
                    <a:pt x="264" y="1562"/>
                  </a:lnTo>
                  <a:lnTo>
                    <a:pt x="259" y="1560"/>
                  </a:lnTo>
                  <a:lnTo>
                    <a:pt x="247" y="1557"/>
                  </a:lnTo>
                  <a:lnTo>
                    <a:pt x="236" y="1555"/>
                  </a:lnTo>
                  <a:lnTo>
                    <a:pt x="230" y="1555"/>
                  </a:lnTo>
                  <a:lnTo>
                    <a:pt x="224" y="1555"/>
                  </a:lnTo>
                  <a:lnTo>
                    <a:pt x="212" y="1555"/>
                  </a:lnTo>
                  <a:lnTo>
                    <a:pt x="200" y="1557"/>
                  </a:lnTo>
                  <a:lnTo>
                    <a:pt x="189" y="1560"/>
                  </a:lnTo>
                  <a:lnTo>
                    <a:pt x="183" y="1562"/>
                  </a:lnTo>
                  <a:lnTo>
                    <a:pt x="178" y="1564"/>
                  </a:lnTo>
                  <a:lnTo>
                    <a:pt x="168" y="1568"/>
                  </a:lnTo>
                  <a:lnTo>
                    <a:pt x="158" y="1574"/>
                  </a:lnTo>
                  <a:lnTo>
                    <a:pt x="149" y="1581"/>
                  </a:lnTo>
                  <a:lnTo>
                    <a:pt x="141" y="1589"/>
                  </a:lnTo>
                  <a:lnTo>
                    <a:pt x="134" y="1597"/>
                  </a:lnTo>
                  <a:lnTo>
                    <a:pt x="127" y="1607"/>
                  </a:lnTo>
                  <a:lnTo>
                    <a:pt x="121" y="1617"/>
                  </a:lnTo>
                  <a:lnTo>
                    <a:pt x="117" y="1628"/>
                  </a:lnTo>
                  <a:lnTo>
                    <a:pt x="115" y="1634"/>
                  </a:lnTo>
                  <a:lnTo>
                    <a:pt x="113" y="1640"/>
                  </a:lnTo>
                  <a:lnTo>
                    <a:pt x="110" y="1652"/>
                  </a:lnTo>
                  <a:lnTo>
                    <a:pt x="108" y="1666"/>
                  </a:lnTo>
                  <a:lnTo>
                    <a:pt x="108" y="1672"/>
                  </a:lnTo>
                  <a:lnTo>
                    <a:pt x="108" y="1680"/>
                  </a:lnTo>
                  <a:lnTo>
                    <a:pt x="108" y="1693"/>
                  </a:lnTo>
                  <a:lnTo>
                    <a:pt x="110" y="1707"/>
                  </a:lnTo>
                  <a:lnTo>
                    <a:pt x="113" y="1719"/>
                  </a:lnTo>
                  <a:lnTo>
                    <a:pt x="115" y="1725"/>
                  </a:lnTo>
                  <a:lnTo>
                    <a:pt x="117" y="1731"/>
                  </a:lnTo>
                  <a:lnTo>
                    <a:pt x="121" y="1742"/>
                  </a:lnTo>
                  <a:lnTo>
                    <a:pt x="127" y="1752"/>
                  </a:lnTo>
                  <a:lnTo>
                    <a:pt x="134" y="1762"/>
                  </a:lnTo>
                  <a:lnTo>
                    <a:pt x="137" y="1766"/>
                  </a:lnTo>
                  <a:lnTo>
                    <a:pt x="141" y="1770"/>
                  </a:lnTo>
                  <a:lnTo>
                    <a:pt x="145" y="1774"/>
                  </a:lnTo>
                  <a:lnTo>
                    <a:pt x="149" y="1778"/>
                  </a:lnTo>
                  <a:lnTo>
                    <a:pt x="154" y="1781"/>
                  </a:lnTo>
                  <a:lnTo>
                    <a:pt x="158" y="1785"/>
                  </a:lnTo>
                  <a:lnTo>
                    <a:pt x="168" y="1791"/>
                  </a:lnTo>
                  <a:lnTo>
                    <a:pt x="173" y="1793"/>
                  </a:lnTo>
                  <a:lnTo>
                    <a:pt x="178" y="1795"/>
                  </a:lnTo>
                  <a:lnTo>
                    <a:pt x="183" y="1797"/>
                  </a:lnTo>
                  <a:lnTo>
                    <a:pt x="189" y="1799"/>
                  </a:lnTo>
                  <a:lnTo>
                    <a:pt x="200" y="1802"/>
                  </a:lnTo>
                  <a:lnTo>
                    <a:pt x="212" y="1804"/>
                  </a:lnTo>
                  <a:lnTo>
                    <a:pt x="218" y="1804"/>
                  </a:lnTo>
                  <a:lnTo>
                    <a:pt x="224" y="1804"/>
                  </a:lnTo>
                  <a:close/>
                  <a:moveTo>
                    <a:pt x="224" y="1463"/>
                  </a:moveTo>
                  <a:lnTo>
                    <a:pt x="236" y="1463"/>
                  </a:lnTo>
                  <a:lnTo>
                    <a:pt x="247" y="1464"/>
                  </a:lnTo>
                  <a:lnTo>
                    <a:pt x="259" y="1465"/>
                  </a:lnTo>
                  <a:lnTo>
                    <a:pt x="270" y="1467"/>
                  </a:lnTo>
                  <a:lnTo>
                    <a:pt x="281" y="1470"/>
                  </a:lnTo>
                  <a:lnTo>
                    <a:pt x="292" y="1472"/>
                  </a:lnTo>
                  <a:lnTo>
                    <a:pt x="302" y="1476"/>
                  </a:lnTo>
                  <a:lnTo>
                    <a:pt x="313" y="1479"/>
                  </a:lnTo>
                  <a:lnTo>
                    <a:pt x="323" y="1483"/>
                  </a:lnTo>
                  <a:lnTo>
                    <a:pt x="332" y="1488"/>
                  </a:lnTo>
                  <a:lnTo>
                    <a:pt x="342" y="1493"/>
                  </a:lnTo>
                  <a:lnTo>
                    <a:pt x="351" y="1499"/>
                  </a:lnTo>
                  <a:lnTo>
                    <a:pt x="359" y="1504"/>
                  </a:lnTo>
                  <a:lnTo>
                    <a:pt x="364" y="1507"/>
                  </a:lnTo>
                  <a:lnTo>
                    <a:pt x="368" y="1511"/>
                  </a:lnTo>
                  <a:lnTo>
                    <a:pt x="372" y="1514"/>
                  </a:lnTo>
                  <a:lnTo>
                    <a:pt x="376" y="1517"/>
                  </a:lnTo>
                  <a:lnTo>
                    <a:pt x="383" y="1524"/>
                  </a:lnTo>
                  <a:lnTo>
                    <a:pt x="387" y="1528"/>
                  </a:lnTo>
                  <a:lnTo>
                    <a:pt x="391" y="1532"/>
                  </a:lnTo>
                  <a:lnTo>
                    <a:pt x="398" y="1539"/>
                  </a:lnTo>
                  <a:lnTo>
                    <a:pt x="404" y="1548"/>
                  </a:lnTo>
                  <a:lnTo>
                    <a:pt x="407" y="1552"/>
                  </a:lnTo>
                  <a:lnTo>
                    <a:pt x="410" y="1556"/>
                  </a:lnTo>
                  <a:lnTo>
                    <a:pt x="416" y="1565"/>
                  </a:lnTo>
                  <a:lnTo>
                    <a:pt x="421" y="1574"/>
                  </a:lnTo>
                  <a:lnTo>
                    <a:pt x="426" y="1583"/>
                  </a:lnTo>
                  <a:lnTo>
                    <a:pt x="430" y="1593"/>
                  </a:lnTo>
                  <a:lnTo>
                    <a:pt x="432" y="1598"/>
                  </a:lnTo>
                  <a:lnTo>
                    <a:pt x="434" y="1603"/>
                  </a:lnTo>
                  <a:lnTo>
                    <a:pt x="437" y="1613"/>
                  </a:lnTo>
                  <a:lnTo>
                    <a:pt x="440" y="1623"/>
                  </a:lnTo>
                  <a:lnTo>
                    <a:pt x="443" y="1634"/>
                  </a:lnTo>
                  <a:lnTo>
                    <a:pt x="445" y="1645"/>
                  </a:lnTo>
                  <a:lnTo>
                    <a:pt x="446" y="1656"/>
                  </a:lnTo>
                  <a:lnTo>
                    <a:pt x="446" y="1662"/>
                  </a:lnTo>
                  <a:lnTo>
                    <a:pt x="447" y="1668"/>
                  </a:lnTo>
                  <a:lnTo>
                    <a:pt x="447" y="1680"/>
                  </a:lnTo>
                  <a:lnTo>
                    <a:pt x="447" y="1691"/>
                  </a:lnTo>
                  <a:lnTo>
                    <a:pt x="446" y="1703"/>
                  </a:lnTo>
                  <a:lnTo>
                    <a:pt x="445" y="1714"/>
                  </a:lnTo>
                  <a:lnTo>
                    <a:pt x="443" y="1725"/>
                  </a:lnTo>
                  <a:lnTo>
                    <a:pt x="440" y="1736"/>
                  </a:lnTo>
                  <a:lnTo>
                    <a:pt x="437" y="1746"/>
                  </a:lnTo>
                  <a:lnTo>
                    <a:pt x="434" y="1756"/>
                  </a:lnTo>
                  <a:lnTo>
                    <a:pt x="430" y="1766"/>
                  </a:lnTo>
                  <a:lnTo>
                    <a:pt x="426" y="1776"/>
                  </a:lnTo>
                  <a:lnTo>
                    <a:pt x="421" y="1785"/>
                  </a:lnTo>
                  <a:lnTo>
                    <a:pt x="416" y="1794"/>
                  </a:lnTo>
                  <a:lnTo>
                    <a:pt x="410" y="1803"/>
                  </a:lnTo>
                  <a:lnTo>
                    <a:pt x="404" y="1811"/>
                  </a:lnTo>
                  <a:lnTo>
                    <a:pt x="398" y="1820"/>
                  </a:lnTo>
                  <a:lnTo>
                    <a:pt x="391" y="1827"/>
                  </a:lnTo>
                  <a:lnTo>
                    <a:pt x="383" y="1835"/>
                  </a:lnTo>
                  <a:lnTo>
                    <a:pt x="376" y="1842"/>
                  </a:lnTo>
                  <a:lnTo>
                    <a:pt x="368" y="1848"/>
                  </a:lnTo>
                  <a:lnTo>
                    <a:pt x="359" y="1855"/>
                  </a:lnTo>
                  <a:lnTo>
                    <a:pt x="351" y="1860"/>
                  </a:lnTo>
                  <a:lnTo>
                    <a:pt x="342" y="1866"/>
                  </a:lnTo>
                  <a:lnTo>
                    <a:pt x="332" y="1871"/>
                  </a:lnTo>
                  <a:lnTo>
                    <a:pt x="323" y="1876"/>
                  </a:lnTo>
                  <a:lnTo>
                    <a:pt x="313" y="1880"/>
                  </a:lnTo>
                  <a:lnTo>
                    <a:pt x="302" y="1883"/>
                  </a:lnTo>
                  <a:lnTo>
                    <a:pt x="292" y="1887"/>
                  </a:lnTo>
                  <a:lnTo>
                    <a:pt x="281" y="1889"/>
                  </a:lnTo>
                  <a:lnTo>
                    <a:pt x="270" y="1892"/>
                  </a:lnTo>
                  <a:lnTo>
                    <a:pt x="259" y="1894"/>
                  </a:lnTo>
                  <a:lnTo>
                    <a:pt x="247" y="1895"/>
                  </a:lnTo>
                  <a:lnTo>
                    <a:pt x="236" y="1896"/>
                  </a:lnTo>
                  <a:lnTo>
                    <a:pt x="224" y="1896"/>
                  </a:lnTo>
                  <a:lnTo>
                    <a:pt x="212" y="1896"/>
                  </a:lnTo>
                  <a:lnTo>
                    <a:pt x="200" y="1895"/>
                  </a:lnTo>
                  <a:lnTo>
                    <a:pt x="188" y="1894"/>
                  </a:lnTo>
                  <a:lnTo>
                    <a:pt x="177" y="1892"/>
                  </a:lnTo>
                  <a:lnTo>
                    <a:pt x="166" y="1889"/>
                  </a:lnTo>
                  <a:lnTo>
                    <a:pt x="155" y="1887"/>
                  </a:lnTo>
                  <a:lnTo>
                    <a:pt x="145" y="1883"/>
                  </a:lnTo>
                  <a:lnTo>
                    <a:pt x="135" y="1880"/>
                  </a:lnTo>
                  <a:lnTo>
                    <a:pt x="125" y="1876"/>
                  </a:lnTo>
                  <a:lnTo>
                    <a:pt x="115" y="1871"/>
                  </a:lnTo>
                  <a:lnTo>
                    <a:pt x="106" y="1866"/>
                  </a:lnTo>
                  <a:lnTo>
                    <a:pt x="97" y="1860"/>
                  </a:lnTo>
                  <a:lnTo>
                    <a:pt x="88" y="1855"/>
                  </a:lnTo>
                  <a:lnTo>
                    <a:pt x="84" y="1852"/>
                  </a:lnTo>
                  <a:lnTo>
                    <a:pt x="79" y="1848"/>
                  </a:lnTo>
                  <a:lnTo>
                    <a:pt x="75" y="1845"/>
                  </a:lnTo>
                  <a:lnTo>
                    <a:pt x="71" y="1842"/>
                  </a:lnTo>
                  <a:lnTo>
                    <a:pt x="64" y="1835"/>
                  </a:lnTo>
                  <a:lnTo>
                    <a:pt x="60" y="1831"/>
                  </a:lnTo>
                  <a:lnTo>
                    <a:pt x="56" y="1827"/>
                  </a:lnTo>
                  <a:lnTo>
                    <a:pt x="50" y="1820"/>
                  </a:lnTo>
                  <a:lnTo>
                    <a:pt x="43" y="1811"/>
                  </a:lnTo>
                  <a:lnTo>
                    <a:pt x="40" y="1807"/>
                  </a:lnTo>
                  <a:lnTo>
                    <a:pt x="37" y="1803"/>
                  </a:lnTo>
                  <a:lnTo>
                    <a:pt x="31" y="1794"/>
                  </a:lnTo>
                  <a:lnTo>
                    <a:pt x="26" y="1785"/>
                  </a:lnTo>
                  <a:lnTo>
                    <a:pt x="21" y="1776"/>
                  </a:lnTo>
                  <a:lnTo>
                    <a:pt x="17" y="1766"/>
                  </a:lnTo>
                  <a:lnTo>
                    <a:pt x="15" y="1761"/>
                  </a:lnTo>
                  <a:lnTo>
                    <a:pt x="13" y="1756"/>
                  </a:lnTo>
                  <a:lnTo>
                    <a:pt x="10" y="1746"/>
                  </a:lnTo>
                  <a:lnTo>
                    <a:pt x="7" y="1736"/>
                  </a:lnTo>
                  <a:lnTo>
                    <a:pt x="4" y="1725"/>
                  </a:lnTo>
                  <a:lnTo>
                    <a:pt x="3" y="1714"/>
                  </a:lnTo>
                  <a:lnTo>
                    <a:pt x="1" y="1703"/>
                  </a:lnTo>
                  <a:lnTo>
                    <a:pt x="1" y="1697"/>
                  </a:lnTo>
                  <a:lnTo>
                    <a:pt x="0" y="1691"/>
                  </a:lnTo>
                  <a:lnTo>
                    <a:pt x="0" y="1680"/>
                  </a:lnTo>
                  <a:lnTo>
                    <a:pt x="0" y="1668"/>
                  </a:lnTo>
                  <a:lnTo>
                    <a:pt x="1" y="1656"/>
                  </a:lnTo>
                  <a:lnTo>
                    <a:pt x="3" y="1645"/>
                  </a:lnTo>
                  <a:lnTo>
                    <a:pt x="4" y="1634"/>
                  </a:lnTo>
                  <a:lnTo>
                    <a:pt x="7" y="1623"/>
                  </a:lnTo>
                  <a:lnTo>
                    <a:pt x="10" y="1613"/>
                  </a:lnTo>
                  <a:lnTo>
                    <a:pt x="13" y="1603"/>
                  </a:lnTo>
                  <a:lnTo>
                    <a:pt x="17" y="1593"/>
                  </a:lnTo>
                  <a:lnTo>
                    <a:pt x="21" y="1583"/>
                  </a:lnTo>
                  <a:lnTo>
                    <a:pt x="26" y="1574"/>
                  </a:lnTo>
                  <a:lnTo>
                    <a:pt x="31" y="1565"/>
                  </a:lnTo>
                  <a:lnTo>
                    <a:pt x="37" y="1556"/>
                  </a:lnTo>
                  <a:lnTo>
                    <a:pt x="43" y="1548"/>
                  </a:lnTo>
                  <a:lnTo>
                    <a:pt x="50" y="1539"/>
                  </a:lnTo>
                  <a:lnTo>
                    <a:pt x="56" y="1532"/>
                  </a:lnTo>
                  <a:lnTo>
                    <a:pt x="64" y="1524"/>
                  </a:lnTo>
                  <a:lnTo>
                    <a:pt x="71" y="1517"/>
                  </a:lnTo>
                  <a:lnTo>
                    <a:pt x="79" y="1511"/>
                  </a:lnTo>
                  <a:lnTo>
                    <a:pt x="88" y="1504"/>
                  </a:lnTo>
                  <a:lnTo>
                    <a:pt x="97" y="1499"/>
                  </a:lnTo>
                  <a:lnTo>
                    <a:pt x="106" y="1493"/>
                  </a:lnTo>
                  <a:lnTo>
                    <a:pt x="115" y="1488"/>
                  </a:lnTo>
                  <a:lnTo>
                    <a:pt x="125" y="1483"/>
                  </a:lnTo>
                  <a:lnTo>
                    <a:pt x="135" y="1479"/>
                  </a:lnTo>
                  <a:lnTo>
                    <a:pt x="145" y="1476"/>
                  </a:lnTo>
                  <a:lnTo>
                    <a:pt x="155" y="1472"/>
                  </a:lnTo>
                  <a:lnTo>
                    <a:pt x="166" y="1470"/>
                  </a:lnTo>
                  <a:lnTo>
                    <a:pt x="177" y="1467"/>
                  </a:lnTo>
                  <a:lnTo>
                    <a:pt x="188" y="1465"/>
                  </a:lnTo>
                  <a:lnTo>
                    <a:pt x="200" y="1464"/>
                  </a:lnTo>
                  <a:lnTo>
                    <a:pt x="212" y="1463"/>
                  </a:lnTo>
                  <a:lnTo>
                    <a:pt x="224" y="1463"/>
                  </a:lnTo>
                  <a:close/>
                  <a:moveTo>
                    <a:pt x="1090" y="1810"/>
                  </a:moveTo>
                  <a:lnTo>
                    <a:pt x="1096" y="1809"/>
                  </a:lnTo>
                  <a:lnTo>
                    <a:pt x="1102" y="1809"/>
                  </a:lnTo>
                  <a:lnTo>
                    <a:pt x="1112" y="1807"/>
                  </a:lnTo>
                  <a:lnTo>
                    <a:pt x="1116" y="1806"/>
                  </a:lnTo>
                  <a:lnTo>
                    <a:pt x="1120" y="1804"/>
                  </a:lnTo>
                  <a:lnTo>
                    <a:pt x="1128" y="1800"/>
                  </a:lnTo>
                  <a:lnTo>
                    <a:pt x="1131" y="1798"/>
                  </a:lnTo>
                  <a:lnTo>
                    <a:pt x="1133" y="1795"/>
                  </a:lnTo>
                  <a:lnTo>
                    <a:pt x="1136" y="1792"/>
                  </a:lnTo>
                  <a:lnTo>
                    <a:pt x="1138" y="1789"/>
                  </a:lnTo>
                  <a:lnTo>
                    <a:pt x="1139" y="1786"/>
                  </a:lnTo>
                  <a:lnTo>
                    <a:pt x="1140" y="1782"/>
                  </a:lnTo>
                  <a:lnTo>
                    <a:pt x="1141" y="1779"/>
                  </a:lnTo>
                  <a:lnTo>
                    <a:pt x="1141" y="1775"/>
                  </a:lnTo>
                  <a:lnTo>
                    <a:pt x="1141" y="1771"/>
                  </a:lnTo>
                  <a:lnTo>
                    <a:pt x="1140" y="1767"/>
                  </a:lnTo>
                  <a:lnTo>
                    <a:pt x="1139" y="1763"/>
                  </a:lnTo>
                  <a:lnTo>
                    <a:pt x="1138" y="1760"/>
                  </a:lnTo>
                  <a:lnTo>
                    <a:pt x="1134" y="1754"/>
                  </a:lnTo>
                  <a:lnTo>
                    <a:pt x="1130" y="1749"/>
                  </a:lnTo>
                  <a:lnTo>
                    <a:pt x="1127" y="1747"/>
                  </a:lnTo>
                  <a:lnTo>
                    <a:pt x="1124" y="1744"/>
                  </a:lnTo>
                  <a:lnTo>
                    <a:pt x="1120" y="1742"/>
                  </a:lnTo>
                  <a:lnTo>
                    <a:pt x="1116" y="1740"/>
                  </a:lnTo>
                  <a:lnTo>
                    <a:pt x="1099" y="1732"/>
                  </a:lnTo>
                  <a:lnTo>
                    <a:pt x="1038" y="1703"/>
                  </a:lnTo>
                  <a:lnTo>
                    <a:pt x="1031" y="1699"/>
                  </a:lnTo>
                  <a:lnTo>
                    <a:pt x="1023" y="1695"/>
                  </a:lnTo>
                  <a:lnTo>
                    <a:pt x="1016" y="1691"/>
                  </a:lnTo>
                  <a:lnTo>
                    <a:pt x="1010" y="1686"/>
                  </a:lnTo>
                  <a:lnTo>
                    <a:pt x="1003" y="1680"/>
                  </a:lnTo>
                  <a:lnTo>
                    <a:pt x="997" y="1674"/>
                  </a:lnTo>
                  <a:lnTo>
                    <a:pt x="992" y="1668"/>
                  </a:lnTo>
                  <a:lnTo>
                    <a:pt x="986" y="1661"/>
                  </a:lnTo>
                  <a:lnTo>
                    <a:pt x="982" y="1654"/>
                  </a:lnTo>
                  <a:lnTo>
                    <a:pt x="978" y="1646"/>
                  </a:lnTo>
                  <a:lnTo>
                    <a:pt x="974" y="1638"/>
                  </a:lnTo>
                  <a:lnTo>
                    <a:pt x="971" y="1629"/>
                  </a:lnTo>
                  <a:lnTo>
                    <a:pt x="969" y="1620"/>
                  </a:lnTo>
                  <a:lnTo>
                    <a:pt x="967" y="1610"/>
                  </a:lnTo>
                  <a:lnTo>
                    <a:pt x="966" y="1600"/>
                  </a:lnTo>
                  <a:lnTo>
                    <a:pt x="965" y="1590"/>
                  </a:lnTo>
                  <a:lnTo>
                    <a:pt x="966" y="1583"/>
                  </a:lnTo>
                  <a:lnTo>
                    <a:pt x="966" y="1576"/>
                  </a:lnTo>
                  <a:lnTo>
                    <a:pt x="967" y="1570"/>
                  </a:lnTo>
                  <a:lnTo>
                    <a:pt x="968" y="1563"/>
                  </a:lnTo>
                  <a:lnTo>
                    <a:pt x="971" y="1551"/>
                  </a:lnTo>
                  <a:lnTo>
                    <a:pt x="973" y="1545"/>
                  </a:lnTo>
                  <a:lnTo>
                    <a:pt x="976" y="1539"/>
                  </a:lnTo>
                  <a:lnTo>
                    <a:pt x="979" y="1534"/>
                  </a:lnTo>
                  <a:lnTo>
                    <a:pt x="982" y="1528"/>
                  </a:lnTo>
                  <a:lnTo>
                    <a:pt x="988" y="1518"/>
                  </a:lnTo>
                  <a:lnTo>
                    <a:pt x="996" y="1508"/>
                  </a:lnTo>
                  <a:lnTo>
                    <a:pt x="1005" y="1499"/>
                  </a:lnTo>
                  <a:lnTo>
                    <a:pt x="1015" y="1491"/>
                  </a:lnTo>
                  <a:lnTo>
                    <a:pt x="1026" y="1484"/>
                  </a:lnTo>
                  <a:lnTo>
                    <a:pt x="1037" y="1478"/>
                  </a:lnTo>
                  <a:lnTo>
                    <a:pt x="1044" y="1475"/>
                  </a:lnTo>
                  <a:lnTo>
                    <a:pt x="1050" y="1473"/>
                  </a:lnTo>
                  <a:lnTo>
                    <a:pt x="1063" y="1469"/>
                  </a:lnTo>
                  <a:lnTo>
                    <a:pt x="1070" y="1467"/>
                  </a:lnTo>
                  <a:lnTo>
                    <a:pt x="1077" y="1466"/>
                  </a:lnTo>
                  <a:lnTo>
                    <a:pt x="1085" y="1464"/>
                  </a:lnTo>
                  <a:lnTo>
                    <a:pt x="1092" y="1464"/>
                  </a:lnTo>
                  <a:lnTo>
                    <a:pt x="1107" y="1463"/>
                  </a:lnTo>
                  <a:lnTo>
                    <a:pt x="1122" y="1464"/>
                  </a:lnTo>
                  <a:lnTo>
                    <a:pt x="1137" y="1465"/>
                  </a:lnTo>
                  <a:lnTo>
                    <a:pt x="1145" y="1466"/>
                  </a:lnTo>
                  <a:lnTo>
                    <a:pt x="1152" y="1467"/>
                  </a:lnTo>
                  <a:lnTo>
                    <a:pt x="1159" y="1468"/>
                  </a:lnTo>
                  <a:lnTo>
                    <a:pt x="1166" y="1470"/>
                  </a:lnTo>
                  <a:lnTo>
                    <a:pt x="1180" y="1474"/>
                  </a:lnTo>
                  <a:lnTo>
                    <a:pt x="1193" y="1479"/>
                  </a:lnTo>
                  <a:lnTo>
                    <a:pt x="1206" y="1484"/>
                  </a:lnTo>
                  <a:lnTo>
                    <a:pt x="1217" y="1490"/>
                  </a:lnTo>
                  <a:lnTo>
                    <a:pt x="1219" y="1492"/>
                  </a:lnTo>
                  <a:lnTo>
                    <a:pt x="1221" y="1494"/>
                  </a:lnTo>
                  <a:lnTo>
                    <a:pt x="1222" y="1496"/>
                  </a:lnTo>
                  <a:lnTo>
                    <a:pt x="1223" y="1498"/>
                  </a:lnTo>
                  <a:lnTo>
                    <a:pt x="1223" y="1502"/>
                  </a:lnTo>
                  <a:lnTo>
                    <a:pt x="1221" y="1507"/>
                  </a:lnTo>
                  <a:lnTo>
                    <a:pt x="1197" y="1562"/>
                  </a:lnTo>
                  <a:lnTo>
                    <a:pt x="1194" y="1567"/>
                  </a:lnTo>
                  <a:lnTo>
                    <a:pt x="1192" y="1569"/>
                  </a:lnTo>
                  <a:lnTo>
                    <a:pt x="1191" y="1570"/>
                  </a:lnTo>
                  <a:lnTo>
                    <a:pt x="1186" y="1570"/>
                  </a:lnTo>
                  <a:lnTo>
                    <a:pt x="1184" y="1570"/>
                  </a:lnTo>
                  <a:lnTo>
                    <a:pt x="1181" y="1569"/>
                  </a:lnTo>
                  <a:lnTo>
                    <a:pt x="1172" y="1565"/>
                  </a:lnTo>
                  <a:lnTo>
                    <a:pt x="1164" y="1561"/>
                  </a:lnTo>
                  <a:lnTo>
                    <a:pt x="1156" y="1558"/>
                  </a:lnTo>
                  <a:lnTo>
                    <a:pt x="1147" y="1555"/>
                  </a:lnTo>
                  <a:lnTo>
                    <a:pt x="1139" y="1552"/>
                  </a:lnTo>
                  <a:lnTo>
                    <a:pt x="1130" y="1551"/>
                  </a:lnTo>
                  <a:lnTo>
                    <a:pt x="1121" y="1550"/>
                  </a:lnTo>
                  <a:lnTo>
                    <a:pt x="1111" y="1549"/>
                  </a:lnTo>
                  <a:lnTo>
                    <a:pt x="1101" y="1550"/>
                  </a:lnTo>
                  <a:lnTo>
                    <a:pt x="1092" y="1552"/>
                  </a:lnTo>
                  <a:lnTo>
                    <a:pt x="1088" y="1553"/>
                  </a:lnTo>
                  <a:lnTo>
                    <a:pt x="1085" y="1555"/>
                  </a:lnTo>
                  <a:lnTo>
                    <a:pt x="1078" y="1559"/>
                  </a:lnTo>
                  <a:lnTo>
                    <a:pt x="1075" y="1561"/>
                  </a:lnTo>
                  <a:lnTo>
                    <a:pt x="1073" y="1564"/>
                  </a:lnTo>
                  <a:lnTo>
                    <a:pt x="1071" y="1567"/>
                  </a:lnTo>
                  <a:lnTo>
                    <a:pt x="1069" y="1570"/>
                  </a:lnTo>
                  <a:lnTo>
                    <a:pt x="1068" y="1573"/>
                  </a:lnTo>
                  <a:lnTo>
                    <a:pt x="1067" y="1576"/>
                  </a:lnTo>
                  <a:lnTo>
                    <a:pt x="1067" y="1580"/>
                  </a:lnTo>
                  <a:lnTo>
                    <a:pt x="1067" y="1583"/>
                  </a:lnTo>
                  <a:lnTo>
                    <a:pt x="1067" y="1587"/>
                  </a:lnTo>
                  <a:lnTo>
                    <a:pt x="1067" y="1590"/>
                  </a:lnTo>
                  <a:lnTo>
                    <a:pt x="1069" y="1597"/>
                  </a:lnTo>
                  <a:lnTo>
                    <a:pt x="1073" y="1602"/>
                  </a:lnTo>
                  <a:lnTo>
                    <a:pt x="1075" y="1605"/>
                  </a:lnTo>
                  <a:lnTo>
                    <a:pt x="1077" y="1608"/>
                  </a:lnTo>
                  <a:lnTo>
                    <a:pt x="1080" y="1610"/>
                  </a:lnTo>
                  <a:lnTo>
                    <a:pt x="1083" y="1612"/>
                  </a:lnTo>
                  <a:lnTo>
                    <a:pt x="1090" y="1617"/>
                  </a:lnTo>
                  <a:lnTo>
                    <a:pt x="1098" y="1621"/>
                  </a:lnTo>
                  <a:lnTo>
                    <a:pt x="1108" y="1626"/>
                  </a:lnTo>
                  <a:lnTo>
                    <a:pt x="1170" y="1655"/>
                  </a:lnTo>
                  <a:lnTo>
                    <a:pt x="1178" y="1659"/>
                  </a:lnTo>
                  <a:lnTo>
                    <a:pt x="1185" y="1663"/>
                  </a:lnTo>
                  <a:lnTo>
                    <a:pt x="1193" y="1667"/>
                  </a:lnTo>
                  <a:lnTo>
                    <a:pt x="1199" y="1672"/>
                  </a:lnTo>
                  <a:lnTo>
                    <a:pt x="1206" y="1678"/>
                  </a:lnTo>
                  <a:lnTo>
                    <a:pt x="1212" y="1684"/>
                  </a:lnTo>
                  <a:lnTo>
                    <a:pt x="1217" y="1690"/>
                  </a:lnTo>
                  <a:lnTo>
                    <a:pt x="1222" y="1696"/>
                  </a:lnTo>
                  <a:lnTo>
                    <a:pt x="1225" y="1700"/>
                  </a:lnTo>
                  <a:lnTo>
                    <a:pt x="1227" y="1703"/>
                  </a:lnTo>
                  <a:lnTo>
                    <a:pt x="1231" y="1711"/>
                  </a:lnTo>
                  <a:lnTo>
                    <a:pt x="1234" y="1719"/>
                  </a:lnTo>
                  <a:lnTo>
                    <a:pt x="1237" y="1727"/>
                  </a:lnTo>
                  <a:lnTo>
                    <a:pt x="1239" y="1731"/>
                  </a:lnTo>
                  <a:lnTo>
                    <a:pt x="1240" y="1736"/>
                  </a:lnTo>
                  <a:lnTo>
                    <a:pt x="1241" y="1745"/>
                  </a:lnTo>
                  <a:lnTo>
                    <a:pt x="1242" y="1755"/>
                  </a:lnTo>
                  <a:lnTo>
                    <a:pt x="1243" y="1766"/>
                  </a:lnTo>
                  <a:lnTo>
                    <a:pt x="1243" y="1773"/>
                  </a:lnTo>
                  <a:lnTo>
                    <a:pt x="1242" y="1780"/>
                  </a:lnTo>
                  <a:lnTo>
                    <a:pt x="1240" y="1793"/>
                  </a:lnTo>
                  <a:lnTo>
                    <a:pt x="1238" y="1799"/>
                  </a:lnTo>
                  <a:lnTo>
                    <a:pt x="1236" y="1806"/>
                  </a:lnTo>
                  <a:lnTo>
                    <a:pt x="1232" y="1818"/>
                  </a:lnTo>
                  <a:lnTo>
                    <a:pt x="1229" y="1824"/>
                  </a:lnTo>
                  <a:lnTo>
                    <a:pt x="1226" y="1829"/>
                  </a:lnTo>
                  <a:lnTo>
                    <a:pt x="1222" y="1835"/>
                  </a:lnTo>
                  <a:lnTo>
                    <a:pt x="1218" y="1840"/>
                  </a:lnTo>
                  <a:lnTo>
                    <a:pt x="1214" y="1845"/>
                  </a:lnTo>
                  <a:lnTo>
                    <a:pt x="1210" y="1850"/>
                  </a:lnTo>
                  <a:lnTo>
                    <a:pt x="1206" y="1855"/>
                  </a:lnTo>
                  <a:lnTo>
                    <a:pt x="1201" y="1859"/>
                  </a:lnTo>
                  <a:lnTo>
                    <a:pt x="1196" y="1863"/>
                  </a:lnTo>
                  <a:lnTo>
                    <a:pt x="1190" y="1867"/>
                  </a:lnTo>
                  <a:lnTo>
                    <a:pt x="1179" y="1875"/>
                  </a:lnTo>
                  <a:lnTo>
                    <a:pt x="1173" y="1878"/>
                  </a:lnTo>
                  <a:lnTo>
                    <a:pt x="1166" y="1881"/>
                  </a:lnTo>
                  <a:lnTo>
                    <a:pt x="1160" y="1884"/>
                  </a:lnTo>
                  <a:lnTo>
                    <a:pt x="1153" y="1886"/>
                  </a:lnTo>
                  <a:lnTo>
                    <a:pt x="1139" y="1890"/>
                  </a:lnTo>
                  <a:lnTo>
                    <a:pt x="1132" y="1892"/>
                  </a:lnTo>
                  <a:lnTo>
                    <a:pt x="1124" y="1893"/>
                  </a:lnTo>
                  <a:lnTo>
                    <a:pt x="1117" y="1895"/>
                  </a:lnTo>
                  <a:lnTo>
                    <a:pt x="1109" y="1895"/>
                  </a:lnTo>
                  <a:lnTo>
                    <a:pt x="1093" y="1896"/>
                  </a:lnTo>
                  <a:lnTo>
                    <a:pt x="1075" y="1895"/>
                  </a:lnTo>
                  <a:lnTo>
                    <a:pt x="1066" y="1894"/>
                  </a:lnTo>
                  <a:lnTo>
                    <a:pt x="1057" y="1893"/>
                  </a:lnTo>
                  <a:lnTo>
                    <a:pt x="1048" y="1891"/>
                  </a:lnTo>
                  <a:lnTo>
                    <a:pt x="1040" y="1890"/>
                  </a:lnTo>
                  <a:lnTo>
                    <a:pt x="1031" y="1887"/>
                  </a:lnTo>
                  <a:lnTo>
                    <a:pt x="1023" y="1885"/>
                  </a:lnTo>
                  <a:lnTo>
                    <a:pt x="1007" y="1880"/>
                  </a:lnTo>
                  <a:lnTo>
                    <a:pt x="992" y="1873"/>
                  </a:lnTo>
                  <a:lnTo>
                    <a:pt x="977" y="1866"/>
                  </a:lnTo>
                  <a:lnTo>
                    <a:pt x="964" y="1859"/>
                  </a:lnTo>
                  <a:lnTo>
                    <a:pt x="961" y="1857"/>
                  </a:lnTo>
                  <a:lnTo>
                    <a:pt x="959" y="1854"/>
                  </a:lnTo>
                  <a:lnTo>
                    <a:pt x="958" y="1852"/>
                  </a:lnTo>
                  <a:lnTo>
                    <a:pt x="957" y="1850"/>
                  </a:lnTo>
                  <a:lnTo>
                    <a:pt x="958" y="1846"/>
                  </a:lnTo>
                  <a:lnTo>
                    <a:pt x="960" y="1842"/>
                  </a:lnTo>
                  <a:lnTo>
                    <a:pt x="984" y="1787"/>
                  </a:lnTo>
                  <a:lnTo>
                    <a:pt x="987" y="1782"/>
                  </a:lnTo>
                  <a:lnTo>
                    <a:pt x="989" y="1780"/>
                  </a:lnTo>
                  <a:lnTo>
                    <a:pt x="990" y="1779"/>
                  </a:lnTo>
                  <a:lnTo>
                    <a:pt x="993" y="1778"/>
                  </a:lnTo>
                  <a:lnTo>
                    <a:pt x="995" y="1778"/>
                  </a:lnTo>
                  <a:lnTo>
                    <a:pt x="997" y="1779"/>
                  </a:lnTo>
                  <a:lnTo>
                    <a:pt x="1000" y="1780"/>
                  </a:lnTo>
                  <a:lnTo>
                    <a:pt x="1012" y="1787"/>
                  </a:lnTo>
                  <a:lnTo>
                    <a:pt x="1023" y="1792"/>
                  </a:lnTo>
                  <a:lnTo>
                    <a:pt x="1034" y="1797"/>
                  </a:lnTo>
                  <a:lnTo>
                    <a:pt x="1045" y="1802"/>
                  </a:lnTo>
                  <a:lnTo>
                    <a:pt x="1056" y="1805"/>
                  </a:lnTo>
                  <a:lnTo>
                    <a:pt x="1067" y="1808"/>
                  </a:lnTo>
                  <a:lnTo>
                    <a:pt x="1079" y="1809"/>
                  </a:lnTo>
                  <a:lnTo>
                    <a:pt x="1090" y="1810"/>
                  </a:lnTo>
                  <a:close/>
                  <a:moveTo>
                    <a:pt x="512" y="1480"/>
                  </a:moveTo>
                  <a:lnTo>
                    <a:pt x="512" y="1478"/>
                  </a:lnTo>
                  <a:lnTo>
                    <a:pt x="513" y="1476"/>
                  </a:lnTo>
                  <a:lnTo>
                    <a:pt x="515" y="1473"/>
                  </a:lnTo>
                  <a:lnTo>
                    <a:pt x="516" y="1472"/>
                  </a:lnTo>
                  <a:lnTo>
                    <a:pt x="518" y="1471"/>
                  </a:lnTo>
                  <a:lnTo>
                    <a:pt x="522" y="1470"/>
                  </a:lnTo>
                  <a:lnTo>
                    <a:pt x="606" y="1470"/>
                  </a:lnTo>
                  <a:lnTo>
                    <a:pt x="609" y="1471"/>
                  </a:lnTo>
                  <a:lnTo>
                    <a:pt x="612" y="1473"/>
                  </a:lnTo>
                  <a:lnTo>
                    <a:pt x="613" y="1474"/>
                  </a:lnTo>
                  <a:lnTo>
                    <a:pt x="614" y="1476"/>
                  </a:lnTo>
                  <a:lnTo>
                    <a:pt x="614" y="1478"/>
                  </a:lnTo>
                  <a:lnTo>
                    <a:pt x="615" y="1480"/>
                  </a:lnTo>
                  <a:lnTo>
                    <a:pt x="615" y="1797"/>
                  </a:lnTo>
                  <a:lnTo>
                    <a:pt x="689" y="1797"/>
                  </a:lnTo>
                  <a:lnTo>
                    <a:pt x="693" y="1797"/>
                  </a:lnTo>
                  <a:lnTo>
                    <a:pt x="696" y="1799"/>
                  </a:lnTo>
                  <a:lnTo>
                    <a:pt x="697" y="1801"/>
                  </a:lnTo>
                  <a:lnTo>
                    <a:pt x="697" y="1803"/>
                  </a:lnTo>
                  <a:lnTo>
                    <a:pt x="698" y="1804"/>
                  </a:lnTo>
                  <a:lnTo>
                    <a:pt x="698" y="1807"/>
                  </a:lnTo>
                  <a:lnTo>
                    <a:pt x="698" y="1879"/>
                  </a:lnTo>
                  <a:lnTo>
                    <a:pt x="698" y="1881"/>
                  </a:lnTo>
                  <a:lnTo>
                    <a:pt x="697" y="1883"/>
                  </a:lnTo>
                  <a:lnTo>
                    <a:pt x="696" y="1886"/>
                  </a:lnTo>
                  <a:lnTo>
                    <a:pt x="694" y="1887"/>
                  </a:lnTo>
                  <a:lnTo>
                    <a:pt x="693" y="1888"/>
                  </a:lnTo>
                  <a:lnTo>
                    <a:pt x="691" y="1889"/>
                  </a:lnTo>
                  <a:lnTo>
                    <a:pt x="689" y="1889"/>
                  </a:lnTo>
                  <a:lnTo>
                    <a:pt x="522" y="1889"/>
                  </a:lnTo>
                  <a:lnTo>
                    <a:pt x="518" y="1888"/>
                  </a:lnTo>
                  <a:lnTo>
                    <a:pt x="515" y="1886"/>
                  </a:lnTo>
                  <a:lnTo>
                    <a:pt x="513" y="1883"/>
                  </a:lnTo>
                  <a:lnTo>
                    <a:pt x="512" y="1881"/>
                  </a:lnTo>
                  <a:lnTo>
                    <a:pt x="512" y="1879"/>
                  </a:lnTo>
                  <a:lnTo>
                    <a:pt x="512" y="1480"/>
                  </a:lnTo>
                  <a:close/>
                  <a:moveTo>
                    <a:pt x="777" y="1480"/>
                  </a:moveTo>
                  <a:lnTo>
                    <a:pt x="777" y="1478"/>
                  </a:lnTo>
                  <a:lnTo>
                    <a:pt x="778" y="1476"/>
                  </a:lnTo>
                  <a:lnTo>
                    <a:pt x="780" y="1473"/>
                  </a:lnTo>
                  <a:lnTo>
                    <a:pt x="781" y="1472"/>
                  </a:lnTo>
                  <a:lnTo>
                    <a:pt x="783" y="1471"/>
                  </a:lnTo>
                  <a:lnTo>
                    <a:pt x="787" y="1470"/>
                  </a:lnTo>
                  <a:lnTo>
                    <a:pt x="869" y="1470"/>
                  </a:lnTo>
                  <a:lnTo>
                    <a:pt x="873" y="1471"/>
                  </a:lnTo>
                  <a:lnTo>
                    <a:pt x="876" y="1473"/>
                  </a:lnTo>
                  <a:lnTo>
                    <a:pt x="878" y="1474"/>
                  </a:lnTo>
                  <a:lnTo>
                    <a:pt x="879" y="1476"/>
                  </a:lnTo>
                  <a:lnTo>
                    <a:pt x="879" y="1478"/>
                  </a:lnTo>
                  <a:lnTo>
                    <a:pt x="879" y="1480"/>
                  </a:lnTo>
                  <a:lnTo>
                    <a:pt x="879" y="1879"/>
                  </a:lnTo>
                  <a:lnTo>
                    <a:pt x="879" y="1881"/>
                  </a:lnTo>
                  <a:lnTo>
                    <a:pt x="879" y="1883"/>
                  </a:lnTo>
                  <a:lnTo>
                    <a:pt x="876" y="1886"/>
                  </a:lnTo>
                  <a:lnTo>
                    <a:pt x="875" y="1887"/>
                  </a:lnTo>
                  <a:lnTo>
                    <a:pt x="873" y="1888"/>
                  </a:lnTo>
                  <a:lnTo>
                    <a:pt x="869" y="1889"/>
                  </a:lnTo>
                  <a:lnTo>
                    <a:pt x="787" y="1889"/>
                  </a:lnTo>
                  <a:lnTo>
                    <a:pt x="783" y="1888"/>
                  </a:lnTo>
                  <a:lnTo>
                    <a:pt x="780" y="1886"/>
                  </a:lnTo>
                  <a:lnTo>
                    <a:pt x="779" y="1885"/>
                  </a:lnTo>
                  <a:lnTo>
                    <a:pt x="778" y="1883"/>
                  </a:lnTo>
                  <a:lnTo>
                    <a:pt x="777" y="1881"/>
                  </a:lnTo>
                  <a:lnTo>
                    <a:pt x="777" y="1879"/>
                  </a:lnTo>
                  <a:lnTo>
                    <a:pt x="777" y="14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856902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-log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F039A42D-44F2-44EA-9926-1BF541E8FE7B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RIA - RKL yrittäjäpäivä 1.11.202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7"/>
          <p:cNvSpPr>
            <a:spLocks noChangeAspect="1" noEditPoints="1"/>
          </p:cNvSpPr>
          <p:nvPr userDrawn="1"/>
        </p:nvSpPr>
        <p:spPr bwMode="black">
          <a:xfrm>
            <a:off x="1649971" y="2564904"/>
            <a:ext cx="1548284" cy="1728192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  <p:sp>
        <p:nvSpPr>
          <p:cNvPr id="10" name="Freeform 6"/>
          <p:cNvSpPr>
            <a:spLocks noEditPoints="1"/>
          </p:cNvSpPr>
          <p:nvPr userDrawn="1"/>
        </p:nvSpPr>
        <p:spPr bwMode="auto">
          <a:xfrm>
            <a:off x="3575720" y="2852936"/>
            <a:ext cx="1346458" cy="1146805"/>
          </a:xfrm>
          <a:custGeom>
            <a:avLst/>
            <a:gdLst>
              <a:gd name="T0" fmla="*/ 2264 w 3082"/>
              <a:gd name="T1" fmla="*/ 744 h 2625"/>
              <a:gd name="T2" fmla="*/ 2266 w 3082"/>
              <a:gd name="T3" fmla="*/ 977 h 2625"/>
              <a:gd name="T4" fmla="*/ 2059 w 3082"/>
              <a:gd name="T5" fmla="*/ 1141 h 2625"/>
              <a:gd name="T6" fmla="*/ 2128 w 3082"/>
              <a:gd name="T7" fmla="*/ 961 h 2625"/>
              <a:gd name="T8" fmla="*/ 2534 w 3082"/>
              <a:gd name="T9" fmla="*/ 737 h 2625"/>
              <a:gd name="T10" fmla="*/ 2516 w 3082"/>
              <a:gd name="T11" fmla="*/ 927 h 2625"/>
              <a:gd name="T12" fmla="*/ 2383 w 3082"/>
              <a:gd name="T13" fmla="*/ 1154 h 2625"/>
              <a:gd name="T14" fmla="*/ 2470 w 3082"/>
              <a:gd name="T15" fmla="*/ 1025 h 2625"/>
              <a:gd name="T16" fmla="*/ 733 w 3082"/>
              <a:gd name="T17" fmla="*/ 1006 h 2625"/>
              <a:gd name="T18" fmla="*/ 885 w 3082"/>
              <a:gd name="T19" fmla="*/ 1154 h 2625"/>
              <a:gd name="T20" fmla="*/ 60 w 3082"/>
              <a:gd name="T21" fmla="*/ 1150 h 2625"/>
              <a:gd name="T22" fmla="*/ 1819 w 3082"/>
              <a:gd name="T23" fmla="*/ 1010 h 2625"/>
              <a:gd name="T24" fmla="*/ 1910 w 3082"/>
              <a:gd name="T25" fmla="*/ 1155 h 2625"/>
              <a:gd name="T26" fmla="*/ 1110 w 3082"/>
              <a:gd name="T27" fmla="*/ 1070 h 2625"/>
              <a:gd name="T28" fmla="*/ 1273 w 3082"/>
              <a:gd name="T29" fmla="*/ 1060 h 2625"/>
              <a:gd name="T30" fmla="*/ 962 w 3082"/>
              <a:gd name="T31" fmla="*/ 1091 h 2625"/>
              <a:gd name="T32" fmla="*/ 1547 w 3082"/>
              <a:gd name="T33" fmla="*/ 832 h 2625"/>
              <a:gd name="T34" fmla="*/ 1673 w 3082"/>
              <a:gd name="T35" fmla="*/ 911 h 2625"/>
              <a:gd name="T36" fmla="*/ 1380 w 3082"/>
              <a:gd name="T37" fmla="*/ 739 h 2625"/>
              <a:gd name="T38" fmla="*/ 3022 w 3082"/>
              <a:gd name="T39" fmla="*/ 1141 h 2625"/>
              <a:gd name="T40" fmla="*/ 706 w 3082"/>
              <a:gd name="T41" fmla="*/ 2392 h 2625"/>
              <a:gd name="T42" fmla="*/ 702 w 3082"/>
              <a:gd name="T43" fmla="*/ 2624 h 2625"/>
              <a:gd name="T44" fmla="*/ 1320 w 3082"/>
              <a:gd name="T45" fmla="*/ 2090 h 2625"/>
              <a:gd name="T46" fmla="*/ 1026 w 3082"/>
              <a:gd name="T47" fmla="*/ 2625 h 2625"/>
              <a:gd name="T48" fmla="*/ 1151 w 3082"/>
              <a:gd name="T49" fmla="*/ 2177 h 2625"/>
              <a:gd name="T50" fmla="*/ 1200 w 3082"/>
              <a:gd name="T51" fmla="*/ 2104 h 2625"/>
              <a:gd name="T52" fmla="*/ 1429 w 3082"/>
              <a:gd name="T53" fmla="*/ 2214 h 2625"/>
              <a:gd name="T54" fmla="*/ 1980 w 3082"/>
              <a:gd name="T55" fmla="*/ 2526 h 2625"/>
              <a:gd name="T56" fmla="*/ 1928 w 3082"/>
              <a:gd name="T57" fmla="*/ 2207 h 2625"/>
              <a:gd name="T58" fmla="*/ 2141 w 3082"/>
              <a:gd name="T59" fmla="*/ 2491 h 2625"/>
              <a:gd name="T60" fmla="*/ 1928 w 3082"/>
              <a:gd name="T61" fmla="*/ 2207 h 2625"/>
              <a:gd name="T62" fmla="*/ 2436 w 3082"/>
              <a:gd name="T63" fmla="*/ 2096 h 2625"/>
              <a:gd name="T64" fmla="*/ 2188 w 3082"/>
              <a:gd name="T65" fmla="*/ 2624 h 2625"/>
              <a:gd name="T66" fmla="*/ 2236 w 3082"/>
              <a:gd name="T67" fmla="*/ 2169 h 2625"/>
              <a:gd name="T68" fmla="*/ 2314 w 3082"/>
              <a:gd name="T69" fmla="*/ 2123 h 2625"/>
              <a:gd name="T70" fmla="*/ 1320 w 3082"/>
              <a:gd name="T71" fmla="*/ 177 h 2625"/>
              <a:gd name="T72" fmla="*/ 1094 w 3082"/>
              <a:gd name="T73" fmla="*/ 230 h 2625"/>
              <a:gd name="T74" fmla="*/ 1361 w 3082"/>
              <a:gd name="T75" fmla="*/ 54 h 2625"/>
              <a:gd name="T76" fmla="*/ 1345 w 3082"/>
              <a:gd name="T77" fmla="*/ 391 h 2625"/>
              <a:gd name="T78" fmla="*/ 1007 w 3082"/>
              <a:gd name="T79" fmla="*/ 313 h 2625"/>
              <a:gd name="T80" fmla="*/ 1174 w 3082"/>
              <a:gd name="T81" fmla="*/ 2 h 2625"/>
              <a:gd name="T82" fmla="*/ 1786 w 3082"/>
              <a:gd name="T83" fmla="*/ 89 h 2625"/>
              <a:gd name="T84" fmla="*/ 1490 w 3082"/>
              <a:gd name="T85" fmla="*/ 99 h 2625"/>
              <a:gd name="T86" fmla="*/ 2149 w 3082"/>
              <a:gd name="T87" fmla="*/ 9 h 2625"/>
              <a:gd name="T88" fmla="*/ 908 w 3082"/>
              <a:gd name="T89" fmla="*/ 365 h 2625"/>
              <a:gd name="T90" fmla="*/ 816 w 3082"/>
              <a:gd name="T91" fmla="*/ 336 h 2625"/>
              <a:gd name="T92" fmla="*/ 2672 w 3082"/>
              <a:gd name="T93" fmla="*/ 1878 h 2625"/>
              <a:gd name="T94" fmla="*/ 1737 w 3082"/>
              <a:gd name="T95" fmla="*/ 1879 h 2625"/>
              <a:gd name="T96" fmla="*/ 2104 w 3082"/>
              <a:gd name="T97" fmla="*/ 1888 h 2625"/>
              <a:gd name="T98" fmla="*/ 2174 w 3082"/>
              <a:gd name="T99" fmla="*/ 1888 h 2625"/>
              <a:gd name="T100" fmla="*/ 2719 w 3082"/>
              <a:gd name="T101" fmla="*/ 1481 h 2625"/>
              <a:gd name="T102" fmla="*/ 333 w 3082"/>
              <a:gd name="T103" fmla="*/ 1634 h 2625"/>
              <a:gd name="T104" fmla="*/ 110 w 3082"/>
              <a:gd name="T105" fmla="*/ 1707 h 2625"/>
              <a:gd name="T106" fmla="*/ 383 w 3082"/>
              <a:gd name="T107" fmla="*/ 1524 h 2625"/>
              <a:gd name="T108" fmla="*/ 351 w 3082"/>
              <a:gd name="T109" fmla="*/ 1860 h 2625"/>
              <a:gd name="T110" fmla="*/ 17 w 3082"/>
              <a:gd name="T111" fmla="*/ 1766 h 2625"/>
              <a:gd name="T112" fmla="*/ 200 w 3082"/>
              <a:gd name="T113" fmla="*/ 1464 h 2625"/>
              <a:gd name="T114" fmla="*/ 974 w 3082"/>
              <a:gd name="T115" fmla="*/ 1638 h 2625"/>
              <a:gd name="T116" fmla="*/ 1221 w 3082"/>
              <a:gd name="T117" fmla="*/ 1494 h 2625"/>
              <a:gd name="T118" fmla="*/ 1083 w 3082"/>
              <a:gd name="T119" fmla="*/ 1612 h 2625"/>
              <a:gd name="T120" fmla="*/ 1173 w 3082"/>
              <a:gd name="T121" fmla="*/ 1878 h 2625"/>
              <a:gd name="T122" fmla="*/ 1067 w 3082"/>
              <a:gd name="T123" fmla="*/ 1808 h 2625"/>
              <a:gd name="T124" fmla="*/ 777 w 3082"/>
              <a:gd name="T125" fmla="*/ 1480 h 26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082" h="2625">
                <a:moveTo>
                  <a:pt x="1319" y="1480"/>
                </a:moveTo>
                <a:lnTo>
                  <a:pt x="1319" y="1478"/>
                </a:lnTo>
                <a:lnTo>
                  <a:pt x="1320" y="1476"/>
                </a:lnTo>
                <a:lnTo>
                  <a:pt x="1322" y="1473"/>
                </a:lnTo>
                <a:lnTo>
                  <a:pt x="1323" y="1472"/>
                </a:lnTo>
                <a:lnTo>
                  <a:pt x="1325" y="1471"/>
                </a:lnTo>
                <a:lnTo>
                  <a:pt x="1329" y="1470"/>
                </a:lnTo>
                <a:lnTo>
                  <a:pt x="1411" y="1470"/>
                </a:lnTo>
                <a:lnTo>
                  <a:pt x="1415" y="1471"/>
                </a:lnTo>
                <a:lnTo>
                  <a:pt x="1419" y="1473"/>
                </a:lnTo>
                <a:lnTo>
                  <a:pt x="1420" y="1474"/>
                </a:lnTo>
                <a:lnTo>
                  <a:pt x="1421" y="1476"/>
                </a:lnTo>
                <a:lnTo>
                  <a:pt x="1421" y="1478"/>
                </a:lnTo>
                <a:lnTo>
                  <a:pt x="1421" y="1480"/>
                </a:lnTo>
                <a:lnTo>
                  <a:pt x="1421" y="1879"/>
                </a:lnTo>
                <a:lnTo>
                  <a:pt x="1421" y="1881"/>
                </a:lnTo>
                <a:lnTo>
                  <a:pt x="1421" y="1883"/>
                </a:lnTo>
                <a:lnTo>
                  <a:pt x="1419" y="1886"/>
                </a:lnTo>
                <a:lnTo>
                  <a:pt x="1417" y="1887"/>
                </a:lnTo>
                <a:lnTo>
                  <a:pt x="1415" y="1888"/>
                </a:lnTo>
                <a:lnTo>
                  <a:pt x="1411" y="1889"/>
                </a:lnTo>
                <a:lnTo>
                  <a:pt x="1329" y="1889"/>
                </a:lnTo>
                <a:lnTo>
                  <a:pt x="1325" y="1888"/>
                </a:lnTo>
                <a:lnTo>
                  <a:pt x="1322" y="1886"/>
                </a:lnTo>
                <a:lnTo>
                  <a:pt x="1321" y="1885"/>
                </a:lnTo>
                <a:lnTo>
                  <a:pt x="1320" y="1883"/>
                </a:lnTo>
                <a:lnTo>
                  <a:pt x="1319" y="1881"/>
                </a:lnTo>
                <a:lnTo>
                  <a:pt x="1319" y="1879"/>
                </a:lnTo>
                <a:lnTo>
                  <a:pt x="1319" y="1480"/>
                </a:lnTo>
                <a:close/>
                <a:moveTo>
                  <a:pt x="2184" y="729"/>
                </a:moveTo>
                <a:lnTo>
                  <a:pt x="2195" y="729"/>
                </a:lnTo>
                <a:lnTo>
                  <a:pt x="2206" y="730"/>
                </a:lnTo>
                <a:lnTo>
                  <a:pt x="2217" y="731"/>
                </a:lnTo>
                <a:lnTo>
                  <a:pt x="2227" y="733"/>
                </a:lnTo>
                <a:lnTo>
                  <a:pt x="2237" y="735"/>
                </a:lnTo>
                <a:lnTo>
                  <a:pt x="2246" y="737"/>
                </a:lnTo>
                <a:lnTo>
                  <a:pt x="2253" y="739"/>
                </a:lnTo>
                <a:lnTo>
                  <a:pt x="2259" y="741"/>
                </a:lnTo>
                <a:lnTo>
                  <a:pt x="2262" y="742"/>
                </a:lnTo>
                <a:lnTo>
                  <a:pt x="2264" y="744"/>
                </a:lnTo>
                <a:lnTo>
                  <a:pt x="2265" y="745"/>
                </a:lnTo>
                <a:lnTo>
                  <a:pt x="2266" y="747"/>
                </a:lnTo>
                <a:lnTo>
                  <a:pt x="2267" y="749"/>
                </a:lnTo>
                <a:lnTo>
                  <a:pt x="2267" y="752"/>
                </a:lnTo>
                <a:lnTo>
                  <a:pt x="2267" y="757"/>
                </a:lnTo>
                <a:lnTo>
                  <a:pt x="2248" y="818"/>
                </a:lnTo>
                <a:lnTo>
                  <a:pt x="2247" y="821"/>
                </a:lnTo>
                <a:lnTo>
                  <a:pt x="2246" y="823"/>
                </a:lnTo>
                <a:lnTo>
                  <a:pt x="2245" y="825"/>
                </a:lnTo>
                <a:lnTo>
                  <a:pt x="2243" y="826"/>
                </a:lnTo>
                <a:lnTo>
                  <a:pt x="2241" y="827"/>
                </a:lnTo>
                <a:lnTo>
                  <a:pt x="2239" y="827"/>
                </a:lnTo>
                <a:lnTo>
                  <a:pt x="2233" y="827"/>
                </a:lnTo>
                <a:lnTo>
                  <a:pt x="2223" y="823"/>
                </a:lnTo>
                <a:lnTo>
                  <a:pt x="2213" y="821"/>
                </a:lnTo>
                <a:lnTo>
                  <a:pt x="2204" y="819"/>
                </a:lnTo>
                <a:lnTo>
                  <a:pt x="2194" y="818"/>
                </a:lnTo>
                <a:lnTo>
                  <a:pt x="2188" y="819"/>
                </a:lnTo>
                <a:lnTo>
                  <a:pt x="2185" y="819"/>
                </a:lnTo>
                <a:lnTo>
                  <a:pt x="2182" y="820"/>
                </a:lnTo>
                <a:lnTo>
                  <a:pt x="2180" y="821"/>
                </a:lnTo>
                <a:lnTo>
                  <a:pt x="2177" y="823"/>
                </a:lnTo>
                <a:lnTo>
                  <a:pt x="2173" y="826"/>
                </a:lnTo>
                <a:lnTo>
                  <a:pt x="2170" y="829"/>
                </a:lnTo>
                <a:lnTo>
                  <a:pt x="2169" y="831"/>
                </a:lnTo>
                <a:lnTo>
                  <a:pt x="2168" y="834"/>
                </a:lnTo>
                <a:lnTo>
                  <a:pt x="2166" y="839"/>
                </a:lnTo>
                <a:lnTo>
                  <a:pt x="2166" y="844"/>
                </a:lnTo>
                <a:lnTo>
                  <a:pt x="2167" y="850"/>
                </a:lnTo>
                <a:lnTo>
                  <a:pt x="2168" y="856"/>
                </a:lnTo>
                <a:lnTo>
                  <a:pt x="2171" y="862"/>
                </a:lnTo>
                <a:lnTo>
                  <a:pt x="2175" y="867"/>
                </a:lnTo>
                <a:lnTo>
                  <a:pt x="2179" y="872"/>
                </a:lnTo>
                <a:lnTo>
                  <a:pt x="2184" y="878"/>
                </a:lnTo>
                <a:lnTo>
                  <a:pt x="2195" y="890"/>
                </a:lnTo>
                <a:lnTo>
                  <a:pt x="2228" y="927"/>
                </a:lnTo>
                <a:lnTo>
                  <a:pt x="2238" y="938"/>
                </a:lnTo>
                <a:lnTo>
                  <a:pt x="2248" y="950"/>
                </a:lnTo>
                <a:lnTo>
                  <a:pt x="2257" y="963"/>
                </a:lnTo>
                <a:lnTo>
                  <a:pt x="2266" y="977"/>
                </a:lnTo>
                <a:lnTo>
                  <a:pt x="2270" y="985"/>
                </a:lnTo>
                <a:lnTo>
                  <a:pt x="2273" y="992"/>
                </a:lnTo>
                <a:lnTo>
                  <a:pt x="2276" y="1000"/>
                </a:lnTo>
                <a:lnTo>
                  <a:pt x="2279" y="1007"/>
                </a:lnTo>
                <a:lnTo>
                  <a:pt x="2281" y="1015"/>
                </a:lnTo>
                <a:lnTo>
                  <a:pt x="2282" y="1023"/>
                </a:lnTo>
                <a:lnTo>
                  <a:pt x="2283" y="1031"/>
                </a:lnTo>
                <a:lnTo>
                  <a:pt x="2284" y="1039"/>
                </a:lnTo>
                <a:lnTo>
                  <a:pt x="2284" y="1047"/>
                </a:lnTo>
                <a:lnTo>
                  <a:pt x="2283" y="1054"/>
                </a:lnTo>
                <a:lnTo>
                  <a:pt x="2282" y="1061"/>
                </a:lnTo>
                <a:lnTo>
                  <a:pt x="2281" y="1068"/>
                </a:lnTo>
                <a:lnTo>
                  <a:pt x="2280" y="1075"/>
                </a:lnTo>
                <a:lnTo>
                  <a:pt x="2278" y="1081"/>
                </a:lnTo>
                <a:lnTo>
                  <a:pt x="2274" y="1093"/>
                </a:lnTo>
                <a:lnTo>
                  <a:pt x="2268" y="1104"/>
                </a:lnTo>
                <a:lnTo>
                  <a:pt x="2265" y="1109"/>
                </a:lnTo>
                <a:lnTo>
                  <a:pt x="2262" y="1114"/>
                </a:lnTo>
                <a:lnTo>
                  <a:pt x="2258" y="1119"/>
                </a:lnTo>
                <a:lnTo>
                  <a:pt x="2255" y="1123"/>
                </a:lnTo>
                <a:lnTo>
                  <a:pt x="2246" y="1131"/>
                </a:lnTo>
                <a:lnTo>
                  <a:pt x="2237" y="1139"/>
                </a:lnTo>
                <a:lnTo>
                  <a:pt x="2227" y="1145"/>
                </a:lnTo>
                <a:lnTo>
                  <a:pt x="2217" y="1150"/>
                </a:lnTo>
                <a:lnTo>
                  <a:pt x="2205" y="1154"/>
                </a:lnTo>
                <a:lnTo>
                  <a:pt x="2193" y="1158"/>
                </a:lnTo>
                <a:lnTo>
                  <a:pt x="2187" y="1159"/>
                </a:lnTo>
                <a:lnTo>
                  <a:pt x="2181" y="1160"/>
                </a:lnTo>
                <a:lnTo>
                  <a:pt x="2168" y="1161"/>
                </a:lnTo>
                <a:lnTo>
                  <a:pt x="2155" y="1162"/>
                </a:lnTo>
                <a:lnTo>
                  <a:pt x="2143" y="1162"/>
                </a:lnTo>
                <a:lnTo>
                  <a:pt x="2131" y="1161"/>
                </a:lnTo>
                <a:lnTo>
                  <a:pt x="2118" y="1159"/>
                </a:lnTo>
                <a:lnTo>
                  <a:pt x="2106" y="1157"/>
                </a:lnTo>
                <a:lnTo>
                  <a:pt x="2094" y="1154"/>
                </a:lnTo>
                <a:lnTo>
                  <a:pt x="2083" y="1151"/>
                </a:lnTo>
                <a:lnTo>
                  <a:pt x="2073" y="1148"/>
                </a:lnTo>
                <a:lnTo>
                  <a:pt x="2064" y="1144"/>
                </a:lnTo>
                <a:lnTo>
                  <a:pt x="2062" y="1143"/>
                </a:lnTo>
                <a:lnTo>
                  <a:pt x="2059" y="1141"/>
                </a:lnTo>
                <a:lnTo>
                  <a:pt x="2058" y="1140"/>
                </a:lnTo>
                <a:lnTo>
                  <a:pt x="2057" y="1138"/>
                </a:lnTo>
                <a:lnTo>
                  <a:pt x="2057" y="1136"/>
                </a:lnTo>
                <a:lnTo>
                  <a:pt x="2056" y="1134"/>
                </a:lnTo>
                <a:lnTo>
                  <a:pt x="2057" y="1131"/>
                </a:lnTo>
                <a:lnTo>
                  <a:pt x="2077" y="1065"/>
                </a:lnTo>
                <a:lnTo>
                  <a:pt x="2078" y="1062"/>
                </a:lnTo>
                <a:lnTo>
                  <a:pt x="2079" y="1060"/>
                </a:lnTo>
                <a:lnTo>
                  <a:pt x="2080" y="1058"/>
                </a:lnTo>
                <a:lnTo>
                  <a:pt x="2082" y="1057"/>
                </a:lnTo>
                <a:lnTo>
                  <a:pt x="2084" y="1057"/>
                </a:lnTo>
                <a:lnTo>
                  <a:pt x="2086" y="1057"/>
                </a:lnTo>
                <a:lnTo>
                  <a:pt x="2088" y="1057"/>
                </a:lnTo>
                <a:lnTo>
                  <a:pt x="2091" y="1058"/>
                </a:lnTo>
                <a:lnTo>
                  <a:pt x="2098" y="1062"/>
                </a:lnTo>
                <a:lnTo>
                  <a:pt x="2106" y="1064"/>
                </a:lnTo>
                <a:lnTo>
                  <a:pt x="2113" y="1067"/>
                </a:lnTo>
                <a:lnTo>
                  <a:pt x="2120" y="1069"/>
                </a:lnTo>
                <a:lnTo>
                  <a:pt x="2128" y="1070"/>
                </a:lnTo>
                <a:lnTo>
                  <a:pt x="2135" y="1071"/>
                </a:lnTo>
                <a:lnTo>
                  <a:pt x="2142" y="1072"/>
                </a:lnTo>
                <a:lnTo>
                  <a:pt x="2148" y="1072"/>
                </a:lnTo>
                <a:lnTo>
                  <a:pt x="2157" y="1071"/>
                </a:lnTo>
                <a:lnTo>
                  <a:pt x="2161" y="1071"/>
                </a:lnTo>
                <a:lnTo>
                  <a:pt x="2165" y="1070"/>
                </a:lnTo>
                <a:lnTo>
                  <a:pt x="2171" y="1067"/>
                </a:lnTo>
                <a:lnTo>
                  <a:pt x="2176" y="1064"/>
                </a:lnTo>
                <a:lnTo>
                  <a:pt x="2180" y="1060"/>
                </a:lnTo>
                <a:lnTo>
                  <a:pt x="2182" y="1057"/>
                </a:lnTo>
                <a:lnTo>
                  <a:pt x="2183" y="1055"/>
                </a:lnTo>
                <a:lnTo>
                  <a:pt x="2185" y="1049"/>
                </a:lnTo>
                <a:lnTo>
                  <a:pt x="2186" y="1042"/>
                </a:lnTo>
                <a:lnTo>
                  <a:pt x="2185" y="1037"/>
                </a:lnTo>
                <a:lnTo>
                  <a:pt x="2184" y="1031"/>
                </a:lnTo>
                <a:lnTo>
                  <a:pt x="2181" y="1025"/>
                </a:lnTo>
                <a:lnTo>
                  <a:pt x="2178" y="1020"/>
                </a:lnTo>
                <a:lnTo>
                  <a:pt x="2175" y="1014"/>
                </a:lnTo>
                <a:lnTo>
                  <a:pt x="2170" y="1008"/>
                </a:lnTo>
                <a:lnTo>
                  <a:pt x="2161" y="997"/>
                </a:lnTo>
                <a:lnTo>
                  <a:pt x="2128" y="961"/>
                </a:lnTo>
                <a:lnTo>
                  <a:pt x="2116" y="948"/>
                </a:lnTo>
                <a:lnTo>
                  <a:pt x="2106" y="935"/>
                </a:lnTo>
                <a:lnTo>
                  <a:pt x="2095" y="922"/>
                </a:lnTo>
                <a:lnTo>
                  <a:pt x="2091" y="915"/>
                </a:lnTo>
                <a:lnTo>
                  <a:pt x="2086" y="908"/>
                </a:lnTo>
                <a:lnTo>
                  <a:pt x="2082" y="900"/>
                </a:lnTo>
                <a:lnTo>
                  <a:pt x="2079" y="893"/>
                </a:lnTo>
                <a:lnTo>
                  <a:pt x="2076" y="885"/>
                </a:lnTo>
                <a:lnTo>
                  <a:pt x="2073" y="877"/>
                </a:lnTo>
                <a:lnTo>
                  <a:pt x="2071" y="868"/>
                </a:lnTo>
                <a:lnTo>
                  <a:pt x="2070" y="864"/>
                </a:lnTo>
                <a:lnTo>
                  <a:pt x="2069" y="859"/>
                </a:lnTo>
                <a:lnTo>
                  <a:pt x="2068" y="850"/>
                </a:lnTo>
                <a:lnTo>
                  <a:pt x="2068" y="841"/>
                </a:lnTo>
                <a:lnTo>
                  <a:pt x="2068" y="829"/>
                </a:lnTo>
                <a:lnTo>
                  <a:pt x="2070" y="817"/>
                </a:lnTo>
                <a:lnTo>
                  <a:pt x="2073" y="806"/>
                </a:lnTo>
                <a:lnTo>
                  <a:pt x="2077" y="795"/>
                </a:lnTo>
                <a:lnTo>
                  <a:pt x="2081" y="785"/>
                </a:lnTo>
                <a:lnTo>
                  <a:pt x="2087" y="776"/>
                </a:lnTo>
                <a:lnTo>
                  <a:pt x="2094" y="768"/>
                </a:lnTo>
                <a:lnTo>
                  <a:pt x="2101" y="760"/>
                </a:lnTo>
                <a:lnTo>
                  <a:pt x="2105" y="756"/>
                </a:lnTo>
                <a:lnTo>
                  <a:pt x="2109" y="753"/>
                </a:lnTo>
                <a:lnTo>
                  <a:pt x="2118" y="747"/>
                </a:lnTo>
                <a:lnTo>
                  <a:pt x="2123" y="744"/>
                </a:lnTo>
                <a:lnTo>
                  <a:pt x="2128" y="741"/>
                </a:lnTo>
                <a:lnTo>
                  <a:pt x="2138" y="737"/>
                </a:lnTo>
                <a:lnTo>
                  <a:pt x="2148" y="734"/>
                </a:lnTo>
                <a:lnTo>
                  <a:pt x="2160" y="731"/>
                </a:lnTo>
                <a:lnTo>
                  <a:pt x="2166" y="730"/>
                </a:lnTo>
                <a:lnTo>
                  <a:pt x="2172" y="730"/>
                </a:lnTo>
                <a:lnTo>
                  <a:pt x="2184" y="729"/>
                </a:lnTo>
                <a:close/>
                <a:moveTo>
                  <a:pt x="2472" y="729"/>
                </a:moveTo>
                <a:lnTo>
                  <a:pt x="2483" y="729"/>
                </a:lnTo>
                <a:lnTo>
                  <a:pt x="2495" y="730"/>
                </a:lnTo>
                <a:lnTo>
                  <a:pt x="2505" y="731"/>
                </a:lnTo>
                <a:lnTo>
                  <a:pt x="2516" y="733"/>
                </a:lnTo>
                <a:lnTo>
                  <a:pt x="2525" y="735"/>
                </a:lnTo>
                <a:lnTo>
                  <a:pt x="2534" y="737"/>
                </a:lnTo>
                <a:lnTo>
                  <a:pt x="2542" y="739"/>
                </a:lnTo>
                <a:lnTo>
                  <a:pt x="2548" y="741"/>
                </a:lnTo>
                <a:lnTo>
                  <a:pt x="2550" y="742"/>
                </a:lnTo>
                <a:lnTo>
                  <a:pt x="2552" y="744"/>
                </a:lnTo>
                <a:lnTo>
                  <a:pt x="2554" y="745"/>
                </a:lnTo>
                <a:lnTo>
                  <a:pt x="2555" y="747"/>
                </a:lnTo>
                <a:lnTo>
                  <a:pt x="2555" y="749"/>
                </a:lnTo>
                <a:lnTo>
                  <a:pt x="2556" y="752"/>
                </a:lnTo>
                <a:lnTo>
                  <a:pt x="2555" y="757"/>
                </a:lnTo>
                <a:lnTo>
                  <a:pt x="2537" y="818"/>
                </a:lnTo>
                <a:lnTo>
                  <a:pt x="2536" y="821"/>
                </a:lnTo>
                <a:lnTo>
                  <a:pt x="2534" y="823"/>
                </a:lnTo>
                <a:lnTo>
                  <a:pt x="2533" y="825"/>
                </a:lnTo>
                <a:lnTo>
                  <a:pt x="2531" y="826"/>
                </a:lnTo>
                <a:lnTo>
                  <a:pt x="2529" y="827"/>
                </a:lnTo>
                <a:lnTo>
                  <a:pt x="2527" y="827"/>
                </a:lnTo>
                <a:lnTo>
                  <a:pt x="2522" y="827"/>
                </a:lnTo>
                <a:lnTo>
                  <a:pt x="2511" y="823"/>
                </a:lnTo>
                <a:lnTo>
                  <a:pt x="2501" y="821"/>
                </a:lnTo>
                <a:lnTo>
                  <a:pt x="2492" y="819"/>
                </a:lnTo>
                <a:lnTo>
                  <a:pt x="2483" y="818"/>
                </a:lnTo>
                <a:lnTo>
                  <a:pt x="2476" y="819"/>
                </a:lnTo>
                <a:lnTo>
                  <a:pt x="2473" y="819"/>
                </a:lnTo>
                <a:lnTo>
                  <a:pt x="2471" y="820"/>
                </a:lnTo>
                <a:lnTo>
                  <a:pt x="2468" y="821"/>
                </a:lnTo>
                <a:lnTo>
                  <a:pt x="2466" y="823"/>
                </a:lnTo>
                <a:lnTo>
                  <a:pt x="2462" y="826"/>
                </a:lnTo>
                <a:lnTo>
                  <a:pt x="2459" y="829"/>
                </a:lnTo>
                <a:lnTo>
                  <a:pt x="2457" y="831"/>
                </a:lnTo>
                <a:lnTo>
                  <a:pt x="2456" y="834"/>
                </a:lnTo>
                <a:lnTo>
                  <a:pt x="2455" y="839"/>
                </a:lnTo>
                <a:lnTo>
                  <a:pt x="2454" y="844"/>
                </a:lnTo>
                <a:lnTo>
                  <a:pt x="2455" y="850"/>
                </a:lnTo>
                <a:lnTo>
                  <a:pt x="2457" y="856"/>
                </a:lnTo>
                <a:lnTo>
                  <a:pt x="2459" y="862"/>
                </a:lnTo>
                <a:lnTo>
                  <a:pt x="2463" y="867"/>
                </a:lnTo>
                <a:lnTo>
                  <a:pt x="2467" y="872"/>
                </a:lnTo>
                <a:lnTo>
                  <a:pt x="2472" y="878"/>
                </a:lnTo>
                <a:lnTo>
                  <a:pt x="2483" y="890"/>
                </a:lnTo>
                <a:lnTo>
                  <a:pt x="2516" y="927"/>
                </a:lnTo>
                <a:lnTo>
                  <a:pt x="2526" y="938"/>
                </a:lnTo>
                <a:lnTo>
                  <a:pt x="2536" y="950"/>
                </a:lnTo>
                <a:lnTo>
                  <a:pt x="2546" y="963"/>
                </a:lnTo>
                <a:lnTo>
                  <a:pt x="2554" y="977"/>
                </a:lnTo>
                <a:lnTo>
                  <a:pt x="2558" y="985"/>
                </a:lnTo>
                <a:lnTo>
                  <a:pt x="2561" y="992"/>
                </a:lnTo>
                <a:lnTo>
                  <a:pt x="2564" y="1000"/>
                </a:lnTo>
                <a:lnTo>
                  <a:pt x="2567" y="1007"/>
                </a:lnTo>
                <a:lnTo>
                  <a:pt x="2569" y="1015"/>
                </a:lnTo>
                <a:lnTo>
                  <a:pt x="2571" y="1023"/>
                </a:lnTo>
                <a:lnTo>
                  <a:pt x="2572" y="1031"/>
                </a:lnTo>
                <a:lnTo>
                  <a:pt x="2572" y="1039"/>
                </a:lnTo>
                <a:lnTo>
                  <a:pt x="2572" y="1047"/>
                </a:lnTo>
                <a:lnTo>
                  <a:pt x="2571" y="1054"/>
                </a:lnTo>
                <a:lnTo>
                  <a:pt x="2571" y="1061"/>
                </a:lnTo>
                <a:lnTo>
                  <a:pt x="2569" y="1068"/>
                </a:lnTo>
                <a:lnTo>
                  <a:pt x="2568" y="1075"/>
                </a:lnTo>
                <a:lnTo>
                  <a:pt x="2566" y="1081"/>
                </a:lnTo>
                <a:lnTo>
                  <a:pt x="2562" y="1093"/>
                </a:lnTo>
                <a:lnTo>
                  <a:pt x="2557" y="1104"/>
                </a:lnTo>
                <a:lnTo>
                  <a:pt x="2554" y="1109"/>
                </a:lnTo>
                <a:lnTo>
                  <a:pt x="2550" y="1114"/>
                </a:lnTo>
                <a:lnTo>
                  <a:pt x="2547" y="1119"/>
                </a:lnTo>
                <a:lnTo>
                  <a:pt x="2543" y="1123"/>
                </a:lnTo>
                <a:lnTo>
                  <a:pt x="2535" y="1131"/>
                </a:lnTo>
                <a:lnTo>
                  <a:pt x="2526" y="1139"/>
                </a:lnTo>
                <a:lnTo>
                  <a:pt x="2516" y="1145"/>
                </a:lnTo>
                <a:lnTo>
                  <a:pt x="2510" y="1148"/>
                </a:lnTo>
                <a:lnTo>
                  <a:pt x="2505" y="1150"/>
                </a:lnTo>
                <a:lnTo>
                  <a:pt x="2494" y="1154"/>
                </a:lnTo>
                <a:lnTo>
                  <a:pt x="2482" y="1158"/>
                </a:lnTo>
                <a:lnTo>
                  <a:pt x="2476" y="1159"/>
                </a:lnTo>
                <a:lnTo>
                  <a:pt x="2469" y="1160"/>
                </a:lnTo>
                <a:lnTo>
                  <a:pt x="2456" y="1161"/>
                </a:lnTo>
                <a:lnTo>
                  <a:pt x="2443" y="1162"/>
                </a:lnTo>
                <a:lnTo>
                  <a:pt x="2431" y="1162"/>
                </a:lnTo>
                <a:lnTo>
                  <a:pt x="2419" y="1161"/>
                </a:lnTo>
                <a:lnTo>
                  <a:pt x="2407" y="1159"/>
                </a:lnTo>
                <a:lnTo>
                  <a:pt x="2395" y="1157"/>
                </a:lnTo>
                <a:lnTo>
                  <a:pt x="2383" y="1154"/>
                </a:lnTo>
                <a:lnTo>
                  <a:pt x="2372" y="1151"/>
                </a:lnTo>
                <a:lnTo>
                  <a:pt x="2362" y="1148"/>
                </a:lnTo>
                <a:lnTo>
                  <a:pt x="2353" y="1144"/>
                </a:lnTo>
                <a:lnTo>
                  <a:pt x="2350" y="1143"/>
                </a:lnTo>
                <a:lnTo>
                  <a:pt x="2348" y="1141"/>
                </a:lnTo>
                <a:lnTo>
                  <a:pt x="2346" y="1140"/>
                </a:lnTo>
                <a:lnTo>
                  <a:pt x="2345" y="1138"/>
                </a:lnTo>
                <a:lnTo>
                  <a:pt x="2345" y="1136"/>
                </a:lnTo>
                <a:lnTo>
                  <a:pt x="2345" y="1134"/>
                </a:lnTo>
                <a:lnTo>
                  <a:pt x="2346" y="1131"/>
                </a:lnTo>
                <a:lnTo>
                  <a:pt x="2365" y="1065"/>
                </a:lnTo>
                <a:lnTo>
                  <a:pt x="2366" y="1062"/>
                </a:lnTo>
                <a:lnTo>
                  <a:pt x="2367" y="1060"/>
                </a:lnTo>
                <a:lnTo>
                  <a:pt x="2369" y="1058"/>
                </a:lnTo>
                <a:lnTo>
                  <a:pt x="2370" y="1057"/>
                </a:lnTo>
                <a:lnTo>
                  <a:pt x="2372" y="1057"/>
                </a:lnTo>
                <a:lnTo>
                  <a:pt x="2374" y="1057"/>
                </a:lnTo>
                <a:lnTo>
                  <a:pt x="2377" y="1057"/>
                </a:lnTo>
                <a:lnTo>
                  <a:pt x="2379" y="1058"/>
                </a:lnTo>
                <a:lnTo>
                  <a:pt x="2387" y="1062"/>
                </a:lnTo>
                <a:lnTo>
                  <a:pt x="2394" y="1064"/>
                </a:lnTo>
                <a:lnTo>
                  <a:pt x="2401" y="1067"/>
                </a:lnTo>
                <a:lnTo>
                  <a:pt x="2409" y="1069"/>
                </a:lnTo>
                <a:lnTo>
                  <a:pt x="2416" y="1070"/>
                </a:lnTo>
                <a:lnTo>
                  <a:pt x="2423" y="1071"/>
                </a:lnTo>
                <a:lnTo>
                  <a:pt x="2430" y="1072"/>
                </a:lnTo>
                <a:lnTo>
                  <a:pt x="2437" y="1072"/>
                </a:lnTo>
                <a:lnTo>
                  <a:pt x="2446" y="1071"/>
                </a:lnTo>
                <a:lnTo>
                  <a:pt x="2449" y="1071"/>
                </a:lnTo>
                <a:lnTo>
                  <a:pt x="2453" y="1070"/>
                </a:lnTo>
                <a:lnTo>
                  <a:pt x="2460" y="1067"/>
                </a:lnTo>
                <a:lnTo>
                  <a:pt x="2465" y="1064"/>
                </a:lnTo>
                <a:lnTo>
                  <a:pt x="2469" y="1060"/>
                </a:lnTo>
                <a:lnTo>
                  <a:pt x="2470" y="1057"/>
                </a:lnTo>
                <a:lnTo>
                  <a:pt x="2472" y="1055"/>
                </a:lnTo>
                <a:lnTo>
                  <a:pt x="2473" y="1049"/>
                </a:lnTo>
                <a:lnTo>
                  <a:pt x="2474" y="1042"/>
                </a:lnTo>
                <a:lnTo>
                  <a:pt x="2473" y="1037"/>
                </a:lnTo>
                <a:lnTo>
                  <a:pt x="2472" y="1031"/>
                </a:lnTo>
                <a:lnTo>
                  <a:pt x="2470" y="1025"/>
                </a:lnTo>
                <a:lnTo>
                  <a:pt x="2467" y="1020"/>
                </a:lnTo>
                <a:lnTo>
                  <a:pt x="2463" y="1014"/>
                </a:lnTo>
                <a:lnTo>
                  <a:pt x="2459" y="1008"/>
                </a:lnTo>
                <a:lnTo>
                  <a:pt x="2449" y="997"/>
                </a:lnTo>
                <a:lnTo>
                  <a:pt x="2416" y="961"/>
                </a:lnTo>
                <a:lnTo>
                  <a:pt x="2405" y="948"/>
                </a:lnTo>
                <a:lnTo>
                  <a:pt x="2394" y="935"/>
                </a:lnTo>
                <a:lnTo>
                  <a:pt x="2384" y="922"/>
                </a:lnTo>
                <a:lnTo>
                  <a:pt x="2379" y="915"/>
                </a:lnTo>
                <a:lnTo>
                  <a:pt x="2375" y="908"/>
                </a:lnTo>
                <a:lnTo>
                  <a:pt x="2371" y="900"/>
                </a:lnTo>
                <a:lnTo>
                  <a:pt x="2367" y="893"/>
                </a:lnTo>
                <a:lnTo>
                  <a:pt x="2364" y="885"/>
                </a:lnTo>
                <a:lnTo>
                  <a:pt x="2361" y="877"/>
                </a:lnTo>
                <a:lnTo>
                  <a:pt x="2359" y="868"/>
                </a:lnTo>
                <a:lnTo>
                  <a:pt x="2358" y="864"/>
                </a:lnTo>
                <a:lnTo>
                  <a:pt x="2358" y="859"/>
                </a:lnTo>
                <a:lnTo>
                  <a:pt x="2357" y="850"/>
                </a:lnTo>
                <a:lnTo>
                  <a:pt x="2356" y="841"/>
                </a:lnTo>
                <a:lnTo>
                  <a:pt x="2357" y="829"/>
                </a:lnTo>
                <a:lnTo>
                  <a:pt x="2358" y="817"/>
                </a:lnTo>
                <a:lnTo>
                  <a:pt x="2361" y="806"/>
                </a:lnTo>
                <a:lnTo>
                  <a:pt x="2365" y="795"/>
                </a:lnTo>
                <a:lnTo>
                  <a:pt x="2370" y="785"/>
                </a:lnTo>
                <a:lnTo>
                  <a:pt x="2375" y="776"/>
                </a:lnTo>
                <a:lnTo>
                  <a:pt x="2382" y="768"/>
                </a:lnTo>
                <a:lnTo>
                  <a:pt x="2389" y="760"/>
                </a:lnTo>
                <a:lnTo>
                  <a:pt x="2393" y="756"/>
                </a:lnTo>
                <a:lnTo>
                  <a:pt x="2397" y="753"/>
                </a:lnTo>
                <a:lnTo>
                  <a:pt x="2406" y="747"/>
                </a:lnTo>
                <a:lnTo>
                  <a:pt x="2411" y="744"/>
                </a:lnTo>
                <a:lnTo>
                  <a:pt x="2416" y="741"/>
                </a:lnTo>
                <a:lnTo>
                  <a:pt x="2426" y="737"/>
                </a:lnTo>
                <a:lnTo>
                  <a:pt x="2437" y="734"/>
                </a:lnTo>
                <a:lnTo>
                  <a:pt x="2448" y="731"/>
                </a:lnTo>
                <a:lnTo>
                  <a:pt x="2454" y="730"/>
                </a:lnTo>
                <a:lnTo>
                  <a:pt x="2460" y="730"/>
                </a:lnTo>
                <a:lnTo>
                  <a:pt x="2472" y="729"/>
                </a:lnTo>
                <a:close/>
                <a:moveTo>
                  <a:pt x="633" y="1006"/>
                </a:moveTo>
                <a:lnTo>
                  <a:pt x="733" y="1006"/>
                </a:lnTo>
                <a:lnTo>
                  <a:pt x="683" y="875"/>
                </a:lnTo>
                <a:lnTo>
                  <a:pt x="633" y="1006"/>
                </a:lnTo>
                <a:close/>
                <a:moveTo>
                  <a:pt x="763" y="1088"/>
                </a:moveTo>
                <a:lnTo>
                  <a:pt x="603" y="1088"/>
                </a:lnTo>
                <a:lnTo>
                  <a:pt x="581" y="1145"/>
                </a:lnTo>
                <a:lnTo>
                  <a:pt x="580" y="1148"/>
                </a:lnTo>
                <a:lnTo>
                  <a:pt x="579" y="1150"/>
                </a:lnTo>
                <a:lnTo>
                  <a:pt x="577" y="1151"/>
                </a:lnTo>
                <a:lnTo>
                  <a:pt x="576" y="1153"/>
                </a:lnTo>
                <a:lnTo>
                  <a:pt x="572" y="1154"/>
                </a:lnTo>
                <a:lnTo>
                  <a:pt x="568" y="1155"/>
                </a:lnTo>
                <a:lnTo>
                  <a:pt x="489" y="1155"/>
                </a:lnTo>
                <a:lnTo>
                  <a:pt x="486" y="1155"/>
                </a:lnTo>
                <a:lnTo>
                  <a:pt x="484" y="1154"/>
                </a:lnTo>
                <a:lnTo>
                  <a:pt x="482" y="1153"/>
                </a:lnTo>
                <a:lnTo>
                  <a:pt x="481" y="1151"/>
                </a:lnTo>
                <a:lnTo>
                  <a:pt x="479" y="1149"/>
                </a:lnTo>
                <a:lnTo>
                  <a:pt x="479" y="1147"/>
                </a:lnTo>
                <a:lnTo>
                  <a:pt x="479" y="1144"/>
                </a:lnTo>
                <a:lnTo>
                  <a:pt x="480" y="1141"/>
                </a:lnTo>
                <a:lnTo>
                  <a:pt x="636" y="746"/>
                </a:lnTo>
                <a:lnTo>
                  <a:pt x="637" y="743"/>
                </a:lnTo>
                <a:lnTo>
                  <a:pt x="638" y="741"/>
                </a:lnTo>
                <a:lnTo>
                  <a:pt x="641" y="738"/>
                </a:lnTo>
                <a:lnTo>
                  <a:pt x="645" y="737"/>
                </a:lnTo>
                <a:lnTo>
                  <a:pt x="647" y="736"/>
                </a:lnTo>
                <a:lnTo>
                  <a:pt x="649" y="736"/>
                </a:lnTo>
                <a:lnTo>
                  <a:pt x="719" y="736"/>
                </a:lnTo>
                <a:lnTo>
                  <a:pt x="724" y="737"/>
                </a:lnTo>
                <a:lnTo>
                  <a:pt x="728" y="738"/>
                </a:lnTo>
                <a:lnTo>
                  <a:pt x="730" y="741"/>
                </a:lnTo>
                <a:lnTo>
                  <a:pt x="732" y="743"/>
                </a:lnTo>
                <a:lnTo>
                  <a:pt x="733" y="746"/>
                </a:lnTo>
                <a:lnTo>
                  <a:pt x="889" y="1141"/>
                </a:lnTo>
                <a:lnTo>
                  <a:pt x="890" y="1144"/>
                </a:lnTo>
                <a:lnTo>
                  <a:pt x="890" y="1147"/>
                </a:lnTo>
                <a:lnTo>
                  <a:pt x="890" y="1149"/>
                </a:lnTo>
                <a:lnTo>
                  <a:pt x="889" y="1151"/>
                </a:lnTo>
                <a:lnTo>
                  <a:pt x="887" y="1153"/>
                </a:lnTo>
                <a:lnTo>
                  <a:pt x="885" y="1154"/>
                </a:lnTo>
                <a:lnTo>
                  <a:pt x="883" y="1155"/>
                </a:lnTo>
                <a:lnTo>
                  <a:pt x="880" y="1155"/>
                </a:lnTo>
                <a:lnTo>
                  <a:pt x="800" y="1155"/>
                </a:lnTo>
                <a:lnTo>
                  <a:pt x="796" y="1154"/>
                </a:lnTo>
                <a:lnTo>
                  <a:pt x="794" y="1154"/>
                </a:lnTo>
                <a:lnTo>
                  <a:pt x="792" y="1153"/>
                </a:lnTo>
                <a:lnTo>
                  <a:pt x="790" y="1151"/>
                </a:lnTo>
                <a:lnTo>
                  <a:pt x="788" y="1150"/>
                </a:lnTo>
                <a:lnTo>
                  <a:pt x="787" y="1148"/>
                </a:lnTo>
                <a:lnTo>
                  <a:pt x="786" y="1145"/>
                </a:lnTo>
                <a:lnTo>
                  <a:pt x="763" y="1088"/>
                </a:lnTo>
                <a:close/>
                <a:moveTo>
                  <a:pt x="292" y="912"/>
                </a:moveTo>
                <a:lnTo>
                  <a:pt x="428" y="1142"/>
                </a:lnTo>
                <a:lnTo>
                  <a:pt x="429" y="1144"/>
                </a:lnTo>
                <a:lnTo>
                  <a:pt x="429" y="1146"/>
                </a:lnTo>
                <a:lnTo>
                  <a:pt x="429" y="1148"/>
                </a:lnTo>
                <a:lnTo>
                  <a:pt x="429" y="1150"/>
                </a:lnTo>
                <a:lnTo>
                  <a:pt x="428" y="1152"/>
                </a:lnTo>
                <a:lnTo>
                  <a:pt x="426" y="1154"/>
                </a:lnTo>
                <a:lnTo>
                  <a:pt x="424" y="1154"/>
                </a:lnTo>
                <a:lnTo>
                  <a:pt x="421" y="1155"/>
                </a:lnTo>
                <a:lnTo>
                  <a:pt x="325" y="1155"/>
                </a:lnTo>
                <a:lnTo>
                  <a:pt x="321" y="1154"/>
                </a:lnTo>
                <a:lnTo>
                  <a:pt x="316" y="1152"/>
                </a:lnTo>
                <a:lnTo>
                  <a:pt x="315" y="1151"/>
                </a:lnTo>
                <a:lnTo>
                  <a:pt x="313" y="1150"/>
                </a:lnTo>
                <a:lnTo>
                  <a:pt x="310" y="1145"/>
                </a:lnTo>
                <a:lnTo>
                  <a:pt x="214" y="979"/>
                </a:lnTo>
                <a:lnTo>
                  <a:pt x="161" y="1044"/>
                </a:lnTo>
                <a:lnTo>
                  <a:pt x="161" y="1145"/>
                </a:lnTo>
                <a:lnTo>
                  <a:pt x="161" y="1147"/>
                </a:lnTo>
                <a:lnTo>
                  <a:pt x="160" y="1149"/>
                </a:lnTo>
                <a:lnTo>
                  <a:pt x="158" y="1152"/>
                </a:lnTo>
                <a:lnTo>
                  <a:pt x="157" y="1153"/>
                </a:lnTo>
                <a:lnTo>
                  <a:pt x="155" y="1154"/>
                </a:lnTo>
                <a:lnTo>
                  <a:pt x="151" y="1155"/>
                </a:lnTo>
                <a:lnTo>
                  <a:pt x="69" y="1155"/>
                </a:lnTo>
                <a:lnTo>
                  <a:pt x="65" y="1154"/>
                </a:lnTo>
                <a:lnTo>
                  <a:pt x="62" y="1152"/>
                </a:lnTo>
                <a:lnTo>
                  <a:pt x="60" y="1150"/>
                </a:lnTo>
                <a:lnTo>
                  <a:pt x="60" y="1149"/>
                </a:lnTo>
                <a:lnTo>
                  <a:pt x="59" y="1147"/>
                </a:lnTo>
                <a:lnTo>
                  <a:pt x="59" y="1145"/>
                </a:lnTo>
                <a:lnTo>
                  <a:pt x="59" y="746"/>
                </a:lnTo>
                <a:lnTo>
                  <a:pt x="59" y="744"/>
                </a:lnTo>
                <a:lnTo>
                  <a:pt x="60" y="742"/>
                </a:lnTo>
                <a:lnTo>
                  <a:pt x="62" y="739"/>
                </a:lnTo>
                <a:lnTo>
                  <a:pt x="63" y="738"/>
                </a:lnTo>
                <a:lnTo>
                  <a:pt x="65" y="737"/>
                </a:lnTo>
                <a:lnTo>
                  <a:pt x="69" y="736"/>
                </a:lnTo>
                <a:lnTo>
                  <a:pt x="151" y="736"/>
                </a:lnTo>
                <a:lnTo>
                  <a:pt x="155" y="737"/>
                </a:lnTo>
                <a:lnTo>
                  <a:pt x="158" y="739"/>
                </a:lnTo>
                <a:lnTo>
                  <a:pt x="159" y="740"/>
                </a:lnTo>
                <a:lnTo>
                  <a:pt x="160" y="742"/>
                </a:lnTo>
                <a:lnTo>
                  <a:pt x="161" y="744"/>
                </a:lnTo>
                <a:lnTo>
                  <a:pt x="161" y="746"/>
                </a:lnTo>
                <a:lnTo>
                  <a:pt x="161" y="921"/>
                </a:lnTo>
                <a:lnTo>
                  <a:pt x="304" y="746"/>
                </a:lnTo>
                <a:lnTo>
                  <a:pt x="308" y="742"/>
                </a:lnTo>
                <a:lnTo>
                  <a:pt x="310" y="740"/>
                </a:lnTo>
                <a:lnTo>
                  <a:pt x="312" y="739"/>
                </a:lnTo>
                <a:lnTo>
                  <a:pt x="314" y="738"/>
                </a:lnTo>
                <a:lnTo>
                  <a:pt x="317" y="737"/>
                </a:lnTo>
                <a:lnTo>
                  <a:pt x="319" y="736"/>
                </a:lnTo>
                <a:lnTo>
                  <a:pt x="322" y="736"/>
                </a:lnTo>
                <a:lnTo>
                  <a:pt x="418" y="736"/>
                </a:lnTo>
                <a:lnTo>
                  <a:pt x="421" y="737"/>
                </a:lnTo>
                <a:lnTo>
                  <a:pt x="423" y="738"/>
                </a:lnTo>
                <a:lnTo>
                  <a:pt x="425" y="739"/>
                </a:lnTo>
                <a:lnTo>
                  <a:pt x="426" y="741"/>
                </a:lnTo>
                <a:lnTo>
                  <a:pt x="426" y="744"/>
                </a:lnTo>
                <a:lnTo>
                  <a:pt x="426" y="746"/>
                </a:lnTo>
                <a:lnTo>
                  <a:pt x="425" y="749"/>
                </a:lnTo>
                <a:lnTo>
                  <a:pt x="424" y="751"/>
                </a:lnTo>
                <a:lnTo>
                  <a:pt x="292" y="912"/>
                </a:lnTo>
                <a:close/>
                <a:moveTo>
                  <a:pt x="1819" y="1010"/>
                </a:moveTo>
                <a:lnTo>
                  <a:pt x="1872" y="1010"/>
                </a:lnTo>
                <a:lnTo>
                  <a:pt x="1845" y="883"/>
                </a:lnTo>
                <a:lnTo>
                  <a:pt x="1819" y="1010"/>
                </a:lnTo>
                <a:close/>
                <a:moveTo>
                  <a:pt x="1887" y="1088"/>
                </a:moveTo>
                <a:lnTo>
                  <a:pt x="1805" y="1088"/>
                </a:lnTo>
                <a:lnTo>
                  <a:pt x="1793" y="1145"/>
                </a:lnTo>
                <a:lnTo>
                  <a:pt x="1792" y="1147"/>
                </a:lnTo>
                <a:lnTo>
                  <a:pt x="1791" y="1149"/>
                </a:lnTo>
                <a:lnTo>
                  <a:pt x="1788" y="1152"/>
                </a:lnTo>
                <a:lnTo>
                  <a:pt x="1787" y="1153"/>
                </a:lnTo>
                <a:lnTo>
                  <a:pt x="1785" y="1154"/>
                </a:lnTo>
                <a:lnTo>
                  <a:pt x="1783" y="1155"/>
                </a:lnTo>
                <a:lnTo>
                  <a:pt x="1781" y="1155"/>
                </a:lnTo>
                <a:lnTo>
                  <a:pt x="1708" y="1155"/>
                </a:lnTo>
                <a:lnTo>
                  <a:pt x="1706" y="1155"/>
                </a:lnTo>
                <a:lnTo>
                  <a:pt x="1704" y="1154"/>
                </a:lnTo>
                <a:lnTo>
                  <a:pt x="1702" y="1153"/>
                </a:lnTo>
                <a:lnTo>
                  <a:pt x="1701" y="1152"/>
                </a:lnTo>
                <a:lnTo>
                  <a:pt x="1700" y="1150"/>
                </a:lnTo>
                <a:lnTo>
                  <a:pt x="1700" y="1147"/>
                </a:lnTo>
                <a:lnTo>
                  <a:pt x="1701" y="1141"/>
                </a:lnTo>
                <a:lnTo>
                  <a:pt x="1793" y="746"/>
                </a:lnTo>
                <a:lnTo>
                  <a:pt x="1793" y="744"/>
                </a:lnTo>
                <a:lnTo>
                  <a:pt x="1794" y="742"/>
                </a:lnTo>
                <a:lnTo>
                  <a:pt x="1797" y="739"/>
                </a:lnTo>
                <a:lnTo>
                  <a:pt x="1799" y="738"/>
                </a:lnTo>
                <a:lnTo>
                  <a:pt x="1801" y="737"/>
                </a:lnTo>
                <a:lnTo>
                  <a:pt x="1806" y="736"/>
                </a:lnTo>
                <a:lnTo>
                  <a:pt x="1887" y="736"/>
                </a:lnTo>
                <a:lnTo>
                  <a:pt x="1889" y="736"/>
                </a:lnTo>
                <a:lnTo>
                  <a:pt x="1892" y="737"/>
                </a:lnTo>
                <a:lnTo>
                  <a:pt x="1896" y="739"/>
                </a:lnTo>
                <a:lnTo>
                  <a:pt x="1898" y="742"/>
                </a:lnTo>
                <a:lnTo>
                  <a:pt x="1899" y="744"/>
                </a:lnTo>
                <a:lnTo>
                  <a:pt x="1900" y="746"/>
                </a:lnTo>
                <a:lnTo>
                  <a:pt x="1992" y="1141"/>
                </a:lnTo>
                <a:lnTo>
                  <a:pt x="1993" y="1147"/>
                </a:lnTo>
                <a:lnTo>
                  <a:pt x="1992" y="1150"/>
                </a:lnTo>
                <a:lnTo>
                  <a:pt x="1992" y="1152"/>
                </a:lnTo>
                <a:lnTo>
                  <a:pt x="1990" y="1153"/>
                </a:lnTo>
                <a:lnTo>
                  <a:pt x="1989" y="1154"/>
                </a:lnTo>
                <a:lnTo>
                  <a:pt x="1984" y="1155"/>
                </a:lnTo>
                <a:lnTo>
                  <a:pt x="1910" y="1155"/>
                </a:lnTo>
                <a:lnTo>
                  <a:pt x="1906" y="1154"/>
                </a:lnTo>
                <a:lnTo>
                  <a:pt x="1902" y="1152"/>
                </a:lnTo>
                <a:lnTo>
                  <a:pt x="1901" y="1151"/>
                </a:lnTo>
                <a:lnTo>
                  <a:pt x="1900" y="1149"/>
                </a:lnTo>
                <a:lnTo>
                  <a:pt x="1899" y="1147"/>
                </a:lnTo>
                <a:lnTo>
                  <a:pt x="1898" y="1145"/>
                </a:lnTo>
                <a:lnTo>
                  <a:pt x="1887" y="1088"/>
                </a:lnTo>
                <a:close/>
                <a:moveTo>
                  <a:pt x="937" y="991"/>
                </a:moveTo>
                <a:lnTo>
                  <a:pt x="937" y="746"/>
                </a:lnTo>
                <a:lnTo>
                  <a:pt x="937" y="744"/>
                </a:lnTo>
                <a:lnTo>
                  <a:pt x="938" y="742"/>
                </a:lnTo>
                <a:lnTo>
                  <a:pt x="940" y="739"/>
                </a:lnTo>
                <a:lnTo>
                  <a:pt x="941" y="738"/>
                </a:lnTo>
                <a:lnTo>
                  <a:pt x="943" y="737"/>
                </a:lnTo>
                <a:lnTo>
                  <a:pt x="947" y="736"/>
                </a:lnTo>
                <a:lnTo>
                  <a:pt x="1029" y="736"/>
                </a:lnTo>
                <a:lnTo>
                  <a:pt x="1033" y="737"/>
                </a:lnTo>
                <a:lnTo>
                  <a:pt x="1037" y="739"/>
                </a:lnTo>
                <a:lnTo>
                  <a:pt x="1038" y="740"/>
                </a:lnTo>
                <a:lnTo>
                  <a:pt x="1039" y="742"/>
                </a:lnTo>
                <a:lnTo>
                  <a:pt x="1039" y="744"/>
                </a:lnTo>
                <a:lnTo>
                  <a:pt x="1039" y="746"/>
                </a:lnTo>
                <a:lnTo>
                  <a:pt x="1039" y="986"/>
                </a:lnTo>
                <a:lnTo>
                  <a:pt x="1040" y="996"/>
                </a:lnTo>
                <a:lnTo>
                  <a:pt x="1041" y="1005"/>
                </a:lnTo>
                <a:lnTo>
                  <a:pt x="1042" y="1014"/>
                </a:lnTo>
                <a:lnTo>
                  <a:pt x="1044" y="1022"/>
                </a:lnTo>
                <a:lnTo>
                  <a:pt x="1047" y="1030"/>
                </a:lnTo>
                <a:lnTo>
                  <a:pt x="1050" y="1037"/>
                </a:lnTo>
                <a:lnTo>
                  <a:pt x="1054" y="1043"/>
                </a:lnTo>
                <a:lnTo>
                  <a:pt x="1058" y="1049"/>
                </a:lnTo>
                <a:lnTo>
                  <a:pt x="1063" y="1054"/>
                </a:lnTo>
                <a:lnTo>
                  <a:pt x="1068" y="1058"/>
                </a:lnTo>
                <a:lnTo>
                  <a:pt x="1074" y="1062"/>
                </a:lnTo>
                <a:lnTo>
                  <a:pt x="1077" y="1063"/>
                </a:lnTo>
                <a:lnTo>
                  <a:pt x="1080" y="1065"/>
                </a:lnTo>
                <a:lnTo>
                  <a:pt x="1087" y="1067"/>
                </a:lnTo>
                <a:lnTo>
                  <a:pt x="1094" y="1069"/>
                </a:lnTo>
                <a:lnTo>
                  <a:pt x="1102" y="1070"/>
                </a:lnTo>
                <a:lnTo>
                  <a:pt x="1110" y="1070"/>
                </a:lnTo>
                <a:lnTo>
                  <a:pt x="1118" y="1070"/>
                </a:lnTo>
                <a:lnTo>
                  <a:pt x="1126" y="1069"/>
                </a:lnTo>
                <a:lnTo>
                  <a:pt x="1133" y="1067"/>
                </a:lnTo>
                <a:lnTo>
                  <a:pt x="1140" y="1065"/>
                </a:lnTo>
                <a:lnTo>
                  <a:pt x="1146" y="1062"/>
                </a:lnTo>
                <a:lnTo>
                  <a:pt x="1149" y="1060"/>
                </a:lnTo>
                <a:lnTo>
                  <a:pt x="1152" y="1058"/>
                </a:lnTo>
                <a:lnTo>
                  <a:pt x="1157" y="1054"/>
                </a:lnTo>
                <a:lnTo>
                  <a:pt x="1162" y="1049"/>
                </a:lnTo>
                <a:lnTo>
                  <a:pt x="1166" y="1043"/>
                </a:lnTo>
                <a:lnTo>
                  <a:pt x="1170" y="1037"/>
                </a:lnTo>
                <a:lnTo>
                  <a:pt x="1173" y="1030"/>
                </a:lnTo>
                <a:lnTo>
                  <a:pt x="1176" y="1022"/>
                </a:lnTo>
                <a:lnTo>
                  <a:pt x="1178" y="1014"/>
                </a:lnTo>
                <a:lnTo>
                  <a:pt x="1180" y="1005"/>
                </a:lnTo>
                <a:lnTo>
                  <a:pt x="1180" y="996"/>
                </a:lnTo>
                <a:lnTo>
                  <a:pt x="1181" y="986"/>
                </a:lnTo>
                <a:lnTo>
                  <a:pt x="1181" y="746"/>
                </a:lnTo>
                <a:lnTo>
                  <a:pt x="1181" y="744"/>
                </a:lnTo>
                <a:lnTo>
                  <a:pt x="1182" y="742"/>
                </a:lnTo>
                <a:lnTo>
                  <a:pt x="1184" y="739"/>
                </a:lnTo>
                <a:lnTo>
                  <a:pt x="1185" y="738"/>
                </a:lnTo>
                <a:lnTo>
                  <a:pt x="1187" y="737"/>
                </a:lnTo>
                <a:lnTo>
                  <a:pt x="1191" y="736"/>
                </a:lnTo>
                <a:lnTo>
                  <a:pt x="1273" y="736"/>
                </a:lnTo>
                <a:lnTo>
                  <a:pt x="1277" y="737"/>
                </a:lnTo>
                <a:lnTo>
                  <a:pt x="1280" y="739"/>
                </a:lnTo>
                <a:lnTo>
                  <a:pt x="1281" y="740"/>
                </a:lnTo>
                <a:lnTo>
                  <a:pt x="1282" y="742"/>
                </a:lnTo>
                <a:lnTo>
                  <a:pt x="1283" y="744"/>
                </a:lnTo>
                <a:lnTo>
                  <a:pt x="1283" y="746"/>
                </a:lnTo>
                <a:lnTo>
                  <a:pt x="1283" y="991"/>
                </a:lnTo>
                <a:lnTo>
                  <a:pt x="1283" y="1002"/>
                </a:lnTo>
                <a:lnTo>
                  <a:pt x="1283" y="1007"/>
                </a:lnTo>
                <a:lnTo>
                  <a:pt x="1282" y="1013"/>
                </a:lnTo>
                <a:lnTo>
                  <a:pt x="1281" y="1023"/>
                </a:lnTo>
                <a:lnTo>
                  <a:pt x="1280" y="1033"/>
                </a:lnTo>
                <a:lnTo>
                  <a:pt x="1278" y="1042"/>
                </a:lnTo>
                <a:lnTo>
                  <a:pt x="1275" y="1051"/>
                </a:lnTo>
                <a:lnTo>
                  <a:pt x="1273" y="1060"/>
                </a:lnTo>
                <a:lnTo>
                  <a:pt x="1270" y="1068"/>
                </a:lnTo>
                <a:lnTo>
                  <a:pt x="1266" y="1076"/>
                </a:lnTo>
                <a:lnTo>
                  <a:pt x="1262" y="1084"/>
                </a:lnTo>
                <a:lnTo>
                  <a:pt x="1254" y="1098"/>
                </a:lnTo>
                <a:lnTo>
                  <a:pt x="1249" y="1104"/>
                </a:lnTo>
                <a:lnTo>
                  <a:pt x="1244" y="1110"/>
                </a:lnTo>
                <a:lnTo>
                  <a:pt x="1239" y="1116"/>
                </a:lnTo>
                <a:lnTo>
                  <a:pt x="1233" y="1121"/>
                </a:lnTo>
                <a:lnTo>
                  <a:pt x="1227" y="1126"/>
                </a:lnTo>
                <a:lnTo>
                  <a:pt x="1221" y="1131"/>
                </a:lnTo>
                <a:lnTo>
                  <a:pt x="1214" y="1135"/>
                </a:lnTo>
                <a:lnTo>
                  <a:pt x="1207" y="1139"/>
                </a:lnTo>
                <a:lnTo>
                  <a:pt x="1200" y="1143"/>
                </a:lnTo>
                <a:lnTo>
                  <a:pt x="1193" y="1146"/>
                </a:lnTo>
                <a:lnTo>
                  <a:pt x="1178" y="1152"/>
                </a:lnTo>
                <a:lnTo>
                  <a:pt x="1170" y="1154"/>
                </a:lnTo>
                <a:lnTo>
                  <a:pt x="1162" y="1156"/>
                </a:lnTo>
                <a:lnTo>
                  <a:pt x="1154" y="1158"/>
                </a:lnTo>
                <a:lnTo>
                  <a:pt x="1145" y="1159"/>
                </a:lnTo>
                <a:lnTo>
                  <a:pt x="1137" y="1160"/>
                </a:lnTo>
                <a:lnTo>
                  <a:pt x="1128" y="1161"/>
                </a:lnTo>
                <a:lnTo>
                  <a:pt x="1119" y="1162"/>
                </a:lnTo>
                <a:lnTo>
                  <a:pt x="1110" y="1162"/>
                </a:lnTo>
                <a:lnTo>
                  <a:pt x="1092" y="1161"/>
                </a:lnTo>
                <a:lnTo>
                  <a:pt x="1075" y="1159"/>
                </a:lnTo>
                <a:lnTo>
                  <a:pt x="1066" y="1158"/>
                </a:lnTo>
                <a:lnTo>
                  <a:pt x="1058" y="1156"/>
                </a:lnTo>
                <a:lnTo>
                  <a:pt x="1042" y="1152"/>
                </a:lnTo>
                <a:lnTo>
                  <a:pt x="1035" y="1149"/>
                </a:lnTo>
                <a:lnTo>
                  <a:pt x="1027" y="1146"/>
                </a:lnTo>
                <a:lnTo>
                  <a:pt x="1020" y="1143"/>
                </a:lnTo>
                <a:lnTo>
                  <a:pt x="1013" y="1139"/>
                </a:lnTo>
                <a:lnTo>
                  <a:pt x="1006" y="1135"/>
                </a:lnTo>
                <a:lnTo>
                  <a:pt x="1000" y="1131"/>
                </a:lnTo>
                <a:lnTo>
                  <a:pt x="993" y="1126"/>
                </a:lnTo>
                <a:lnTo>
                  <a:pt x="987" y="1121"/>
                </a:lnTo>
                <a:lnTo>
                  <a:pt x="982" y="1116"/>
                </a:lnTo>
                <a:lnTo>
                  <a:pt x="976" y="1110"/>
                </a:lnTo>
                <a:lnTo>
                  <a:pt x="966" y="1098"/>
                </a:lnTo>
                <a:lnTo>
                  <a:pt x="962" y="1091"/>
                </a:lnTo>
                <a:lnTo>
                  <a:pt x="958" y="1084"/>
                </a:lnTo>
                <a:lnTo>
                  <a:pt x="954" y="1076"/>
                </a:lnTo>
                <a:lnTo>
                  <a:pt x="951" y="1068"/>
                </a:lnTo>
                <a:lnTo>
                  <a:pt x="948" y="1060"/>
                </a:lnTo>
                <a:lnTo>
                  <a:pt x="945" y="1051"/>
                </a:lnTo>
                <a:lnTo>
                  <a:pt x="943" y="1042"/>
                </a:lnTo>
                <a:lnTo>
                  <a:pt x="941" y="1033"/>
                </a:lnTo>
                <a:lnTo>
                  <a:pt x="939" y="1023"/>
                </a:lnTo>
                <a:lnTo>
                  <a:pt x="938" y="1013"/>
                </a:lnTo>
                <a:lnTo>
                  <a:pt x="937" y="1002"/>
                </a:lnTo>
                <a:lnTo>
                  <a:pt x="937" y="991"/>
                </a:lnTo>
                <a:close/>
                <a:moveTo>
                  <a:pt x="1479" y="824"/>
                </a:moveTo>
                <a:lnTo>
                  <a:pt x="1479" y="934"/>
                </a:lnTo>
                <a:lnTo>
                  <a:pt x="1514" y="934"/>
                </a:lnTo>
                <a:lnTo>
                  <a:pt x="1520" y="933"/>
                </a:lnTo>
                <a:lnTo>
                  <a:pt x="1526" y="933"/>
                </a:lnTo>
                <a:lnTo>
                  <a:pt x="1532" y="932"/>
                </a:lnTo>
                <a:lnTo>
                  <a:pt x="1538" y="930"/>
                </a:lnTo>
                <a:lnTo>
                  <a:pt x="1543" y="928"/>
                </a:lnTo>
                <a:lnTo>
                  <a:pt x="1547" y="926"/>
                </a:lnTo>
                <a:lnTo>
                  <a:pt x="1551" y="923"/>
                </a:lnTo>
                <a:lnTo>
                  <a:pt x="1555" y="919"/>
                </a:lnTo>
                <a:lnTo>
                  <a:pt x="1559" y="916"/>
                </a:lnTo>
                <a:lnTo>
                  <a:pt x="1562" y="912"/>
                </a:lnTo>
                <a:lnTo>
                  <a:pt x="1564" y="907"/>
                </a:lnTo>
                <a:lnTo>
                  <a:pt x="1566" y="902"/>
                </a:lnTo>
                <a:lnTo>
                  <a:pt x="1568" y="897"/>
                </a:lnTo>
                <a:lnTo>
                  <a:pt x="1569" y="891"/>
                </a:lnTo>
                <a:lnTo>
                  <a:pt x="1570" y="885"/>
                </a:lnTo>
                <a:lnTo>
                  <a:pt x="1570" y="879"/>
                </a:lnTo>
                <a:lnTo>
                  <a:pt x="1570" y="872"/>
                </a:lnTo>
                <a:lnTo>
                  <a:pt x="1569" y="866"/>
                </a:lnTo>
                <a:lnTo>
                  <a:pt x="1568" y="861"/>
                </a:lnTo>
                <a:lnTo>
                  <a:pt x="1566" y="855"/>
                </a:lnTo>
                <a:lnTo>
                  <a:pt x="1564" y="850"/>
                </a:lnTo>
                <a:lnTo>
                  <a:pt x="1562" y="846"/>
                </a:lnTo>
                <a:lnTo>
                  <a:pt x="1559" y="842"/>
                </a:lnTo>
                <a:lnTo>
                  <a:pt x="1555" y="838"/>
                </a:lnTo>
                <a:lnTo>
                  <a:pt x="1551" y="835"/>
                </a:lnTo>
                <a:lnTo>
                  <a:pt x="1547" y="832"/>
                </a:lnTo>
                <a:lnTo>
                  <a:pt x="1543" y="829"/>
                </a:lnTo>
                <a:lnTo>
                  <a:pt x="1538" y="827"/>
                </a:lnTo>
                <a:lnTo>
                  <a:pt x="1535" y="826"/>
                </a:lnTo>
                <a:lnTo>
                  <a:pt x="1532" y="826"/>
                </a:lnTo>
                <a:lnTo>
                  <a:pt x="1526" y="825"/>
                </a:lnTo>
                <a:lnTo>
                  <a:pt x="1520" y="824"/>
                </a:lnTo>
                <a:lnTo>
                  <a:pt x="1514" y="824"/>
                </a:lnTo>
                <a:lnTo>
                  <a:pt x="1479" y="824"/>
                </a:lnTo>
                <a:close/>
                <a:moveTo>
                  <a:pt x="1514" y="736"/>
                </a:moveTo>
                <a:lnTo>
                  <a:pt x="1532" y="737"/>
                </a:lnTo>
                <a:lnTo>
                  <a:pt x="1549" y="738"/>
                </a:lnTo>
                <a:lnTo>
                  <a:pt x="1557" y="740"/>
                </a:lnTo>
                <a:lnTo>
                  <a:pt x="1565" y="741"/>
                </a:lnTo>
                <a:lnTo>
                  <a:pt x="1580" y="745"/>
                </a:lnTo>
                <a:lnTo>
                  <a:pt x="1588" y="748"/>
                </a:lnTo>
                <a:lnTo>
                  <a:pt x="1595" y="750"/>
                </a:lnTo>
                <a:lnTo>
                  <a:pt x="1608" y="757"/>
                </a:lnTo>
                <a:lnTo>
                  <a:pt x="1620" y="764"/>
                </a:lnTo>
                <a:lnTo>
                  <a:pt x="1626" y="768"/>
                </a:lnTo>
                <a:lnTo>
                  <a:pt x="1631" y="773"/>
                </a:lnTo>
                <a:lnTo>
                  <a:pt x="1637" y="777"/>
                </a:lnTo>
                <a:lnTo>
                  <a:pt x="1641" y="782"/>
                </a:lnTo>
                <a:lnTo>
                  <a:pt x="1646" y="787"/>
                </a:lnTo>
                <a:lnTo>
                  <a:pt x="1650" y="793"/>
                </a:lnTo>
                <a:lnTo>
                  <a:pt x="1654" y="798"/>
                </a:lnTo>
                <a:lnTo>
                  <a:pt x="1658" y="804"/>
                </a:lnTo>
                <a:lnTo>
                  <a:pt x="1661" y="811"/>
                </a:lnTo>
                <a:lnTo>
                  <a:pt x="1664" y="817"/>
                </a:lnTo>
                <a:lnTo>
                  <a:pt x="1667" y="824"/>
                </a:lnTo>
                <a:lnTo>
                  <a:pt x="1669" y="831"/>
                </a:lnTo>
                <a:lnTo>
                  <a:pt x="1671" y="838"/>
                </a:lnTo>
                <a:lnTo>
                  <a:pt x="1673" y="846"/>
                </a:lnTo>
                <a:lnTo>
                  <a:pt x="1674" y="854"/>
                </a:lnTo>
                <a:lnTo>
                  <a:pt x="1675" y="862"/>
                </a:lnTo>
                <a:lnTo>
                  <a:pt x="1676" y="870"/>
                </a:lnTo>
                <a:lnTo>
                  <a:pt x="1676" y="879"/>
                </a:lnTo>
                <a:lnTo>
                  <a:pt x="1676" y="887"/>
                </a:lnTo>
                <a:lnTo>
                  <a:pt x="1675" y="896"/>
                </a:lnTo>
                <a:lnTo>
                  <a:pt x="1674" y="904"/>
                </a:lnTo>
                <a:lnTo>
                  <a:pt x="1673" y="911"/>
                </a:lnTo>
                <a:lnTo>
                  <a:pt x="1669" y="926"/>
                </a:lnTo>
                <a:lnTo>
                  <a:pt x="1667" y="933"/>
                </a:lnTo>
                <a:lnTo>
                  <a:pt x="1664" y="940"/>
                </a:lnTo>
                <a:lnTo>
                  <a:pt x="1658" y="953"/>
                </a:lnTo>
                <a:lnTo>
                  <a:pt x="1654" y="959"/>
                </a:lnTo>
                <a:lnTo>
                  <a:pt x="1650" y="965"/>
                </a:lnTo>
                <a:lnTo>
                  <a:pt x="1642" y="975"/>
                </a:lnTo>
                <a:lnTo>
                  <a:pt x="1632" y="985"/>
                </a:lnTo>
                <a:lnTo>
                  <a:pt x="1626" y="989"/>
                </a:lnTo>
                <a:lnTo>
                  <a:pt x="1620" y="993"/>
                </a:lnTo>
                <a:lnTo>
                  <a:pt x="1614" y="997"/>
                </a:lnTo>
                <a:lnTo>
                  <a:pt x="1608" y="1001"/>
                </a:lnTo>
                <a:lnTo>
                  <a:pt x="1595" y="1007"/>
                </a:lnTo>
                <a:lnTo>
                  <a:pt x="1588" y="1009"/>
                </a:lnTo>
                <a:lnTo>
                  <a:pt x="1580" y="1012"/>
                </a:lnTo>
                <a:lnTo>
                  <a:pt x="1565" y="1016"/>
                </a:lnTo>
                <a:lnTo>
                  <a:pt x="1557" y="1018"/>
                </a:lnTo>
                <a:lnTo>
                  <a:pt x="1549" y="1019"/>
                </a:lnTo>
                <a:lnTo>
                  <a:pt x="1532" y="1021"/>
                </a:lnTo>
                <a:lnTo>
                  <a:pt x="1523" y="1021"/>
                </a:lnTo>
                <a:lnTo>
                  <a:pt x="1514" y="1021"/>
                </a:lnTo>
                <a:lnTo>
                  <a:pt x="1479" y="1021"/>
                </a:lnTo>
                <a:lnTo>
                  <a:pt x="1479" y="1145"/>
                </a:lnTo>
                <a:lnTo>
                  <a:pt x="1479" y="1147"/>
                </a:lnTo>
                <a:lnTo>
                  <a:pt x="1479" y="1149"/>
                </a:lnTo>
                <a:lnTo>
                  <a:pt x="1477" y="1152"/>
                </a:lnTo>
                <a:lnTo>
                  <a:pt x="1475" y="1153"/>
                </a:lnTo>
                <a:lnTo>
                  <a:pt x="1473" y="1154"/>
                </a:lnTo>
                <a:lnTo>
                  <a:pt x="1469" y="1155"/>
                </a:lnTo>
                <a:lnTo>
                  <a:pt x="1387" y="1155"/>
                </a:lnTo>
                <a:lnTo>
                  <a:pt x="1383" y="1154"/>
                </a:lnTo>
                <a:lnTo>
                  <a:pt x="1380" y="1152"/>
                </a:lnTo>
                <a:lnTo>
                  <a:pt x="1379" y="1150"/>
                </a:lnTo>
                <a:lnTo>
                  <a:pt x="1378" y="1149"/>
                </a:lnTo>
                <a:lnTo>
                  <a:pt x="1377" y="1147"/>
                </a:lnTo>
                <a:lnTo>
                  <a:pt x="1377" y="1145"/>
                </a:lnTo>
                <a:lnTo>
                  <a:pt x="1377" y="746"/>
                </a:lnTo>
                <a:lnTo>
                  <a:pt x="1377" y="744"/>
                </a:lnTo>
                <a:lnTo>
                  <a:pt x="1378" y="742"/>
                </a:lnTo>
                <a:lnTo>
                  <a:pt x="1380" y="739"/>
                </a:lnTo>
                <a:lnTo>
                  <a:pt x="1381" y="738"/>
                </a:lnTo>
                <a:lnTo>
                  <a:pt x="1383" y="737"/>
                </a:lnTo>
                <a:lnTo>
                  <a:pt x="1387" y="736"/>
                </a:lnTo>
                <a:lnTo>
                  <a:pt x="1514" y="736"/>
                </a:lnTo>
                <a:close/>
                <a:moveTo>
                  <a:pt x="2767" y="1006"/>
                </a:moveTo>
                <a:lnTo>
                  <a:pt x="2866" y="1006"/>
                </a:lnTo>
                <a:lnTo>
                  <a:pt x="2817" y="875"/>
                </a:lnTo>
                <a:lnTo>
                  <a:pt x="2767" y="1006"/>
                </a:lnTo>
                <a:close/>
                <a:moveTo>
                  <a:pt x="2897" y="1088"/>
                </a:moveTo>
                <a:lnTo>
                  <a:pt x="2737" y="1088"/>
                </a:lnTo>
                <a:lnTo>
                  <a:pt x="2715" y="1145"/>
                </a:lnTo>
                <a:lnTo>
                  <a:pt x="2714" y="1148"/>
                </a:lnTo>
                <a:lnTo>
                  <a:pt x="2713" y="1150"/>
                </a:lnTo>
                <a:lnTo>
                  <a:pt x="2711" y="1151"/>
                </a:lnTo>
                <a:lnTo>
                  <a:pt x="2710" y="1153"/>
                </a:lnTo>
                <a:lnTo>
                  <a:pt x="2706" y="1154"/>
                </a:lnTo>
                <a:lnTo>
                  <a:pt x="2701" y="1155"/>
                </a:lnTo>
                <a:lnTo>
                  <a:pt x="2623" y="1155"/>
                </a:lnTo>
                <a:lnTo>
                  <a:pt x="2620" y="1155"/>
                </a:lnTo>
                <a:lnTo>
                  <a:pt x="2618" y="1154"/>
                </a:lnTo>
                <a:lnTo>
                  <a:pt x="2616" y="1153"/>
                </a:lnTo>
                <a:lnTo>
                  <a:pt x="2614" y="1151"/>
                </a:lnTo>
                <a:lnTo>
                  <a:pt x="2613" y="1149"/>
                </a:lnTo>
                <a:lnTo>
                  <a:pt x="2613" y="1147"/>
                </a:lnTo>
                <a:lnTo>
                  <a:pt x="2613" y="1144"/>
                </a:lnTo>
                <a:lnTo>
                  <a:pt x="2614" y="1141"/>
                </a:lnTo>
                <a:lnTo>
                  <a:pt x="2769" y="746"/>
                </a:lnTo>
                <a:lnTo>
                  <a:pt x="2770" y="743"/>
                </a:lnTo>
                <a:lnTo>
                  <a:pt x="2772" y="741"/>
                </a:lnTo>
                <a:lnTo>
                  <a:pt x="2775" y="738"/>
                </a:lnTo>
                <a:lnTo>
                  <a:pt x="2779" y="737"/>
                </a:lnTo>
                <a:lnTo>
                  <a:pt x="2781" y="736"/>
                </a:lnTo>
                <a:lnTo>
                  <a:pt x="2783" y="736"/>
                </a:lnTo>
                <a:lnTo>
                  <a:pt x="2853" y="736"/>
                </a:lnTo>
                <a:lnTo>
                  <a:pt x="2858" y="737"/>
                </a:lnTo>
                <a:lnTo>
                  <a:pt x="2861" y="738"/>
                </a:lnTo>
                <a:lnTo>
                  <a:pt x="2864" y="741"/>
                </a:lnTo>
                <a:lnTo>
                  <a:pt x="2865" y="743"/>
                </a:lnTo>
                <a:lnTo>
                  <a:pt x="2866" y="746"/>
                </a:lnTo>
                <a:lnTo>
                  <a:pt x="3022" y="1141"/>
                </a:lnTo>
                <a:lnTo>
                  <a:pt x="3023" y="1144"/>
                </a:lnTo>
                <a:lnTo>
                  <a:pt x="3023" y="1147"/>
                </a:lnTo>
                <a:lnTo>
                  <a:pt x="3023" y="1149"/>
                </a:lnTo>
                <a:lnTo>
                  <a:pt x="3021" y="1151"/>
                </a:lnTo>
                <a:lnTo>
                  <a:pt x="3020" y="1153"/>
                </a:lnTo>
                <a:lnTo>
                  <a:pt x="3018" y="1154"/>
                </a:lnTo>
                <a:lnTo>
                  <a:pt x="3016" y="1155"/>
                </a:lnTo>
                <a:lnTo>
                  <a:pt x="3013" y="1155"/>
                </a:lnTo>
                <a:lnTo>
                  <a:pt x="2933" y="1155"/>
                </a:lnTo>
                <a:lnTo>
                  <a:pt x="2928" y="1154"/>
                </a:lnTo>
                <a:lnTo>
                  <a:pt x="2926" y="1154"/>
                </a:lnTo>
                <a:lnTo>
                  <a:pt x="2925" y="1153"/>
                </a:lnTo>
                <a:lnTo>
                  <a:pt x="2923" y="1151"/>
                </a:lnTo>
                <a:lnTo>
                  <a:pt x="2921" y="1150"/>
                </a:lnTo>
                <a:lnTo>
                  <a:pt x="2920" y="1148"/>
                </a:lnTo>
                <a:lnTo>
                  <a:pt x="2919" y="1145"/>
                </a:lnTo>
                <a:lnTo>
                  <a:pt x="2897" y="1088"/>
                </a:lnTo>
                <a:close/>
                <a:moveTo>
                  <a:pt x="696" y="2625"/>
                </a:moveTo>
                <a:lnTo>
                  <a:pt x="614" y="2625"/>
                </a:lnTo>
                <a:lnTo>
                  <a:pt x="610" y="2624"/>
                </a:lnTo>
                <a:lnTo>
                  <a:pt x="607" y="2622"/>
                </a:lnTo>
                <a:lnTo>
                  <a:pt x="605" y="2621"/>
                </a:lnTo>
                <a:lnTo>
                  <a:pt x="605" y="2619"/>
                </a:lnTo>
                <a:lnTo>
                  <a:pt x="604" y="2617"/>
                </a:lnTo>
                <a:lnTo>
                  <a:pt x="604" y="2615"/>
                </a:lnTo>
                <a:lnTo>
                  <a:pt x="604" y="2217"/>
                </a:lnTo>
                <a:lnTo>
                  <a:pt x="604" y="2214"/>
                </a:lnTo>
                <a:lnTo>
                  <a:pt x="605" y="2212"/>
                </a:lnTo>
                <a:lnTo>
                  <a:pt x="607" y="2209"/>
                </a:lnTo>
                <a:lnTo>
                  <a:pt x="608" y="2208"/>
                </a:lnTo>
                <a:lnTo>
                  <a:pt x="610" y="2207"/>
                </a:lnTo>
                <a:lnTo>
                  <a:pt x="614" y="2207"/>
                </a:lnTo>
                <a:lnTo>
                  <a:pt x="696" y="2207"/>
                </a:lnTo>
                <a:lnTo>
                  <a:pt x="700" y="2207"/>
                </a:lnTo>
                <a:lnTo>
                  <a:pt x="703" y="2209"/>
                </a:lnTo>
                <a:lnTo>
                  <a:pt x="704" y="2211"/>
                </a:lnTo>
                <a:lnTo>
                  <a:pt x="705" y="2212"/>
                </a:lnTo>
                <a:lnTo>
                  <a:pt x="706" y="2214"/>
                </a:lnTo>
                <a:lnTo>
                  <a:pt x="706" y="2217"/>
                </a:lnTo>
                <a:lnTo>
                  <a:pt x="706" y="2392"/>
                </a:lnTo>
                <a:lnTo>
                  <a:pt x="850" y="2216"/>
                </a:lnTo>
                <a:lnTo>
                  <a:pt x="854" y="2212"/>
                </a:lnTo>
                <a:lnTo>
                  <a:pt x="856" y="2210"/>
                </a:lnTo>
                <a:lnTo>
                  <a:pt x="858" y="2209"/>
                </a:lnTo>
                <a:lnTo>
                  <a:pt x="860" y="2208"/>
                </a:lnTo>
                <a:lnTo>
                  <a:pt x="863" y="2207"/>
                </a:lnTo>
                <a:lnTo>
                  <a:pt x="865" y="2207"/>
                </a:lnTo>
                <a:lnTo>
                  <a:pt x="868" y="2207"/>
                </a:lnTo>
                <a:lnTo>
                  <a:pt x="964" y="2207"/>
                </a:lnTo>
                <a:lnTo>
                  <a:pt x="967" y="2207"/>
                </a:lnTo>
                <a:lnTo>
                  <a:pt x="969" y="2208"/>
                </a:lnTo>
                <a:lnTo>
                  <a:pt x="971" y="2210"/>
                </a:lnTo>
                <a:lnTo>
                  <a:pt x="972" y="2212"/>
                </a:lnTo>
                <a:lnTo>
                  <a:pt x="972" y="2214"/>
                </a:lnTo>
                <a:lnTo>
                  <a:pt x="972" y="2216"/>
                </a:lnTo>
                <a:lnTo>
                  <a:pt x="971" y="2219"/>
                </a:lnTo>
                <a:lnTo>
                  <a:pt x="970" y="2221"/>
                </a:lnTo>
                <a:lnTo>
                  <a:pt x="838" y="2382"/>
                </a:lnTo>
                <a:lnTo>
                  <a:pt x="974" y="2612"/>
                </a:lnTo>
                <a:lnTo>
                  <a:pt x="975" y="2614"/>
                </a:lnTo>
                <a:lnTo>
                  <a:pt x="975" y="2617"/>
                </a:lnTo>
                <a:lnTo>
                  <a:pt x="975" y="2619"/>
                </a:lnTo>
                <a:lnTo>
                  <a:pt x="975" y="2621"/>
                </a:lnTo>
                <a:lnTo>
                  <a:pt x="974" y="2623"/>
                </a:lnTo>
                <a:lnTo>
                  <a:pt x="972" y="2624"/>
                </a:lnTo>
                <a:lnTo>
                  <a:pt x="970" y="2625"/>
                </a:lnTo>
                <a:lnTo>
                  <a:pt x="967" y="2625"/>
                </a:lnTo>
                <a:lnTo>
                  <a:pt x="871" y="2625"/>
                </a:lnTo>
                <a:lnTo>
                  <a:pt x="867" y="2625"/>
                </a:lnTo>
                <a:lnTo>
                  <a:pt x="862" y="2623"/>
                </a:lnTo>
                <a:lnTo>
                  <a:pt x="861" y="2622"/>
                </a:lnTo>
                <a:lnTo>
                  <a:pt x="859" y="2620"/>
                </a:lnTo>
                <a:lnTo>
                  <a:pt x="856" y="2616"/>
                </a:lnTo>
                <a:lnTo>
                  <a:pt x="759" y="2450"/>
                </a:lnTo>
                <a:lnTo>
                  <a:pt x="706" y="2514"/>
                </a:lnTo>
                <a:lnTo>
                  <a:pt x="706" y="2615"/>
                </a:lnTo>
                <a:lnTo>
                  <a:pt x="706" y="2617"/>
                </a:lnTo>
                <a:lnTo>
                  <a:pt x="705" y="2619"/>
                </a:lnTo>
                <a:lnTo>
                  <a:pt x="703" y="2622"/>
                </a:lnTo>
                <a:lnTo>
                  <a:pt x="702" y="2624"/>
                </a:lnTo>
                <a:lnTo>
                  <a:pt x="700" y="2624"/>
                </a:lnTo>
                <a:lnTo>
                  <a:pt x="696" y="2625"/>
                </a:lnTo>
                <a:close/>
                <a:moveTo>
                  <a:pt x="1288" y="2177"/>
                </a:moveTo>
                <a:lnTo>
                  <a:pt x="1283" y="2177"/>
                </a:lnTo>
                <a:lnTo>
                  <a:pt x="1278" y="2176"/>
                </a:lnTo>
                <a:lnTo>
                  <a:pt x="1273" y="2175"/>
                </a:lnTo>
                <a:lnTo>
                  <a:pt x="1268" y="2173"/>
                </a:lnTo>
                <a:lnTo>
                  <a:pt x="1260" y="2169"/>
                </a:lnTo>
                <a:lnTo>
                  <a:pt x="1256" y="2166"/>
                </a:lnTo>
                <a:lnTo>
                  <a:pt x="1253" y="2163"/>
                </a:lnTo>
                <a:lnTo>
                  <a:pt x="1249" y="2160"/>
                </a:lnTo>
                <a:lnTo>
                  <a:pt x="1247" y="2156"/>
                </a:lnTo>
                <a:lnTo>
                  <a:pt x="1244" y="2152"/>
                </a:lnTo>
                <a:lnTo>
                  <a:pt x="1242" y="2148"/>
                </a:lnTo>
                <a:lnTo>
                  <a:pt x="1241" y="2143"/>
                </a:lnTo>
                <a:lnTo>
                  <a:pt x="1240" y="2138"/>
                </a:lnTo>
                <a:lnTo>
                  <a:pt x="1239" y="2133"/>
                </a:lnTo>
                <a:lnTo>
                  <a:pt x="1239" y="2128"/>
                </a:lnTo>
                <a:lnTo>
                  <a:pt x="1239" y="2123"/>
                </a:lnTo>
                <a:lnTo>
                  <a:pt x="1240" y="2118"/>
                </a:lnTo>
                <a:lnTo>
                  <a:pt x="1241" y="2113"/>
                </a:lnTo>
                <a:lnTo>
                  <a:pt x="1242" y="2108"/>
                </a:lnTo>
                <a:lnTo>
                  <a:pt x="1244" y="2104"/>
                </a:lnTo>
                <a:lnTo>
                  <a:pt x="1247" y="2100"/>
                </a:lnTo>
                <a:lnTo>
                  <a:pt x="1249" y="2096"/>
                </a:lnTo>
                <a:lnTo>
                  <a:pt x="1253" y="2093"/>
                </a:lnTo>
                <a:lnTo>
                  <a:pt x="1256" y="2090"/>
                </a:lnTo>
                <a:lnTo>
                  <a:pt x="1260" y="2087"/>
                </a:lnTo>
                <a:lnTo>
                  <a:pt x="1264" y="2084"/>
                </a:lnTo>
                <a:lnTo>
                  <a:pt x="1268" y="2082"/>
                </a:lnTo>
                <a:lnTo>
                  <a:pt x="1273" y="2081"/>
                </a:lnTo>
                <a:lnTo>
                  <a:pt x="1278" y="2080"/>
                </a:lnTo>
                <a:lnTo>
                  <a:pt x="1283" y="2079"/>
                </a:lnTo>
                <a:lnTo>
                  <a:pt x="1288" y="2079"/>
                </a:lnTo>
                <a:lnTo>
                  <a:pt x="1294" y="2079"/>
                </a:lnTo>
                <a:lnTo>
                  <a:pt x="1299" y="2080"/>
                </a:lnTo>
                <a:lnTo>
                  <a:pt x="1304" y="2081"/>
                </a:lnTo>
                <a:lnTo>
                  <a:pt x="1308" y="2082"/>
                </a:lnTo>
                <a:lnTo>
                  <a:pt x="1317" y="2087"/>
                </a:lnTo>
                <a:lnTo>
                  <a:pt x="1320" y="2090"/>
                </a:lnTo>
                <a:lnTo>
                  <a:pt x="1324" y="2093"/>
                </a:lnTo>
                <a:lnTo>
                  <a:pt x="1327" y="2096"/>
                </a:lnTo>
                <a:lnTo>
                  <a:pt x="1330" y="2100"/>
                </a:lnTo>
                <a:lnTo>
                  <a:pt x="1332" y="2104"/>
                </a:lnTo>
                <a:lnTo>
                  <a:pt x="1334" y="2108"/>
                </a:lnTo>
                <a:lnTo>
                  <a:pt x="1336" y="2113"/>
                </a:lnTo>
                <a:lnTo>
                  <a:pt x="1337" y="2118"/>
                </a:lnTo>
                <a:lnTo>
                  <a:pt x="1338" y="2123"/>
                </a:lnTo>
                <a:lnTo>
                  <a:pt x="1338" y="2128"/>
                </a:lnTo>
                <a:lnTo>
                  <a:pt x="1338" y="2133"/>
                </a:lnTo>
                <a:lnTo>
                  <a:pt x="1337" y="2138"/>
                </a:lnTo>
                <a:lnTo>
                  <a:pt x="1336" y="2143"/>
                </a:lnTo>
                <a:lnTo>
                  <a:pt x="1334" y="2148"/>
                </a:lnTo>
                <a:lnTo>
                  <a:pt x="1332" y="2152"/>
                </a:lnTo>
                <a:lnTo>
                  <a:pt x="1330" y="2156"/>
                </a:lnTo>
                <a:lnTo>
                  <a:pt x="1327" y="2160"/>
                </a:lnTo>
                <a:lnTo>
                  <a:pt x="1324" y="2163"/>
                </a:lnTo>
                <a:lnTo>
                  <a:pt x="1320" y="2166"/>
                </a:lnTo>
                <a:lnTo>
                  <a:pt x="1317" y="2169"/>
                </a:lnTo>
                <a:lnTo>
                  <a:pt x="1313" y="2171"/>
                </a:lnTo>
                <a:lnTo>
                  <a:pt x="1308" y="2173"/>
                </a:lnTo>
                <a:lnTo>
                  <a:pt x="1304" y="2175"/>
                </a:lnTo>
                <a:lnTo>
                  <a:pt x="1299" y="2176"/>
                </a:lnTo>
                <a:lnTo>
                  <a:pt x="1294" y="2177"/>
                </a:lnTo>
                <a:lnTo>
                  <a:pt x="1288" y="2177"/>
                </a:lnTo>
                <a:close/>
                <a:moveTo>
                  <a:pt x="1173" y="2477"/>
                </a:moveTo>
                <a:lnTo>
                  <a:pt x="1272" y="2477"/>
                </a:lnTo>
                <a:lnTo>
                  <a:pt x="1223" y="2345"/>
                </a:lnTo>
                <a:lnTo>
                  <a:pt x="1173" y="2477"/>
                </a:lnTo>
                <a:close/>
                <a:moveTo>
                  <a:pt x="1303" y="2558"/>
                </a:moveTo>
                <a:lnTo>
                  <a:pt x="1143" y="2558"/>
                </a:lnTo>
                <a:lnTo>
                  <a:pt x="1121" y="2616"/>
                </a:lnTo>
                <a:lnTo>
                  <a:pt x="1120" y="2618"/>
                </a:lnTo>
                <a:lnTo>
                  <a:pt x="1119" y="2620"/>
                </a:lnTo>
                <a:lnTo>
                  <a:pt x="1117" y="2622"/>
                </a:lnTo>
                <a:lnTo>
                  <a:pt x="1115" y="2623"/>
                </a:lnTo>
                <a:lnTo>
                  <a:pt x="1112" y="2625"/>
                </a:lnTo>
                <a:lnTo>
                  <a:pt x="1107" y="2625"/>
                </a:lnTo>
                <a:lnTo>
                  <a:pt x="1029" y="2625"/>
                </a:lnTo>
                <a:lnTo>
                  <a:pt x="1026" y="2625"/>
                </a:lnTo>
                <a:lnTo>
                  <a:pt x="1024" y="2624"/>
                </a:lnTo>
                <a:lnTo>
                  <a:pt x="1022" y="2623"/>
                </a:lnTo>
                <a:lnTo>
                  <a:pt x="1020" y="2622"/>
                </a:lnTo>
                <a:lnTo>
                  <a:pt x="1019" y="2620"/>
                </a:lnTo>
                <a:lnTo>
                  <a:pt x="1019" y="2617"/>
                </a:lnTo>
                <a:lnTo>
                  <a:pt x="1019" y="2615"/>
                </a:lnTo>
                <a:lnTo>
                  <a:pt x="1020" y="2612"/>
                </a:lnTo>
                <a:lnTo>
                  <a:pt x="1175" y="2216"/>
                </a:lnTo>
                <a:lnTo>
                  <a:pt x="1176" y="2214"/>
                </a:lnTo>
                <a:lnTo>
                  <a:pt x="1178" y="2212"/>
                </a:lnTo>
                <a:lnTo>
                  <a:pt x="1181" y="2209"/>
                </a:lnTo>
                <a:lnTo>
                  <a:pt x="1184" y="2207"/>
                </a:lnTo>
                <a:lnTo>
                  <a:pt x="1187" y="2207"/>
                </a:lnTo>
                <a:lnTo>
                  <a:pt x="1189" y="2207"/>
                </a:lnTo>
                <a:lnTo>
                  <a:pt x="1259" y="2207"/>
                </a:lnTo>
                <a:lnTo>
                  <a:pt x="1263" y="2207"/>
                </a:lnTo>
                <a:lnTo>
                  <a:pt x="1267" y="2209"/>
                </a:lnTo>
                <a:lnTo>
                  <a:pt x="1270" y="2212"/>
                </a:lnTo>
                <a:lnTo>
                  <a:pt x="1271" y="2214"/>
                </a:lnTo>
                <a:lnTo>
                  <a:pt x="1272" y="2216"/>
                </a:lnTo>
                <a:lnTo>
                  <a:pt x="1428" y="2612"/>
                </a:lnTo>
                <a:lnTo>
                  <a:pt x="1429" y="2615"/>
                </a:lnTo>
                <a:lnTo>
                  <a:pt x="1429" y="2617"/>
                </a:lnTo>
                <a:lnTo>
                  <a:pt x="1428" y="2620"/>
                </a:lnTo>
                <a:lnTo>
                  <a:pt x="1427" y="2622"/>
                </a:lnTo>
                <a:lnTo>
                  <a:pt x="1426" y="2623"/>
                </a:lnTo>
                <a:lnTo>
                  <a:pt x="1424" y="2624"/>
                </a:lnTo>
                <a:lnTo>
                  <a:pt x="1421" y="2625"/>
                </a:lnTo>
                <a:lnTo>
                  <a:pt x="1419" y="2625"/>
                </a:lnTo>
                <a:lnTo>
                  <a:pt x="1339" y="2625"/>
                </a:lnTo>
                <a:lnTo>
                  <a:pt x="1334" y="2625"/>
                </a:lnTo>
                <a:lnTo>
                  <a:pt x="1332" y="2624"/>
                </a:lnTo>
                <a:lnTo>
                  <a:pt x="1330" y="2623"/>
                </a:lnTo>
                <a:lnTo>
                  <a:pt x="1329" y="2622"/>
                </a:lnTo>
                <a:lnTo>
                  <a:pt x="1327" y="2620"/>
                </a:lnTo>
                <a:lnTo>
                  <a:pt x="1326" y="2618"/>
                </a:lnTo>
                <a:lnTo>
                  <a:pt x="1325" y="2616"/>
                </a:lnTo>
                <a:lnTo>
                  <a:pt x="1303" y="2558"/>
                </a:lnTo>
                <a:close/>
                <a:moveTo>
                  <a:pt x="1156" y="2177"/>
                </a:moveTo>
                <a:lnTo>
                  <a:pt x="1151" y="2177"/>
                </a:lnTo>
                <a:lnTo>
                  <a:pt x="1146" y="2176"/>
                </a:lnTo>
                <a:lnTo>
                  <a:pt x="1141" y="2175"/>
                </a:lnTo>
                <a:lnTo>
                  <a:pt x="1136" y="2173"/>
                </a:lnTo>
                <a:lnTo>
                  <a:pt x="1128" y="2169"/>
                </a:lnTo>
                <a:lnTo>
                  <a:pt x="1124" y="2166"/>
                </a:lnTo>
                <a:lnTo>
                  <a:pt x="1121" y="2163"/>
                </a:lnTo>
                <a:lnTo>
                  <a:pt x="1118" y="2160"/>
                </a:lnTo>
                <a:lnTo>
                  <a:pt x="1115" y="2156"/>
                </a:lnTo>
                <a:lnTo>
                  <a:pt x="1112" y="2152"/>
                </a:lnTo>
                <a:lnTo>
                  <a:pt x="1110" y="2148"/>
                </a:lnTo>
                <a:lnTo>
                  <a:pt x="1109" y="2143"/>
                </a:lnTo>
                <a:lnTo>
                  <a:pt x="1108" y="2138"/>
                </a:lnTo>
                <a:lnTo>
                  <a:pt x="1107" y="2133"/>
                </a:lnTo>
                <a:lnTo>
                  <a:pt x="1107" y="2128"/>
                </a:lnTo>
                <a:lnTo>
                  <a:pt x="1107" y="2123"/>
                </a:lnTo>
                <a:lnTo>
                  <a:pt x="1108" y="2118"/>
                </a:lnTo>
                <a:lnTo>
                  <a:pt x="1109" y="2113"/>
                </a:lnTo>
                <a:lnTo>
                  <a:pt x="1110" y="2108"/>
                </a:lnTo>
                <a:lnTo>
                  <a:pt x="1112" y="2104"/>
                </a:lnTo>
                <a:lnTo>
                  <a:pt x="1115" y="2100"/>
                </a:lnTo>
                <a:lnTo>
                  <a:pt x="1118" y="2096"/>
                </a:lnTo>
                <a:lnTo>
                  <a:pt x="1121" y="2093"/>
                </a:lnTo>
                <a:lnTo>
                  <a:pt x="1124" y="2090"/>
                </a:lnTo>
                <a:lnTo>
                  <a:pt x="1128" y="2087"/>
                </a:lnTo>
                <a:lnTo>
                  <a:pt x="1132" y="2084"/>
                </a:lnTo>
                <a:lnTo>
                  <a:pt x="1136" y="2082"/>
                </a:lnTo>
                <a:lnTo>
                  <a:pt x="1141" y="2081"/>
                </a:lnTo>
                <a:lnTo>
                  <a:pt x="1146" y="2080"/>
                </a:lnTo>
                <a:lnTo>
                  <a:pt x="1151" y="2079"/>
                </a:lnTo>
                <a:lnTo>
                  <a:pt x="1156" y="2079"/>
                </a:lnTo>
                <a:lnTo>
                  <a:pt x="1162" y="2079"/>
                </a:lnTo>
                <a:lnTo>
                  <a:pt x="1167" y="2080"/>
                </a:lnTo>
                <a:lnTo>
                  <a:pt x="1172" y="2081"/>
                </a:lnTo>
                <a:lnTo>
                  <a:pt x="1176" y="2082"/>
                </a:lnTo>
                <a:lnTo>
                  <a:pt x="1185" y="2087"/>
                </a:lnTo>
                <a:lnTo>
                  <a:pt x="1189" y="2090"/>
                </a:lnTo>
                <a:lnTo>
                  <a:pt x="1192" y="2093"/>
                </a:lnTo>
                <a:lnTo>
                  <a:pt x="1195" y="2096"/>
                </a:lnTo>
                <a:lnTo>
                  <a:pt x="1198" y="2100"/>
                </a:lnTo>
                <a:lnTo>
                  <a:pt x="1200" y="2104"/>
                </a:lnTo>
                <a:lnTo>
                  <a:pt x="1202" y="2108"/>
                </a:lnTo>
                <a:lnTo>
                  <a:pt x="1204" y="2113"/>
                </a:lnTo>
                <a:lnTo>
                  <a:pt x="1205" y="2118"/>
                </a:lnTo>
                <a:lnTo>
                  <a:pt x="1206" y="2123"/>
                </a:lnTo>
                <a:lnTo>
                  <a:pt x="1206" y="2128"/>
                </a:lnTo>
                <a:lnTo>
                  <a:pt x="1206" y="2133"/>
                </a:lnTo>
                <a:lnTo>
                  <a:pt x="1205" y="2138"/>
                </a:lnTo>
                <a:lnTo>
                  <a:pt x="1204" y="2143"/>
                </a:lnTo>
                <a:lnTo>
                  <a:pt x="1202" y="2148"/>
                </a:lnTo>
                <a:lnTo>
                  <a:pt x="1200" y="2152"/>
                </a:lnTo>
                <a:lnTo>
                  <a:pt x="1198" y="2156"/>
                </a:lnTo>
                <a:lnTo>
                  <a:pt x="1195" y="2160"/>
                </a:lnTo>
                <a:lnTo>
                  <a:pt x="1192" y="2163"/>
                </a:lnTo>
                <a:lnTo>
                  <a:pt x="1189" y="2166"/>
                </a:lnTo>
                <a:lnTo>
                  <a:pt x="1185" y="2169"/>
                </a:lnTo>
                <a:lnTo>
                  <a:pt x="1181" y="2171"/>
                </a:lnTo>
                <a:lnTo>
                  <a:pt x="1176" y="2173"/>
                </a:lnTo>
                <a:lnTo>
                  <a:pt x="1172" y="2175"/>
                </a:lnTo>
                <a:lnTo>
                  <a:pt x="1167" y="2176"/>
                </a:lnTo>
                <a:lnTo>
                  <a:pt x="1162" y="2177"/>
                </a:lnTo>
                <a:lnTo>
                  <a:pt x="1156" y="2177"/>
                </a:lnTo>
                <a:close/>
                <a:moveTo>
                  <a:pt x="1624" y="2446"/>
                </a:moveTo>
                <a:lnTo>
                  <a:pt x="1624" y="2615"/>
                </a:lnTo>
                <a:lnTo>
                  <a:pt x="1624" y="2617"/>
                </a:lnTo>
                <a:lnTo>
                  <a:pt x="1623" y="2619"/>
                </a:lnTo>
                <a:lnTo>
                  <a:pt x="1622" y="2622"/>
                </a:lnTo>
                <a:lnTo>
                  <a:pt x="1620" y="2623"/>
                </a:lnTo>
                <a:lnTo>
                  <a:pt x="1619" y="2624"/>
                </a:lnTo>
                <a:lnTo>
                  <a:pt x="1617" y="2625"/>
                </a:lnTo>
                <a:lnTo>
                  <a:pt x="1615" y="2625"/>
                </a:lnTo>
                <a:lnTo>
                  <a:pt x="1536" y="2625"/>
                </a:lnTo>
                <a:lnTo>
                  <a:pt x="1532" y="2624"/>
                </a:lnTo>
                <a:lnTo>
                  <a:pt x="1529" y="2622"/>
                </a:lnTo>
                <a:lnTo>
                  <a:pt x="1527" y="2619"/>
                </a:lnTo>
                <a:lnTo>
                  <a:pt x="1527" y="2617"/>
                </a:lnTo>
                <a:lnTo>
                  <a:pt x="1526" y="2615"/>
                </a:lnTo>
                <a:lnTo>
                  <a:pt x="1526" y="2446"/>
                </a:lnTo>
                <a:lnTo>
                  <a:pt x="1430" y="2220"/>
                </a:lnTo>
                <a:lnTo>
                  <a:pt x="1429" y="2217"/>
                </a:lnTo>
                <a:lnTo>
                  <a:pt x="1429" y="2214"/>
                </a:lnTo>
                <a:lnTo>
                  <a:pt x="1429" y="2212"/>
                </a:lnTo>
                <a:lnTo>
                  <a:pt x="1430" y="2210"/>
                </a:lnTo>
                <a:lnTo>
                  <a:pt x="1431" y="2209"/>
                </a:lnTo>
                <a:lnTo>
                  <a:pt x="1432" y="2208"/>
                </a:lnTo>
                <a:lnTo>
                  <a:pt x="1434" y="2207"/>
                </a:lnTo>
                <a:lnTo>
                  <a:pt x="1437" y="2207"/>
                </a:lnTo>
                <a:lnTo>
                  <a:pt x="1516" y="2207"/>
                </a:lnTo>
                <a:lnTo>
                  <a:pt x="1520" y="2207"/>
                </a:lnTo>
                <a:lnTo>
                  <a:pt x="1523" y="2208"/>
                </a:lnTo>
                <a:lnTo>
                  <a:pt x="1524" y="2209"/>
                </a:lnTo>
                <a:lnTo>
                  <a:pt x="1526" y="2210"/>
                </a:lnTo>
                <a:lnTo>
                  <a:pt x="1528" y="2211"/>
                </a:lnTo>
                <a:lnTo>
                  <a:pt x="1529" y="2213"/>
                </a:lnTo>
                <a:lnTo>
                  <a:pt x="1530" y="2215"/>
                </a:lnTo>
                <a:lnTo>
                  <a:pt x="1577" y="2342"/>
                </a:lnTo>
                <a:lnTo>
                  <a:pt x="1621" y="2215"/>
                </a:lnTo>
                <a:lnTo>
                  <a:pt x="1622" y="2213"/>
                </a:lnTo>
                <a:lnTo>
                  <a:pt x="1623" y="2211"/>
                </a:lnTo>
                <a:lnTo>
                  <a:pt x="1625" y="2210"/>
                </a:lnTo>
                <a:lnTo>
                  <a:pt x="1627" y="2209"/>
                </a:lnTo>
                <a:lnTo>
                  <a:pt x="1629" y="2208"/>
                </a:lnTo>
                <a:lnTo>
                  <a:pt x="1631" y="2207"/>
                </a:lnTo>
                <a:lnTo>
                  <a:pt x="1635" y="2207"/>
                </a:lnTo>
                <a:lnTo>
                  <a:pt x="1712" y="2207"/>
                </a:lnTo>
                <a:lnTo>
                  <a:pt x="1714" y="2207"/>
                </a:lnTo>
                <a:lnTo>
                  <a:pt x="1716" y="2208"/>
                </a:lnTo>
                <a:lnTo>
                  <a:pt x="1717" y="2209"/>
                </a:lnTo>
                <a:lnTo>
                  <a:pt x="1718" y="2210"/>
                </a:lnTo>
                <a:lnTo>
                  <a:pt x="1719" y="2212"/>
                </a:lnTo>
                <a:lnTo>
                  <a:pt x="1719" y="2214"/>
                </a:lnTo>
                <a:lnTo>
                  <a:pt x="1719" y="2217"/>
                </a:lnTo>
                <a:lnTo>
                  <a:pt x="1718" y="2220"/>
                </a:lnTo>
                <a:lnTo>
                  <a:pt x="1624" y="2446"/>
                </a:lnTo>
                <a:close/>
                <a:moveTo>
                  <a:pt x="1929" y="2536"/>
                </a:moveTo>
                <a:lnTo>
                  <a:pt x="1941" y="2536"/>
                </a:lnTo>
                <a:lnTo>
                  <a:pt x="1947" y="2535"/>
                </a:lnTo>
                <a:lnTo>
                  <a:pt x="1953" y="2534"/>
                </a:lnTo>
                <a:lnTo>
                  <a:pt x="1964" y="2532"/>
                </a:lnTo>
                <a:lnTo>
                  <a:pt x="1975" y="2528"/>
                </a:lnTo>
                <a:lnTo>
                  <a:pt x="1980" y="2526"/>
                </a:lnTo>
                <a:lnTo>
                  <a:pt x="1985" y="2524"/>
                </a:lnTo>
                <a:lnTo>
                  <a:pt x="1995" y="2519"/>
                </a:lnTo>
                <a:lnTo>
                  <a:pt x="2004" y="2512"/>
                </a:lnTo>
                <a:lnTo>
                  <a:pt x="2012" y="2505"/>
                </a:lnTo>
                <a:lnTo>
                  <a:pt x="2019" y="2497"/>
                </a:lnTo>
                <a:lnTo>
                  <a:pt x="2026" y="2488"/>
                </a:lnTo>
                <a:lnTo>
                  <a:pt x="2032" y="2478"/>
                </a:lnTo>
                <a:lnTo>
                  <a:pt x="2034" y="2473"/>
                </a:lnTo>
                <a:lnTo>
                  <a:pt x="2036" y="2467"/>
                </a:lnTo>
                <a:lnTo>
                  <a:pt x="2038" y="2461"/>
                </a:lnTo>
                <a:lnTo>
                  <a:pt x="2040" y="2455"/>
                </a:lnTo>
                <a:lnTo>
                  <a:pt x="2043" y="2443"/>
                </a:lnTo>
                <a:lnTo>
                  <a:pt x="2045" y="2430"/>
                </a:lnTo>
                <a:lnTo>
                  <a:pt x="2045" y="2423"/>
                </a:lnTo>
                <a:lnTo>
                  <a:pt x="2045" y="2416"/>
                </a:lnTo>
                <a:lnTo>
                  <a:pt x="2045" y="2402"/>
                </a:lnTo>
                <a:lnTo>
                  <a:pt x="2043" y="2388"/>
                </a:lnTo>
                <a:lnTo>
                  <a:pt x="2040" y="2376"/>
                </a:lnTo>
                <a:lnTo>
                  <a:pt x="2036" y="2364"/>
                </a:lnTo>
                <a:lnTo>
                  <a:pt x="2032" y="2354"/>
                </a:lnTo>
                <a:lnTo>
                  <a:pt x="2026" y="2344"/>
                </a:lnTo>
                <a:lnTo>
                  <a:pt x="2023" y="2339"/>
                </a:lnTo>
                <a:lnTo>
                  <a:pt x="2019" y="2335"/>
                </a:lnTo>
                <a:lnTo>
                  <a:pt x="2012" y="2326"/>
                </a:lnTo>
                <a:lnTo>
                  <a:pt x="2008" y="2323"/>
                </a:lnTo>
                <a:lnTo>
                  <a:pt x="2004" y="2319"/>
                </a:lnTo>
                <a:lnTo>
                  <a:pt x="1995" y="2313"/>
                </a:lnTo>
                <a:lnTo>
                  <a:pt x="1990" y="2310"/>
                </a:lnTo>
                <a:lnTo>
                  <a:pt x="1985" y="2308"/>
                </a:lnTo>
                <a:lnTo>
                  <a:pt x="1980" y="2305"/>
                </a:lnTo>
                <a:lnTo>
                  <a:pt x="1975" y="2303"/>
                </a:lnTo>
                <a:lnTo>
                  <a:pt x="1964" y="2300"/>
                </a:lnTo>
                <a:lnTo>
                  <a:pt x="1953" y="2297"/>
                </a:lnTo>
                <a:lnTo>
                  <a:pt x="1947" y="2296"/>
                </a:lnTo>
                <a:lnTo>
                  <a:pt x="1941" y="2296"/>
                </a:lnTo>
                <a:lnTo>
                  <a:pt x="1929" y="2295"/>
                </a:lnTo>
                <a:lnTo>
                  <a:pt x="1888" y="2295"/>
                </a:lnTo>
                <a:lnTo>
                  <a:pt x="1888" y="2536"/>
                </a:lnTo>
                <a:lnTo>
                  <a:pt x="1929" y="2536"/>
                </a:lnTo>
                <a:close/>
                <a:moveTo>
                  <a:pt x="1928" y="2207"/>
                </a:moveTo>
                <a:lnTo>
                  <a:pt x="1941" y="2207"/>
                </a:lnTo>
                <a:lnTo>
                  <a:pt x="1953" y="2207"/>
                </a:lnTo>
                <a:lnTo>
                  <a:pt x="1966" y="2209"/>
                </a:lnTo>
                <a:lnTo>
                  <a:pt x="1978" y="2210"/>
                </a:lnTo>
                <a:lnTo>
                  <a:pt x="1989" y="2212"/>
                </a:lnTo>
                <a:lnTo>
                  <a:pt x="2001" y="2215"/>
                </a:lnTo>
                <a:lnTo>
                  <a:pt x="2011" y="2218"/>
                </a:lnTo>
                <a:lnTo>
                  <a:pt x="2022" y="2222"/>
                </a:lnTo>
                <a:lnTo>
                  <a:pt x="2032" y="2225"/>
                </a:lnTo>
                <a:lnTo>
                  <a:pt x="2042" y="2230"/>
                </a:lnTo>
                <a:lnTo>
                  <a:pt x="2051" y="2235"/>
                </a:lnTo>
                <a:lnTo>
                  <a:pt x="2061" y="2240"/>
                </a:lnTo>
                <a:lnTo>
                  <a:pt x="2069" y="2245"/>
                </a:lnTo>
                <a:lnTo>
                  <a:pt x="2078" y="2251"/>
                </a:lnTo>
                <a:lnTo>
                  <a:pt x="2085" y="2257"/>
                </a:lnTo>
                <a:lnTo>
                  <a:pt x="2093" y="2264"/>
                </a:lnTo>
                <a:lnTo>
                  <a:pt x="2100" y="2271"/>
                </a:lnTo>
                <a:lnTo>
                  <a:pt x="2107" y="2279"/>
                </a:lnTo>
                <a:lnTo>
                  <a:pt x="2113" y="2286"/>
                </a:lnTo>
                <a:lnTo>
                  <a:pt x="2119" y="2294"/>
                </a:lnTo>
                <a:lnTo>
                  <a:pt x="2121" y="2299"/>
                </a:lnTo>
                <a:lnTo>
                  <a:pt x="2124" y="2303"/>
                </a:lnTo>
                <a:lnTo>
                  <a:pt x="2129" y="2312"/>
                </a:lnTo>
                <a:lnTo>
                  <a:pt x="2133" y="2321"/>
                </a:lnTo>
                <a:lnTo>
                  <a:pt x="2137" y="2330"/>
                </a:lnTo>
                <a:lnTo>
                  <a:pt x="2141" y="2340"/>
                </a:lnTo>
                <a:lnTo>
                  <a:pt x="2144" y="2350"/>
                </a:lnTo>
                <a:lnTo>
                  <a:pt x="2147" y="2360"/>
                </a:lnTo>
                <a:lnTo>
                  <a:pt x="2149" y="2371"/>
                </a:lnTo>
                <a:lnTo>
                  <a:pt x="2151" y="2382"/>
                </a:lnTo>
                <a:lnTo>
                  <a:pt x="2152" y="2393"/>
                </a:lnTo>
                <a:lnTo>
                  <a:pt x="2153" y="2404"/>
                </a:lnTo>
                <a:lnTo>
                  <a:pt x="2153" y="2416"/>
                </a:lnTo>
                <a:lnTo>
                  <a:pt x="2153" y="2427"/>
                </a:lnTo>
                <a:lnTo>
                  <a:pt x="2152" y="2439"/>
                </a:lnTo>
                <a:lnTo>
                  <a:pt x="2151" y="2450"/>
                </a:lnTo>
                <a:lnTo>
                  <a:pt x="2149" y="2461"/>
                </a:lnTo>
                <a:lnTo>
                  <a:pt x="2147" y="2471"/>
                </a:lnTo>
                <a:lnTo>
                  <a:pt x="2144" y="2481"/>
                </a:lnTo>
                <a:lnTo>
                  <a:pt x="2141" y="2491"/>
                </a:lnTo>
                <a:lnTo>
                  <a:pt x="2137" y="2501"/>
                </a:lnTo>
                <a:lnTo>
                  <a:pt x="2133" y="2511"/>
                </a:lnTo>
                <a:lnTo>
                  <a:pt x="2129" y="2520"/>
                </a:lnTo>
                <a:lnTo>
                  <a:pt x="2124" y="2528"/>
                </a:lnTo>
                <a:lnTo>
                  <a:pt x="2119" y="2537"/>
                </a:lnTo>
                <a:lnTo>
                  <a:pt x="2113" y="2545"/>
                </a:lnTo>
                <a:lnTo>
                  <a:pt x="2107" y="2553"/>
                </a:lnTo>
                <a:lnTo>
                  <a:pt x="2100" y="2560"/>
                </a:lnTo>
                <a:lnTo>
                  <a:pt x="2093" y="2567"/>
                </a:lnTo>
                <a:lnTo>
                  <a:pt x="2085" y="2574"/>
                </a:lnTo>
                <a:lnTo>
                  <a:pt x="2078" y="2580"/>
                </a:lnTo>
                <a:lnTo>
                  <a:pt x="2069" y="2586"/>
                </a:lnTo>
                <a:lnTo>
                  <a:pt x="2061" y="2592"/>
                </a:lnTo>
                <a:lnTo>
                  <a:pt x="2051" y="2597"/>
                </a:lnTo>
                <a:lnTo>
                  <a:pt x="2042" y="2602"/>
                </a:lnTo>
                <a:lnTo>
                  <a:pt x="2032" y="2606"/>
                </a:lnTo>
                <a:lnTo>
                  <a:pt x="2022" y="2610"/>
                </a:lnTo>
                <a:lnTo>
                  <a:pt x="2011" y="2613"/>
                </a:lnTo>
                <a:lnTo>
                  <a:pt x="2001" y="2616"/>
                </a:lnTo>
                <a:lnTo>
                  <a:pt x="1989" y="2619"/>
                </a:lnTo>
                <a:lnTo>
                  <a:pt x="1978" y="2621"/>
                </a:lnTo>
                <a:lnTo>
                  <a:pt x="1966" y="2623"/>
                </a:lnTo>
                <a:lnTo>
                  <a:pt x="1953" y="2624"/>
                </a:lnTo>
                <a:lnTo>
                  <a:pt x="1941" y="2625"/>
                </a:lnTo>
                <a:lnTo>
                  <a:pt x="1928" y="2625"/>
                </a:lnTo>
                <a:lnTo>
                  <a:pt x="1795" y="2625"/>
                </a:lnTo>
                <a:lnTo>
                  <a:pt x="1791" y="2624"/>
                </a:lnTo>
                <a:lnTo>
                  <a:pt x="1788" y="2622"/>
                </a:lnTo>
                <a:lnTo>
                  <a:pt x="1787" y="2621"/>
                </a:lnTo>
                <a:lnTo>
                  <a:pt x="1786" y="2619"/>
                </a:lnTo>
                <a:lnTo>
                  <a:pt x="1785" y="2617"/>
                </a:lnTo>
                <a:lnTo>
                  <a:pt x="1785" y="2615"/>
                </a:lnTo>
                <a:lnTo>
                  <a:pt x="1785" y="2217"/>
                </a:lnTo>
                <a:lnTo>
                  <a:pt x="1785" y="2214"/>
                </a:lnTo>
                <a:lnTo>
                  <a:pt x="1786" y="2212"/>
                </a:lnTo>
                <a:lnTo>
                  <a:pt x="1788" y="2209"/>
                </a:lnTo>
                <a:lnTo>
                  <a:pt x="1789" y="2208"/>
                </a:lnTo>
                <a:lnTo>
                  <a:pt x="1791" y="2207"/>
                </a:lnTo>
                <a:lnTo>
                  <a:pt x="1795" y="2207"/>
                </a:lnTo>
                <a:lnTo>
                  <a:pt x="1928" y="2207"/>
                </a:lnTo>
                <a:close/>
                <a:moveTo>
                  <a:pt x="2397" y="2177"/>
                </a:moveTo>
                <a:lnTo>
                  <a:pt x="2392" y="2177"/>
                </a:lnTo>
                <a:lnTo>
                  <a:pt x="2386" y="2176"/>
                </a:lnTo>
                <a:lnTo>
                  <a:pt x="2382" y="2175"/>
                </a:lnTo>
                <a:lnTo>
                  <a:pt x="2377" y="2173"/>
                </a:lnTo>
                <a:lnTo>
                  <a:pt x="2368" y="2169"/>
                </a:lnTo>
                <a:lnTo>
                  <a:pt x="2365" y="2166"/>
                </a:lnTo>
                <a:lnTo>
                  <a:pt x="2361" y="2163"/>
                </a:lnTo>
                <a:lnTo>
                  <a:pt x="2358" y="2160"/>
                </a:lnTo>
                <a:lnTo>
                  <a:pt x="2355" y="2156"/>
                </a:lnTo>
                <a:lnTo>
                  <a:pt x="2353" y="2152"/>
                </a:lnTo>
                <a:lnTo>
                  <a:pt x="2351" y="2148"/>
                </a:lnTo>
                <a:lnTo>
                  <a:pt x="2349" y="2143"/>
                </a:lnTo>
                <a:lnTo>
                  <a:pt x="2348" y="2138"/>
                </a:lnTo>
                <a:lnTo>
                  <a:pt x="2347" y="2133"/>
                </a:lnTo>
                <a:lnTo>
                  <a:pt x="2347" y="2128"/>
                </a:lnTo>
                <a:lnTo>
                  <a:pt x="2347" y="2123"/>
                </a:lnTo>
                <a:lnTo>
                  <a:pt x="2348" y="2118"/>
                </a:lnTo>
                <a:lnTo>
                  <a:pt x="2349" y="2113"/>
                </a:lnTo>
                <a:lnTo>
                  <a:pt x="2351" y="2108"/>
                </a:lnTo>
                <a:lnTo>
                  <a:pt x="2353" y="2104"/>
                </a:lnTo>
                <a:lnTo>
                  <a:pt x="2355" y="2100"/>
                </a:lnTo>
                <a:lnTo>
                  <a:pt x="2358" y="2096"/>
                </a:lnTo>
                <a:lnTo>
                  <a:pt x="2361" y="2093"/>
                </a:lnTo>
                <a:lnTo>
                  <a:pt x="2365" y="2090"/>
                </a:lnTo>
                <a:lnTo>
                  <a:pt x="2368" y="2087"/>
                </a:lnTo>
                <a:lnTo>
                  <a:pt x="2373" y="2084"/>
                </a:lnTo>
                <a:lnTo>
                  <a:pt x="2377" y="2082"/>
                </a:lnTo>
                <a:lnTo>
                  <a:pt x="2382" y="2081"/>
                </a:lnTo>
                <a:lnTo>
                  <a:pt x="2386" y="2080"/>
                </a:lnTo>
                <a:lnTo>
                  <a:pt x="2392" y="2079"/>
                </a:lnTo>
                <a:lnTo>
                  <a:pt x="2397" y="2079"/>
                </a:lnTo>
                <a:lnTo>
                  <a:pt x="2402" y="2079"/>
                </a:lnTo>
                <a:lnTo>
                  <a:pt x="2407" y="2080"/>
                </a:lnTo>
                <a:lnTo>
                  <a:pt x="2412" y="2081"/>
                </a:lnTo>
                <a:lnTo>
                  <a:pt x="2417" y="2082"/>
                </a:lnTo>
                <a:lnTo>
                  <a:pt x="2425" y="2087"/>
                </a:lnTo>
                <a:lnTo>
                  <a:pt x="2429" y="2090"/>
                </a:lnTo>
                <a:lnTo>
                  <a:pt x="2433" y="2093"/>
                </a:lnTo>
                <a:lnTo>
                  <a:pt x="2436" y="2096"/>
                </a:lnTo>
                <a:lnTo>
                  <a:pt x="2438" y="2100"/>
                </a:lnTo>
                <a:lnTo>
                  <a:pt x="2441" y="2104"/>
                </a:lnTo>
                <a:lnTo>
                  <a:pt x="2443" y="2108"/>
                </a:lnTo>
                <a:lnTo>
                  <a:pt x="2444" y="2113"/>
                </a:lnTo>
                <a:lnTo>
                  <a:pt x="2446" y="2118"/>
                </a:lnTo>
                <a:lnTo>
                  <a:pt x="2446" y="2123"/>
                </a:lnTo>
                <a:lnTo>
                  <a:pt x="2447" y="2128"/>
                </a:lnTo>
                <a:lnTo>
                  <a:pt x="2446" y="2133"/>
                </a:lnTo>
                <a:lnTo>
                  <a:pt x="2446" y="2138"/>
                </a:lnTo>
                <a:lnTo>
                  <a:pt x="2444" y="2143"/>
                </a:lnTo>
                <a:lnTo>
                  <a:pt x="2443" y="2148"/>
                </a:lnTo>
                <a:lnTo>
                  <a:pt x="2441" y="2152"/>
                </a:lnTo>
                <a:lnTo>
                  <a:pt x="2438" y="2156"/>
                </a:lnTo>
                <a:lnTo>
                  <a:pt x="2436" y="2160"/>
                </a:lnTo>
                <a:lnTo>
                  <a:pt x="2433" y="2163"/>
                </a:lnTo>
                <a:lnTo>
                  <a:pt x="2429" y="2166"/>
                </a:lnTo>
                <a:lnTo>
                  <a:pt x="2425" y="2169"/>
                </a:lnTo>
                <a:lnTo>
                  <a:pt x="2421" y="2171"/>
                </a:lnTo>
                <a:lnTo>
                  <a:pt x="2417" y="2173"/>
                </a:lnTo>
                <a:lnTo>
                  <a:pt x="2412" y="2175"/>
                </a:lnTo>
                <a:lnTo>
                  <a:pt x="2407" y="2176"/>
                </a:lnTo>
                <a:lnTo>
                  <a:pt x="2402" y="2177"/>
                </a:lnTo>
                <a:lnTo>
                  <a:pt x="2397" y="2177"/>
                </a:lnTo>
                <a:close/>
                <a:moveTo>
                  <a:pt x="2303" y="2480"/>
                </a:moveTo>
                <a:lnTo>
                  <a:pt x="2357" y="2480"/>
                </a:lnTo>
                <a:lnTo>
                  <a:pt x="2331" y="2354"/>
                </a:lnTo>
                <a:lnTo>
                  <a:pt x="2303" y="2480"/>
                </a:lnTo>
                <a:close/>
                <a:moveTo>
                  <a:pt x="2372" y="2558"/>
                </a:moveTo>
                <a:lnTo>
                  <a:pt x="2289" y="2558"/>
                </a:lnTo>
                <a:lnTo>
                  <a:pt x="2277" y="2615"/>
                </a:lnTo>
                <a:lnTo>
                  <a:pt x="2276" y="2618"/>
                </a:lnTo>
                <a:lnTo>
                  <a:pt x="2275" y="2620"/>
                </a:lnTo>
                <a:lnTo>
                  <a:pt x="2273" y="2623"/>
                </a:lnTo>
                <a:lnTo>
                  <a:pt x="2271" y="2624"/>
                </a:lnTo>
                <a:lnTo>
                  <a:pt x="2269" y="2625"/>
                </a:lnTo>
                <a:lnTo>
                  <a:pt x="2267" y="2625"/>
                </a:lnTo>
                <a:lnTo>
                  <a:pt x="2265" y="2625"/>
                </a:lnTo>
                <a:lnTo>
                  <a:pt x="2192" y="2625"/>
                </a:lnTo>
                <a:lnTo>
                  <a:pt x="2190" y="2625"/>
                </a:lnTo>
                <a:lnTo>
                  <a:pt x="2188" y="2624"/>
                </a:lnTo>
                <a:lnTo>
                  <a:pt x="2187" y="2623"/>
                </a:lnTo>
                <a:lnTo>
                  <a:pt x="2185" y="2622"/>
                </a:lnTo>
                <a:lnTo>
                  <a:pt x="2184" y="2620"/>
                </a:lnTo>
                <a:lnTo>
                  <a:pt x="2184" y="2618"/>
                </a:lnTo>
                <a:lnTo>
                  <a:pt x="2185" y="2612"/>
                </a:lnTo>
                <a:lnTo>
                  <a:pt x="2277" y="2217"/>
                </a:lnTo>
                <a:lnTo>
                  <a:pt x="2278" y="2214"/>
                </a:lnTo>
                <a:lnTo>
                  <a:pt x="2279" y="2212"/>
                </a:lnTo>
                <a:lnTo>
                  <a:pt x="2281" y="2209"/>
                </a:lnTo>
                <a:lnTo>
                  <a:pt x="2283" y="2208"/>
                </a:lnTo>
                <a:lnTo>
                  <a:pt x="2285" y="2207"/>
                </a:lnTo>
                <a:lnTo>
                  <a:pt x="2290" y="2207"/>
                </a:lnTo>
                <a:lnTo>
                  <a:pt x="2372" y="2207"/>
                </a:lnTo>
                <a:lnTo>
                  <a:pt x="2375" y="2207"/>
                </a:lnTo>
                <a:lnTo>
                  <a:pt x="2377" y="2207"/>
                </a:lnTo>
                <a:lnTo>
                  <a:pt x="2381" y="2209"/>
                </a:lnTo>
                <a:lnTo>
                  <a:pt x="2384" y="2212"/>
                </a:lnTo>
                <a:lnTo>
                  <a:pt x="2384" y="2214"/>
                </a:lnTo>
                <a:lnTo>
                  <a:pt x="2385" y="2217"/>
                </a:lnTo>
                <a:lnTo>
                  <a:pt x="2477" y="2612"/>
                </a:lnTo>
                <a:lnTo>
                  <a:pt x="2478" y="2618"/>
                </a:lnTo>
                <a:lnTo>
                  <a:pt x="2478" y="2620"/>
                </a:lnTo>
                <a:lnTo>
                  <a:pt x="2477" y="2622"/>
                </a:lnTo>
                <a:lnTo>
                  <a:pt x="2476" y="2623"/>
                </a:lnTo>
                <a:lnTo>
                  <a:pt x="2474" y="2624"/>
                </a:lnTo>
                <a:lnTo>
                  <a:pt x="2470" y="2625"/>
                </a:lnTo>
                <a:lnTo>
                  <a:pt x="2395" y="2625"/>
                </a:lnTo>
                <a:lnTo>
                  <a:pt x="2391" y="2625"/>
                </a:lnTo>
                <a:lnTo>
                  <a:pt x="2388" y="2623"/>
                </a:lnTo>
                <a:lnTo>
                  <a:pt x="2386" y="2621"/>
                </a:lnTo>
                <a:lnTo>
                  <a:pt x="2385" y="2620"/>
                </a:lnTo>
                <a:lnTo>
                  <a:pt x="2384" y="2618"/>
                </a:lnTo>
                <a:lnTo>
                  <a:pt x="2383" y="2615"/>
                </a:lnTo>
                <a:lnTo>
                  <a:pt x="2372" y="2558"/>
                </a:lnTo>
                <a:close/>
                <a:moveTo>
                  <a:pt x="2264" y="2177"/>
                </a:moveTo>
                <a:lnTo>
                  <a:pt x="2259" y="2177"/>
                </a:lnTo>
                <a:lnTo>
                  <a:pt x="2254" y="2176"/>
                </a:lnTo>
                <a:lnTo>
                  <a:pt x="2249" y="2175"/>
                </a:lnTo>
                <a:lnTo>
                  <a:pt x="2244" y="2173"/>
                </a:lnTo>
                <a:lnTo>
                  <a:pt x="2236" y="2169"/>
                </a:lnTo>
                <a:lnTo>
                  <a:pt x="2232" y="2166"/>
                </a:lnTo>
                <a:lnTo>
                  <a:pt x="2228" y="2163"/>
                </a:lnTo>
                <a:lnTo>
                  <a:pt x="2225" y="2160"/>
                </a:lnTo>
                <a:lnTo>
                  <a:pt x="2222" y="2156"/>
                </a:lnTo>
                <a:lnTo>
                  <a:pt x="2220" y="2152"/>
                </a:lnTo>
                <a:lnTo>
                  <a:pt x="2218" y="2148"/>
                </a:lnTo>
                <a:lnTo>
                  <a:pt x="2216" y="2143"/>
                </a:lnTo>
                <a:lnTo>
                  <a:pt x="2215" y="2138"/>
                </a:lnTo>
                <a:lnTo>
                  <a:pt x="2215" y="2133"/>
                </a:lnTo>
                <a:lnTo>
                  <a:pt x="2214" y="2128"/>
                </a:lnTo>
                <a:lnTo>
                  <a:pt x="2215" y="2123"/>
                </a:lnTo>
                <a:lnTo>
                  <a:pt x="2215" y="2118"/>
                </a:lnTo>
                <a:lnTo>
                  <a:pt x="2216" y="2113"/>
                </a:lnTo>
                <a:lnTo>
                  <a:pt x="2218" y="2108"/>
                </a:lnTo>
                <a:lnTo>
                  <a:pt x="2220" y="2104"/>
                </a:lnTo>
                <a:lnTo>
                  <a:pt x="2222" y="2100"/>
                </a:lnTo>
                <a:lnTo>
                  <a:pt x="2225" y="2096"/>
                </a:lnTo>
                <a:lnTo>
                  <a:pt x="2228" y="2093"/>
                </a:lnTo>
                <a:lnTo>
                  <a:pt x="2232" y="2090"/>
                </a:lnTo>
                <a:lnTo>
                  <a:pt x="2236" y="2087"/>
                </a:lnTo>
                <a:lnTo>
                  <a:pt x="2240" y="2084"/>
                </a:lnTo>
                <a:lnTo>
                  <a:pt x="2244" y="2082"/>
                </a:lnTo>
                <a:lnTo>
                  <a:pt x="2249" y="2081"/>
                </a:lnTo>
                <a:lnTo>
                  <a:pt x="2254" y="2080"/>
                </a:lnTo>
                <a:lnTo>
                  <a:pt x="2259" y="2079"/>
                </a:lnTo>
                <a:lnTo>
                  <a:pt x="2264" y="2079"/>
                </a:lnTo>
                <a:lnTo>
                  <a:pt x="2269" y="2079"/>
                </a:lnTo>
                <a:lnTo>
                  <a:pt x="2274" y="2080"/>
                </a:lnTo>
                <a:lnTo>
                  <a:pt x="2279" y="2081"/>
                </a:lnTo>
                <a:lnTo>
                  <a:pt x="2284" y="2082"/>
                </a:lnTo>
                <a:lnTo>
                  <a:pt x="2292" y="2087"/>
                </a:lnTo>
                <a:lnTo>
                  <a:pt x="2296" y="2090"/>
                </a:lnTo>
                <a:lnTo>
                  <a:pt x="2300" y="2093"/>
                </a:lnTo>
                <a:lnTo>
                  <a:pt x="2303" y="2096"/>
                </a:lnTo>
                <a:lnTo>
                  <a:pt x="2306" y="2100"/>
                </a:lnTo>
                <a:lnTo>
                  <a:pt x="2308" y="2104"/>
                </a:lnTo>
                <a:lnTo>
                  <a:pt x="2310" y="2108"/>
                </a:lnTo>
                <a:lnTo>
                  <a:pt x="2313" y="2113"/>
                </a:lnTo>
                <a:lnTo>
                  <a:pt x="2314" y="2118"/>
                </a:lnTo>
                <a:lnTo>
                  <a:pt x="2314" y="2123"/>
                </a:lnTo>
                <a:lnTo>
                  <a:pt x="2315" y="2128"/>
                </a:lnTo>
                <a:lnTo>
                  <a:pt x="2314" y="2133"/>
                </a:lnTo>
                <a:lnTo>
                  <a:pt x="2314" y="2138"/>
                </a:lnTo>
                <a:lnTo>
                  <a:pt x="2313" y="2143"/>
                </a:lnTo>
                <a:lnTo>
                  <a:pt x="2310" y="2148"/>
                </a:lnTo>
                <a:lnTo>
                  <a:pt x="2308" y="2152"/>
                </a:lnTo>
                <a:lnTo>
                  <a:pt x="2306" y="2156"/>
                </a:lnTo>
                <a:lnTo>
                  <a:pt x="2303" y="2160"/>
                </a:lnTo>
                <a:lnTo>
                  <a:pt x="2300" y="2163"/>
                </a:lnTo>
                <a:lnTo>
                  <a:pt x="2296" y="2166"/>
                </a:lnTo>
                <a:lnTo>
                  <a:pt x="2292" y="2169"/>
                </a:lnTo>
                <a:lnTo>
                  <a:pt x="2288" y="2171"/>
                </a:lnTo>
                <a:lnTo>
                  <a:pt x="2284" y="2173"/>
                </a:lnTo>
                <a:lnTo>
                  <a:pt x="2279" y="2175"/>
                </a:lnTo>
                <a:lnTo>
                  <a:pt x="2274" y="2176"/>
                </a:lnTo>
                <a:lnTo>
                  <a:pt x="2269" y="2177"/>
                </a:lnTo>
                <a:lnTo>
                  <a:pt x="2264" y="2177"/>
                </a:lnTo>
                <a:close/>
                <a:moveTo>
                  <a:pt x="1209" y="341"/>
                </a:moveTo>
                <a:lnTo>
                  <a:pt x="1221" y="341"/>
                </a:lnTo>
                <a:lnTo>
                  <a:pt x="1233" y="339"/>
                </a:lnTo>
                <a:lnTo>
                  <a:pt x="1244" y="336"/>
                </a:lnTo>
                <a:lnTo>
                  <a:pt x="1250" y="334"/>
                </a:lnTo>
                <a:lnTo>
                  <a:pt x="1255" y="332"/>
                </a:lnTo>
                <a:lnTo>
                  <a:pt x="1265" y="327"/>
                </a:lnTo>
                <a:lnTo>
                  <a:pt x="1275" y="322"/>
                </a:lnTo>
                <a:lnTo>
                  <a:pt x="1284" y="315"/>
                </a:lnTo>
                <a:lnTo>
                  <a:pt x="1292" y="307"/>
                </a:lnTo>
                <a:lnTo>
                  <a:pt x="1299" y="299"/>
                </a:lnTo>
                <a:lnTo>
                  <a:pt x="1306" y="289"/>
                </a:lnTo>
                <a:lnTo>
                  <a:pt x="1311" y="279"/>
                </a:lnTo>
                <a:lnTo>
                  <a:pt x="1316" y="268"/>
                </a:lnTo>
                <a:lnTo>
                  <a:pt x="1318" y="262"/>
                </a:lnTo>
                <a:lnTo>
                  <a:pt x="1320" y="256"/>
                </a:lnTo>
                <a:lnTo>
                  <a:pt x="1323" y="243"/>
                </a:lnTo>
                <a:lnTo>
                  <a:pt x="1324" y="230"/>
                </a:lnTo>
                <a:lnTo>
                  <a:pt x="1325" y="223"/>
                </a:lnTo>
                <a:lnTo>
                  <a:pt x="1325" y="216"/>
                </a:lnTo>
                <a:lnTo>
                  <a:pt x="1324" y="202"/>
                </a:lnTo>
                <a:lnTo>
                  <a:pt x="1323" y="189"/>
                </a:lnTo>
                <a:lnTo>
                  <a:pt x="1320" y="177"/>
                </a:lnTo>
                <a:lnTo>
                  <a:pt x="1318" y="171"/>
                </a:lnTo>
                <a:lnTo>
                  <a:pt x="1316" y="165"/>
                </a:lnTo>
                <a:lnTo>
                  <a:pt x="1311" y="154"/>
                </a:lnTo>
                <a:lnTo>
                  <a:pt x="1306" y="144"/>
                </a:lnTo>
                <a:lnTo>
                  <a:pt x="1299" y="134"/>
                </a:lnTo>
                <a:lnTo>
                  <a:pt x="1296" y="130"/>
                </a:lnTo>
                <a:lnTo>
                  <a:pt x="1292" y="126"/>
                </a:lnTo>
                <a:lnTo>
                  <a:pt x="1288" y="122"/>
                </a:lnTo>
                <a:lnTo>
                  <a:pt x="1284" y="118"/>
                </a:lnTo>
                <a:lnTo>
                  <a:pt x="1279" y="114"/>
                </a:lnTo>
                <a:lnTo>
                  <a:pt x="1275" y="111"/>
                </a:lnTo>
                <a:lnTo>
                  <a:pt x="1265" y="105"/>
                </a:lnTo>
                <a:lnTo>
                  <a:pt x="1260" y="103"/>
                </a:lnTo>
                <a:lnTo>
                  <a:pt x="1255" y="100"/>
                </a:lnTo>
                <a:lnTo>
                  <a:pt x="1250" y="98"/>
                </a:lnTo>
                <a:lnTo>
                  <a:pt x="1244" y="97"/>
                </a:lnTo>
                <a:lnTo>
                  <a:pt x="1233" y="94"/>
                </a:lnTo>
                <a:lnTo>
                  <a:pt x="1221" y="92"/>
                </a:lnTo>
                <a:lnTo>
                  <a:pt x="1215" y="92"/>
                </a:lnTo>
                <a:lnTo>
                  <a:pt x="1209" y="92"/>
                </a:lnTo>
                <a:lnTo>
                  <a:pt x="1197" y="92"/>
                </a:lnTo>
                <a:lnTo>
                  <a:pt x="1185" y="94"/>
                </a:lnTo>
                <a:lnTo>
                  <a:pt x="1174" y="97"/>
                </a:lnTo>
                <a:lnTo>
                  <a:pt x="1169" y="98"/>
                </a:lnTo>
                <a:lnTo>
                  <a:pt x="1163" y="100"/>
                </a:lnTo>
                <a:lnTo>
                  <a:pt x="1153" y="105"/>
                </a:lnTo>
                <a:lnTo>
                  <a:pt x="1144" y="111"/>
                </a:lnTo>
                <a:lnTo>
                  <a:pt x="1135" y="118"/>
                </a:lnTo>
                <a:lnTo>
                  <a:pt x="1127" y="126"/>
                </a:lnTo>
                <a:lnTo>
                  <a:pt x="1119" y="134"/>
                </a:lnTo>
                <a:lnTo>
                  <a:pt x="1113" y="144"/>
                </a:lnTo>
                <a:lnTo>
                  <a:pt x="1107" y="154"/>
                </a:lnTo>
                <a:lnTo>
                  <a:pt x="1102" y="165"/>
                </a:lnTo>
                <a:lnTo>
                  <a:pt x="1100" y="171"/>
                </a:lnTo>
                <a:lnTo>
                  <a:pt x="1098" y="177"/>
                </a:lnTo>
                <a:lnTo>
                  <a:pt x="1096" y="189"/>
                </a:lnTo>
                <a:lnTo>
                  <a:pt x="1094" y="202"/>
                </a:lnTo>
                <a:lnTo>
                  <a:pt x="1093" y="209"/>
                </a:lnTo>
                <a:lnTo>
                  <a:pt x="1093" y="216"/>
                </a:lnTo>
                <a:lnTo>
                  <a:pt x="1094" y="230"/>
                </a:lnTo>
                <a:lnTo>
                  <a:pt x="1096" y="243"/>
                </a:lnTo>
                <a:lnTo>
                  <a:pt x="1098" y="256"/>
                </a:lnTo>
                <a:lnTo>
                  <a:pt x="1100" y="262"/>
                </a:lnTo>
                <a:lnTo>
                  <a:pt x="1102" y="268"/>
                </a:lnTo>
                <a:lnTo>
                  <a:pt x="1107" y="279"/>
                </a:lnTo>
                <a:lnTo>
                  <a:pt x="1113" y="289"/>
                </a:lnTo>
                <a:lnTo>
                  <a:pt x="1119" y="299"/>
                </a:lnTo>
                <a:lnTo>
                  <a:pt x="1123" y="303"/>
                </a:lnTo>
                <a:lnTo>
                  <a:pt x="1127" y="307"/>
                </a:lnTo>
                <a:lnTo>
                  <a:pt x="1131" y="311"/>
                </a:lnTo>
                <a:lnTo>
                  <a:pt x="1135" y="315"/>
                </a:lnTo>
                <a:lnTo>
                  <a:pt x="1139" y="318"/>
                </a:lnTo>
                <a:lnTo>
                  <a:pt x="1144" y="322"/>
                </a:lnTo>
                <a:lnTo>
                  <a:pt x="1153" y="327"/>
                </a:lnTo>
                <a:lnTo>
                  <a:pt x="1158" y="330"/>
                </a:lnTo>
                <a:lnTo>
                  <a:pt x="1163" y="332"/>
                </a:lnTo>
                <a:lnTo>
                  <a:pt x="1169" y="334"/>
                </a:lnTo>
                <a:lnTo>
                  <a:pt x="1174" y="336"/>
                </a:lnTo>
                <a:lnTo>
                  <a:pt x="1185" y="339"/>
                </a:lnTo>
                <a:lnTo>
                  <a:pt x="1197" y="341"/>
                </a:lnTo>
                <a:lnTo>
                  <a:pt x="1203" y="341"/>
                </a:lnTo>
                <a:lnTo>
                  <a:pt x="1209" y="341"/>
                </a:lnTo>
                <a:close/>
                <a:moveTo>
                  <a:pt x="1209" y="0"/>
                </a:moveTo>
                <a:lnTo>
                  <a:pt x="1221" y="0"/>
                </a:lnTo>
                <a:lnTo>
                  <a:pt x="1233" y="1"/>
                </a:lnTo>
                <a:lnTo>
                  <a:pt x="1244" y="2"/>
                </a:lnTo>
                <a:lnTo>
                  <a:pt x="1256" y="4"/>
                </a:lnTo>
                <a:lnTo>
                  <a:pt x="1267" y="6"/>
                </a:lnTo>
                <a:lnTo>
                  <a:pt x="1277" y="9"/>
                </a:lnTo>
                <a:lnTo>
                  <a:pt x="1288" y="12"/>
                </a:lnTo>
                <a:lnTo>
                  <a:pt x="1298" y="16"/>
                </a:lnTo>
                <a:lnTo>
                  <a:pt x="1308" y="20"/>
                </a:lnTo>
                <a:lnTo>
                  <a:pt x="1318" y="25"/>
                </a:lnTo>
                <a:lnTo>
                  <a:pt x="1327" y="30"/>
                </a:lnTo>
                <a:lnTo>
                  <a:pt x="1336" y="35"/>
                </a:lnTo>
                <a:lnTo>
                  <a:pt x="1345" y="41"/>
                </a:lnTo>
                <a:lnTo>
                  <a:pt x="1349" y="44"/>
                </a:lnTo>
                <a:lnTo>
                  <a:pt x="1353" y="47"/>
                </a:lnTo>
                <a:lnTo>
                  <a:pt x="1357" y="51"/>
                </a:lnTo>
                <a:lnTo>
                  <a:pt x="1361" y="54"/>
                </a:lnTo>
                <a:lnTo>
                  <a:pt x="1369" y="61"/>
                </a:lnTo>
                <a:lnTo>
                  <a:pt x="1373" y="65"/>
                </a:lnTo>
                <a:lnTo>
                  <a:pt x="1376" y="69"/>
                </a:lnTo>
                <a:lnTo>
                  <a:pt x="1383" y="76"/>
                </a:lnTo>
                <a:lnTo>
                  <a:pt x="1390" y="84"/>
                </a:lnTo>
                <a:lnTo>
                  <a:pt x="1393" y="89"/>
                </a:lnTo>
                <a:lnTo>
                  <a:pt x="1396" y="93"/>
                </a:lnTo>
                <a:lnTo>
                  <a:pt x="1401" y="102"/>
                </a:lnTo>
                <a:lnTo>
                  <a:pt x="1407" y="111"/>
                </a:lnTo>
                <a:lnTo>
                  <a:pt x="1411" y="120"/>
                </a:lnTo>
                <a:lnTo>
                  <a:pt x="1416" y="130"/>
                </a:lnTo>
                <a:lnTo>
                  <a:pt x="1418" y="135"/>
                </a:lnTo>
                <a:lnTo>
                  <a:pt x="1420" y="140"/>
                </a:lnTo>
                <a:lnTo>
                  <a:pt x="1423" y="150"/>
                </a:lnTo>
                <a:lnTo>
                  <a:pt x="1426" y="160"/>
                </a:lnTo>
                <a:lnTo>
                  <a:pt x="1428" y="171"/>
                </a:lnTo>
                <a:lnTo>
                  <a:pt x="1430" y="182"/>
                </a:lnTo>
                <a:lnTo>
                  <a:pt x="1432" y="193"/>
                </a:lnTo>
                <a:lnTo>
                  <a:pt x="1432" y="199"/>
                </a:lnTo>
                <a:lnTo>
                  <a:pt x="1432" y="205"/>
                </a:lnTo>
                <a:lnTo>
                  <a:pt x="1433" y="216"/>
                </a:lnTo>
                <a:lnTo>
                  <a:pt x="1432" y="228"/>
                </a:lnTo>
                <a:lnTo>
                  <a:pt x="1432" y="239"/>
                </a:lnTo>
                <a:lnTo>
                  <a:pt x="1430" y="251"/>
                </a:lnTo>
                <a:lnTo>
                  <a:pt x="1428" y="262"/>
                </a:lnTo>
                <a:lnTo>
                  <a:pt x="1426" y="272"/>
                </a:lnTo>
                <a:lnTo>
                  <a:pt x="1423" y="283"/>
                </a:lnTo>
                <a:lnTo>
                  <a:pt x="1420" y="293"/>
                </a:lnTo>
                <a:lnTo>
                  <a:pt x="1416" y="303"/>
                </a:lnTo>
                <a:lnTo>
                  <a:pt x="1411" y="313"/>
                </a:lnTo>
                <a:lnTo>
                  <a:pt x="1407" y="322"/>
                </a:lnTo>
                <a:lnTo>
                  <a:pt x="1401" y="331"/>
                </a:lnTo>
                <a:lnTo>
                  <a:pt x="1396" y="340"/>
                </a:lnTo>
                <a:lnTo>
                  <a:pt x="1390" y="348"/>
                </a:lnTo>
                <a:lnTo>
                  <a:pt x="1383" y="356"/>
                </a:lnTo>
                <a:lnTo>
                  <a:pt x="1376" y="364"/>
                </a:lnTo>
                <a:lnTo>
                  <a:pt x="1369" y="372"/>
                </a:lnTo>
                <a:lnTo>
                  <a:pt x="1361" y="379"/>
                </a:lnTo>
                <a:lnTo>
                  <a:pt x="1353" y="385"/>
                </a:lnTo>
                <a:lnTo>
                  <a:pt x="1345" y="391"/>
                </a:lnTo>
                <a:lnTo>
                  <a:pt x="1336" y="397"/>
                </a:lnTo>
                <a:lnTo>
                  <a:pt x="1327" y="403"/>
                </a:lnTo>
                <a:lnTo>
                  <a:pt x="1318" y="408"/>
                </a:lnTo>
                <a:lnTo>
                  <a:pt x="1308" y="412"/>
                </a:lnTo>
                <a:lnTo>
                  <a:pt x="1298" y="417"/>
                </a:lnTo>
                <a:lnTo>
                  <a:pt x="1288" y="420"/>
                </a:lnTo>
                <a:lnTo>
                  <a:pt x="1277" y="424"/>
                </a:lnTo>
                <a:lnTo>
                  <a:pt x="1267" y="426"/>
                </a:lnTo>
                <a:lnTo>
                  <a:pt x="1256" y="429"/>
                </a:lnTo>
                <a:lnTo>
                  <a:pt x="1244" y="430"/>
                </a:lnTo>
                <a:lnTo>
                  <a:pt x="1233" y="432"/>
                </a:lnTo>
                <a:lnTo>
                  <a:pt x="1221" y="433"/>
                </a:lnTo>
                <a:lnTo>
                  <a:pt x="1209" y="433"/>
                </a:lnTo>
                <a:lnTo>
                  <a:pt x="1197" y="433"/>
                </a:lnTo>
                <a:lnTo>
                  <a:pt x="1186" y="432"/>
                </a:lnTo>
                <a:lnTo>
                  <a:pt x="1174" y="430"/>
                </a:lnTo>
                <a:lnTo>
                  <a:pt x="1163" y="429"/>
                </a:lnTo>
                <a:lnTo>
                  <a:pt x="1152" y="426"/>
                </a:lnTo>
                <a:lnTo>
                  <a:pt x="1141" y="424"/>
                </a:lnTo>
                <a:lnTo>
                  <a:pt x="1130" y="420"/>
                </a:lnTo>
                <a:lnTo>
                  <a:pt x="1120" y="417"/>
                </a:lnTo>
                <a:lnTo>
                  <a:pt x="1110" y="412"/>
                </a:lnTo>
                <a:lnTo>
                  <a:pt x="1100" y="408"/>
                </a:lnTo>
                <a:lnTo>
                  <a:pt x="1091" y="403"/>
                </a:lnTo>
                <a:lnTo>
                  <a:pt x="1082" y="397"/>
                </a:lnTo>
                <a:lnTo>
                  <a:pt x="1073" y="391"/>
                </a:lnTo>
                <a:lnTo>
                  <a:pt x="1069" y="388"/>
                </a:lnTo>
                <a:lnTo>
                  <a:pt x="1065" y="385"/>
                </a:lnTo>
                <a:lnTo>
                  <a:pt x="1061" y="382"/>
                </a:lnTo>
                <a:lnTo>
                  <a:pt x="1057" y="379"/>
                </a:lnTo>
                <a:lnTo>
                  <a:pt x="1049" y="372"/>
                </a:lnTo>
                <a:lnTo>
                  <a:pt x="1046" y="368"/>
                </a:lnTo>
                <a:lnTo>
                  <a:pt x="1042" y="364"/>
                </a:lnTo>
                <a:lnTo>
                  <a:pt x="1035" y="356"/>
                </a:lnTo>
                <a:lnTo>
                  <a:pt x="1029" y="348"/>
                </a:lnTo>
                <a:lnTo>
                  <a:pt x="1026" y="344"/>
                </a:lnTo>
                <a:lnTo>
                  <a:pt x="1023" y="340"/>
                </a:lnTo>
                <a:lnTo>
                  <a:pt x="1017" y="331"/>
                </a:lnTo>
                <a:lnTo>
                  <a:pt x="1012" y="322"/>
                </a:lnTo>
                <a:lnTo>
                  <a:pt x="1007" y="313"/>
                </a:lnTo>
                <a:lnTo>
                  <a:pt x="1003" y="303"/>
                </a:lnTo>
                <a:lnTo>
                  <a:pt x="1001" y="298"/>
                </a:lnTo>
                <a:lnTo>
                  <a:pt x="999" y="293"/>
                </a:lnTo>
                <a:lnTo>
                  <a:pt x="995" y="283"/>
                </a:lnTo>
                <a:lnTo>
                  <a:pt x="992" y="272"/>
                </a:lnTo>
                <a:lnTo>
                  <a:pt x="990" y="262"/>
                </a:lnTo>
                <a:lnTo>
                  <a:pt x="988" y="251"/>
                </a:lnTo>
                <a:lnTo>
                  <a:pt x="987" y="239"/>
                </a:lnTo>
                <a:lnTo>
                  <a:pt x="986" y="234"/>
                </a:lnTo>
                <a:lnTo>
                  <a:pt x="986" y="228"/>
                </a:lnTo>
                <a:lnTo>
                  <a:pt x="986" y="216"/>
                </a:lnTo>
                <a:lnTo>
                  <a:pt x="986" y="205"/>
                </a:lnTo>
                <a:lnTo>
                  <a:pt x="987" y="193"/>
                </a:lnTo>
                <a:lnTo>
                  <a:pt x="988" y="182"/>
                </a:lnTo>
                <a:lnTo>
                  <a:pt x="990" y="171"/>
                </a:lnTo>
                <a:lnTo>
                  <a:pt x="992" y="160"/>
                </a:lnTo>
                <a:lnTo>
                  <a:pt x="995" y="150"/>
                </a:lnTo>
                <a:lnTo>
                  <a:pt x="999" y="140"/>
                </a:lnTo>
                <a:lnTo>
                  <a:pt x="1003" y="130"/>
                </a:lnTo>
                <a:lnTo>
                  <a:pt x="1007" y="120"/>
                </a:lnTo>
                <a:lnTo>
                  <a:pt x="1012" y="111"/>
                </a:lnTo>
                <a:lnTo>
                  <a:pt x="1017" y="102"/>
                </a:lnTo>
                <a:lnTo>
                  <a:pt x="1023" y="93"/>
                </a:lnTo>
                <a:lnTo>
                  <a:pt x="1029" y="84"/>
                </a:lnTo>
                <a:lnTo>
                  <a:pt x="1035" y="76"/>
                </a:lnTo>
                <a:lnTo>
                  <a:pt x="1042" y="69"/>
                </a:lnTo>
                <a:lnTo>
                  <a:pt x="1049" y="61"/>
                </a:lnTo>
                <a:lnTo>
                  <a:pt x="1057" y="54"/>
                </a:lnTo>
                <a:lnTo>
                  <a:pt x="1065" y="47"/>
                </a:lnTo>
                <a:lnTo>
                  <a:pt x="1073" y="41"/>
                </a:lnTo>
                <a:lnTo>
                  <a:pt x="1082" y="35"/>
                </a:lnTo>
                <a:lnTo>
                  <a:pt x="1091" y="30"/>
                </a:lnTo>
                <a:lnTo>
                  <a:pt x="1100" y="25"/>
                </a:lnTo>
                <a:lnTo>
                  <a:pt x="1110" y="20"/>
                </a:lnTo>
                <a:lnTo>
                  <a:pt x="1120" y="16"/>
                </a:lnTo>
                <a:lnTo>
                  <a:pt x="1130" y="12"/>
                </a:lnTo>
                <a:lnTo>
                  <a:pt x="1141" y="9"/>
                </a:lnTo>
                <a:lnTo>
                  <a:pt x="1152" y="6"/>
                </a:lnTo>
                <a:lnTo>
                  <a:pt x="1163" y="4"/>
                </a:lnTo>
                <a:lnTo>
                  <a:pt x="1174" y="2"/>
                </a:lnTo>
                <a:lnTo>
                  <a:pt x="1186" y="1"/>
                </a:lnTo>
                <a:lnTo>
                  <a:pt x="1197" y="0"/>
                </a:lnTo>
                <a:lnTo>
                  <a:pt x="1209" y="0"/>
                </a:lnTo>
                <a:close/>
                <a:moveTo>
                  <a:pt x="2022" y="7"/>
                </a:moveTo>
                <a:lnTo>
                  <a:pt x="2026" y="8"/>
                </a:lnTo>
                <a:lnTo>
                  <a:pt x="2028" y="8"/>
                </a:lnTo>
                <a:lnTo>
                  <a:pt x="2029" y="10"/>
                </a:lnTo>
                <a:lnTo>
                  <a:pt x="2030" y="11"/>
                </a:lnTo>
                <a:lnTo>
                  <a:pt x="2031" y="13"/>
                </a:lnTo>
                <a:lnTo>
                  <a:pt x="2031" y="16"/>
                </a:lnTo>
                <a:lnTo>
                  <a:pt x="2031" y="19"/>
                </a:lnTo>
                <a:lnTo>
                  <a:pt x="2017" y="88"/>
                </a:lnTo>
                <a:lnTo>
                  <a:pt x="2015" y="93"/>
                </a:lnTo>
                <a:lnTo>
                  <a:pt x="2013" y="96"/>
                </a:lnTo>
                <a:lnTo>
                  <a:pt x="2012" y="97"/>
                </a:lnTo>
                <a:lnTo>
                  <a:pt x="2010" y="98"/>
                </a:lnTo>
                <a:lnTo>
                  <a:pt x="2008" y="99"/>
                </a:lnTo>
                <a:lnTo>
                  <a:pt x="2005" y="99"/>
                </a:lnTo>
                <a:lnTo>
                  <a:pt x="1950" y="99"/>
                </a:lnTo>
                <a:lnTo>
                  <a:pt x="1950" y="416"/>
                </a:lnTo>
                <a:lnTo>
                  <a:pt x="1949" y="418"/>
                </a:lnTo>
                <a:lnTo>
                  <a:pt x="1949" y="420"/>
                </a:lnTo>
                <a:lnTo>
                  <a:pt x="1947" y="423"/>
                </a:lnTo>
                <a:lnTo>
                  <a:pt x="1945" y="424"/>
                </a:lnTo>
                <a:lnTo>
                  <a:pt x="1944" y="425"/>
                </a:lnTo>
                <a:lnTo>
                  <a:pt x="1940" y="426"/>
                </a:lnTo>
                <a:lnTo>
                  <a:pt x="1861" y="426"/>
                </a:lnTo>
                <a:lnTo>
                  <a:pt x="1858" y="425"/>
                </a:lnTo>
                <a:lnTo>
                  <a:pt x="1855" y="423"/>
                </a:lnTo>
                <a:lnTo>
                  <a:pt x="1854" y="421"/>
                </a:lnTo>
                <a:lnTo>
                  <a:pt x="1853" y="420"/>
                </a:lnTo>
                <a:lnTo>
                  <a:pt x="1853" y="418"/>
                </a:lnTo>
                <a:lnTo>
                  <a:pt x="1853" y="416"/>
                </a:lnTo>
                <a:lnTo>
                  <a:pt x="1853" y="99"/>
                </a:lnTo>
                <a:lnTo>
                  <a:pt x="1796" y="99"/>
                </a:lnTo>
                <a:lnTo>
                  <a:pt x="1792" y="98"/>
                </a:lnTo>
                <a:lnTo>
                  <a:pt x="1789" y="96"/>
                </a:lnTo>
                <a:lnTo>
                  <a:pt x="1787" y="93"/>
                </a:lnTo>
                <a:lnTo>
                  <a:pt x="1786" y="91"/>
                </a:lnTo>
                <a:lnTo>
                  <a:pt x="1786" y="89"/>
                </a:lnTo>
                <a:lnTo>
                  <a:pt x="1786" y="17"/>
                </a:lnTo>
                <a:lnTo>
                  <a:pt x="1786" y="15"/>
                </a:lnTo>
                <a:lnTo>
                  <a:pt x="1787" y="13"/>
                </a:lnTo>
                <a:lnTo>
                  <a:pt x="1789" y="10"/>
                </a:lnTo>
                <a:lnTo>
                  <a:pt x="1790" y="9"/>
                </a:lnTo>
                <a:lnTo>
                  <a:pt x="1792" y="8"/>
                </a:lnTo>
                <a:lnTo>
                  <a:pt x="1796" y="7"/>
                </a:lnTo>
                <a:lnTo>
                  <a:pt x="2022" y="7"/>
                </a:lnTo>
                <a:close/>
                <a:moveTo>
                  <a:pt x="1716" y="7"/>
                </a:moveTo>
                <a:lnTo>
                  <a:pt x="1720" y="8"/>
                </a:lnTo>
                <a:lnTo>
                  <a:pt x="1722" y="8"/>
                </a:lnTo>
                <a:lnTo>
                  <a:pt x="1723" y="10"/>
                </a:lnTo>
                <a:lnTo>
                  <a:pt x="1724" y="11"/>
                </a:lnTo>
                <a:lnTo>
                  <a:pt x="1725" y="13"/>
                </a:lnTo>
                <a:lnTo>
                  <a:pt x="1725" y="16"/>
                </a:lnTo>
                <a:lnTo>
                  <a:pt x="1725" y="19"/>
                </a:lnTo>
                <a:lnTo>
                  <a:pt x="1711" y="88"/>
                </a:lnTo>
                <a:lnTo>
                  <a:pt x="1710" y="93"/>
                </a:lnTo>
                <a:lnTo>
                  <a:pt x="1707" y="96"/>
                </a:lnTo>
                <a:lnTo>
                  <a:pt x="1706" y="97"/>
                </a:lnTo>
                <a:lnTo>
                  <a:pt x="1704" y="98"/>
                </a:lnTo>
                <a:lnTo>
                  <a:pt x="1702" y="99"/>
                </a:lnTo>
                <a:lnTo>
                  <a:pt x="1699" y="99"/>
                </a:lnTo>
                <a:lnTo>
                  <a:pt x="1653" y="99"/>
                </a:lnTo>
                <a:lnTo>
                  <a:pt x="1653" y="416"/>
                </a:lnTo>
                <a:lnTo>
                  <a:pt x="1653" y="418"/>
                </a:lnTo>
                <a:lnTo>
                  <a:pt x="1652" y="420"/>
                </a:lnTo>
                <a:lnTo>
                  <a:pt x="1650" y="423"/>
                </a:lnTo>
                <a:lnTo>
                  <a:pt x="1649" y="424"/>
                </a:lnTo>
                <a:lnTo>
                  <a:pt x="1647" y="425"/>
                </a:lnTo>
                <a:lnTo>
                  <a:pt x="1644" y="426"/>
                </a:lnTo>
                <a:lnTo>
                  <a:pt x="1565" y="426"/>
                </a:lnTo>
                <a:lnTo>
                  <a:pt x="1561" y="425"/>
                </a:lnTo>
                <a:lnTo>
                  <a:pt x="1558" y="423"/>
                </a:lnTo>
                <a:lnTo>
                  <a:pt x="1557" y="421"/>
                </a:lnTo>
                <a:lnTo>
                  <a:pt x="1557" y="420"/>
                </a:lnTo>
                <a:lnTo>
                  <a:pt x="1556" y="418"/>
                </a:lnTo>
                <a:lnTo>
                  <a:pt x="1556" y="416"/>
                </a:lnTo>
                <a:lnTo>
                  <a:pt x="1556" y="99"/>
                </a:lnTo>
                <a:lnTo>
                  <a:pt x="1490" y="99"/>
                </a:lnTo>
                <a:lnTo>
                  <a:pt x="1486" y="98"/>
                </a:lnTo>
                <a:lnTo>
                  <a:pt x="1483" y="96"/>
                </a:lnTo>
                <a:lnTo>
                  <a:pt x="1481" y="93"/>
                </a:lnTo>
                <a:lnTo>
                  <a:pt x="1481" y="91"/>
                </a:lnTo>
                <a:lnTo>
                  <a:pt x="1480" y="89"/>
                </a:lnTo>
                <a:lnTo>
                  <a:pt x="1480" y="17"/>
                </a:lnTo>
                <a:lnTo>
                  <a:pt x="1481" y="15"/>
                </a:lnTo>
                <a:lnTo>
                  <a:pt x="1481" y="13"/>
                </a:lnTo>
                <a:lnTo>
                  <a:pt x="1483" y="10"/>
                </a:lnTo>
                <a:lnTo>
                  <a:pt x="1484" y="9"/>
                </a:lnTo>
                <a:lnTo>
                  <a:pt x="1486" y="8"/>
                </a:lnTo>
                <a:lnTo>
                  <a:pt x="1490" y="7"/>
                </a:lnTo>
                <a:lnTo>
                  <a:pt x="1716" y="7"/>
                </a:lnTo>
                <a:close/>
                <a:moveTo>
                  <a:pt x="2168" y="281"/>
                </a:moveTo>
                <a:lnTo>
                  <a:pt x="2222" y="281"/>
                </a:lnTo>
                <a:lnTo>
                  <a:pt x="2195" y="154"/>
                </a:lnTo>
                <a:lnTo>
                  <a:pt x="2168" y="281"/>
                </a:lnTo>
                <a:close/>
                <a:moveTo>
                  <a:pt x="2236" y="359"/>
                </a:moveTo>
                <a:lnTo>
                  <a:pt x="2154" y="359"/>
                </a:lnTo>
                <a:lnTo>
                  <a:pt x="2142" y="416"/>
                </a:lnTo>
                <a:lnTo>
                  <a:pt x="2142" y="418"/>
                </a:lnTo>
                <a:lnTo>
                  <a:pt x="2141" y="420"/>
                </a:lnTo>
                <a:lnTo>
                  <a:pt x="2138" y="423"/>
                </a:lnTo>
                <a:lnTo>
                  <a:pt x="2136" y="424"/>
                </a:lnTo>
                <a:lnTo>
                  <a:pt x="2135" y="425"/>
                </a:lnTo>
                <a:lnTo>
                  <a:pt x="2133" y="426"/>
                </a:lnTo>
                <a:lnTo>
                  <a:pt x="2131" y="426"/>
                </a:lnTo>
                <a:lnTo>
                  <a:pt x="2058" y="426"/>
                </a:lnTo>
                <a:lnTo>
                  <a:pt x="2056" y="425"/>
                </a:lnTo>
                <a:lnTo>
                  <a:pt x="2054" y="425"/>
                </a:lnTo>
                <a:lnTo>
                  <a:pt x="2052" y="424"/>
                </a:lnTo>
                <a:lnTo>
                  <a:pt x="2051" y="422"/>
                </a:lnTo>
                <a:lnTo>
                  <a:pt x="2050" y="421"/>
                </a:lnTo>
                <a:lnTo>
                  <a:pt x="2049" y="418"/>
                </a:lnTo>
                <a:lnTo>
                  <a:pt x="2050" y="412"/>
                </a:lnTo>
                <a:lnTo>
                  <a:pt x="2142" y="17"/>
                </a:lnTo>
                <a:lnTo>
                  <a:pt x="2143" y="15"/>
                </a:lnTo>
                <a:lnTo>
                  <a:pt x="2144" y="13"/>
                </a:lnTo>
                <a:lnTo>
                  <a:pt x="2147" y="10"/>
                </a:lnTo>
                <a:lnTo>
                  <a:pt x="2149" y="9"/>
                </a:lnTo>
                <a:lnTo>
                  <a:pt x="2151" y="8"/>
                </a:lnTo>
                <a:lnTo>
                  <a:pt x="2155" y="7"/>
                </a:lnTo>
                <a:lnTo>
                  <a:pt x="2236" y="7"/>
                </a:lnTo>
                <a:lnTo>
                  <a:pt x="2239" y="7"/>
                </a:lnTo>
                <a:lnTo>
                  <a:pt x="2241" y="8"/>
                </a:lnTo>
                <a:lnTo>
                  <a:pt x="2245" y="10"/>
                </a:lnTo>
                <a:lnTo>
                  <a:pt x="2248" y="13"/>
                </a:lnTo>
                <a:lnTo>
                  <a:pt x="2249" y="15"/>
                </a:lnTo>
                <a:lnTo>
                  <a:pt x="2249" y="17"/>
                </a:lnTo>
                <a:lnTo>
                  <a:pt x="2343" y="412"/>
                </a:lnTo>
                <a:lnTo>
                  <a:pt x="2343" y="418"/>
                </a:lnTo>
                <a:lnTo>
                  <a:pt x="2343" y="421"/>
                </a:lnTo>
                <a:lnTo>
                  <a:pt x="2342" y="422"/>
                </a:lnTo>
                <a:lnTo>
                  <a:pt x="2341" y="424"/>
                </a:lnTo>
                <a:lnTo>
                  <a:pt x="2339" y="425"/>
                </a:lnTo>
                <a:lnTo>
                  <a:pt x="2335" y="426"/>
                </a:lnTo>
                <a:lnTo>
                  <a:pt x="2260" y="426"/>
                </a:lnTo>
                <a:lnTo>
                  <a:pt x="2256" y="425"/>
                </a:lnTo>
                <a:lnTo>
                  <a:pt x="2252" y="423"/>
                </a:lnTo>
                <a:lnTo>
                  <a:pt x="2251" y="422"/>
                </a:lnTo>
                <a:lnTo>
                  <a:pt x="2249" y="420"/>
                </a:lnTo>
                <a:lnTo>
                  <a:pt x="2248" y="418"/>
                </a:lnTo>
                <a:lnTo>
                  <a:pt x="2248" y="416"/>
                </a:lnTo>
                <a:lnTo>
                  <a:pt x="2236" y="359"/>
                </a:lnTo>
                <a:close/>
                <a:moveTo>
                  <a:pt x="912" y="4"/>
                </a:moveTo>
                <a:lnTo>
                  <a:pt x="915" y="5"/>
                </a:lnTo>
                <a:lnTo>
                  <a:pt x="918" y="7"/>
                </a:lnTo>
                <a:lnTo>
                  <a:pt x="919" y="9"/>
                </a:lnTo>
                <a:lnTo>
                  <a:pt x="920" y="10"/>
                </a:lnTo>
                <a:lnTo>
                  <a:pt x="921" y="12"/>
                </a:lnTo>
                <a:lnTo>
                  <a:pt x="921" y="14"/>
                </a:lnTo>
                <a:lnTo>
                  <a:pt x="921" y="291"/>
                </a:lnTo>
                <a:lnTo>
                  <a:pt x="921" y="301"/>
                </a:lnTo>
                <a:lnTo>
                  <a:pt x="920" y="310"/>
                </a:lnTo>
                <a:lnTo>
                  <a:pt x="919" y="320"/>
                </a:lnTo>
                <a:lnTo>
                  <a:pt x="918" y="328"/>
                </a:lnTo>
                <a:lnTo>
                  <a:pt x="917" y="336"/>
                </a:lnTo>
                <a:lnTo>
                  <a:pt x="915" y="344"/>
                </a:lnTo>
                <a:lnTo>
                  <a:pt x="911" y="359"/>
                </a:lnTo>
                <a:lnTo>
                  <a:pt x="908" y="365"/>
                </a:lnTo>
                <a:lnTo>
                  <a:pt x="906" y="372"/>
                </a:lnTo>
                <a:lnTo>
                  <a:pt x="899" y="383"/>
                </a:lnTo>
                <a:lnTo>
                  <a:pt x="896" y="388"/>
                </a:lnTo>
                <a:lnTo>
                  <a:pt x="893" y="393"/>
                </a:lnTo>
                <a:lnTo>
                  <a:pt x="885" y="401"/>
                </a:lnTo>
                <a:lnTo>
                  <a:pt x="877" y="408"/>
                </a:lnTo>
                <a:lnTo>
                  <a:pt x="872" y="411"/>
                </a:lnTo>
                <a:lnTo>
                  <a:pt x="868" y="414"/>
                </a:lnTo>
                <a:lnTo>
                  <a:pt x="858" y="419"/>
                </a:lnTo>
                <a:lnTo>
                  <a:pt x="849" y="422"/>
                </a:lnTo>
                <a:lnTo>
                  <a:pt x="839" y="425"/>
                </a:lnTo>
                <a:lnTo>
                  <a:pt x="829" y="427"/>
                </a:lnTo>
                <a:lnTo>
                  <a:pt x="819" y="428"/>
                </a:lnTo>
                <a:lnTo>
                  <a:pt x="808" y="428"/>
                </a:lnTo>
                <a:lnTo>
                  <a:pt x="796" y="428"/>
                </a:lnTo>
                <a:lnTo>
                  <a:pt x="784" y="427"/>
                </a:lnTo>
                <a:lnTo>
                  <a:pt x="774" y="425"/>
                </a:lnTo>
                <a:lnTo>
                  <a:pt x="764" y="423"/>
                </a:lnTo>
                <a:lnTo>
                  <a:pt x="759" y="421"/>
                </a:lnTo>
                <a:lnTo>
                  <a:pt x="756" y="419"/>
                </a:lnTo>
                <a:lnTo>
                  <a:pt x="753" y="415"/>
                </a:lnTo>
                <a:lnTo>
                  <a:pt x="752" y="411"/>
                </a:lnTo>
                <a:lnTo>
                  <a:pt x="739" y="353"/>
                </a:lnTo>
                <a:lnTo>
                  <a:pt x="738" y="350"/>
                </a:lnTo>
                <a:lnTo>
                  <a:pt x="739" y="347"/>
                </a:lnTo>
                <a:lnTo>
                  <a:pt x="739" y="345"/>
                </a:lnTo>
                <a:lnTo>
                  <a:pt x="741" y="344"/>
                </a:lnTo>
                <a:lnTo>
                  <a:pt x="742" y="342"/>
                </a:lnTo>
                <a:lnTo>
                  <a:pt x="744" y="341"/>
                </a:lnTo>
                <a:lnTo>
                  <a:pt x="746" y="341"/>
                </a:lnTo>
                <a:lnTo>
                  <a:pt x="749" y="341"/>
                </a:lnTo>
                <a:lnTo>
                  <a:pt x="763" y="344"/>
                </a:lnTo>
                <a:lnTo>
                  <a:pt x="773" y="346"/>
                </a:lnTo>
                <a:lnTo>
                  <a:pt x="785" y="346"/>
                </a:lnTo>
                <a:lnTo>
                  <a:pt x="791" y="346"/>
                </a:lnTo>
                <a:lnTo>
                  <a:pt x="797" y="345"/>
                </a:lnTo>
                <a:lnTo>
                  <a:pt x="803" y="344"/>
                </a:lnTo>
                <a:lnTo>
                  <a:pt x="808" y="342"/>
                </a:lnTo>
                <a:lnTo>
                  <a:pt x="812" y="339"/>
                </a:lnTo>
                <a:lnTo>
                  <a:pt x="816" y="336"/>
                </a:lnTo>
                <a:lnTo>
                  <a:pt x="817" y="335"/>
                </a:lnTo>
                <a:lnTo>
                  <a:pt x="819" y="333"/>
                </a:lnTo>
                <a:lnTo>
                  <a:pt x="821" y="328"/>
                </a:lnTo>
                <a:lnTo>
                  <a:pt x="824" y="323"/>
                </a:lnTo>
                <a:lnTo>
                  <a:pt x="825" y="318"/>
                </a:lnTo>
                <a:lnTo>
                  <a:pt x="827" y="311"/>
                </a:lnTo>
                <a:lnTo>
                  <a:pt x="828" y="304"/>
                </a:lnTo>
                <a:lnTo>
                  <a:pt x="829" y="297"/>
                </a:lnTo>
                <a:lnTo>
                  <a:pt x="829" y="288"/>
                </a:lnTo>
                <a:lnTo>
                  <a:pt x="830" y="269"/>
                </a:lnTo>
                <a:lnTo>
                  <a:pt x="830" y="14"/>
                </a:lnTo>
                <a:lnTo>
                  <a:pt x="830" y="12"/>
                </a:lnTo>
                <a:lnTo>
                  <a:pt x="830" y="10"/>
                </a:lnTo>
                <a:lnTo>
                  <a:pt x="832" y="7"/>
                </a:lnTo>
                <a:lnTo>
                  <a:pt x="833" y="6"/>
                </a:lnTo>
                <a:lnTo>
                  <a:pt x="835" y="5"/>
                </a:lnTo>
                <a:lnTo>
                  <a:pt x="837" y="5"/>
                </a:lnTo>
                <a:lnTo>
                  <a:pt x="838" y="4"/>
                </a:lnTo>
                <a:lnTo>
                  <a:pt x="912" y="4"/>
                </a:lnTo>
                <a:close/>
                <a:moveTo>
                  <a:pt x="2826" y="1740"/>
                </a:moveTo>
                <a:lnTo>
                  <a:pt x="2925" y="1740"/>
                </a:lnTo>
                <a:lnTo>
                  <a:pt x="2875" y="1609"/>
                </a:lnTo>
                <a:lnTo>
                  <a:pt x="2826" y="1740"/>
                </a:lnTo>
                <a:close/>
                <a:moveTo>
                  <a:pt x="2956" y="1822"/>
                </a:moveTo>
                <a:lnTo>
                  <a:pt x="2796" y="1822"/>
                </a:lnTo>
                <a:lnTo>
                  <a:pt x="2774" y="1879"/>
                </a:lnTo>
                <a:lnTo>
                  <a:pt x="2773" y="1882"/>
                </a:lnTo>
                <a:lnTo>
                  <a:pt x="2771" y="1884"/>
                </a:lnTo>
                <a:lnTo>
                  <a:pt x="2770" y="1885"/>
                </a:lnTo>
                <a:lnTo>
                  <a:pt x="2768" y="1887"/>
                </a:lnTo>
                <a:lnTo>
                  <a:pt x="2764" y="1888"/>
                </a:lnTo>
                <a:lnTo>
                  <a:pt x="2760" y="1889"/>
                </a:lnTo>
                <a:lnTo>
                  <a:pt x="2681" y="1889"/>
                </a:lnTo>
                <a:lnTo>
                  <a:pt x="2679" y="1889"/>
                </a:lnTo>
                <a:lnTo>
                  <a:pt x="2677" y="1888"/>
                </a:lnTo>
                <a:lnTo>
                  <a:pt x="2675" y="1887"/>
                </a:lnTo>
                <a:lnTo>
                  <a:pt x="2673" y="1885"/>
                </a:lnTo>
                <a:lnTo>
                  <a:pt x="2672" y="1883"/>
                </a:lnTo>
                <a:lnTo>
                  <a:pt x="2671" y="1881"/>
                </a:lnTo>
                <a:lnTo>
                  <a:pt x="2672" y="1878"/>
                </a:lnTo>
                <a:lnTo>
                  <a:pt x="2673" y="1875"/>
                </a:lnTo>
                <a:lnTo>
                  <a:pt x="2828" y="1480"/>
                </a:lnTo>
                <a:lnTo>
                  <a:pt x="2829" y="1477"/>
                </a:lnTo>
                <a:lnTo>
                  <a:pt x="2830" y="1475"/>
                </a:lnTo>
                <a:lnTo>
                  <a:pt x="2833" y="1472"/>
                </a:lnTo>
                <a:lnTo>
                  <a:pt x="2837" y="1471"/>
                </a:lnTo>
                <a:lnTo>
                  <a:pt x="2839" y="1470"/>
                </a:lnTo>
                <a:lnTo>
                  <a:pt x="2842" y="1470"/>
                </a:lnTo>
                <a:lnTo>
                  <a:pt x="2911" y="1470"/>
                </a:lnTo>
                <a:lnTo>
                  <a:pt x="2916" y="1471"/>
                </a:lnTo>
                <a:lnTo>
                  <a:pt x="2920" y="1472"/>
                </a:lnTo>
                <a:lnTo>
                  <a:pt x="2923" y="1475"/>
                </a:lnTo>
                <a:lnTo>
                  <a:pt x="2924" y="1477"/>
                </a:lnTo>
                <a:lnTo>
                  <a:pt x="2925" y="1480"/>
                </a:lnTo>
                <a:lnTo>
                  <a:pt x="3081" y="1875"/>
                </a:lnTo>
                <a:lnTo>
                  <a:pt x="3082" y="1878"/>
                </a:lnTo>
                <a:lnTo>
                  <a:pt x="3082" y="1881"/>
                </a:lnTo>
                <a:lnTo>
                  <a:pt x="3081" y="1883"/>
                </a:lnTo>
                <a:lnTo>
                  <a:pt x="3080" y="1885"/>
                </a:lnTo>
                <a:lnTo>
                  <a:pt x="3079" y="1887"/>
                </a:lnTo>
                <a:lnTo>
                  <a:pt x="3077" y="1888"/>
                </a:lnTo>
                <a:lnTo>
                  <a:pt x="3074" y="1889"/>
                </a:lnTo>
                <a:lnTo>
                  <a:pt x="3072" y="1889"/>
                </a:lnTo>
                <a:lnTo>
                  <a:pt x="2991" y="1889"/>
                </a:lnTo>
                <a:lnTo>
                  <a:pt x="2987" y="1888"/>
                </a:lnTo>
                <a:lnTo>
                  <a:pt x="2985" y="1888"/>
                </a:lnTo>
                <a:lnTo>
                  <a:pt x="2983" y="1887"/>
                </a:lnTo>
                <a:lnTo>
                  <a:pt x="2981" y="1885"/>
                </a:lnTo>
                <a:lnTo>
                  <a:pt x="2980" y="1884"/>
                </a:lnTo>
                <a:lnTo>
                  <a:pt x="2979" y="1882"/>
                </a:lnTo>
                <a:lnTo>
                  <a:pt x="2978" y="1879"/>
                </a:lnTo>
                <a:lnTo>
                  <a:pt x="2956" y="1822"/>
                </a:lnTo>
                <a:close/>
                <a:moveTo>
                  <a:pt x="1829" y="1889"/>
                </a:moveTo>
                <a:lnTo>
                  <a:pt x="1747" y="1889"/>
                </a:lnTo>
                <a:lnTo>
                  <a:pt x="1743" y="1888"/>
                </a:lnTo>
                <a:lnTo>
                  <a:pt x="1739" y="1886"/>
                </a:lnTo>
                <a:lnTo>
                  <a:pt x="1738" y="1885"/>
                </a:lnTo>
                <a:lnTo>
                  <a:pt x="1737" y="1883"/>
                </a:lnTo>
                <a:lnTo>
                  <a:pt x="1737" y="1881"/>
                </a:lnTo>
                <a:lnTo>
                  <a:pt x="1737" y="1879"/>
                </a:lnTo>
                <a:lnTo>
                  <a:pt x="1737" y="1480"/>
                </a:lnTo>
                <a:lnTo>
                  <a:pt x="1737" y="1478"/>
                </a:lnTo>
                <a:lnTo>
                  <a:pt x="1737" y="1476"/>
                </a:lnTo>
                <a:lnTo>
                  <a:pt x="1739" y="1473"/>
                </a:lnTo>
                <a:lnTo>
                  <a:pt x="1741" y="1472"/>
                </a:lnTo>
                <a:lnTo>
                  <a:pt x="1743" y="1471"/>
                </a:lnTo>
                <a:lnTo>
                  <a:pt x="1747" y="1470"/>
                </a:lnTo>
                <a:lnTo>
                  <a:pt x="1829" y="1470"/>
                </a:lnTo>
                <a:lnTo>
                  <a:pt x="1833" y="1471"/>
                </a:lnTo>
                <a:lnTo>
                  <a:pt x="1836" y="1473"/>
                </a:lnTo>
                <a:lnTo>
                  <a:pt x="1837" y="1474"/>
                </a:lnTo>
                <a:lnTo>
                  <a:pt x="1838" y="1476"/>
                </a:lnTo>
                <a:lnTo>
                  <a:pt x="1839" y="1478"/>
                </a:lnTo>
                <a:lnTo>
                  <a:pt x="1839" y="1480"/>
                </a:lnTo>
                <a:lnTo>
                  <a:pt x="1839" y="1655"/>
                </a:lnTo>
                <a:lnTo>
                  <a:pt x="1982" y="1480"/>
                </a:lnTo>
                <a:lnTo>
                  <a:pt x="1986" y="1476"/>
                </a:lnTo>
                <a:lnTo>
                  <a:pt x="1987" y="1474"/>
                </a:lnTo>
                <a:lnTo>
                  <a:pt x="1990" y="1473"/>
                </a:lnTo>
                <a:lnTo>
                  <a:pt x="1992" y="1472"/>
                </a:lnTo>
                <a:lnTo>
                  <a:pt x="1994" y="1471"/>
                </a:lnTo>
                <a:lnTo>
                  <a:pt x="1997" y="1470"/>
                </a:lnTo>
                <a:lnTo>
                  <a:pt x="2000" y="1470"/>
                </a:lnTo>
                <a:lnTo>
                  <a:pt x="2095" y="1470"/>
                </a:lnTo>
                <a:lnTo>
                  <a:pt x="2098" y="1471"/>
                </a:lnTo>
                <a:lnTo>
                  <a:pt x="2101" y="1472"/>
                </a:lnTo>
                <a:lnTo>
                  <a:pt x="2102" y="1473"/>
                </a:lnTo>
                <a:lnTo>
                  <a:pt x="2103" y="1475"/>
                </a:lnTo>
                <a:lnTo>
                  <a:pt x="2104" y="1478"/>
                </a:lnTo>
                <a:lnTo>
                  <a:pt x="2104" y="1480"/>
                </a:lnTo>
                <a:lnTo>
                  <a:pt x="2103" y="1483"/>
                </a:lnTo>
                <a:lnTo>
                  <a:pt x="2101" y="1485"/>
                </a:lnTo>
                <a:lnTo>
                  <a:pt x="1970" y="1646"/>
                </a:lnTo>
                <a:lnTo>
                  <a:pt x="2105" y="1876"/>
                </a:lnTo>
                <a:lnTo>
                  <a:pt x="2107" y="1878"/>
                </a:lnTo>
                <a:lnTo>
                  <a:pt x="2107" y="1880"/>
                </a:lnTo>
                <a:lnTo>
                  <a:pt x="2107" y="1883"/>
                </a:lnTo>
                <a:lnTo>
                  <a:pt x="2106" y="1885"/>
                </a:lnTo>
                <a:lnTo>
                  <a:pt x="2105" y="1886"/>
                </a:lnTo>
                <a:lnTo>
                  <a:pt x="2104" y="1888"/>
                </a:lnTo>
                <a:lnTo>
                  <a:pt x="2102" y="1888"/>
                </a:lnTo>
                <a:lnTo>
                  <a:pt x="2099" y="1889"/>
                </a:lnTo>
                <a:lnTo>
                  <a:pt x="2003" y="1889"/>
                </a:lnTo>
                <a:lnTo>
                  <a:pt x="1998" y="1888"/>
                </a:lnTo>
                <a:lnTo>
                  <a:pt x="1994" y="1887"/>
                </a:lnTo>
                <a:lnTo>
                  <a:pt x="1992" y="1885"/>
                </a:lnTo>
                <a:lnTo>
                  <a:pt x="1991" y="1884"/>
                </a:lnTo>
                <a:lnTo>
                  <a:pt x="1988" y="1879"/>
                </a:lnTo>
                <a:lnTo>
                  <a:pt x="1892" y="1713"/>
                </a:lnTo>
                <a:lnTo>
                  <a:pt x="1839" y="1778"/>
                </a:lnTo>
                <a:lnTo>
                  <a:pt x="1839" y="1879"/>
                </a:lnTo>
                <a:lnTo>
                  <a:pt x="1839" y="1881"/>
                </a:lnTo>
                <a:lnTo>
                  <a:pt x="1838" y="1883"/>
                </a:lnTo>
                <a:lnTo>
                  <a:pt x="1836" y="1886"/>
                </a:lnTo>
                <a:lnTo>
                  <a:pt x="1835" y="1887"/>
                </a:lnTo>
                <a:lnTo>
                  <a:pt x="1833" y="1888"/>
                </a:lnTo>
                <a:lnTo>
                  <a:pt x="1829" y="1889"/>
                </a:lnTo>
                <a:close/>
                <a:moveTo>
                  <a:pt x="2168" y="1480"/>
                </a:moveTo>
                <a:lnTo>
                  <a:pt x="2168" y="1478"/>
                </a:lnTo>
                <a:lnTo>
                  <a:pt x="2168" y="1476"/>
                </a:lnTo>
                <a:lnTo>
                  <a:pt x="2171" y="1473"/>
                </a:lnTo>
                <a:lnTo>
                  <a:pt x="2172" y="1472"/>
                </a:lnTo>
                <a:lnTo>
                  <a:pt x="2174" y="1471"/>
                </a:lnTo>
                <a:lnTo>
                  <a:pt x="2178" y="1470"/>
                </a:lnTo>
                <a:lnTo>
                  <a:pt x="2260" y="1470"/>
                </a:lnTo>
                <a:lnTo>
                  <a:pt x="2264" y="1471"/>
                </a:lnTo>
                <a:lnTo>
                  <a:pt x="2267" y="1473"/>
                </a:lnTo>
                <a:lnTo>
                  <a:pt x="2268" y="1474"/>
                </a:lnTo>
                <a:lnTo>
                  <a:pt x="2269" y="1476"/>
                </a:lnTo>
                <a:lnTo>
                  <a:pt x="2270" y="1478"/>
                </a:lnTo>
                <a:lnTo>
                  <a:pt x="2270" y="1480"/>
                </a:lnTo>
                <a:lnTo>
                  <a:pt x="2270" y="1879"/>
                </a:lnTo>
                <a:lnTo>
                  <a:pt x="2270" y="1881"/>
                </a:lnTo>
                <a:lnTo>
                  <a:pt x="2269" y="1883"/>
                </a:lnTo>
                <a:lnTo>
                  <a:pt x="2267" y="1886"/>
                </a:lnTo>
                <a:lnTo>
                  <a:pt x="2266" y="1887"/>
                </a:lnTo>
                <a:lnTo>
                  <a:pt x="2264" y="1888"/>
                </a:lnTo>
                <a:lnTo>
                  <a:pt x="2260" y="1889"/>
                </a:lnTo>
                <a:lnTo>
                  <a:pt x="2178" y="1889"/>
                </a:lnTo>
                <a:lnTo>
                  <a:pt x="2174" y="1888"/>
                </a:lnTo>
                <a:lnTo>
                  <a:pt x="2171" y="1886"/>
                </a:lnTo>
                <a:lnTo>
                  <a:pt x="2169" y="1885"/>
                </a:lnTo>
                <a:lnTo>
                  <a:pt x="2168" y="1883"/>
                </a:lnTo>
                <a:lnTo>
                  <a:pt x="2168" y="1881"/>
                </a:lnTo>
                <a:lnTo>
                  <a:pt x="2168" y="1879"/>
                </a:lnTo>
                <a:lnTo>
                  <a:pt x="2168" y="1480"/>
                </a:lnTo>
                <a:close/>
                <a:moveTo>
                  <a:pt x="2470" y="1879"/>
                </a:moveTo>
                <a:lnTo>
                  <a:pt x="2323" y="1484"/>
                </a:lnTo>
                <a:lnTo>
                  <a:pt x="2322" y="1481"/>
                </a:lnTo>
                <a:lnTo>
                  <a:pt x="2322" y="1478"/>
                </a:lnTo>
                <a:lnTo>
                  <a:pt x="2322" y="1476"/>
                </a:lnTo>
                <a:lnTo>
                  <a:pt x="2323" y="1474"/>
                </a:lnTo>
                <a:lnTo>
                  <a:pt x="2325" y="1472"/>
                </a:lnTo>
                <a:lnTo>
                  <a:pt x="2327" y="1471"/>
                </a:lnTo>
                <a:lnTo>
                  <a:pt x="2329" y="1470"/>
                </a:lnTo>
                <a:lnTo>
                  <a:pt x="2332" y="1470"/>
                </a:lnTo>
                <a:lnTo>
                  <a:pt x="2415" y="1470"/>
                </a:lnTo>
                <a:lnTo>
                  <a:pt x="2419" y="1471"/>
                </a:lnTo>
                <a:lnTo>
                  <a:pt x="2421" y="1471"/>
                </a:lnTo>
                <a:lnTo>
                  <a:pt x="2423" y="1472"/>
                </a:lnTo>
                <a:lnTo>
                  <a:pt x="2425" y="1474"/>
                </a:lnTo>
                <a:lnTo>
                  <a:pt x="2426" y="1475"/>
                </a:lnTo>
                <a:lnTo>
                  <a:pt x="2428" y="1477"/>
                </a:lnTo>
                <a:lnTo>
                  <a:pt x="2429" y="1480"/>
                </a:lnTo>
                <a:lnTo>
                  <a:pt x="2521" y="1734"/>
                </a:lnTo>
                <a:lnTo>
                  <a:pt x="2614" y="1480"/>
                </a:lnTo>
                <a:lnTo>
                  <a:pt x="2615" y="1477"/>
                </a:lnTo>
                <a:lnTo>
                  <a:pt x="2616" y="1475"/>
                </a:lnTo>
                <a:lnTo>
                  <a:pt x="2618" y="1474"/>
                </a:lnTo>
                <a:lnTo>
                  <a:pt x="2619" y="1472"/>
                </a:lnTo>
                <a:lnTo>
                  <a:pt x="2623" y="1471"/>
                </a:lnTo>
                <a:lnTo>
                  <a:pt x="2627" y="1470"/>
                </a:lnTo>
                <a:lnTo>
                  <a:pt x="2709" y="1470"/>
                </a:lnTo>
                <a:lnTo>
                  <a:pt x="2711" y="1470"/>
                </a:lnTo>
                <a:lnTo>
                  <a:pt x="2714" y="1471"/>
                </a:lnTo>
                <a:lnTo>
                  <a:pt x="2716" y="1472"/>
                </a:lnTo>
                <a:lnTo>
                  <a:pt x="2717" y="1474"/>
                </a:lnTo>
                <a:lnTo>
                  <a:pt x="2718" y="1476"/>
                </a:lnTo>
                <a:lnTo>
                  <a:pt x="2719" y="1478"/>
                </a:lnTo>
                <a:lnTo>
                  <a:pt x="2719" y="1481"/>
                </a:lnTo>
                <a:lnTo>
                  <a:pt x="2718" y="1484"/>
                </a:lnTo>
                <a:lnTo>
                  <a:pt x="2571" y="1879"/>
                </a:lnTo>
                <a:lnTo>
                  <a:pt x="2569" y="1883"/>
                </a:lnTo>
                <a:lnTo>
                  <a:pt x="2567" y="1885"/>
                </a:lnTo>
                <a:lnTo>
                  <a:pt x="2566" y="1886"/>
                </a:lnTo>
                <a:lnTo>
                  <a:pt x="2564" y="1887"/>
                </a:lnTo>
                <a:lnTo>
                  <a:pt x="2562" y="1888"/>
                </a:lnTo>
                <a:lnTo>
                  <a:pt x="2560" y="1889"/>
                </a:lnTo>
                <a:lnTo>
                  <a:pt x="2557" y="1889"/>
                </a:lnTo>
                <a:lnTo>
                  <a:pt x="2484" y="1889"/>
                </a:lnTo>
                <a:lnTo>
                  <a:pt x="2481" y="1889"/>
                </a:lnTo>
                <a:lnTo>
                  <a:pt x="2479" y="1888"/>
                </a:lnTo>
                <a:lnTo>
                  <a:pt x="2475" y="1886"/>
                </a:lnTo>
                <a:lnTo>
                  <a:pt x="2473" y="1885"/>
                </a:lnTo>
                <a:lnTo>
                  <a:pt x="2472" y="1883"/>
                </a:lnTo>
                <a:lnTo>
                  <a:pt x="2470" y="1879"/>
                </a:lnTo>
                <a:close/>
                <a:moveTo>
                  <a:pt x="224" y="1804"/>
                </a:moveTo>
                <a:lnTo>
                  <a:pt x="236" y="1804"/>
                </a:lnTo>
                <a:lnTo>
                  <a:pt x="247" y="1802"/>
                </a:lnTo>
                <a:lnTo>
                  <a:pt x="259" y="1799"/>
                </a:lnTo>
                <a:lnTo>
                  <a:pt x="264" y="1797"/>
                </a:lnTo>
                <a:lnTo>
                  <a:pt x="269" y="1795"/>
                </a:lnTo>
                <a:lnTo>
                  <a:pt x="280" y="1791"/>
                </a:lnTo>
                <a:lnTo>
                  <a:pt x="289" y="1785"/>
                </a:lnTo>
                <a:lnTo>
                  <a:pt x="298" y="1778"/>
                </a:lnTo>
                <a:lnTo>
                  <a:pt x="306" y="1770"/>
                </a:lnTo>
                <a:lnTo>
                  <a:pt x="314" y="1762"/>
                </a:lnTo>
                <a:lnTo>
                  <a:pt x="320" y="1752"/>
                </a:lnTo>
                <a:lnTo>
                  <a:pt x="326" y="1742"/>
                </a:lnTo>
                <a:lnTo>
                  <a:pt x="331" y="1731"/>
                </a:lnTo>
                <a:lnTo>
                  <a:pt x="333" y="1725"/>
                </a:lnTo>
                <a:lnTo>
                  <a:pt x="334" y="1719"/>
                </a:lnTo>
                <a:lnTo>
                  <a:pt x="337" y="1707"/>
                </a:lnTo>
                <a:lnTo>
                  <a:pt x="339" y="1693"/>
                </a:lnTo>
                <a:lnTo>
                  <a:pt x="339" y="1687"/>
                </a:lnTo>
                <a:lnTo>
                  <a:pt x="340" y="1680"/>
                </a:lnTo>
                <a:lnTo>
                  <a:pt x="339" y="1666"/>
                </a:lnTo>
                <a:lnTo>
                  <a:pt x="337" y="1652"/>
                </a:lnTo>
                <a:lnTo>
                  <a:pt x="334" y="1640"/>
                </a:lnTo>
                <a:lnTo>
                  <a:pt x="333" y="1634"/>
                </a:lnTo>
                <a:lnTo>
                  <a:pt x="331" y="1628"/>
                </a:lnTo>
                <a:lnTo>
                  <a:pt x="326" y="1617"/>
                </a:lnTo>
                <a:lnTo>
                  <a:pt x="320" y="1607"/>
                </a:lnTo>
                <a:lnTo>
                  <a:pt x="314" y="1597"/>
                </a:lnTo>
                <a:lnTo>
                  <a:pt x="310" y="1593"/>
                </a:lnTo>
                <a:lnTo>
                  <a:pt x="306" y="1589"/>
                </a:lnTo>
                <a:lnTo>
                  <a:pt x="302" y="1585"/>
                </a:lnTo>
                <a:lnTo>
                  <a:pt x="298" y="1581"/>
                </a:lnTo>
                <a:lnTo>
                  <a:pt x="294" y="1578"/>
                </a:lnTo>
                <a:lnTo>
                  <a:pt x="289" y="1574"/>
                </a:lnTo>
                <a:lnTo>
                  <a:pt x="280" y="1568"/>
                </a:lnTo>
                <a:lnTo>
                  <a:pt x="275" y="1566"/>
                </a:lnTo>
                <a:lnTo>
                  <a:pt x="269" y="1564"/>
                </a:lnTo>
                <a:lnTo>
                  <a:pt x="264" y="1562"/>
                </a:lnTo>
                <a:lnTo>
                  <a:pt x="259" y="1560"/>
                </a:lnTo>
                <a:lnTo>
                  <a:pt x="247" y="1557"/>
                </a:lnTo>
                <a:lnTo>
                  <a:pt x="236" y="1555"/>
                </a:lnTo>
                <a:lnTo>
                  <a:pt x="230" y="1555"/>
                </a:lnTo>
                <a:lnTo>
                  <a:pt x="224" y="1555"/>
                </a:lnTo>
                <a:lnTo>
                  <a:pt x="212" y="1555"/>
                </a:lnTo>
                <a:lnTo>
                  <a:pt x="200" y="1557"/>
                </a:lnTo>
                <a:lnTo>
                  <a:pt x="189" y="1560"/>
                </a:lnTo>
                <a:lnTo>
                  <a:pt x="183" y="1562"/>
                </a:lnTo>
                <a:lnTo>
                  <a:pt x="178" y="1564"/>
                </a:lnTo>
                <a:lnTo>
                  <a:pt x="168" y="1568"/>
                </a:lnTo>
                <a:lnTo>
                  <a:pt x="158" y="1574"/>
                </a:lnTo>
                <a:lnTo>
                  <a:pt x="149" y="1581"/>
                </a:lnTo>
                <a:lnTo>
                  <a:pt x="141" y="1589"/>
                </a:lnTo>
                <a:lnTo>
                  <a:pt x="134" y="1597"/>
                </a:lnTo>
                <a:lnTo>
                  <a:pt x="127" y="1607"/>
                </a:lnTo>
                <a:lnTo>
                  <a:pt x="121" y="1617"/>
                </a:lnTo>
                <a:lnTo>
                  <a:pt x="117" y="1628"/>
                </a:lnTo>
                <a:lnTo>
                  <a:pt x="115" y="1634"/>
                </a:lnTo>
                <a:lnTo>
                  <a:pt x="113" y="1640"/>
                </a:lnTo>
                <a:lnTo>
                  <a:pt x="110" y="1652"/>
                </a:lnTo>
                <a:lnTo>
                  <a:pt x="108" y="1666"/>
                </a:lnTo>
                <a:lnTo>
                  <a:pt x="108" y="1672"/>
                </a:lnTo>
                <a:lnTo>
                  <a:pt x="108" y="1680"/>
                </a:lnTo>
                <a:lnTo>
                  <a:pt x="108" y="1693"/>
                </a:lnTo>
                <a:lnTo>
                  <a:pt x="110" y="1707"/>
                </a:lnTo>
                <a:lnTo>
                  <a:pt x="113" y="1719"/>
                </a:lnTo>
                <a:lnTo>
                  <a:pt x="115" y="1725"/>
                </a:lnTo>
                <a:lnTo>
                  <a:pt x="117" y="1731"/>
                </a:lnTo>
                <a:lnTo>
                  <a:pt x="121" y="1742"/>
                </a:lnTo>
                <a:lnTo>
                  <a:pt x="127" y="1752"/>
                </a:lnTo>
                <a:lnTo>
                  <a:pt x="134" y="1762"/>
                </a:lnTo>
                <a:lnTo>
                  <a:pt x="137" y="1766"/>
                </a:lnTo>
                <a:lnTo>
                  <a:pt x="141" y="1770"/>
                </a:lnTo>
                <a:lnTo>
                  <a:pt x="145" y="1774"/>
                </a:lnTo>
                <a:lnTo>
                  <a:pt x="149" y="1778"/>
                </a:lnTo>
                <a:lnTo>
                  <a:pt x="154" y="1781"/>
                </a:lnTo>
                <a:lnTo>
                  <a:pt x="158" y="1785"/>
                </a:lnTo>
                <a:lnTo>
                  <a:pt x="168" y="1791"/>
                </a:lnTo>
                <a:lnTo>
                  <a:pt x="173" y="1793"/>
                </a:lnTo>
                <a:lnTo>
                  <a:pt x="178" y="1795"/>
                </a:lnTo>
                <a:lnTo>
                  <a:pt x="183" y="1797"/>
                </a:lnTo>
                <a:lnTo>
                  <a:pt x="189" y="1799"/>
                </a:lnTo>
                <a:lnTo>
                  <a:pt x="200" y="1802"/>
                </a:lnTo>
                <a:lnTo>
                  <a:pt x="212" y="1804"/>
                </a:lnTo>
                <a:lnTo>
                  <a:pt x="218" y="1804"/>
                </a:lnTo>
                <a:lnTo>
                  <a:pt x="224" y="1804"/>
                </a:lnTo>
                <a:close/>
                <a:moveTo>
                  <a:pt x="224" y="1463"/>
                </a:moveTo>
                <a:lnTo>
                  <a:pt x="236" y="1463"/>
                </a:lnTo>
                <a:lnTo>
                  <a:pt x="247" y="1464"/>
                </a:lnTo>
                <a:lnTo>
                  <a:pt x="259" y="1465"/>
                </a:lnTo>
                <a:lnTo>
                  <a:pt x="270" y="1467"/>
                </a:lnTo>
                <a:lnTo>
                  <a:pt x="281" y="1470"/>
                </a:lnTo>
                <a:lnTo>
                  <a:pt x="292" y="1472"/>
                </a:lnTo>
                <a:lnTo>
                  <a:pt x="302" y="1476"/>
                </a:lnTo>
                <a:lnTo>
                  <a:pt x="313" y="1479"/>
                </a:lnTo>
                <a:lnTo>
                  <a:pt x="323" y="1483"/>
                </a:lnTo>
                <a:lnTo>
                  <a:pt x="332" y="1488"/>
                </a:lnTo>
                <a:lnTo>
                  <a:pt x="342" y="1493"/>
                </a:lnTo>
                <a:lnTo>
                  <a:pt x="351" y="1499"/>
                </a:lnTo>
                <a:lnTo>
                  <a:pt x="359" y="1504"/>
                </a:lnTo>
                <a:lnTo>
                  <a:pt x="364" y="1507"/>
                </a:lnTo>
                <a:lnTo>
                  <a:pt x="368" y="1511"/>
                </a:lnTo>
                <a:lnTo>
                  <a:pt x="372" y="1514"/>
                </a:lnTo>
                <a:lnTo>
                  <a:pt x="376" y="1517"/>
                </a:lnTo>
                <a:lnTo>
                  <a:pt x="383" y="1524"/>
                </a:lnTo>
                <a:lnTo>
                  <a:pt x="387" y="1528"/>
                </a:lnTo>
                <a:lnTo>
                  <a:pt x="391" y="1532"/>
                </a:lnTo>
                <a:lnTo>
                  <a:pt x="398" y="1539"/>
                </a:lnTo>
                <a:lnTo>
                  <a:pt x="404" y="1548"/>
                </a:lnTo>
                <a:lnTo>
                  <a:pt x="407" y="1552"/>
                </a:lnTo>
                <a:lnTo>
                  <a:pt x="410" y="1556"/>
                </a:lnTo>
                <a:lnTo>
                  <a:pt x="416" y="1565"/>
                </a:lnTo>
                <a:lnTo>
                  <a:pt x="421" y="1574"/>
                </a:lnTo>
                <a:lnTo>
                  <a:pt x="426" y="1583"/>
                </a:lnTo>
                <a:lnTo>
                  <a:pt x="430" y="1593"/>
                </a:lnTo>
                <a:lnTo>
                  <a:pt x="432" y="1598"/>
                </a:lnTo>
                <a:lnTo>
                  <a:pt x="434" y="1603"/>
                </a:lnTo>
                <a:lnTo>
                  <a:pt x="437" y="1613"/>
                </a:lnTo>
                <a:lnTo>
                  <a:pt x="440" y="1623"/>
                </a:lnTo>
                <a:lnTo>
                  <a:pt x="443" y="1634"/>
                </a:lnTo>
                <a:lnTo>
                  <a:pt x="445" y="1645"/>
                </a:lnTo>
                <a:lnTo>
                  <a:pt x="446" y="1656"/>
                </a:lnTo>
                <a:lnTo>
                  <a:pt x="446" y="1662"/>
                </a:lnTo>
                <a:lnTo>
                  <a:pt x="447" y="1668"/>
                </a:lnTo>
                <a:lnTo>
                  <a:pt x="447" y="1680"/>
                </a:lnTo>
                <a:lnTo>
                  <a:pt x="447" y="1691"/>
                </a:lnTo>
                <a:lnTo>
                  <a:pt x="446" y="1703"/>
                </a:lnTo>
                <a:lnTo>
                  <a:pt x="445" y="1714"/>
                </a:lnTo>
                <a:lnTo>
                  <a:pt x="443" y="1725"/>
                </a:lnTo>
                <a:lnTo>
                  <a:pt x="440" y="1736"/>
                </a:lnTo>
                <a:lnTo>
                  <a:pt x="437" y="1746"/>
                </a:lnTo>
                <a:lnTo>
                  <a:pt x="434" y="1756"/>
                </a:lnTo>
                <a:lnTo>
                  <a:pt x="430" y="1766"/>
                </a:lnTo>
                <a:lnTo>
                  <a:pt x="426" y="1776"/>
                </a:lnTo>
                <a:lnTo>
                  <a:pt x="421" y="1785"/>
                </a:lnTo>
                <a:lnTo>
                  <a:pt x="416" y="1794"/>
                </a:lnTo>
                <a:lnTo>
                  <a:pt x="410" y="1803"/>
                </a:lnTo>
                <a:lnTo>
                  <a:pt x="404" y="1811"/>
                </a:lnTo>
                <a:lnTo>
                  <a:pt x="398" y="1820"/>
                </a:lnTo>
                <a:lnTo>
                  <a:pt x="391" y="1827"/>
                </a:lnTo>
                <a:lnTo>
                  <a:pt x="383" y="1835"/>
                </a:lnTo>
                <a:lnTo>
                  <a:pt x="376" y="1842"/>
                </a:lnTo>
                <a:lnTo>
                  <a:pt x="368" y="1848"/>
                </a:lnTo>
                <a:lnTo>
                  <a:pt x="359" y="1855"/>
                </a:lnTo>
                <a:lnTo>
                  <a:pt x="351" y="1860"/>
                </a:lnTo>
                <a:lnTo>
                  <a:pt x="342" y="1866"/>
                </a:lnTo>
                <a:lnTo>
                  <a:pt x="332" y="1871"/>
                </a:lnTo>
                <a:lnTo>
                  <a:pt x="323" y="1876"/>
                </a:lnTo>
                <a:lnTo>
                  <a:pt x="313" y="1880"/>
                </a:lnTo>
                <a:lnTo>
                  <a:pt x="302" y="1883"/>
                </a:lnTo>
                <a:lnTo>
                  <a:pt x="292" y="1887"/>
                </a:lnTo>
                <a:lnTo>
                  <a:pt x="281" y="1889"/>
                </a:lnTo>
                <a:lnTo>
                  <a:pt x="270" y="1892"/>
                </a:lnTo>
                <a:lnTo>
                  <a:pt x="259" y="1894"/>
                </a:lnTo>
                <a:lnTo>
                  <a:pt x="247" y="1895"/>
                </a:lnTo>
                <a:lnTo>
                  <a:pt x="236" y="1896"/>
                </a:lnTo>
                <a:lnTo>
                  <a:pt x="224" y="1896"/>
                </a:lnTo>
                <a:lnTo>
                  <a:pt x="212" y="1896"/>
                </a:lnTo>
                <a:lnTo>
                  <a:pt x="200" y="1895"/>
                </a:lnTo>
                <a:lnTo>
                  <a:pt x="188" y="1894"/>
                </a:lnTo>
                <a:lnTo>
                  <a:pt x="177" y="1892"/>
                </a:lnTo>
                <a:lnTo>
                  <a:pt x="166" y="1889"/>
                </a:lnTo>
                <a:lnTo>
                  <a:pt x="155" y="1887"/>
                </a:lnTo>
                <a:lnTo>
                  <a:pt x="145" y="1883"/>
                </a:lnTo>
                <a:lnTo>
                  <a:pt x="135" y="1880"/>
                </a:lnTo>
                <a:lnTo>
                  <a:pt x="125" y="1876"/>
                </a:lnTo>
                <a:lnTo>
                  <a:pt x="115" y="1871"/>
                </a:lnTo>
                <a:lnTo>
                  <a:pt x="106" y="1866"/>
                </a:lnTo>
                <a:lnTo>
                  <a:pt x="97" y="1860"/>
                </a:lnTo>
                <a:lnTo>
                  <a:pt x="88" y="1855"/>
                </a:lnTo>
                <a:lnTo>
                  <a:pt x="84" y="1852"/>
                </a:lnTo>
                <a:lnTo>
                  <a:pt x="79" y="1848"/>
                </a:lnTo>
                <a:lnTo>
                  <a:pt x="75" y="1845"/>
                </a:lnTo>
                <a:lnTo>
                  <a:pt x="71" y="1842"/>
                </a:lnTo>
                <a:lnTo>
                  <a:pt x="64" y="1835"/>
                </a:lnTo>
                <a:lnTo>
                  <a:pt x="60" y="1831"/>
                </a:lnTo>
                <a:lnTo>
                  <a:pt x="56" y="1827"/>
                </a:lnTo>
                <a:lnTo>
                  <a:pt x="50" y="1820"/>
                </a:lnTo>
                <a:lnTo>
                  <a:pt x="43" y="1811"/>
                </a:lnTo>
                <a:lnTo>
                  <a:pt x="40" y="1807"/>
                </a:lnTo>
                <a:lnTo>
                  <a:pt x="37" y="1803"/>
                </a:lnTo>
                <a:lnTo>
                  <a:pt x="31" y="1794"/>
                </a:lnTo>
                <a:lnTo>
                  <a:pt x="26" y="1785"/>
                </a:lnTo>
                <a:lnTo>
                  <a:pt x="21" y="1776"/>
                </a:lnTo>
                <a:lnTo>
                  <a:pt x="17" y="1766"/>
                </a:lnTo>
                <a:lnTo>
                  <a:pt x="15" y="1761"/>
                </a:lnTo>
                <a:lnTo>
                  <a:pt x="13" y="1756"/>
                </a:lnTo>
                <a:lnTo>
                  <a:pt x="10" y="1746"/>
                </a:lnTo>
                <a:lnTo>
                  <a:pt x="7" y="1736"/>
                </a:lnTo>
                <a:lnTo>
                  <a:pt x="4" y="1725"/>
                </a:lnTo>
                <a:lnTo>
                  <a:pt x="3" y="1714"/>
                </a:lnTo>
                <a:lnTo>
                  <a:pt x="1" y="1703"/>
                </a:lnTo>
                <a:lnTo>
                  <a:pt x="1" y="1697"/>
                </a:lnTo>
                <a:lnTo>
                  <a:pt x="0" y="1691"/>
                </a:lnTo>
                <a:lnTo>
                  <a:pt x="0" y="1680"/>
                </a:lnTo>
                <a:lnTo>
                  <a:pt x="0" y="1668"/>
                </a:lnTo>
                <a:lnTo>
                  <a:pt x="1" y="1656"/>
                </a:lnTo>
                <a:lnTo>
                  <a:pt x="3" y="1645"/>
                </a:lnTo>
                <a:lnTo>
                  <a:pt x="4" y="1634"/>
                </a:lnTo>
                <a:lnTo>
                  <a:pt x="7" y="1623"/>
                </a:lnTo>
                <a:lnTo>
                  <a:pt x="10" y="1613"/>
                </a:lnTo>
                <a:lnTo>
                  <a:pt x="13" y="1603"/>
                </a:lnTo>
                <a:lnTo>
                  <a:pt x="17" y="1593"/>
                </a:lnTo>
                <a:lnTo>
                  <a:pt x="21" y="1583"/>
                </a:lnTo>
                <a:lnTo>
                  <a:pt x="26" y="1574"/>
                </a:lnTo>
                <a:lnTo>
                  <a:pt x="31" y="1565"/>
                </a:lnTo>
                <a:lnTo>
                  <a:pt x="37" y="1556"/>
                </a:lnTo>
                <a:lnTo>
                  <a:pt x="43" y="1548"/>
                </a:lnTo>
                <a:lnTo>
                  <a:pt x="50" y="1539"/>
                </a:lnTo>
                <a:lnTo>
                  <a:pt x="56" y="1532"/>
                </a:lnTo>
                <a:lnTo>
                  <a:pt x="64" y="1524"/>
                </a:lnTo>
                <a:lnTo>
                  <a:pt x="71" y="1517"/>
                </a:lnTo>
                <a:lnTo>
                  <a:pt x="79" y="1511"/>
                </a:lnTo>
                <a:lnTo>
                  <a:pt x="88" y="1504"/>
                </a:lnTo>
                <a:lnTo>
                  <a:pt x="97" y="1499"/>
                </a:lnTo>
                <a:lnTo>
                  <a:pt x="106" y="1493"/>
                </a:lnTo>
                <a:lnTo>
                  <a:pt x="115" y="1488"/>
                </a:lnTo>
                <a:lnTo>
                  <a:pt x="125" y="1483"/>
                </a:lnTo>
                <a:lnTo>
                  <a:pt x="135" y="1479"/>
                </a:lnTo>
                <a:lnTo>
                  <a:pt x="145" y="1476"/>
                </a:lnTo>
                <a:lnTo>
                  <a:pt x="155" y="1472"/>
                </a:lnTo>
                <a:lnTo>
                  <a:pt x="166" y="1470"/>
                </a:lnTo>
                <a:lnTo>
                  <a:pt x="177" y="1467"/>
                </a:lnTo>
                <a:lnTo>
                  <a:pt x="188" y="1465"/>
                </a:lnTo>
                <a:lnTo>
                  <a:pt x="200" y="1464"/>
                </a:lnTo>
                <a:lnTo>
                  <a:pt x="212" y="1463"/>
                </a:lnTo>
                <a:lnTo>
                  <a:pt x="224" y="1463"/>
                </a:lnTo>
                <a:close/>
                <a:moveTo>
                  <a:pt x="1090" y="1810"/>
                </a:moveTo>
                <a:lnTo>
                  <a:pt x="1096" y="1809"/>
                </a:lnTo>
                <a:lnTo>
                  <a:pt x="1102" y="1809"/>
                </a:lnTo>
                <a:lnTo>
                  <a:pt x="1112" y="1807"/>
                </a:lnTo>
                <a:lnTo>
                  <a:pt x="1116" y="1806"/>
                </a:lnTo>
                <a:lnTo>
                  <a:pt x="1120" y="1804"/>
                </a:lnTo>
                <a:lnTo>
                  <a:pt x="1128" y="1800"/>
                </a:lnTo>
                <a:lnTo>
                  <a:pt x="1131" y="1798"/>
                </a:lnTo>
                <a:lnTo>
                  <a:pt x="1133" y="1795"/>
                </a:lnTo>
                <a:lnTo>
                  <a:pt x="1136" y="1792"/>
                </a:lnTo>
                <a:lnTo>
                  <a:pt x="1138" y="1789"/>
                </a:lnTo>
                <a:lnTo>
                  <a:pt x="1139" y="1786"/>
                </a:lnTo>
                <a:lnTo>
                  <a:pt x="1140" y="1782"/>
                </a:lnTo>
                <a:lnTo>
                  <a:pt x="1141" y="1779"/>
                </a:lnTo>
                <a:lnTo>
                  <a:pt x="1141" y="1775"/>
                </a:lnTo>
                <a:lnTo>
                  <a:pt x="1141" y="1771"/>
                </a:lnTo>
                <a:lnTo>
                  <a:pt x="1140" y="1767"/>
                </a:lnTo>
                <a:lnTo>
                  <a:pt x="1139" y="1763"/>
                </a:lnTo>
                <a:lnTo>
                  <a:pt x="1138" y="1760"/>
                </a:lnTo>
                <a:lnTo>
                  <a:pt x="1134" y="1754"/>
                </a:lnTo>
                <a:lnTo>
                  <a:pt x="1130" y="1749"/>
                </a:lnTo>
                <a:lnTo>
                  <a:pt x="1127" y="1747"/>
                </a:lnTo>
                <a:lnTo>
                  <a:pt x="1124" y="1744"/>
                </a:lnTo>
                <a:lnTo>
                  <a:pt x="1120" y="1742"/>
                </a:lnTo>
                <a:lnTo>
                  <a:pt x="1116" y="1740"/>
                </a:lnTo>
                <a:lnTo>
                  <a:pt x="1099" y="1732"/>
                </a:lnTo>
                <a:lnTo>
                  <a:pt x="1038" y="1703"/>
                </a:lnTo>
                <a:lnTo>
                  <a:pt x="1031" y="1699"/>
                </a:lnTo>
                <a:lnTo>
                  <a:pt x="1023" y="1695"/>
                </a:lnTo>
                <a:lnTo>
                  <a:pt x="1016" y="1691"/>
                </a:lnTo>
                <a:lnTo>
                  <a:pt x="1010" y="1686"/>
                </a:lnTo>
                <a:lnTo>
                  <a:pt x="1003" y="1680"/>
                </a:lnTo>
                <a:lnTo>
                  <a:pt x="997" y="1674"/>
                </a:lnTo>
                <a:lnTo>
                  <a:pt x="992" y="1668"/>
                </a:lnTo>
                <a:lnTo>
                  <a:pt x="986" y="1661"/>
                </a:lnTo>
                <a:lnTo>
                  <a:pt x="982" y="1654"/>
                </a:lnTo>
                <a:lnTo>
                  <a:pt x="978" y="1646"/>
                </a:lnTo>
                <a:lnTo>
                  <a:pt x="974" y="1638"/>
                </a:lnTo>
                <a:lnTo>
                  <a:pt x="971" y="1629"/>
                </a:lnTo>
                <a:lnTo>
                  <a:pt x="969" y="1620"/>
                </a:lnTo>
                <a:lnTo>
                  <a:pt x="967" y="1610"/>
                </a:lnTo>
                <a:lnTo>
                  <a:pt x="966" y="1600"/>
                </a:lnTo>
                <a:lnTo>
                  <a:pt x="965" y="1590"/>
                </a:lnTo>
                <a:lnTo>
                  <a:pt x="966" y="1583"/>
                </a:lnTo>
                <a:lnTo>
                  <a:pt x="966" y="1576"/>
                </a:lnTo>
                <a:lnTo>
                  <a:pt x="967" y="1570"/>
                </a:lnTo>
                <a:lnTo>
                  <a:pt x="968" y="1563"/>
                </a:lnTo>
                <a:lnTo>
                  <a:pt x="971" y="1551"/>
                </a:lnTo>
                <a:lnTo>
                  <a:pt x="973" y="1545"/>
                </a:lnTo>
                <a:lnTo>
                  <a:pt x="976" y="1539"/>
                </a:lnTo>
                <a:lnTo>
                  <a:pt x="979" y="1534"/>
                </a:lnTo>
                <a:lnTo>
                  <a:pt x="982" y="1528"/>
                </a:lnTo>
                <a:lnTo>
                  <a:pt x="988" y="1518"/>
                </a:lnTo>
                <a:lnTo>
                  <a:pt x="996" y="1508"/>
                </a:lnTo>
                <a:lnTo>
                  <a:pt x="1005" y="1499"/>
                </a:lnTo>
                <a:lnTo>
                  <a:pt x="1015" y="1491"/>
                </a:lnTo>
                <a:lnTo>
                  <a:pt x="1026" y="1484"/>
                </a:lnTo>
                <a:lnTo>
                  <a:pt x="1037" y="1478"/>
                </a:lnTo>
                <a:lnTo>
                  <a:pt x="1044" y="1475"/>
                </a:lnTo>
                <a:lnTo>
                  <a:pt x="1050" y="1473"/>
                </a:lnTo>
                <a:lnTo>
                  <a:pt x="1063" y="1469"/>
                </a:lnTo>
                <a:lnTo>
                  <a:pt x="1070" y="1467"/>
                </a:lnTo>
                <a:lnTo>
                  <a:pt x="1077" y="1466"/>
                </a:lnTo>
                <a:lnTo>
                  <a:pt x="1085" y="1464"/>
                </a:lnTo>
                <a:lnTo>
                  <a:pt x="1092" y="1464"/>
                </a:lnTo>
                <a:lnTo>
                  <a:pt x="1107" y="1463"/>
                </a:lnTo>
                <a:lnTo>
                  <a:pt x="1122" y="1464"/>
                </a:lnTo>
                <a:lnTo>
                  <a:pt x="1137" y="1465"/>
                </a:lnTo>
                <a:lnTo>
                  <a:pt x="1145" y="1466"/>
                </a:lnTo>
                <a:lnTo>
                  <a:pt x="1152" y="1467"/>
                </a:lnTo>
                <a:lnTo>
                  <a:pt x="1159" y="1468"/>
                </a:lnTo>
                <a:lnTo>
                  <a:pt x="1166" y="1470"/>
                </a:lnTo>
                <a:lnTo>
                  <a:pt x="1180" y="1474"/>
                </a:lnTo>
                <a:lnTo>
                  <a:pt x="1193" y="1479"/>
                </a:lnTo>
                <a:lnTo>
                  <a:pt x="1206" y="1484"/>
                </a:lnTo>
                <a:lnTo>
                  <a:pt x="1217" y="1490"/>
                </a:lnTo>
                <a:lnTo>
                  <a:pt x="1219" y="1492"/>
                </a:lnTo>
                <a:lnTo>
                  <a:pt x="1221" y="1494"/>
                </a:lnTo>
                <a:lnTo>
                  <a:pt x="1222" y="1496"/>
                </a:lnTo>
                <a:lnTo>
                  <a:pt x="1223" y="1498"/>
                </a:lnTo>
                <a:lnTo>
                  <a:pt x="1223" y="1502"/>
                </a:lnTo>
                <a:lnTo>
                  <a:pt x="1221" y="1507"/>
                </a:lnTo>
                <a:lnTo>
                  <a:pt x="1197" y="1562"/>
                </a:lnTo>
                <a:lnTo>
                  <a:pt x="1194" y="1567"/>
                </a:lnTo>
                <a:lnTo>
                  <a:pt x="1192" y="1569"/>
                </a:lnTo>
                <a:lnTo>
                  <a:pt x="1191" y="1570"/>
                </a:lnTo>
                <a:lnTo>
                  <a:pt x="1186" y="1570"/>
                </a:lnTo>
                <a:lnTo>
                  <a:pt x="1184" y="1570"/>
                </a:lnTo>
                <a:lnTo>
                  <a:pt x="1181" y="1569"/>
                </a:lnTo>
                <a:lnTo>
                  <a:pt x="1172" y="1565"/>
                </a:lnTo>
                <a:lnTo>
                  <a:pt x="1164" y="1561"/>
                </a:lnTo>
                <a:lnTo>
                  <a:pt x="1156" y="1558"/>
                </a:lnTo>
                <a:lnTo>
                  <a:pt x="1147" y="1555"/>
                </a:lnTo>
                <a:lnTo>
                  <a:pt x="1139" y="1552"/>
                </a:lnTo>
                <a:lnTo>
                  <a:pt x="1130" y="1551"/>
                </a:lnTo>
                <a:lnTo>
                  <a:pt x="1121" y="1550"/>
                </a:lnTo>
                <a:lnTo>
                  <a:pt x="1111" y="1549"/>
                </a:lnTo>
                <a:lnTo>
                  <a:pt x="1101" y="1550"/>
                </a:lnTo>
                <a:lnTo>
                  <a:pt x="1092" y="1552"/>
                </a:lnTo>
                <a:lnTo>
                  <a:pt x="1088" y="1553"/>
                </a:lnTo>
                <a:lnTo>
                  <a:pt x="1085" y="1555"/>
                </a:lnTo>
                <a:lnTo>
                  <a:pt x="1078" y="1559"/>
                </a:lnTo>
                <a:lnTo>
                  <a:pt x="1075" y="1561"/>
                </a:lnTo>
                <a:lnTo>
                  <a:pt x="1073" y="1564"/>
                </a:lnTo>
                <a:lnTo>
                  <a:pt x="1071" y="1567"/>
                </a:lnTo>
                <a:lnTo>
                  <a:pt x="1069" y="1570"/>
                </a:lnTo>
                <a:lnTo>
                  <a:pt x="1068" y="1573"/>
                </a:lnTo>
                <a:lnTo>
                  <a:pt x="1067" y="1576"/>
                </a:lnTo>
                <a:lnTo>
                  <a:pt x="1067" y="1580"/>
                </a:lnTo>
                <a:lnTo>
                  <a:pt x="1067" y="1583"/>
                </a:lnTo>
                <a:lnTo>
                  <a:pt x="1067" y="1587"/>
                </a:lnTo>
                <a:lnTo>
                  <a:pt x="1067" y="1590"/>
                </a:lnTo>
                <a:lnTo>
                  <a:pt x="1069" y="1597"/>
                </a:lnTo>
                <a:lnTo>
                  <a:pt x="1073" y="1602"/>
                </a:lnTo>
                <a:lnTo>
                  <a:pt x="1075" y="1605"/>
                </a:lnTo>
                <a:lnTo>
                  <a:pt x="1077" y="1608"/>
                </a:lnTo>
                <a:lnTo>
                  <a:pt x="1080" y="1610"/>
                </a:lnTo>
                <a:lnTo>
                  <a:pt x="1083" y="1612"/>
                </a:lnTo>
                <a:lnTo>
                  <a:pt x="1090" y="1617"/>
                </a:lnTo>
                <a:lnTo>
                  <a:pt x="1098" y="1621"/>
                </a:lnTo>
                <a:lnTo>
                  <a:pt x="1108" y="1626"/>
                </a:lnTo>
                <a:lnTo>
                  <a:pt x="1170" y="1655"/>
                </a:lnTo>
                <a:lnTo>
                  <a:pt x="1178" y="1659"/>
                </a:lnTo>
                <a:lnTo>
                  <a:pt x="1185" y="1663"/>
                </a:lnTo>
                <a:lnTo>
                  <a:pt x="1193" y="1667"/>
                </a:lnTo>
                <a:lnTo>
                  <a:pt x="1199" y="1672"/>
                </a:lnTo>
                <a:lnTo>
                  <a:pt x="1206" y="1678"/>
                </a:lnTo>
                <a:lnTo>
                  <a:pt x="1212" y="1684"/>
                </a:lnTo>
                <a:lnTo>
                  <a:pt x="1217" y="1690"/>
                </a:lnTo>
                <a:lnTo>
                  <a:pt x="1222" y="1696"/>
                </a:lnTo>
                <a:lnTo>
                  <a:pt x="1225" y="1700"/>
                </a:lnTo>
                <a:lnTo>
                  <a:pt x="1227" y="1703"/>
                </a:lnTo>
                <a:lnTo>
                  <a:pt x="1231" y="1711"/>
                </a:lnTo>
                <a:lnTo>
                  <a:pt x="1234" y="1719"/>
                </a:lnTo>
                <a:lnTo>
                  <a:pt x="1237" y="1727"/>
                </a:lnTo>
                <a:lnTo>
                  <a:pt x="1239" y="1731"/>
                </a:lnTo>
                <a:lnTo>
                  <a:pt x="1240" y="1736"/>
                </a:lnTo>
                <a:lnTo>
                  <a:pt x="1241" y="1745"/>
                </a:lnTo>
                <a:lnTo>
                  <a:pt x="1242" y="1755"/>
                </a:lnTo>
                <a:lnTo>
                  <a:pt x="1243" y="1766"/>
                </a:lnTo>
                <a:lnTo>
                  <a:pt x="1243" y="1773"/>
                </a:lnTo>
                <a:lnTo>
                  <a:pt x="1242" y="1780"/>
                </a:lnTo>
                <a:lnTo>
                  <a:pt x="1240" y="1793"/>
                </a:lnTo>
                <a:lnTo>
                  <a:pt x="1238" y="1799"/>
                </a:lnTo>
                <a:lnTo>
                  <a:pt x="1236" y="1806"/>
                </a:lnTo>
                <a:lnTo>
                  <a:pt x="1232" y="1818"/>
                </a:lnTo>
                <a:lnTo>
                  <a:pt x="1229" y="1824"/>
                </a:lnTo>
                <a:lnTo>
                  <a:pt x="1226" y="1829"/>
                </a:lnTo>
                <a:lnTo>
                  <a:pt x="1222" y="1835"/>
                </a:lnTo>
                <a:lnTo>
                  <a:pt x="1218" y="1840"/>
                </a:lnTo>
                <a:lnTo>
                  <a:pt x="1214" y="1845"/>
                </a:lnTo>
                <a:lnTo>
                  <a:pt x="1210" y="1850"/>
                </a:lnTo>
                <a:lnTo>
                  <a:pt x="1206" y="1855"/>
                </a:lnTo>
                <a:lnTo>
                  <a:pt x="1201" y="1859"/>
                </a:lnTo>
                <a:lnTo>
                  <a:pt x="1196" y="1863"/>
                </a:lnTo>
                <a:lnTo>
                  <a:pt x="1190" y="1867"/>
                </a:lnTo>
                <a:lnTo>
                  <a:pt x="1179" y="1875"/>
                </a:lnTo>
                <a:lnTo>
                  <a:pt x="1173" y="1878"/>
                </a:lnTo>
                <a:lnTo>
                  <a:pt x="1166" y="1881"/>
                </a:lnTo>
                <a:lnTo>
                  <a:pt x="1160" y="1884"/>
                </a:lnTo>
                <a:lnTo>
                  <a:pt x="1153" y="1886"/>
                </a:lnTo>
                <a:lnTo>
                  <a:pt x="1139" y="1890"/>
                </a:lnTo>
                <a:lnTo>
                  <a:pt x="1132" y="1892"/>
                </a:lnTo>
                <a:lnTo>
                  <a:pt x="1124" y="1893"/>
                </a:lnTo>
                <a:lnTo>
                  <a:pt x="1117" y="1895"/>
                </a:lnTo>
                <a:lnTo>
                  <a:pt x="1109" y="1895"/>
                </a:lnTo>
                <a:lnTo>
                  <a:pt x="1093" y="1896"/>
                </a:lnTo>
                <a:lnTo>
                  <a:pt x="1075" y="1895"/>
                </a:lnTo>
                <a:lnTo>
                  <a:pt x="1066" y="1894"/>
                </a:lnTo>
                <a:lnTo>
                  <a:pt x="1057" y="1893"/>
                </a:lnTo>
                <a:lnTo>
                  <a:pt x="1048" y="1891"/>
                </a:lnTo>
                <a:lnTo>
                  <a:pt x="1040" y="1890"/>
                </a:lnTo>
                <a:lnTo>
                  <a:pt x="1031" y="1887"/>
                </a:lnTo>
                <a:lnTo>
                  <a:pt x="1023" y="1885"/>
                </a:lnTo>
                <a:lnTo>
                  <a:pt x="1007" y="1880"/>
                </a:lnTo>
                <a:lnTo>
                  <a:pt x="992" y="1873"/>
                </a:lnTo>
                <a:lnTo>
                  <a:pt x="977" y="1866"/>
                </a:lnTo>
                <a:lnTo>
                  <a:pt x="964" y="1859"/>
                </a:lnTo>
                <a:lnTo>
                  <a:pt x="961" y="1857"/>
                </a:lnTo>
                <a:lnTo>
                  <a:pt x="959" y="1854"/>
                </a:lnTo>
                <a:lnTo>
                  <a:pt x="958" y="1852"/>
                </a:lnTo>
                <a:lnTo>
                  <a:pt x="957" y="1850"/>
                </a:lnTo>
                <a:lnTo>
                  <a:pt x="958" y="1846"/>
                </a:lnTo>
                <a:lnTo>
                  <a:pt x="960" y="1842"/>
                </a:lnTo>
                <a:lnTo>
                  <a:pt x="984" y="1787"/>
                </a:lnTo>
                <a:lnTo>
                  <a:pt x="987" y="1782"/>
                </a:lnTo>
                <a:lnTo>
                  <a:pt x="989" y="1780"/>
                </a:lnTo>
                <a:lnTo>
                  <a:pt x="990" y="1779"/>
                </a:lnTo>
                <a:lnTo>
                  <a:pt x="993" y="1778"/>
                </a:lnTo>
                <a:lnTo>
                  <a:pt x="995" y="1778"/>
                </a:lnTo>
                <a:lnTo>
                  <a:pt x="997" y="1779"/>
                </a:lnTo>
                <a:lnTo>
                  <a:pt x="1000" y="1780"/>
                </a:lnTo>
                <a:lnTo>
                  <a:pt x="1012" y="1787"/>
                </a:lnTo>
                <a:lnTo>
                  <a:pt x="1023" y="1792"/>
                </a:lnTo>
                <a:lnTo>
                  <a:pt x="1034" y="1797"/>
                </a:lnTo>
                <a:lnTo>
                  <a:pt x="1045" y="1802"/>
                </a:lnTo>
                <a:lnTo>
                  <a:pt x="1056" y="1805"/>
                </a:lnTo>
                <a:lnTo>
                  <a:pt x="1067" y="1808"/>
                </a:lnTo>
                <a:lnTo>
                  <a:pt x="1079" y="1809"/>
                </a:lnTo>
                <a:lnTo>
                  <a:pt x="1090" y="1810"/>
                </a:lnTo>
                <a:close/>
                <a:moveTo>
                  <a:pt x="512" y="1480"/>
                </a:moveTo>
                <a:lnTo>
                  <a:pt x="512" y="1478"/>
                </a:lnTo>
                <a:lnTo>
                  <a:pt x="513" y="1476"/>
                </a:lnTo>
                <a:lnTo>
                  <a:pt x="515" y="1473"/>
                </a:lnTo>
                <a:lnTo>
                  <a:pt x="516" y="1472"/>
                </a:lnTo>
                <a:lnTo>
                  <a:pt x="518" y="1471"/>
                </a:lnTo>
                <a:lnTo>
                  <a:pt x="522" y="1470"/>
                </a:lnTo>
                <a:lnTo>
                  <a:pt x="606" y="1470"/>
                </a:lnTo>
                <a:lnTo>
                  <a:pt x="609" y="1471"/>
                </a:lnTo>
                <a:lnTo>
                  <a:pt x="612" y="1473"/>
                </a:lnTo>
                <a:lnTo>
                  <a:pt x="613" y="1474"/>
                </a:lnTo>
                <a:lnTo>
                  <a:pt x="614" y="1476"/>
                </a:lnTo>
                <a:lnTo>
                  <a:pt x="614" y="1478"/>
                </a:lnTo>
                <a:lnTo>
                  <a:pt x="615" y="1480"/>
                </a:lnTo>
                <a:lnTo>
                  <a:pt x="615" y="1797"/>
                </a:lnTo>
                <a:lnTo>
                  <a:pt x="689" y="1797"/>
                </a:lnTo>
                <a:lnTo>
                  <a:pt x="693" y="1797"/>
                </a:lnTo>
                <a:lnTo>
                  <a:pt x="696" y="1799"/>
                </a:lnTo>
                <a:lnTo>
                  <a:pt x="697" y="1801"/>
                </a:lnTo>
                <a:lnTo>
                  <a:pt x="697" y="1803"/>
                </a:lnTo>
                <a:lnTo>
                  <a:pt x="698" y="1804"/>
                </a:lnTo>
                <a:lnTo>
                  <a:pt x="698" y="1807"/>
                </a:lnTo>
                <a:lnTo>
                  <a:pt x="698" y="1879"/>
                </a:lnTo>
                <a:lnTo>
                  <a:pt x="698" y="1881"/>
                </a:lnTo>
                <a:lnTo>
                  <a:pt x="697" y="1883"/>
                </a:lnTo>
                <a:lnTo>
                  <a:pt x="696" y="1886"/>
                </a:lnTo>
                <a:lnTo>
                  <a:pt x="694" y="1887"/>
                </a:lnTo>
                <a:lnTo>
                  <a:pt x="693" y="1888"/>
                </a:lnTo>
                <a:lnTo>
                  <a:pt x="691" y="1889"/>
                </a:lnTo>
                <a:lnTo>
                  <a:pt x="689" y="1889"/>
                </a:lnTo>
                <a:lnTo>
                  <a:pt x="522" y="1889"/>
                </a:lnTo>
                <a:lnTo>
                  <a:pt x="518" y="1888"/>
                </a:lnTo>
                <a:lnTo>
                  <a:pt x="515" y="1886"/>
                </a:lnTo>
                <a:lnTo>
                  <a:pt x="513" y="1883"/>
                </a:lnTo>
                <a:lnTo>
                  <a:pt x="512" y="1881"/>
                </a:lnTo>
                <a:lnTo>
                  <a:pt x="512" y="1879"/>
                </a:lnTo>
                <a:lnTo>
                  <a:pt x="512" y="1480"/>
                </a:lnTo>
                <a:close/>
                <a:moveTo>
                  <a:pt x="777" y="1480"/>
                </a:moveTo>
                <a:lnTo>
                  <a:pt x="777" y="1478"/>
                </a:lnTo>
                <a:lnTo>
                  <a:pt x="778" y="1476"/>
                </a:lnTo>
                <a:lnTo>
                  <a:pt x="780" y="1473"/>
                </a:lnTo>
                <a:lnTo>
                  <a:pt x="781" y="1472"/>
                </a:lnTo>
                <a:lnTo>
                  <a:pt x="783" y="1471"/>
                </a:lnTo>
                <a:lnTo>
                  <a:pt x="787" y="1470"/>
                </a:lnTo>
                <a:lnTo>
                  <a:pt x="869" y="1470"/>
                </a:lnTo>
                <a:lnTo>
                  <a:pt x="873" y="1471"/>
                </a:lnTo>
                <a:lnTo>
                  <a:pt x="876" y="1473"/>
                </a:lnTo>
                <a:lnTo>
                  <a:pt x="878" y="1474"/>
                </a:lnTo>
                <a:lnTo>
                  <a:pt x="879" y="1476"/>
                </a:lnTo>
                <a:lnTo>
                  <a:pt x="879" y="1478"/>
                </a:lnTo>
                <a:lnTo>
                  <a:pt x="879" y="1480"/>
                </a:lnTo>
                <a:lnTo>
                  <a:pt x="879" y="1879"/>
                </a:lnTo>
                <a:lnTo>
                  <a:pt x="879" y="1881"/>
                </a:lnTo>
                <a:lnTo>
                  <a:pt x="879" y="1883"/>
                </a:lnTo>
                <a:lnTo>
                  <a:pt x="876" y="1886"/>
                </a:lnTo>
                <a:lnTo>
                  <a:pt x="875" y="1887"/>
                </a:lnTo>
                <a:lnTo>
                  <a:pt x="873" y="1888"/>
                </a:lnTo>
                <a:lnTo>
                  <a:pt x="869" y="1889"/>
                </a:lnTo>
                <a:lnTo>
                  <a:pt x="787" y="1889"/>
                </a:lnTo>
                <a:lnTo>
                  <a:pt x="783" y="1888"/>
                </a:lnTo>
                <a:lnTo>
                  <a:pt x="780" y="1886"/>
                </a:lnTo>
                <a:lnTo>
                  <a:pt x="779" y="1885"/>
                </a:lnTo>
                <a:lnTo>
                  <a:pt x="778" y="1883"/>
                </a:lnTo>
                <a:lnTo>
                  <a:pt x="777" y="1881"/>
                </a:lnTo>
                <a:lnTo>
                  <a:pt x="777" y="1879"/>
                </a:lnTo>
                <a:lnTo>
                  <a:pt x="777" y="148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4DE6EB03-ADE0-4B24-9A55-03D1EB203501}"/>
              </a:ext>
            </a:extLst>
          </p:cNvPr>
          <p:cNvSpPr>
            <a:spLocks noEditPoints="1"/>
          </p:cNvSpPr>
          <p:nvPr userDrawn="1"/>
        </p:nvSpPr>
        <p:spPr bwMode="auto">
          <a:xfrm flipH="1">
            <a:off x="5519494" y="0"/>
            <a:ext cx="6409154" cy="6858000"/>
          </a:xfrm>
          <a:custGeom>
            <a:avLst/>
            <a:gdLst>
              <a:gd name="T0" fmla="*/ 2381 w 4041"/>
              <a:gd name="T1" fmla="*/ 2204 h 4324"/>
              <a:gd name="T2" fmla="*/ 2381 w 4041"/>
              <a:gd name="T3" fmla="*/ 3804 h 4324"/>
              <a:gd name="T4" fmla="*/ 2300 w 4041"/>
              <a:gd name="T5" fmla="*/ 3816 h 4324"/>
              <a:gd name="T6" fmla="*/ 2276 w 4041"/>
              <a:gd name="T7" fmla="*/ 3788 h 4324"/>
              <a:gd name="T8" fmla="*/ 2294 w 4041"/>
              <a:gd name="T9" fmla="*/ 2192 h 4324"/>
              <a:gd name="T10" fmla="*/ 1573 w 4041"/>
              <a:gd name="T11" fmla="*/ 2196 h 4324"/>
              <a:gd name="T12" fmla="*/ 1587 w 4041"/>
              <a:gd name="T13" fmla="*/ 3794 h 4324"/>
              <a:gd name="T14" fmla="*/ 1557 w 4041"/>
              <a:gd name="T15" fmla="*/ 3818 h 4324"/>
              <a:gd name="T16" fmla="*/ 1434 w 4041"/>
              <a:gd name="T17" fmla="*/ 3798 h 4324"/>
              <a:gd name="T18" fmla="*/ 1440 w 4041"/>
              <a:gd name="T19" fmla="*/ 2200 h 4324"/>
              <a:gd name="T20" fmla="*/ 444 w 4041"/>
              <a:gd name="T21" fmla="*/ 2190 h 4324"/>
              <a:gd name="T22" fmla="*/ 469 w 4041"/>
              <a:gd name="T23" fmla="*/ 2220 h 4324"/>
              <a:gd name="T24" fmla="*/ 450 w 4041"/>
              <a:gd name="T25" fmla="*/ 3814 h 4324"/>
              <a:gd name="T26" fmla="*/ 408 w 4041"/>
              <a:gd name="T27" fmla="*/ 3808 h 4324"/>
              <a:gd name="T28" fmla="*/ 400 w 4041"/>
              <a:gd name="T29" fmla="*/ 2208 h 4324"/>
              <a:gd name="T30" fmla="*/ 685 w 4041"/>
              <a:gd name="T31" fmla="*/ 510 h 4324"/>
              <a:gd name="T32" fmla="*/ 808 w 4041"/>
              <a:gd name="T33" fmla="*/ 528 h 4324"/>
              <a:gd name="T34" fmla="*/ 802 w 4041"/>
              <a:gd name="T35" fmla="*/ 2128 h 4324"/>
              <a:gd name="T36" fmla="*/ 672 w 4041"/>
              <a:gd name="T37" fmla="*/ 2134 h 4324"/>
              <a:gd name="T38" fmla="*/ 654 w 4041"/>
              <a:gd name="T39" fmla="*/ 540 h 4324"/>
              <a:gd name="T40" fmla="*/ 679 w 4041"/>
              <a:gd name="T41" fmla="*/ 510 h 4324"/>
              <a:gd name="T42" fmla="*/ 3375 w 4041"/>
              <a:gd name="T43" fmla="*/ 518 h 4324"/>
              <a:gd name="T44" fmla="*/ 3381 w 4041"/>
              <a:gd name="T45" fmla="*/ 2118 h 4324"/>
              <a:gd name="T46" fmla="*/ 3342 w 4041"/>
              <a:gd name="T47" fmla="*/ 2136 h 4324"/>
              <a:gd name="T48" fmla="*/ 3314 w 4041"/>
              <a:gd name="T49" fmla="*/ 2112 h 4324"/>
              <a:gd name="T50" fmla="*/ 3326 w 4041"/>
              <a:gd name="T51" fmla="*/ 514 h 4324"/>
              <a:gd name="T52" fmla="*/ 1862 w 4041"/>
              <a:gd name="T53" fmla="*/ 512 h 4324"/>
              <a:gd name="T54" fmla="*/ 1880 w 4041"/>
              <a:gd name="T55" fmla="*/ 2106 h 4324"/>
              <a:gd name="T56" fmla="*/ 1856 w 4041"/>
              <a:gd name="T57" fmla="*/ 2136 h 4324"/>
              <a:gd name="T58" fmla="*/ 1816 w 4041"/>
              <a:gd name="T59" fmla="*/ 2124 h 4324"/>
              <a:gd name="T60" fmla="*/ 1816 w 4041"/>
              <a:gd name="T61" fmla="*/ 522 h 4324"/>
              <a:gd name="T62" fmla="*/ 30 w 4041"/>
              <a:gd name="T63" fmla="*/ 2136 h 4324"/>
              <a:gd name="T64" fmla="*/ 0 w 4041"/>
              <a:gd name="T65" fmla="*/ 2112 h 4324"/>
              <a:gd name="T66" fmla="*/ 14 w 4041"/>
              <a:gd name="T67" fmla="*/ 514 h 4324"/>
              <a:gd name="T68" fmla="*/ 57 w 4041"/>
              <a:gd name="T69" fmla="*/ 514 h 4324"/>
              <a:gd name="T70" fmla="*/ 71 w 4041"/>
              <a:gd name="T71" fmla="*/ 2112 h 4324"/>
              <a:gd name="T72" fmla="*/ 40 w 4041"/>
              <a:gd name="T73" fmla="*/ 2136 h 4324"/>
              <a:gd name="T74" fmla="*/ 79 w 4041"/>
              <a:gd name="T75" fmla="*/ 3881 h 4324"/>
              <a:gd name="T76" fmla="*/ 208 w 4041"/>
              <a:gd name="T77" fmla="*/ 3873 h 4324"/>
              <a:gd name="T78" fmla="*/ 226 w 4041"/>
              <a:gd name="T79" fmla="*/ 4324 h 4324"/>
              <a:gd name="T80" fmla="*/ 881 w 4041"/>
              <a:gd name="T81" fmla="*/ 3881 h 4324"/>
              <a:gd name="T82" fmla="*/ 927 w 4041"/>
              <a:gd name="T83" fmla="*/ 3873 h 4324"/>
              <a:gd name="T84" fmla="*/ 959 w 4041"/>
              <a:gd name="T85" fmla="*/ 4324 h 4324"/>
              <a:gd name="T86" fmla="*/ 2874 w 4041"/>
              <a:gd name="T87" fmla="*/ 3881 h 4324"/>
              <a:gd name="T88" fmla="*/ 2916 w 4041"/>
              <a:gd name="T89" fmla="*/ 3873 h 4324"/>
              <a:gd name="T90" fmla="*/ 2934 w 4041"/>
              <a:gd name="T91" fmla="*/ 4324 h 4324"/>
              <a:gd name="T92" fmla="*/ 3894 w 4041"/>
              <a:gd name="T93" fmla="*/ 3881 h 4324"/>
              <a:gd name="T94" fmla="*/ 4023 w 4041"/>
              <a:gd name="T95" fmla="*/ 3875 h 4324"/>
              <a:gd name="T96" fmla="*/ 4041 w 4041"/>
              <a:gd name="T97" fmla="*/ 4324 h 4324"/>
              <a:gd name="T98" fmla="*/ 2777 w 4041"/>
              <a:gd name="T99" fmla="*/ 443 h 4324"/>
              <a:gd name="T100" fmla="*/ 2648 w 4041"/>
              <a:gd name="T101" fmla="*/ 449 h 4324"/>
              <a:gd name="T102" fmla="*/ 2629 w 4041"/>
              <a:gd name="T103" fmla="*/ 0 h 4324"/>
              <a:gd name="T104" fmla="*/ 418 w 4041"/>
              <a:gd name="T105" fmla="*/ 449 h 4324"/>
              <a:gd name="T106" fmla="*/ 291 w 4041"/>
              <a:gd name="T107" fmla="*/ 455 h 4324"/>
              <a:gd name="T108" fmla="*/ 271 w 4041"/>
              <a:gd name="T109" fmla="*/ 0 h 4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041" h="4324">
                <a:moveTo>
                  <a:pt x="2306" y="2190"/>
                </a:moveTo>
                <a:lnTo>
                  <a:pt x="2355" y="2190"/>
                </a:lnTo>
                <a:lnTo>
                  <a:pt x="2361" y="2190"/>
                </a:lnTo>
                <a:lnTo>
                  <a:pt x="2367" y="2192"/>
                </a:lnTo>
                <a:lnTo>
                  <a:pt x="2373" y="2196"/>
                </a:lnTo>
                <a:lnTo>
                  <a:pt x="2377" y="2200"/>
                </a:lnTo>
                <a:lnTo>
                  <a:pt x="2381" y="2204"/>
                </a:lnTo>
                <a:lnTo>
                  <a:pt x="2383" y="2208"/>
                </a:lnTo>
                <a:lnTo>
                  <a:pt x="2385" y="2214"/>
                </a:lnTo>
                <a:lnTo>
                  <a:pt x="2385" y="2220"/>
                </a:lnTo>
                <a:lnTo>
                  <a:pt x="2385" y="3788"/>
                </a:lnTo>
                <a:lnTo>
                  <a:pt x="2385" y="3794"/>
                </a:lnTo>
                <a:lnTo>
                  <a:pt x="2383" y="3798"/>
                </a:lnTo>
                <a:lnTo>
                  <a:pt x="2381" y="3804"/>
                </a:lnTo>
                <a:lnTo>
                  <a:pt x="2377" y="3808"/>
                </a:lnTo>
                <a:lnTo>
                  <a:pt x="2373" y="3812"/>
                </a:lnTo>
                <a:lnTo>
                  <a:pt x="2367" y="3814"/>
                </a:lnTo>
                <a:lnTo>
                  <a:pt x="2361" y="3816"/>
                </a:lnTo>
                <a:lnTo>
                  <a:pt x="2355" y="3818"/>
                </a:lnTo>
                <a:lnTo>
                  <a:pt x="2306" y="3818"/>
                </a:lnTo>
                <a:lnTo>
                  <a:pt x="2300" y="3816"/>
                </a:lnTo>
                <a:lnTo>
                  <a:pt x="2294" y="3814"/>
                </a:lnTo>
                <a:lnTo>
                  <a:pt x="2290" y="3812"/>
                </a:lnTo>
                <a:lnTo>
                  <a:pt x="2286" y="3808"/>
                </a:lnTo>
                <a:lnTo>
                  <a:pt x="2282" y="3804"/>
                </a:lnTo>
                <a:lnTo>
                  <a:pt x="2278" y="3798"/>
                </a:lnTo>
                <a:lnTo>
                  <a:pt x="2276" y="3794"/>
                </a:lnTo>
                <a:lnTo>
                  <a:pt x="2276" y="3788"/>
                </a:lnTo>
                <a:lnTo>
                  <a:pt x="2276" y="2220"/>
                </a:lnTo>
                <a:lnTo>
                  <a:pt x="2276" y="2214"/>
                </a:lnTo>
                <a:lnTo>
                  <a:pt x="2278" y="2208"/>
                </a:lnTo>
                <a:lnTo>
                  <a:pt x="2282" y="2204"/>
                </a:lnTo>
                <a:lnTo>
                  <a:pt x="2286" y="2200"/>
                </a:lnTo>
                <a:lnTo>
                  <a:pt x="2290" y="2196"/>
                </a:lnTo>
                <a:lnTo>
                  <a:pt x="2294" y="2192"/>
                </a:lnTo>
                <a:lnTo>
                  <a:pt x="2300" y="2190"/>
                </a:lnTo>
                <a:lnTo>
                  <a:pt x="2306" y="2190"/>
                </a:lnTo>
                <a:close/>
                <a:moveTo>
                  <a:pt x="1462" y="2190"/>
                </a:moveTo>
                <a:lnTo>
                  <a:pt x="1557" y="2190"/>
                </a:lnTo>
                <a:lnTo>
                  <a:pt x="1563" y="2190"/>
                </a:lnTo>
                <a:lnTo>
                  <a:pt x="1569" y="2192"/>
                </a:lnTo>
                <a:lnTo>
                  <a:pt x="1573" y="2196"/>
                </a:lnTo>
                <a:lnTo>
                  <a:pt x="1579" y="2200"/>
                </a:lnTo>
                <a:lnTo>
                  <a:pt x="1581" y="2204"/>
                </a:lnTo>
                <a:lnTo>
                  <a:pt x="1585" y="2208"/>
                </a:lnTo>
                <a:lnTo>
                  <a:pt x="1587" y="2214"/>
                </a:lnTo>
                <a:lnTo>
                  <a:pt x="1587" y="2220"/>
                </a:lnTo>
                <a:lnTo>
                  <a:pt x="1587" y="3788"/>
                </a:lnTo>
                <a:lnTo>
                  <a:pt x="1587" y="3794"/>
                </a:lnTo>
                <a:lnTo>
                  <a:pt x="1585" y="3798"/>
                </a:lnTo>
                <a:lnTo>
                  <a:pt x="1581" y="3804"/>
                </a:lnTo>
                <a:lnTo>
                  <a:pt x="1579" y="3808"/>
                </a:lnTo>
                <a:lnTo>
                  <a:pt x="1573" y="3812"/>
                </a:lnTo>
                <a:lnTo>
                  <a:pt x="1569" y="3814"/>
                </a:lnTo>
                <a:lnTo>
                  <a:pt x="1563" y="3816"/>
                </a:lnTo>
                <a:lnTo>
                  <a:pt x="1557" y="3818"/>
                </a:lnTo>
                <a:lnTo>
                  <a:pt x="1462" y="3818"/>
                </a:lnTo>
                <a:lnTo>
                  <a:pt x="1456" y="3816"/>
                </a:lnTo>
                <a:lnTo>
                  <a:pt x="1450" y="3814"/>
                </a:lnTo>
                <a:lnTo>
                  <a:pt x="1446" y="3812"/>
                </a:lnTo>
                <a:lnTo>
                  <a:pt x="1440" y="3808"/>
                </a:lnTo>
                <a:lnTo>
                  <a:pt x="1436" y="3804"/>
                </a:lnTo>
                <a:lnTo>
                  <a:pt x="1434" y="3798"/>
                </a:lnTo>
                <a:lnTo>
                  <a:pt x="1432" y="3794"/>
                </a:lnTo>
                <a:lnTo>
                  <a:pt x="1432" y="3788"/>
                </a:lnTo>
                <a:lnTo>
                  <a:pt x="1432" y="2220"/>
                </a:lnTo>
                <a:lnTo>
                  <a:pt x="1432" y="2214"/>
                </a:lnTo>
                <a:lnTo>
                  <a:pt x="1434" y="2208"/>
                </a:lnTo>
                <a:lnTo>
                  <a:pt x="1436" y="2204"/>
                </a:lnTo>
                <a:lnTo>
                  <a:pt x="1440" y="2200"/>
                </a:lnTo>
                <a:lnTo>
                  <a:pt x="1446" y="2196"/>
                </a:lnTo>
                <a:lnTo>
                  <a:pt x="1450" y="2192"/>
                </a:lnTo>
                <a:lnTo>
                  <a:pt x="1456" y="2190"/>
                </a:lnTo>
                <a:lnTo>
                  <a:pt x="1462" y="2190"/>
                </a:lnTo>
                <a:close/>
                <a:moveTo>
                  <a:pt x="428" y="2190"/>
                </a:moveTo>
                <a:lnTo>
                  <a:pt x="438" y="2190"/>
                </a:lnTo>
                <a:lnTo>
                  <a:pt x="444" y="2190"/>
                </a:lnTo>
                <a:lnTo>
                  <a:pt x="450" y="2192"/>
                </a:lnTo>
                <a:lnTo>
                  <a:pt x="454" y="2196"/>
                </a:lnTo>
                <a:lnTo>
                  <a:pt x="460" y="2200"/>
                </a:lnTo>
                <a:lnTo>
                  <a:pt x="462" y="2204"/>
                </a:lnTo>
                <a:lnTo>
                  <a:pt x="467" y="2208"/>
                </a:lnTo>
                <a:lnTo>
                  <a:pt x="469" y="2214"/>
                </a:lnTo>
                <a:lnTo>
                  <a:pt x="469" y="2220"/>
                </a:lnTo>
                <a:lnTo>
                  <a:pt x="469" y="3788"/>
                </a:lnTo>
                <a:lnTo>
                  <a:pt x="469" y="3794"/>
                </a:lnTo>
                <a:lnTo>
                  <a:pt x="467" y="3798"/>
                </a:lnTo>
                <a:lnTo>
                  <a:pt x="462" y="3804"/>
                </a:lnTo>
                <a:lnTo>
                  <a:pt x="460" y="3808"/>
                </a:lnTo>
                <a:lnTo>
                  <a:pt x="454" y="3812"/>
                </a:lnTo>
                <a:lnTo>
                  <a:pt x="450" y="3814"/>
                </a:lnTo>
                <a:lnTo>
                  <a:pt x="444" y="3816"/>
                </a:lnTo>
                <a:lnTo>
                  <a:pt x="438" y="3818"/>
                </a:lnTo>
                <a:lnTo>
                  <a:pt x="428" y="3818"/>
                </a:lnTo>
                <a:lnTo>
                  <a:pt x="422" y="3816"/>
                </a:lnTo>
                <a:lnTo>
                  <a:pt x="416" y="3814"/>
                </a:lnTo>
                <a:lnTo>
                  <a:pt x="412" y="3812"/>
                </a:lnTo>
                <a:lnTo>
                  <a:pt x="408" y="3808"/>
                </a:lnTo>
                <a:lnTo>
                  <a:pt x="404" y="3804"/>
                </a:lnTo>
                <a:lnTo>
                  <a:pt x="400" y="3798"/>
                </a:lnTo>
                <a:lnTo>
                  <a:pt x="400" y="3794"/>
                </a:lnTo>
                <a:lnTo>
                  <a:pt x="398" y="3788"/>
                </a:lnTo>
                <a:lnTo>
                  <a:pt x="398" y="2220"/>
                </a:lnTo>
                <a:lnTo>
                  <a:pt x="400" y="2214"/>
                </a:lnTo>
                <a:lnTo>
                  <a:pt x="400" y="2208"/>
                </a:lnTo>
                <a:lnTo>
                  <a:pt x="404" y="2204"/>
                </a:lnTo>
                <a:lnTo>
                  <a:pt x="408" y="2200"/>
                </a:lnTo>
                <a:lnTo>
                  <a:pt x="412" y="2196"/>
                </a:lnTo>
                <a:lnTo>
                  <a:pt x="416" y="2192"/>
                </a:lnTo>
                <a:lnTo>
                  <a:pt x="422" y="2190"/>
                </a:lnTo>
                <a:lnTo>
                  <a:pt x="428" y="2190"/>
                </a:lnTo>
                <a:close/>
                <a:moveTo>
                  <a:pt x="685" y="510"/>
                </a:moveTo>
                <a:lnTo>
                  <a:pt x="780" y="510"/>
                </a:lnTo>
                <a:lnTo>
                  <a:pt x="786" y="510"/>
                </a:lnTo>
                <a:lnTo>
                  <a:pt x="792" y="512"/>
                </a:lnTo>
                <a:lnTo>
                  <a:pt x="796" y="514"/>
                </a:lnTo>
                <a:lnTo>
                  <a:pt x="802" y="518"/>
                </a:lnTo>
                <a:lnTo>
                  <a:pt x="804" y="522"/>
                </a:lnTo>
                <a:lnTo>
                  <a:pt x="808" y="528"/>
                </a:lnTo>
                <a:lnTo>
                  <a:pt x="810" y="534"/>
                </a:lnTo>
                <a:lnTo>
                  <a:pt x="810" y="540"/>
                </a:lnTo>
                <a:lnTo>
                  <a:pt x="810" y="2106"/>
                </a:lnTo>
                <a:lnTo>
                  <a:pt x="810" y="2112"/>
                </a:lnTo>
                <a:lnTo>
                  <a:pt x="808" y="2118"/>
                </a:lnTo>
                <a:lnTo>
                  <a:pt x="804" y="2124"/>
                </a:lnTo>
                <a:lnTo>
                  <a:pt x="802" y="2128"/>
                </a:lnTo>
                <a:lnTo>
                  <a:pt x="796" y="2132"/>
                </a:lnTo>
                <a:lnTo>
                  <a:pt x="792" y="2134"/>
                </a:lnTo>
                <a:lnTo>
                  <a:pt x="786" y="2136"/>
                </a:lnTo>
                <a:lnTo>
                  <a:pt x="780" y="2136"/>
                </a:lnTo>
                <a:lnTo>
                  <a:pt x="685" y="2136"/>
                </a:lnTo>
                <a:lnTo>
                  <a:pt x="679" y="2136"/>
                </a:lnTo>
                <a:lnTo>
                  <a:pt x="672" y="2134"/>
                </a:lnTo>
                <a:lnTo>
                  <a:pt x="668" y="2132"/>
                </a:lnTo>
                <a:lnTo>
                  <a:pt x="662" y="2128"/>
                </a:lnTo>
                <a:lnTo>
                  <a:pt x="660" y="2124"/>
                </a:lnTo>
                <a:lnTo>
                  <a:pt x="656" y="2118"/>
                </a:lnTo>
                <a:lnTo>
                  <a:pt x="654" y="2112"/>
                </a:lnTo>
                <a:lnTo>
                  <a:pt x="654" y="2106"/>
                </a:lnTo>
                <a:lnTo>
                  <a:pt x="654" y="540"/>
                </a:lnTo>
                <a:lnTo>
                  <a:pt x="654" y="534"/>
                </a:lnTo>
                <a:lnTo>
                  <a:pt x="656" y="528"/>
                </a:lnTo>
                <a:lnTo>
                  <a:pt x="660" y="522"/>
                </a:lnTo>
                <a:lnTo>
                  <a:pt x="662" y="518"/>
                </a:lnTo>
                <a:lnTo>
                  <a:pt x="668" y="514"/>
                </a:lnTo>
                <a:lnTo>
                  <a:pt x="672" y="512"/>
                </a:lnTo>
                <a:lnTo>
                  <a:pt x="679" y="510"/>
                </a:lnTo>
                <a:lnTo>
                  <a:pt x="685" y="510"/>
                </a:lnTo>
                <a:close/>
                <a:moveTo>
                  <a:pt x="3342" y="510"/>
                </a:moveTo>
                <a:lnTo>
                  <a:pt x="3352" y="510"/>
                </a:lnTo>
                <a:lnTo>
                  <a:pt x="3358" y="510"/>
                </a:lnTo>
                <a:lnTo>
                  <a:pt x="3364" y="512"/>
                </a:lnTo>
                <a:lnTo>
                  <a:pt x="3369" y="514"/>
                </a:lnTo>
                <a:lnTo>
                  <a:pt x="3375" y="518"/>
                </a:lnTo>
                <a:lnTo>
                  <a:pt x="3377" y="522"/>
                </a:lnTo>
                <a:lnTo>
                  <a:pt x="3381" y="528"/>
                </a:lnTo>
                <a:lnTo>
                  <a:pt x="3383" y="534"/>
                </a:lnTo>
                <a:lnTo>
                  <a:pt x="3383" y="540"/>
                </a:lnTo>
                <a:lnTo>
                  <a:pt x="3383" y="2106"/>
                </a:lnTo>
                <a:lnTo>
                  <a:pt x="3383" y="2112"/>
                </a:lnTo>
                <a:lnTo>
                  <a:pt x="3381" y="2118"/>
                </a:lnTo>
                <a:lnTo>
                  <a:pt x="3377" y="2124"/>
                </a:lnTo>
                <a:lnTo>
                  <a:pt x="3375" y="2128"/>
                </a:lnTo>
                <a:lnTo>
                  <a:pt x="3369" y="2132"/>
                </a:lnTo>
                <a:lnTo>
                  <a:pt x="3364" y="2134"/>
                </a:lnTo>
                <a:lnTo>
                  <a:pt x="3358" y="2136"/>
                </a:lnTo>
                <a:lnTo>
                  <a:pt x="3352" y="2136"/>
                </a:lnTo>
                <a:lnTo>
                  <a:pt x="3342" y="2136"/>
                </a:lnTo>
                <a:lnTo>
                  <a:pt x="3336" y="2136"/>
                </a:lnTo>
                <a:lnTo>
                  <a:pt x="3330" y="2134"/>
                </a:lnTo>
                <a:lnTo>
                  <a:pt x="3326" y="2132"/>
                </a:lnTo>
                <a:lnTo>
                  <a:pt x="3322" y="2128"/>
                </a:lnTo>
                <a:lnTo>
                  <a:pt x="3318" y="2124"/>
                </a:lnTo>
                <a:lnTo>
                  <a:pt x="3314" y="2118"/>
                </a:lnTo>
                <a:lnTo>
                  <a:pt x="3314" y="2112"/>
                </a:lnTo>
                <a:lnTo>
                  <a:pt x="3312" y="2106"/>
                </a:lnTo>
                <a:lnTo>
                  <a:pt x="3312" y="540"/>
                </a:lnTo>
                <a:lnTo>
                  <a:pt x="3314" y="534"/>
                </a:lnTo>
                <a:lnTo>
                  <a:pt x="3314" y="528"/>
                </a:lnTo>
                <a:lnTo>
                  <a:pt x="3318" y="522"/>
                </a:lnTo>
                <a:lnTo>
                  <a:pt x="3322" y="518"/>
                </a:lnTo>
                <a:lnTo>
                  <a:pt x="3326" y="514"/>
                </a:lnTo>
                <a:lnTo>
                  <a:pt x="3330" y="512"/>
                </a:lnTo>
                <a:lnTo>
                  <a:pt x="3336" y="510"/>
                </a:lnTo>
                <a:lnTo>
                  <a:pt x="3342" y="510"/>
                </a:lnTo>
                <a:close/>
                <a:moveTo>
                  <a:pt x="1842" y="510"/>
                </a:moveTo>
                <a:lnTo>
                  <a:pt x="1850" y="510"/>
                </a:lnTo>
                <a:lnTo>
                  <a:pt x="1856" y="510"/>
                </a:lnTo>
                <a:lnTo>
                  <a:pt x="1862" y="512"/>
                </a:lnTo>
                <a:lnTo>
                  <a:pt x="1868" y="514"/>
                </a:lnTo>
                <a:lnTo>
                  <a:pt x="1872" y="518"/>
                </a:lnTo>
                <a:lnTo>
                  <a:pt x="1876" y="522"/>
                </a:lnTo>
                <a:lnTo>
                  <a:pt x="1878" y="528"/>
                </a:lnTo>
                <a:lnTo>
                  <a:pt x="1880" y="534"/>
                </a:lnTo>
                <a:lnTo>
                  <a:pt x="1880" y="540"/>
                </a:lnTo>
                <a:lnTo>
                  <a:pt x="1880" y="2106"/>
                </a:lnTo>
                <a:lnTo>
                  <a:pt x="1880" y="2112"/>
                </a:lnTo>
                <a:lnTo>
                  <a:pt x="1878" y="2118"/>
                </a:lnTo>
                <a:lnTo>
                  <a:pt x="1876" y="2124"/>
                </a:lnTo>
                <a:lnTo>
                  <a:pt x="1872" y="2128"/>
                </a:lnTo>
                <a:lnTo>
                  <a:pt x="1868" y="2132"/>
                </a:lnTo>
                <a:lnTo>
                  <a:pt x="1862" y="2134"/>
                </a:lnTo>
                <a:lnTo>
                  <a:pt x="1856" y="2136"/>
                </a:lnTo>
                <a:lnTo>
                  <a:pt x="1850" y="2136"/>
                </a:lnTo>
                <a:lnTo>
                  <a:pt x="1842" y="2136"/>
                </a:lnTo>
                <a:lnTo>
                  <a:pt x="1836" y="2136"/>
                </a:lnTo>
                <a:lnTo>
                  <a:pt x="1830" y="2134"/>
                </a:lnTo>
                <a:lnTo>
                  <a:pt x="1824" y="2132"/>
                </a:lnTo>
                <a:lnTo>
                  <a:pt x="1820" y="2128"/>
                </a:lnTo>
                <a:lnTo>
                  <a:pt x="1816" y="2124"/>
                </a:lnTo>
                <a:lnTo>
                  <a:pt x="1814" y="2118"/>
                </a:lnTo>
                <a:lnTo>
                  <a:pt x="1811" y="2112"/>
                </a:lnTo>
                <a:lnTo>
                  <a:pt x="1811" y="2106"/>
                </a:lnTo>
                <a:lnTo>
                  <a:pt x="1811" y="540"/>
                </a:lnTo>
                <a:lnTo>
                  <a:pt x="1811" y="534"/>
                </a:lnTo>
                <a:lnTo>
                  <a:pt x="1814" y="528"/>
                </a:lnTo>
                <a:lnTo>
                  <a:pt x="1816" y="522"/>
                </a:lnTo>
                <a:lnTo>
                  <a:pt x="1820" y="518"/>
                </a:lnTo>
                <a:lnTo>
                  <a:pt x="1824" y="514"/>
                </a:lnTo>
                <a:lnTo>
                  <a:pt x="1830" y="512"/>
                </a:lnTo>
                <a:lnTo>
                  <a:pt x="1836" y="510"/>
                </a:lnTo>
                <a:lnTo>
                  <a:pt x="1842" y="510"/>
                </a:lnTo>
                <a:close/>
                <a:moveTo>
                  <a:pt x="40" y="2136"/>
                </a:moveTo>
                <a:lnTo>
                  <a:pt x="30" y="2136"/>
                </a:lnTo>
                <a:lnTo>
                  <a:pt x="24" y="2136"/>
                </a:lnTo>
                <a:lnTo>
                  <a:pt x="18" y="2134"/>
                </a:lnTo>
                <a:lnTo>
                  <a:pt x="14" y="2132"/>
                </a:lnTo>
                <a:lnTo>
                  <a:pt x="10" y="2128"/>
                </a:lnTo>
                <a:lnTo>
                  <a:pt x="6" y="2124"/>
                </a:lnTo>
                <a:lnTo>
                  <a:pt x="2" y="2118"/>
                </a:lnTo>
                <a:lnTo>
                  <a:pt x="0" y="2112"/>
                </a:lnTo>
                <a:lnTo>
                  <a:pt x="0" y="2106"/>
                </a:lnTo>
                <a:lnTo>
                  <a:pt x="0" y="540"/>
                </a:lnTo>
                <a:lnTo>
                  <a:pt x="0" y="534"/>
                </a:lnTo>
                <a:lnTo>
                  <a:pt x="2" y="528"/>
                </a:lnTo>
                <a:lnTo>
                  <a:pt x="6" y="522"/>
                </a:lnTo>
                <a:lnTo>
                  <a:pt x="10" y="518"/>
                </a:lnTo>
                <a:lnTo>
                  <a:pt x="14" y="514"/>
                </a:lnTo>
                <a:lnTo>
                  <a:pt x="18" y="512"/>
                </a:lnTo>
                <a:lnTo>
                  <a:pt x="24" y="510"/>
                </a:lnTo>
                <a:lnTo>
                  <a:pt x="30" y="510"/>
                </a:lnTo>
                <a:lnTo>
                  <a:pt x="40" y="510"/>
                </a:lnTo>
                <a:lnTo>
                  <a:pt x="46" y="510"/>
                </a:lnTo>
                <a:lnTo>
                  <a:pt x="53" y="512"/>
                </a:lnTo>
                <a:lnTo>
                  <a:pt x="57" y="514"/>
                </a:lnTo>
                <a:lnTo>
                  <a:pt x="61" y="518"/>
                </a:lnTo>
                <a:lnTo>
                  <a:pt x="65" y="522"/>
                </a:lnTo>
                <a:lnTo>
                  <a:pt x="69" y="528"/>
                </a:lnTo>
                <a:lnTo>
                  <a:pt x="71" y="534"/>
                </a:lnTo>
                <a:lnTo>
                  <a:pt x="71" y="540"/>
                </a:lnTo>
                <a:lnTo>
                  <a:pt x="71" y="2106"/>
                </a:lnTo>
                <a:lnTo>
                  <a:pt x="71" y="2112"/>
                </a:lnTo>
                <a:lnTo>
                  <a:pt x="69" y="2118"/>
                </a:lnTo>
                <a:lnTo>
                  <a:pt x="65" y="2124"/>
                </a:lnTo>
                <a:lnTo>
                  <a:pt x="61" y="2128"/>
                </a:lnTo>
                <a:lnTo>
                  <a:pt x="57" y="2132"/>
                </a:lnTo>
                <a:lnTo>
                  <a:pt x="53" y="2134"/>
                </a:lnTo>
                <a:lnTo>
                  <a:pt x="46" y="2136"/>
                </a:lnTo>
                <a:lnTo>
                  <a:pt x="40" y="2136"/>
                </a:lnTo>
                <a:close/>
                <a:moveTo>
                  <a:pt x="226" y="4324"/>
                </a:moveTo>
                <a:lnTo>
                  <a:pt x="71" y="4324"/>
                </a:lnTo>
                <a:lnTo>
                  <a:pt x="71" y="3901"/>
                </a:lnTo>
                <a:lnTo>
                  <a:pt x="71" y="3895"/>
                </a:lnTo>
                <a:lnTo>
                  <a:pt x="73" y="3889"/>
                </a:lnTo>
                <a:lnTo>
                  <a:pt x="75" y="3885"/>
                </a:lnTo>
                <a:lnTo>
                  <a:pt x="79" y="3881"/>
                </a:lnTo>
                <a:lnTo>
                  <a:pt x="83" y="3877"/>
                </a:lnTo>
                <a:lnTo>
                  <a:pt x="89" y="3873"/>
                </a:lnTo>
                <a:lnTo>
                  <a:pt x="95" y="3873"/>
                </a:lnTo>
                <a:lnTo>
                  <a:pt x="101" y="3871"/>
                </a:lnTo>
                <a:lnTo>
                  <a:pt x="196" y="3871"/>
                </a:lnTo>
                <a:lnTo>
                  <a:pt x="202" y="3873"/>
                </a:lnTo>
                <a:lnTo>
                  <a:pt x="208" y="3873"/>
                </a:lnTo>
                <a:lnTo>
                  <a:pt x="212" y="3877"/>
                </a:lnTo>
                <a:lnTo>
                  <a:pt x="216" y="3881"/>
                </a:lnTo>
                <a:lnTo>
                  <a:pt x="220" y="3885"/>
                </a:lnTo>
                <a:lnTo>
                  <a:pt x="224" y="3889"/>
                </a:lnTo>
                <a:lnTo>
                  <a:pt x="226" y="3895"/>
                </a:lnTo>
                <a:lnTo>
                  <a:pt x="226" y="3901"/>
                </a:lnTo>
                <a:lnTo>
                  <a:pt x="226" y="4324"/>
                </a:lnTo>
                <a:close/>
                <a:moveTo>
                  <a:pt x="959" y="4324"/>
                </a:moveTo>
                <a:lnTo>
                  <a:pt x="872" y="4324"/>
                </a:lnTo>
                <a:lnTo>
                  <a:pt x="872" y="3901"/>
                </a:lnTo>
                <a:lnTo>
                  <a:pt x="872" y="3895"/>
                </a:lnTo>
                <a:lnTo>
                  <a:pt x="874" y="3889"/>
                </a:lnTo>
                <a:lnTo>
                  <a:pt x="878" y="3885"/>
                </a:lnTo>
                <a:lnTo>
                  <a:pt x="881" y="3881"/>
                </a:lnTo>
                <a:lnTo>
                  <a:pt x="887" y="3877"/>
                </a:lnTo>
                <a:lnTo>
                  <a:pt x="891" y="3873"/>
                </a:lnTo>
                <a:lnTo>
                  <a:pt x="897" y="3873"/>
                </a:lnTo>
                <a:lnTo>
                  <a:pt x="903" y="3871"/>
                </a:lnTo>
                <a:lnTo>
                  <a:pt x="913" y="3871"/>
                </a:lnTo>
                <a:lnTo>
                  <a:pt x="919" y="3873"/>
                </a:lnTo>
                <a:lnTo>
                  <a:pt x="927" y="3873"/>
                </a:lnTo>
                <a:lnTo>
                  <a:pt x="935" y="3877"/>
                </a:lnTo>
                <a:lnTo>
                  <a:pt x="941" y="3881"/>
                </a:lnTo>
                <a:lnTo>
                  <a:pt x="949" y="3885"/>
                </a:lnTo>
                <a:lnTo>
                  <a:pt x="953" y="3889"/>
                </a:lnTo>
                <a:lnTo>
                  <a:pt x="957" y="3895"/>
                </a:lnTo>
                <a:lnTo>
                  <a:pt x="959" y="3901"/>
                </a:lnTo>
                <a:lnTo>
                  <a:pt x="959" y="4324"/>
                </a:lnTo>
                <a:close/>
                <a:moveTo>
                  <a:pt x="2934" y="4324"/>
                </a:moveTo>
                <a:lnTo>
                  <a:pt x="2866" y="4324"/>
                </a:lnTo>
                <a:lnTo>
                  <a:pt x="2866" y="3901"/>
                </a:lnTo>
                <a:lnTo>
                  <a:pt x="2866" y="3895"/>
                </a:lnTo>
                <a:lnTo>
                  <a:pt x="2868" y="3889"/>
                </a:lnTo>
                <a:lnTo>
                  <a:pt x="2870" y="3885"/>
                </a:lnTo>
                <a:lnTo>
                  <a:pt x="2874" y="3881"/>
                </a:lnTo>
                <a:lnTo>
                  <a:pt x="2878" y="3877"/>
                </a:lnTo>
                <a:lnTo>
                  <a:pt x="2884" y="3873"/>
                </a:lnTo>
                <a:lnTo>
                  <a:pt x="2890" y="3873"/>
                </a:lnTo>
                <a:lnTo>
                  <a:pt x="2896" y="3871"/>
                </a:lnTo>
                <a:lnTo>
                  <a:pt x="2904" y="3871"/>
                </a:lnTo>
                <a:lnTo>
                  <a:pt x="2910" y="3873"/>
                </a:lnTo>
                <a:lnTo>
                  <a:pt x="2916" y="3873"/>
                </a:lnTo>
                <a:lnTo>
                  <a:pt x="2922" y="3877"/>
                </a:lnTo>
                <a:lnTo>
                  <a:pt x="2926" y="3881"/>
                </a:lnTo>
                <a:lnTo>
                  <a:pt x="2930" y="3885"/>
                </a:lnTo>
                <a:lnTo>
                  <a:pt x="2932" y="3889"/>
                </a:lnTo>
                <a:lnTo>
                  <a:pt x="2934" y="3895"/>
                </a:lnTo>
                <a:lnTo>
                  <a:pt x="2934" y="3901"/>
                </a:lnTo>
                <a:lnTo>
                  <a:pt x="2934" y="4324"/>
                </a:lnTo>
                <a:close/>
                <a:moveTo>
                  <a:pt x="4041" y="4324"/>
                </a:moveTo>
                <a:lnTo>
                  <a:pt x="3886" y="4324"/>
                </a:lnTo>
                <a:lnTo>
                  <a:pt x="3886" y="3903"/>
                </a:lnTo>
                <a:lnTo>
                  <a:pt x="3886" y="3897"/>
                </a:lnTo>
                <a:lnTo>
                  <a:pt x="3888" y="3891"/>
                </a:lnTo>
                <a:lnTo>
                  <a:pt x="3890" y="3887"/>
                </a:lnTo>
                <a:lnTo>
                  <a:pt x="3894" y="3881"/>
                </a:lnTo>
                <a:lnTo>
                  <a:pt x="3898" y="3879"/>
                </a:lnTo>
                <a:lnTo>
                  <a:pt x="3904" y="3875"/>
                </a:lnTo>
                <a:lnTo>
                  <a:pt x="3910" y="3873"/>
                </a:lnTo>
                <a:lnTo>
                  <a:pt x="3916" y="3873"/>
                </a:lnTo>
                <a:lnTo>
                  <a:pt x="4011" y="3873"/>
                </a:lnTo>
                <a:lnTo>
                  <a:pt x="4017" y="3873"/>
                </a:lnTo>
                <a:lnTo>
                  <a:pt x="4023" y="3875"/>
                </a:lnTo>
                <a:lnTo>
                  <a:pt x="4027" y="3879"/>
                </a:lnTo>
                <a:lnTo>
                  <a:pt x="4031" y="3881"/>
                </a:lnTo>
                <a:lnTo>
                  <a:pt x="4035" y="3887"/>
                </a:lnTo>
                <a:lnTo>
                  <a:pt x="4039" y="3891"/>
                </a:lnTo>
                <a:lnTo>
                  <a:pt x="4039" y="3897"/>
                </a:lnTo>
                <a:lnTo>
                  <a:pt x="4041" y="3903"/>
                </a:lnTo>
                <a:lnTo>
                  <a:pt x="4041" y="4324"/>
                </a:lnTo>
                <a:close/>
                <a:moveTo>
                  <a:pt x="2629" y="0"/>
                </a:moveTo>
                <a:lnTo>
                  <a:pt x="2785" y="0"/>
                </a:lnTo>
                <a:lnTo>
                  <a:pt x="2785" y="421"/>
                </a:lnTo>
                <a:lnTo>
                  <a:pt x="2785" y="427"/>
                </a:lnTo>
                <a:lnTo>
                  <a:pt x="2783" y="433"/>
                </a:lnTo>
                <a:lnTo>
                  <a:pt x="2781" y="437"/>
                </a:lnTo>
                <a:lnTo>
                  <a:pt x="2777" y="443"/>
                </a:lnTo>
                <a:lnTo>
                  <a:pt x="2773" y="445"/>
                </a:lnTo>
                <a:lnTo>
                  <a:pt x="2767" y="449"/>
                </a:lnTo>
                <a:lnTo>
                  <a:pt x="2761" y="451"/>
                </a:lnTo>
                <a:lnTo>
                  <a:pt x="2755" y="451"/>
                </a:lnTo>
                <a:lnTo>
                  <a:pt x="2660" y="451"/>
                </a:lnTo>
                <a:lnTo>
                  <a:pt x="2654" y="451"/>
                </a:lnTo>
                <a:lnTo>
                  <a:pt x="2648" y="449"/>
                </a:lnTo>
                <a:lnTo>
                  <a:pt x="2644" y="445"/>
                </a:lnTo>
                <a:lnTo>
                  <a:pt x="2639" y="443"/>
                </a:lnTo>
                <a:lnTo>
                  <a:pt x="2635" y="437"/>
                </a:lnTo>
                <a:lnTo>
                  <a:pt x="2631" y="433"/>
                </a:lnTo>
                <a:lnTo>
                  <a:pt x="2631" y="427"/>
                </a:lnTo>
                <a:lnTo>
                  <a:pt x="2629" y="421"/>
                </a:lnTo>
                <a:lnTo>
                  <a:pt x="2629" y="0"/>
                </a:lnTo>
                <a:close/>
                <a:moveTo>
                  <a:pt x="271" y="0"/>
                </a:moveTo>
                <a:lnTo>
                  <a:pt x="426" y="0"/>
                </a:lnTo>
                <a:lnTo>
                  <a:pt x="426" y="427"/>
                </a:lnTo>
                <a:lnTo>
                  <a:pt x="426" y="433"/>
                </a:lnTo>
                <a:lnTo>
                  <a:pt x="424" y="439"/>
                </a:lnTo>
                <a:lnTo>
                  <a:pt x="422" y="445"/>
                </a:lnTo>
                <a:lnTo>
                  <a:pt x="418" y="449"/>
                </a:lnTo>
                <a:lnTo>
                  <a:pt x="414" y="453"/>
                </a:lnTo>
                <a:lnTo>
                  <a:pt x="408" y="455"/>
                </a:lnTo>
                <a:lnTo>
                  <a:pt x="402" y="457"/>
                </a:lnTo>
                <a:lnTo>
                  <a:pt x="396" y="457"/>
                </a:lnTo>
                <a:lnTo>
                  <a:pt x="301" y="457"/>
                </a:lnTo>
                <a:lnTo>
                  <a:pt x="295" y="457"/>
                </a:lnTo>
                <a:lnTo>
                  <a:pt x="291" y="455"/>
                </a:lnTo>
                <a:lnTo>
                  <a:pt x="285" y="453"/>
                </a:lnTo>
                <a:lnTo>
                  <a:pt x="281" y="449"/>
                </a:lnTo>
                <a:lnTo>
                  <a:pt x="277" y="445"/>
                </a:lnTo>
                <a:lnTo>
                  <a:pt x="275" y="439"/>
                </a:lnTo>
                <a:lnTo>
                  <a:pt x="273" y="433"/>
                </a:lnTo>
                <a:lnTo>
                  <a:pt x="271" y="427"/>
                </a:lnTo>
                <a:lnTo>
                  <a:pt x="271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665932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-logo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4643FDF4-2612-49FC-923B-054EEBF2469C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RIA - RKL yrittäjäpäivä 1.11.202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7"/>
          <p:cNvSpPr>
            <a:spLocks noChangeAspect="1" noEditPoints="1"/>
          </p:cNvSpPr>
          <p:nvPr userDrawn="1"/>
        </p:nvSpPr>
        <p:spPr bwMode="black">
          <a:xfrm>
            <a:off x="1649971" y="2564904"/>
            <a:ext cx="1548284" cy="1728192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  <p:sp>
        <p:nvSpPr>
          <p:cNvPr id="10" name="Freeform 6"/>
          <p:cNvSpPr>
            <a:spLocks noEditPoints="1"/>
          </p:cNvSpPr>
          <p:nvPr userDrawn="1"/>
        </p:nvSpPr>
        <p:spPr bwMode="auto">
          <a:xfrm>
            <a:off x="3575720" y="2852936"/>
            <a:ext cx="1346458" cy="1146805"/>
          </a:xfrm>
          <a:custGeom>
            <a:avLst/>
            <a:gdLst>
              <a:gd name="T0" fmla="*/ 2264 w 3082"/>
              <a:gd name="T1" fmla="*/ 744 h 2625"/>
              <a:gd name="T2" fmla="*/ 2266 w 3082"/>
              <a:gd name="T3" fmla="*/ 977 h 2625"/>
              <a:gd name="T4" fmla="*/ 2059 w 3082"/>
              <a:gd name="T5" fmla="*/ 1141 h 2625"/>
              <a:gd name="T6" fmla="*/ 2128 w 3082"/>
              <a:gd name="T7" fmla="*/ 961 h 2625"/>
              <a:gd name="T8" fmla="*/ 2534 w 3082"/>
              <a:gd name="T9" fmla="*/ 737 h 2625"/>
              <a:gd name="T10" fmla="*/ 2516 w 3082"/>
              <a:gd name="T11" fmla="*/ 927 h 2625"/>
              <a:gd name="T12" fmla="*/ 2383 w 3082"/>
              <a:gd name="T13" fmla="*/ 1154 h 2625"/>
              <a:gd name="T14" fmla="*/ 2470 w 3082"/>
              <a:gd name="T15" fmla="*/ 1025 h 2625"/>
              <a:gd name="T16" fmla="*/ 733 w 3082"/>
              <a:gd name="T17" fmla="*/ 1006 h 2625"/>
              <a:gd name="T18" fmla="*/ 885 w 3082"/>
              <a:gd name="T19" fmla="*/ 1154 h 2625"/>
              <a:gd name="T20" fmla="*/ 60 w 3082"/>
              <a:gd name="T21" fmla="*/ 1150 h 2625"/>
              <a:gd name="T22" fmla="*/ 1819 w 3082"/>
              <a:gd name="T23" fmla="*/ 1010 h 2625"/>
              <a:gd name="T24" fmla="*/ 1910 w 3082"/>
              <a:gd name="T25" fmla="*/ 1155 h 2625"/>
              <a:gd name="T26" fmla="*/ 1110 w 3082"/>
              <a:gd name="T27" fmla="*/ 1070 h 2625"/>
              <a:gd name="T28" fmla="*/ 1273 w 3082"/>
              <a:gd name="T29" fmla="*/ 1060 h 2625"/>
              <a:gd name="T30" fmla="*/ 962 w 3082"/>
              <a:gd name="T31" fmla="*/ 1091 h 2625"/>
              <a:gd name="T32" fmla="*/ 1547 w 3082"/>
              <a:gd name="T33" fmla="*/ 832 h 2625"/>
              <a:gd name="T34" fmla="*/ 1673 w 3082"/>
              <a:gd name="T35" fmla="*/ 911 h 2625"/>
              <a:gd name="T36" fmla="*/ 1380 w 3082"/>
              <a:gd name="T37" fmla="*/ 739 h 2625"/>
              <a:gd name="T38" fmla="*/ 3022 w 3082"/>
              <a:gd name="T39" fmla="*/ 1141 h 2625"/>
              <a:gd name="T40" fmla="*/ 706 w 3082"/>
              <a:gd name="T41" fmla="*/ 2392 h 2625"/>
              <a:gd name="T42" fmla="*/ 702 w 3082"/>
              <a:gd name="T43" fmla="*/ 2624 h 2625"/>
              <a:gd name="T44" fmla="*/ 1320 w 3082"/>
              <a:gd name="T45" fmla="*/ 2090 h 2625"/>
              <a:gd name="T46" fmla="*/ 1026 w 3082"/>
              <a:gd name="T47" fmla="*/ 2625 h 2625"/>
              <a:gd name="T48" fmla="*/ 1151 w 3082"/>
              <a:gd name="T49" fmla="*/ 2177 h 2625"/>
              <a:gd name="T50" fmla="*/ 1200 w 3082"/>
              <a:gd name="T51" fmla="*/ 2104 h 2625"/>
              <a:gd name="T52" fmla="*/ 1429 w 3082"/>
              <a:gd name="T53" fmla="*/ 2214 h 2625"/>
              <a:gd name="T54" fmla="*/ 1980 w 3082"/>
              <a:gd name="T55" fmla="*/ 2526 h 2625"/>
              <a:gd name="T56" fmla="*/ 1928 w 3082"/>
              <a:gd name="T57" fmla="*/ 2207 h 2625"/>
              <a:gd name="T58" fmla="*/ 2141 w 3082"/>
              <a:gd name="T59" fmla="*/ 2491 h 2625"/>
              <a:gd name="T60" fmla="*/ 1928 w 3082"/>
              <a:gd name="T61" fmla="*/ 2207 h 2625"/>
              <a:gd name="T62" fmla="*/ 2436 w 3082"/>
              <a:gd name="T63" fmla="*/ 2096 h 2625"/>
              <a:gd name="T64" fmla="*/ 2188 w 3082"/>
              <a:gd name="T65" fmla="*/ 2624 h 2625"/>
              <a:gd name="T66" fmla="*/ 2236 w 3082"/>
              <a:gd name="T67" fmla="*/ 2169 h 2625"/>
              <a:gd name="T68" fmla="*/ 2314 w 3082"/>
              <a:gd name="T69" fmla="*/ 2123 h 2625"/>
              <a:gd name="T70" fmla="*/ 1320 w 3082"/>
              <a:gd name="T71" fmla="*/ 177 h 2625"/>
              <a:gd name="T72" fmla="*/ 1094 w 3082"/>
              <a:gd name="T73" fmla="*/ 230 h 2625"/>
              <a:gd name="T74" fmla="*/ 1361 w 3082"/>
              <a:gd name="T75" fmla="*/ 54 h 2625"/>
              <a:gd name="T76" fmla="*/ 1345 w 3082"/>
              <a:gd name="T77" fmla="*/ 391 h 2625"/>
              <a:gd name="T78" fmla="*/ 1007 w 3082"/>
              <a:gd name="T79" fmla="*/ 313 h 2625"/>
              <a:gd name="T80" fmla="*/ 1174 w 3082"/>
              <a:gd name="T81" fmla="*/ 2 h 2625"/>
              <a:gd name="T82" fmla="*/ 1786 w 3082"/>
              <a:gd name="T83" fmla="*/ 89 h 2625"/>
              <a:gd name="T84" fmla="*/ 1490 w 3082"/>
              <a:gd name="T85" fmla="*/ 99 h 2625"/>
              <a:gd name="T86" fmla="*/ 2149 w 3082"/>
              <a:gd name="T87" fmla="*/ 9 h 2625"/>
              <a:gd name="T88" fmla="*/ 908 w 3082"/>
              <a:gd name="T89" fmla="*/ 365 h 2625"/>
              <a:gd name="T90" fmla="*/ 816 w 3082"/>
              <a:gd name="T91" fmla="*/ 336 h 2625"/>
              <a:gd name="T92" fmla="*/ 2672 w 3082"/>
              <a:gd name="T93" fmla="*/ 1878 h 2625"/>
              <a:gd name="T94" fmla="*/ 1737 w 3082"/>
              <a:gd name="T95" fmla="*/ 1879 h 2625"/>
              <a:gd name="T96" fmla="*/ 2104 w 3082"/>
              <a:gd name="T97" fmla="*/ 1888 h 2625"/>
              <a:gd name="T98" fmla="*/ 2174 w 3082"/>
              <a:gd name="T99" fmla="*/ 1888 h 2625"/>
              <a:gd name="T100" fmla="*/ 2719 w 3082"/>
              <a:gd name="T101" fmla="*/ 1481 h 2625"/>
              <a:gd name="T102" fmla="*/ 333 w 3082"/>
              <a:gd name="T103" fmla="*/ 1634 h 2625"/>
              <a:gd name="T104" fmla="*/ 110 w 3082"/>
              <a:gd name="T105" fmla="*/ 1707 h 2625"/>
              <a:gd name="T106" fmla="*/ 383 w 3082"/>
              <a:gd name="T107" fmla="*/ 1524 h 2625"/>
              <a:gd name="T108" fmla="*/ 351 w 3082"/>
              <a:gd name="T109" fmla="*/ 1860 h 2625"/>
              <a:gd name="T110" fmla="*/ 17 w 3082"/>
              <a:gd name="T111" fmla="*/ 1766 h 2625"/>
              <a:gd name="T112" fmla="*/ 200 w 3082"/>
              <a:gd name="T113" fmla="*/ 1464 h 2625"/>
              <a:gd name="T114" fmla="*/ 974 w 3082"/>
              <a:gd name="T115" fmla="*/ 1638 h 2625"/>
              <a:gd name="T116" fmla="*/ 1221 w 3082"/>
              <a:gd name="T117" fmla="*/ 1494 h 2625"/>
              <a:gd name="T118" fmla="*/ 1083 w 3082"/>
              <a:gd name="T119" fmla="*/ 1612 h 2625"/>
              <a:gd name="T120" fmla="*/ 1173 w 3082"/>
              <a:gd name="T121" fmla="*/ 1878 h 2625"/>
              <a:gd name="T122" fmla="*/ 1067 w 3082"/>
              <a:gd name="T123" fmla="*/ 1808 h 2625"/>
              <a:gd name="T124" fmla="*/ 777 w 3082"/>
              <a:gd name="T125" fmla="*/ 1480 h 26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082" h="2625">
                <a:moveTo>
                  <a:pt x="1319" y="1480"/>
                </a:moveTo>
                <a:lnTo>
                  <a:pt x="1319" y="1478"/>
                </a:lnTo>
                <a:lnTo>
                  <a:pt x="1320" y="1476"/>
                </a:lnTo>
                <a:lnTo>
                  <a:pt x="1322" y="1473"/>
                </a:lnTo>
                <a:lnTo>
                  <a:pt x="1323" y="1472"/>
                </a:lnTo>
                <a:lnTo>
                  <a:pt x="1325" y="1471"/>
                </a:lnTo>
                <a:lnTo>
                  <a:pt x="1329" y="1470"/>
                </a:lnTo>
                <a:lnTo>
                  <a:pt x="1411" y="1470"/>
                </a:lnTo>
                <a:lnTo>
                  <a:pt x="1415" y="1471"/>
                </a:lnTo>
                <a:lnTo>
                  <a:pt x="1419" y="1473"/>
                </a:lnTo>
                <a:lnTo>
                  <a:pt x="1420" y="1474"/>
                </a:lnTo>
                <a:lnTo>
                  <a:pt x="1421" y="1476"/>
                </a:lnTo>
                <a:lnTo>
                  <a:pt x="1421" y="1478"/>
                </a:lnTo>
                <a:lnTo>
                  <a:pt x="1421" y="1480"/>
                </a:lnTo>
                <a:lnTo>
                  <a:pt x="1421" y="1879"/>
                </a:lnTo>
                <a:lnTo>
                  <a:pt x="1421" y="1881"/>
                </a:lnTo>
                <a:lnTo>
                  <a:pt x="1421" y="1883"/>
                </a:lnTo>
                <a:lnTo>
                  <a:pt x="1419" y="1886"/>
                </a:lnTo>
                <a:lnTo>
                  <a:pt x="1417" y="1887"/>
                </a:lnTo>
                <a:lnTo>
                  <a:pt x="1415" y="1888"/>
                </a:lnTo>
                <a:lnTo>
                  <a:pt x="1411" y="1889"/>
                </a:lnTo>
                <a:lnTo>
                  <a:pt x="1329" y="1889"/>
                </a:lnTo>
                <a:lnTo>
                  <a:pt x="1325" y="1888"/>
                </a:lnTo>
                <a:lnTo>
                  <a:pt x="1322" y="1886"/>
                </a:lnTo>
                <a:lnTo>
                  <a:pt x="1321" y="1885"/>
                </a:lnTo>
                <a:lnTo>
                  <a:pt x="1320" y="1883"/>
                </a:lnTo>
                <a:lnTo>
                  <a:pt x="1319" y="1881"/>
                </a:lnTo>
                <a:lnTo>
                  <a:pt x="1319" y="1879"/>
                </a:lnTo>
                <a:lnTo>
                  <a:pt x="1319" y="1480"/>
                </a:lnTo>
                <a:close/>
                <a:moveTo>
                  <a:pt x="2184" y="729"/>
                </a:moveTo>
                <a:lnTo>
                  <a:pt x="2195" y="729"/>
                </a:lnTo>
                <a:lnTo>
                  <a:pt x="2206" y="730"/>
                </a:lnTo>
                <a:lnTo>
                  <a:pt x="2217" y="731"/>
                </a:lnTo>
                <a:lnTo>
                  <a:pt x="2227" y="733"/>
                </a:lnTo>
                <a:lnTo>
                  <a:pt x="2237" y="735"/>
                </a:lnTo>
                <a:lnTo>
                  <a:pt x="2246" y="737"/>
                </a:lnTo>
                <a:lnTo>
                  <a:pt x="2253" y="739"/>
                </a:lnTo>
                <a:lnTo>
                  <a:pt x="2259" y="741"/>
                </a:lnTo>
                <a:lnTo>
                  <a:pt x="2262" y="742"/>
                </a:lnTo>
                <a:lnTo>
                  <a:pt x="2264" y="744"/>
                </a:lnTo>
                <a:lnTo>
                  <a:pt x="2265" y="745"/>
                </a:lnTo>
                <a:lnTo>
                  <a:pt x="2266" y="747"/>
                </a:lnTo>
                <a:lnTo>
                  <a:pt x="2267" y="749"/>
                </a:lnTo>
                <a:lnTo>
                  <a:pt x="2267" y="752"/>
                </a:lnTo>
                <a:lnTo>
                  <a:pt x="2267" y="757"/>
                </a:lnTo>
                <a:lnTo>
                  <a:pt x="2248" y="818"/>
                </a:lnTo>
                <a:lnTo>
                  <a:pt x="2247" y="821"/>
                </a:lnTo>
                <a:lnTo>
                  <a:pt x="2246" y="823"/>
                </a:lnTo>
                <a:lnTo>
                  <a:pt x="2245" y="825"/>
                </a:lnTo>
                <a:lnTo>
                  <a:pt x="2243" y="826"/>
                </a:lnTo>
                <a:lnTo>
                  <a:pt x="2241" y="827"/>
                </a:lnTo>
                <a:lnTo>
                  <a:pt x="2239" y="827"/>
                </a:lnTo>
                <a:lnTo>
                  <a:pt x="2233" y="827"/>
                </a:lnTo>
                <a:lnTo>
                  <a:pt x="2223" y="823"/>
                </a:lnTo>
                <a:lnTo>
                  <a:pt x="2213" y="821"/>
                </a:lnTo>
                <a:lnTo>
                  <a:pt x="2204" y="819"/>
                </a:lnTo>
                <a:lnTo>
                  <a:pt x="2194" y="818"/>
                </a:lnTo>
                <a:lnTo>
                  <a:pt x="2188" y="819"/>
                </a:lnTo>
                <a:lnTo>
                  <a:pt x="2185" y="819"/>
                </a:lnTo>
                <a:lnTo>
                  <a:pt x="2182" y="820"/>
                </a:lnTo>
                <a:lnTo>
                  <a:pt x="2180" y="821"/>
                </a:lnTo>
                <a:lnTo>
                  <a:pt x="2177" y="823"/>
                </a:lnTo>
                <a:lnTo>
                  <a:pt x="2173" y="826"/>
                </a:lnTo>
                <a:lnTo>
                  <a:pt x="2170" y="829"/>
                </a:lnTo>
                <a:lnTo>
                  <a:pt x="2169" y="831"/>
                </a:lnTo>
                <a:lnTo>
                  <a:pt x="2168" y="834"/>
                </a:lnTo>
                <a:lnTo>
                  <a:pt x="2166" y="839"/>
                </a:lnTo>
                <a:lnTo>
                  <a:pt x="2166" y="844"/>
                </a:lnTo>
                <a:lnTo>
                  <a:pt x="2167" y="850"/>
                </a:lnTo>
                <a:lnTo>
                  <a:pt x="2168" y="856"/>
                </a:lnTo>
                <a:lnTo>
                  <a:pt x="2171" y="862"/>
                </a:lnTo>
                <a:lnTo>
                  <a:pt x="2175" y="867"/>
                </a:lnTo>
                <a:lnTo>
                  <a:pt x="2179" y="872"/>
                </a:lnTo>
                <a:lnTo>
                  <a:pt x="2184" y="878"/>
                </a:lnTo>
                <a:lnTo>
                  <a:pt x="2195" y="890"/>
                </a:lnTo>
                <a:lnTo>
                  <a:pt x="2228" y="927"/>
                </a:lnTo>
                <a:lnTo>
                  <a:pt x="2238" y="938"/>
                </a:lnTo>
                <a:lnTo>
                  <a:pt x="2248" y="950"/>
                </a:lnTo>
                <a:lnTo>
                  <a:pt x="2257" y="963"/>
                </a:lnTo>
                <a:lnTo>
                  <a:pt x="2266" y="977"/>
                </a:lnTo>
                <a:lnTo>
                  <a:pt x="2270" y="985"/>
                </a:lnTo>
                <a:lnTo>
                  <a:pt x="2273" y="992"/>
                </a:lnTo>
                <a:lnTo>
                  <a:pt x="2276" y="1000"/>
                </a:lnTo>
                <a:lnTo>
                  <a:pt x="2279" y="1007"/>
                </a:lnTo>
                <a:lnTo>
                  <a:pt x="2281" y="1015"/>
                </a:lnTo>
                <a:lnTo>
                  <a:pt x="2282" y="1023"/>
                </a:lnTo>
                <a:lnTo>
                  <a:pt x="2283" y="1031"/>
                </a:lnTo>
                <a:lnTo>
                  <a:pt x="2284" y="1039"/>
                </a:lnTo>
                <a:lnTo>
                  <a:pt x="2284" y="1047"/>
                </a:lnTo>
                <a:lnTo>
                  <a:pt x="2283" y="1054"/>
                </a:lnTo>
                <a:lnTo>
                  <a:pt x="2282" y="1061"/>
                </a:lnTo>
                <a:lnTo>
                  <a:pt x="2281" y="1068"/>
                </a:lnTo>
                <a:lnTo>
                  <a:pt x="2280" y="1075"/>
                </a:lnTo>
                <a:lnTo>
                  <a:pt x="2278" y="1081"/>
                </a:lnTo>
                <a:lnTo>
                  <a:pt x="2274" y="1093"/>
                </a:lnTo>
                <a:lnTo>
                  <a:pt x="2268" y="1104"/>
                </a:lnTo>
                <a:lnTo>
                  <a:pt x="2265" y="1109"/>
                </a:lnTo>
                <a:lnTo>
                  <a:pt x="2262" y="1114"/>
                </a:lnTo>
                <a:lnTo>
                  <a:pt x="2258" y="1119"/>
                </a:lnTo>
                <a:lnTo>
                  <a:pt x="2255" y="1123"/>
                </a:lnTo>
                <a:lnTo>
                  <a:pt x="2246" y="1131"/>
                </a:lnTo>
                <a:lnTo>
                  <a:pt x="2237" y="1139"/>
                </a:lnTo>
                <a:lnTo>
                  <a:pt x="2227" y="1145"/>
                </a:lnTo>
                <a:lnTo>
                  <a:pt x="2217" y="1150"/>
                </a:lnTo>
                <a:lnTo>
                  <a:pt x="2205" y="1154"/>
                </a:lnTo>
                <a:lnTo>
                  <a:pt x="2193" y="1158"/>
                </a:lnTo>
                <a:lnTo>
                  <a:pt x="2187" y="1159"/>
                </a:lnTo>
                <a:lnTo>
                  <a:pt x="2181" y="1160"/>
                </a:lnTo>
                <a:lnTo>
                  <a:pt x="2168" y="1161"/>
                </a:lnTo>
                <a:lnTo>
                  <a:pt x="2155" y="1162"/>
                </a:lnTo>
                <a:lnTo>
                  <a:pt x="2143" y="1162"/>
                </a:lnTo>
                <a:lnTo>
                  <a:pt x="2131" y="1161"/>
                </a:lnTo>
                <a:lnTo>
                  <a:pt x="2118" y="1159"/>
                </a:lnTo>
                <a:lnTo>
                  <a:pt x="2106" y="1157"/>
                </a:lnTo>
                <a:lnTo>
                  <a:pt x="2094" y="1154"/>
                </a:lnTo>
                <a:lnTo>
                  <a:pt x="2083" y="1151"/>
                </a:lnTo>
                <a:lnTo>
                  <a:pt x="2073" y="1148"/>
                </a:lnTo>
                <a:lnTo>
                  <a:pt x="2064" y="1144"/>
                </a:lnTo>
                <a:lnTo>
                  <a:pt x="2062" y="1143"/>
                </a:lnTo>
                <a:lnTo>
                  <a:pt x="2059" y="1141"/>
                </a:lnTo>
                <a:lnTo>
                  <a:pt x="2058" y="1140"/>
                </a:lnTo>
                <a:lnTo>
                  <a:pt x="2057" y="1138"/>
                </a:lnTo>
                <a:lnTo>
                  <a:pt x="2057" y="1136"/>
                </a:lnTo>
                <a:lnTo>
                  <a:pt x="2056" y="1134"/>
                </a:lnTo>
                <a:lnTo>
                  <a:pt x="2057" y="1131"/>
                </a:lnTo>
                <a:lnTo>
                  <a:pt x="2077" y="1065"/>
                </a:lnTo>
                <a:lnTo>
                  <a:pt x="2078" y="1062"/>
                </a:lnTo>
                <a:lnTo>
                  <a:pt x="2079" y="1060"/>
                </a:lnTo>
                <a:lnTo>
                  <a:pt x="2080" y="1058"/>
                </a:lnTo>
                <a:lnTo>
                  <a:pt x="2082" y="1057"/>
                </a:lnTo>
                <a:lnTo>
                  <a:pt x="2084" y="1057"/>
                </a:lnTo>
                <a:lnTo>
                  <a:pt x="2086" y="1057"/>
                </a:lnTo>
                <a:lnTo>
                  <a:pt x="2088" y="1057"/>
                </a:lnTo>
                <a:lnTo>
                  <a:pt x="2091" y="1058"/>
                </a:lnTo>
                <a:lnTo>
                  <a:pt x="2098" y="1062"/>
                </a:lnTo>
                <a:lnTo>
                  <a:pt x="2106" y="1064"/>
                </a:lnTo>
                <a:lnTo>
                  <a:pt x="2113" y="1067"/>
                </a:lnTo>
                <a:lnTo>
                  <a:pt x="2120" y="1069"/>
                </a:lnTo>
                <a:lnTo>
                  <a:pt x="2128" y="1070"/>
                </a:lnTo>
                <a:lnTo>
                  <a:pt x="2135" y="1071"/>
                </a:lnTo>
                <a:lnTo>
                  <a:pt x="2142" y="1072"/>
                </a:lnTo>
                <a:lnTo>
                  <a:pt x="2148" y="1072"/>
                </a:lnTo>
                <a:lnTo>
                  <a:pt x="2157" y="1071"/>
                </a:lnTo>
                <a:lnTo>
                  <a:pt x="2161" y="1071"/>
                </a:lnTo>
                <a:lnTo>
                  <a:pt x="2165" y="1070"/>
                </a:lnTo>
                <a:lnTo>
                  <a:pt x="2171" y="1067"/>
                </a:lnTo>
                <a:lnTo>
                  <a:pt x="2176" y="1064"/>
                </a:lnTo>
                <a:lnTo>
                  <a:pt x="2180" y="1060"/>
                </a:lnTo>
                <a:lnTo>
                  <a:pt x="2182" y="1057"/>
                </a:lnTo>
                <a:lnTo>
                  <a:pt x="2183" y="1055"/>
                </a:lnTo>
                <a:lnTo>
                  <a:pt x="2185" y="1049"/>
                </a:lnTo>
                <a:lnTo>
                  <a:pt x="2186" y="1042"/>
                </a:lnTo>
                <a:lnTo>
                  <a:pt x="2185" y="1037"/>
                </a:lnTo>
                <a:lnTo>
                  <a:pt x="2184" y="1031"/>
                </a:lnTo>
                <a:lnTo>
                  <a:pt x="2181" y="1025"/>
                </a:lnTo>
                <a:lnTo>
                  <a:pt x="2178" y="1020"/>
                </a:lnTo>
                <a:lnTo>
                  <a:pt x="2175" y="1014"/>
                </a:lnTo>
                <a:lnTo>
                  <a:pt x="2170" y="1008"/>
                </a:lnTo>
                <a:lnTo>
                  <a:pt x="2161" y="997"/>
                </a:lnTo>
                <a:lnTo>
                  <a:pt x="2128" y="961"/>
                </a:lnTo>
                <a:lnTo>
                  <a:pt x="2116" y="948"/>
                </a:lnTo>
                <a:lnTo>
                  <a:pt x="2106" y="935"/>
                </a:lnTo>
                <a:lnTo>
                  <a:pt x="2095" y="922"/>
                </a:lnTo>
                <a:lnTo>
                  <a:pt x="2091" y="915"/>
                </a:lnTo>
                <a:lnTo>
                  <a:pt x="2086" y="908"/>
                </a:lnTo>
                <a:lnTo>
                  <a:pt x="2082" y="900"/>
                </a:lnTo>
                <a:lnTo>
                  <a:pt x="2079" y="893"/>
                </a:lnTo>
                <a:lnTo>
                  <a:pt x="2076" y="885"/>
                </a:lnTo>
                <a:lnTo>
                  <a:pt x="2073" y="877"/>
                </a:lnTo>
                <a:lnTo>
                  <a:pt x="2071" y="868"/>
                </a:lnTo>
                <a:lnTo>
                  <a:pt x="2070" y="864"/>
                </a:lnTo>
                <a:lnTo>
                  <a:pt x="2069" y="859"/>
                </a:lnTo>
                <a:lnTo>
                  <a:pt x="2068" y="850"/>
                </a:lnTo>
                <a:lnTo>
                  <a:pt x="2068" y="841"/>
                </a:lnTo>
                <a:lnTo>
                  <a:pt x="2068" y="829"/>
                </a:lnTo>
                <a:lnTo>
                  <a:pt x="2070" y="817"/>
                </a:lnTo>
                <a:lnTo>
                  <a:pt x="2073" y="806"/>
                </a:lnTo>
                <a:lnTo>
                  <a:pt x="2077" y="795"/>
                </a:lnTo>
                <a:lnTo>
                  <a:pt x="2081" y="785"/>
                </a:lnTo>
                <a:lnTo>
                  <a:pt x="2087" y="776"/>
                </a:lnTo>
                <a:lnTo>
                  <a:pt x="2094" y="768"/>
                </a:lnTo>
                <a:lnTo>
                  <a:pt x="2101" y="760"/>
                </a:lnTo>
                <a:lnTo>
                  <a:pt x="2105" y="756"/>
                </a:lnTo>
                <a:lnTo>
                  <a:pt x="2109" y="753"/>
                </a:lnTo>
                <a:lnTo>
                  <a:pt x="2118" y="747"/>
                </a:lnTo>
                <a:lnTo>
                  <a:pt x="2123" y="744"/>
                </a:lnTo>
                <a:lnTo>
                  <a:pt x="2128" y="741"/>
                </a:lnTo>
                <a:lnTo>
                  <a:pt x="2138" y="737"/>
                </a:lnTo>
                <a:lnTo>
                  <a:pt x="2148" y="734"/>
                </a:lnTo>
                <a:lnTo>
                  <a:pt x="2160" y="731"/>
                </a:lnTo>
                <a:lnTo>
                  <a:pt x="2166" y="730"/>
                </a:lnTo>
                <a:lnTo>
                  <a:pt x="2172" y="730"/>
                </a:lnTo>
                <a:lnTo>
                  <a:pt x="2184" y="729"/>
                </a:lnTo>
                <a:close/>
                <a:moveTo>
                  <a:pt x="2472" y="729"/>
                </a:moveTo>
                <a:lnTo>
                  <a:pt x="2483" y="729"/>
                </a:lnTo>
                <a:lnTo>
                  <a:pt x="2495" y="730"/>
                </a:lnTo>
                <a:lnTo>
                  <a:pt x="2505" y="731"/>
                </a:lnTo>
                <a:lnTo>
                  <a:pt x="2516" y="733"/>
                </a:lnTo>
                <a:lnTo>
                  <a:pt x="2525" y="735"/>
                </a:lnTo>
                <a:lnTo>
                  <a:pt x="2534" y="737"/>
                </a:lnTo>
                <a:lnTo>
                  <a:pt x="2542" y="739"/>
                </a:lnTo>
                <a:lnTo>
                  <a:pt x="2548" y="741"/>
                </a:lnTo>
                <a:lnTo>
                  <a:pt x="2550" y="742"/>
                </a:lnTo>
                <a:lnTo>
                  <a:pt x="2552" y="744"/>
                </a:lnTo>
                <a:lnTo>
                  <a:pt x="2554" y="745"/>
                </a:lnTo>
                <a:lnTo>
                  <a:pt x="2555" y="747"/>
                </a:lnTo>
                <a:lnTo>
                  <a:pt x="2555" y="749"/>
                </a:lnTo>
                <a:lnTo>
                  <a:pt x="2556" y="752"/>
                </a:lnTo>
                <a:lnTo>
                  <a:pt x="2555" y="757"/>
                </a:lnTo>
                <a:lnTo>
                  <a:pt x="2537" y="818"/>
                </a:lnTo>
                <a:lnTo>
                  <a:pt x="2536" y="821"/>
                </a:lnTo>
                <a:lnTo>
                  <a:pt x="2534" y="823"/>
                </a:lnTo>
                <a:lnTo>
                  <a:pt x="2533" y="825"/>
                </a:lnTo>
                <a:lnTo>
                  <a:pt x="2531" y="826"/>
                </a:lnTo>
                <a:lnTo>
                  <a:pt x="2529" y="827"/>
                </a:lnTo>
                <a:lnTo>
                  <a:pt x="2527" y="827"/>
                </a:lnTo>
                <a:lnTo>
                  <a:pt x="2522" y="827"/>
                </a:lnTo>
                <a:lnTo>
                  <a:pt x="2511" y="823"/>
                </a:lnTo>
                <a:lnTo>
                  <a:pt x="2501" y="821"/>
                </a:lnTo>
                <a:lnTo>
                  <a:pt x="2492" y="819"/>
                </a:lnTo>
                <a:lnTo>
                  <a:pt x="2483" y="818"/>
                </a:lnTo>
                <a:lnTo>
                  <a:pt x="2476" y="819"/>
                </a:lnTo>
                <a:lnTo>
                  <a:pt x="2473" y="819"/>
                </a:lnTo>
                <a:lnTo>
                  <a:pt x="2471" y="820"/>
                </a:lnTo>
                <a:lnTo>
                  <a:pt x="2468" y="821"/>
                </a:lnTo>
                <a:lnTo>
                  <a:pt x="2466" y="823"/>
                </a:lnTo>
                <a:lnTo>
                  <a:pt x="2462" y="826"/>
                </a:lnTo>
                <a:lnTo>
                  <a:pt x="2459" y="829"/>
                </a:lnTo>
                <a:lnTo>
                  <a:pt x="2457" y="831"/>
                </a:lnTo>
                <a:lnTo>
                  <a:pt x="2456" y="834"/>
                </a:lnTo>
                <a:lnTo>
                  <a:pt x="2455" y="839"/>
                </a:lnTo>
                <a:lnTo>
                  <a:pt x="2454" y="844"/>
                </a:lnTo>
                <a:lnTo>
                  <a:pt x="2455" y="850"/>
                </a:lnTo>
                <a:lnTo>
                  <a:pt x="2457" y="856"/>
                </a:lnTo>
                <a:lnTo>
                  <a:pt x="2459" y="862"/>
                </a:lnTo>
                <a:lnTo>
                  <a:pt x="2463" y="867"/>
                </a:lnTo>
                <a:lnTo>
                  <a:pt x="2467" y="872"/>
                </a:lnTo>
                <a:lnTo>
                  <a:pt x="2472" y="878"/>
                </a:lnTo>
                <a:lnTo>
                  <a:pt x="2483" y="890"/>
                </a:lnTo>
                <a:lnTo>
                  <a:pt x="2516" y="927"/>
                </a:lnTo>
                <a:lnTo>
                  <a:pt x="2526" y="938"/>
                </a:lnTo>
                <a:lnTo>
                  <a:pt x="2536" y="950"/>
                </a:lnTo>
                <a:lnTo>
                  <a:pt x="2546" y="963"/>
                </a:lnTo>
                <a:lnTo>
                  <a:pt x="2554" y="977"/>
                </a:lnTo>
                <a:lnTo>
                  <a:pt x="2558" y="985"/>
                </a:lnTo>
                <a:lnTo>
                  <a:pt x="2561" y="992"/>
                </a:lnTo>
                <a:lnTo>
                  <a:pt x="2564" y="1000"/>
                </a:lnTo>
                <a:lnTo>
                  <a:pt x="2567" y="1007"/>
                </a:lnTo>
                <a:lnTo>
                  <a:pt x="2569" y="1015"/>
                </a:lnTo>
                <a:lnTo>
                  <a:pt x="2571" y="1023"/>
                </a:lnTo>
                <a:lnTo>
                  <a:pt x="2572" y="1031"/>
                </a:lnTo>
                <a:lnTo>
                  <a:pt x="2572" y="1039"/>
                </a:lnTo>
                <a:lnTo>
                  <a:pt x="2572" y="1047"/>
                </a:lnTo>
                <a:lnTo>
                  <a:pt x="2571" y="1054"/>
                </a:lnTo>
                <a:lnTo>
                  <a:pt x="2571" y="1061"/>
                </a:lnTo>
                <a:lnTo>
                  <a:pt x="2569" y="1068"/>
                </a:lnTo>
                <a:lnTo>
                  <a:pt x="2568" y="1075"/>
                </a:lnTo>
                <a:lnTo>
                  <a:pt x="2566" y="1081"/>
                </a:lnTo>
                <a:lnTo>
                  <a:pt x="2562" y="1093"/>
                </a:lnTo>
                <a:lnTo>
                  <a:pt x="2557" y="1104"/>
                </a:lnTo>
                <a:lnTo>
                  <a:pt x="2554" y="1109"/>
                </a:lnTo>
                <a:lnTo>
                  <a:pt x="2550" y="1114"/>
                </a:lnTo>
                <a:lnTo>
                  <a:pt x="2547" y="1119"/>
                </a:lnTo>
                <a:lnTo>
                  <a:pt x="2543" y="1123"/>
                </a:lnTo>
                <a:lnTo>
                  <a:pt x="2535" y="1131"/>
                </a:lnTo>
                <a:lnTo>
                  <a:pt x="2526" y="1139"/>
                </a:lnTo>
                <a:lnTo>
                  <a:pt x="2516" y="1145"/>
                </a:lnTo>
                <a:lnTo>
                  <a:pt x="2510" y="1148"/>
                </a:lnTo>
                <a:lnTo>
                  <a:pt x="2505" y="1150"/>
                </a:lnTo>
                <a:lnTo>
                  <a:pt x="2494" y="1154"/>
                </a:lnTo>
                <a:lnTo>
                  <a:pt x="2482" y="1158"/>
                </a:lnTo>
                <a:lnTo>
                  <a:pt x="2476" y="1159"/>
                </a:lnTo>
                <a:lnTo>
                  <a:pt x="2469" y="1160"/>
                </a:lnTo>
                <a:lnTo>
                  <a:pt x="2456" y="1161"/>
                </a:lnTo>
                <a:lnTo>
                  <a:pt x="2443" y="1162"/>
                </a:lnTo>
                <a:lnTo>
                  <a:pt x="2431" y="1162"/>
                </a:lnTo>
                <a:lnTo>
                  <a:pt x="2419" y="1161"/>
                </a:lnTo>
                <a:lnTo>
                  <a:pt x="2407" y="1159"/>
                </a:lnTo>
                <a:lnTo>
                  <a:pt x="2395" y="1157"/>
                </a:lnTo>
                <a:lnTo>
                  <a:pt x="2383" y="1154"/>
                </a:lnTo>
                <a:lnTo>
                  <a:pt x="2372" y="1151"/>
                </a:lnTo>
                <a:lnTo>
                  <a:pt x="2362" y="1148"/>
                </a:lnTo>
                <a:lnTo>
                  <a:pt x="2353" y="1144"/>
                </a:lnTo>
                <a:lnTo>
                  <a:pt x="2350" y="1143"/>
                </a:lnTo>
                <a:lnTo>
                  <a:pt x="2348" y="1141"/>
                </a:lnTo>
                <a:lnTo>
                  <a:pt x="2346" y="1140"/>
                </a:lnTo>
                <a:lnTo>
                  <a:pt x="2345" y="1138"/>
                </a:lnTo>
                <a:lnTo>
                  <a:pt x="2345" y="1136"/>
                </a:lnTo>
                <a:lnTo>
                  <a:pt x="2345" y="1134"/>
                </a:lnTo>
                <a:lnTo>
                  <a:pt x="2346" y="1131"/>
                </a:lnTo>
                <a:lnTo>
                  <a:pt x="2365" y="1065"/>
                </a:lnTo>
                <a:lnTo>
                  <a:pt x="2366" y="1062"/>
                </a:lnTo>
                <a:lnTo>
                  <a:pt x="2367" y="1060"/>
                </a:lnTo>
                <a:lnTo>
                  <a:pt x="2369" y="1058"/>
                </a:lnTo>
                <a:lnTo>
                  <a:pt x="2370" y="1057"/>
                </a:lnTo>
                <a:lnTo>
                  <a:pt x="2372" y="1057"/>
                </a:lnTo>
                <a:lnTo>
                  <a:pt x="2374" y="1057"/>
                </a:lnTo>
                <a:lnTo>
                  <a:pt x="2377" y="1057"/>
                </a:lnTo>
                <a:lnTo>
                  <a:pt x="2379" y="1058"/>
                </a:lnTo>
                <a:lnTo>
                  <a:pt x="2387" y="1062"/>
                </a:lnTo>
                <a:lnTo>
                  <a:pt x="2394" y="1064"/>
                </a:lnTo>
                <a:lnTo>
                  <a:pt x="2401" y="1067"/>
                </a:lnTo>
                <a:lnTo>
                  <a:pt x="2409" y="1069"/>
                </a:lnTo>
                <a:lnTo>
                  <a:pt x="2416" y="1070"/>
                </a:lnTo>
                <a:lnTo>
                  <a:pt x="2423" y="1071"/>
                </a:lnTo>
                <a:lnTo>
                  <a:pt x="2430" y="1072"/>
                </a:lnTo>
                <a:lnTo>
                  <a:pt x="2437" y="1072"/>
                </a:lnTo>
                <a:lnTo>
                  <a:pt x="2446" y="1071"/>
                </a:lnTo>
                <a:lnTo>
                  <a:pt x="2449" y="1071"/>
                </a:lnTo>
                <a:lnTo>
                  <a:pt x="2453" y="1070"/>
                </a:lnTo>
                <a:lnTo>
                  <a:pt x="2460" y="1067"/>
                </a:lnTo>
                <a:lnTo>
                  <a:pt x="2465" y="1064"/>
                </a:lnTo>
                <a:lnTo>
                  <a:pt x="2469" y="1060"/>
                </a:lnTo>
                <a:lnTo>
                  <a:pt x="2470" y="1057"/>
                </a:lnTo>
                <a:lnTo>
                  <a:pt x="2472" y="1055"/>
                </a:lnTo>
                <a:lnTo>
                  <a:pt x="2473" y="1049"/>
                </a:lnTo>
                <a:lnTo>
                  <a:pt x="2474" y="1042"/>
                </a:lnTo>
                <a:lnTo>
                  <a:pt x="2473" y="1037"/>
                </a:lnTo>
                <a:lnTo>
                  <a:pt x="2472" y="1031"/>
                </a:lnTo>
                <a:lnTo>
                  <a:pt x="2470" y="1025"/>
                </a:lnTo>
                <a:lnTo>
                  <a:pt x="2467" y="1020"/>
                </a:lnTo>
                <a:lnTo>
                  <a:pt x="2463" y="1014"/>
                </a:lnTo>
                <a:lnTo>
                  <a:pt x="2459" y="1008"/>
                </a:lnTo>
                <a:lnTo>
                  <a:pt x="2449" y="997"/>
                </a:lnTo>
                <a:lnTo>
                  <a:pt x="2416" y="961"/>
                </a:lnTo>
                <a:lnTo>
                  <a:pt x="2405" y="948"/>
                </a:lnTo>
                <a:lnTo>
                  <a:pt x="2394" y="935"/>
                </a:lnTo>
                <a:lnTo>
                  <a:pt x="2384" y="922"/>
                </a:lnTo>
                <a:lnTo>
                  <a:pt x="2379" y="915"/>
                </a:lnTo>
                <a:lnTo>
                  <a:pt x="2375" y="908"/>
                </a:lnTo>
                <a:lnTo>
                  <a:pt x="2371" y="900"/>
                </a:lnTo>
                <a:lnTo>
                  <a:pt x="2367" y="893"/>
                </a:lnTo>
                <a:lnTo>
                  <a:pt x="2364" y="885"/>
                </a:lnTo>
                <a:lnTo>
                  <a:pt x="2361" y="877"/>
                </a:lnTo>
                <a:lnTo>
                  <a:pt x="2359" y="868"/>
                </a:lnTo>
                <a:lnTo>
                  <a:pt x="2358" y="864"/>
                </a:lnTo>
                <a:lnTo>
                  <a:pt x="2358" y="859"/>
                </a:lnTo>
                <a:lnTo>
                  <a:pt x="2357" y="850"/>
                </a:lnTo>
                <a:lnTo>
                  <a:pt x="2356" y="841"/>
                </a:lnTo>
                <a:lnTo>
                  <a:pt x="2357" y="829"/>
                </a:lnTo>
                <a:lnTo>
                  <a:pt x="2358" y="817"/>
                </a:lnTo>
                <a:lnTo>
                  <a:pt x="2361" y="806"/>
                </a:lnTo>
                <a:lnTo>
                  <a:pt x="2365" y="795"/>
                </a:lnTo>
                <a:lnTo>
                  <a:pt x="2370" y="785"/>
                </a:lnTo>
                <a:lnTo>
                  <a:pt x="2375" y="776"/>
                </a:lnTo>
                <a:lnTo>
                  <a:pt x="2382" y="768"/>
                </a:lnTo>
                <a:lnTo>
                  <a:pt x="2389" y="760"/>
                </a:lnTo>
                <a:lnTo>
                  <a:pt x="2393" y="756"/>
                </a:lnTo>
                <a:lnTo>
                  <a:pt x="2397" y="753"/>
                </a:lnTo>
                <a:lnTo>
                  <a:pt x="2406" y="747"/>
                </a:lnTo>
                <a:lnTo>
                  <a:pt x="2411" y="744"/>
                </a:lnTo>
                <a:lnTo>
                  <a:pt x="2416" y="741"/>
                </a:lnTo>
                <a:lnTo>
                  <a:pt x="2426" y="737"/>
                </a:lnTo>
                <a:lnTo>
                  <a:pt x="2437" y="734"/>
                </a:lnTo>
                <a:lnTo>
                  <a:pt x="2448" y="731"/>
                </a:lnTo>
                <a:lnTo>
                  <a:pt x="2454" y="730"/>
                </a:lnTo>
                <a:lnTo>
                  <a:pt x="2460" y="730"/>
                </a:lnTo>
                <a:lnTo>
                  <a:pt x="2472" y="729"/>
                </a:lnTo>
                <a:close/>
                <a:moveTo>
                  <a:pt x="633" y="1006"/>
                </a:moveTo>
                <a:lnTo>
                  <a:pt x="733" y="1006"/>
                </a:lnTo>
                <a:lnTo>
                  <a:pt x="683" y="875"/>
                </a:lnTo>
                <a:lnTo>
                  <a:pt x="633" y="1006"/>
                </a:lnTo>
                <a:close/>
                <a:moveTo>
                  <a:pt x="763" y="1088"/>
                </a:moveTo>
                <a:lnTo>
                  <a:pt x="603" y="1088"/>
                </a:lnTo>
                <a:lnTo>
                  <a:pt x="581" y="1145"/>
                </a:lnTo>
                <a:lnTo>
                  <a:pt x="580" y="1148"/>
                </a:lnTo>
                <a:lnTo>
                  <a:pt x="579" y="1150"/>
                </a:lnTo>
                <a:lnTo>
                  <a:pt x="577" y="1151"/>
                </a:lnTo>
                <a:lnTo>
                  <a:pt x="576" y="1153"/>
                </a:lnTo>
                <a:lnTo>
                  <a:pt x="572" y="1154"/>
                </a:lnTo>
                <a:lnTo>
                  <a:pt x="568" y="1155"/>
                </a:lnTo>
                <a:lnTo>
                  <a:pt x="489" y="1155"/>
                </a:lnTo>
                <a:lnTo>
                  <a:pt x="486" y="1155"/>
                </a:lnTo>
                <a:lnTo>
                  <a:pt x="484" y="1154"/>
                </a:lnTo>
                <a:lnTo>
                  <a:pt x="482" y="1153"/>
                </a:lnTo>
                <a:lnTo>
                  <a:pt x="481" y="1151"/>
                </a:lnTo>
                <a:lnTo>
                  <a:pt x="479" y="1149"/>
                </a:lnTo>
                <a:lnTo>
                  <a:pt x="479" y="1147"/>
                </a:lnTo>
                <a:lnTo>
                  <a:pt x="479" y="1144"/>
                </a:lnTo>
                <a:lnTo>
                  <a:pt x="480" y="1141"/>
                </a:lnTo>
                <a:lnTo>
                  <a:pt x="636" y="746"/>
                </a:lnTo>
                <a:lnTo>
                  <a:pt x="637" y="743"/>
                </a:lnTo>
                <a:lnTo>
                  <a:pt x="638" y="741"/>
                </a:lnTo>
                <a:lnTo>
                  <a:pt x="641" y="738"/>
                </a:lnTo>
                <a:lnTo>
                  <a:pt x="645" y="737"/>
                </a:lnTo>
                <a:lnTo>
                  <a:pt x="647" y="736"/>
                </a:lnTo>
                <a:lnTo>
                  <a:pt x="649" y="736"/>
                </a:lnTo>
                <a:lnTo>
                  <a:pt x="719" y="736"/>
                </a:lnTo>
                <a:lnTo>
                  <a:pt x="724" y="737"/>
                </a:lnTo>
                <a:lnTo>
                  <a:pt x="728" y="738"/>
                </a:lnTo>
                <a:lnTo>
                  <a:pt x="730" y="741"/>
                </a:lnTo>
                <a:lnTo>
                  <a:pt x="732" y="743"/>
                </a:lnTo>
                <a:lnTo>
                  <a:pt x="733" y="746"/>
                </a:lnTo>
                <a:lnTo>
                  <a:pt x="889" y="1141"/>
                </a:lnTo>
                <a:lnTo>
                  <a:pt x="890" y="1144"/>
                </a:lnTo>
                <a:lnTo>
                  <a:pt x="890" y="1147"/>
                </a:lnTo>
                <a:lnTo>
                  <a:pt x="890" y="1149"/>
                </a:lnTo>
                <a:lnTo>
                  <a:pt x="889" y="1151"/>
                </a:lnTo>
                <a:lnTo>
                  <a:pt x="887" y="1153"/>
                </a:lnTo>
                <a:lnTo>
                  <a:pt x="885" y="1154"/>
                </a:lnTo>
                <a:lnTo>
                  <a:pt x="883" y="1155"/>
                </a:lnTo>
                <a:lnTo>
                  <a:pt x="880" y="1155"/>
                </a:lnTo>
                <a:lnTo>
                  <a:pt x="800" y="1155"/>
                </a:lnTo>
                <a:lnTo>
                  <a:pt x="796" y="1154"/>
                </a:lnTo>
                <a:lnTo>
                  <a:pt x="794" y="1154"/>
                </a:lnTo>
                <a:lnTo>
                  <a:pt x="792" y="1153"/>
                </a:lnTo>
                <a:lnTo>
                  <a:pt x="790" y="1151"/>
                </a:lnTo>
                <a:lnTo>
                  <a:pt x="788" y="1150"/>
                </a:lnTo>
                <a:lnTo>
                  <a:pt x="787" y="1148"/>
                </a:lnTo>
                <a:lnTo>
                  <a:pt x="786" y="1145"/>
                </a:lnTo>
                <a:lnTo>
                  <a:pt x="763" y="1088"/>
                </a:lnTo>
                <a:close/>
                <a:moveTo>
                  <a:pt x="292" y="912"/>
                </a:moveTo>
                <a:lnTo>
                  <a:pt x="428" y="1142"/>
                </a:lnTo>
                <a:lnTo>
                  <a:pt x="429" y="1144"/>
                </a:lnTo>
                <a:lnTo>
                  <a:pt x="429" y="1146"/>
                </a:lnTo>
                <a:lnTo>
                  <a:pt x="429" y="1148"/>
                </a:lnTo>
                <a:lnTo>
                  <a:pt x="429" y="1150"/>
                </a:lnTo>
                <a:lnTo>
                  <a:pt x="428" y="1152"/>
                </a:lnTo>
                <a:lnTo>
                  <a:pt x="426" y="1154"/>
                </a:lnTo>
                <a:lnTo>
                  <a:pt x="424" y="1154"/>
                </a:lnTo>
                <a:lnTo>
                  <a:pt x="421" y="1155"/>
                </a:lnTo>
                <a:lnTo>
                  <a:pt x="325" y="1155"/>
                </a:lnTo>
                <a:lnTo>
                  <a:pt x="321" y="1154"/>
                </a:lnTo>
                <a:lnTo>
                  <a:pt x="316" y="1152"/>
                </a:lnTo>
                <a:lnTo>
                  <a:pt x="315" y="1151"/>
                </a:lnTo>
                <a:lnTo>
                  <a:pt x="313" y="1150"/>
                </a:lnTo>
                <a:lnTo>
                  <a:pt x="310" y="1145"/>
                </a:lnTo>
                <a:lnTo>
                  <a:pt x="214" y="979"/>
                </a:lnTo>
                <a:lnTo>
                  <a:pt x="161" y="1044"/>
                </a:lnTo>
                <a:lnTo>
                  <a:pt x="161" y="1145"/>
                </a:lnTo>
                <a:lnTo>
                  <a:pt x="161" y="1147"/>
                </a:lnTo>
                <a:lnTo>
                  <a:pt x="160" y="1149"/>
                </a:lnTo>
                <a:lnTo>
                  <a:pt x="158" y="1152"/>
                </a:lnTo>
                <a:lnTo>
                  <a:pt x="157" y="1153"/>
                </a:lnTo>
                <a:lnTo>
                  <a:pt x="155" y="1154"/>
                </a:lnTo>
                <a:lnTo>
                  <a:pt x="151" y="1155"/>
                </a:lnTo>
                <a:lnTo>
                  <a:pt x="69" y="1155"/>
                </a:lnTo>
                <a:lnTo>
                  <a:pt x="65" y="1154"/>
                </a:lnTo>
                <a:lnTo>
                  <a:pt x="62" y="1152"/>
                </a:lnTo>
                <a:lnTo>
                  <a:pt x="60" y="1150"/>
                </a:lnTo>
                <a:lnTo>
                  <a:pt x="60" y="1149"/>
                </a:lnTo>
                <a:lnTo>
                  <a:pt x="59" y="1147"/>
                </a:lnTo>
                <a:lnTo>
                  <a:pt x="59" y="1145"/>
                </a:lnTo>
                <a:lnTo>
                  <a:pt x="59" y="746"/>
                </a:lnTo>
                <a:lnTo>
                  <a:pt x="59" y="744"/>
                </a:lnTo>
                <a:lnTo>
                  <a:pt x="60" y="742"/>
                </a:lnTo>
                <a:lnTo>
                  <a:pt x="62" y="739"/>
                </a:lnTo>
                <a:lnTo>
                  <a:pt x="63" y="738"/>
                </a:lnTo>
                <a:lnTo>
                  <a:pt x="65" y="737"/>
                </a:lnTo>
                <a:lnTo>
                  <a:pt x="69" y="736"/>
                </a:lnTo>
                <a:lnTo>
                  <a:pt x="151" y="736"/>
                </a:lnTo>
                <a:lnTo>
                  <a:pt x="155" y="737"/>
                </a:lnTo>
                <a:lnTo>
                  <a:pt x="158" y="739"/>
                </a:lnTo>
                <a:lnTo>
                  <a:pt x="159" y="740"/>
                </a:lnTo>
                <a:lnTo>
                  <a:pt x="160" y="742"/>
                </a:lnTo>
                <a:lnTo>
                  <a:pt x="161" y="744"/>
                </a:lnTo>
                <a:lnTo>
                  <a:pt x="161" y="746"/>
                </a:lnTo>
                <a:lnTo>
                  <a:pt x="161" y="921"/>
                </a:lnTo>
                <a:lnTo>
                  <a:pt x="304" y="746"/>
                </a:lnTo>
                <a:lnTo>
                  <a:pt x="308" y="742"/>
                </a:lnTo>
                <a:lnTo>
                  <a:pt x="310" y="740"/>
                </a:lnTo>
                <a:lnTo>
                  <a:pt x="312" y="739"/>
                </a:lnTo>
                <a:lnTo>
                  <a:pt x="314" y="738"/>
                </a:lnTo>
                <a:lnTo>
                  <a:pt x="317" y="737"/>
                </a:lnTo>
                <a:lnTo>
                  <a:pt x="319" y="736"/>
                </a:lnTo>
                <a:lnTo>
                  <a:pt x="322" y="736"/>
                </a:lnTo>
                <a:lnTo>
                  <a:pt x="418" y="736"/>
                </a:lnTo>
                <a:lnTo>
                  <a:pt x="421" y="737"/>
                </a:lnTo>
                <a:lnTo>
                  <a:pt x="423" y="738"/>
                </a:lnTo>
                <a:lnTo>
                  <a:pt x="425" y="739"/>
                </a:lnTo>
                <a:lnTo>
                  <a:pt x="426" y="741"/>
                </a:lnTo>
                <a:lnTo>
                  <a:pt x="426" y="744"/>
                </a:lnTo>
                <a:lnTo>
                  <a:pt x="426" y="746"/>
                </a:lnTo>
                <a:lnTo>
                  <a:pt x="425" y="749"/>
                </a:lnTo>
                <a:lnTo>
                  <a:pt x="424" y="751"/>
                </a:lnTo>
                <a:lnTo>
                  <a:pt x="292" y="912"/>
                </a:lnTo>
                <a:close/>
                <a:moveTo>
                  <a:pt x="1819" y="1010"/>
                </a:moveTo>
                <a:lnTo>
                  <a:pt x="1872" y="1010"/>
                </a:lnTo>
                <a:lnTo>
                  <a:pt x="1845" y="883"/>
                </a:lnTo>
                <a:lnTo>
                  <a:pt x="1819" y="1010"/>
                </a:lnTo>
                <a:close/>
                <a:moveTo>
                  <a:pt x="1887" y="1088"/>
                </a:moveTo>
                <a:lnTo>
                  <a:pt x="1805" y="1088"/>
                </a:lnTo>
                <a:lnTo>
                  <a:pt x="1793" y="1145"/>
                </a:lnTo>
                <a:lnTo>
                  <a:pt x="1792" y="1147"/>
                </a:lnTo>
                <a:lnTo>
                  <a:pt x="1791" y="1149"/>
                </a:lnTo>
                <a:lnTo>
                  <a:pt x="1788" y="1152"/>
                </a:lnTo>
                <a:lnTo>
                  <a:pt x="1787" y="1153"/>
                </a:lnTo>
                <a:lnTo>
                  <a:pt x="1785" y="1154"/>
                </a:lnTo>
                <a:lnTo>
                  <a:pt x="1783" y="1155"/>
                </a:lnTo>
                <a:lnTo>
                  <a:pt x="1781" y="1155"/>
                </a:lnTo>
                <a:lnTo>
                  <a:pt x="1708" y="1155"/>
                </a:lnTo>
                <a:lnTo>
                  <a:pt x="1706" y="1155"/>
                </a:lnTo>
                <a:lnTo>
                  <a:pt x="1704" y="1154"/>
                </a:lnTo>
                <a:lnTo>
                  <a:pt x="1702" y="1153"/>
                </a:lnTo>
                <a:lnTo>
                  <a:pt x="1701" y="1152"/>
                </a:lnTo>
                <a:lnTo>
                  <a:pt x="1700" y="1150"/>
                </a:lnTo>
                <a:lnTo>
                  <a:pt x="1700" y="1147"/>
                </a:lnTo>
                <a:lnTo>
                  <a:pt x="1701" y="1141"/>
                </a:lnTo>
                <a:lnTo>
                  <a:pt x="1793" y="746"/>
                </a:lnTo>
                <a:lnTo>
                  <a:pt x="1793" y="744"/>
                </a:lnTo>
                <a:lnTo>
                  <a:pt x="1794" y="742"/>
                </a:lnTo>
                <a:lnTo>
                  <a:pt x="1797" y="739"/>
                </a:lnTo>
                <a:lnTo>
                  <a:pt x="1799" y="738"/>
                </a:lnTo>
                <a:lnTo>
                  <a:pt x="1801" y="737"/>
                </a:lnTo>
                <a:lnTo>
                  <a:pt x="1806" y="736"/>
                </a:lnTo>
                <a:lnTo>
                  <a:pt x="1887" y="736"/>
                </a:lnTo>
                <a:lnTo>
                  <a:pt x="1889" y="736"/>
                </a:lnTo>
                <a:lnTo>
                  <a:pt x="1892" y="737"/>
                </a:lnTo>
                <a:lnTo>
                  <a:pt x="1896" y="739"/>
                </a:lnTo>
                <a:lnTo>
                  <a:pt x="1898" y="742"/>
                </a:lnTo>
                <a:lnTo>
                  <a:pt x="1899" y="744"/>
                </a:lnTo>
                <a:lnTo>
                  <a:pt x="1900" y="746"/>
                </a:lnTo>
                <a:lnTo>
                  <a:pt x="1992" y="1141"/>
                </a:lnTo>
                <a:lnTo>
                  <a:pt x="1993" y="1147"/>
                </a:lnTo>
                <a:lnTo>
                  <a:pt x="1992" y="1150"/>
                </a:lnTo>
                <a:lnTo>
                  <a:pt x="1992" y="1152"/>
                </a:lnTo>
                <a:lnTo>
                  <a:pt x="1990" y="1153"/>
                </a:lnTo>
                <a:lnTo>
                  <a:pt x="1989" y="1154"/>
                </a:lnTo>
                <a:lnTo>
                  <a:pt x="1984" y="1155"/>
                </a:lnTo>
                <a:lnTo>
                  <a:pt x="1910" y="1155"/>
                </a:lnTo>
                <a:lnTo>
                  <a:pt x="1906" y="1154"/>
                </a:lnTo>
                <a:lnTo>
                  <a:pt x="1902" y="1152"/>
                </a:lnTo>
                <a:lnTo>
                  <a:pt x="1901" y="1151"/>
                </a:lnTo>
                <a:lnTo>
                  <a:pt x="1900" y="1149"/>
                </a:lnTo>
                <a:lnTo>
                  <a:pt x="1899" y="1147"/>
                </a:lnTo>
                <a:lnTo>
                  <a:pt x="1898" y="1145"/>
                </a:lnTo>
                <a:lnTo>
                  <a:pt x="1887" y="1088"/>
                </a:lnTo>
                <a:close/>
                <a:moveTo>
                  <a:pt x="937" y="991"/>
                </a:moveTo>
                <a:lnTo>
                  <a:pt x="937" y="746"/>
                </a:lnTo>
                <a:lnTo>
                  <a:pt x="937" y="744"/>
                </a:lnTo>
                <a:lnTo>
                  <a:pt x="938" y="742"/>
                </a:lnTo>
                <a:lnTo>
                  <a:pt x="940" y="739"/>
                </a:lnTo>
                <a:lnTo>
                  <a:pt x="941" y="738"/>
                </a:lnTo>
                <a:lnTo>
                  <a:pt x="943" y="737"/>
                </a:lnTo>
                <a:lnTo>
                  <a:pt x="947" y="736"/>
                </a:lnTo>
                <a:lnTo>
                  <a:pt x="1029" y="736"/>
                </a:lnTo>
                <a:lnTo>
                  <a:pt x="1033" y="737"/>
                </a:lnTo>
                <a:lnTo>
                  <a:pt x="1037" y="739"/>
                </a:lnTo>
                <a:lnTo>
                  <a:pt x="1038" y="740"/>
                </a:lnTo>
                <a:lnTo>
                  <a:pt x="1039" y="742"/>
                </a:lnTo>
                <a:lnTo>
                  <a:pt x="1039" y="744"/>
                </a:lnTo>
                <a:lnTo>
                  <a:pt x="1039" y="746"/>
                </a:lnTo>
                <a:lnTo>
                  <a:pt x="1039" y="986"/>
                </a:lnTo>
                <a:lnTo>
                  <a:pt x="1040" y="996"/>
                </a:lnTo>
                <a:lnTo>
                  <a:pt x="1041" y="1005"/>
                </a:lnTo>
                <a:lnTo>
                  <a:pt x="1042" y="1014"/>
                </a:lnTo>
                <a:lnTo>
                  <a:pt x="1044" y="1022"/>
                </a:lnTo>
                <a:lnTo>
                  <a:pt x="1047" y="1030"/>
                </a:lnTo>
                <a:lnTo>
                  <a:pt x="1050" y="1037"/>
                </a:lnTo>
                <a:lnTo>
                  <a:pt x="1054" y="1043"/>
                </a:lnTo>
                <a:lnTo>
                  <a:pt x="1058" y="1049"/>
                </a:lnTo>
                <a:lnTo>
                  <a:pt x="1063" y="1054"/>
                </a:lnTo>
                <a:lnTo>
                  <a:pt x="1068" y="1058"/>
                </a:lnTo>
                <a:lnTo>
                  <a:pt x="1074" y="1062"/>
                </a:lnTo>
                <a:lnTo>
                  <a:pt x="1077" y="1063"/>
                </a:lnTo>
                <a:lnTo>
                  <a:pt x="1080" y="1065"/>
                </a:lnTo>
                <a:lnTo>
                  <a:pt x="1087" y="1067"/>
                </a:lnTo>
                <a:lnTo>
                  <a:pt x="1094" y="1069"/>
                </a:lnTo>
                <a:lnTo>
                  <a:pt x="1102" y="1070"/>
                </a:lnTo>
                <a:lnTo>
                  <a:pt x="1110" y="1070"/>
                </a:lnTo>
                <a:lnTo>
                  <a:pt x="1118" y="1070"/>
                </a:lnTo>
                <a:lnTo>
                  <a:pt x="1126" y="1069"/>
                </a:lnTo>
                <a:lnTo>
                  <a:pt x="1133" y="1067"/>
                </a:lnTo>
                <a:lnTo>
                  <a:pt x="1140" y="1065"/>
                </a:lnTo>
                <a:lnTo>
                  <a:pt x="1146" y="1062"/>
                </a:lnTo>
                <a:lnTo>
                  <a:pt x="1149" y="1060"/>
                </a:lnTo>
                <a:lnTo>
                  <a:pt x="1152" y="1058"/>
                </a:lnTo>
                <a:lnTo>
                  <a:pt x="1157" y="1054"/>
                </a:lnTo>
                <a:lnTo>
                  <a:pt x="1162" y="1049"/>
                </a:lnTo>
                <a:lnTo>
                  <a:pt x="1166" y="1043"/>
                </a:lnTo>
                <a:lnTo>
                  <a:pt x="1170" y="1037"/>
                </a:lnTo>
                <a:lnTo>
                  <a:pt x="1173" y="1030"/>
                </a:lnTo>
                <a:lnTo>
                  <a:pt x="1176" y="1022"/>
                </a:lnTo>
                <a:lnTo>
                  <a:pt x="1178" y="1014"/>
                </a:lnTo>
                <a:lnTo>
                  <a:pt x="1180" y="1005"/>
                </a:lnTo>
                <a:lnTo>
                  <a:pt x="1180" y="996"/>
                </a:lnTo>
                <a:lnTo>
                  <a:pt x="1181" y="986"/>
                </a:lnTo>
                <a:lnTo>
                  <a:pt x="1181" y="746"/>
                </a:lnTo>
                <a:lnTo>
                  <a:pt x="1181" y="744"/>
                </a:lnTo>
                <a:lnTo>
                  <a:pt x="1182" y="742"/>
                </a:lnTo>
                <a:lnTo>
                  <a:pt x="1184" y="739"/>
                </a:lnTo>
                <a:lnTo>
                  <a:pt x="1185" y="738"/>
                </a:lnTo>
                <a:lnTo>
                  <a:pt x="1187" y="737"/>
                </a:lnTo>
                <a:lnTo>
                  <a:pt x="1191" y="736"/>
                </a:lnTo>
                <a:lnTo>
                  <a:pt x="1273" y="736"/>
                </a:lnTo>
                <a:lnTo>
                  <a:pt x="1277" y="737"/>
                </a:lnTo>
                <a:lnTo>
                  <a:pt x="1280" y="739"/>
                </a:lnTo>
                <a:lnTo>
                  <a:pt x="1281" y="740"/>
                </a:lnTo>
                <a:lnTo>
                  <a:pt x="1282" y="742"/>
                </a:lnTo>
                <a:lnTo>
                  <a:pt x="1283" y="744"/>
                </a:lnTo>
                <a:lnTo>
                  <a:pt x="1283" y="746"/>
                </a:lnTo>
                <a:lnTo>
                  <a:pt x="1283" y="991"/>
                </a:lnTo>
                <a:lnTo>
                  <a:pt x="1283" y="1002"/>
                </a:lnTo>
                <a:lnTo>
                  <a:pt x="1283" y="1007"/>
                </a:lnTo>
                <a:lnTo>
                  <a:pt x="1282" y="1013"/>
                </a:lnTo>
                <a:lnTo>
                  <a:pt x="1281" y="1023"/>
                </a:lnTo>
                <a:lnTo>
                  <a:pt x="1280" y="1033"/>
                </a:lnTo>
                <a:lnTo>
                  <a:pt x="1278" y="1042"/>
                </a:lnTo>
                <a:lnTo>
                  <a:pt x="1275" y="1051"/>
                </a:lnTo>
                <a:lnTo>
                  <a:pt x="1273" y="1060"/>
                </a:lnTo>
                <a:lnTo>
                  <a:pt x="1270" y="1068"/>
                </a:lnTo>
                <a:lnTo>
                  <a:pt x="1266" y="1076"/>
                </a:lnTo>
                <a:lnTo>
                  <a:pt x="1262" y="1084"/>
                </a:lnTo>
                <a:lnTo>
                  <a:pt x="1254" y="1098"/>
                </a:lnTo>
                <a:lnTo>
                  <a:pt x="1249" y="1104"/>
                </a:lnTo>
                <a:lnTo>
                  <a:pt x="1244" y="1110"/>
                </a:lnTo>
                <a:lnTo>
                  <a:pt x="1239" y="1116"/>
                </a:lnTo>
                <a:lnTo>
                  <a:pt x="1233" y="1121"/>
                </a:lnTo>
                <a:lnTo>
                  <a:pt x="1227" y="1126"/>
                </a:lnTo>
                <a:lnTo>
                  <a:pt x="1221" y="1131"/>
                </a:lnTo>
                <a:lnTo>
                  <a:pt x="1214" y="1135"/>
                </a:lnTo>
                <a:lnTo>
                  <a:pt x="1207" y="1139"/>
                </a:lnTo>
                <a:lnTo>
                  <a:pt x="1200" y="1143"/>
                </a:lnTo>
                <a:lnTo>
                  <a:pt x="1193" y="1146"/>
                </a:lnTo>
                <a:lnTo>
                  <a:pt x="1178" y="1152"/>
                </a:lnTo>
                <a:lnTo>
                  <a:pt x="1170" y="1154"/>
                </a:lnTo>
                <a:lnTo>
                  <a:pt x="1162" y="1156"/>
                </a:lnTo>
                <a:lnTo>
                  <a:pt x="1154" y="1158"/>
                </a:lnTo>
                <a:lnTo>
                  <a:pt x="1145" y="1159"/>
                </a:lnTo>
                <a:lnTo>
                  <a:pt x="1137" y="1160"/>
                </a:lnTo>
                <a:lnTo>
                  <a:pt x="1128" y="1161"/>
                </a:lnTo>
                <a:lnTo>
                  <a:pt x="1119" y="1162"/>
                </a:lnTo>
                <a:lnTo>
                  <a:pt x="1110" y="1162"/>
                </a:lnTo>
                <a:lnTo>
                  <a:pt x="1092" y="1161"/>
                </a:lnTo>
                <a:lnTo>
                  <a:pt x="1075" y="1159"/>
                </a:lnTo>
                <a:lnTo>
                  <a:pt x="1066" y="1158"/>
                </a:lnTo>
                <a:lnTo>
                  <a:pt x="1058" y="1156"/>
                </a:lnTo>
                <a:lnTo>
                  <a:pt x="1042" y="1152"/>
                </a:lnTo>
                <a:lnTo>
                  <a:pt x="1035" y="1149"/>
                </a:lnTo>
                <a:lnTo>
                  <a:pt x="1027" y="1146"/>
                </a:lnTo>
                <a:lnTo>
                  <a:pt x="1020" y="1143"/>
                </a:lnTo>
                <a:lnTo>
                  <a:pt x="1013" y="1139"/>
                </a:lnTo>
                <a:lnTo>
                  <a:pt x="1006" y="1135"/>
                </a:lnTo>
                <a:lnTo>
                  <a:pt x="1000" y="1131"/>
                </a:lnTo>
                <a:lnTo>
                  <a:pt x="993" y="1126"/>
                </a:lnTo>
                <a:lnTo>
                  <a:pt x="987" y="1121"/>
                </a:lnTo>
                <a:lnTo>
                  <a:pt x="982" y="1116"/>
                </a:lnTo>
                <a:lnTo>
                  <a:pt x="976" y="1110"/>
                </a:lnTo>
                <a:lnTo>
                  <a:pt x="966" y="1098"/>
                </a:lnTo>
                <a:lnTo>
                  <a:pt x="962" y="1091"/>
                </a:lnTo>
                <a:lnTo>
                  <a:pt x="958" y="1084"/>
                </a:lnTo>
                <a:lnTo>
                  <a:pt x="954" y="1076"/>
                </a:lnTo>
                <a:lnTo>
                  <a:pt x="951" y="1068"/>
                </a:lnTo>
                <a:lnTo>
                  <a:pt x="948" y="1060"/>
                </a:lnTo>
                <a:lnTo>
                  <a:pt x="945" y="1051"/>
                </a:lnTo>
                <a:lnTo>
                  <a:pt x="943" y="1042"/>
                </a:lnTo>
                <a:lnTo>
                  <a:pt x="941" y="1033"/>
                </a:lnTo>
                <a:lnTo>
                  <a:pt x="939" y="1023"/>
                </a:lnTo>
                <a:lnTo>
                  <a:pt x="938" y="1013"/>
                </a:lnTo>
                <a:lnTo>
                  <a:pt x="937" y="1002"/>
                </a:lnTo>
                <a:lnTo>
                  <a:pt x="937" y="991"/>
                </a:lnTo>
                <a:close/>
                <a:moveTo>
                  <a:pt x="1479" y="824"/>
                </a:moveTo>
                <a:lnTo>
                  <a:pt x="1479" y="934"/>
                </a:lnTo>
                <a:lnTo>
                  <a:pt x="1514" y="934"/>
                </a:lnTo>
                <a:lnTo>
                  <a:pt x="1520" y="933"/>
                </a:lnTo>
                <a:lnTo>
                  <a:pt x="1526" y="933"/>
                </a:lnTo>
                <a:lnTo>
                  <a:pt x="1532" y="932"/>
                </a:lnTo>
                <a:lnTo>
                  <a:pt x="1538" y="930"/>
                </a:lnTo>
                <a:lnTo>
                  <a:pt x="1543" y="928"/>
                </a:lnTo>
                <a:lnTo>
                  <a:pt x="1547" y="926"/>
                </a:lnTo>
                <a:lnTo>
                  <a:pt x="1551" y="923"/>
                </a:lnTo>
                <a:lnTo>
                  <a:pt x="1555" y="919"/>
                </a:lnTo>
                <a:lnTo>
                  <a:pt x="1559" y="916"/>
                </a:lnTo>
                <a:lnTo>
                  <a:pt x="1562" y="912"/>
                </a:lnTo>
                <a:lnTo>
                  <a:pt x="1564" y="907"/>
                </a:lnTo>
                <a:lnTo>
                  <a:pt x="1566" y="902"/>
                </a:lnTo>
                <a:lnTo>
                  <a:pt x="1568" y="897"/>
                </a:lnTo>
                <a:lnTo>
                  <a:pt x="1569" y="891"/>
                </a:lnTo>
                <a:lnTo>
                  <a:pt x="1570" y="885"/>
                </a:lnTo>
                <a:lnTo>
                  <a:pt x="1570" y="879"/>
                </a:lnTo>
                <a:lnTo>
                  <a:pt x="1570" y="872"/>
                </a:lnTo>
                <a:lnTo>
                  <a:pt x="1569" y="866"/>
                </a:lnTo>
                <a:lnTo>
                  <a:pt x="1568" y="861"/>
                </a:lnTo>
                <a:lnTo>
                  <a:pt x="1566" y="855"/>
                </a:lnTo>
                <a:lnTo>
                  <a:pt x="1564" y="850"/>
                </a:lnTo>
                <a:lnTo>
                  <a:pt x="1562" y="846"/>
                </a:lnTo>
                <a:lnTo>
                  <a:pt x="1559" y="842"/>
                </a:lnTo>
                <a:lnTo>
                  <a:pt x="1555" y="838"/>
                </a:lnTo>
                <a:lnTo>
                  <a:pt x="1551" y="835"/>
                </a:lnTo>
                <a:lnTo>
                  <a:pt x="1547" y="832"/>
                </a:lnTo>
                <a:lnTo>
                  <a:pt x="1543" y="829"/>
                </a:lnTo>
                <a:lnTo>
                  <a:pt x="1538" y="827"/>
                </a:lnTo>
                <a:lnTo>
                  <a:pt x="1535" y="826"/>
                </a:lnTo>
                <a:lnTo>
                  <a:pt x="1532" y="826"/>
                </a:lnTo>
                <a:lnTo>
                  <a:pt x="1526" y="825"/>
                </a:lnTo>
                <a:lnTo>
                  <a:pt x="1520" y="824"/>
                </a:lnTo>
                <a:lnTo>
                  <a:pt x="1514" y="824"/>
                </a:lnTo>
                <a:lnTo>
                  <a:pt x="1479" y="824"/>
                </a:lnTo>
                <a:close/>
                <a:moveTo>
                  <a:pt x="1514" y="736"/>
                </a:moveTo>
                <a:lnTo>
                  <a:pt x="1532" y="737"/>
                </a:lnTo>
                <a:lnTo>
                  <a:pt x="1549" y="738"/>
                </a:lnTo>
                <a:lnTo>
                  <a:pt x="1557" y="740"/>
                </a:lnTo>
                <a:lnTo>
                  <a:pt x="1565" y="741"/>
                </a:lnTo>
                <a:lnTo>
                  <a:pt x="1580" y="745"/>
                </a:lnTo>
                <a:lnTo>
                  <a:pt x="1588" y="748"/>
                </a:lnTo>
                <a:lnTo>
                  <a:pt x="1595" y="750"/>
                </a:lnTo>
                <a:lnTo>
                  <a:pt x="1608" y="757"/>
                </a:lnTo>
                <a:lnTo>
                  <a:pt x="1620" y="764"/>
                </a:lnTo>
                <a:lnTo>
                  <a:pt x="1626" y="768"/>
                </a:lnTo>
                <a:lnTo>
                  <a:pt x="1631" y="773"/>
                </a:lnTo>
                <a:lnTo>
                  <a:pt x="1637" y="777"/>
                </a:lnTo>
                <a:lnTo>
                  <a:pt x="1641" y="782"/>
                </a:lnTo>
                <a:lnTo>
                  <a:pt x="1646" y="787"/>
                </a:lnTo>
                <a:lnTo>
                  <a:pt x="1650" y="793"/>
                </a:lnTo>
                <a:lnTo>
                  <a:pt x="1654" y="798"/>
                </a:lnTo>
                <a:lnTo>
                  <a:pt x="1658" y="804"/>
                </a:lnTo>
                <a:lnTo>
                  <a:pt x="1661" y="811"/>
                </a:lnTo>
                <a:lnTo>
                  <a:pt x="1664" y="817"/>
                </a:lnTo>
                <a:lnTo>
                  <a:pt x="1667" y="824"/>
                </a:lnTo>
                <a:lnTo>
                  <a:pt x="1669" y="831"/>
                </a:lnTo>
                <a:lnTo>
                  <a:pt x="1671" y="838"/>
                </a:lnTo>
                <a:lnTo>
                  <a:pt x="1673" y="846"/>
                </a:lnTo>
                <a:lnTo>
                  <a:pt x="1674" y="854"/>
                </a:lnTo>
                <a:lnTo>
                  <a:pt x="1675" y="862"/>
                </a:lnTo>
                <a:lnTo>
                  <a:pt x="1676" y="870"/>
                </a:lnTo>
                <a:lnTo>
                  <a:pt x="1676" y="879"/>
                </a:lnTo>
                <a:lnTo>
                  <a:pt x="1676" y="887"/>
                </a:lnTo>
                <a:lnTo>
                  <a:pt x="1675" y="896"/>
                </a:lnTo>
                <a:lnTo>
                  <a:pt x="1674" y="904"/>
                </a:lnTo>
                <a:lnTo>
                  <a:pt x="1673" y="911"/>
                </a:lnTo>
                <a:lnTo>
                  <a:pt x="1669" y="926"/>
                </a:lnTo>
                <a:lnTo>
                  <a:pt x="1667" y="933"/>
                </a:lnTo>
                <a:lnTo>
                  <a:pt x="1664" y="940"/>
                </a:lnTo>
                <a:lnTo>
                  <a:pt x="1658" y="953"/>
                </a:lnTo>
                <a:lnTo>
                  <a:pt x="1654" y="959"/>
                </a:lnTo>
                <a:lnTo>
                  <a:pt x="1650" y="965"/>
                </a:lnTo>
                <a:lnTo>
                  <a:pt x="1642" y="975"/>
                </a:lnTo>
                <a:lnTo>
                  <a:pt x="1632" y="985"/>
                </a:lnTo>
                <a:lnTo>
                  <a:pt x="1626" y="989"/>
                </a:lnTo>
                <a:lnTo>
                  <a:pt x="1620" y="993"/>
                </a:lnTo>
                <a:lnTo>
                  <a:pt x="1614" y="997"/>
                </a:lnTo>
                <a:lnTo>
                  <a:pt x="1608" y="1001"/>
                </a:lnTo>
                <a:lnTo>
                  <a:pt x="1595" y="1007"/>
                </a:lnTo>
                <a:lnTo>
                  <a:pt x="1588" y="1009"/>
                </a:lnTo>
                <a:lnTo>
                  <a:pt x="1580" y="1012"/>
                </a:lnTo>
                <a:lnTo>
                  <a:pt x="1565" y="1016"/>
                </a:lnTo>
                <a:lnTo>
                  <a:pt x="1557" y="1018"/>
                </a:lnTo>
                <a:lnTo>
                  <a:pt x="1549" y="1019"/>
                </a:lnTo>
                <a:lnTo>
                  <a:pt x="1532" y="1021"/>
                </a:lnTo>
                <a:lnTo>
                  <a:pt x="1523" y="1021"/>
                </a:lnTo>
                <a:lnTo>
                  <a:pt x="1514" y="1021"/>
                </a:lnTo>
                <a:lnTo>
                  <a:pt x="1479" y="1021"/>
                </a:lnTo>
                <a:lnTo>
                  <a:pt x="1479" y="1145"/>
                </a:lnTo>
                <a:lnTo>
                  <a:pt x="1479" y="1147"/>
                </a:lnTo>
                <a:lnTo>
                  <a:pt x="1479" y="1149"/>
                </a:lnTo>
                <a:lnTo>
                  <a:pt x="1477" y="1152"/>
                </a:lnTo>
                <a:lnTo>
                  <a:pt x="1475" y="1153"/>
                </a:lnTo>
                <a:lnTo>
                  <a:pt x="1473" y="1154"/>
                </a:lnTo>
                <a:lnTo>
                  <a:pt x="1469" y="1155"/>
                </a:lnTo>
                <a:lnTo>
                  <a:pt x="1387" y="1155"/>
                </a:lnTo>
                <a:lnTo>
                  <a:pt x="1383" y="1154"/>
                </a:lnTo>
                <a:lnTo>
                  <a:pt x="1380" y="1152"/>
                </a:lnTo>
                <a:lnTo>
                  <a:pt x="1379" y="1150"/>
                </a:lnTo>
                <a:lnTo>
                  <a:pt x="1378" y="1149"/>
                </a:lnTo>
                <a:lnTo>
                  <a:pt x="1377" y="1147"/>
                </a:lnTo>
                <a:lnTo>
                  <a:pt x="1377" y="1145"/>
                </a:lnTo>
                <a:lnTo>
                  <a:pt x="1377" y="746"/>
                </a:lnTo>
                <a:lnTo>
                  <a:pt x="1377" y="744"/>
                </a:lnTo>
                <a:lnTo>
                  <a:pt x="1378" y="742"/>
                </a:lnTo>
                <a:lnTo>
                  <a:pt x="1380" y="739"/>
                </a:lnTo>
                <a:lnTo>
                  <a:pt x="1381" y="738"/>
                </a:lnTo>
                <a:lnTo>
                  <a:pt x="1383" y="737"/>
                </a:lnTo>
                <a:lnTo>
                  <a:pt x="1387" y="736"/>
                </a:lnTo>
                <a:lnTo>
                  <a:pt x="1514" y="736"/>
                </a:lnTo>
                <a:close/>
                <a:moveTo>
                  <a:pt x="2767" y="1006"/>
                </a:moveTo>
                <a:lnTo>
                  <a:pt x="2866" y="1006"/>
                </a:lnTo>
                <a:lnTo>
                  <a:pt x="2817" y="875"/>
                </a:lnTo>
                <a:lnTo>
                  <a:pt x="2767" y="1006"/>
                </a:lnTo>
                <a:close/>
                <a:moveTo>
                  <a:pt x="2897" y="1088"/>
                </a:moveTo>
                <a:lnTo>
                  <a:pt x="2737" y="1088"/>
                </a:lnTo>
                <a:lnTo>
                  <a:pt x="2715" y="1145"/>
                </a:lnTo>
                <a:lnTo>
                  <a:pt x="2714" y="1148"/>
                </a:lnTo>
                <a:lnTo>
                  <a:pt x="2713" y="1150"/>
                </a:lnTo>
                <a:lnTo>
                  <a:pt x="2711" y="1151"/>
                </a:lnTo>
                <a:lnTo>
                  <a:pt x="2710" y="1153"/>
                </a:lnTo>
                <a:lnTo>
                  <a:pt x="2706" y="1154"/>
                </a:lnTo>
                <a:lnTo>
                  <a:pt x="2701" y="1155"/>
                </a:lnTo>
                <a:lnTo>
                  <a:pt x="2623" y="1155"/>
                </a:lnTo>
                <a:lnTo>
                  <a:pt x="2620" y="1155"/>
                </a:lnTo>
                <a:lnTo>
                  <a:pt x="2618" y="1154"/>
                </a:lnTo>
                <a:lnTo>
                  <a:pt x="2616" y="1153"/>
                </a:lnTo>
                <a:lnTo>
                  <a:pt x="2614" y="1151"/>
                </a:lnTo>
                <a:lnTo>
                  <a:pt x="2613" y="1149"/>
                </a:lnTo>
                <a:lnTo>
                  <a:pt x="2613" y="1147"/>
                </a:lnTo>
                <a:lnTo>
                  <a:pt x="2613" y="1144"/>
                </a:lnTo>
                <a:lnTo>
                  <a:pt x="2614" y="1141"/>
                </a:lnTo>
                <a:lnTo>
                  <a:pt x="2769" y="746"/>
                </a:lnTo>
                <a:lnTo>
                  <a:pt x="2770" y="743"/>
                </a:lnTo>
                <a:lnTo>
                  <a:pt x="2772" y="741"/>
                </a:lnTo>
                <a:lnTo>
                  <a:pt x="2775" y="738"/>
                </a:lnTo>
                <a:lnTo>
                  <a:pt x="2779" y="737"/>
                </a:lnTo>
                <a:lnTo>
                  <a:pt x="2781" y="736"/>
                </a:lnTo>
                <a:lnTo>
                  <a:pt x="2783" y="736"/>
                </a:lnTo>
                <a:lnTo>
                  <a:pt x="2853" y="736"/>
                </a:lnTo>
                <a:lnTo>
                  <a:pt x="2858" y="737"/>
                </a:lnTo>
                <a:lnTo>
                  <a:pt x="2861" y="738"/>
                </a:lnTo>
                <a:lnTo>
                  <a:pt x="2864" y="741"/>
                </a:lnTo>
                <a:lnTo>
                  <a:pt x="2865" y="743"/>
                </a:lnTo>
                <a:lnTo>
                  <a:pt x="2866" y="746"/>
                </a:lnTo>
                <a:lnTo>
                  <a:pt x="3022" y="1141"/>
                </a:lnTo>
                <a:lnTo>
                  <a:pt x="3023" y="1144"/>
                </a:lnTo>
                <a:lnTo>
                  <a:pt x="3023" y="1147"/>
                </a:lnTo>
                <a:lnTo>
                  <a:pt x="3023" y="1149"/>
                </a:lnTo>
                <a:lnTo>
                  <a:pt x="3021" y="1151"/>
                </a:lnTo>
                <a:lnTo>
                  <a:pt x="3020" y="1153"/>
                </a:lnTo>
                <a:lnTo>
                  <a:pt x="3018" y="1154"/>
                </a:lnTo>
                <a:lnTo>
                  <a:pt x="3016" y="1155"/>
                </a:lnTo>
                <a:lnTo>
                  <a:pt x="3013" y="1155"/>
                </a:lnTo>
                <a:lnTo>
                  <a:pt x="2933" y="1155"/>
                </a:lnTo>
                <a:lnTo>
                  <a:pt x="2928" y="1154"/>
                </a:lnTo>
                <a:lnTo>
                  <a:pt x="2926" y="1154"/>
                </a:lnTo>
                <a:lnTo>
                  <a:pt x="2925" y="1153"/>
                </a:lnTo>
                <a:lnTo>
                  <a:pt x="2923" y="1151"/>
                </a:lnTo>
                <a:lnTo>
                  <a:pt x="2921" y="1150"/>
                </a:lnTo>
                <a:lnTo>
                  <a:pt x="2920" y="1148"/>
                </a:lnTo>
                <a:lnTo>
                  <a:pt x="2919" y="1145"/>
                </a:lnTo>
                <a:lnTo>
                  <a:pt x="2897" y="1088"/>
                </a:lnTo>
                <a:close/>
                <a:moveTo>
                  <a:pt x="696" y="2625"/>
                </a:moveTo>
                <a:lnTo>
                  <a:pt x="614" y="2625"/>
                </a:lnTo>
                <a:lnTo>
                  <a:pt x="610" y="2624"/>
                </a:lnTo>
                <a:lnTo>
                  <a:pt x="607" y="2622"/>
                </a:lnTo>
                <a:lnTo>
                  <a:pt x="605" y="2621"/>
                </a:lnTo>
                <a:lnTo>
                  <a:pt x="605" y="2619"/>
                </a:lnTo>
                <a:lnTo>
                  <a:pt x="604" y="2617"/>
                </a:lnTo>
                <a:lnTo>
                  <a:pt x="604" y="2615"/>
                </a:lnTo>
                <a:lnTo>
                  <a:pt x="604" y="2217"/>
                </a:lnTo>
                <a:lnTo>
                  <a:pt x="604" y="2214"/>
                </a:lnTo>
                <a:lnTo>
                  <a:pt x="605" y="2212"/>
                </a:lnTo>
                <a:lnTo>
                  <a:pt x="607" y="2209"/>
                </a:lnTo>
                <a:lnTo>
                  <a:pt x="608" y="2208"/>
                </a:lnTo>
                <a:lnTo>
                  <a:pt x="610" y="2207"/>
                </a:lnTo>
                <a:lnTo>
                  <a:pt x="614" y="2207"/>
                </a:lnTo>
                <a:lnTo>
                  <a:pt x="696" y="2207"/>
                </a:lnTo>
                <a:lnTo>
                  <a:pt x="700" y="2207"/>
                </a:lnTo>
                <a:lnTo>
                  <a:pt x="703" y="2209"/>
                </a:lnTo>
                <a:lnTo>
                  <a:pt x="704" y="2211"/>
                </a:lnTo>
                <a:lnTo>
                  <a:pt x="705" y="2212"/>
                </a:lnTo>
                <a:lnTo>
                  <a:pt x="706" y="2214"/>
                </a:lnTo>
                <a:lnTo>
                  <a:pt x="706" y="2217"/>
                </a:lnTo>
                <a:lnTo>
                  <a:pt x="706" y="2392"/>
                </a:lnTo>
                <a:lnTo>
                  <a:pt x="850" y="2216"/>
                </a:lnTo>
                <a:lnTo>
                  <a:pt x="854" y="2212"/>
                </a:lnTo>
                <a:lnTo>
                  <a:pt x="856" y="2210"/>
                </a:lnTo>
                <a:lnTo>
                  <a:pt x="858" y="2209"/>
                </a:lnTo>
                <a:lnTo>
                  <a:pt x="860" y="2208"/>
                </a:lnTo>
                <a:lnTo>
                  <a:pt x="863" y="2207"/>
                </a:lnTo>
                <a:lnTo>
                  <a:pt x="865" y="2207"/>
                </a:lnTo>
                <a:lnTo>
                  <a:pt x="868" y="2207"/>
                </a:lnTo>
                <a:lnTo>
                  <a:pt x="964" y="2207"/>
                </a:lnTo>
                <a:lnTo>
                  <a:pt x="967" y="2207"/>
                </a:lnTo>
                <a:lnTo>
                  <a:pt x="969" y="2208"/>
                </a:lnTo>
                <a:lnTo>
                  <a:pt x="971" y="2210"/>
                </a:lnTo>
                <a:lnTo>
                  <a:pt x="972" y="2212"/>
                </a:lnTo>
                <a:lnTo>
                  <a:pt x="972" y="2214"/>
                </a:lnTo>
                <a:lnTo>
                  <a:pt x="972" y="2216"/>
                </a:lnTo>
                <a:lnTo>
                  <a:pt x="971" y="2219"/>
                </a:lnTo>
                <a:lnTo>
                  <a:pt x="970" y="2221"/>
                </a:lnTo>
                <a:lnTo>
                  <a:pt x="838" y="2382"/>
                </a:lnTo>
                <a:lnTo>
                  <a:pt x="974" y="2612"/>
                </a:lnTo>
                <a:lnTo>
                  <a:pt x="975" y="2614"/>
                </a:lnTo>
                <a:lnTo>
                  <a:pt x="975" y="2617"/>
                </a:lnTo>
                <a:lnTo>
                  <a:pt x="975" y="2619"/>
                </a:lnTo>
                <a:lnTo>
                  <a:pt x="975" y="2621"/>
                </a:lnTo>
                <a:lnTo>
                  <a:pt x="974" y="2623"/>
                </a:lnTo>
                <a:lnTo>
                  <a:pt x="972" y="2624"/>
                </a:lnTo>
                <a:lnTo>
                  <a:pt x="970" y="2625"/>
                </a:lnTo>
                <a:lnTo>
                  <a:pt x="967" y="2625"/>
                </a:lnTo>
                <a:lnTo>
                  <a:pt x="871" y="2625"/>
                </a:lnTo>
                <a:lnTo>
                  <a:pt x="867" y="2625"/>
                </a:lnTo>
                <a:lnTo>
                  <a:pt x="862" y="2623"/>
                </a:lnTo>
                <a:lnTo>
                  <a:pt x="861" y="2622"/>
                </a:lnTo>
                <a:lnTo>
                  <a:pt x="859" y="2620"/>
                </a:lnTo>
                <a:lnTo>
                  <a:pt x="856" y="2616"/>
                </a:lnTo>
                <a:lnTo>
                  <a:pt x="759" y="2450"/>
                </a:lnTo>
                <a:lnTo>
                  <a:pt x="706" y="2514"/>
                </a:lnTo>
                <a:lnTo>
                  <a:pt x="706" y="2615"/>
                </a:lnTo>
                <a:lnTo>
                  <a:pt x="706" y="2617"/>
                </a:lnTo>
                <a:lnTo>
                  <a:pt x="705" y="2619"/>
                </a:lnTo>
                <a:lnTo>
                  <a:pt x="703" y="2622"/>
                </a:lnTo>
                <a:lnTo>
                  <a:pt x="702" y="2624"/>
                </a:lnTo>
                <a:lnTo>
                  <a:pt x="700" y="2624"/>
                </a:lnTo>
                <a:lnTo>
                  <a:pt x="696" y="2625"/>
                </a:lnTo>
                <a:close/>
                <a:moveTo>
                  <a:pt x="1288" y="2177"/>
                </a:moveTo>
                <a:lnTo>
                  <a:pt x="1283" y="2177"/>
                </a:lnTo>
                <a:lnTo>
                  <a:pt x="1278" y="2176"/>
                </a:lnTo>
                <a:lnTo>
                  <a:pt x="1273" y="2175"/>
                </a:lnTo>
                <a:lnTo>
                  <a:pt x="1268" y="2173"/>
                </a:lnTo>
                <a:lnTo>
                  <a:pt x="1260" y="2169"/>
                </a:lnTo>
                <a:lnTo>
                  <a:pt x="1256" y="2166"/>
                </a:lnTo>
                <a:lnTo>
                  <a:pt x="1253" y="2163"/>
                </a:lnTo>
                <a:lnTo>
                  <a:pt x="1249" y="2160"/>
                </a:lnTo>
                <a:lnTo>
                  <a:pt x="1247" y="2156"/>
                </a:lnTo>
                <a:lnTo>
                  <a:pt x="1244" y="2152"/>
                </a:lnTo>
                <a:lnTo>
                  <a:pt x="1242" y="2148"/>
                </a:lnTo>
                <a:lnTo>
                  <a:pt x="1241" y="2143"/>
                </a:lnTo>
                <a:lnTo>
                  <a:pt x="1240" y="2138"/>
                </a:lnTo>
                <a:lnTo>
                  <a:pt x="1239" y="2133"/>
                </a:lnTo>
                <a:lnTo>
                  <a:pt x="1239" y="2128"/>
                </a:lnTo>
                <a:lnTo>
                  <a:pt x="1239" y="2123"/>
                </a:lnTo>
                <a:lnTo>
                  <a:pt x="1240" y="2118"/>
                </a:lnTo>
                <a:lnTo>
                  <a:pt x="1241" y="2113"/>
                </a:lnTo>
                <a:lnTo>
                  <a:pt x="1242" y="2108"/>
                </a:lnTo>
                <a:lnTo>
                  <a:pt x="1244" y="2104"/>
                </a:lnTo>
                <a:lnTo>
                  <a:pt x="1247" y="2100"/>
                </a:lnTo>
                <a:lnTo>
                  <a:pt x="1249" y="2096"/>
                </a:lnTo>
                <a:lnTo>
                  <a:pt x="1253" y="2093"/>
                </a:lnTo>
                <a:lnTo>
                  <a:pt x="1256" y="2090"/>
                </a:lnTo>
                <a:lnTo>
                  <a:pt x="1260" y="2087"/>
                </a:lnTo>
                <a:lnTo>
                  <a:pt x="1264" y="2084"/>
                </a:lnTo>
                <a:lnTo>
                  <a:pt x="1268" y="2082"/>
                </a:lnTo>
                <a:lnTo>
                  <a:pt x="1273" y="2081"/>
                </a:lnTo>
                <a:lnTo>
                  <a:pt x="1278" y="2080"/>
                </a:lnTo>
                <a:lnTo>
                  <a:pt x="1283" y="2079"/>
                </a:lnTo>
                <a:lnTo>
                  <a:pt x="1288" y="2079"/>
                </a:lnTo>
                <a:lnTo>
                  <a:pt x="1294" y="2079"/>
                </a:lnTo>
                <a:lnTo>
                  <a:pt x="1299" y="2080"/>
                </a:lnTo>
                <a:lnTo>
                  <a:pt x="1304" y="2081"/>
                </a:lnTo>
                <a:lnTo>
                  <a:pt x="1308" y="2082"/>
                </a:lnTo>
                <a:lnTo>
                  <a:pt x="1317" y="2087"/>
                </a:lnTo>
                <a:lnTo>
                  <a:pt x="1320" y="2090"/>
                </a:lnTo>
                <a:lnTo>
                  <a:pt x="1324" y="2093"/>
                </a:lnTo>
                <a:lnTo>
                  <a:pt x="1327" y="2096"/>
                </a:lnTo>
                <a:lnTo>
                  <a:pt x="1330" y="2100"/>
                </a:lnTo>
                <a:lnTo>
                  <a:pt x="1332" y="2104"/>
                </a:lnTo>
                <a:lnTo>
                  <a:pt x="1334" y="2108"/>
                </a:lnTo>
                <a:lnTo>
                  <a:pt x="1336" y="2113"/>
                </a:lnTo>
                <a:lnTo>
                  <a:pt x="1337" y="2118"/>
                </a:lnTo>
                <a:lnTo>
                  <a:pt x="1338" y="2123"/>
                </a:lnTo>
                <a:lnTo>
                  <a:pt x="1338" y="2128"/>
                </a:lnTo>
                <a:lnTo>
                  <a:pt x="1338" y="2133"/>
                </a:lnTo>
                <a:lnTo>
                  <a:pt x="1337" y="2138"/>
                </a:lnTo>
                <a:lnTo>
                  <a:pt x="1336" y="2143"/>
                </a:lnTo>
                <a:lnTo>
                  <a:pt x="1334" y="2148"/>
                </a:lnTo>
                <a:lnTo>
                  <a:pt x="1332" y="2152"/>
                </a:lnTo>
                <a:lnTo>
                  <a:pt x="1330" y="2156"/>
                </a:lnTo>
                <a:lnTo>
                  <a:pt x="1327" y="2160"/>
                </a:lnTo>
                <a:lnTo>
                  <a:pt x="1324" y="2163"/>
                </a:lnTo>
                <a:lnTo>
                  <a:pt x="1320" y="2166"/>
                </a:lnTo>
                <a:lnTo>
                  <a:pt x="1317" y="2169"/>
                </a:lnTo>
                <a:lnTo>
                  <a:pt x="1313" y="2171"/>
                </a:lnTo>
                <a:lnTo>
                  <a:pt x="1308" y="2173"/>
                </a:lnTo>
                <a:lnTo>
                  <a:pt x="1304" y="2175"/>
                </a:lnTo>
                <a:lnTo>
                  <a:pt x="1299" y="2176"/>
                </a:lnTo>
                <a:lnTo>
                  <a:pt x="1294" y="2177"/>
                </a:lnTo>
                <a:lnTo>
                  <a:pt x="1288" y="2177"/>
                </a:lnTo>
                <a:close/>
                <a:moveTo>
                  <a:pt x="1173" y="2477"/>
                </a:moveTo>
                <a:lnTo>
                  <a:pt x="1272" y="2477"/>
                </a:lnTo>
                <a:lnTo>
                  <a:pt x="1223" y="2345"/>
                </a:lnTo>
                <a:lnTo>
                  <a:pt x="1173" y="2477"/>
                </a:lnTo>
                <a:close/>
                <a:moveTo>
                  <a:pt x="1303" y="2558"/>
                </a:moveTo>
                <a:lnTo>
                  <a:pt x="1143" y="2558"/>
                </a:lnTo>
                <a:lnTo>
                  <a:pt x="1121" y="2616"/>
                </a:lnTo>
                <a:lnTo>
                  <a:pt x="1120" y="2618"/>
                </a:lnTo>
                <a:lnTo>
                  <a:pt x="1119" y="2620"/>
                </a:lnTo>
                <a:lnTo>
                  <a:pt x="1117" y="2622"/>
                </a:lnTo>
                <a:lnTo>
                  <a:pt x="1115" y="2623"/>
                </a:lnTo>
                <a:lnTo>
                  <a:pt x="1112" y="2625"/>
                </a:lnTo>
                <a:lnTo>
                  <a:pt x="1107" y="2625"/>
                </a:lnTo>
                <a:lnTo>
                  <a:pt x="1029" y="2625"/>
                </a:lnTo>
                <a:lnTo>
                  <a:pt x="1026" y="2625"/>
                </a:lnTo>
                <a:lnTo>
                  <a:pt x="1024" y="2624"/>
                </a:lnTo>
                <a:lnTo>
                  <a:pt x="1022" y="2623"/>
                </a:lnTo>
                <a:lnTo>
                  <a:pt x="1020" y="2622"/>
                </a:lnTo>
                <a:lnTo>
                  <a:pt x="1019" y="2620"/>
                </a:lnTo>
                <a:lnTo>
                  <a:pt x="1019" y="2617"/>
                </a:lnTo>
                <a:lnTo>
                  <a:pt x="1019" y="2615"/>
                </a:lnTo>
                <a:lnTo>
                  <a:pt x="1020" y="2612"/>
                </a:lnTo>
                <a:lnTo>
                  <a:pt x="1175" y="2216"/>
                </a:lnTo>
                <a:lnTo>
                  <a:pt x="1176" y="2214"/>
                </a:lnTo>
                <a:lnTo>
                  <a:pt x="1178" y="2212"/>
                </a:lnTo>
                <a:lnTo>
                  <a:pt x="1181" y="2209"/>
                </a:lnTo>
                <a:lnTo>
                  <a:pt x="1184" y="2207"/>
                </a:lnTo>
                <a:lnTo>
                  <a:pt x="1187" y="2207"/>
                </a:lnTo>
                <a:lnTo>
                  <a:pt x="1189" y="2207"/>
                </a:lnTo>
                <a:lnTo>
                  <a:pt x="1259" y="2207"/>
                </a:lnTo>
                <a:lnTo>
                  <a:pt x="1263" y="2207"/>
                </a:lnTo>
                <a:lnTo>
                  <a:pt x="1267" y="2209"/>
                </a:lnTo>
                <a:lnTo>
                  <a:pt x="1270" y="2212"/>
                </a:lnTo>
                <a:lnTo>
                  <a:pt x="1271" y="2214"/>
                </a:lnTo>
                <a:lnTo>
                  <a:pt x="1272" y="2216"/>
                </a:lnTo>
                <a:lnTo>
                  <a:pt x="1428" y="2612"/>
                </a:lnTo>
                <a:lnTo>
                  <a:pt x="1429" y="2615"/>
                </a:lnTo>
                <a:lnTo>
                  <a:pt x="1429" y="2617"/>
                </a:lnTo>
                <a:lnTo>
                  <a:pt x="1428" y="2620"/>
                </a:lnTo>
                <a:lnTo>
                  <a:pt x="1427" y="2622"/>
                </a:lnTo>
                <a:lnTo>
                  <a:pt x="1426" y="2623"/>
                </a:lnTo>
                <a:lnTo>
                  <a:pt x="1424" y="2624"/>
                </a:lnTo>
                <a:lnTo>
                  <a:pt x="1421" y="2625"/>
                </a:lnTo>
                <a:lnTo>
                  <a:pt x="1419" y="2625"/>
                </a:lnTo>
                <a:lnTo>
                  <a:pt x="1339" y="2625"/>
                </a:lnTo>
                <a:lnTo>
                  <a:pt x="1334" y="2625"/>
                </a:lnTo>
                <a:lnTo>
                  <a:pt x="1332" y="2624"/>
                </a:lnTo>
                <a:lnTo>
                  <a:pt x="1330" y="2623"/>
                </a:lnTo>
                <a:lnTo>
                  <a:pt x="1329" y="2622"/>
                </a:lnTo>
                <a:lnTo>
                  <a:pt x="1327" y="2620"/>
                </a:lnTo>
                <a:lnTo>
                  <a:pt x="1326" y="2618"/>
                </a:lnTo>
                <a:lnTo>
                  <a:pt x="1325" y="2616"/>
                </a:lnTo>
                <a:lnTo>
                  <a:pt x="1303" y="2558"/>
                </a:lnTo>
                <a:close/>
                <a:moveTo>
                  <a:pt x="1156" y="2177"/>
                </a:moveTo>
                <a:lnTo>
                  <a:pt x="1151" y="2177"/>
                </a:lnTo>
                <a:lnTo>
                  <a:pt x="1146" y="2176"/>
                </a:lnTo>
                <a:lnTo>
                  <a:pt x="1141" y="2175"/>
                </a:lnTo>
                <a:lnTo>
                  <a:pt x="1136" y="2173"/>
                </a:lnTo>
                <a:lnTo>
                  <a:pt x="1128" y="2169"/>
                </a:lnTo>
                <a:lnTo>
                  <a:pt x="1124" y="2166"/>
                </a:lnTo>
                <a:lnTo>
                  <a:pt x="1121" y="2163"/>
                </a:lnTo>
                <a:lnTo>
                  <a:pt x="1118" y="2160"/>
                </a:lnTo>
                <a:lnTo>
                  <a:pt x="1115" y="2156"/>
                </a:lnTo>
                <a:lnTo>
                  <a:pt x="1112" y="2152"/>
                </a:lnTo>
                <a:lnTo>
                  <a:pt x="1110" y="2148"/>
                </a:lnTo>
                <a:lnTo>
                  <a:pt x="1109" y="2143"/>
                </a:lnTo>
                <a:lnTo>
                  <a:pt x="1108" y="2138"/>
                </a:lnTo>
                <a:lnTo>
                  <a:pt x="1107" y="2133"/>
                </a:lnTo>
                <a:lnTo>
                  <a:pt x="1107" y="2128"/>
                </a:lnTo>
                <a:lnTo>
                  <a:pt x="1107" y="2123"/>
                </a:lnTo>
                <a:lnTo>
                  <a:pt x="1108" y="2118"/>
                </a:lnTo>
                <a:lnTo>
                  <a:pt x="1109" y="2113"/>
                </a:lnTo>
                <a:lnTo>
                  <a:pt x="1110" y="2108"/>
                </a:lnTo>
                <a:lnTo>
                  <a:pt x="1112" y="2104"/>
                </a:lnTo>
                <a:lnTo>
                  <a:pt x="1115" y="2100"/>
                </a:lnTo>
                <a:lnTo>
                  <a:pt x="1118" y="2096"/>
                </a:lnTo>
                <a:lnTo>
                  <a:pt x="1121" y="2093"/>
                </a:lnTo>
                <a:lnTo>
                  <a:pt x="1124" y="2090"/>
                </a:lnTo>
                <a:lnTo>
                  <a:pt x="1128" y="2087"/>
                </a:lnTo>
                <a:lnTo>
                  <a:pt x="1132" y="2084"/>
                </a:lnTo>
                <a:lnTo>
                  <a:pt x="1136" y="2082"/>
                </a:lnTo>
                <a:lnTo>
                  <a:pt x="1141" y="2081"/>
                </a:lnTo>
                <a:lnTo>
                  <a:pt x="1146" y="2080"/>
                </a:lnTo>
                <a:lnTo>
                  <a:pt x="1151" y="2079"/>
                </a:lnTo>
                <a:lnTo>
                  <a:pt x="1156" y="2079"/>
                </a:lnTo>
                <a:lnTo>
                  <a:pt x="1162" y="2079"/>
                </a:lnTo>
                <a:lnTo>
                  <a:pt x="1167" y="2080"/>
                </a:lnTo>
                <a:lnTo>
                  <a:pt x="1172" y="2081"/>
                </a:lnTo>
                <a:lnTo>
                  <a:pt x="1176" y="2082"/>
                </a:lnTo>
                <a:lnTo>
                  <a:pt x="1185" y="2087"/>
                </a:lnTo>
                <a:lnTo>
                  <a:pt x="1189" y="2090"/>
                </a:lnTo>
                <a:lnTo>
                  <a:pt x="1192" y="2093"/>
                </a:lnTo>
                <a:lnTo>
                  <a:pt x="1195" y="2096"/>
                </a:lnTo>
                <a:lnTo>
                  <a:pt x="1198" y="2100"/>
                </a:lnTo>
                <a:lnTo>
                  <a:pt x="1200" y="2104"/>
                </a:lnTo>
                <a:lnTo>
                  <a:pt x="1202" y="2108"/>
                </a:lnTo>
                <a:lnTo>
                  <a:pt x="1204" y="2113"/>
                </a:lnTo>
                <a:lnTo>
                  <a:pt x="1205" y="2118"/>
                </a:lnTo>
                <a:lnTo>
                  <a:pt x="1206" y="2123"/>
                </a:lnTo>
                <a:lnTo>
                  <a:pt x="1206" y="2128"/>
                </a:lnTo>
                <a:lnTo>
                  <a:pt x="1206" y="2133"/>
                </a:lnTo>
                <a:lnTo>
                  <a:pt x="1205" y="2138"/>
                </a:lnTo>
                <a:lnTo>
                  <a:pt x="1204" y="2143"/>
                </a:lnTo>
                <a:lnTo>
                  <a:pt x="1202" y="2148"/>
                </a:lnTo>
                <a:lnTo>
                  <a:pt x="1200" y="2152"/>
                </a:lnTo>
                <a:lnTo>
                  <a:pt x="1198" y="2156"/>
                </a:lnTo>
                <a:lnTo>
                  <a:pt x="1195" y="2160"/>
                </a:lnTo>
                <a:lnTo>
                  <a:pt x="1192" y="2163"/>
                </a:lnTo>
                <a:lnTo>
                  <a:pt x="1189" y="2166"/>
                </a:lnTo>
                <a:lnTo>
                  <a:pt x="1185" y="2169"/>
                </a:lnTo>
                <a:lnTo>
                  <a:pt x="1181" y="2171"/>
                </a:lnTo>
                <a:lnTo>
                  <a:pt x="1176" y="2173"/>
                </a:lnTo>
                <a:lnTo>
                  <a:pt x="1172" y="2175"/>
                </a:lnTo>
                <a:lnTo>
                  <a:pt x="1167" y="2176"/>
                </a:lnTo>
                <a:lnTo>
                  <a:pt x="1162" y="2177"/>
                </a:lnTo>
                <a:lnTo>
                  <a:pt x="1156" y="2177"/>
                </a:lnTo>
                <a:close/>
                <a:moveTo>
                  <a:pt x="1624" y="2446"/>
                </a:moveTo>
                <a:lnTo>
                  <a:pt x="1624" y="2615"/>
                </a:lnTo>
                <a:lnTo>
                  <a:pt x="1624" y="2617"/>
                </a:lnTo>
                <a:lnTo>
                  <a:pt x="1623" y="2619"/>
                </a:lnTo>
                <a:lnTo>
                  <a:pt x="1622" y="2622"/>
                </a:lnTo>
                <a:lnTo>
                  <a:pt x="1620" y="2623"/>
                </a:lnTo>
                <a:lnTo>
                  <a:pt x="1619" y="2624"/>
                </a:lnTo>
                <a:lnTo>
                  <a:pt x="1617" y="2625"/>
                </a:lnTo>
                <a:lnTo>
                  <a:pt x="1615" y="2625"/>
                </a:lnTo>
                <a:lnTo>
                  <a:pt x="1536" y="2625"/>
                </a:lnTo>
                <a:lnTo>
                  <a:pt x="1532" y="2624"/>
                </a:lnTo>
                <a:lnTo>
                  <a:pt x="1529" y="2622"/>
                </a:lnTo>
                <a:lnTo>
                  <a:pt x="1527" y="2619"/>
                </a:lnTo>
                <a:lnTo>
                  <a:pt x="1527" y="2617"/>
                </a:lnTo>
                <a:lnTo>
                  <a:pt x="1526" y="2615"/>
                </a:lnTo>
                <a:lnTo>
                  <a:pt x="1526" y="2446"/>
                </a:lnTo>
                <a:lnTo>
                  <a:pt x="1430" y="2220"/>
                </a:lnTo>
                <a:lnTo>
                  <a:pt x="1429" y="2217"/>
                </a:lnTo>
                <a:lnTo>
                  <a:pt x="1429" y="2214"/>
                </a:lnTo>
                <a:lnTo>
                  <a:pt x="1429" y="2212"/>
                </a:lnTo>
                <a:lnTo>
                  <a:pt x="1430" y="2210"/>
                </a:lnTo>
                <a:lnTo>
                  <a:pt x="1431" y="2209"/>
                </a:lnTo>
                <a:lnTo>
                  <a:pt x="1432" y="2208"/>
                </a:lnTo>
                <a:lnTo>
                  <a:pt x="1434" y="2207"/>
                </a:lnTo>
                <a:lnTo>
                  <a:pt x="1437" y="2207"/>
                </a:lnTo>
                <a:lnTo>
                  <a:pt x="1516" y="2207"/>
                </a:lnTo>
                <a:lnTo>
                  <a:pt x="1520" y="2207"/>
                </a:lnTo>
                <a:lnTo>
                  <a:pt x="1523" y="2208"/>
                </a:lnTo>
                <a:lnTo>
                  <a:pt x="1524" y="2209"/>
                </a:lnTo>
                <a:lnTo>
                  <a:pt x="1526" y="2210"/>
                </a:lnTo>
                <a:lnTo>
                  <a:pt x="1528" y="2211"/>
                </a:lnTo>
                <a:lnTo>
                  <a:pt x="1529" y="2213"/>
                </a:lnTo>
                <a:lnTo>
                  <a:pt x="1530" y="2215"/>
                </a:lnTo>
                <a:lnTo>
                  <a:pt x="1577" y="2342"/>
                </a:lnTo>
                <a:lnTo>
                  <a:pt x="1621" y="2215"/>
                </a:lnTo>
                <a:lnTo>
                  <a:pt x="1622" y="2213"/>
                </a:lnTo>
                <a:lnTo>
                  <a:pt x="1623" y="2211"/>
                </a:lnTo>
                <a:lnTo>
                  <a:pt x="1625" y="2210"/>
                </a:lnTo>
                <a:lnTo>
                  <a:pt x="1627" y="2209"/>
                </a:lnTo>
                <a:lnTo>
                  <a:pt x="1629" y="2208"/>
                </a:lnTo>
                <a:lnTo>
                  <a:pt x="1631" y="2207"/>
                </a:lnTo>
                <a:lnTo>
                  <a:pt x="1635" y="2207"/>
                </a:lnTo>
                <a:lnTo>
                  <a:pt x="1712" y="2207"/>
                </a:lnTo>
                <a:lnTo>
                  <a:pt x="1714" y="2207"/>
                </a:lnTo>
                <a:lnTo>
                  <a:pt x="1716" y="2208"/>
                </a:lnTo>
                <a:lnTo>
                  <a:pt x="1717" y="2209"/>
                </a:lnTo>
                <a:lnTo>
                  <a:pt x="1718" y="2210"/>
                </a:lnTo>
                <a:lnTo>
                  <a:pt x="1719" y="2212"/>
                </a:lnTo>
                <a:lnTo>
                  <a:pt x="1719" y="2214"/>
                </a:lnTo>
                <a:lnTo>
                  <a:pt x="1719" y="2217"/>
                </a:lnTo>
                <a:lnTo>
                  <a:pt x="1718" y="2220"/>
                </a:lnTo>
                <a:lnTo>
                  <a:pt x="1624" y="2446"/>
                </a:lnTo>
                <a:close/>
                <a:moveTo>
                  <a:pt x="1929" y="2536"/>
                </a:moveTo>
                <a:lnTo>
                  <a:pt x="1941" y="2536"/>
                </a:lnTo>
                <a:lnTo>
                  <a:pt x="1947" y="2535"/>
                </a:lnTo>
                <a:lnTo>
                  <a:pt x="1953" y="2534"/>
                </a:lnTo>
                <a:lnTo>
                  <a:pt x="1964" y="2532"/>
                </a:lnTo>
                <a:lnTo>
                  <a:pt x="1975" y="2528"/>
                </a:lnTo>
                <a:lnTo>
                  <a:pt x="1980" y="2526"/>
                </a:lnTo>
                <a:lnTo>
                  <a:pt x="1985" y="2524"/>
                </a:lnTo>
                <a:lnTo>
                  <a:pt x="1995" y="2519"/>
                </a:lnTo>
                <a:lnTo>
                  <a:pt x="2004" y="2512"/>
                </a:lnTo>
                <a:lnTo>
                  <a:pt x="2012" y="2505"/>
                </a:lnTo>
                <a:lnTo>
                  <a:pt x="2019" y="2497"/>
                </a:lnTo>
                <a:lnTo>
                  <a:pt x="2026" y="2488"/>
                </a:lnTo>
                <a:lnTo>
                  <a:pt x="2032" y="2478"/>
                </a:lnTo>
                <a:lnTo>
                  <a:pt x="2034" y="2473"/>
                </a:lnTo>
                <a:lnTo>
                  <a:pt x="2036" y="2467"/>
                </a:lnTo>
                <a:lnTo>
                  <a:pt x="2038" y="2461"/>
                </a:lnTo>
                <a:lnTo>
                  <a:pt x="2040" y="2455"/>
                </a:lnTo>
                <a:lnTo>
                  <a:pt x="2043" y="2443"/>
                </a:lnTo>
                <a:lnTo>
                  <a:pt x="2045" y="2430"/>
                </a:lnTo>
                <a:lnTo>
                  <a:pt x="2045" y="2423"/>
                </a:lnTo>
                <a:lnTo>
                  <a:pt x="2045" y="2416"/>
                </a:lnTo>
                <a:lnTo>
                  <a:pt x="2045" y="2402"/>
                </a:lnTo>
                <a:lnTo>
                  <a:pt x="2043" y="2388"/>
                </a:lnTo>
                <a:lnTo>
                  <a:pt x="2040" y="2376"/>
                </a:lnTo>
                <a:lnTo>
                  <a:pt x="2036" y="2364"/>
                </a:lnTo>
                <a:lnTo>
                  <a:pt x="2032" y="2354"/>
                </a:lnTo>
                <a:lnTo>
                  <a:pt x="2026" y="2344"/>
                </a:lnTo>
                <a:lnTo>
                  <a:pt x="2023" y="2339"/>
                </a:lnTo>
                <a:lnTo>
                  <a:pt x="2019" y="2335"/>
                </a:lnTo>
                <a:lnTo>
                  <a:pt x="2012" y="2326"/>
                </a:lnTo>
                <a:lnTo>
                  <a:pt x="2008" y="2323"/>
                </a:lnTo>
                <a:lnTo>
                  <a:pt x="2004" y="2319"/>
                </a:lnTo>
                <a:lnTo>
                  <a:pt x="1995" y="2313"/>
                </a:lnTo>
                <a:lnTo>
                  <a:pt x="1990" y="2310"/>
                </a:lnTo>
                <a:lnTo>
                  <a:pt x="1985" y="2308"/>
                </a:lnTo>
                <a:lnTo>
                  <a:pt x="1980" y="2305"/>
                </a:lnTo>
                <a:lnTo>
                  <a:pt x="1975" y="2303"/>
                </a:lnTo>
                <a:lnTo>
                  <a:pt x="1964" y="2300"/>
                </a:lnTo>
                <a:lnTo>
                  <a:pt x="1953" y="2297"/>
                </a:lnTo>
                <a:lnTo>
                  <a:pt x="1947" y="2296"/>
                </a:lnTo>
                <a:lnTo>
                  <a:pt x="1941" y="2296"/>
                </a:lnTo>
                <a:lnTo>
                  <a:pt x="1929" y="2295"/>
                </a:lnTo>
                <a:lnTo>
                  <a:pt x="1888" y="2295"/>
                </a:lnTo>
                <a:lnTo>
                  <a:pt x="1888" y="2536"/>
                </a:lnTo>
                <a:lnTo>
                  <a:pt x="1929" y="2536"/>
                </a:lnTo>
                <a:close/>
                <a:moveTo>
                  <a:pt x="1928" y="2207"/>
                </a:moveTo>
                <a:lnTo>
                  <a:pt x="1941" y="2207"/>
                </a:lnTo>
                <a:lnTo>
                  <a:pt x="1953" y="2207"/>
                </a:lnTo>
                <a:lnTo>
                  <a:pt x="1966" y="2209"/>
                </a:lnTo>
                <a:lnTo>
                  <a:pt x="1978" y="2210"/>
                </a:lnTo>
                <a:lnTo>
                  <a:pt x="1989" y="2212"/>
                </a:lnTo>
                <a:lnTo>
                  <a:pt x="2001" y="2215"/>
                </a:lnTo>
                <a:lnTo>
                  <a:pt x="2011" y="2218"/>
                </a:lnTo>
                <a:lnTo>
                  <a:pt x="2022" y="2222"/>
                </a:lnTo>
                <a:lnTo>
                  <a:pt x="2032" y="2225"/>
                </a:lnTo>
                <a:lnTo>
                  <a:pt x="2042" y="2230"/>
                </a:lnTo>
                <a:lnTo>
                  <a:pt x="2051" y="2235"/>
                </a:lnTo>
                <a:lnTo>
                  <a:pt x="2061" y="2240"/>
                </a:lnTo>
                <a:lnTo>
                  <a:pt x="2069" y="2245"/>
                </a:lnTo>
                <a:lnTo>
                  <a:pt x="2078" y="2251"/>
                </a:lnTo>
                <a:lnTo>
                  <a:pt x="2085" y="2257"/>
                </a:lnTo>
                <a:lnTo>
                  <a:pt x="2093" y="2264"/>
                </a:lnTo>
                <a:lnTo>
                  <a:pt x="2100" y="2271"/>
                </a:lnTo>
                <a:lnTo>
                  <a:pt x="2107" y="2279"/>
                </a:lnTo>
                <a:lnTo>
                  <a:pt x="2113" y="2286"/>
                </a:lnTo>
                <a:lnTo>
                  <a:pt x="2119" y="2294"/>
                </a:lnTo>
                <a:lnTo>
                  <a:pt x="2121" y="2299"/>
                </a:lnTo>
                <a:lnTo>
                  <a:pt x="2124" y="2303"/>
                </a:lnTo>
                <a:lnTo>
                  <a:pt x="2129" y="2312"/>
                </a:lnTo>
                <a:lnTo>
                  <a:pt x="2133" y="2321"/>
                </a:lnTo>
                <a:lnTo>
                  <a:pt x="2137" y="2330"/>
                </a:lnTo>
                <a:lnTo>
                  <a:pt x="2141" y="2340"/>
                </a:lnTo>
                <a:lnTo>
                  <a:pt x="2144" y="2350"/>
                </a:lnTo>
                <a:lnTo>
                  <a:pt x="2147" y="2360"/>
                </a:lnTo>
                <a:lnTo>
                  <a:pt x="2149" y="2371"/>
                </a:lnTo>
                <a:lnTo>
                  <a:pt x="2151" y="2382"/>
                </a:lnTo>
                <a:lnTo>
                  <a:pt x="2152" y="2393"/>
                </a:lnTo>
                <a:lnTo>
                  <a:pt x="2153" y="2404"/>
                </a:lnTo>
                <a:lnTo>
                  <a:pt x="2153" y="2416"/>
                </a:lnTo>
                <a:lnTo>
                  <a:pt x="2153" y="2427"/>
                </a:lnTo>
                <a:lnTo>
                  <a:pt x="2152" y="2439"/>
                </a:lnTo>
                <a:lnTo>
                  <a:pt x="2151" y="2450"/>
                </a:lnTo>
                <a:lnTo>
                  <a:pt x="2149" y="2461"/>
                </a:lnTo>
                <a:lnTo>
                  <a:pt x="2147" y="2471"/>
                </a:lnTo>
                <a:lnTo>
                  <a:pt x="2144" y="2481"/>
                </a:lnTo>
                <a:lnTo>
                  <a:pt x="2141" y="2491"/>
                </a:lnTo>
                <a:lnTo>
                  <a:pt x="2137" y="2501"/>
                </a:lnTo>
                <a:lnTo>
                  <a:pt x="2133" y="2511"/>
                </a:lnTo>
                <a:lnTo>
                  <a:pt x="2129" y="2520"/>
                </a:lnTo>
                <a:lnTo>
                  <a:pt x="2124" y="2528"/>
                </a:lnTo>
                <a:lnTo>
                  <a:pt x="2119" y="2537"/>
                </a:lnTo>
                <a:lnTo>
                  <a:pt x="2113" y="2545"/>
                </a:lnTo>
                <a:lnTo>
                  <a:pt x="2107" y="2553"/>
                </a:lnTo>
                <a:lnTo>
                  <a:pt x="2100" y="2560"/>
                </a:lnTo>
                <a:lnTo>
                  <a:pt x="2093" y="2567"/>
                </a:lnTo>
                <a:lnTo>
                  <a:pt x="2085" y="2574"/>
                </a:lnTo>
                <a:lnTo>
                  <a:pt x="2078" y="2580"/>
                </a:lnTo>
                <a:lnTo>
                  <a:pt x="2069" y="2586"/>
                </a:lnTo>
                <a:lnTo>
                  <a:pt x="2061" y="2592"/>
                </a:lnTo>
                <a:lnTo>
                  <a:pt x="2051" y="2597"/>
                </a:lnTo>
                <a:lnTo>
                  <a:pt x="2042" y="2602"/>
                </a:lnTo>
                <a:lnTo>
                  <a:pt x="2032" y="2606"/>
                </a:lnTo>
                <a:lnTo>
                  <a:pt x="2022" y="2610"/>
                </a:lnTo>
                <a:lnTo>
                  <a:pt x="2011" y="2613"/>
                </a:lnTo>
                <a:lnTo>
                  <a:pt x="2001" y="2616"/>
                </a:lnTo>
                <a:lnTo>
                  <a:pt x="1989" y="2619"/>
                </a:lnTo>
                <a:lnTo>
                  <a:pt x="1978" y="2621"/>
                </a:lnTo>
                <a:lnTo>
                  <a:pt x="1966" y="2623"/>
                </a:lnTo>
                <a:lnTo>
                  <a:pt x="1953" y="2624"/>
                </a:lnTo>
                <a:lnTo>
                  <a:pt x="1941" y="2625"/>
                </a:lnTo>
                <a:lnTo>
                  <a:pt x="1928" y="2625"/>
                </a:lnTo>
                <a:lnTo>
                  <a:pt x="1795" y="2625"/>
                </a:lnTo>
                <a:lnTo>
                  <a:pt x="1791" y="2624"/>
                </a:lnTo>
                <a:lnTo>
                  <a:pt x="1788" y="2622"/>
                </a:lnTo>
                <a:lnTo>
                  <a:pt x="1787" y="2621"/>
                </a:lnTo>
                <a:lnTo>
                  <a:pt x="1786" y="2619"/>
                </a:lnTo>
                <a:lnTo>
                  <a:pt x="1785" y="2617"/>
                </a:lnTo>
                <a:lnTo>
                  <a:pt x="1785" y="2615"/>
                </a:lnTo>
                <a:lnTo>
                  <a:pt x="1785" y="2217"/>
                </a:lnTo>
                <a:lnTo>
                  <a:pt x="1785" y="2214"/>
                </a:lnTo>
                <a:lnTo>
                  <a:pt x="1786" y="2212"/>
                </a:lnTo>
                <a:lnTo>
                  <a:pt x="1788" y="2209"/>
                </a:lnTo>
                <a:lnTo>
                  <a:pt x="1789" y="2208"/>
                </a:lnTo>
                <a:lnTo>
                  <a:pt x="1791" y="2207"/>
                </a:lnTo>
                <a:lnTo>
                  <a:pt x="1795" y="2207"/>
                </a:lnTo>
                <a:lnTo>
                  <a:pt x="1928" y="2207"/>
                </a:lnTo>
                <a:close/>
                <a:moveTo>
                  <a:pt x="2397" y="2177"/>
                </a:moveTo>
                <a:lnTo>
                  <a:pt x="2392" y="2177"/>
                </a:lnTo>
                <a:lnTo>
                  <a:pt x="2386" y="2176"/>
                </a:lnTo>
                <a:lnTo>
                  <a:pt x="2382" y="2175"/>
                </a:lnTo>
                <a:lnTo>
                  <a:pt x="2377" y="2173"/>
                </a:lnTo>
                <a:lnTo>
                  <a:pt x="2368" y="2169"/>
                </a:lnTo>
                <a:lnTo>
                  <a:pt x="2365" y="2166"/>
                </a:lnTo>
                <a:lnTo>
                  <a:pt x="2361" y="2163"/>
                </a:lnTo>
                <a:lnTo>
                  <a:pt x="2358" y="2160"/>
                </a:lnTo>
                <a:lnTo>
                  <a:pt x="2355" y="2156"/>
                </a:lnTo>
                <a:lnTo>
                  <a:pt x="2353" y="2152"/>
                </a:lnTo>
                <a:lnTo>
                  <a:pt x="2351" y="2148"/>
                </a:lnTo>
                <a:lnTo>
                  <a:pt x="2349" y="2143"/>
                </a:lnTo>
                <a:lnTo>
                  <a:pt x="2348" y="2138"/>
                </a:lnTo>
                <a:lnTo>
                  <a:pt x="2347" y="2133"/>
                </a:lnTo>
                <a:lnTo>
                  <a:pt x="2347" y="2128"/>
                </a:lnTo>
                <a:lnTo>
                  <a:pt x="2347" y="2123"/>
                </a:lnTo>
                <a:lnTo>
                  <a:pt x="2348" y="2118"/>
                </a:lnTo>
                <a:lnTo>
                  <a:pt x="2349" y="2113"/>
                </a:lnTo>
                <a:lnTo>
                  <a:pt x="2351" y="2108"/>
                </a:lnTo>
                <a:lnTo>
                  <a:pt x="2353" y="2104"/>
                </a:lnTo>
                <a:lnTo>
                  <a:pt x="2355" y="2100"/>
                </a:lnTo>
                <a:lnTo>
                  <a:pt x="2358" y="2096"/>
                </a:lnTo>
                <a:lnTo>
                  <a:pt x="2361" y="2093"/>
                </a:lnTo>
                <a:lnTo>
                  <a:pt x="2365" y="2090"/>
                </a:lnTo>
                <a:lnTo>
                  <a:pt x="2368" y="2087"/>
                </a:lnTo>
                <a:lnTo>
                  <a:pt x="2373" y="2084"/>
                </a:lnTo>
                <a:lnTo>
                  <a:pt x="2377" y="2082"/>
                </a:lnTo>
                <a:lnTo>
                  <a:pt x="2382" y="2081"/>
                </a:lnTo>
                <a:lnTo>
                  <a:pt x="2386" y="2080"/>
                </a:lnTo>
                <a:lnTo>
                  <a:pt x="2392" y="2079"/>
                </a:lnTo>
                <a:lnTo>
                  <a:pt x="2397" y="2079"/>
                </a:lnTo>
                <a:lnTo>
                  <a:pt x="2402" y="2079"/>
                </a:lnTo>
                <a:lnTo>
                  <a:pt x="2407" y="2080"/>
                </a:lnTo>
                <a:lnTo>
                  <a:pt x="2412" y="2081"/>
                </a:lnTo>
                <a:lnTo>
                  <a:pt x="2417" y="2082"/>
                </a:lnTo>
                <a:lnTo>
                  <a:pt x="2425" y="2087"/>
                </a:lnTo>
                <a:lnTo>
                  <a:pt x="2429" y="2090"/>
                </a:lnTo>
                <a:lnTo>
                  <a:pt x="2433" y="2093"/>
                </a:lnTo>
                <a:lnTo>
                  <a:pt x="2436" y="2096"/>
                </a:lnTo>
                <a:lnTo>
                  <a:pt x="2438" y="2100"/>
                </a:lnTo>
                <a:lnTo>
                  <a:pt x="2441" y="2104"/>
                </a:lnTo>
                <a:lnTo>
                  <a:pt x="2443" y="2108"/>
                </a:lnTo>
                <a:lnTo>
                  <a:pt x="2444" y="2113"/>
                </a:lnTo>
                <a:lnTo>
                  <a:pt x="2446" y="2118"/>
                </a:lnTo>
                <a:lnTo>
                  <a:pt x="2446" y="2123"/>
                </a:lnTo>
                <a:lnTo>
                  <a:pt x="2447" y="2128"/>
                </a:lnTo>
                <a:lnTo>
                  <a:pt x="2446" y="2133"/>
                </a:lnTo>
                <a:lnTo>
                  <a:pt x="2446" y="2138"/>
                </a:lnTo>
                <a:lnTo>
                  <a:pt x="2444" y="2143"/>
                </a:lnTo>
                <a:lnTo>
                  <a:pt x="2443" y="2148"/>
                </a:lnTo>
                <a:lnTo>
                  <a:pt x="2441" y="2152"/>
                </a:lnTo>
                <a:lnTo>
                  <a:pt x="2438" y="2156"/>
                </a:lnTo>
                <a:lnTo>
                  <a:pt x="2436" y="2160"/>
                </a:lnTo>
                <a:lnTo>
                  <a:pt x="2433" y="2163"/>
                </a:lnTo>
                <a:lnTo>
                  <a:pt x="2429" y="2166"/>
                </a:lnTo>
                <a:lnTo>
                  <a:pt x="2425" y="2169"/>
                </a:lnTo>
                <a:lnTo>
                  <a:pt x="2421" y="2171"/>
                </a:lnTo>
                <a:lnTo>
                  <a:pt x="2417" y="2173"/>
                </a:lnTo>
                <a:lnTo>
                  <a:pt x="2412" y="2175"/>
                </a:lnTo>
                <a:lnTo>
                  <a:pt x="2407" y="2176"/>
                </a:lnTo>
                <a:lnTo>
                  <a:pt x="2402" y="2177"/>
                </a:lnTo>
                <a:lnTo>
                  <a:pt x="2397" y="2177"/>
                </a:lnTo>
                <a:close/>
                <a:moveTo>
                  <a:pt x="2303" y="2480"/>
                </a:moveTo>
                <a:lnTo>
                  <a:pt x="2357" y="2480"/>
                </a:lnTo>
                <a:lnTo>
                  <a:pt x="2331" y="2354"/>
                </a:lnTo>
                <a:lnTo>
                  <a:pt x="2303" y="2480"/>
                </a:lnTo>
                <a:close/>
                <a:moveTo>
                  <a:pt x="2372" y="2558"/>
                </a:moveTo>
                <a:lnTo>
                  <a:pt x="2289" y="2558"/>
                </a:lnTo>
                <a:lnTo>
                  <a:pt x="2277" y="2615"/>
                </a:lnTo>
                <a:lnTo>
                  <a:pt x="2276" y="2618"/>
                </a:lnTo>
                <a:lnTo>
                  <a:pt x="2275" y="2620"/>
                </a:lnTo>
                <a:lnTo>
                  <a:pt x="2273" y="2623"/>
                </a:lnTo>
                <a:lnTo>
                  <a:pt x="2271" y="2624"/>
                </a:lnTo>
                <a:lnTo>
                  <a:pt x="2269" y="2625"/>
                </a:lnTo>
                <a:lnTo>
                  <a:pt x="2267" y="2625"/>
                </a:lnTo>
                <a:lnTo>
                  <a:pt x="2265" y="2625"/>
                </a:lnTo>
                <a:lnTo>
                  <a:pt x="2192" y="2625"/>
                </a:lnTo>
                <a:lnTo>
                  <a:pt x="2190" y="2625"/>
                </a:lnTo>
                <a:lnTo>
                  <a:pt x="2188" y="2624"/>
                </a:lnTo>
                <a:lnTo>
                  <a:pt x="2187" y="2623"/>
                </a:lnTo>
                <a:lnTo>
                  <a:pt x="2185" y="2622"/>
                </a:lnTo>
                <a:lnTo>
                  <a:pt x="2184" y="2620"/>
                </a:lnTo>
                <a:lnTo>
                  <a:pt x="2184" y="2618"/>
                </a:lnTo>
                <a:lnTo>
                  <a:pt x="2185" y="2612"/>
                </a:lnTo>
                <a:lnTo>
                  <a:pt x="2277" y="2217"/>
                </a:lnTo>
                <a:lnTo>
                  <a:pt x="2278" y="2214"/>
                </a:lnTo>
                <a:lnTo>
                  <a:pt x="2279" y="2212"/>
                </a:lnTo>
                <a:lnTo>
                  <a:pt x="2281" y="2209"/>
                </a:lnTo>
                <a:lnTo>
                  <a:pt x="2283" y="2208"/>
                </a:lnTo>
                <a:lnTo>
                  <a:pt x="2285" y="2207"/>
                </a:lnTo>
                <a:lnTo>
                  <a:pt x="2290" y="2207"/>
                </a:lnTo>
                <a:lnTo>
                  <a:pt x="2372" y="2207"/>
                </a:lnTo>
                <a:lnTo>
                  <a:pt x="2375" y="2207"/>
                </a:lnTo>
                <a:lnTo>
                  <a:pt x="2377" y="2207"/>
                </a:lnTo>
                <a:lnTo>
                  <a:pt x="2381" y="2209"/>
                </a:lnTo>
                <a:lnTo>
                  <a:pt x="2384" y="2212"/>
                </a:lnTo>
                <a:lnTo>
                  <a:pt x="2384" y="2214"/>
                </a:lnTo>
                <a:lnTo>
                  <a:pt x="2385" y="2217"/>
                </a:lnTo>
                <a:lnTo>
                  <a:pt x="2477" y="2612"/>
                </a:lnTo>
                <a:lnTo>
                  <a:pt x="2478" y="2618"/>
                </a:lnTo>
                <a:lnTo>
                  <a:pt x="2478" y="2620"/>
                </a:lnTo>
                <a:lnTo>
                  <a:pt x="2477" y="2622"/>
                </a:lnTo>
                <a:lnTo>
                  <a:pt x="2476" y="2623"/>
                </a:lnTo>
                <a:lnTo>
                  <a:pt x="2474" y="2624"/>
                </a:lnTo>
                <a:lnTo>
                  <a:pt x="2470" y="2625"/>
                </a:lnTo>
                <a:lnTo>
                  <a:pt x="2395" y="2625"/>
                </a:lnTo>
                <a:lnTo>
                  <a:pt x="2391" y="2625"/>
                </a:lnTo>
                <a:lnTo>
                  <a:pt x="2388" y="2623"/>
                </a:lnTo>
                <a:lnTo>
                  <a:pt x="2386" y="2621"/>
                </a:lnTo>
                <a:lnTo>
                  <a:pt x="2385" y="2620"/>
                </a:lnTo>
                <a:lnTo>
                  <a:pt x="2384" y="2618"/>
                </a:lnTo>
                <a:lnTo>
                  <a:pt x="2383" y="2615"/>
                </a:lnTo>
                <a:lnTo>
                  <a:pt x="2372" y="2558"/>
                </a:lnTo>
                <a:close/>
                <a:moveTo>
                  <a:pt x="2264" y="2177"/>
                </a:moveTo>
                <a:lnTo>
                  <a:pt x="2259" y="2177"/>
                </a:lnTo>
                <a:lnTo>
                  <a:pt x="2254" y="2176"/>
                </a:lnTo>
                <a:lnTo>
                  <a:pt x="2249" y="2175"/>
                </a:lnTo>
                <a:lnTo>
                  <a:pt x="2244" y="2173"/>
                </a:lnTo>
                <a:lnTo>
                  <a:pt x="2236" y="2169"/>
                </a:lnTo>
                <a:lnTo>
                  <a:pt x="2232" y="2166"/>
                </a:lnTo>
                <a:lnTo>
                  <a:pt x="2228" y="2163"/>
                </a:lnTo>
                <a:lnTo>
                  <a:pt x="2225" y="2160"/>
                </a:lnTo>
                <a:lnTo>
                  <a:pt x="2222" y="2156"/>
                </a:lnTo>
                <a:lnTo>
                  <a:pt x="2220" y="2152"/>
                </a:lnTo>
                <a:lnTo>
                  <a:pt x="2218" y="2148"/>
                </a:lnTo>
                <a:lnTo>
                  <a:pt x="2216" y="2143"/>
                </a:lnTo>
                <a:lnTo>
                  <a:pt x="2215" y="2138"/>
                </a:lnTo>
                <a:lnTo>
                  <a:pt x="2215" y="2133"/>
                </a:lnTo>
                <a:lnTo>
                  <a:pt x="2214" y="2128"/>
                </a:lnTo>
                <a:lnTo>
                  <a:pt x="2215" y="2123"/>
                </a:lnTo>
                <a:lnTo>
                  <a:pt x="2215" y="2118"/>
                </a:lnTo>
                <a:lnTo>
                  <a:pt x="2216" y="2113"/>
                </a:lnTo>
                <a:lnTo>
                  <a:pt x="2218" y="2108"/>
                </a:lnTo>
                <a:lnTo>
                  <a:pt x="2220" y="2104"/>
                </a:lnTo>
                <a:lnTo>
                  <a:pt x="2222" y="2100"/>
                </a:lnTo>
                <a:lnTo>
                  <a:pt x="2225" y="2096"/>
                </a:lnTo>
                <a:lnTo>
                  <a:pt x="2228" y="2093"/>
                </a:lnTo>
                <a:lnTo>
                  <a:pt x="2232" y="2090"/>
                </a:lnTo>
                <a:lnTo>
                  <a:pt x="2236" y="2087"/>
                </a:lnTo>
                <a:lnTo>
                  <a:pt x="2240" y="2084"/>
                </a:lnTo>
                <a:lnTo>
                  <a:pt x="2244" y="2082"/>
                </a:lnTo>
                <a:lnTo>
                  <a:pt x="2249" y="2081"/>
                </a:lnTo>
                <a:lnTo>
                  <a:pt x="2254" y="2080"/>
                </a:lnTo>
                <a:lnTo>
                  <a:pt x="2259" y="2079"/>
                </a:lnTo>
                <a:lnTo>
                  <a:pt x="2264" y="2079"/>
                </a:lnTo>
                <a:lnTo>
                  <a:pt x="2269" y="2079"/>
                </a:lnTo>
                <a:lnTo>
                  <a:pt x="2274" y="2080"/>
                </a:lnTo>
                <a:lnTo>
                  <a:pt x="2279" y="2081"/>
                </a:lnTo>
                <a:lnTo>
                  <a:pt x="2284" y="2082"/>
                </a:lnTo>
                <a:lnTo>
                  <a:pt x="2292" y="2087"/>
                </a:lnTo>
                <a:lnTo>
                  <a:pt x="2296" y="2090"/>
                </a:lnTo>
                <a:lnTo>
                  <a:pt x="2300" y="2093"/>
                </a:lnTo>
                <a:lnTo>
                  <a:pt x="2303" y="2096"/>
                </a:lnTo>
                <a:lnTo>
                  <a:pt x="2306" y="2100"/>
                </a:lnTo>
                <a:lnTo>
                  <a:pt x="2308" y="2104"/>
                </a:lnTo>
                <a:lnTo>
                  <a:pt x="2310" y="2108"/>
                </a:lnTo>
                <a:lnTo>
                  <a:pt x="2313" y="2113"/>
                </a:lnTo>
                <a:lnTo>
                  <a:pt x="2314" y="2118"/>
                </a:lnTo>
                <a:lnTo>
                  <a:pt x="2314" y="2123"/>
                </a:lnTo>
                <a:lnTo>
                  <a:pt x="2315" y="2128"/>
                </a:lnTo>
                <a:lnTo>
                  <a:pt x="2314" y="2133"/>
                </a:lnTo>
                <a:lnTo>
                  <a:pt x="2314" y="2138"/>
                </a:lnTo>
                <a:lnTo>
                  <a:pt x="2313" y="2143"/>
                </a:lnTo>
                <a:lnTo>
                  <a:pt x="2310" y="2148"/>
                </a:lnTo>
                <a:lnTo>
                  <a:pt x="2308" y="2152"/>
                </a:lnTo>
                <a:lnTo>
                  <a:pt x="2306" y="2156"/>
                </a:lnTo>
                <a:lnTo>
                  <a:pt x="2303" y="2160"/>
                </a:lnTo>
                <a:lnTo>
                  <a:pt x="2300" y="2163"/>
                </a:lnTo>
                <a:lnTo>
                  <a:pt x="2296" y="2166"/>
                </a:lnTo>
                <a:lnTo>
                  <a:pt x="2292" y="2169"/>
                </a:lnTo>
                <a:lnTo>
                  <a:pt x="2288" y="2171"/>
                </a:lnTo>
                <a:lnTo>
                  <a:pt x="2284" y="2173"/>
                </a:lnTo>
                <a:lnTo>
                  <a:pt x="2279" y="2175"/>
                </a:lnTo>
                <a:lnTo>
                  <a:pt x="2274" y="2176"/>
                </a:lnTo>
                <a:lnTo>
                  <a:pt x="2269" y="2177"/>
                </a:lnTo>
                <a:lnTo>
                  <a:pt x="2264" y="2177"/>
                </a:lnTo>
                <a:close/>
                <a:moveTo>
                  <a:pt x="1209" y="341"/>
                </a:moveTo>
                <a:lnTo>
                  <a:pt x="1221" y="341"/>
                </a:lnTo>
                <a:lnTo>
                  <a:pt x="1233" y="339"/>
                </a:lnTo>
                <a:lnTo>
                  <a:pt x="1244" y="336"/>
                </a:lnTo>
                <a:lnTo>
                  <a:pt x="1250" y="334"/>
                </a:lnTo>
                <a:lnTo>
                  <a:pt x="1255" y="332"/>
                </a:lnTo>
                <a:lnTo>
                  <a:pt x="1265" y="327"/>
                </a:lnTo>
                <a:lnTo>
                  <a:pt x="1275" y="322"/>
                </a:lnTo>
                <a:lnTo>
                  <a:pt x="1284" y="315"/>
                </a:lnTo>
                <a:lnTo>
                  <a:pt x="1292" y="307"/>
                </a:lnTo>
                <a:lnTo>
                  <a:pt x="1299" y="299"/>
                </a:lnTo>
                <a:lnTo>
                  <a:pt x="1306" y="289"/>
                </a:lnTo>
                <a:lnTo>
                  <a:pt x="1311" y="279"/>
                </a:lnTo>
                <a:lnTo>
                  <a:pt x="1316" y="268"/>
                </a:lnTo>
                <a:lnTo>
                  <a:pt x="1318" y="262"/>
                </a:lnTo>
                <a:lnTo>
                  <a:pt x="1320" y="256"/>
                </a:lnTo>
                <a:lnTo>
                  <a:pt x="1323" y="243"/>
                </a:lnTo>
                <a:lnTo>
                  <a:pt x="1324" y="230"/>
                </a:lnTo>
                <a:lnTo>
                  <a:pt x="1325" y="223"/>
                </a:lnTo>
                <a:lnTo>
                  <a:pt x="1325" y="216"/>
                </a:lnTo>
                <a:lnTo>
                  <a:pt x="1324" y="202"/>
                </a:lnTo>
                <a:lnTo>
                  <a:pt x="1323" y="189"/>
                </a:lnTo>
                <a:lnTo>
                  <a:pt x="1320" y="177"/>
                </a:lnTo>
                <a:lnTo>
                  <a:pt x="1318" y="171"/>
                </a:lnTo>
                <a:lnTo>
                  <a:pt x="1316" y="165"/>
                </a:lnTo>
                <a:lnTo>
                  <a:pt x="1311" y="154"/>
                </a:lnTo>
                <a:lnTo>
                  <a:pt x="1306" y="144"/>
                </a:lnTo>
                <a:lnTo>
                  <a:pt x="1299" y="134"/>
                </a:lnTo>
                <a:lnTo>
                  <a:pt x="1296" y="130"/>
                </a:lnTo>
                <a:lnTo>
                  <a:pt x="1292" y="126"/>
                </a:lnTo>
                <a:lnTo>
                  <a:pt x="1288" y="122"/>
                </a:lnTo>
                <a:lnTo>
                  <a:pt x="1284" y="118"/>
                </a:lnTo>
                <a:lnTo>
                  <a:pt x="1279" y="114"/>
                </a:lnTo>
                <a:lnTo>
                  <a:pt x="1275" y="111"/>
                </a:lnTo>
                <a:lnTo>
                  <a:pt x="1265" y="105"/>
                </a:lnTo>
                <a:lnTo>
                  <a:pt x="1260" y="103"/>
                </a:lnTo>
                <a:lnTo>
                  <a:pt x="1255" y="100"/>
                </a:lnTo>
                <a:lnTo>
                  <a:pt x="1250" y="98"/>
                </a:lnTo>
                <a:lnTo>
                  <a:pt x="1244" y="97"/>
                </a:lnTo>
                <a:lnTo>
                  <a:pt x="1233" y="94"/>
                </a:lnTo>
                <a:lnTo>
                  <a:pt x="1221" y="92"/>
                </a:lnTo>
                <a:lnTo>
                  <a:pt x="1215" y="92"/>
                </a:lnTo>
                <a:lnTo>
                  <a:pt x="1209" y="92"/>
                </a:lnTo>
                <a:lnTo>
                  <a:pt x="1197" y="92"/>
                </a:lnTo>
                <a:lnTo>
                  <a:pt x="1185" y="94"/>
                </a:lnTo>
                <a:lnTo>
                  <a:pt x="1174" y="97"/>
                </a:lnTo>
                <a:lnTo>
                  <a:pt x="1169" y="98"/>
                </a:lnTo>
                <a:lnTo>
                  <a:pt x="1163" y="100"/>
                </a:lnTo>
                <a:lnTo>
                  <a:pt x="1153" y="105"/>
                </a:lnTo>
                <a:lnTo>
                  <a:pt x="1144" y="111"/>
                </a:lnTo>
                <a:lnTo>
                  <a:pt x="1135" y="118"/>
                </a:lnTo>
                <a:lnTo>
                  <a:pt x="1127" y="126"/>
                </a:lnTo>
                <a:lnTo>
                  <a:pt x="1119" y="134"/>
                </a:lnTo>
                <a:lnTo>
                  <a:pt x="1113" y="144"/>
                </a:lnTo>
                <a:lnTo>
                  <a:pt x="1107" y="154"/>
                </a:lnTo>
                <a:lnTo>
                  <a:pt x="1102" y="165"/>
                </a:lnTo>
                <a:lnTo>
                  <a:pt x="1100" y="171"/>
                </a:lnTo>
                <a:lnTo>
                  <a:pt x="1098" y="177"/>
                </a:lnTo>
                <a:lnTo>
                  <a:pt x="1096" y="189"/>
                </a:lnTo>
                <a:lnTo>
                  <a:pt x="1094" y="202"/>
                </a:lnTo>
                <a:lnTo>
                  <a:pt x="1093" y="209"/>
                </a:lnTo>
                <a:lnTo>
                  <a:pt x="1093" y="216"/>
                </a:lnTo>
                <a:lnTo>
                  <a:pt x="1094" y="230"/>
                </a:lnTo>
                <a:lnTo>
                  <a:pt x="1096" y="243"/>
                </a:lnTo>
                <a:lnTo>
                  <a:pt x="1098" y="256"/>
                </a:lnTo>
                <a:lnTo>
                  <a:pt x="1100" y="262"/>
                </a:lnTo>
                <a:lnTo>
                  <a:pt x="1102" y="268"/>
                </a:lnTo>
                <a:lnTo>
                  <a:pt x="1107" y="279"/>
                </a:lnTo>
                <a:lnTo>
                  <a:pt x="1113" y="289"/>
                </a:lnTo>
                <a:lnTo>
                  <a:pt x="1119" y="299"/>
                </a:lnTo>
                <a:lnTo>
                  <a:pt x="1123" y="303"/>
                </a:lnTo>
                <a:lnTo>
                  <a:pt x="1127" y="307"/>
                </a:lnTo>
                <a:lnTo>
                  <a:pt x="1131" y="311"/>
                </a:lnTo>
                <a:lnTo>
                  <a:pt x="1135" y="315"/>
                </a:lnTo>
                <a:lnTo>
                  <a:pt x="1139" y="318"/>
                </a:lnTo>
                <a:lnTo>
                  <a:pt x="1144" y="322"/>
                </a:lnTo>
                <a:lnTo>
                  <a:pt x="1153" y="327"/>
                </a:lnTo>
                <a:lnTo>
                  <a:pt x="1158" y="330"/>
                </a:lnTo>
                <a:lnTo>
                  <a:pt x="1163" y="332"/>
                </a:lnTo>
                <a:lnTo>
                  <a:pt x="1169" y="334"/>
                </a:lnTo>
                <a:lnTo>
                  <a:pt x="1174" y="336"/>
                </a:lnTo>
                <a:lnTo>
                  <a:pt x="1185" y="339"/>
                </a:lnTo>
                <a:lnTo>
                  <a:pt x="1197" y="341"/>
                </a:lnTo>
                <a:lnTo>
                  <a:pt x="1203" y="341"/>
                </a:lnTo>
                <a:lnTo>
                  <a:pt x="1209" y="341"/>
                </a:lnTo>
                <a:close/>
                <a:moveTo>
                  <a:pt x="1209" y="0"/>
                </a:moveTo>
                <a:lnTo>
                  <a:pt x="1221" y="0"/>
                </a:lnTo>
                <a:lnTo>
                  <a:pt x="1233" y="1"/>
                </a:lnTo>
                <a:lnTo>
                  <a:pt x="1244" y="2"/>
                </a:lnTo>
                <a:lnTo>
                  <a:pt x="1256" y="4"/>
                </a:lnTo>
                <a:lnTo>
                  <a:pt x="1267" y="6"/>
                </a:lnTo>
                <a:lnTo>
                  <a:pt x="1277" y="9"/>
                </a:lnTo>
                <a:lnTo>
                  <a:pt x="1288" y="12"/>
                </a:lnTo>
                <a:lnTo>
                  <a:pt x="1298" y="16"/>
                </a:lnTo>
                <a:lnTo>
                  <a:pt x="1308" y="20"/>
                </a:lnTo>
                <a:lnTo>
                  <a:pt x="1318" y="25"/>
                </a:lnTo>
                <a:lnTo>
                  <a:pt x="1327" y="30"/>
                </a:lnTo>
                <a:lnTo>
                  <a:pt x="1336" y="35"/>
                </a:lnTo>
                <a:lnTo>
                  <a:pt x="1345" y="41"/>
                </a:lnTo>
                <a:lnTo>
                  <a:pt x="1349" y="44"/>
                </a:lnTo>
                <a:lnTo>
                  <a:pt x="1353" y="47"/>
                </a:lnTo>
                <a:lnTo>
                  <a:pt x="1357" y="51"/>
                </a:lnTo>
                <a:lnTo>
                  <a:pt x="1361" y="54"/>
                </a:lnTo>
                <a:lnTo>
                  <a:pt x="1369" y="61"/>
                </a:lnTo>
                <a:lnTo>
                  <a:pt x="1373" y="65"/>
                </a:lnTo>
                <a:lnTo>
                  <a:pt x="1376" y="69"/>
                </a:lnTo>
                <a:lnTo>
                  <a:pt x="1383" y="76"/>
                </a:lnTo>
                <a:lnTo>
                  <a:pt x="1390" y="84"/>
                </a:lnTo>
                <a:lnTo>
                  <a:pt x="1393" y="89"/>
                </a:lnTo>
                <a:lnTo>
                  <a:pt x="1396" y="93"/>
                </a:lnTo>
                <a:lnTo>
                  <a:pt x="1401" y="102"/>
                </a:lnTo>
                <a:lnTo>
                  <a:pt x="1407" y="111"/>
                </a:lnTo>
                <a:lnTo>
                  <a:pt x="1411" y="120"/>
                </a:lnTo>
                <a:lnTo>
                  <a:pt x="1416" y="130"/>
                </a:lnTo>
                <a:lnTo>
                  <a:pt x="1418" y="135"/>
                </a:lnTo>
                <a:lnTo>
                  <a:pt x="1420" y="140"/>
                </a:lnTo>
                <a:lnTo>
                  <a:pt x="1423" y="150"/>
                </a:lnTo>
                <a:lnTo>
                  <a:pt x="1426" y="160"/>
                </a:lnTo>
                <a:lnTo>
                  <a:pt x="1428" y="171"/>
                </a:lnTo>
                <a:lnTo>
                  <a:pt x="1430" y="182"/>
                </a:lnTo>
                <a:lnTo>
                  <a:pt x="1432" y="193"/>
                </a:lnTo>
                <a:lnTo>
                  <a:pt x="1432" y="199"/>
                </a:lnTo>
                <a:lnTo>
                  <a:pt x="1432" y="205"/>
                </a:lnTo>
                <a:lnTo>
                  <a:pt x="1433" y="216"/>
                </a:lnTo>
                <a:lnTo>
                  <a:pt x="1432" y="228"/>
                </a:lnTo>
                <a:lnTo>
                  <a:pt x="1432" y="239"/>
                </a:lnTo>
                <a:lnTo>
                  <a:pt x="1430" y="251"/>
                </a:lnTo>
                <a:lnTo>
                  <a:pt x="1428" y="262"/>
                </a:lnTo>
                <a:lnTo>
                  <a:pt x="1426" y="272"/>
                </a:lnTo>
                <a:lnTo>
                  <a:pt x="1423" y="283"/>
                </a:lnTo>
                <a:lnTo>
                  <a:pt x="1420" y="293"/>
                </a:lnTo>
                <a:lnTo>
                  <a:pt x="1416" y="303"/>
                </a:lnTo>
                <a:lnTo>
                  <a:pt x="1411" y="313"/>
                </a:lnTo>
                <a:lnTo>
                  <a:pt x="1407" y="322"/>
                </a:lnTo>
                <a:lnTo>
                  <a:pt x="1401" y="331"/>
                </a:lnTo>
                <a:lnTo>
                  <a:pt x="1396" y="340"/>
                </a:lnTo>
                <a:lnTo>
                  <a:pt x="1390" y="348"/>
                </a:lnTo>
                <a:lnTo>
                  <a:pt x="1383" y="356"/>
                </a:lnTo>
                <a:lnTo>
                  <a:pt x="1376" y="364"/>
                </a:lnTo>
                <a:lnTo>
                  <a:pt x="1369" y="372"/>
                </a:lnTo>
                <a:lnTo>
                  <a:pt x="1361" y="379"/>
                </a:lnTo>
                <a:lnTo>
                  <a:pt x="1353" y="385"/>
                </a:lnTo>
                <a:lnTo>
                  <a:pt x="1345" y="391"/>
                </a:lnTo>
                <a:lnTo>
                  <a:pt x="1336" y="397"/>
                </a:lnTo>
                <a:lnTo>
                  <a:pt x="1327" y="403"/>
                </a:lnTo>
                <a:lnTo>
                  <a:pt x="1318" y="408"/>
                </a:lnTo>
                <a:lnTo>
                  <a:pt x="1308" y="412"/>
                </a:lnTo>
                <a:lnTo>
                  <a:pt x="1298" y="417"/>
                </a:lnTo>
                <a:lnTo>
                  <a:pt x="1288" y="420"/>
                </a:lnTo>
                <a:lnTo>
                  <a:pt x="1277" y="424"/>
                </a:lnTo>
                <a:lnTo>
                  <a:pt x="1267" y="426"/>
                </a:lnTo>
                <a:lnTo>
                  <a:pt x="1256" y="429"/>
                </a:lnTo>
                <a:lnTo>
                  <a:pt x="1244" y="430"/>
                </a:lnTo>
                <a:lnTo>
                  <a:pt x="1233" y="432"/>
                </a:lnTo>
                <a:lnTo>
                  <a:pt x="1221" y="433"/>
                </a:lnTo>
                <a:lnTo>
                  <a:pt x="1209" y="433"/>
                </a:lnTo>
                <a:lnTo>
                  <a:pt x="1197" y="433"/>
                </a:lnTo>
                <a:lnTo>
                  <a:pt x="1186" y="432"/>
                </a:lnTo>
                <a:lnTo>
                  <a:pt x="1174" y="430"/>
                </a:lnTo>
                <a:lnTo>
                  <a:pt x="1163" y="429"/>
                </a:lnTo>
                <a:lnTo>
                  <a:pt x="1152" y="426"/>
                </a:lnTo>
                <a:lnTo>
                  <a:pt x="1141" y="424"/>
                </a:lnTo>
                <a:lnTo>
                  <a:pt x="1130" y="420"/>
                </a:lnTo>
                <a:lnTo>
                  <a:pt x="1120" y="417"/>
                </a:lnTo>
                <a:lnTo>
                  <a:pt x="1110" y="412"/>
                </a:lnTo>
                <a:lnTo>
                  <a:pt x="1100" y="408"/>
                </a:lnTo>
                <a:lnTo>
                  <a:pt x="1091" y="403"/>
                </a:lnTo>
                <a:lnTo>
                  <a:pt x="1082" y="397"/>
                </a:lnTo>
                <a:lnTo>
                  <a:pt x="1073" y="391"/>
                </a:lnTo>
                <a:lnTo>
                  <a:pt x="1069" y="388"/>
                </a:lnTo>
                <a:lnTo>
                  <a:pt x="1065" y="385"/>
                </a:lnTo>
                <a:lnTo>
                  <a:pt x="1061" y="382"/>
                </a:lnTo>
                <a:lnTo>
                  <a:pt x="1057" y="379"/>
                </a:lnTo>
                <a:lnTo>
                  <a:pt x="1049" y="372"/>
                </a:lnTo>
                <a:lnTo>
                  <a:pt x="1046" y="368"/>
                </a:lnTo>
                <a:lnTo>
                  <a:pt x="1042" y="364"/>
                </a:lnTo>
                <a:lnTo>
                  <a:pt x="1035" y="356"/>
                </a:lnTo>
                <a:lnTo>
                  <a:pt x="1029" y="348"/>
                </a:lnTo>
                <a:lnTo>
                  <a:pt x="1026" y="344"/>
                </a:lnTo>
                <a:lnTo>
                  <a:pt x="1023" y="340"/>
                </a:lnTo>
                <a:lnTo>
                  <a:pt x="1017" y="331"/>
                </a:lnTo>
                <a:lnTo>
                  <a:pt x="1012" y="322"/>
                </a:lnTo>
                <a:lnTo>
                  <a:pt x="1007" y="313"/>
                </a:lnTo>
                <a:lnTo>
                  <a:pt x="1003" y="303"/>
                </a:lnTo>
                <a:lnTo>
                  <a:pt x="1001" y="298"/>
                </a:lnTo>
                <a:lnTo>
                  <a:pt x="999" y="293"/>
                </a:lnTo>
                <a:lnTo>
                  <a:pt x="995" y="283"/>
                </a:lnTo>
                <a:lnTo>
                  <a:pt x="992" y="272"/>
                </a:lnTo>
                <a:lnTo>
                  <a:pt x="990" y="262"/>
                </a:lnTo>
                <a:lnTo>
                  <a:pt x="988" y="251"/>
                </a:lnTo>
                <a:lnTo>
                  <a:pt x="987" y="239"/>
                </a:lnTo>
                <a:lnTo>
                  <a:pt x="986" y="234"/>
                </a:lnTo>
                <a:lnTo>
                  <a:pt x="986" y="228"/>
                </a:lnTo>
                <a:lnTo>
                  <a:pt x="986" y="216"/>
                </a:lnTo>
                <a:lnTo>
                  <a:pt x="986" y="205"/>
                </a:lnTo>
                <a:lnTo>
                  <a:pt x="987" y="193"/>
                </a:lnTo>
                <a:lnTo>
                  <a:pt x="988" y="182"/>
                </a:lnTo>
                <a:lnTo>
                  <a:pt x="990" y="171"/>
                </a:lnTo>
                <a:lnTo>
                  <a:pt x="992" y="160"/>
                </a:lnTo>
                <a:lnTo>
                  <a:pt x="995" y="150"/>
                </a:lnTo>
                <a:lnTo>
                  <a:pt x="999" y="140"/>
                </a:lnTo>
                <a:lnTo>
                  <a:pt x="1003" y="130"/>
                </a:lnTo>
                <a:lnTo>
                  <a:pt x="1007" y="120"/>
                </a:lnTo>
                <a:lnTo>
                  <a:pt x="1012" y="111"/>
                </a:lnTo>
                <a:lnTo>
                  <a:pt x="1017" y="102"/>
                </a:lnTo>
                <a:lnTo>
                  <a:pt x="1023" y="93"/>
                </a:lnTo>
                <a:lnTo>
                  <a:pt x="1029" y="84"/>
                </a:lnTo>
                <a:lnTo>
                  <a:pt x="1035" y="76"/>
                </a:lnTo>
                <a:lnTo>
                  <a:pt x="1042" y="69"/>
                </a:lnTo>
                <a:lnTo>
                  <a:pt x="1049" y="61"/>
                </a:lnTo>
                <a:lnTo>
                  <a:pt x="1057" y="54"/>
                </a:lnTo>
                <a:lnTo>
                  <a:pt x="1065" y="47"/>
                </a:lnTo>
                <a:lnTo>
                  <a:pt x="1073" y="41"/>
                </a:lnTo>
                <a:lnTo>
                  <a:pt x="1082" y="35"/>
                </a:lnTo>
                <a:lnTo>
                  <a:pt x="1091" y="30"/>
                </a:lnTo>
                <a:lnTo>
                  <a:pt x="1100" y="25"/>
                </a:lnTo>
                <a:lnTo>
                  <a:pt x="1110" y="20"/>
                </a:lnTo>
                <a:lnTo>
                  <a:pt x="1120" y="16"/>
                </a:lnTo>
                <a:lnTo>
                  <a:pt x="1130" y="12"/>
                </a:lnTo>
                <a:lnTo>
                  <a:pt x="1141" y="9"/>
                </a:lnTo>
                <a:lnTo>
                  <a:pt x="1152" y="6"/>
                </a:lnTo>
                <a:lnTo>
                  <a:pt x="1163" y="4"/>
                </a:lnTo>
                <a:lnTo>
                  <a:pt x="1174" y="2"/>
                </a:lnTo>
                <a:lnTo>
                  <a:pt x="1186" y="1"/>
                </a:lnTo>
                <a:lnTo>
                  <a:pt x="1197" y="0"/>
                </a:lnTo>
                <a:lnTo>
                  <a:pt x="1209" y="0"/>
                </a:lnTo>
                <a:close/>
                <a:moveTo>
                  <a:pt x="2022" y="7"/>
                </a:moveTo>
                <a:lnTo>
                  <a:pt x="2026" y="8"/>
                </a:lnTo>
                <a:lnTo>
                  <a:pt x="2028" y="8"/>
                </a:lnTo>
                <a:lnTo>
                  <a:pt x="2029" y="10"/>
                </a:lnTo>
                <a:lnTo>
                  <a:pt x="2030" y="11"/>
                </a:lnTo>
                <a:lnTo>
                  <a:pt x="2031" y="13"/>
                </a:lnTo>
                <a:lnTo>
                  <a:pt x="2031" y="16"/>
                </a:lnTo>
                <a:lnTo>
                  <a:pt x="2031" y="19"/>
                </a:lnTo>
                <a:lnTo>
                  <a:pt x="2017" y="88"/>
                </a:lnTo>
                <a:lnTo>
                  <a:pt x="2015" y="93"/>
                </a:lnTo>
                <a:lnTo>
                  <a:pt x="2013" y="96"/>
                </a:lnTo>
                <a:lnTo>
                  <a:pt x="2012" y="97"/>
                </a:lnTo>
                <a:lnTo>
                  <a:pt x="2010" y="98"/>
                </a:lnTo>
                <a:lnTo>
                  <a:pt x="2008" y="99"/>
                </a:lnTo>
                <a:lnTo>
                  <a:pt x="2005" y="99"/>
                </a:lnTo>
                <a:lnTo>
                  <a:pt x="1950" y="99"/>
                </a:lnTo>
                <a:lnTo>
                  <a:pt x="1950" y="416"/>
                </a:lnTo>
                <a:lnTo>
                  <a:pt x="1949" y="418"/>
                </a:lnTo>
                <a:lnTo>
                  <a:pt x="1949" y="420"/>
                </a:lnTo>
                <a:lnTo>
                  <a:pt x="1947" y="423"/>
                </a:lnTo>
                <a:lnTo>
                  <a:pt x="1945" y="424"/>
                </a:lnTo>
                <a:lnTo>
                  <a:pt x="1944" y="425"/>
                </a:lnTo>
                <a:lnTo>
                  <a:pt x="1940" y="426"/>
                </a:lnTo>
                <a:lnTo>
                  <a:pt x="1861" y="426"/>
                </a:lnTo>
                <a:lnTo>
                  <a:pt x="1858" y="425"/>
                </a:lnTo>
                <a:lnTo>
                  <a:pt x="1855" y="423"/>
                </a:lnTo>
                <a:lnTo>
                  <a:pt x="1854" y="421"/>
                </a:lnTo>
                <a:lnTo>
                  <a:pt x="1853" y="420"/>
                </a:lnTo>
                <a:lnTo>
                  <a:pt x="1853" y="418"/>
                </a:lnTo>
                <a:lnTo>
                  <a:pt x="1853" y="416"/>
                </a:lnTo>
                <a:lnTo>
                  <a:pt x="1853" y="99"/>
                </a:lnTo>
                <a:lnTo>
                  <a:pt x="1796" y="99"/>
                </a:lnTo>
                <a:lnTo>
                  <a:pt x="1792" y="98"/>
                </a:lnTo>
                <a:lnTo>
                  <a:pt x="1789" y="96"/>
                </a:lnTo>
                <a:lnTo>
                  <a:pt x="1787" y="93"/>
                </a:lnTo>
                <a:lnTo>
                  <a:pt x="1786" y="91"/>
                </a:lnTo>
                <a:lnTo>
                  <a:pt x="1786" y="89"/>
                </a:lnTo>
                <a:lnTo>
                  <a:pt x="1786" y="17"/>
                </a:lnTo>
                <a:lnTo>
                  <a:pt x="1786" y="15"/>
                </a:lnTo>
                <a:lnTo>
                  <a:pt x="1787" y="13"/>
                </a:lnTo>
                <a:lnTo>
                  <a:pt x="1789" y="10"/>
                </a:lnTo>
                <a:lnTo>
                  <a:pt x="1790" y="9"/>
                </a:lnTo>
                <a:lnTo>
                  <a:pt x="1792" y="8"/>
                </a:lnTo>
                <a:lnTo>
                  <a:pt x="1796" y="7"/>
                </a:lnTo>
                <a:lnTo>
                  <a:pt x="2022" y="7"/>
                </a:lnTo>
                <a:close/>
                <a:moveTo>
                  <a:pt x="1716" y="7"/>
                </a:moveTo>
                <a:lnTo>
                  <a:pt x="1720" y="8"/>
                </a:lnTo>
                <a:lnTo>
                  <a:pt x="1722" y="8"/>
                </a:lnTo>
                <a:lnTo>
                  <a:pt x="1723" y="10"/>
                </a:lnTo>
                <a:lnTo>
                  <a:pt x="1724" y="11"/>
                </a:lnTo>
                <a:lnTo>
                  <a:pt x="1725" y="13"/>
                </a:lnTo>
                <a:lnTo>
                  <a:pt x="1725" y="16"/>
                </a:lnTo>
                <a:lnTo>
                  <a:pt x="1725" y="19"/>
                </a:lnTo>
                <a:lnTo>
                  <a:pt x="1711" y="88"/>
                </a:lnTo>
                <a:lnTo>
                  <a:pt x="1710" y="93"/>
                </a:lnTo>
                <a:lnTo>
                  <a:pt x="1707" y="96"/>
                </a:lnTo>
                <a:lnTo>
                  <a:pt x="1706" y="97"/>
                </a:lnTo>
                <a:lnTo>
                  <a:pt x="1704" y="98"/>
                </a:lnTo>
                <a:lnTo>
                  <a:pt x="1702" y="99"/>
                </a:lnTo>
                <a:lnTo>
                  <a:pt x="1699" y="99"/>
                </a:lnTo>
                <a:lnTo>
                  <a:pt x="1653" y="99"/>
                </a:lnTo>
                <a:lnTo>
                  <a:pt x="1653" y="416"/>
                </a:lnTo>
                <a:lnTo>
                  <a:pt x="1653" y="418"/>
                </a:lnTo>
                <a:lnTo>
                  <a:pt x="1652" y="420"/>
                </a:lnTo>
                <a:lnTo>
                  <a:pt x="1650" y="423"/>
                </a:lnTo>
                <a:lnTo>
                  <a:pt x="1649" y="424"/>
                </a:lnTo>
                <a:lnTo>
                  <a:pt x="1647" y="425"/>
                </a:lnTo>
                <a:lnTo>
                  <a:pt x="1644" y="426"/>
                </a:lnTo>
                <a:lnTo>
                  <a:pt x="1565" y="426"/>
                </a:lnTo>
                <a:lnTo>
                  <a:pt x="1561" y="425"/>
                </a:lnTo>
                <a:lnTo>
                  <a:pt x="1558" y="423"/>
                </a:lnTo>
                <a:lnTo>
                  <a:pt x="1557" y="421"/>
                </a:lnTo>
                <a:lnTo>
                  <a:pt x="1557" y="420"/>
                </a:lnTo>
                <a:lnTo>
                  <a:pt x="1556" y="418"/>
                </a:lnTo>
                <a:lnTo>
                  <a:pt x="1556" y="416"/>
                </a:lnTo>
                <a:lnTo>
                  <a:pt x="1556" y="99"/>
                </a:lnTo>
                <a:lnTo>
                  <a:pt x="1490" y="99"/>
                </a:lnTo>
                <a:lnTo>
                  <a:pt x="1486" y="98"/>
                </a:lnTo>
                <a:lnTo>
                  <a:pt x="1483" y="96"/>
                </a:lnTo>
                <a:lnTo>
                  <a:pt x="1481" y="93"/>
                </a:lnTo>
                <a:lnTo>
                  <a:pt x="1481" y="91"/>
                </a:lnTo>
                <a:lnTo>
                  <a:pt x="1480" y="89"/>
                </a:lnTo>
                <a:lnTo>
                  <a:pt x="1480" y="17"/>
                </a:lnTo>
                <a:lnTo>
                  <a:pt x="1481" y="15"/>
                </a:lnTo>
                <a:lnTo>
                  <a:pt x="1481" y="13"/>
                </a:lnTo>
                <a:lnTo>
                  <a:pt x="1483" y="10"/>
                </a:lnTo>
                <a:lnTo>
                  <a:pt x="1484" y="9"/>
                </a:lnTo>
                <a:lnTo>
                  <a:pt x="1486" y="8"/>
                </a:lnTo>
                <a:lnTo>
                  <a:pt x="1490" y="7"/>
                </a:lnTo>
                <a:lnTo>
                  <a:pt x="1716" y="7"/>
                </a:lnTo>
                <a:close/>
                <a:moveTo>
                  <a:pt x="2168" y="281"/>
                </a:moveTo>
                <a:lnTo>
                  <a:pt x="2222" y="281"/>
                </a:lnTo>
                <a:lnTo>
                  <a:pt x="2195" y="154"/>
                </a:lnTo>
                <a:lnTo>
                  <a:pt x="2168" y="281"/>
                </a:lnTo>
                <a:close/>
                <a:moveTo>
                  <a:pt x="2236" y="359"/>
                </a:moveTo>
                <a:lnTo>
                  <a:pt x="2154" y="359"/>
                </a:lnTo>
                <a:lnTo>
                  <a:pt x="2142" y="416"/>
                </a:lnTo>
                <a:lnTo>
                  <a:pt x="2142" y="418"/>
                </a:lnTo>
                <a:lnTo>
                  <a:pt x="2141" y="420"/>
                </a:lnTo>
                <a:lnTo>
                  <a:pt x="2138" y="423"/>
                </a:lnTo>
                <a:lnTo>
                  <a:pt x="2136" y="424"/>
                </a:lnTo>
                <a:lnTo>
                  <a:pt x="2135" y="425"/>
                </a:lnTo>
                <a:lnTo>
                  <a:pt x="2133" y="426"/>
                </a:lnTo>
                <a:lnTo>
                  <a:pt x="2131" y="426"/>
                </a:lnTo>
                <a:lnTo>
                  <a:pt x="2058" y="426"/>
                </a:lnTo>
                <a:lnTo>
                  <a:pt x="2056" y="425"/>
                </a:lnTo>
                <a:lnTo>
                  <a:pt x="2054" y="425"/>
                </a:lnTo>
                <a:lnTo>
                  <a:pt x="2052" y="424"/>
                </a:lnTo>
                <a:lnTo>
                  <a:pt x="2051" y="422"/>
                </a:lnTo>
                <a:lnTo>
                  <a:pt x="2050" y="421"/>
                </a:lnTo>
                <a:lnTo>
                  <a:pt x="2049" y="418"/>
                </a:lnTo>
                <a:lnTo>
                  <a:pt x="2050" y="412"/>
                </a:lnTo>
                <a:lnTo>
                  <a:pt x="2142" y="17"/>
                </a:lnTo>
                <a:lnTo>
                  <a:pt x="2143" y="15"/>
                </a:lnTo>
                <a:lnTo>
                  <a:pt x="2144" y="13"/>
                </a:lnTo>
                <a:lnTo>
                  <a:pt x="2147" y="10"/>
                </a:lnTo>
                <a:lnTo>
                  <a:pt x="2149" y="9"/>
                </a:lnTo>
                <a:lnTo>
                  <a:pt x="2151" y="8"/>
                </a:lnTo>
                <a:lnTo>
                  <a:pt x="2155" y="7"/>
                </a:lnTo>
                <a:lnTo>
                  <a:pt x="2236" y="7"/>
                </a:lnTo>
                <a:lnTo>
                  <a:pt x="2239" y="7"/>
                </a:lnTo>
                <a:lnTo>
                  <a:pt x="2241" y="8"/>
                </a:lnTo>
                <a:lnTo>
                  <a:pt x="2245" y="10"/>
                </a:lnTo>
                <a:lnTo>
                  <a:pt x="2248" y="13"/>
                </a:lnTo>
                <a:lnTo>
                  <a:pt x="2249" y="15"/>
                </a:lnTo>
                <a:lnTo>
                  <a:pt x="2249" y="17"/>
                </a:lnTo>
                <a:lnTo>
                  <a:pt x="2343" y="412"/>
                </a:lnTo>
                <a:lnTo>
                  <a:pt x="2343" y="418"/>
                </a:lnTo>
                <a:lnTo>
                  <a:pt x="2343" y="421"/>
                </a:lnTo>
                <a:lnTo>
                  <a:pt x="2342" y="422"/>
                </a:lnTo>
                <a:lnTo>
                  <a:pt x="2341" y="424"/>
                </a:lnTo>
                <a:lnTo>
                  <a:pt x="2339" y="425"/>
                </a:lnTo>
                <a:lnTo>
                  <a:pt x="2335" y="426"/>
                </a:lnTo>
                <a:lnTo>
                  <a:pt x="2260" y="426"/>
                </a:lnTo>
                <a:lnTo>
                  <a:pt x="2256" y="425"/>
                </a:lnTo>
                <a:lnTo>
                  <a:pt x="2252" y="423"/>
                </a:lnTo>
                <a:lnTo>
                  <a:pt x="2251" y="422"/>
                </a:lnTo>
                <a:lnTo>
                  <a:pt x="2249" y="420"/>
                </a:lnTo>
                <a:lnTo>
                  <a:pt x="2248" y="418"/>
                </a:lnTo>
                <a:lnTo>
                  <a:pt x="2248" y="416"/>
                </a:lnTo>
                <a:lnTo>
                  <a:pt x="2236" y="359"/>
                </a:lnTo>
                <a:close/>
                <a:moveTo>
                  <a:pt x="912" y="4"/>
                </a:moveTo>
                <a:lnTo>
                  <a:pt x="915" y="5"/>
                </a:lnTo>
                <a:lnTo>
                  <a:pt x="918" y="7"/>
                </a:lnTo>
                <a:lnTo>
                  <a:pt x="919" y="9"/>
                </a:lnTo>
                <a:lnTo>
                  <a:pt x="920" y="10"/>
                </a:lnTo>
                <a:lnTo>
                  <a:pt x="921" y="12"/>
                </a:lnTo>
                <a:lnTo>
                  <a:pt x="921" y="14"/>
                </a:lnTo>
                <a:lnTo>
                  <a:pt x="921" y="291"/>
                </a:lnTo>
                <a:lnTo>
                  <a:pt x="921" y="301"/>
                </a:lnTo>
                <a:lnTo>
                  <a:pt x="920" y="310"/>
                </a:lnTo>
                <a:lnTo>
                  <a:pt x="919" y="320"/>
                </a:lnTo>
                <a:lnTo>
                  <a:pt x="918" y="328"/>
                </a:lnTo>
                <a:lnTo>
                  <a:pt x="917" y="336"/>
                </a:lnTo>
                <a:lnTo>
                  <a:pt x="915" y="344"/>
                </a:lnTo>
                <a:lnTo>
                  <a:pt x="911" y="359"/>
                </a:lnTo>
                <a:lnTo>
                  <a:pt x="908" y="365"/>
                </a:lnTo>
                <a:lnTo>
                  <a:pt x="906" y="372"/>
                </a:lnTo>
                <a:lnTo>
                  <a:pt x="899" y="383"/>
                </a:lnTo>
                <a:lnTo>
                  <a:pt x="896" y="388"/>
                </a:lnTo>
                <a:lnTo>
                  <a:pt x="893" y="393"/>
                </a:lnTo>
                <a:lnTo>
                  <a:pt x="885" y="401"/>
                </a:lnTo>
                <a:lnTo>
                  <a:pt x="877" y="408"/>
                </a:lnTo>
                <a:lnTo>
                  <a:pt x="872" y="411"/>
                </a:lnTo>
                <a:lnTo>
                  <a:pt x="868" y="414"/>
                </a:lnTo>
                <a:lnTo>
                  <a:pt x="858" y="419"/>
                </a:lnTo>
                <a:lnTo>
                  <a:pt x="849" y="422"/>
                </a:lnTo>
                <a:lnTo>
                  <a:pt x="839" y="425"/>
                </a:lnTo>
                <a:lnTo>
                  <a:pt x="829" y="427"/>
                </a:lnTo>
                <a:lnTo>
                  <a:pt x="819" y="428"/>
                </a:lnTo>
                <a:lnTo>
                  <a:pt x="808" y="428"/>
                </a:lnTo>
                <a:lnTo>
                  <a:pt x="796" y="428"/>
                </a:lnTo>
                <a:lnTo>
                  <a:pt x="784" y="427"/>
                </a:lnTo>
                <a:lnTo>
                  <a:pt x="774" y="425"/>
                </a:lnTo>
                <a:lnTo>
                  <a:pt x="764" y="423"/>
                </a:lnTo>
                <a:lnTo>
                  <a:pt x="759" y="421"/>
                </a:lnTo>
                <a:lnTo>
                  <a:pt x="756" y="419"/>
                </a:lnTo>
                <a:lnTo>
                  <a:pt x="753" y="415"/>
                </a:lnTo>
                <a:lnTo>
                  <a:pt x="752" y="411"/>
                </a:lnTo>
                <a:lnTo>
                  <a:pt x="739" y="353"/>
                </a:lnTo>
                <a:lnTo>
                  <a:pt x="738" y="350"/>
                </a:lnTo>
                <a:lnTo>
                  <a:pt x="739" y="347"/>
                </a:lnTo>
                <a:lnTo>
                  <a:pt x="739" y="345"/>
                </a:lnTo>
                <a:lnTo>
                  <a:pt x="741" y="344"/>
                </a:lnTo>
                <a:lnTo>
                  <a:pt x="742" y="342"/>
                </a:lnTo>
                <a:lnTo>
                  <a:pt x="744" y="341"/>
                </a:lnTo>
                <a:lnTo>
                  <a:pt x="746" y="341"/>
                </a:lnTo>
                <a:lnTo>
                  <a:pt x="749" y="341"/>
                </a:lnTo>
                <a:lnTo>
                  <a:pt x="763" y="344"/>
                </a:lnTo>
                <a:lnTo>
                  <a:pt x="773" y="346"/>
                </a:lnTo>
                <a:lnTo>
                  <a:pt x="785" y="346"/>
                </a:lnTo>
                <a:lnTo>
                  <a:pt x="791" y="346"/>
                </a:lnTo>
                <a:lnTo>
                  <a:pt x="797" y="345"/>
                </a:lnTo>
                <a:lnTo>
                  <a:pt x="803" y="344"/>
                </a:lnTo>
                <a:lnTo>
                  <a:pt x="808" y="342"/>
                </a:lnTo>
                <a:lnTo>
                  <a:pt x="812" y="339"/>
                </a:lnTo>
                <a:lnTo>
                  <a:pt x="816" y="336"/>
                </a:lnTo>
                <a:lnTo>
                  <a:pt x="817" y="335"/>
                </a:lnTo>
                <a:lnTo>
                  <a:pt x="819" y="333"/>
                </a:lnTo>
                <a:lnTo>
                  <a:pt x="821" y="328"/>
                </a:lnTo>
                <a:lnTo>
                  <a:pt x="824" y="323"/>
                </a:lnTo>
                <a:lnTo>
                  <a:pt x="825" y="318"/>
                </a:lnTo>
                <a:lnTo>
                  <a:pt x="827" y="311"/>
                </a:lnTo>
                <a:lnTo>
                  <a:pt x="828" y="304"/>
                </a:lnTo>
                <a:lnTo>
                  <a:pt x="829" y="297"/>
                </a:lnTo>
                <a:lnTo>
                  <a:pt x="829" y="288"/>
                </a:lnTo>
                <a:lnTo>
                  <a:pt x="830" y="269"/>
                </a:lnTo>
                <a:lnTo>
                  <a:pt x="830" y="14"/>
                </a:lnTo>
                <a:lnTo>
                  <a:pt x="830" y="12"/>
                </a:lnTo>
                <a:lnTo>
                  <a:pt x="830" y="10"/>
                </a:lnTo>
                <a:lnTo>
                  <a:pt x="832" y="7"/>
                </a:lnTo>
                <a:lnTo>
                  <a:pt x="833" y="6"/>
                </a:lnTo>
                <a:lnTo>
                  <a:pt x="835" y="5"/>
                </a:lnTo>
                <a:lnTo>
                  <a:pt x="837" y="5"/>
                </a:lnTo>
                <a:lnTo>
                  <a:pt x="838" y="4"/>
                </a:lnTo>
                <a:lnTo>
                  <a:pt x="912" y="4"/>
                </a:lnTo>
                <a:close/>
                <a:moveTo>
                  <a:pt x="2826" y="1740"/>
                </a:moveTo>
                <a:lnTo>
                  <a:pt x="2925" y="1740"/>
                </a:lnTo>
                <a:lnTo>
                  <a:pt x="2875" y="1609"/>
                </a:lnTo>
                <a:lnTo>
                  <a:pt x="2826" y="1740"/>
                </a:lnTo>
                <a:close/>
                <a:moveTo>
                  <a:pt x="2956" y="1822"/>
                </a:moveTo>
                <a:lnTo>
                  <a:pt x="2796" y="1822"/>
                </a:lnTo>
                <a:lnTo>
                  <a:pt x="2774" y="1879"/>
                </a:lnTo>
                <a:lnTo>
                  <a:pt x="2773" y="1882"/>
                </a:lnTo>
                <a:lnTo>
                  <a:pt x="2771" y="1884"/>
                </a:lnTo>
                <a:lnTo>
                  <a:pt x="2770" y="1885"/>
                </a:lnTo>
                <a:lnTo>
                  <a:pt x="2768" y="1887"/>
                </a:lnTo>
                <a:lnTo>
                  <a:pt x="2764" y="1888"/>
                </a:lnTo>
                <a:lnTo>
                  <a:pt x="2760" y="1889"/>
                </a:lnTo>
                <a:lnTo>
                  <a:pt x="2681" y="1889"/>
                </a:lnTo>
                <a:lnTo>
                  <a:pt x="2679" y="1889"/>
                </a:lnTo>
                <a:lnTo>
                  <a:pt x="2677" y="1888"/>
                </a:lnTo>
                <a:lnTo>
                  <a:pt x="2675" y="1887"/>
                </a:lnTo>
                <a:lnTo>
                  <a:pt x="2673" y="1885"/>
                </a:lnTo>
                <a:lnTo>
                  <a:pt x="2672" y="1883"/>
                </a:lnTo>
                <a:lnTo>
                  <a:pt x="2671" y="1881"/>
                </a:lnTo>
                <a:lnTo>
                  <a:pt x="2672" y="1878"/>
                </a:lnTo>
                <a:lnTo>
                  <a:pt x="2673" y="1875"/>
                </a:lnTo>
                <a:lnTo>
                  <a:pt x="2828" y="1480"/>
                </a:lnTo>
                <a:lnTo>
                  <a:pt x="2829" y="1477"/>
                </a:lnTo>
                <a:lnTo>
                  <a:pt x="2830" y="1475"/>
                </a:lnTo>
                <a:lnTo>
                  <a:pt x="2833" y="1472"/>
                </a:lnTo>
                <a:lnTo>
                  <a:pt x="2837" y="1471"/>
                </a:lnTo>
                <a:lnTo>
                  <a:pt x="2839" y="1470"/>
                </a:lnTo>
                <a:lnTo>
                  <a:pt x="2842" y="1470"/>
                </a:lnTo>
                <a:lnTo>
                  <a:pt x="2911" y="1470"/>
                </a:lnTo>
                <a:lnTo>
                  <a:pt x="2916" y="1471"/>
                </a:lnTo>
                <a:lnTo>
                  <a:pt x="2920" y="1472"/>
                </a:lnTo>
                <a:lnTo>
                  <a:pt x="2923" y="1475"/>
                </a:lnTo>
                <a:lnTo>
                  <a:pt x="2924" y="1477"/>
                </a:lnTo>
                <a:lnTo>
                  <a:pt x="2925" y="1480"/>
                </a:lnTo>
                <a:lnTo>
                  <a:pt x="3081" y="1875"/>
                </a:lnTo>
                <a:lnTo>
                  <a:pt x="3082" y="1878"/>
                </a:lnTo>
                <a:lnTo>
                  <a:pt x="3082" y="1881"/>
                </a:lnTo>
                <a:lnTo>
                  <a:pt x="3081" y="1883"/>
                </a:lnTo>
                <a:lnTo>
                  <a:pt x="3080" y="1885"/>
                </a:lnTo>
                <a:lnTo>
                  <a:pt x="3079" y="1887"/>
                </a:lnTo>
                <a:lnTo>
                  <a:pt x="3077" y="1888"/>
                </a:lnTo>
                <a:lnTo>
                  <a:pt x="3074" y="1889"/>
                </a:lnTo>
                <a:lnTo>
                  <a:pt x="3072" y="1889"/>
                </a:lnTo>
                <a:lnTo>
                  <a:pt x="2991" y="1889"/>
                </a:lnTo>
                <a:lnTo>
                  <a:pt x="2987" y="1888"/>
                </a:lnTo>
                <a:lnTo>
                  <a:pt x="2985" y="1888"/>
                </a:lnTo>
                <a:lnTo>
                  <a:pt x="2983" y="1887"/>
                </a:lnTo>
                <a:lnTo>
                  <a:pt x="2981" y="1885"/>
                </a:lnTo>
                <a:lnTo>
                  <a:pt x="2980" y="1884"/>
                </a:lnTo>
                <a:lnTo>
                  <a:pt x="2979" y="1882"/>
                </a:lnTo>
                <a:lnTo>
                  <a:pt x="2978" y="1879"/>
                </a:lnTo>
                <a:lnTo>
                  <a:pt x="2956" y="1822"/>
                </a:lnTo>
                <a:close/>
                <a:moveTo>
                  <a:pt x="1829" y="1889"/>
                </a:moveTo>
                <a:lnTo>
                  <a:pt x="1747" y="1889"/>
                </a:lnTo>
                <a:lnTo>
                  <a:pt x="1743" y="1888"/>
                </a:lnTo>
                <a:lnTo>
                  <a:pt x="1739" y="1886"/>
                </a:lnTo>
                <a:lnTo>
                  <a:pt x="1738" y="1885"/>
                </a:lnTo>
                <a:lnTo>
                  <a:pt x="1737" y="1883"/>
                </a:lnTo>
                <a:lnTo>
                  <a:pt x="1737" y="1881"/>
                </a:lnTo>
                <a:lnTo>
                  <a:pt x="1737" y="1879"/>
                </a:lnTo>
                <a:lnTo>
                  <a:pt x="1737" y="1480"/>
                </a:lnTo>
                <a:lnTo>
                  <a:pt x="1737" y="1478"/>
                </a:lnTo>
                <a:lnTo>
                  <a:pt x="1737" y="1476"/>
                </a:lnTo>
                <a:lnTo>
                  <a:pt x="1739" y="1473"/>
                </a:lnTo>
                <a:lnTo>
                  <a:pt x="1741" y="1472"/>
                </a:lnTo>
                <a:lnTo>
                  <a:pt x="1743" y="1471"/>
                </a:lnTo>
                <a:lnTo>
                  <a:pt x="1747" y="1470"/>
                </a:lnTo>
                <a:lnTo>
                  <a:pt x="1829" y="1470"/>
                </a:lnTo>
                <a:lnTo>
                  <a:pt x="1833" y="1471"/>
                </a:lnTo>
                <a:lnTo>
                  <a:pt x="1836" y="1473"/>
                </a:lnTo>
                <a:lnTo>
                  <a:pt x="1837" y="1474"/>
                </a:lnTo>
                <a:lnTo>
                  <a:pt x="1838" y="1476"/>
                </a:lnTo>
                <a:lnTo>
                  <a:pt x="1839" y="1478"/>
                </a:lnTo>
                <a:lnTo>
                  <a:pt x="1839" y="1480"/>
                </a:lnTo>
                <a:lnTo>
                  <a:pt x="1839" y="1655"/>
                </a:lnTo>
                <a:lnTo>
                  <a:pt x="1982" y="1480"/>
                </a:lnTo>
                <a:lnTo>
                  <a:pt x="1986" y="1476"/>
                </a:lnTo>
                <a:lnTo>
                  <a:pt x="1987" y="1474"/>
                </a:lnTo>
                <a:lnTo>
                  <a:pt x="1990" y="1473"/>
                </a:lnTo>
                <a:lnTo>
                  <a:pt x="1992" y="1472"/>
                </a:lnTo>
                <a:lnTo>
                  <a:pt x="1994" y="1471"/>
                </a:lnTo>
                <a:lnTo>
                  <a:pt x="1997" y="1470"/>
                </a:lnTo>
                <a:lnTo>
                  <a:pt x="2000" y="1470"/>
                </a:lnTo>
                <a:lnTo>
                  <a:pt x="2095" y="1470"/>
                </a:lnTo>
                <a:lnTo>
                  <a:pt x="2098" y="1471"/>
                </a:lnTo>
                <a:lnTo>
                  <a:pt x="2101" y="1472"/>
                </a:lnTo>
                <a:lnTo>
                  <a:pt x="2102" y="1473"/>
                </a:lnTo>
                <a:lnTo>
                  <a:pt x="2103" y="1475"/>
                </a:lnTo>
                <a:lnTo>
                  <a:pt x="2104" y="1478"/>
                </a:lnTo>
                <a:lnTo>
                  <a:pt x="2104" y="1480"/>
                </a:lnTo>
                <a:lnTo>
                  <a:pt x="2103" y="1483"/>
                </a:lnTo>
                <a:lnTo>
                  <a:pt x="2101" y="1485"/>
                </a:lnTo>
                <a:lnTo>
                  <a:pt x="1970" y="1646"/>
                </a:lnTo>
                <a:lnTo>
                  <a:pt x="2105" y="1876"/>
                </a:lnTo>
                <a:lnTo>
                  <a:pt x="2107" y="1878"/>
                </a:lnTo>
                <a:lnTo>
                  <a:pt x="2107" y="1880"/>
                </a:lnTo>
                <a:lnTo>
                  <a:pt x="2107" y="1883"/>
                </a:lnTo>
                <a:lnTo>
                  <a:pt x="2106" y="1885"/>
                </a:lnTo>
                <a:lnTo>
                  <a:pt x="2105" y="1886"/>
                </a:lnTo>
                <a:lnTo>
                  <a:pt x="2104" y="1888"/>
                </a:lnTo>
                <a:lnTo>
                  <a:pt x="2102" y="1888"/>
                </a:lnTo>
                <a:lnTo>
                  <a:pt x="2099" y="1889"/>
                </a:lnTo>
                <a:lnTo>
                  <a:pt x="2003" y="1889"/>
                </a:lnTo>
                <a:lnTo>
                  <a:pt x="1998" y="1888"/>
                </a:lnTo>
                <a:lnTo>
                  <a:pt x="1994" y="1887"/>
                </a:lnTo>
                <a:lnTo>
                  <a:pt x="1992" y="1885"/>
                </a:lnTo>
                <a:lnTo>
                  <a:pt x="1991" y="1884"/>
                </a:lnTo>
                <a:lnTo>
                  <a:pt x="1988" y="1879"/>
                </a:lnTo>
                <a:lnTo>
                  <a:pt x="1892" y="1713"/>
                </a:lnTo>
                <a:lnTo>
                  <a:pt x="1839" y="1778"/>
                </a:lnTo>
                <a:lnTo>
                  <a:pt x="1839" y="1879"/>
                </a:lnTo>
                <a:lnTo>
                  <a:pt x="1839" y="1881"/>
                </a:lnTo>
                <a:lnTo>
                  <a:pt x="1838" y="1883"/>
                </a:lnTo>
                <a:lnTo>
                  <a:pt x="1836" y="1886"/>
                </a:lnTo>
                <a:lnTo>
                  <a:pt x="1835" y="1887"/>
                </a:lnTo>
                <a:lnTo>
                  <a:pt x="1833" y="1888"/>
                </a:lnTo>
                <a:lnTo>
                  <a:pt x="1829" y="1889"/>
                </a:lnTo>
                <a:close/>
                <a:moveTo>
                  <a:pt x="2168" y="1480"/>
                </a:moveTo>
                <a:lnTo>
                  <a:pt x="2168" y="1478"/>
                </a:lnTo>
                <a:lnTo>
                  <a:pt x="2168" y="1476"/>
                </a:lnTo>
                <a:lnTo>
                  <a:pt x="2171" y="1473"/>
                </a:lnTo>
                <a:lnTo>
                  <a:pt x="2172" y="1472"/>
                </a:lnTo>
                <a:lnTo>
                  <a:pt x="2174" y="1471"/>
                </a:lnTo>
                <a:lnTo>
                  <a:pt x="2178" y="1470"/>
                </a:lnTo>
                <a:lnTo>
                  <a:pt x="2260" y="1470"/>
                </a:lnTo>
                <a:lnTo>
                  <a:pt x="2264" y="1471"/>
                </a:lnTo>
                <a:lnTo>
                  <a:pt x="2267" y="1473"/>
                </a:lnTo>
                <a:lnTo>
                  <a:pt x="2268" y="1474"/>
                </a:lnTo>
                <a:lnTo>
                  <a:pt x="2269" y="1476"/>
                </a:lnTo>
                <a:lnTo>
                  <a:pt x="2270" y="1478"/>
                </a:lnTo>
                <a:lnTo>
                  <a:pt x="2270" y="1480"/>
                </a:lnTo>
                <a:lnTo>
                  <a:pt x="2270" y="1879"/>
                </a:lnTo>
                <a:lnTo>
                  <a:pt x="2270" y="1881"/>
                </a:lnTo>
                <a:lnTo>
                  <a:pt x="2269" y="1883"/>
                </a:lnTo>
                <a:lnTo>
                  <a:pt x="2267" y="1886"/>
                </a:lnTo>
                <a:lnTo>
                  <a:pt x="2266" y="1887"/>
                </a:lnTo>
                <a:lnTo>
                  <a:pt x="2264" y="1888"/>
                </a:lnTo>
                <a:lnTo>
                  <a:pt x="2260" y="1889"/>
                </a:lnTo>
                <a:lnTo>
                  <a:pt x="2178" y="1889"/>
                </a:lnTo>
                <a:lnTo>
                  <a:pt x="2174" y="1888"/>
                </a:lnTo>
                <a:lnTo>
                  <a:pt x="2171" y="1886"/>
                </a:lnTo>
                <a:lnTo>
                  <a:pt x="2169" y="1885"/>
                </a:lnTo>
                <a:lnTo>
                  <a:pt x="2168" y="1883"/>
                </a:lnTo>
                <a:lnTo>
                  <a:pt x="2168" y="1881"/>
                </a:lnTo>
                <a:lnTo>
                  <a:pt x="2168" y="1879"/>
                </a:lnTo>
                <a:lnTo>
                  <a:pt x="2168" y="1480"/>
                </a:lnTo>
                <a:close/>
                <a:moveTo>
                  <a:pt x="2470" y="1879"/>
                </a:moveTo>
                <a:lnTo>
                  <a:pt x="2323" y="1484"/>
                </a:lnTo>
                <a:lnTo>
                  <a:pt x="2322" y="1481"/>
                </a:lnTo>
                <a:lnTo>
                  <a:pt x="2322" y="1478"/>
                </a:lnTo>
                <a:lnTo>
                  <a:pt x="2322" y="1476"/>
                </a:lnTo>
                <a:lnTo>
                  <a:pt x="2323" y="1474"/>
                </a:lnTo>
                <a:lnTo>
                  <a:pt x="2325" y="1472"/>
                </a:lnTo>
                <a:lnTo>
                  <a:pt x="2327" y="1471"/>
                </a:lnTo>
                <a:lnTo>
                  <a:pt x="2329" y="1470"/>
                </a:lnTo>
                <a:lnTo>
                  <a:pt x="2332" y="1470"/>
                </a:lnTo>
                <a:lnTo>
                  <a:pt x="2415" y="1470"/>
                </a:lnTo>
                <a:lnTo>
                  <a:pt x="2419" y="1471"/>
                </a:lnTo>
                <a:lnTo>
                  <a:pt x="2421" y="1471"/>
                </a:lnTo>
                <a:lnTo>
                  <a:pt x="2423" y="1472"/>
                </a:lnTo>
                <a:lnTo>
                  <a:pt x="2425" y="1474"/>
                </a:lnTo>
                <a:lnTo>
                  <a:pt x="2426" y="1475"/>
                </a:lnTo>
                <a:lnTo>
                  <a:pt x="2428" y="1477"/>
                </a:lnTo>
                <a:lnTo>
                  <a:pt x="2429" y="1480"/>
                </a:lnTo>
                <a:lnTo>
                  <a:pt x="2521" y="1734"/>
                </a:lnTo>
                <a:lnTo>
                  <a:pt x="2614" y="1480"/>
                </a:lnTo>
                <a:lnTo>
                  <a:pt x="2615" y="1477"/>
                </a:lnTo>
                <a:lnTo>
                  <a:pt x="2616" y="1475"/>
                </a:lnTo>
                <a:lnTo>
                  <a:pt x="2618" y="1474"/>
                </a:lnTo>
                <a:lnTo>
                  <a:pt x="2619" y="1472"/>
                </a:lnTo>
                <a:lnTo>
                  <a:pt x="2623" y="1471"/>
                </a:lnTo>
                <a:lnTo>
                  <a:pt x="2627" y="1470"/>
                </a:lnTo>
                <a:lnTo>
                  <a:pt x="2709" y="1470"/>
                </a:lnTo>
                <a:lnTo>
                  <a:pt x="2711" y="1470"/>
                </a:lnTo>
                <a:lnTo>
                  <a:pt x="2714" y="1471"/>
                </a:lnTo>
                <a:lnTo>
                  <a:pt x="2716" y="1472"/>
                </a:lnTo>
                <a:lnTo>
                  <a:pt x="2717" y="1474"/>
                </a:lnTo>
                <a:lnTo>
                  <a:pt x="2718" y="1476"/>
                </a:lnTo>
                <a:lnTo>
                  <a:pt x="2719" y="1478"/>
                </a:lnTo>
                <a:lnTo>
                  <a:pt x="2719" y="1481"/>
                </a:lnTo>
                <a:lnTo>
                  <a:pt x="2718" y="1484"/>
                </a:lnTo>
                <a:lnTo>
                  <a:pt x="2571" y="1879"/>
                </a:lnTo>
                <a:lnTo>
                  <a:pt x="2569" y="1883"/>
                </a:lnTo>
                <a:lnTo>
                  <a:pt x="2567" y="1885"/>
                </a:lnTo>
                <a:lnTo>
                  <a:pt x="2566" y="1886"/>
                </a:lnTo>
                <a:lnTo>
                  <a:pt x="2564" y="1887"/>
                </a:lnTo>
                <a:lnTo>
                  <a:pt x="2562" y="1888"/>
                </a:lnTo>
                <a:lnTo>
                  <a:pt x="2560" y="1889"/>
                </a:lnTo>
                <a:lnTo>
                  <a:pt x="2557" y="1889"/>
                </a:lnTo>
                <a:lnTo>
                  <a:pt x="2484" y="1889"/>
                </a:lnTo>
                <a:lnTo>
                  <a:pt x="2481" y="1889"/>
                </a:lnTo>
                <a:lnTo>
                  <a:pt x="2479" y="1888"/>
                </a:lnTo>
                <a:lnTo>
                  <a:pt x="2475" y="1886"/>
                </a:lnTo>
                <a:lnTo>
                  <a:pt x="2473" y="1885"/>
                </a:lnTo>
                <a:lnTo>
                  <a:pt x="2472" y="1883"/>
                </a:lnTo>
                <a:lnTo>
                  <a:pt x="2470" y="1879"/>
                </a:lnTo>
                <a:close/>
                <a:moveTo>
                  <a:pt x="224" y="1804"/>
                </a:moveTo>
                <a:lnTo>
                  <a:pt x="236" y="1804"/>
                </a:lnTo>
                <a:lnTo>
                  <a:pt x="247" y="1802"/>
                </a:lnTo>
                <a:lnTo>
                  <a:pt x="259" y="1799"/>
                </a:lnTo>
                <a:lnTo>
                  <a:pt x="264" y="1797"/>
                </a:lnTo>
                <a:lnTo>
                  <a:pt x="269" y="1795"/>
                </a:lnTo>
                <a:lnTo>
                  <a:pt x="280" y="1791"/>
                </a:lnTo>
                <a:lnTo>
                  <a:pt x="289" y="1785"/>
                </a:lnTo>
                <a:lnTo>
                  <a:pt x="298" y="1778"/>
                </a:lnTo>
                <a:lnTo>
                  <a:pt x="306" y="1770"/>
                </a:lnTo>
                <a:lnTo>
                  <a:pt x="314" y="1762"/>
                </a:lnTo>
                <a:lnTo>
                  <a:pt x="320" y="1752"/>
                </a:lnTo>
                <a:lnTo>
                  <a:pt x="326" y="1742"/>
                </a:lnTo>
                <a:lnTo>
                  <a:pt x="331" y="1731"/>
                </a:lnTo>
                <a:lnTo>
                  <a:pt x="333" y="1725"/>
                </a:lnTo>
                <a:lnTo>
                  <a:pt x="334" y="1719"/>
                </a:lnTo>
                <a:lnTo>
                  <a:pt x="337" y="1707"/>
                </a:lnTo>
                <a:lnTo>
                  <a:pt x="339" y="1693"/>
                </a:lnTo>
                <a:lnTo>
                  <a:pt x="339" y="1687"/>
                </a:lnTo>
                <a:lnTo>
                  <a:pt x="340" y="1680"/>
                </a:lnTo>
                <a:lnTo>
                  <a:pt x="339" y="1666"/>
                </a:lnTo>
                <a:lnTo>
                  <a:pt x="337" y="1652"/>
                </a:lnTo>
                <a:lnTo>
                  <a:pt x="334" y="1640"/>
                </a:lnTo>
                <a:lnTo>
                  <a:pt x="333" y="1634"/>
                </a:lnTo>
                <a:lnTo>
                  <a:pt x="331" y="1628"/>
                </a:lnTo>
                <a:lnTo>
                  <a:pt x="326" y="1617"/>
                </a:lnTo>
                <a:lnTo>
                  <a:pt x="320" y="1607"/>
                </a:lnTo>
                <a:lnTo>
                  <a:pt x="314" y="1597"/>
                </a:lnTo>
                <a:lnTo>
                  <a:pt x="310" y="1593"/>
                </a:lnTo>
                <a:lnTo>
                  <a:pt x="306" y="1589"/>
                </a:lnTo>
                <a:lnTo>
                  <a:pt x="302" y="1585"/>
                </a:lnTo>
                <a:lnTo>
                  <a:pt x="298" y="1581"/>
                </a:lnTo>
                <a:lnTo>
                  <a:pt x="294" y="1578"/>
                </a:lnTo>
                <a:lnTo>
                  <a:pt x="289" y="1574"/>
                </a:lnTo>
                <a:lnTo>
                  <a:pt x="280" y="1568"/>
                </a:lnTo>
                <a:lnTo>
                  <a:pt x="275" y="1566"/>
                </a:lnTo>
                <a:lnTo>
                  <a:pt x="269" y="1564"/>
                </a:lnTo>
                <a:lnTo>
                  <a:pt x="264" y="1562"/>
                </a:lnTo>
                <a:lnTo>
                  <a:pt x="259" y="1560"/>
                </a:lnTo>
                <a:lnTo>
                  <a:pt x="247" y="1557"/>
                </a:lnTo>
                <a:lnTo>
                  <a:pt x="236" y="1555"/>
                </a:lnTo>
                <a:lnTo>
                  <a:pt x="230" y="1555"/>
                </a:lnTo>
                <a:lnTo>
                  <a:pt x="224" y="1555"/>
                </a:lnTo>
                <a:lnTo>
                  <a:pt x="212" y="1555"/>
                </a:lnTo>
                <a:lnTo>
                  <a:pt x="200" y="1557"/>
                </a:lnTo>
                <a:lnTo>
                  <a:pt x="189" y="1560"/>
                </a:lnTo>
                <a:lnTo>
                  <a:pt x="183" y="1562"/>
                </a:lnTo>
                <a:lnTo>
                  <a:pt x="178" y="1564"/>
                </a:lnTo>
                <a:lnTo>
                  <a:pt x="168" y="1568"/>
                </a:lnTo>
                <a:lnTo>
                  <a:pt x="158" y="1574"/>
                </a:lnTo>
                <a:lnTo>
                  <a:pt x="149" y="1581"/>
                </a:lnTo>
                <a:lnTo>
                  <a:pt x="141" y="1589"/>
                </a:lnTo>
                <a:lnTo>
                  <a:pt x="134" y="1597"/>
                </a:lnTo>
                <a:lnTo>
                  <a:pt x="127" y="1607"/>
                </a:lnTo>
                <a:lnTo>
                  <a:pt x="121" y="1617"/>
                </a:lnTo>
                <a:lnTo>
                  <a:pt x="117" y="1628"/>
                </a:lnTo>
                <a:lnTo>
                  <a:pt x="115" y="1634"/>
                </a:lnTo>
                <a:lnTo>
                  <a:pt x="113" y="1640"/>
                </a:lnTo>
                <a:lnTo>
                  <a:pt x="110" y="1652"/>
                </a:lnTo>
                <a:lnTo>
                  <a:pt x="108" y="1666"/>
                </a:lnTo>
                <a:lnTo>
                  <a:pt x="108" y="1672"/>
                </a:lnTo>
                <a:lnTo>
                  <a:pt x="108" y="1680"/>
                </a:lnTo>
                <a:lnTo>
                  <a:pt x="108" y="1693"/>
                </a:lnTo>
                <a:lnTo>
                  <a:pt x="110" y="1707"/>
                </a:lnTo>
                <a:lnTo>
                  <a:pt x="113" y="1719"/>
                </a:lnTo>
                <a:lnTo>
                  <a:pt x="115" y="1725"/>
                </a:lnTo>
                <a:lnTo>
                  <a:pt x="117" y="1731"/>
                </a:lnTo>
                <a:lnTo>
                  <a:pt x="121" y="1742"/>
                </a:lnTo>
                <a:lnTo>
                  <a:pt x="127" y="1752"/>
                </a:lnTo>
                <a:lnTo>
                  <a:pt x="134" y="1762"/>
                </a:lnTo>
                <a:lnTo>
                  <a:pt x="137" y="1766"/>
                </a:lnTo>
                <a:lnTo>
                  <a:pt x="141" y="1770"/>
                </a:lnTo>
                <a:lnTo>
                  <a:pt x="145" y="1774"/>
                </a:lnTo>
                <a:lnTo>
                  <a:pt x="149" y="1778"/>
                </a:lnTo>
                <a:lnTo>
                  <a:pt x="154" y="1781"/>
                </a:lnTo>
                <a:lnTo>
                  <a:pt x="158" y="1785"/>
                </a:lnTo>
                <a:lnTo>
                  <a:pt x="168" y="1791"/>
                </a:lnTo>
                <a:lnTo>
                  <a:pt x="173" y="1793"/>
                </a:lnTo>
                <a:lnTo>
                  <a:pt x="178" y="1795"/>
                </a:lnTo>
                <a:lnTo>
                  <a:pt x="183" y="1797"/>
                </a:lnTo>
                <a:lnTo>
                  <a:pt x="189" y="1799"/>
                </a:lnTo>
                <a:lnTo>
                  <a:pt x="200" y="1802"/>
                </a:lnTo>
                <a:lnTo>
                  <a:pt x="212" y="1804"/>
                </a:lnTo>
                <a:lnTo>
                  <a:pt x="218" y="1804"/>
                </a:lnTo>
                <a:lnTo>
                  <a:pt x="224" y="1804"/>
                </a:lnTo>
                <a:close/>
                <a:moveTo>
                  <a:pt x="224" y="1463"/>
                </a:moveTo>
                <a:lnTo>
                  <a:pt x="236" y="1463"/>
                </a:lnTo>
                <a:lnTo>
                  <a:pt x="247" y="1464"/>
                </a:lnTo>
                <a:lnTo>
                  <a:pt x="259" y="1465"/>
                </a:lnTo>
                <a:lnTo>
                  <a:pt x="270" y="1467"/>
                </a:lnTo>
                <a:lnTo>
                  <a:pt x="281" y="1470"/>
                </a:lnTo>
                <a:lnTo>
                  <a:pt x="292" y="1472"/>
                </a:lnTo>
                <a:lnTo>
                  <a:pt x="302" y="1476"/>
                </a:lnTo>
                <a:lnTo>
                  <a:pt x="313" y="1479"/>
                </a:lnTo>
                <a:lnTo>
                  <a:pt x="323" y="1483"/>
                </a:lnTo>
                <a:lnTo>
                  <a:pt x="332" y="1488"/>
                </a:lnTo>
                <a:lnTo>
                  <a:pt x="342" y="1493"/>
                </a:lnTo>
                <a:lnTo>
                  <a:pt x="351" y="1499"/>
                </a:lnTo>
                <a:lnTo>
                  <a:pt x="359" y="1504"/>
                </a:lnTo>
                <a:lnTo>
                  <a:pt x="364" y="1507"/>
                </a:lnTo>
                <a:lnTo>
                  <a:pt x="368" y="1511"/>
                </a:lnTo>
                <a:lnTo>
                  <a:pt x="372" y="1514"/>
                </a:lnTo>
                <a:lnTo>
                  <a:pt x="376" y="1517"/>
                </a:lnTo>
                <a:lnTo>
                  <a:pt x="383" y="1524"/>
                </a:lnTo>
                <a:lnTo>
                  <a:pt x="387" y="1528"/>
                </a:lnTo>
                <a:lnTo>
                  <a:pt x="391" y="1532"/>
                </a:lnTo>
                <a:lnTo>
                  <a:pt x="398" y="1539"/>
                </a:lnTo>
                <a:lnTo>
                  <a:pt x="404" y="1548"/>
                </a:lnTo>
                <a:lnTo>
                  <a:pt x="407" y="1552"/>
                </a:lnTo>
                <a:lnTo>
                  <a:pt x="410" y="1556"/>
                </a:lnTo>
                <a:lnTo>
                  <a:pt x="416" y="1565"/>
                </a:lnTo>
                <a:lnTo>
                  <a:pt x="421" y="1574"/>
                </a:lnTo>
                <a:lnTo>
                  <a:pt x="426" y="1583"/>
                </a:lnTo>
                <a:lnTo>
                  <a:pt x="430" y="1593"/>
                </a:lnTo>
                <a:lnTo>
                  <a:pt x="432" y="1598"/>
                </a:lnTo>
                <a:lnTo>
                  <a:pt x="434" y="1603"/>
                </a:lnTo>
                <a:lnTo>
                  <a:pt x="437" y="1613"/>
                </a:lnTo>
                <a:lnTo>
                  <a:pt x="440" y="1623"/>
                </a:lnTo>
                <a:lnTo>
                  <a:pt x="443" y="1634"/>
                </a:lnTo>
                <a:lnTo>
                  <a:pt x="445" y="1645"/>
                </a:lnTo>
                <a:lnTo>
                  <a:pt x="446" y="1656"/>
                </a:lnTo>
                <a:lnTo>
                  <a:pt x="446" y="1662"/>
                </a:lnTo>
                <a:lnTo>
                  <a:pt x="447" y="1668"/>
                </a:lnTo>
                <a:lnTo>
                  <a:pt x="447" y="1680"/>
                </a:lnTo>
                <a:lnTo>
                  <a:pt x="447" y="1691"/>
                </a:lnTo>
                <a:lnTo>
                  <a:pt x="446" y="1703"/>
                </a:lnTo>
                <a:lnTo>
                  <a:pt x="445" y="1714"/>
                </a:lnTo>
                <a:lnTo>
                  <a:pt x="443" y="1725"/>
                </a:lnTo>
                <a:lnTo>
                  <a:pt x="440" y="1736"/>
                </a:lnTo>
                <a:lnTo>
                  <a:pt x="437" y="1746"/>
                </a:lnTo>
                <a:lnTo>
                  <a:pt x="434" y="1756"/>
                </a:lnTo>
                <a:lnTo>
                  <a:pt x="430" y="1766"/>
                </a:lnTo>
                <a:lnTo>
                  <a:pt x="426" y="1776"/>
                </a:lnTo>
                <a:lnTo>
                  <a:pt x="421" y="1785"/>
                </a:lnTo>
                <a:lnTo>
                  <a:pt x="416" y="1794"/>
                </a:lnTo>
                <a:lnTo>
                  <a:pt x="410" y="1803"/>
                </a:lnTo>
                <a:lnTo>
                  <a:pt x="404" y="1811"/>
                </a:lnTo>
                <a:lnTo>
                  <a:pt x="398" y="1820"/>
                </a:lnTo>
                <a:lnTo>
                  <a:pt x="391" y="1827"/>
                </a:lnTo>
                <a:lnTo>
                  <a:pt x="383" y="1835"/>
                </a:lnTo>
                <a:lnTo>
                  <a:pt x="376" y="1842"/>
                </a:lnTo>
                <a:lnTo>
                  <a:pt x="368" y="1848"/>
                </a:lnTo>
                <a:lnTo>
                  <a:pt x="359" y="1855"/>
                </a:lnTo>
                <a:lnTo>
                  <a:pt x="351" y="1860"/>
                </a:lnTo>
                <a:lnTo>
                  <a:pt x="342" y="1866"/>
                </a:lnTo>
                <a:lnTo>
                  <a:pt x="332" y="1871"/>
                </a:lnTo>
                <a:lnTo>
                  <a:pt x="323" y="1876"/>
                </a:lnTo>
                <a:lnTo>
                  <a:pt x="313" y="1880"/>
                </a:lnTo>
                <a:lnTo>
                  <a:pt x="302" y="1883"/>
                </a:lnTo>
                <a:lnTo>
                  <a:pt x="292" y="1887"/>
                </a:lnTo>
                <a:lnTo>
                  <a:pt x="281" y="1889"/>
                </a:lnTo>
                <a:lnTo>
                  <a:pt x="270" y="1892"/>
                </a:lnTo>
                <a:lnTo>
                  <a:pt x="259" y="1894"/>
                </a:lnTo>
                <a:lnTo>
                  <a:pt x="247" y="1895"/>
                </a:lnTo>
                <a:lnTo>
                  <a:pt x="236" y="1896"/>
                </a:lnTo>
                <a:lnTo>
                  <a:pt x="224" y="1896"/>
                </a:lnTo>
                <a:lnTo>
                  <a:pt x="212" y="1896"/>
                </a:lnTo>
                <a:lnTo>
                  <a:pt x="200" y="1895"/>
                </a:lnTo>
                <a:lnTo>
                  <a:pt x="188" y="1894"/>
                </a:lnTo>
                <a:lnTo>
                  <a:pt x="177" y="1892"/>
                </a:lnTo>
                <a:lnTo>
                  <a:pt x="166" y="1889"/>
                </a:lnTo>
                <a:lnTo>
                  <a:pt x="155" y="1887"/>
                </a:lnTo>
                <a:lnTo>
                  <a:pt x="145" y="1883"/>
                </a:lnTo>
                <a:lnTo>
                  <a:pt x="135" y="1880"/>
                </a:lnTo>
                <a:lnTo>
                  <a:pt x="125" y="1876"/>
                </a:lnTo>
                <a:lnTo>
                  <a:pt x="115" y="1871"/>
                </a:lnTo>
                <a:lnTo>
                  <a:pt x="106" y="1866"/>
                </a:lnTo>
                <a:lnTo>
                  <a:pt x="97" y="1860"/>
                </a:lnTo>
                <a:lnTo>
                  <a:pt x="88" y="1855"/>
                </a:lnTo>
                <a:lnTo>
                  <a:pt x="84" y="1852"/>
                </a:lnTo>
                <a:lnTo>
                  <a:pt x="79" y="1848"/>
                </a:lnTo>
                <a:lnTo>
                  <a:pt x="75" y="1845"/>
                </a:lnTo>
                <a:lnTo>
                  <a:pt x="71" y="1842"/>
                </a:lnTo>
                <a:lnTo>
                  <a:pt x="64" y="1835"/>
                </a:lnTo>
                <a:lnTo>
                  <a:pt x="60" y="1831"/>
                </a:lnTo>
                <a:lnTo>
                  <a:pt x="56" y="1827"/>
                </a:lnTo>
                <a:lnTo>
                  <a:pt x="50" y="1820"/>
                </a:lnTo>
                <a:lnTo>
                  <a:pt x="43" y="1811"/>
                </a:lnTo>
                <a:lnTo>
                  <a:pt x="40" y="1807"/>
                </a:lnTo>
                <a:lnTo>
                  <a:pt x="37" y="1803"/>
                </a:lnTo>
                <a:lnTo>
                  <a:pt x="31" y="1794"/>
                </a:lnTo>
                <a:lnTo>
                  <a:pt x="26" y="1785"/>
                </a:lnTo>
                <a:lnTo>
                  <a:pt x="21" y="1776"/>
                </a:lnTo>
                <a:lnTo>
                  <a:pt x="17" y="1766"/>
                </a:lnTo>
                <a:lnTo>
                  <a:pt x="15" y="1761"/>
                </a:lnTo>
                <a:lnTo>
                  <a:pt x="13" y="1756"/>
                </a:lnTo>
                <a:lnTo>
                  <a:pt x="10" y="1746"/>
                </a:lnTo>
                <a:lnTo>
                  <a:pt x="7" y="1736"/>
                </a:lnTo>
                <a:lnTo>
                  <a:pt x="4" y="1725"/>
                </a:lnTo>
                <a:lnTo>
                  <a:pt x="3" y="1714"/>
                </a:lnTo>
                <a:lnTo>
                  <a:pt x="1" y="1703"/>
                </a:lnTo>
                <a:lnTo>
                  <a:pt x="1" y="1697"/>
                </a:lnTo>
                <a:lnTo>
                  <a:pt x="0" y="1691"/>
                </a:lnTo>
                <a:lnTo>
                  <a:pt x="0" y="1680"/>
                </a:lnTo>
                <a:lnTo>
                  <a:pt x="0" y="1668"/>
                </a:lnTo>
                <a:lnTo>
                  <a:pt x="1" y="1656"/>
                </a:lnTo>
                <a:lnTo>
                  <a:pt x="3" y="1645"/>
                </a:lnTo>
                <a:lnTo>
                  <a:pt x="4" y="1634"/>
                </a:lnTo>
                <a:lnTo>
                  <a:pt x="7" y="1623"/>
                </a:lnTo>
                <a:lnTo>
                  <a:pt x="10" y="1613"/>
                </a:lnTo>
                <a:lnTo>
                  <a:pt x="13" y="1603"/>
                </a:lnTo>
                <a:lnTo>
                  <a:pt x="17" y="1593"/>
                </a:lnTo>
                <a:lnTo>
                  <a:pt x="21" y="1583"/>
                </a:lnTo>
                <a:lnTo>
                  <a:pt x="26" y="1574"/>
                </a:lnTo>
                <a:lnTo>
                  <a:pt x="31" y="1565"/>
                </a:lnTo>
                <a:lnTo>
                  <a:pt x="37" y="1556"/>
                </a:lnTo>
                <a:lnTo>
                  <a:pt x="43" y="1548"/>
                </a:lnTo>
                <a:lnTo>
                  <a:pt x="50" y="1539"/>
                </a:lnTo>
                <a:lnTo>
                  <a:pt x="56" y="1532"/>
                </a:lnTo>
                <a:lnTo>
                  <a:pt x="64" y="1524"/>
                </a:lnTo>
                <a:lnTo>
                  <a:pt x="71" y="1517"/>
                </a:lnTo>
                <a:lnTo>
                  <a:pt x="79" y="1511"/>
                </a:lnTo>
                <a:lnTo>
                  <a:pt x="88" y="1504"/>
                </a:lnTo>
                <a:lnTo>
                  <a:pt x="97" y="1499"/>
                </a:lnTo>
                <a:lnTo>
                  <a:pt x="106" y="1493"/>
                </a:lnTo>
                <a:lnTo>
                  <a:pt x="115" y="1488"/>
                </a:lnTo>
                <a:lnTo>
                  <a:pt x="125" y="1483"/>
                </a:lnTo>
                <a:lnTo>
                  <a:pt x="135" y="1479"/>
                </a:lnTo>
                <a:lnTo>
                  <a:pt x="145" y="1476"/>
                </a:lnTo>
                <a:lnTo>
                  <a:pt x="155" y="1472"/>
                </a:lnTo>
                <a:lnTo>
                  <a:pt x="166" y="1470"/>
                </a:lnTo>
                <a:lnTo>
                  <a:pt x="177" y="1467"/>
                </a:lnTo>
                <a:lnTo>
                  <a:pt x="188" y="1465"/>
                </a:lnTo>
                <a:lnTo>
                  <a:pt x="200" y="1464"/>
                </a:lnTo>
                <a:lnTo>
                  <a:pt x="212" y="1463"/>
                </a:lnTo>
                <a:lnTo>
                  <a:pt x="224" y="1463"/>
                </a:lnTo>
                <a:close/>
                <a:moveTo>
                  <a:pt x="1090" y="1810"/>
                </a:moveTo>
                <a:lnTo>
                  <a:pt x="1096" y="1809"/>
                </a:lnTo>
                <a:lnTo>
                  <a:pt x="1102" y="1809"/>
                </a:lnTo>
                <a:lnTo>
                  <a:pt x="1112" y="1807"/>
                </a:lnTo>
                <a:lnTo>
                  <a:pt x="1116" y="1806"/>
                </a:lnTo>
                <a:lnTo>
                  <a:pt x="1120" y="1804"/>
                </a:lnTo>
                <a:lnTo>
                  <a:pt x="1128" y="1800"/>
                </a:lnTo>
                <a:lnTo>
                  <a:pt x="1131" y="1798"/>
                </a:lnTo>
                <a:lnTo>
                  <a:pt x="1133" y="1795"/>
                </a:lnTo>
                <a:lnTo>
                  <a:pt x="1136" y="1792"/>
                </a:lnTo>
                <a:lnTo>
                  <a:pt x="1138" y="1789"/>
                </a:lnTo>
                <a:lnTo>
                  <a:pt x="1139" y="1786"/>
                </a:lnTo>
                <a:lnTo>
                  <a:pt x="1140" y="1782"/>
                </a:lnTo>
                <a:lnTo>
                  <a:pt x="1141" y="1779"/>
                </a:lnTo>
                <a:lnTo>
                  <a:pt x="1141" y="1775"/>
                </a:lnTo>
                <a:lnTo>
                  <a:pt x="1141" y="1771"/>
                </a:lnTo>
                <a:lnTo>
                  <a:pt x="1140" y="1767"/>
                </a:lnTo>
                <a:lnTo>
                  <a:pt x="1139" y="1763"/>
                </a:lnTo>
                <a:lnTo>
                  <a:pt x="1138" y="1760"/>
                </a:lnTo>
                <a:lnTo>
                  <a:pt x="1134" y="1754"/>
                </a:lnTo>
                <a:lnTo>
                  <a:pt x="1130" y="1749"/>
                </a:lnTo>
                <a:lnTo>
                  <a:pt x="1127" y="1747"/>
                </a:lnTo>
                <a:lnTo>
                  <a:pt x="1124" y="1744"/>
                </a:lnTo>
                <a:lnTo>
                  <a:pt x="1120" y="1742"/>
                </a:lnTo>
                <a:lnTo>
                  <a:pt x="1116" y="1740"/>
                </a:lnTo>
                <a:lnTo>
                  <a:pt x="1099" y="1732"/>
                </a:lnTo>
                <a:lnTo>
                  <a:pt x="1038" y="1703"/>
                </a:lnTo>
                <a:lnTo>
                  <a:pt x="1031" y="1699"/>
                </a:lnTo>
                <a:lnTo>
                  <a:pt x="1023" y="1695"/>
                </a:lnTo>
                <a:lnTo>
                  <a:pt x="1016" y="1691"/>
                </a:lnTo>
                <a:lnTo>
                  <a:pt x="1010" y="1686"/>
                </a:lnTo>
                <a:lnTo>
                  <a:pt x="1003" y="1680"/>
                </a:lnTo>
                <a:lnTo>
                  <a:pt x="997" y="1674"/>
                </a:lnTo>
                <a:lnTo>
                  <a:pt x="992" y="1668"/>
                </a:lnTo>
                <a:lnTo>
                  <a:pt x="986" y="1661"/>
                </a:lnTo>
                <a:lnTo>
                  <a:pt x="982" y="1654"/>
                </a:lnTo>
                <a:lnTo>
                  <a:pt x="978" y="1646"/>
                </a:lnTo>
                <a:lnTo>
                  <a:pt x="974" y="1638"/>
                </a:lnTo>
                <a:lnTo>
                  <a:pt x="971" y="1629"/>
                </a:lnTo>
                <a:lnTo>
                  <a:pt x="969" y="1620"/>
                </a:lnTo>
                <a:lnTo>
                  <a:pt x="967" y="1610"/>
                </a:lnTo>
                <a:lnTo>
                  <a:pt x="966" y="1600"/>
                </a:lnTo>
                <a:lnTo>
                  <a:pt x="965" y="1590"/>
                </a:lnTo>
                <a:lnTo>
                  <a:pt x="966" y="1583"/>
                </a:lnTo>
                <a:lnTo>
                  <a:pt x="966" y="1576"/>
                </a:lnTo>
                <a:lnTo>
                  <a:pt x="967" y="1570"/>
                </a:lnTo>
                <a:lnTo>
                  <a:pt x="968" y="1563"/>
                </a:lnTo>
                <a:lnTo>
                  <a:pt x="971" y="1551"/>
                </a:lnTo>
                <a:lnTo>
                  <a:pt x="973" y="1545"/>
                </a:lnTo>
                <a:lnTo>
                  <a:pt x="976" y="1539"/>
                </a:lnTo>
                <a:lnTo>
                  <a:pt x="979" y="1534"/>
                </a:lnTo>
                <a:lnTo>
                  <a:pt x="982" y="1528"/>
                </a:lnTo>
                <a:lnTo>
                  <a:pt x="988" y="1518"/>
                </a:lnTo>
                <a:lnTo>
                  <a:pt x="996" y="1508"/>
                </a:lnTo>
                <a:lnTo>
                  <a:pt x="1005" y="1499"/>
                </a:lnTo>
                <a:lnTo>
                  <a:pt x="1015" y="1491"/>
                </a:lnTo>
                <a:lnTo>
                  <a:pt x="1026" y="1484"/>
                </a:lnTo>
                <a:lnTo>
                  <a:pt x="1037" y="1478"/>
                </a:lnTo>
                <a:lnTo>
                  <a:pt x="1044" y="1475"/>
                </a:lnTo>
                <a:lnTo>
                  <a:pt x="1050" y="1473"/>
                </a:lnTo>
                <a:lnTo>
                  <a:pt x="1063" y="1469"/>
                </a:lnTo>
                <a:lnTo>
                  <a:pt x="1070" y="1467"/>
                </a:lnTo>
                <a:lnTo>
                  <a:pt x="1077" y="1466"/>
                </a:lnTo>
                <a:lnTo>
                  <a:pt x="1085" y="1464"/>
                </a:lnTo>
                <a:lnTo>
                  <a:pt x="1092" y="1464"/>
                </a:lnTo>
                <a:lnTo>
                  <a:pt x="1107" y="1463"/>
                </a:lnTo>
                <a:lnTo>
                  <a:pt x="1122" y="1464"/>
                </a:lnTo>
                <a:lnTo>
                  <a:pt x="1137" y="1465"/>
                </a:lnTo>
                <a:lnTo>
                  <a:pt x="1145" y="1466"/>
                </a:lnTo>
                <a:lnTo>
                  <a:pt x="1152" y="1467"/>
                </a:lnTo>
                <a:lnTo>
                  <a:pt x="1159" y="1468"/>
                </a:lnTo>
                <a:lnTo>
                  <a:pt x="1166" y="1470"/>
                </a:lnTo>
                <a:lnTo>
                  <a:pt x="1180" y="1474"/>
                </a:lnTo>
                <a:lnTo>
                  <a:pt x="1193" y="1479"/>
                </a:lnTo>
                <a:lnTo>
                  <a:pt x="1206" y="1484"/>
                </a:lnTo>
                <a:lnTo>
                  <a:pt x="1217" y="1490"/>
                </a:lnTo>
                <a:lnTo>
                  <a:pt x="1219" y="1492"/>
                </a:lnTo>
                <a:lnTo>
                  <a:pt x="1221" y="1494"/>
                </a:lnTo>
                <a:lnTo>
                  <a:pt x="1222" y="1496"/>
                </a:lnTo>
                <a:lnTo>
                  <a:pt x="1223" y="1498"/>
                </a:lnTo>
                <a:lnTo>
                  <a:pt x="1223" y="1502"/>
                </a:lnTo>
                <a:lnTo>
                  <a:pt x="1221" y="1507"/>
                </a:lnTo>
                <a:lnTo>
                  <a:pt x="1197" y="1562"/>
                </a:lnTo>
                <a:lnTo>
                  <a:pt x="1194" y="1567"/>
                </a:lnTo>
                <a:lnTo>
                  <a:pt x="1192" y="1569"/>
                </a:lnTo>
                <a:lnTo>
                  <a:pt x="1191" y="1570"/>
                </a:lnTo>
                <a:lnTo>
                  <a:pt x="1186" y="1570"/>
                </a:lnTo>
                <a:lnTo>
                  <a:pt x="1184" y="1570"/>
                </a:lnTo>
                <a:lnTo>
                  <a:pt x="1181" y="1569"/>
                </a:lnTo>
                <a:lnTo>
                  <a:pt x="1172" y="1565"/>
                </a:lnTo>
                <a:lnTo>
                  <a:pt x="1164" y="1561"/>
                </a:lnTo>
                <a:lnTo>
                  <a:pt x="1156" y="1558"/>
                </a:lnTo>
                <a:lnTo>
                  <a:pt x="1147" y="1555"/>
                </a:lnTo>
                <a:lnTo>
                  <a:pt x="1139" y="1552"/>
                </a:lnTo>
                <a:lnTo>
                  <a:pt x="1130" y="1551"/>
                </a:lnTo>
                <a:lnTo>
                  <a:pt x="1121" y="1550"/>
                </a:lnTo>
                <a:lnTo>
                  <a:pt x="1111" y="1549"/>
                </a:lnTo>
                <a:lnTo>
                  <a:pt x="1101" y="1550"/>
                </a:lnTo>
                <a:lnTo>
                  <a:pt x="1092" y="1552"/>
                </a:lnTo>
                <a:lnTo>
                  <a:pt x="1088" y="1553"/>
                </a:lnTo>
                <a:lnTo>
                  <a:pt x="1085" y="1555"/>
                </a:lnTo>
                <a:lnTo>
                  <a:pt x="1078" y="1559"/>
                </a:lnTo>
                <a:lnTo>
                  <a:pt x="1075" y="1561"/>
                </a:lnTo>
                <a:lnTo>
                  <a:pt x="1073" y="1564"/>
                </a:lnTo>
                <a:lnTo>
                  <a:pt x="1071" y="1567"/>
                </a:lnTo>
                <a:lnTo>
                  <a:pt x="1069" y="1570"/>
                </a:lnTo>
                <a:lnTo>
                  <a:pt x="1068" y="1573"/>
                </a:lnTo>
                <a:lnTo>
                  <a:pt x="1067" y="1576"/>
                </a:lnTo>
                <a:lnTo>
                  <a:pt x="1067" y="1580"/>
                </a:lnTo>
                <a:lnTo>
                  <a:pt x="1067" y="1583"/>
                </a:lnTo>
                <a:lnTo>
                  <a:pt x="1067" y="1587"/>
                </a:lnTo>
                <a:lnTo>
                  <a:pt x="1067" y="1590"/>
                </a:lnTo>
                <a:lnTo>
                  <a:pt x="1069" y="1597"/>
                </a:lnTo>
                <a:lnTo>
                  <a:pt x="1073" y="1602"/>
                </a:lnTo>
                <a:lnTo>
                  <a:pt x="1075" y="1605"/>
                </a:lnTo>
                <a:lnTo>
                  <a:pt x="1077" y="1608"/>
                </a:lnTo>
                <a:lnTo>
                  <a:pt x="1080" y="1610"/>
                </a:lnTo>
                <a:lnTo>
                  <a:pt x="1083" y="1612"/>
                </a:lnTo>
                <a:lnTo>
                  <a:pt x="1090" y="1617"/>
                </a:lnTo>
                <a:lnTo>
                  <a:pt x="1098" y="1621"/>
                </a:lnTo>
                <a:lnTo>
                  <a:pt x="1108" y="1626"/>
                </a:lnTo>
                <a:lnTo>
                  <a:pt x="1170" y="1655"/>
                </a:lnTo>
                <a:lnTo>
                  <a:pt x="1178" y="1659"/>
                </a:lnTo>
                <a:lnTo>
                  <a:pt x="1185" y="1663"/>
                </a:lnTo>
                <a:lnTo>
                  <a:pt x="1193" y="1667"/>
                </a:lnTo>
                <a:lnTo>
                  <a:pt x="1199" y="1672"/>
                </a:lnTo>
                <a:lnTo>
                  <a:pt x="1206" y="1678"/>
                </a:lnTo>
                <a:lnTo>
                  <a:pt x="1212" y="1684"/>
                </a:lnTo>
                <a:lnTo>
                  <a:pt x="1217" y="1690"/>
                </a:lnTo>
                <a:lnTo>
                  <a:pt x="1222" y="1696"/>
                </a:lnTo>
                <a:lnTo>
                  <a:pt x="1225" y="1700"/>
                </a:lnTo>
                <a:lnTo>
                  <a:pt x="1227" y="1703"/>
                </a:lnTo>
                <a:lnTo>
                  <a:pt x="1231" y="1711"/>
                </a:lnTo>
                <a:lnTo>
                  <a:pt x="1234" y="1719"/>
                </a:lnTo>
                <a:lnTo>
                  <a:pt x="1237" y="1727"/>
                </a:lnTo>
                <a:lnTo>
                  <a:pt x="1239" y="1731"/>
                </a:lnTo>
                <a:lnTo>
                  <a:pt x="1240" y="1736"/>
                </a:lnTo>
                <a:lnTo>
                  <a:pt x="1241" y="1745"/>
                </a:lnTo>
                <a:lnTo>
                  <a:pt x="1242" y="1755"/>
                </a:lnTo>
                <a:lnTo>
                  <a:pt x="1243" y="1766"/>
                </a:lnTo>
                <a:lnTo>
                  <a:pt x="1243" y="1773"/>
                </a:lnTo>
                <a:lnTo>
                  <a:pt x="1242" y="1780"/>
                </a:lnTo>
                <a:lnTo>
                  <a:pt x="1240" y="1793"/>
                </a:lnTo>
                <a:lnTo>
                  <a:pt x="1238" y="1799"/>
                </a:lnTo>
                <a:lnTo>
                  <a:pt x="1236" y="1806"/>
                </a:lnTo>
                <a:lnTo>
                  <a:pt x="1232" y="1818"/>
                </a:lnTo>
                <a:lnTo>
                  <a:pt x="1229" y="1824"/>
                </a:lnTo>
                <a:lnTo>
                  <a:pt x="1226" y="1829"/>
                </a:lnTo>
                <a:lnTo>
                  <a:pt x="1222" y="1835"/>
                </a:lnTo>
                <a:lnTo>
                  <a:pt x="1218" y="1840"/>
                </a:lnTo>
                <a:lnTo>
                  <a:pt x="1214" y="1845"/>
                </a:lnTo>
                <a:lnTo>
                  <a:pt x="1210" y="1850"/>
                </a:lnTo>
                <a:lnTo>
                  <a:pt x="1206" y="1855"/>
                </a:lnTo>
                <a:lnTo>
                  <a:pt x="1201" y="1859"/>
                </a:lnTo>
                <a:lnTo>
                  <a:pt x="1196" y="1863"/>
                </a:lnTo>
                <a:lnTo>
                  <a:pt x="1190" y="1867"/>
                </a:lnTo>
                <a:lnTo>
                  <a:pt x="1179" y="1875"/>
                </a:lnTo>
                <a:lnTo>
                  <a:pt x="1173" y="1878"/>
                </a:lnTo>
                <a:lnTo>
                  <a:pt x="1166" y="1881"/>
                </a:lnTo>
                <a:lnTo>
                  <a:pt x="1160" y="1884"/>
                </a:lnTo>
                <a:lnTo>
                  <a:pt x="1153" y="1886"/>
                </a:lnTo>
                <a:lnTo>
                  <a:pt x="1139" y="1890"/>
                </a:lnTo>
                <a:lnTo>
                  <a:pt x="1132" y="1892"/>
                </a:lnTo>
                <a:lnTo>
                  <a:pt x="1124" y="1893"/>
                </a:lnTo>
                <a:lnTo>
                  <a:pt x="1117" y="1895"/>
                </a:lnTo>
                <a:lnTo>
                  <a:pt x="1109" y="1895"/>
                </a:lnTo>
                <a:lnTo>
                  <a:pt x="1093" y="1896"/>
                </a:lnTo>
                <a:lnTo>
                  <a:pt x="1075" y="1895"/>
                </a:lnTo>
                <a:lnTo>
                  <a:pt x="1066" y="1894"/>
                </a:lnTo>
                <a:lnTo>
                  <a:pt x="1057" y="1893"/>
                </a:lnTo>
                <a:lnTo>
                  <a:pt x="1048" y="1891"/>
                </a:lnTo>
                <a:lnTo>
                  <a:pt x="1040" y="1890"/>
                </a:lnTo>
                <a:lnTo>
                  <a:pt x="1031" y="1887"/>
                </a:lnTo>
                <a:lnTo>
                  <a:pt x="1023" y="1885"/>
                </a:lnTo>
                <a:lnTo>
                  <a:pt x="1007" y="1880"/>
                </a:lnTo>
                <a:lnTo>
                  <a:pt x="992" y="1873"/>
                </a:lnTo>
                <a:lnTo>
                  <a:pt x="977" y="1866"/>
                </a:lnTo>
                <a:lnTo>
                  <a:pt x="964" y="1859"/>
                </a:lnTo>
                <a:lnTo>
                  <a:pt x="961" y="1857"/>
                </a:lnTo>
                <a:lnTo>
                  <a:pt x="959" y="1854"/>
                </a:lnTo>
                <a:lnTo>
                  <a:pt x="958" y="1852"/>
                </a:lnTo>
                <a:lnTo>
                  <a:pt x="957" y="1850"/>
                </a:lnTo>
                <a:lnTo>
                  <a:pt x="958" y="1846"/>
                </a:lnTo>
                <a:lnTo>
                  <a:pt x="960" y="1842"/>
                </a:lnTo>
                <a:lnTo>
                  <a:pt x="984" y="1787"/>
                </a:lnTo>
                <a:lnTo>
                  <a:pt x="987" y="1782"/>
                </a:lnTo>
                <a:lnTo>
                  <a:pt x="989" y="1780"/>
                </a:lnTo>
                <a:lnTo>
                  <a:pt x="990" y="1779"/>
                </a:lnTo>
                <a:lnTo>
                  <a:pt x="993" y="1778"/>
                </a:lnTo>
                <a:lnTo>
                  <a:pt x="995" y="1778"/>
                </a:lnTo>
                <a:lnTo>
                  <a:pt x="997" y="1779"/>
                </a:lnTo>
                <a:lnTo>
                  <a:pt x="1000" y="1780"/>
                </a:lnTo>
                <a:lnTo>
                  <a:pt x="1012" y="1787"/>
                </a:lnTo>
                <a:lnTo>
                  <a:pt x="1023" y="1792"/>
                </a:lnTo>
                <a:lnTo>
                  <a:pt x="1034" y="1797"/>
                </a:lnTo>
                <a:lnTo>
                  <a:pt x="1045" y="1802"/>
                </a:lnTo>
                <a:lnTo>
                  <a:pt x="1056" y="1805"/>
                </a:lnTo>
                <a:lnTo>
                  <a:pt x="1067" y="1808"/>
                </a:lnTo>
                <a:lnTo>
                  <a:pt x="1079" y="1809"/>
                </a:lnTo>
                <a:lnTo>
                  <a:pt x="1090" y="1810"/>
                </a:lnTo>
                <a:close/>
                <a:moveTo>
                  <a:pt x="512" y="1480"/>
                </a:moveTo>
                <a:lnTo>
                  <a:pt x="512" y="1478"/>
                </a:lnTo>
                <a:lnTo>
                  <a:pt x="513" y="1476"/>
                </a:lnTo>
                <a:lnTo>
                  <a:pt x="515" y="1473"/>
                </a:lnTo>
                <a:lnTo>
                  <a:pt x="516" y="1472"/>
                </a:lnTo>
                <a:lnTo>
                  <a:pt x="518" y="1471"/>
                </a:lnTo>
                <a:lnTo>
                  <a:pt x="522" y="1470"/>
                </a:lnTo>
                <a:lnTo>
                  <a:pt x="606" y="1470"/>
                </a:lnTo>
                <a:lnTo>
                  <a:pt x="609" y="1471"/>
                </a:lnTo>
                <a:lnTo>
                  <a:pt x="612" y="1473"/>
                </a:lnTo>
                <a:lnTo>
                  <a:pt x="613" y="1474"/>
                </a:lnTo>
                <a:lnTo>
                  <a:pt x="614" y="1476"/>
                </a:lnTo>
                <a:lnTo>
                  <a:pt x="614" y="1478"/>
                </a:lnTo>
                <a:lnTo>
                  <a:pt x="615" y="1480"/>
                </a:lnTo>
                <a:lnTo>
                  <a:pt x="615" y="1797"/>
                </a:lnTo>
                <a:lnTo>
                  <a:pt x="689" y="1797"/>
                </a:lnTo>
                <a:lnTo>
                  <a:pt x="693" y="1797"/>
                </a:lnTo>
                <a:lnTo>
                  <a:pt x="696" y="1799"/>
                </a:lnTo>
                <a:lnTo>
                  <a:pt x="697" y="1801"/>
                </a:lnTo>
                <a:lnTo>
                  <a:pt x="697" y="1803"/>
                </a:lnTo>
                <a:lnTo>
                  <a:pt x="698" y="1804"/>
                </a:lnTo>
                <a:lnTo>
                  <a:pt x="698" y="1807"/>
                </a:lnTo>
                <a:lnTo>
                  <a:pt x="698" y="1879"/>
                </a:lnTo>
                <a:lnTo>
                  <a:pt x="698" y="1881"/>
                </a:lnTo>
                <a:lnTo>
                  <a:pt x="697" y="1883"/>
                </a:lnTo>
                <a:lnTo>
                  <a:pt x="696" y="1886"/>
                </a:lnTo>
                <a:lnTo>
                  <a:pt x="694" y="1887"/>
                </a:lnTo>
                <a:lnTo>
                  <a:pt x="693" y="1888"/>
                </a:lnTo>
                <a:lnTo>
                  <a:pt x="691" y="1889"/>
                </a:lnTo>
                <a:lnTo>
                  <a:pt x="689" y="1889"/>
                </a:lnTo>
                <a:lnTo>
                  <a:pt x="522" y="1889"/>
                </a:lnTo>
                <a:lnTo>
                  <a:pt x="518" y="1888"/>
                </a:lnTo>
                <a:lnTo>
                  <a:pt x="515" y="1886"/>
                </a:lnTo>
                <a:lnTo>
                  <a:pt x="513" y="1883"/>
                </a:lnTo>
                <a:lnTo>
                  <a:pt x="512" y="1881"/>
                </a:lnTo>
                <a:lnTo>
                  <a:pt x="512" y="1879"/>
                </a:lnTo>
                <a:lnTo>
                  <a:pt x="512" y="1480"/>
                </a:lnTo>
                <a:close/>
                <a:moveTo>
                  <a:pt x="777" y="1480"/>
                </a:moveTo>
                <a:lnTo>
                  <a:pt x="777" y="1478"/>
                </a:lnTo>
                <a:lnTo>
                  <a:pt x="778" y="1476"/>
                </a:lnTo>
                <a:lnTo>
                  <a:pt x="780" y="1473"/>
                </a:lnTo>
                <a:lnTo>
                  <a:pt x="781" y="1472"/>
                </a:lnTo>
                <a:lnTo>
                  <a:pt x="783" y="1471"/>
                </a:lnTo>
                <a:lnTo>
                  <a:pt x="787" y="1470"/>
                </a:lnTo>
                <a:lnTo>
                  <a:pt x="869" y="1470"/>
                </a:lnTo>
                <a:lnTo>
                  <a:pt x="873" y="1471"/>
                </a:lnTo>
                <a:lnTo>
                  <a:pt x="876" y="1473"/>
                </a:lnTo>
                <a:lnTo>
                  <a:pt x="878" y="1474"/>
                </a:lnTo>
                <a:lnTo>
                  <a:pt x="879" y="1476"/>
                </a:lnTo>
                <a:lnTo>
                  <a:pt x="879" y="1478"/>
                </a:lnTo>
                <a:lnTo>
                  <a:pt x="879" y="1480"/>
                </a:lnTo>
                <a:lnTo>
                  <a:pt x="879" y="1879"/>
                </a:lnTo>
                <a:lnTo>
                  <a:pt x="879" y="1881"/>
                </a:lnTo>
                <a:lnTo>
                  <a:pt x="879" y="1883"/>
                </a:lnTo>
                <a:lnTo>
                  <a:pt x="876" y="1886"/>
                </a:lnTo>
                <a:lnTo>
                  <a:pt x="875" y="1887"/>
                </a:lnTo>
                <a:lnTo>
                  <a:pt x="873" y="1888"/>
                </a:lnTo>
                <a:lnTo>
                  <a:pt x="869" y="1889"/>
                </a:lnTo>
                <a:lnTo>
                  <a:pt x="787" y="1889"/>
                </a:lnTo>
                <a:lnTo>
                  <a:pt x="783" y="1888"/>
                </a:lnTo>
                <a:lnTo>
                  <a:pt x="780" y="1886"/>
                </a:lnTo>
                <a:lnTo>
                  <a:pt x="779" y="1885"/>
                </a:lnTo>
                <a:lnTo>
                  <a:pt x="778" y="1883"/>
                </a:lnTo>
                <a:lnTo>
                  <a:pt x="777" y="1881"/>
                </a:lnTo>
                <a:lnTo>
                  <a:pt x="777" y="1879"/>
                </a:lnTo>
                <a:lnTo>
                  <a:pt x="777" y="148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7F65F6B3-17BB-4725-B305-8FFA3A2754CD}"/>
              </a:ext>
            </a:extLst>
          </p:cNvPr>
          <p:cNvSpPr>
            <a:spLocks noEditPoints="1"/>
          </p:cNvSpPr>
          <p:nvPr userDrawn="1"/>
        </p:nvSpPr>
        <p:spPr bwMode="auto">
          <a:xfrm flipH="1">
            <a:off x="5519494" y="0"/>
            <a:ext cx="6409154" cy="6858000"/>
          </a:xfrm>
          <a:custGeom>
            <a:avLst/>
            <a:gdLst>
              <a:gd name="T0" fmla="*/ 2381 w 4041"/>
              <a:gd name="T1" fmla="*/ 2204 h 4324"/>
              <a:gd name="T2" fmla="*/ 2381 w 4041"/>
              <a:gd name="T3" fmla="*/ 3804 h 4324"/>
              <a:gd name="T4" fmla="*/ 2300 w 4041"/>
              <a:gd name="T5" fmla="*/ 3816 h 4324"/>
              <a:gd name="T6" fmla="*/ 2276 w 4041"/>
              <a:gd name="T7" fmla="*/ 3788 h 4324"/>
              <a:gd name="T8" fmla="*/ 2294 w 4041"/>
              <a:gd name="T9" fmla="*/ 2192 h 4324"/>
              <a:gd name="T10" fmla="*/ 1573 w 4041"/>
              <a:gd name="T11" fmla="*/ 2196 h 4324"/>
              <a:gd name="T12" fmla="*/ 1587 w 4041"/>
              <a:gd name="T13" fmla="*/ 3794 h 4324"/>
              <a:gd name="T14" fmla="*/ 1557 w 4041"/>
              <a:gd name="T15" fmla="*/ 3818 h 4324"/>
              <a:gd name="T16" fmla="*/ 1434 w 4041"/>
              <a:gd name="T17" fmla="*/ 3798 h 4324"/>
              <a:gd name="T18" fmla="*/ 1440 w 4041"/>
              <a:gd name="T19" fmla="*/ 2200 h 4324"/>
              <a:gd name="T20" fmla="*/ 444 w 4041"/>
              <a:gd name="T21" fmla="*/ 2190 h 4324"/>
              <a:gd name="T22" fmla="*/ 469 w 4041"/>
              <a:gd name="T23" fmla="*/ 2220 h 4324"/>
              <a:gd name="T24" fmla="*/ 450 w 4041"/>
              <a:gd name="T25" fmla="*/ 3814 h 4324"/>
              <a:gd name="T26" fmla="*/ 408 w 4041"/>
              <a:gd name="T27" fmla="*/ 3808 h 4324"/>
              <a:gd name="T28" fmla="*/ 400 w 4041"/>
              <a:gd name="T29" fmla="*/ 2208 h 4324"/>
              <a:gd name="T30" fmla="*/ 685 w 4041"/>
              <a:gd name="T31" fmla="*/ 510 h 4324"/>
              <a:gd name="T32" fmla="*/ 808 w 4041"/>
              <a:gd name="T33" fmla="*/ 528 h 4324"/>
              <a:gd name="T34" fmla="*/ 802 w 4041"/>
              <a:gd name="T35" fmla="*/ 2128 h 4324"/>
              <a:gd name="T36" fmla="*/ 672 w 4041"/>
              <a:gd name="T37" fmla="*/ 2134 h 4324"/>
              <a:gd name="T38" fmla="*/ 654 w 4041"/>
              <a:gd name="T39" fmla="*/ 540 h 4324"/>
              <a:gd name="T40" fmla="*/ 679 w 4041"/>
              <a:gd name="T41" fmla="*/ 510 h 4324"/>
              <a:gd name="T42" fmla="*/ 3375 w 4041"/>
              <a:gd name="T43" fmla="*/ 518 h 4324"/>
              <a:gd name="T44" fmla="*/ 3381 w 4041"/>
              <a:gd name="T45" fmla="*/ 2118 h 4324"/>
              <a:gd name="T46" fmla="*/ 3342 w 4041"/>
              <a:gd name="T47" fmla="*/ 2136 h 4324"/>
              <a:gd name="T48" fmla="*/ 3314 w 4041"/>
              <a:gd name="T49" fmla="*/ 2112 h 4324"/>
              <a:gd name="T50" fmla="*/ 3326 w 4041"/>
              <a:gd name="T51" fmla="*/ 514 h 4324"/>
              <a:gd name="T52" fmla="*/ 1862 w 4041"/>
              <a:gd name="T53" fmla="*/ 512 h 4324"/>
              <a:gd name="T54" fmla="*/ 1880 w 4041"/>
              <a:gd name="T55" fmla="*/ 2106 h 4324"/>
              <a:gd name="T56" fmla="*/ 1856 w 4041"/>
              <a:gd name="T57" fmla="*/ 2136 h 4324"/>
              <a:gd name="T58" fmla="*/ 1816 w 4041"/>
              <a:gd name="T59" fmla="*/ 2124 h 4324"/>
              <a:gd name="T60" fmla="*/ 1816 w 4041"/>
              <a:gd name="T61" fmla="*/ 522 h 4324"/>
              <a:gd name="T62" fmla="*/ 30 w 4041"/>
              <a:gd name="T63" fmla="*/ 2136 h 4324"/>
              <a:gd name="T64" fmla="*/ 0 w 4041"/>
              <a:gd name="T65" fmla="*/ 2112 h 4324"/>
              <a:gd name="T66" fmla="*/ 14 w 4041"/>
              <a:gd name="T67" fmla="*/ 514 h 4324"/>
              <a:gd name="T68" fmla="*/ 57 w 4041"/>
              <a:gd name="T69" fmla="*/ 514 h 4324"/>
              <a:gd name="T70" fmla="*/ 71 w 4041"/>
              <a:gd name="T71" fmla="*/ 2112 h 4324"/>
              <a:gd name="T72" fmla="*/ 40 w 4041"/>
              <a:gd name="T73" fmla="*/ 2136 h 4324"/>
              <a:gd name="T74" fmla="*/ 79 w 4041"/>
              <a:gd name="T75" fmla="*/ 3881 h 4324"/>
              <a:gd name="T76" fmla="*/ 208 w 4041"/>
              <a:gd name="T77" fmla="*/ 3873 h 4324"/>
              <a:gd name="T78" fmla="*/ 226 w 4041"/>
              <a:gd name="T79" fmla="*/ 4324 h 4324"/>
              <a:gd name="T80" fmla="*/ 881 w 4041"/>
              <a:gd name="T81" fmla="*/ 3881 h 4324"/>
              <a:gd name="T82" fmla="*/ 927 w 4041"/>
              <a:gd name="T83" fmla="*/ 3873 h 4324"/>
              <a:gd name="T84" fmla="*/ 959 w 4041"/>
              <a:gd name="T85" fmla="*/ 4324 h 4324"/>
              <a:gd name="T86" fmla="*/ 2874 w 4041"/>
              <a:gd name="T87" fmla="*/ 3881 h 4324"/>
              <a:gd name="T88" fmla="*/ 2916 w 4041"/>
              <a:gd name="T89" fmla="*/ 3873 h 4324"/>
              <a:gd name="T90" fmla="*/ 2934 w 4041"/>
              <a:gd name="T91" fmla="*/ 4324 h 4324"/>
              <a:gd name="T92" fmla="*/ 3894 w 4041"/>
              <a:gd name="T93" fmla="*/ 3881 h 4324"/>
              <a:gd name="T94" fmla="*/ 4023 w 4041"/>
              <a:gd name="T95" fmla="*/ 3875 h 4324"/>
              <a:gd name="T96" fmla="*/ 4041 w 4041"/>
              <a:gd name="T97" fmla="*/ 4324 h 4324"/>
              <a:gd name="T98" fmla="*/ 2777 w 4041"/>
              <a:gd name="T99" fmla="*/ 443 h 4324"/>
              <a:gd name="T100" fmla="*/ 2648 w 4041"/>
              <a:gd name="T101" fmla="*/ 449 h 4324"/>
              <a:gd name="T102" fmla="*/ 2629 w 4041"/>
              <a:gd name="T103" fmla="*/ 0 h 4324"/>
              <a:gd name="T104" fmla="*/ 418 w 4041"/>
              <a:gd name="T105" fmla="*/ 449 h 4324"/>
              <a:gd name="T106" fmla="*/ 291 w 4041"/>
              <a:gd name="T107" fmla="*/ 455 h 4324"/>
              <a:gd name="T108" fmla="*/ 271 w 4041"/>
              <a:gd name="T109" fmla="*/ 0 h 4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041" h="4324">
                <a:moveTo>
                  <a:pt x="2306" y="2190"/>
                </a:moveTo>
                <a:lnTo>
                  <a:pt x="2355" y="2190"/>
                </a:lnTo>
                <a:lnTo>
                  <a:pt x="2361" y="2190"/>
                </a:lnTo>
                <a:lnTo>
                  <a:pt x="2367" y="2192"/>
                </a:lnTo>
                <a:lnTo>
                  <a:pt x="2373" y="2196"/>
                </a:lnTo>
                <a:lnTo>
                  <a:pt x="2377" y="2200"/>
                </a:lnTo>
                <a:lnTo>
                  <a:pt x="2381" y="2204"/>
                </a:lnTo>
                <a:lnTo>
                  <a:pt x="2383" y="2208"/>
                </a:lnTo>
                <a:lnTo>
                  <a:pt x="2385" y="2214"/>
                </a:lnTo>
                <a:lnTo>
                  <a:pt x="2385" y="2220"/>
                </a:lnTo>
                <a:lnTo>
                  <a:pt x="2385" y="3788"/>
                </a:lnTo>
                <a:lnTo>
                  <a:pt x="2385" y="3794"/>
                </a:lnTo>
                <a:lnTo>
                  <a:pt x="2383" y="3798"/>
                </a:lnTo>
                <a:lnTo>
                  <a:pt x="2381" y="3804"/>
                </a:lnTo>
                <a:lnTo>
                  <a:pt x="2377" y="3808"/>
                </a:lnTo>
                <a:lnTo>
                  <a:pt x="2373" y="3812"/>
                </a:lnTo>
                <a:lnTo>
                  <a:pt x="2367" y="3814"/>
                </a:lnTo>
                <a:lnTo>
                  <a:pt x="2361" y="3816"/>
                </a:lnTo>
                <a:lnTo>
                  <a:pt x="2355" y="3818"/>
                </a:lnTo>
                <a:lnTo>
                  <a:pt x="2306" y="3818"/>
                </a:lnTo>
                <a:lnTo>
                  <a:pt x="2300" y="3816"/>
                </a:lnTo>
                <a:lnTo>
                  <a:pt x="2294" y="3814"/>
                </a:lnTo>
                <a:lnTo>
                  <a:pt x="2290" y="3812"/>
                </a:lnTo>
                <a:lnTo>
                  <a:pt x="2286" y="3808"/>
                </a:lnTo>
                <a:lnTo>
                  <a:pt x="2282" y="3804"/>
                </a:lnTo>
                <a:lnTo>
                  <a:pt x="2278" y="3798"/>
                </a:lnTo>
                <a:lnTo>
                  <a:pt x="2276" y="3794"/>
                </a:lnTo>
                <a:lnTo>
                  <a:pt x="2276" y="3788"/>
                </a:lnTo>
                <a:lnTo>
                  <a:pt x="2276" y="2220"/>
                </a:lnTo>
                <a:lnTo>
                  <a:pt x="2276" y="2214"/>
                </a:lnTo>
                <a:lnTo>
                  <a:pt x="2278" y="2208"/>
                </a:lnTo>
                <a:lnTo>
                  <a:pt x="2282" y="2204"/>
                </a:lnTo>
                <a:lnTo>
                  <a:pt x="2286" y="2200"/>
                </a:lnTo>
                <a:lnTo>
                  <a:pt x="2290" y="2196"/>
                </a:lnTo>
                <a:lnTo>
                  <a:pt x="2294" y="2192"/>
                </a:lnTo>
                <a:lnTo>
                  <a:pt x="2300" y="2190"/>
                </a:lnTo>
                <a:lnTo>
                  <a:pt x="2306" y="2190"/>
                </a:lnTo>
                <a:close/>
                <a:moveTo>
                  <a:pt x="1462" y="2190"/>
                </a:moveTo>
                <a:lnTo>
                  <a:pt x="1557" y="2190"/>
                </a:lnTo>
                <a:lnTo>
                  <a:pt x="1563" y="2190"/>
                </a:lnTo>
                <a:lnTo>
                  <a:pt x="1569" y="2192"/>
                </a:lnTo>
                <a:lnTo>
                  <a:pt x="1573" y="2196"/>
                </a:lnTo>
                <a:lnTo>
                  <a:pt x="1579" y="2200"/>
                </a:lnTo>
                <a:lnTo>
                  <a:pt x="1581" y="2204"/>
                </a:lnTo>
                <a:lnTo>
                  <a:pt x="1585" y="2208"/>
                </a:lnTo>
                <a:lnTo>
                  <a:pt x="1587" y="2214"/>
                </a:lnTo>
                <a:lnTo>
                  <a:pt x="1587" y="2220"/>
                </a:lnTo>
                <a:lnTo>
                  <a:pt x="1587" y="3788"/>
                </a:lnTo>
                <a:lnTo>
                  <a:pt x="1587" y="3794"/>
                </a:lnTo>
                <a:lnTo>
                  <a:pt x="1585" y="3798"/>
                </a:lnTo>
                <a:lnTo>
                  <a:pt x="1581" y="3804"/>
                </a:lnTo>
                <a:lnTo>
                  <a:pt x="1579" y="3808"/>
                </a:lnTo>
                <a:lnTo>
                  <a:pt x="1573" y="3812"/>
                </a:lnTo>
                <a:lnTo>
                  <a:pt x="1569" y="3814"/>
                </a:lnTo>
                <a:lnTo>
                  <a:pt x="1563" y="3816"/>
                </a:lnTo>
                <a:lnTo>
                  <a:pt x="1557" y="3818"/>
                </a:lnTo>
                <a:lnTo>
                  <a:pt x="1462" y="3818"/>
                </a:lnTo>
                <a:lnTo>
                  <a:pt x="1456" y="3816"/>
                </a:lnTo>
                <a:lnTo>
                  <a:pt x="1450" y="3814"/>
                </a:lnTo>
                <a:lnTo>
                  <a:pt x="1446" y="3812"/>
                </a:lnTo>
                <a:lnTo>
                  <a:pt x="1440" y="3808"/>
                </a:lnTo>
                <a:lnTo>
                  <a:pt x="1436" y="3804"/>
                </a:lnTo>
                <a:lnTo>
                  <a:pt x="1434" y="3798"/>
                </a:lnTo>
                <a:lnTo>
                  <a:pt x="1432" y="3794"/>
                </a:lnTo>
                <a:lnTo>
                  <a:pt x="1432" y="3788"/>
                </a:lnTo>
                <a:lnTo>
                  <a:pt x="1432" y="2220"/>
                </a:lnTo>
                <a:lnTo>
                  <a:pt x="1432" y="2214"/>
                </a:lnTo>
                <a:lnTo>
                  <a:pt x="1434" y="2208"/>
                </a:lnTo>
                <a:lnTo>
                  <a:pt x="1436" y="2204"/>
                </a:lnTo>
                <a:lnTo>
                  <a:pt x="1440" y="2200"/>
                </a:lnTo>
                <a:lnTo>
                  <a:pt x="1446" y="2196"/>
                </a:lnTo>
                <a:lnTo>
                  <a:pt x="1450" y="2192"/>
                </a:lnTo>
                <a:lnTo>
                  <a:pt x="1456" y="2190"/>
                </a:lnTo>
                <a:lnTo>
                  <a:pt x="1462" y="2190"/>
                </a:lnTo>
                <a:close/>
                <a:moveTo>
                  <a:pt x="428" y="2190"/>
                </a:moveTo>
                <a:lnTo>
                  <a:pt x="438" y="2190"/>
                </a:lnTo>
                <a:lnTo>
                  <a:pt x="444" y="2190"/>
                </a:lnTo>
                <a:lnTo>
                  <a:pt x="450" y="2192"/>
                </a:lnTo>
                <a:lnTo>
                  <a:pt x="454" y="2196"/>
                </a:lnTo>
                <a:lnTo>
                  <a:pt x="460" y="2200"/>
                </a:lnTo>
                <a:lnTo>
                  <a:pt x="462" y="2204"/>
                </a:lnTo>
                <a:lnTo>
                  <a:pt x="467" y="2208"/>
                </a:lnTo>
                <a:lnTo>
                  <a:pt x="469" y="2214"/>
                </a:lnTo>
                <a:lnTo>
                  <a:pt x="469" y="2220"/>
                </a:lnTo>
                <a:lnTo>
                  <a:pt x="469" y="3788"/>
                </a:lnTo>
                <a:lnTo>
                  <a:pt x="469" y="3794"/>
                </a:lnTo>
                <a:lnTo>
                  <a:pt x="467" y="3798"/>
                </a:lnTo>
                <a:lnTo>
                  <a:pt x="462" y="3804"/>
                </a:lnTo>
                <a:lnTo>
                  <a:pt x="460" y="3808"/>
                </a:lnTo>
                <a:lnTo>
                  <a:pt x="454" y="3812"/>
                </a:lnTo>
                <a:lnTo>
                  <a:pt x="450" y="3814"/>
                </a:lnTo>
                <a:lnTo>
                  <a:pt x="444" y="3816"/>
                </a:lnTo>
                <a:lnTo>
                  <a:pt x="438" y="3818"/>
                </a:lnTo>
                <a:lnTo>
                  <a:pt x="428" y="3818"/>
                </a:lnTo>
                <a:lnTo>
                  <a:pt x="422" y="3816"/>
                </a:lnTo>
                <a:lnTo>
                  <a:pt x="416" y="3814"/>
                </a:lnTo>
                <a:lnTo>
                  <a:pt x="412" y="3812"/>
                </a:lnTo>
                <a:lnTo>
                  <a:pt x="408" y="3808"/>
                </a:lnTo>
                <a:lnTo>
                  <a:pt x="404" y="3804"/>
                </a:lnTo>
                <a:lnTo>
                  <a:pt x="400" y="3798"/>
                </a:lnTo>
                <a:lnTo>
                  <a:pt x="400" y="3794"/>
                </a:lnTo>
                <a:lnTo>
                  <a:pt x="398" y="3788"/>
                </a:lnTo>
                <a:lnTo>
                  <a:pt x="398" y="2220"/>
                </a:lnTo>
                <a:lnTo>
                  <a:pt x="400" y="2214"/>
                </a:lnTo>
                <a:lnTo>
                  <a:pt x="400" y="2208"/>
                </a:lnTo>
                <a:lnTo>
                  <a:pt x="404" y="2204"/>
                </a:lnTo>
                <a:lnTo>
                  <a:pt x="408" y="2200"/>
                </a:lnTo>
                <a:lnTo>
                  <a:pt x="412" y="2196"/>
                </a:lnTo>
                <a:lnTo>
                  <a:pt x="416" y="2192"/>
                </a:lnTo>
                <a:lnTo>
                  <a:pt x="422" y="2190"/>
                </a:lnTo>
                <a:lnTo>
                  <a:pt x="428" y="2190"/>
                </a:lnTo>
                <a:close/>
                <a:moveTo>
                  <a:pt x="685" y="510"/>
                </a:moveTo>
                <a:lnTo>
                  <a:pt x="780" y="510"/>
                </a:lnTo>
                <a:lnTo>
                  <a:pt x="786" y="510"/>
                </a:lnTo>
                <a:lnTo>
                  <a:pt x="792" y="512"/>
                </a:lnTo>
                <a:lnTo>
                  <a:pt x="796" y="514"/>
                </a:lnTo>
                <a:lnTo>
                  <a:pt x="802" y="518"/>
                </a:lnTo>
                <a:lnTo>
                  <a:pt x="804" y="522"/>
                </a:lnTo>
                <a:lnTo>
                  <a:pt x="808" y="528"/>
                </a:lnTo>
                <a:lnTo>
                  <a:pt x="810" y="534"/>
                </a:lnTo>
                <a:lnTo>
                  <a:pt x="810" y="540"/>
                </a:lnTo>
                <a:lnTo>
                  <a:pt x="810" y="2106"/>
                </a:lnTo>
                <a:lnTo>
                  <a:pt x="810" y="2112"/>
                </a:lnTo>
                <a:lnTo>
                  <a:pt x="808" y="2118"/>
                </a:lnTo>
                <a:lnTo>
                  <a:pt x="804" y="2124"/>
                </a:lnTo>
                <a:lnTo>
                  <a:pt x="802" y="2128"/>
                </a:lnTo>
                <a:lnTo>
                  <a:pt x="796" y="2132"/>
                </a:lnTo>
                <a:lnTo>
                  <a:pt x="792" y="2134"/>
                </a:lnTo>
                <a:lnTo>
                  <a:pt x="786" y="2136"/>
                </a:lnTo>
                <a:lnTo>
                  <a:pt x="780" y="2136"/>
                </a:lnTo>
                <a:lnTo>
                  <a:pt x="685" y="2136"/>
                </a:lnTo>
                <a:lnTo>
                  <a:pt x="679" y="2136"/>
                </a:lnTo>
                <a:lnTo>
                  <a:pt x="672" y="2134"/>
                </a:lnTo>
                <a:lnTo>
                  <a:pt x="668" y="2132"/>
                </a:lnTo>
                <a:lnTo>
                  <a:pt x="662" y="2128"/>
                </a:lnTo>
                <a:lnTo>
                  <a:pt x="660" y="2124"/>
                </a:lnTo>
                <a:lnTo>
                  <a:pt x="656" y="2118"/>
                </a:lnTo>
                <a:lnTo>
                  <a:pt x="654" y="2112"/>
                </a:lnTo>
                <a:lnTo>
                  <a:pt x="654" y="2106"/>
                </a:lnTo>
                <a:lnTo>
                  <a:pt x="654" y="540"/>
                </a:lnTo>
                <a:lnTo>
                  <a:pt x="654" y="534"/>
                </a:lnTo>
                <a:lnTo>
                  <a:pt x="656" y="528"/>
                </a:lnTo>
                <a:lnTo>
                  <a:pt x="660" y="522"/>
                </a:lnTo>
                <a:lnTo>
                  <a:pt x="662" y="518"/>
                </a:lnTo>
                <a:lnTo>
                  <a:pt x="668" y="514"/>
                </a:lnTo>
                <a:lnTo>
                  <a:pt x="672" y="512"/>
                </a:lnTo>
                <a:lnTo>
                  <a:pt x="679" y="510"/>
                </a:lnTo>
                <a:lnTo>
                  <a:pt x="685" y="510"/>
                </a:lnTo>
                <a:close/>
                <a:moveTo>
                  <a:pt x="3342" y="510"/>
                </a:moveTo>
                <a:lnTo>
                  <a:pt x="3352" y="510"/>
                </a:lnTo>
                <a:lnTo>
                  <a:pt x="3358" y="510"/>
                </a:lnTo>
                <a:lnTo>
                  <a:pt x="3364" y="512"/>
                </a:lnTo>
                <a:lnTo>
                  <a:pt x="3369" y="514"/>
                </a:lnTo>
                <a:lnTo>
                  <a:pt x="3375" y="518"/>
                </a:lnTo>
                <a:lnTo>
                  <a:pt x="3377" y="522"/>
                </a:lnTo>
                <a:lnTo>
                  <a:pt x="3381" y="528"/>
                </a:lnTo>
                <a:lnTo>
                  <a:pt x="3383" y="534"/>
                </a:lnTo>
                <a:lnTo>
                  <a:pt x="3383" y="540"/>
                </a:lnTo>
                <a:lnTo>
                  <a:pt x="3383" y="2106"/>
                </a:lnTo>
                <a:lnTo>
                  <a:pt x="3383" y="2112"/>
                </a:lnTo>
                <a:lnTo>
                  <a:pt x="3381" y="2118"/>
                </a:lnTo>
                <a:lnTo>
                  <a:pt x="3377" y="2124"/>
                </a:lnTo>
                <a:lnTo>
                  <a:pt x="3375" y="2128"/>
                </a:lnTo>
                <a:lnTo>
                  <a:pt x="3369" y="2132"/>
                </a:lnTo>
                <a:lnTo>
                  <a:pt x="3364" y="2134"/>
                </a:lnTo>
                <a:lnTo>
                  <a:pt x="3358" y="2136"/>
                </a:lnTo>
                <a:lnTo>
                  <a:pt x="3352" y="2136"/>
                </a:lnTo>
                <a:lnTo>
                  <a:pt x="3342" y="2136"/>
                </a:lnTo>
                <a:lnTo>
                  <a:pt x="3336" y="2136"/>
                </a:lnTo>
                <a:lnTo>
                  <a:pt x="3330" y="2134"/>
                </a:lnTo>
                <a:lnTo>
                  <a:pt x="3326" y="2132"/>
                </a:lnTo>
                <a:lnTo>
                  <a:pt x="3322" y="2128"/>
                </a:lnTo>
                <a:lnTo>
                  <a:pt x="3318" y="2124"/>
                </a:lnTo>
                <a:lnTo>
                  <a:pt x="3314" y="2118"/>
                </a:lnTo>
                <a:lnTo>
                  <a:pt x="3314" y="2112"/>
                </a:lnTo>
                <a:lnTo>
                  <a:pt x="3312" y="2106"/>
                </a:lnTo>
                <a:lnTo>
                  <a:pt x="3312" y="540"/>
                </a:lnTo>
                <a:lnTo>
                  <a:pt x="3314" y="534"/>
                </a:lnTo>
                <a:lnTo>
                  <a:pt x="3314" y="528"/>
                </a:lnTo>
                <a:lnTo>
                  <a:pt x="3318" y="522"/>
                </a:lnTo>
                <a:lnTo>
                  <a:pt x="3322" y="518"/>
                </a:lnTo>
                <a:lnTo>
                  <a:pt x="3326" y="514"/>
                </a:lnTo>
                <a:lnTo>
                  <a:pt x="3330" y="512"/>
                </a:lnTo>
                <a:lnTo>
                  <a:pt x="3336" y="510"/>
                </a:lnTo>
                <a:lnTo>
                  <a:pt x="3342" y="510"/>
                </a:lnTo>
                <a:close/>
                <a:moveTo>
                  <a:pt x="1842" y="510"/>
                </a:moveTo>
                <a:lnTo>
                  <a:pt x="1850" y="510"/>
                </a:lnTo>
                <a:lnTo>
                  <a:pt x="1856" y="510"/>
                </a:lnTo>
                <a:lnTo>
                  <a:pt x="1862" y="512"/>
                </a:lnTo>
                <a:lnTo>
                  <a:pt x="1868" y="514"/>
                </a:lnTo>
                <a:lnTo>
                  <a:pt x="1872" y="518"/>
                </a:lnTo>
                <a:lnTo>
                  <a:pt x="1876" y="522"/>
                </a:lnTo>
                <a:lnTo>
                  <a:pt x="1878" y="528"/>
                </a:lnTo>
                <a:lnTo>
                  <a:pt x="1880" y="534"/>
                </a:lnTo>
                <a:lnTo>
                  <a:pt x="1880" y="540"/>
                </a:lnTo>
                <a:lnTo>
                  <a:pt x="1880" y="2106"/>
                </a:lnTo>
                <a:lnTo>
                  <a:pt x="1880" y="2112"/>
                </a:lnTo>
                <a:lnTo>
                  <a:pt x="1878" y="2118"/>
                </a:lnTo>
                <a:lnTo>
                  <a:pt x="1876" y="2124"/>
                </a:lnTo>
                <a:lnTo>
                  <a:pt x="1872" y="2128"/>
                </a:lnTo>
                <a:lnTo>
                  <a:pt x="1868" y="2132"/>
                </a:lnTo>
                <a:lnTo>
                  <a:pt x="1862" y="2134"/>
                </a:lnTo>
                <a:lnTo>
                  <a:pt x="1856" y="2136"/>
                </a:lnTo>
                <a:lnTo>
                  <a:pt x="1850" y="2136"/>
                </a:lnTo>
                <a:lnTo>
                  <a:pt x="1842" y="2136"/>
                </a:lnTo>
                <a:lnTo>
                  <a:pt x="1836" y="2136"/>
                </a:lnTo>
                <a:lnTo>
                  <a:pt x="1830" y="2134"/>
                </a:lnTo>
                <a:lnTo>
                  <a:pt x="1824" y="2132"/>
                </a:lnTo>
                <a:lnTo>
                  <a:pt x="1820" y="2128"/>
                </a:lnTo>
                <a:lnTo>
                  <a:pt x="1816" y="2124"/>
                </a:lnTo>
                <a:lnTo>
                  <a:pt x="1814" y="2118"/>
                </a:lnTo>
                <a:lnTo>
                  <a:pt x="1811" y="2112"/>
                </a:lnTo>
                <a:lnTo>
                  <a:pt x="1811" y="2106"/>
                </a:lnTo>
                <a:lnTo>
                  <a:pt x="1811" y="540"/>
                </a:lnTo>
                <a:lnTo>
                  <a:pt x="1811" y="534"/>
                </a:lnTo>
                <a:lnTo>
                  <a:pt x="1814" y="528"/>
                </a:lnTo>
                <a:lnTo>
                  <a:pt x="1816" y="522"/>
                </a:lnTo>
                <a:lnTo>
                  <a:pt x="1820" y="518"/>
                </a:lnTo>
                <a:lnTo>
                  <a:pt x="1824" y="514"/>
                </a:lnTo>
                <a:lnTo>
                  <a:pt x="1830" y="512"/>
                </a:lnTo>
                <a:lnTo>
                  <a:pt x="1836" y="510"/>
                </a:lnTo>
                <a:lnTo>
                  <a:pt x="1842" y="510"/>
                </a:lnTo>
                <a:close/>
                <a:moveTo>
                  <a:pt x="40" y="2136"/>
                </a:moveTo>
                <a:lnTo>
                  <a:pt x="30" y="2136"/>
                </a:lnTo>
                <a:lnTo>
                  <a:pt x="24" y="2136"/>
                </a:lnTo>
                <a:lnTo>
                  <a:pt x="18" y="2134"/>
                </a:lnTo>
                <a:lnTo>
                  <a:pt x="14" y="2132"/>
                </a:lnTo>
                <a:lnTo>
                  <a:pt x="10" y="2128"/>
                </a:lnTo>
                <a:lnTo>
                  <a:pt x="6" y="2124"/>
                </a:lnTo>
                <a:lnTo>
                  <a:pt x="2" y="2118"/>
                </a:lnTo>
                <a:lnTo>
                  <a:pt x="0" y="2112"/>
                </a:lnTo>
                <a:lnTo>
                  <a:pt x="0" y="2106"/>
                </a:lnTo>
                <a:lnTo>
                  <a:pt x="0" y="540"/>
                </a:lnTo>
                <a:lnTo>
                  <a:pt x="0" y="534"/>
                </a:lnTo>
                <a:lnTo>
                  <a:pt x="2" y="528"/>
                </a:lnTo>
                <a:lnTo>
                  <a:pt x="6" y="522"/>
                </a:lnTo>
                <a:lnTo>
                  <a:pt x="10" y="518"/>
                </a:lnTo>
                <a:lnTo>
                  <a:pt x="14" y="514"/>
                </a:lnTo>
                <a:lnTo>
                  <a:pt x="18" y="512"/>
                </a:lnTo>
                <a:lnTo>
                  <a:pt x="24" y="510"/>
                </a:lnTo>
                <a:lnTo>
                  <a:pt x="30" y="510"/>
                </a:lnTo>
                <a:lnTo>
                  <a:pt x="40" y="510"/>
                </a:lnTo>
                <a:lnTo>
                  <a:pt x="46" y="510"/>
                </a:lnTo>
                <a:lnTo>
                  <a:pt x="53" y="512"/>
                </a:lnTo>
                <a:lnTo>
                  <a:pt x="57" y="514"/>
                </a:lnTo>
                <a:lnTo>
                  <a:pt x="61" y="518"/>
                </a:lnTo>
                <a:lnTo>
                  <a:pt x="65" y="522"/>
                </a:lnTo>
                <a:lnTo>
                  <a:pt x="69" y="528"/>
                </a:lnTo>
                <a:lnTo>
                  <a:pt x="71" y="534"/>
                </a:lnTo>
                <a:lnTo>
                  <a:pt x="71" y="540"/>
                </a:lnTo>
                <a:lnTo>
                  <a:pt x="71" y="2106"/>
                </a:lnTo>
                <a:lnTo>
                  <a:pt x="71" y="2112"/>
                </a:lnTo>
                <a:lnTo>
                  <a:pt x="69" y="2118"/>
                </a:lnTo>
                <a:lnTo>
                  <a:pt x="65" y="2124"/>
                </a:lnTo>
                <a:lnTo>
                  <a:pt x="61" y="2128"/>
                </a:lnTo>
                <a:lnTo>
                  <a:pt x="57" y="2132"/>
                </a:lnTo>
                <a:lnTo>
                  <a:pt x="53" y="2134"/>
                </a:lnTo>
                <a:lnTo>
                  <a:pt x="46" y="2136"/>
                </a:lnTo>
                <a:lnTo>
                  <a:pt x="40" y="2136"/>
                </a:lnTo>
                <a:close/>
                <a:moveTo>
                  <a:pt x="226" y="4324"/>
                </a:moveTo>
                <a:lnTo>
                  <a:pt x="71" y="4324"/>
                </a:lnTo>
                <a:lnTo>
                  <a:pt x="71" y="3901"/>
                </a:lnTo>
                <a:lnTo>
                  <a:pt x="71" y="3895"/>
                </a:lnTo>
                <a:lnTo>
                  <a:pt x="73" y="3889"/>
                </a:lnTo>
                <a:lnTo>
                  <a:pt x="75" y="3885"/>
                </a:lnTo>
                <a:lnTo>
                  <a:pt x="79" y="3881"/>
                </a:lnTo>
                <a:lnTo>
                  <a:pt x="83" y="3877"/>
                </a:lnTo>
                <a:lnTo>
                  <a:pt x="89" y="3873"/>
                </a:lnTo>
                <a:lnTo>
                  <a:pt x="95" y="3873"/>
                </a:lnTo>
                <a:lnTo>
                  <a:pt x="101" y="3871"/>
                </a:lnTo>
                <a:lnTo>
                  <a:pt x="196" y="3871"/>
                </a:lnTo>
                <a:lnTo>
                  <a:pt x="202" y="3873"/>
                </a:lnTo>
                <a:lnTo>
                  <a:pt x="208" y="3873"/>
                </a:lnTo>
                <a:lnTo>
                  <a:pt x="212" y="3877"/>
                </a:lnTo>
                <a:lnTo>
                  <a:pt x="216" y="3881"/>
                </a:lnTo>
                <a:lnTo>
                  <a:pt x="220" y="3885"/>
                </a:lnTo>
                <a:lnTo>
                  <a:pt x="224" y="3889"/>
                </a:lnTo>
                <a:lnTo>
                  <a:pt x="226" y="3895"/>
                </a:lnTo>
                <a:lnTo>
                  <a:pt x="226" y="3901"/>
                </a:lnTo>
                <a:lnTo>
                  <a:pt x="226" y="4324"/>
                </a:lnTo>
                <a:close/>
                <a:moveTo>
                  <a:pt x="959" y="4324"/>
                </a:moveTo>
                <a:lnTo>
                  <a:pt x="872" y="4324"/>
                </a:lnTo>
                <a:lnTo>
                  <a:pt x="872" y="3901"/>
                </a:lnTo>
                <a:lnTo>
                  <a:pt x="872" y="3895"/>
                </a:lnTo>
                <a:lnTo>
                  <a:pt x="874" y="3889"/>
                </a:lnTo>
                <a:lnTo>
                  <a:pt x="878" y="3885"/>
                </a:lnTo>
                <a:lnTo>
                  <a:pt x="881" y="3881"/>
                </a:lnTo>
                <a:lnTo>
                  <a:pt x="887" y="3877"/>
                </a:lnTo>
                <a:lnTo>
                  <a:pt x="891" y="3873"/>
                </a:lnTo>
                <a:lnTo>
                  <a:pt x="897" y="3873"/>
                </a:lnTo>
                <a:lnTo>
                  <a:pt x="903" y="3871"/>
                </a:lnTo>
                <a:lnTo>
                  <a:pt x="913" y="3871"/>
                </a:lnTo>
                <a:lnTo>
                  <a:pt x="919" y="3873"/>
                </a:lnTo>
                <a:lnTo>
                  <a:pt x="927" y="3873"/>
                </a:lnTo>
                <a:lnTo>
                  <a:pt x="935" y="3877"/>
                </a:lnTo>
                <a:lnTo>
                  <a:pt x="941" y="3881"/>
                </a:lnTo>
                <a:lnTo>
                  <a:pt x="949" y="3885"/>
                </a:lnTo>
                <a:lnTo>
                  <a:pt x="953" y="3889"/>
                </a:lnTo>
                <a:lnTo>
                  <a:pt x="957" y="3895"/>
                </a:lnTo>
                <a:lnTo>
                  <a:pt x="959" y="3901"/>
                </a:lnTo>
                <a:lnTo>
                  <a:pt x="959" y="4324"/>
                </a:lnTo>
                <a:close/>
                <a:moveTo>
                  <a:pt x="2934" y="4324"/>
                </a:moveTo>
                <a:lnTo>
                  <a:pt x="2866" y="4324"/>
                </a:lnTo>
                <a:lnTo>
                  <a:pt x="2866" y="3901"/>
                </a:lnTo>
                <a:lnTo>
                  <a:pt x="2866" y="3895"/>
                </a:lnTo>
                <a:lnTo>
                  <a:pt x="2868" y="3889"/>
                </a:lnTo>
                <a:lnTo>
                  <a:pt x="2870" y="3885"/>
                </a:lnTo>
                <a:lnTo>
                  <a:pt x="2874" y="3881"/>
                </a:lnTo>
                <a:lnTo>
                  <a:pt x="2878" y="3877"/>
                </a:lnTo>
                <a:lnTo>
                  <a:pt x="2884" y="3873"/>
                </a:lnTo>
                <a:lnTo>
                  <a:pt x="2890" y="3873"/>
                </a:lnTo>
                <a:lnTo>
                  <a:pt x="2896" y="3871"/>
                </a:lnTo>
                <a:lnTo>
                  <a:pt x="2904" y="3871"/>
                </a:lnTo>
                <a:lnTo>
                  <a:pt x="2910" y="3873"/>
                </a:lnTo>
                <a:lnTo>
                  <a:pt x="2916" y="3873"/>
                </a:lnTo>
                <a:lnTo>
                  <a:pt x="2922" y="3877"/>
                </a:lnTo>
                <a:lnTo>
                  <a:pt x="2926" y="3881"/>
                </a:lnTo>
                <a:lnTo>
                  <a:pt x="2930" y="3885"/>
                </a:lnTo>
                <a:lnTo>
                  <a:pt x="2932" y="3889"/>
                </a:lnTo>
                <a:lnTo>
                  <a:pt x="2934" y="3895"/>
                </a:lnTo>
                <a:lnTo>
                  <a:pt x="2934" y="3901"/>
                </a:lnTo>
                <a:lnTo>
                  <a:pt x="2934" y="4324"/>
                </a:lnTo>
                <a:close/>
                <a:moveTo>
                  <a:pt x="4041" y="4324"/>
                </a:moveTo>
                <a:lnTo>
                  <a:pt x="3886" y="4324"/>
                </a:lnTo>
                <a:lnTo>
                  <a:pt x="3886" y="3903"/>
                </a:lnTo>
                <a:lnTo>
                  <a:pt x="3886" y="3897"/>
                </a:lnTo>
                <a:lnTo>
                  <a:pt x="3888" y="3891"/>
                </a:lnTo>
                <a:lnTo>
                  <a:pt x="3890" y="3887"/>
                </a:lnTo>
                <a:lnTo>
                  <a:pt x="3894" y="3881"/>
                </a:lnTo>
                <a:lnTo>
                  <a:pt x="3898" y="3879"/>
                </a:lnTo>
                <a:lnTo>
                  <a:pt x="3904" y="3875"/>
                </a:lnTo>
                <a:lnTo>
                  <a:pt x="3910" y="3873"/>
                </a:lnTo>
                <a:lnTo>
                  <a:pt x="3916" y="3873"/>
                </a:lnTo>
                <a:lnTo>
                  <a:pt x="4011" y="3873"/>
                </a:lnTo>
                <a:lnTo>
                  <a:pt x="4017" y="3873"/>
                </a:lnTo>
                <a:lnTo>
                  <a:pt x="4023" y="3875"/>
                </a:lnTo>
                <a:lnTo>
                  <a:pt x="4027" y="3879"/>
                </a:lnTo>
                <a:lnTo>
                  <a:pt x="4031" y="3881"/>
                </a:lnTo>
                <a:lnTo>
                  <a:pt x="4035" y="3887"/>
                </a:lnTo>
                <a:lnTo>
                  <a:pt x="4039" y="3891"/>
                </a:lnTo>
                <a:lnTo>
                  <a:pt x="4039" y="3897"/>
                </a:lnTo>
                <a:lnTo>
                  <a:pt x="4041" y="3903"/>
                </a:lnTo>
                <a:lnTo>
                  <a:pt x="4041" y="4324"/>
                </a:lnTo>
                <a:close/>
                <a:moveTo>
                  <a:pt x="2629" y="0"/>
                </a:moveTo>
                <a:lnTo>
                  <a:pt x="2785" y="0"/>
                </a:lnTo>
                <a:lnTo>
                  <a:pt x="2785" y="421"/>
                </a:lnTo>
                <a:lnTo>
                  <a:pt x="2785" y="427"/>
                </a:lnTo>
                <a:lnTo>
                  <a:pt x="2783" y="433"/>
                </a:lnTo>
                <a:lnTo>
                  <a:pt x="2781" y="437"/>
                </a:lnTo>
                <a:lnTo>
                  <a:pt x="2777" y="443"/>
                </a:lnTo>
                <a:lnTo>
                  <a:pt x="2773" y="445"/>
                </a:lnTo>
                <a:lnTo>
                  <a:pt x="2767" y="449"/>
                </a:lnTo>
                <a:lnTo>
                  <a:pt x="2761" y="451"/>
                </a:lnTo>
                <a:lnTo>
                  <a:pt x="2755" y="451"/>
                </a:lnTo>
                <a:lnTo>
                  <a:pt x="2660" y="451"/>
                </a:lnTo>
                <a:lnTo>
                  <a:pt x="2654" y="451"/>
                </a:lnTo>
                <a:lnTo>
                  <a:pt x="2648" y="449"/>
                </a:lnTo>
                <a:lnTo>
                  <a:pt x="2644" y="445"/>
                </a:lnTo>
                <a:lnTo>
                  <a:pt x="2639" y="443"/>
                </a:lnTo>
                <a:lnTo>
                  <a:pt x="2635" y="437"/>
                </a:lnTo>
                <a:lnTo>
                  <a:pt x="2631" y="433"/>
                </a:lnTo>
                <a:lnTo>
                  <a:pt x="2631" y="427"/>
                </a:lnTo>
                <a:lnTo>
                  <a:pt x="2629" y="421"/>
                </a:lnTo>
                <a:lnTo>
                  <a:pt x="2629" y="0"/>
                </a:lnTo>
                <a:close/>
                <a:moveTo>
                  <a:pt x="271" y="0"/>
                </a:moveTo>
                <a:lnTo>
                  <a:pt x="426" y="0"/>
                </a:lnTo>
                <a:lnTo>
                  <a:pt x="426" y="427"/>
                </a:lnTo>
                <a:lnTo>
                  <a:pt x="426" y="433"/>
                </a:lnTo>
                <a:lnTo>
                  <a:pt x="424" y="439"/>
                </a:lnTo>
                <a:lnTo>
                  <a:pt x="422" y="445"/>
                </a:lnTo>
                <a:lnTo>
                  <a:pt x="418" y="449"/>
                </a:lnTo>
                <a:lnTo>
                  <a:pt x="414" y="453"/>
                </a:lnTo>
                <a:lnTo>
                  <a:pt x="408" y="455"/>
                </a:lnTo>
                <a:lnTo>
                  <a:pt x="402" y="457"/>
                </a:lnTo>
                <a:lnTo>
                  <a:pt x="396" y="457"/>
                </a:lnTo>
                <a:lnTo>
                  <a:pt x="301" y="457"/>
                </a:lnTo>
                <a:lnTo>
                  <a:pt x="295" y="457"/>
                </a:lnTo>
                <a:lnTo>
                  <a:pt x="291" y="455"/>
                </a:lnTo>
                <a:lnTo>
                  <a:pt x="285" y="453"/>
                </a:lnTo>
                <a:lnTo>
                  <a:pt x="281" y="449"/>
                </a:lnTo>
                <a:lnTo>
                  <a:pt x="277" y="445"/>
                </a:lnTo>
                <a:lnTo>
                  <a:pt x="275" y="439"/>
                </a:lnTo>
                <a:lnTo>
                  <a:pt x="273" y="433"/>
                </a:lnTo>
                <a:lnTo>
                  <a:pt x="271" y="427"/>
                </a:lnTo>
                <a:lnTo>
                  <a:pt x="271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86413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10755455" y="6353132"/>
            <a:ext cx="466550" cy="232317"/>
          </a:xfrm>
          <a:custGeom>
            <a:avLst/>
            <a:gdLst/>
            <a:ahLst/>
            <a:cxnLst/>
            <a:rect l="l" t="t" r="r" b="b"/>
            <a:pathLst>
              <a:path w="316865" h="158750">
                <a:moveTo>
                  <a:pt x="316636" y="0"/>
                </a:moveTo>
                <a:lnTo>
                  <a:pt x="116992" y="0"/>
                </a:lnTo>
                <a:lnTo>
                  <a:pt x="0" y="158699"/>
                </a:lnTo>
                <a:lnTo>
                  <a:pt x="199631" y="158699"/>
                </a:lnTo>
                <a:lnTo>
                  <a:pt x="316636" y="0"/>
                </a:lnTo>
                <a:close/>
              </a:path>
            </a:pathLst>
          </a:custGeom>
          <a:solidFill>
            <a:srgbClr val="F07F00"/>
          </a:solidFill>
        </p:spPr>
        <p:txBody>
          <a:bodyPr wrap="square" lIns="0" tIns="0" rIns="0" bIns="0" rtlCol="0"/>
          <a:lstStyle/>
          <a:p>
            <a:endParaRPr sz="2634"/>
          </a:p>
        </p:txBody>
      </p:sp>
      <p:pic>
        <p:nvPicPr>
          <p:cNvPr id="17" name="bg object 1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1095830" y="6353133"/>
            <a:ext cx="528094" cy="232242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i-FI"/>
              <a:t>RIA - RKL yrittäjäpäivä 1.11.2023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1AED7B-A413-499C-BFEC-2C44E7B22186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171" b="0" i="0">
                <a:solidFill>
                  <a:srgbClr val="575756"/>
                </a:solidFill>
                <a:latin typeface="SkattaSans-Medium"/>
                <a:cs typeface="SkattaSans-Medium"/>
              </a:defRPr>
            </a:lvl1pPr>
          </a:lstStyle>
          <a:p>
            <a:pPr marL="55756">
              <a:lnSpc>
                <a:spcPts val="1376"/>
              </a:lnSpc>
            </a:pPr>
            <a:fld id="{81D60167-4931-47E6-BA6A-407CBD079E47}" type="slidenum">
              <a:rPr lang="fi-FI" smtClean="0"/>
              <a:pPr marL="55756">
                <a:lnSpc>
                  <a:spcPts val="1376"/>
                </a:lnSpc>
              </a:pPr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330937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Gra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2663" y="1844675"/>
            <a:ext cx="4897437" cy="41052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11900" y="1844675"/>
            <a:ext cx="4897438" cy="41052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98BFDB1-1AF8-D2CF-AEF4-FECA97794DC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72464" y="6237312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10" name="Freeform 14">
              <a:extLst>
                <a:ext uri="{FF2B5EF4-FFF2-40B4-BE49-F238E27FC236}">
                  <a16:creationId xmlns:a16="http://schemas.microsoft.com/office/drawing/2014/main" id="{8FEDEAB9-9BD4-0320-B56F-1602E436E74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15">
              <a:extLst>
                <a:ext uri="{FF2B5EF4-FFF2-40B4-BE49-F238E27FC236}">
                  <a16:creationId xmlns:a16="http://schemas.microsoft.com/office/drawing/2014/main" id="{F478B5E3-EF46-B57C-5B50-A27ED4E3119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0770BBDE-EBF1-5EE6-A46D-78BCCF0C8D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47535C-3650-457E-9085-B6705B731AED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688C15E3-BCCB-1A79-CBD4-A633EAD69C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IA - RKL yrittäjäpäivä 1.11.2023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EF5190F6-4564-3B8C-58C3-DFF07AA43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6539260E-8052-161F-08A9-F538252C9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9372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and Half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2313" y="692150"/>
            <a:ext cx="5282103" cy="19446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D35860-D619-4742-AAC1-8357DB4257F2}" type="datetime1">
              <a:rPr lang="fi-FI" smtClean="0">
                <a:solidFill>
                  <a:srgbClr val="00205B"/>
                </a:solidFill>
              </a:rPr>
              <a:t>31.10.2023</a:t>
            </a:fld>
            <a:endParaRPr lang="en-US">
              <a:solidFill>
                <a:srgbClr val="00205B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>
                <a:solidFill>
                  <a:srgbClr val="00205B"/>
                </a:solidFill>
              </a:rPr>
              <a:t>RIA - RKL yrittäjäpäivä 1.11.2023</a:t>
            </a:r>
            <a:endParaRPr lang="en-US">
              <a:solidFill>
                <a:srgbClr val="00205B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>
                <a:solidFill>
                  <a:srgbClr val="00205B"/>
                </a:solidFill>
              </a:rPr>
              <a:pPr/>
              <a:t>‹#›</a:t>
            </a:fld>
            <a:endParaRPr lang="en-US">
              <a:solidFill>
                <a:srgbClr val="00205B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22301" y="2852738"/>
            <a:ext cx="5281673" cy="30972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96001" y="0"/>
            <a:ext cx="6096001" cy="6237288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1966350"/>
      </p:ext>
    </p:extLst>
  </p:cSld>
  <p:clrMapOvr>
    <a:masterClrMapping/>
  </p:clrMapOvr>
  <p:transition spd="med"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A3C83BC9-04A6-46F2-B818-E54D964E4B05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RIA - RKL yrittäjäpäivä 1.11.202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Freeform 12">
            <a:extLst>
              <a:ext uri="{FF2B5EF4-FFF2-40B4-BE49-F238E27FC236}">
                <a16:creationId xmlns:a16="http://schemas.microsoft.com/office/drawing/2014/main" id="{3F6E8BCC-5353-CF01-3647-1ADAA000F05D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511825" y="0"/>
            <a:ext cx="7680176" cy="3431498"/>
          </a:xfrm>
          <a:custGeom>
            <a:avLst/>
            <a:gdLst>
              <a:gd name="T0" fmla="*/ 1118 w 7030"/>
              <a:gd name="T1" fmla="*/ 1944 h 3141"/>
              <a:gd name="T2" fmla="*/ 1437 w 7030"/>
              <a:gd name="T3" fmla="*/ 1496 h 3141"/>
              <a:gd name="T4" fmla="*/ 1756 w 7030"/>
              <a:gd name="T5" fmla="*/ 1049 h 3141"/>
              <a:gd name="T6" fmla="*/ 1757 w 7030"/>
              <a:gd name="T7" fmla="*/ 1049 h 3141"/>
              <a:gd name="T8" fmla="*/ 2131 w 7030"/>
              <a:gd name="T9" fmla="*/ 1570 h 3141"/>
              <a:gd name="T10" fmla="*/ 2504 w 7030"/>
              <a:gd name="T11" fmla="*/ 2092 h 3141"/>
              <a:gd name="T12" fmla="*/ 2184 w 7030"/>
              <a:gd name="T13" fmla="*/ 2542 h 3141"/>
              <a:gd name="T14" fmla="*/ 1864 w 7030"/>
              <a:gd name="T15" fmla="*/ 2991 h 3141"/>
              <a:gd name="T16" fmla="*/ 1491 w 7030"/>
              <a:gd name="T17" fmla="*/ 2468 h 3141"/>
              <a:gd name="T18" fmla="*/ 1118 w 7030"/>
              <a:gd name="T19" fmla="*/ 1944 h 3141"/>
              <a:gd name="T20" fmla="*/ 1971 w 7030"/>
              <a:gd name="T21" fmla="*/ 1049 h 3141"/>
              <a:gd name="T22" fmla="*/ 2556 w 7030"/>
              <a:gd name="T23" fmla="*/ 1049 h 3141"/>
              <a:gd name="T24" fmla="*/ 2928 w 7030"/>
              <a:gd name="T25" fmla="*/ 1570 h 3141"/>
              <a:gd name="T26" fmla="*/ 3300 w 7030"/>
              <a:gd name="T27" fmla="*/ 2092 h 3141"/>
              <a:gd name="T28" fmla="*/ 2718 w 7030"/>
              <a:gd name="T29" fmla="*/ 2092 h 3141"/>
              <a:gd name="T30" fmla="*/ 2345 w 7030"/>
              <a:gd name="T31" fmla="*/ 1570 h 3141"/>
              <a:gd name="T32" fmla="*/ 1971 w 7030"/>
              <a:gd name="T33" fmla="*/ 1049 h 3141"/>
              <a:gd name="T34" fmla="*/ 2769 w 7030"/>
              <a:gd name="T35" fmla="*/ 1048 h 3141"/>
              <a:gd name="T36" fmla="*/ 3088 w 7030"/>
              <a:gd name="T37" fmla="*/ 598 h 3141"/>
              <a:gd name="T38" fmla="*/ 3408 w 7030"/>
              <a:gd name="T39" fmla="*/ 150 h 3141"/>
              <a:gd name="T40" fmla="*/ 3781 w 7030"/>
              <a:gd name="T41" fmla="*/ 672 h 3141"/>
              <a:gd name="T42" fmla="*/ 4154 w 7030"/>
              <a:gd name="T43" fmla="*/ 1196 h 3141"/>
              <a:gd name="T44" fmla="*/ 3835 w 7030"/>
              <a:gd name="T45" fmla="*/ 1644 h 3141"/>
              <a:gd name="T46" fmla="*/ 3516 w 7030"/>
              <a:gd name="T47" fmla="*/ 2092 h 3141"/>
              <a:gd name="T48" fmla="*/ 3142 w 7030"/>
              <a:gd name="T49" fmla="*/ 1570 h 3141"/>
              <a:gd name="T50" fmla="*/ 2769 w 7030"/>
              <a:gd name="T51" fmla="*/ 1048 h 3141"/>
              <a:gd name="T52" fmla="*/ 6017 w 7030"/>
              <a:gd name="T53" fmla="*/ 0 h 3141"/>
              <a:gd name="T54" fmla="*/ 5645 w 7030"/>
              <a:gd name="T55" fmla="*/ 522 h 3141"/>
              <a:gd name="T56" fmla="*/ 5274 w 7030"/>
              <a:gd name="T57" fmla="*/ 1045 h 3141"/>
              <a:gd name="T58" fmla="*/ 4767 w 7030"/>
              <a:gd name="T59" fmla="*/ 1045 h 3141"/>
              <a:gd name="T60" fmla="*/ 4261 w 7030"/>
              <a:gd name="T61" fmla="*/ 1045 h 3141"/>
              <a:gd name="T62" fmla="*/ 3889 w 7030"/>
              <a:gd name="T63" fmla="*/ 522 h 3141"/>
              <a:gd name="T64" fmla="*/ 3517 w 7030"/>
              <a:gd name="T65" fmla="*/ 0 h 3141"/>
              <a:gd name="T66" fmla="*/ 3009 w 7030"/>
              <a:gd name="T67" fmla="*/ 0 h 3141"/>
              <a:gd name="T68" fmla="*/ 2503 w 7030"/>
              <a:gd name="T69" fmla="*/ 0 h 3141"/>
              <a:gd name="T70" fmla="*/ 2131 w 7030"/>
              <a:gd name="T71" fmla="*/ 522 h 3141"/>
              <a:gd name="T72" fmla="*/ 1759 w 7030"/>
              <a:gd name="T73" fmla="*/ 1045 h 3141"/>
              <a:gd name="T74" fmla="*/ 1253 w 7030"/>
              <a:gd name="T75" fmla="*/ 1045 h 3141"/>
              <a:gd name="T76" fmla="*/ 747 w 7030"/>
              <a:gd name="T77" fmla="*/ 1045 h 3141"/>
              <a:gd name="T78" fmla="*/ 373 w 7030"/>
              <a:gd name="T79" fmla="*/ 1569 h 3141"/>
              <a:gd name="T80" fmla="*/ 0 w 7030"/>
              <a:gd name="T81" fmla="*/ 2093 h 3141"/>
              <a:gd name="T82" fmla="*/ 504 w 7030"/>
              <a:gd name="T83" fmla="*/ 2093 h 3141"/>
              <a:gd name="T84" fmla="*/ 1010 w 7030"/>
              <a:gd name="T85" fmla="*/ 2093 h 3141"/>
              <a:gd name="T86" fmla="*/ 1383 w 7030"/>
              <a:gd name="T87" fmla="*/ 2617 h 3141"/>
              <a:gd name="T88" fmla="*/ 1756 w 7030"/>
              <a:gd name="T89" fmla="*/ 3141 h 3141"/>
              <a:gd name="T90" fmla="*/ 1757 w 7030"/>
              <a:gd name="T91" fmla="*/ 3141 h 3141"/>
              <a:gd name="T92" fmla="*/ 1971 w 7030"/>
              <a:gd name="T93" fmla="*/ 3141 h 3141"/>
              <a:gd name="T94" fmla="*/ 2770 w 7030"/>
              <a:gd name="T95" fmla="*/ 3141 h 3141"/>
              <a:gd name="T96" fmla="*/ 3143 w 7030"/>
              <a:gd name="T97" fmla="*/ 2617 h 3141"/>
              <a:gd name="T98" fmla="*/ 3517 w 7030"/>
              <a:gd name="T99" fmla="*/ 2093 h 3141"/>
              <a:gd name="T100" fmla="*/ 4022 w 7030"/>
              <a:gd name="T101" fmla="*/ 2093 h 3141"/>
              <a:gd name="T102" fmla="*/ 4527 w 7030"/>
              <a:gd name="T103" fmla="*/ 2093 h 3141"/>
              <a:gd name="T104" fmla="*/ 4898 w 7030"/>
              <a:gd name="T105" fmla="*/ 1571 h 3141"/>
              <a:gd name="T106" fmla="*/ 5271 w 7030"/>
              <a:gd name="T107" fmla="*/ 1049 h 3141"/>
              <a:gd name="T108" fmla="*/ 5777 w 7030"/>
              <a:gd name="T109" fmla="*/ 1049 h 3141"/>
              <a:gd name="T110" fmla="*/ 6283 w 7030"/>
              <a:gd name="T111" fmla="*/ 1049 h 3141"/>
              <a:gd name="T112" fmla="*/ 6657 w 7030"/>
              <a:gd name="T113" fmla="*/ 524 h 3141"/>
              <a:gd name="T114" fmla="*/ 7030 w 7030"/>
              <a:gd name="T115" fmla="*/ 0 h 3141"/>
              <a:gd name="T116" fmla="*/ 6524 w 7030"/>
              <a:gd name="T117" fmla="*/ 0 h 3141"/>
              <a:gd name="T118" fmla="*/ 6017 w 7030"/>
              <a:gd name="T119" fmla="*/ 0 h 3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030" h="3141">
                <a:moveTo>
                  <a:pt x="1118" y="1944"/>
                </a:moveTo>
                <a:lnTo>
                  <a:pt x="1437" y="1496"/>
                </a:lnTo>
                <a:lnTo>
                  <a:pt x="1756" y="1049"/>
                </a:lnTo>
                <a:lnTo>
                  <a:pt x="1757" y="1049"/>
                </a:lnTo>
                <a:lnTo>
                  <a:pt x="2131" y="1570"/>
                </a:lnTo>
                <a:lnTo>
                  <a:pt x="2504" y="2092"/>
                </a:lnTo>
                <a:lnTo>
                  <a:pt x="2184" y="2542"/>
                </a:lnTo>
                <a:lnTo>
                  <a:pt x="1864" y="2991"/>
                </a:lnTo>
                <a:lnTo>
                  <a:pt x="1491" y="2468"/>
                </a:lnTo>
                <a:lnTo>
                  <a:pt x="1118" y="1944"/>
                </a:lnTo>
                <a:close/>
                <a:moveTo>
                  <a:pt x="1971" y="1049"/>
                </a:moveTo>
                <a:lnTo>
                  <a:pt x="2556" y="1049"/>
                </a:lnTo>
                <a:lnTo>
                  <a:pt x="2928" y="1570"/>
                </a:lnTo>
                <a:lnTo>
                  <a:pt x="3300" y="2092"/>
                </a:lnTo>
                <a:lnTo>
                  <a:pt x="2718" y="2092"/>
                </a:lnTo>
                <a:lnTo>
                  <a:pt x="2345" y="1570"/>
                </a:lnTo>
                <a:lnTo>
                  <a:pt x="1971" y="1049"/>
                </a:lnTo>
                <a:close/>
                <a:moveTo>
                  <a:pt x="2769" y="1048"/>
                </a:moveTo>
                <a:lnTo>
                  <a:pt x="3088" y="598"/>
                </a:lnTo>
                <a:lnTo>
                  <a:pt x="3408" y="150"/>
                </a:lnTo>
                <a:lnTo>
                  <a:pt x="3781" y="672"/>
                </a:lnTo>
                <a:lnTo>
                  <a:pt x="4154" y="1196"/>
                </a:lnTo>
                <a:lnTo>
                  <a:pt x="3835" y="1644"/>
                </a:lnTo>
                <a:lnTo>
                  <a:pt x="3516" y="2092"/>
                </a:lnTo>
                <a:lnTo>
                  <a:pt x="3142" y="1570"/>
                </a:lnTo>
                <a:lnTo>
                  <a:pt x="2769" y="1048"/>
                </a:lnTo>
                <a:close/>
                <a:moveTo>
                  <a:pt x="6017" y="0"/>
                </a:moveTo>
                <a:lnTo>
                  <a:pt x="5645" y="522"/>
                </a:lnTo>
                <a:lnTo>
                  <a:pt x="5274" y="1045"/>
                </a:lnTo>
                <a:lnTo>
                  <a:pt x="4767" y="1045"/>
                </a:lnTo>
                <a:lnTo>
                  <a:pt x="4261" y="1045"/>
                </a:lnTo>
                <a:lnTo>
                  <a:pt x="3889" y="522"/>
                </a:lnTo>
                <a:lnTo>
                  <a:pt x="3517" y="0"/>
                </a:lnTo>
                <a:lnTo>
                  <a:pt x="3009" y="0"/>
                </a:lnTo>
                <a:lnTo>
                  <a:pt x="2503" y="0"/>
                </a:lnTo>
                <a:lnTo>
                  <a:pt x="2131" y="522"/>
                </a:lnTo>
                <a:lnTo>
                  <a:pt x="1759" y="1045"/>
                </a:lnTo>
                <a:lnTo>
                  <a:pt x="1253" y="1045"/>
                </a:lnTo>
                <a:lnTo>
                  <a:pt x="747" y="1045"/>
                </a:lnTo>
                <a:lnTo>
                  <a:pt x="373" y="1569"/>
                </a:lnTo>
                <a:lnTo>
                  <a:pt x="0" y="2093"/>
                </a:lnTo>
                <a:lnTo>
                  <a:pt x="504" y="2093"/>
                </a:lnTo>
                <a:lnTo>
                  <a:pt x="1010" y="2093"/>
                </a:lnTo>
                <a:lnTo>
                  <a:pt x="1383" y="2617"/>
                </a:lnTo>
                <a:lnTo>
                  <a:pt x="1756" y="3141"/>
                </a:lnTo>
                <a:lnTo>
                  <a:pt x="1757" y="3141"/>
                </a:lnTo>
                <a:lnTo>
                  <a:pt x="1971" y="3141"/>
                </a:lnTo>
                <a:lnTo>
                  <a:pt x="2770" y="3141"/>
                </a:lnTo>
                <a:lnTo>
                  <a:pt x="3143" y="2617"/>
                </a:lnTo>
                <a:lnTo>
                  <a:pt x="3517" y="2093"/>
                </a:lnTo>
                <a:lnTo>
                  <a:pt x="4022" y="2093"/>
                </a:lnTo>
                <a:lnTo>
                  <a:pt x="4527" y="2093"/>
                </a:lnTo>
                <a:lnTo>
                  <a:pt x="4898" y="1571"/>
                </a:lnTo>
                <a:lnTo>
                  <a:pt x="5271" y="1049"/>
                </a:lnTo>
                <a:lnTo>
                  <a:pt x="5777" y="1049"/>
                </a:lnTo>
                <a:lnTo>
                  <a:pt x="6283" y="1049"/>
                </a:lnTo>
                <a:lnTo>
                  <a:pt x="6657" y="524"/>
                </a:lnTo>
                <a:lnTo>
                  <a:pt x="7030" y="0"/>
                </a:lnTo>
                <a:lnTo>
                  <a:pt x="6524" y="0"/>
                </a:lnTo>
                <a:lnTo>
                  <a:pt x="6017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D384FA6-9F8B-73E8-9AB3-FEA935225E2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83432" y="3429000"/>
            <a:ext cx="4057774" cy="576000"/>
            <a:chOff x="-649288" y="2474913"/>
            <a:chExt cx="13498513" cy="1916112"/>
          </a:xfrm>
        </p:grpSpPr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3BFC7D33-8963-577B-3B56-732392617D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15">
              <a:extLst>
                <a:ext uri="{FF2B5EF4-FFF2-40B4-BE49-F238E27FC236}">
                  <a16:creationId xmlns:a16="http://schemas.microsoft.com/office/drawing/2014/main" id="{C0136CD6-A287-2A01-CF08-A624338CE4D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41210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Whi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7375C49-1E87-46DC-9C31-C304F24F3BD2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RIA - RKL yrittäjäpäivä 1.11.202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reeform 12">
            <a:extLst>
              <a:ext uri="{FF2B5EF4-FFF2-40B4-BE49-F238E27FC236}">
                <a16:creationId xmlns:a16="http://schemas.microsoft.com/office/drawing/2014/main" id="{FD3B0C9F-AEDD-C4B5-1CD9-890AB177B89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511825" y="0"/>
            <a:ext cx="7680176" cy="3431498"/>
          </a:xfrm>
          <a:custGeom>
            <a:avLst/>
            <a:gdLst>
              <a:gd name="T0" fmla="*/ 1118 w 7030"/>
              <a:gd name="T1" fmla="*/ 1944 h 3141"/>
              <a:gd name="T2" fmla="*/ 1437 w 7030"/>
              <a:gd name="T3" fmla="*/ 1496 h 3141"/>
              <a:gd name="T4" fmla="*/ 1756 w 7030"/>
              <a:gd name="T5" fmla="*/ 1049 h 3141"/>
              <a:gd name="T6" fmla="*/ 1757 w 7030"/>
              <a:gd name="T7" fmla="*/ 1049 h 3141"/>
              <a:gd name="T8" fmla="*/ 2131 w 7030"/>
              <a:gd name="T9" fmla="*/ 1570 h 3141"/>
              <a:gd name="T10" fmla="*/ 2504 w 7030"/>
              <a:gd name="T11" fmla="*/ 2092 h 3141"/>
              <a:gd name="T12" fmla="*/ 2184 w 7030"/>
              <a:gd name="T13" fmla="*/ 2542 h 3141"/>
              <a:gd name="T14" fmla="*/ 1864 w 7030"/>
              <a:gd name="T15" fmla="*/ 2991 h 3141"/>
              <a:gd name="T16" fmla="*/ 1491 w 7030"/>
              <a:gd name="T17" fmla="*/ 2468 h 3141"/>
              <a:gd name="T18" fmla="*/ 1118 w 7030"/>
              <a:gd name="T19" fmla="*/ 1944 h 3141"/>
              <a:gd name="T20" fmla="*/ 1971 w 7030"/>
              <a:gd name="T21" fmla="*/ 1049 h 3141"/>
              <a:gd name="T22" fmla="*/ 2556 w 7030"/>
              <a:gd name="T23" fmla="*/ 1049 h 3141"/>
              <a:gd name="T24" fmla="*/ 2928 w 7030"/>
              <a:gd name="T25" fmla="*/ 1570 h 3141"/>
              <a:gd name="T26" fmla="*/ 3300 w 7030"/>
              <a:gd name="T27" fmla="*/ 2092 h 3141"/>
              <a:gd name="T28" fmla="*/ 2718 w 7030"/>
              <a:gd name="T29" fmla="*/ 2092 h 3141"/>
              <a:gd name="T30" fmla="*/ 2345 w 7030"/>
              <a:gd name="T31" fmla="*/ 1570 h 3141"/>
              <a:gd name="T32" fmla="*/ 1971 w 7030"/>
              <a:gd name="T33" fmla="*/ 1049 h 3141"/>
              <a:gd name="T34" fmla="*/ 2769 w 7030"/>
              <a:gd name="T35" fmla="*/ 1048 h 3141"/>
              <a:gd name="T36" fmla="*/ 3088 w 7030"/>
              <a:gd name="T37" fmla="*/ 598 h 3141"/>
              <a:gd name="T38" fmla="*/ 3408 w 7030"/>
              <a:gd name="T39" fmla="*/ 150 h 3141"/>
              <a:gd name="T40" fmla="*/ 3781 w 7030"/>
              <a:gd name="T41" fmla="*/ 672 h 3141"/>
              <a:gd name="T42" fmla="*/ 4154 w 7030"/>
              <a:gd name="T43" fmla="*/ 1196 h 3141"/>
              <a:gd name="T44" fmla="*/ 3835 w 7030"/>
              <a:gd name="T45" fmla="*/ 1644 h 3141"/>
              <a:gd name="T46" fmla="*/ 3516 w 7030"/>
              <a:gd name="T47" fmla="*/ 2092 h 3141"/>
              <a:gd name="T48" fmla="*/ 3142 w 7030"/>
              <a:gd name="T49" fmla="*/ 1570 h 3141"/>
              <a:gd name="T50" fmla="*/ 2769 w 7030"/>
              <a:gd name="T51" fmla="*/ 1048 h 3141"/>
              <a:gd name="T52" fmla="*/ 6017 w 7030"/>
              <a:gd name="T53" fmla="*/ 0 h 3141"/>
              <a:gd name="T54" fmla="*/ 5645 w 7030"/>
              <a:gd name="T55" fmla="*/ 522 h 3141"/>
              <a:gd name="T56" fmla="*/ 5274 w 7030"/>
              <a:gd name="T57" fmla="*/ 1045 h 3141"/>
              <a:gd name="T58" fmla="*/ 4767 w 7030"/>
              <a:gd name="T59" fmla="*/ 1045 h 3141"/>
              <a:gd name="T60" fmla="*/ 4261 w 7030"/>
              <a:gd name="T61" fmla="*/ 1045 h 3141"/>
              <a:gd name="T62" fmla="*/ 3889 w 7030"/>
              <a:gd name="T63" fmla="*/ 522 h 3141"/>
              <a:gd name="T64" fmla="*/ 3517 w 7030"/>
              <a:gd name="T65" fmla="*/ 0 h 3141"/>
              <a:gd name="T66" fmla="*/ 3009 w 7030"/>
              <a:gd name="T67" fmla="*/ 0 h 3141"/>
              <a:gd name="T68" fmla="*/ 2503 w 7030"/>
              <a:gd name="T69" fmla="*/ 0 h 3141"/>
              <a:gd name="T70" fmla="*/ 2131 w 7030"/>
              <a:gd name="T71" fmla="*/ 522 h 3141"/>
              <a:gd name="T72" fmla="*/ 1759 w 7030"/>
              <a:gd name="T73" fmla="*/ 1045 h 3141"/>
              <a:gd name="T74" fmla="*/ 1253 w 7030"/>
              <a:gd name="T75" fmla="*/ 1045 h 3141"/>
              <a:gd name="T76" fmla="*/ 747 w 7030"/>
              <a:gd name="T77" fmla="*/ 1045 h 3141"/>
              <a:gd name="T78" fmla="*/ 373 w 7030"/>
              <a:gd name="T79" fmla="*/ 1569 h 3141"/>
              <a:gd name="T80" fmla="*/ 0 w 7030"/>
              <a:gd name="T81" fmla="*/ 2093 h 3141"/>
              <a:gd name="T82" fmla="*/ 504 w 7030"/>
              <a:gd name="T83" fmla="*/ 2093 h 3141"/>
              <a:gd name="T84" fmla="*/ 1010 w 7030"/>
              <a:gd name="T85" fmla="*/ 2093 h 3141"/>
              <a:gd name="T86" fmla="*/ 1383 w 7030"/>
              <a:gd name="T87" fmla="*/ 2617 h 3141"/>
              <a:gd name="T88" fmla="*/ 1756 w 7030"/>
              <a:gd name="T89" fmla="*/ 3141 h 3141"/>
              <a:gd name="T90" fmla="*/ 1757 w 7030"/>
              <a:gd name="T91" fmla="*/ 3141 h 3141"/>
              <a:gd name="T92" fmla="*/ 1971 w 7030"/>
              <a:gd name="T93" fmla="*/ 3141 h 3141"/>
              <a:gd name="T94" fmla="*/ 2770 w 7030"/>
              <a:gd name="T95" fmla="*/ 3141 h 3141"/>
              <a:gd name="T96" fmla="*/ 3143 w 7030"/>
              <a:gd name="T97" fmla="*/ 2617 h 3141"/>
              <a:gd name="T98" fmla="*/ 3517 w 7030"/>
              <a:gd name="T99" fmla="*/ 2093 h 3141"/>
              <a:gd name="T100" fmla="*/ 4022 w 7030"/>
              <a:gd name="T101" fmla="*/ 2093 h 3141"/>
              <a:gd name="T102" fmla="*/ 4527 w 7030"/>
              <a:gd name="T103" fmla="*/ 2093 h 3141"/>
              <a:gd name="T104" fmla="*/ 4898 w 7030"/>
              <a:gd name="T105" fmla="*/ 1571 h 3141"/>
              <a:gd name="T106" fmla="*/ 5271 w 7030"/>
              <a:gd name="T107" fmla="*/ 1049 h 3141"/>
              <a:gd name="T108" fmla="*/ 5777 w 7030"/>
              <a:gd name="T109" fmla="*/ 1049 h 3141"/>
              <a:gd name="T110" fmla="*/ 6283 w 7030"/>
              <a:gd name="T111" fmla="*/ 1049 h 3141"/>
              <a:gd name="T112" fmla="*/ 6657 w 7030"/>
              <a:gd name="T113" fmla="*/ 524 h 3141"/>
              <a:gd name="T114" fmla="*/ 7030 w 7030"/>
              <a:gd name="T115" fmla="*/ 0 h 3141"/>
              <a:gd name="T116" fmla="*/ 6524 w 7030"/>
              <a:gd name="T117" fmla="*/ 0 h 3141"/>
              <a:gd name="T118" fmla="*/ 6017 w 7030"/>
              <a:gd name="T119" fmla="*/ 0 h 3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030" h="3141">
                <a:moveTo>
                  <a:pt x="1118" y="1944"/>
                </a:moveTo>
                <a:lnTo>
                  <a:pt x="1437" y="1496"/>
                </a:lnTo>
                <a:lnTo>
                  <a:pt x="1756" y="1049"/>
                </a:lnTo>
                <a:lnTo>
                  <a:pt x="1757" y="1049"/>
                </a:lnTo>
                <a:lnTo>
                  <a:pt x="2131" y="1570"/>
                </a:lnTo>
                <a:lnTo>
                  <a:pt x="2504" y="2092"/>
                </a:lnTo>
                <a:lnTo>
                  <a:pt x="2184" y="2542"/>
                </a:lnTo>
                <a:lnTo>
                  <a:pt x="1864" y="2991"/>
                </a:lnTo>
                <a:lnTo>
                  <a:pt x="1491" y="2468"/>
                </a:lnTo>
                <a:lnTo>
                  <a:pt x="1118" y="1944"/>
                </a:lnTo>
                <a:close/>
                <a:moveTo>
                  <a:pt x="1971" y="1049"/>
                </a:moveTo>
                <a:lnTo>
                  <a:pt x="2556" y="1049"/>
                </a:lnTo>
                <a:lnTo>
                  <a:pt x="2928" y="1570"/>
                </a:lnTo>
                <a:lnTo>
                  <a:pt x="3300" y="2092"/>
                </a:lnTo>
                <a:lnTo>
                  <a:pt x="2718" y="2092"/>
                </a:lnTo>
                <a:lnTo>
                  <a:pt x="2345" y="1570"/>
                </a:lnTo>
                <a:lnTo>
                  <a:pt x="1971" y="1049"/>
                </a:lnTo>
                <a:close/>
                <a:moveTo>
                  <a:pt x="2769" y="1048"/>
                </a:moveTo>
                <a:lnTo>
                  <a:pt x="3088" y="598"/>
                </a:lnTo>
                <a:lnTo>
                  <a:pt x="3408" y="150"/>
                </a:lnTo>
                <a:lnTo>
                  <a:pt x="3781" y="672"/>
                </a:lnTo>
                <a:lnTo>
                  <a:pt x="4154" y="1196"/>
                </a:lnTo>
                <a:lnTo>
                  <a:pt x="3835" y="1644"/>
                </a:lnTo>
                <a:lnTo>
                  <a:pt x="3516" y="2092"/>
                </a:lnTo>
                <a:lnTo>
                  <a:pt x="3142" y="1570"/>
                </a:lnTo>
                <a:lnTo>
                  <a:pt x="2769" y="1048"/>
                </a:lnTo>
                <a:close/>
                <a:moveTo>
                  <a:pt x="6017" y="0"/>
                </a:moveTo>
                <a:lnTo>
                  <a:pt x="5645" y="522"/>
                </a:lnTo>
                <a:lnTo>
                  <a:pt x="5274" y="1045"/>
                </a:lnTo>
                <a:lnTo>
                  <a:pt x="4767" y="1045"/>
                </a:lnTo>
                <a:lnTo>
                  <a:pt x="4261" y="1045"/>
                </a:lnTo>
                <a:lnTo>
                  <a:pt x="3889" y="522"/>
                </a:lnTo>
                <a:lnTo>
                  <a:pt x="3517" y="0"/>
                </a:lnTo>
                <a:lnTo>
                  <a:pt x="3009" y="0"/>
                </a:lnTo>
                <a:lnTo>
                  <a:pt x="2503" y="0"/>
                </a:lnTo>
                <a:lnTo>
                  <a:pt x="2131" y="522"/>
                </a:lnTo>
                <a:lnTo>
                  <a:pt x="1759" y="1045"/>
                </a:lnTo>
                <a:lnTo>
                  <a:pt x="1253" y="1045"/>
                </a:lnTo>
                <a:lnTo>
                  <a:pt x="747" y="1045"/>
                </a:lnTo>
                <a:lnTo>
                  <a:pt x="373" y="1569"/>
                </a:lnTo>
                <a:lnTo>
                  <a:pt x="0" y="2093"/>
                </a:lnTo>
                <a:lnTo>
                  <a:pt x="504" y="2093"/>
                </a:lnTo>
                <a:lnTo>
                  <a:pt x="1010" y="2093"/>
                </a:lnTo>
                <a:lnTo>
                  <a:pt x="1383" y="2617"/>
                </a:lnTo>
                <a:lnTo>
                  <a:pt x="1756" y="3141"/>
                </a:lnTo>
                <a:lnTo>
                  <a:pt x="1757" y="3141"/>
                </a:lnTo>
                <a:lnTo>
                  <a:pt x="1971" y="3141"/>
                </a:lnTo>
                <a:lnTo>
                  <a:pt x="2770" y="3141"/>
                </a:lnTo>
                <a:lnTo>
                  <a:pt x="3143" y="2617"/>
                </a:lnTo>
                <a:lnTo>
                  <a:pt x="3517" y="2093"/>
                </a:lnTo>
                <a:lnTo>
                  <a:pt x="4022" y="2093"/>
                </a:lnTo>
                <a:lnTo>
                  <a:pt x="4527" y="2093"/>
                </a:lnTo>
                <a:lnTo>
                  <a:pt x="4898" y="1571"/>
                </a:lnTo>
                <a:lnTo>
                  <a:pt x="5271" y="1049"/>
                </a:lnTo>
                <a:lnTo>
                  <a:pt x="5777" y="1049"/>
                </a:lnTo>
                <a:lnTo>
                  <a:pt x="6283" y="1049"/>
                </a:lnTo>
                <a:lnTo>
                  <a:pt x="6657" y="524"/>
                </a:lnTo>
                <a:lnTo>
                  <a:pt x="7030" y="0"/>
                </a:lnTo>
                <a:lnTo>
                  <a:pt x="6524" y="0"/>
                </a:lnTo>
                <a:lnTo>
                  <a:pt x="6017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5644471-4EF4-7102-424C-03A544F5AAA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83430" y="3429000"/>
            <a:ext cx="4057773" cy="576000"/>
            <a:chOff x="-649288" y="2474913"/>
            <a:chExt cx="13498513" cy="1916112"/>
          </a:xfrm>
        </p:grpSpPr>
        <p:sp>
          <p:nvSpPr>
            <p:cNvPr id="11" name="Freeform 14">
              <a:extLst>
                <a:ext uri="{FF2B5EF4-FFF2-40B4-BE49-F238E27FC236}">
                  <a16:creationId xmlns:a16="http://schemas.microsoft.com/office/drawing/2014/main" id="{CC2B5684-2D7A-A1AA-B905-5822C6DAD6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15">
              <a:extLst>
                <a:ext uri="{FF2B5EF4-FFF2-40B4-BE49-F238E27FC236}">
                  <a16:creationId xmlns:a16="http://schemas.microsoft.com/office/drawing/2014/main" id="{4340188D-3BEC-AFBB-0276-2185504EBB0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4238183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7B6DE2-71DF-4FD1-8F8F-6B150F76B6F3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0CC04ED-B65B-48C8-B52A-7CDD12C54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</p:spTree>
    <p:extLst>
      <p:ext uri="{BB962C8B-B14F-4D97-AF65-F5344CB8AC3E}">
        <p14:creationId xmlns:p14="http://schemas.microsoft.com/office/powerpoint/2010/main" val="653903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Gra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3EEEF34-1787-BA6A-F380-57EEB440B70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72464" y="6237312"/>
            <a:ext cx="1521663" cy="216000"/>
            <a:chOff x="-649288" y="2474913"/>
            <a:chExt cx="13498513" cy="1916112"/>
          </a:xfrm>
        </p:grpSpPr>
        <p:sp>
          <p:nvSpPr>
            <p:cNvPr id="7" name="Freeform 14">
              <a:extLst>
                <a:ext uri="{FF2B5EF4-FFF2-40B4-BE49-F238E27FC236}">
                  <a16:creationId xmlns:a16="http://schemas.microsoft.com/office/drawing/2014/main" id="{F375E352-ABC7-AC7F-000D-54AE1689E6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15">
              <a:extLst>
                <a:ext uri="{FF2B5EF4-FFF2-40B4-BE49-F238E27FC236}">
                  <a16:creationId xmlns:a16="http://schemas.microsoft.com/office/drawing/2014/main" id="{902C92C4-390B-6F36-7819-C2637371F49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0DC1F5FC-E9FE-1B02-2CB8-FF0E0A133F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279E7F-0385-490B-8FB9-AF5E2A3656D1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E2A5FDB0-B31D-48B9-3923-942C6FF878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RIA - RKL yrittäjäpäivä 1.11.2023</a:t>
            </a:r>
            <a:endParaRPr lang="en-US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71B32C20-501B-EA13-6D6B-B6C40F2807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8514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82663" y="404664"/>
            <a:ext cx="4537273" cy="1008063"/>
          </a:xfrm>
        </p:spPr>
        <p:txBody>
          <a:bodyPr tIns="144000" anchor="t" anchorCtr="0"/>
          <a:lstStyle>
            <a:lvl1pPr algn="l">
              <a:defRPr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982663" y="1844675"/>
            <a:ext cx="4537273" cy="4105275"/>
          </a:xfrm>
        </p:spPr>
        <p:txBody>
          <a:bodyPr/>
          <a:lstStyle>
            <a:lvl1pPr marL="361950" indent="-361950">
              <a:buFont typeface="+mj-lt"/>
              <a:buAutoNum type="arabicPeriod"/>
              <a:defRPr/>
            </a:lvl1pPr>
            <a:lvl2pPr marL="628650" indent="-266700">
              <a:defRPr/>
            </a:lvl2pPr>
            <a:lvl3pPr marL="895350" indent="-273050">
              <a:defRPr/>
            </a:lvl3pPr>
            <a:lvl4pPr marL="1162050" indent="-266700">
              <a:defRPr/>
            </a:lvl4pPr>
            <a:lvl5pPr marL="1438275" indent="-276225">
              <a:defRPr/>
            </a:lvl5pPr>
            <a:lvl6pPr marL="1704975" indent="-274638">
              <a:defRPr/>
            </a:lvl6pPr>
            <a:lvl7pPr marL="1971675" indent="-266700">
              <a:defRPr/>
            </a:lvl7pPr>
            <a:lvl8pPr marL="2238375" indent="-265113">
              <a:defRPr/>
            </a:lvl8pPr>
            <a:lvl9pPr marL="2514600" indent="-266700">
              <a:defRPr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74F47FE-16CB-4D94-8C1E-A34FF3E058FB}" type="datetime1">
              <a:rPr lang="fi-FI" smtClean="0">
                <a:solidFill>
                  <a:srgbClr val="FF6900"/>
                </a:solidFill>
              </a:rPr>
              <a:t>31.10.2023</a:t>
            </a:fld>
            <a:endParaRPr lang="en-US">
              <a:solidFill>
                <a:srgbClr val="FF69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i-FI">
                <a:solidFill>
                  <a:srgbClr val="FF6900"/>
                </a:solidFill>
              </a:rPr>
              <a:t>RIA - RKL yrittäjäpäivä 1.11.2023</a:t>
            </a:r>
            <a:endParaRPr lang="en-US">
              <a:solidFill>
                <a:srgbClr val="FF69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1FEE6BA-E83C-4FBF-B719-E6671631796F}" type="slidenum">
              <a:rPr lang="en-US" smtClean="0">
                <a:solidFill>
                  <a:srgbClr val="FF6900"/>
                </a:solidFill>
              </a:rPr>
              <a:pPr/>
              <a:t>‹#›</a:t>
            </a:fld>
            <a:endParaRPr lang="en-US">
              <a:solidFill>
                <a:srgbClr val="FF69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813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Gra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82663" y="404664"/>
            <a:ext cx="4537273" cy="1008063"/>
          </a:xfrm>
        </p:spPr>
        <p:txBody>
          <a:bodyPr tIns="144000" anchor="t" anchorCtr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982663" y="1844675"/>
            <a:ext cx="4537273" cy="4105275"/>
          </a:xfrm>
        </p:spPr>
        <p:txBody>
          <a:bodyPr/>
          <a:lstStyle>
            <a:lvl1pPr marL="361950" indent="-361950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628650" indent="-266700">
              <a:defRPr>
                <a:solidFill>
                  <a:schemeClr val="bg1"/>
                </a:solidFill>
              </a:defRPr>
            </a:lvl2pPr>
            <a:lvl3pPr marL="895350" indent="-273050">
              <a:defRPr>
                <a:solidFill>
                  <a:schemeClr val="bg1"/>
                </a:solidFill>
              </a:defRPr>
            </a:lvl3pPr>
            <a:lvl4pPr marL="1162050" indent="-266700">
              <a:defRPr>
                <a:solidFill>
                  <a:schemeClr val="bg1"/>
                </a:solidFill>
              </a:defRPr>
            </a:lvl4pPr>
            <a:lvl5pPr marL="1438275" indent="-276225">
              <a:defRPr>
                <a:solidFill>
                  <a:schemeClr val="bg1"/>
                </a:solidFill>
              </a:defRPr>
            </a:lvl5pPr>
            <a:lvl6pPr marL="1704975" indent="-274638">
              <a:defRPr>
                <a:solidFill>
                  <a:schemeClr val="bg1"/>
                </a:solidFill>
              </a:defRPr>
            </a:lvl6pPr>
            <a:lvl7pPr marL="1971675" indent="-266700">
              <a:defRPr>
                <a:solidFill>
                  <a:schemeClr val="bg1"/>
                </a:solidFill>
              </a:defRPr>
            </a:lvl7pPr>
            <a:lvl8pPr marL="2238375" indent="-265113">
              <a:defRPr>
                <a:solidFill>
                  <a:schemeClr val="bg1"/>
                </a:solidFill>
              </a:defRPr>
            </a:lvl8pPr>
            <a:lvl9pPr marL="2514600" indent="-26670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C9F978D-EA60-E03C-6DFB-9B487F8EB54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72464" y="6237312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10" name="Freeform 14">
              <a:extLst>
                <a:ext uri="{FF2B5EF4-FFF2-40B4-BE49-F238E27FC236}">
                  <a16:creationId xmlns:a16="http://schemas.microsoft.com/office/drawing/2014/main" id="{2F3CC0FE-0083-DB6D-8C9D-B0F6C53FEA9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15">
              <a:extLst>
                <a:ext uri="{FF2B5EF4-FFF2-40B4-BE49-F238E27FC236}">
                  <a16:creationId xmlns:a16="http://schemas.microsoft.com/office/drawing/2014/main" id="{5E24E1FD-7EA3-5FE2-FC30-3B0CC3AB680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7" name="Freeform 5">
            <a:extLst>
              <a:ext uri="{FF2B5EF4-FFF2-40B4-BE49-F238E27FC236}">
                <a16:creationId xmlns:a16="http://schemas.microsoft.com/office/drawing/2014/main" id="{388D8099-A1EE-CBE3-C02E-24DAC735E74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344310" y="0"/>
            <a:ext cx="3847690" cy="3429000"/>
          </a:xfrm>
          <a:custGeom>
            <a:avLst/>
            <a:gdLst>
              <a:gd name="T0" fmla="*/ 1508 w 3437"/>
              <a:gd name="T1" fmla="*/ 2040 h 3063"/>
              <a:gd name="T2" fmla="*/ 937 w 3437"/>
              <a:gd name="T3" fmla="*/ 2040 h 3063"/>
              <a:gd name="T4" fmla="*/ 573 w 3437"/>
              <a:gd name="T5" fmla="*/ 1531 h 3063"/>
              <a:gd name="T6" fmla="*/ 210 w 3437"/>
              <a:gd name="T7" fmla="*/ 1023 h 3063"/>
              <a:gd name="T8" fmla="*/ 780 w 3437"/>
              <a:gd name="T9" fmla="*/ 1023 h 3063"/>
              <a:gd name="T10" fmla="*/ 1144 w 3437"/>
              <a:gd name="T11" fmla="*/ 1531 h 3063"/>
              <a:gd name="T12" fmla="*/ 1508 w 3437"/>
              <a:gd name="T13" fmla="*/ 2040 h 3063"/>
              <a:gd name="T14" fmla="*/ 1719 w 3437"/>
              <a:gd name="T15" fmla="*/ 2040 h 3063"/>
              <a:gd name="T16" fmla="*/ 1354 w 3437"/>
              <a:gd name="T17" fmla="*/ 1531 h 3063"/>
              <a:gd name="T18" fmla="*/ 990 w 3437"/>
              <a:gd name="T19" fmla="*/ 1022 h 3063"/>
              <a:gd name="T20" fmla="*/ 1354 w 3437"/>
              <a:gd name="T21" fmla="*/ 510 h 3063"/>
              <a:gd name="T22" fmla="*/ 1719 w 3437"/>
              <a:gd name="T23" fmla="*/ 0 h 3063"/>
              <a:gd name="T24" fmla="*/ 1224 w 3437"/>
              <a:gd name="T25" fmla="*/ 0 h 3063"/>
              <a:gd name="T26" fmla="*/ 729 w 3437"/>
              <a:gd name="T27" fmla="*/ 0 h 3063"/>
              <a:gd name="T28" fmla="*/ 364 w 3437"/>
              <a:gd name="T29" fmla="*/ 510 h 3063"/>
              <a:gd name="T30" fmla="*/ 0 w 3437"/>
              <a:gd name="T31" fmla="*/ 1022 h 3063"/>
              <a:gd name="T32" fmla="*/ 364 w 3437"/>
              <a:gd name="T33" fmla="*/ 1531 h 3063"/>
              <a:gd name="T34" fmla="*/ 729 w 3437"/>
              <a:gd name="T35" fmla="*/ 2041 h 3063"/>
              <a:gd name="T36" fmla="*/ 364 w 3437"/>
              <a:gd name="T37" fmla="*/ 2552 h 3063"/>
              <a:gd name="T38" fmla="*/ 0 w 3437"/>
              <a:gd name="T39" fmla="*/ 3063 h 3063"/>
              <a:gd name="T40" fmla="*/ 494 w 3437"/>
              <a:gd name="T41" fmla="*/ 3063 h 3063"/>
              <a:gd name="T42" fmla="*/ 990 w 3437"/>
              <a:gd name="T43" fmla="*/ 3063 h 3063"/>
              <a:gd name="T44" fmla="*/ 1354 w 3437"/>
              <a:gd name="T45" fmla="*/ 2552 h 3063"/>
              <a:gd name="T46" fmla="*/ 1719 w 3437"/>
              <a:gd name="T47" fmla="*/ 2041 h 3063"/>
              <a:gd name="T48" fmla="*/ 2212 w 3437"/>
              <a:gd name="T49" fmla="*/ 2041 h 3063"/>
              <a:gd name="T50" fmla="*/ 2707 w 3437"/>
              <a:gd name="T51" fmla="*/ 2041 h 3063"/>
              <a:gd name="T52" fmla="*/ 3072 w 3437"/>
              <a:gd name="T53" fmla="*/ 1530 h 3063"/>
              <a:gd name="T54" fmla="*/ 3437 w 3437"/>
              <a:gd name="T55" fmla="*/ 1019 h 3063"/>
              <a:gd name="T56" fmla="*/ 2942 w 3437"/>
              <a:gd name="T57" fmla="*/ 1019 h 3063"/>
              <a:gd name="T58" fmla="*/ 2447 w 3437"/>
              <a:gd name="T59" fmla="*/ 1019 h 3063"/>
              <a:gd name="T60" fmla="*/ 2083 w 3437"/>
              <a:gd name="T61" fmla="*/ 1529 h 3063"/>
              <a:gd name="T62" fmla="*/ 1719 w 3437"/>
              <a:gd name="T63" fmla="*/ 2040 h 30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437" h="3063">
                <a:moveTo>
                  <a:pt x="1508" y="2040"/>
                </a:moveTo>
                <a:lnTo>
                  <a:pt x="937" y="2040"/>
                </a:lnTo>
                <a:lnTo>
                  <a:pt x="573" y="1531"/>
                </a:lnTo>
                <a:lnTo>
                  <a:pt x="210" y="1023"/>
                </a:lnTo>
                <a:lnTo>
                  <a:pt x="780" y="1023"/>
                </a:lnTo>
                <a:lnTo>
                  <a:pt x="1144" y="1531"/>
                </a:lnTo>
                <a:lnTo>
                  <a:pt x="1508" y="2040"/>
                </a:lnTo>
                <a:close/>
                <a:moveTo>
                  <a:pt x="1719" y="2040"/>
                </a:moveTo>
                <a:lnTo>
                  <a:pt x="1354" y="1531"/>
                </a:lnTo>
                <a:lnTo>
                  <a:pt x="990" y="1022"/>
                </a:lnTo>
                <a:lnTo>
                  <a:pt x="1354" y="510"/>
                </a:lnTo>
                <a:lnTo>
                  <a:pt x="1719" y="0"/>
                </a:lnTo>
                <a:lnTo>
                  <a:pt x="1224" y="0"/>
                </a:lnTo>
                <a:lnTo>
                  <a:pt x="729" y="0"/>
                </a:lnTo>
                <a:lnTo>
                  <a:pt x="364" y="510"/>
                </a:lnTo>
                <a:lnTo>
                  <a:pt x="0" y="1022"/>
                </a:lnTo>
                <a:lnTo>
                  <a:pt x="364" y="1531"/>
                </a:lnTo>
                <a:lnTo>
                  <a:pt x="729" y="2041"/>
                </a:lnTo>
                <a:lnTo>
                  <a:pt x="364" y="2552"/>
                </a:lnTo>
                <a:lnTo>
                  <a:pt x="0" y="3063"/>
                </a:lnTo>
                <a:lnTo>
                  <a:pt x="494" y="3063"/>
                </a:lnTo>
                <a:lnTo>
                  <a:pt x="990" y="3063"/>
                </a:lnTo>
                <a:lnTo>
                  <a:pt x="1354" y="2552"/>
                </a:lnTo>
                <a:lnTo>
                  <a:pt x="1719" y="2041"/>
                </a:lnTo>
                <a:lnTo>
                  <a:pt x="2212" y="2041"/>
                </a:lnTo>
                <a:lnTo>
                  <a:pt x="2707" y="2041"/>
                </a:lnTo>
                <a:lnTo>
                  <a:pt x="3072" y="1530"/>
                </a:lnTo>
                <a:lnTo>
                  <a:pt x="3437" y="1019"/>
                </a:lnTo>
                <a:lnTo>
                  <a:pt x="2942" y="1019"/>
                </a:lnTo>
                <a:lnTo>
                  <a:pt x="2447" y="1019"/>
                </a:lnTo>
                <a:lnTo>
                  <a:pt x="2083" y="1529"/>
                </a:lnTo>
                <a:lnTo>
                  <a:pt x="1719" y="204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F0F5C119-F154-2D28-1F3A-BAFC8159A4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6D39CF3-BC69-40E3-AFB0-F1FCA4618AAD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D33A03E1-53E3-66DF-D770-FAD58153D7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RIA - RKL yrittäjäpäivä 1.11.2023</a:t>
            </a:r>
            <a:endParaRPr lang="en-US" dirty="0"/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5F189751-455F-28A7-485B-376FB9C284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5219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82663" y="404664"/>
            <a:ext cx="4537273" cy="1008063"/>
          </a:xfrm>
        </p:spPr>
        <p:txBody>
          <a:bodyPr tIns="144000" anchor="t" anchorCtr="0"/>
          <a:lstStyle>
            <a:lvl1pPr algn="l">
              <a:defRPr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982663" y="1844675"/>
            <a:ext cx="4537273" cy="4105275"/>
          </a:xfrm>
        </p:spPr>
        <p:txBody>
          <a:bodyPr/>
          <a:lstStyle>
            <a:lvl1pPr marL="361950" indent="-361950">
              <a:buFont typeface="+mj-lt"/>
              <a:buAutoNum type="arabicPeriod"/>
              <a:defRPr/>
            </a:lvl1pPr>
            <a:lvl2pPr marL="628650" indent="-266700">
              <a:defRPr/>
            </a:lvl2pPr>
            <a:lvl3pPr marL="895350" indent="-273050">
              <a:defRPr/>
            </a:lvl3pPr>
            <a:lvl4pPr marL="1162050" indent="-266700">
              <a:defRPr/>
            </a:lvl4pPr>
            <a:lvl5pPr marL="1438275" indent="-276225">
              <a:defRPr/>
            </a:lvl5pPr>
            <a:lvl6pPr marL="1704975" indent="-274638">
              <a:defRPr/>
            </a:lvl6pPr>
            <a:lvl7pPr marL="1971675" indent="-266700">
              <a:defRPr/>
            </a:lvl7pPr>
            <a:lvl8pPr marL="2238375" indent="-265113">
              <a:defRPr/>
            </a:lvl8pPr>
            <a:lvl9pPr marL="2514600" indent="-266700">
              <a:defRPr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3951125A-B813-4477-9E28-CCB3FBEC24B1}" type="datetime1">
              <a:rPr lang="fi-FI" smtClean="0">
                <a:solidFill>
                  <a:srgbClr val="FF6900"/>
                </a:solidFill>
              </a:rPr>
              <a:t>31.10.2023</a:t>
            </a:fld>
            <a:endParaRPr lang="en-US">
              <a:solidFill>
                <a:srgbClr val="FF69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i-FI">
                <a:solidFill>
                  <a:srgbClr val="FF6900"/>
                </a:solidFill>
              </a:rPr>
              <a:t>RIA - RKL yrittäjäpäivä 1.11.2023</a:t>
            </a:r>
            <a:endParaRPr lang="en-US">
              <a:solidFill>
                <a:srgbClr val="FF69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1FEE6BA-E83C-4FBF-B719-E6671631796F}" type="slidenum">
              <a:rPr lang="en-US" smtClean="0">
                <a:solidFill>
                  <a:srgbClr val="FF6900"/>
                </a:solidFill>
              </a:rPr>
              <a:pPr/>
              <a:t>‹#›</a:t>
            </a:fld>
            <a:endParaRPr lang="en-US">
              <a:solidFill>
                <a:srgbClr val="FF6900"/>
              </a:solidFill>
            </a:endParaRPr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B82B854A-49BE-8648-3758-90543E17334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344310" y="0"/>
            <a:ext cx="3847690" cy="3429000"/>
          </a:xfrm>
          <a:custGeom>
            <a:avLst/>
            <a:gdLst>
              <a:gd name="T0" fmla="*/ 1508 w 3437"/>
              <a:gd name="T1" fmla="*/ 2040 h 3063"/>
              <a:gd name="T2" fmla="*/ 937 w 3437"/>
              <a:gd name="T3" fmla="*/ 2040 h 3063"/>
              <a:gd name="T4" fmla="*/ 573 w 3437"/>
              <a:gd name="T5" fmla="*/ 1531 h 3063"/>
              <a:gd name="T6" fmla="*/ 210 w 3437"/>
              <a:gd name="T7" fmla="*/ 1023 h 3063"/>
              <a:gd name="T8" fmla="*/ 780 w 3437"/>
              <a:gd name="T9" fmla="*/ 1023 h 3063"/>
              <a:gd name="T10" fmla="*/ 1144 w 3437"/>
              <a:gd name="T11" fmla="*/ 1531 h 3063"/>
              <a:gd name="T12" fmla="*/ 1508 w 3437"/>
              <a:gd name="T13" fmla="*/ 2040 h 3063"/>
              <a:gd name="T14" fmla="*/ 1719 w 3437"/>
              <a:gd name="T15" fmla="*/ 2040 h 3063"/>
              <a:gd name="T16" fmla="*/ 1354 w 3437"/>
              <a:gd name="T17" fmla="*/ 1531 h 3063"/>
              <a:gd name="T18" fmla="*/ 990 w 3437"/>
              <a:gd name="T19" fmla="*/ 1022 h 3063"/>
              <a:gd name="T20" fmla="*/ 1354 w 3437"/>
              <a:gd name="T21" fmla="*/ 510 h 3063"/>
              <a:gd name="T22" fmla="*/ 1719 w 3437"/>
              <a:gd name="T23" fmla="*/ 0 h 3063"/>
              <a:gd name="T24" fmla="*/ 1224 w 3437"/>
              <a:gd name="T25" fmla="*/ 0 h 3063"/>
              <a:gd name="T26" fmla="*/ 729 w 3437"/>
              <a:gd name="T27" fmla="*/ 0 h 3063"/>
              <a:gd name="T28" fmla="*/ 364 w 3437"/>
              <a:gd name="T29" fmla="*/ 510 h 3063"/>
              <a:gd name="T30" fmla="*/ 0 w 3437"/>
              <a:gd name="T31" fmla="*/ 1022 h 3063"/>
              <a:gd name="T32" fmla="*/ 364 w 3437"/>
              <a:gd name="T33" fmla="*/ 1531 h 3063"/>
              <a:gd name="T34" fmla="*/ 729 w 3437"/>
              <a:gd name="T35" fmla="*/ 2041 h 3063"/>
              <a:gd name="T36" fmla="*/ 364 w 3437"/>
              <a:gd name="T37" fmla="*/ 2552 h 3063"/>
              <a:gd name="T38" fmla="*/ 0 w 3437"/>
              <a:gd name="T39" fmla="*/ 3063 h 3063"/>
              <a:gd name="T40" fmla="*/ 494 w 3437"/>
              <a:gd name="T41" fmla="*/ 3063 h 3063"/>
              <a:gd name="T42" fmla="*/ 990 w 3437"/>
              <a:gd name="T43" fmla="*/ 3063 h 3063"/>
              <a:gd name="T44" fmla="*/ 1354 w 3437"/>
              <a:gd name="T45" fmla="*/ 2552 h 3063"/>
              <a:gd name="T46" fmla="*/ 1719 w 3437"/>
              <a:gd name="T47" fmla="*/ 2041 h 3063"/>
              <a:gd name="T48" fmla="*/ 2212 w 3437"/>
              <a:gd name="T49" fmla="*/ 2041 h 3063"/>
              <a:gd name="T50" fmla="*/ 2707 w 3437"/>
              <a:gd name="T51" fmla="*/ 2041 h 3063"/>
              <a:gd name="T52" fmla="*/ 3072 w 3437"/>
              <a:gd name="T53" fmla="*/ 1530 h 3063"/>
              <a:gd name="T54" fmla="*/ 3437 w 3437"/>
              <a:gd name="T55" fmla="*/ 1019 h 3063"/>
              <a:gd name="T56" fmla="*/ 2942 w 3437"/>
              <a:gd name="T57" fmla="*/ 1019 h 3063"/>
              <a:gd name="T58" fmla="*/ 2447 w 3437"/>
              <a:gd name="T59" fmla="*/ 1019 h 3063"/>
              <a:gd name="T60" fmla="*/ 2083 w 3437"/>
              <a:gd name="T61" fmla="*/ 1529 h 3063"/>
              <a:gd name="T62" fmla="*/ 1719 w 3437"/>
              <a:gd name="T63" fmla="*/ 2040 h 30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437" h="3063">
                <a:moveTo>
                  <a:pt x="1508" y="2040"/>
                </a:moveTo>
                <a:lnTo>
                  <a:pt x="937" y="2040"/>
                </a:lnTo>
                <a:lnTo>
                  <a:pt x="573" y="1531"/>
                </a:lnTo>
                <a:lnTo>
                  <a:pt x="210" y="1023"/>
                </a:lnTo>
                <a:lnTo>
                  <a:pt x="780" y="1023"/>
                </a:lnTo>
                <a:lnTo>
                  <a:pt x="1144" y="1531"/>
                </a:lnTo>
                <a:lnTo>
                  <a:pt x="1508" y="2040"/>
                </a:lnTo>
                <a:close/>
                <a:moveTo>
                  <a:pt x="1719" y="2040"/>
                </a:moveTo>
                <a:lnTo>
                  <a:pt x="1354" y="1531"/>
                </a:lnTo>
                <a:lnTo>
                  <a:pt x="990" y="1022"/>
                </a:lnTo>
                <a:lnTo>
                  <a:pt x="1354" y="510"/>
                </a:lnTo>
                <a:lnTo>
                  <a:pt x="1719" y="0"/>
                </a:lnTo>
                <a:lnTo>
                  <a:pt x="1224" y="0"/>
                </a:lnTo>
                <a:lnTo>
                  <a:pt x="729" y="0"/>
                </a:lnTo>
                <a:lnTo>
                  <a:pt x="364" y="510"/>
                </a:lnTo>
                <a:lnTo>
                  <a:pt x="0" y="1022"/>
                </a:lnTo>
                <a:lnTo>
                  <a:pt x="364" y="1531"/>
                </a:lnTo>
                <a:lnTo>
                  <a:pt x="729" y="2041"/>
                </a:lnTo>
                <a:lnTo>
                  <a:pt x="364" y="2552"/>
                </a:lnTo>
                <a:lnTo>
                  <a:pt x="0" y="3063"/>
                </a:lnTo>
                <a:lnTo>
                  <a:pt x="494" y="3063"/>
                </a:lnTo>
                <a:lnTo>
                  <a:pt x="990" y="3063"/>
                </a:lnTo>
                <a:lnTo>
                  <a:pt x="1354" y="2552"/>
                </a:lnTo>
                <a:lnTo>
                  <a:pt x="1719" y="2041"/>
                </a:lnTo>
                <a:lnTo>
                  <a:pt x="2212" y="2041"/>
                </a:lnTo>
                <a:lnTo>
                  <a:pt x="2707" y="2041"/>
                </a:lnTo>
                <a:lnTo>
                  <a:pt x="3072" y="1530"/>
                </a:lnTo>
                <a:lnTo>
                  <a:pt x="3437" y="1019"/>
                </a:lnTo>
                <a:lnTo>
                  <a:pt x="2942" y="1019"/>
                </a:lnTo>
                <a:lnTo>
                  <a:pt x="2447" y="1019"/>
                </a:lnTo>
                <a:lnTo>
                  <a:pt x="2083" y="1529"/>
                </a:lnTo>
                <a:lnTo>
                  <a:pt x="1719" y="204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9434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a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43026" y="2348879"/>
            <a:ext cx="9505949" cy="223264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3025" y="1844675"/>
            <a:ext cx="950595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1343025" y="5229225"/>
            <a:ext cx="9505950" cy="720726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64548361-E900-86FF-01B3-9D74AF0BEA0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A361E80-6F0C-4FF4-B62D-5F4BEB7C1A56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A398014A-9C76-634D-AC84-D1AFFD1A691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RIA - RKL yrittäjäpäivä 1.11.2023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C55DE782-BFF6-11D2-DF2E-67D2AFCD8B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B43795B-07B0-AC4E-62D6-0AC4F9C82A3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368" y="404664"/>
            <a:ext cx="1521663" cy="216000"/>
            <a:chOff x="-649288" y="2474913"/>
            <a:chExt cx="13498513" cy="1916112"/>
          </a:xfrm>
        </p:grpSpPr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E56F41F9-047A-C51B-22E9-04480DDA67A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id="{2A29EE22-C282-5627-621F-9D456D2161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924314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343026" y="2348879"/>
            <a:ext cx="9505949" cy="223264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343025" y="1844675"/>
            <a:ext cx="950595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accent2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1343025" y="5229225"/>
            <a:ext cx="9505950" cy="720726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91959E-9D5A-4607-8AD5-7347B7321388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0AA7FC4-5117-B627-77AB-1F3112F36F2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368" y="404664"/>
            <a:ext cx="1521663" cy="216000"/>
            <a:chOff x="-649288" y="2474913"/>
            <a:chExt cx="13498513" cy="1916112"/>
          </a:xfrm>
        </p:grpSpPr>
        <p:sp>
          <p:nvSpPr>
            <p:cNvPr id="13" name="Freeform 14">
              <a:extLst>
                <a:ext uri="{FF2B5EF4-FFF2-40B4-BE49-F238E27FC236}">
                  <a16:creationId xmlns:a16="http://schemas.microsoft.com/office/drawing/2014/main" id="{64287AB0-0B3C-C2C3-C202-D427BAC48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15">
              <a:extLst>
                <a:ext uri="{FF2B5EF4-FFF2-40B4-BE49-F238E27FC236}">
                  <a16:creationId xmlns:a16="http://schemas.microsoft.com/office/drawing/2014/main" id="{E44AAD35-9C19-4683-475B-7802E9A3909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4183298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2663" y="1844675"/>
            <a:ext cx="3241675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11675" y="1844675"/>
            <a:ext cx="6697663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6B9E25-7439-40ED-8727-DDC52864DE74}" type="datetime1">
              <a:rPr lang="fi-FI" smtClean="0"/>
              <a:t>31.10.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9452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343026" y="2348879"/>
            <a:ext cx="9505949" cy="223264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343025" y="1844675"/>
            <a:ext cx="950595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1343025" y="5229225"/>
            <a:ext cx="9505950" cy="720726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46DB2C2-7601-4357-84BF-20A7323ACD90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RIA - RKL yrittäjäpäivä 1.11.2023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E71F3B9-495D-6431-42F3-4996DE9BBD4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368" y="404664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6" name="Freeform 14">
              <a:extLst>
                <a:ext uri="{FF2B5EF4-FFF2-40B4-BE49-F238E27FC236}">
                  <a16:creationId xmlns:a16="http://schemas.microsoft.com/office/drawing/2014/main" id="{B58EE95E-1DBB-05D2-39C2-0A95F82FFFB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15">
              <a:extLst>
                <a:ext uri="{FF2B5EF4-FFF2-40B4-BE49-F238E27FC236}">
                  <a16:creationId xmlns:a16="http://schemas.microsoft.com/office/drawing/2014/main" id="{431AA149-E2D6-F893-8E95-5111124F507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555940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a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343026" y="2348879"/>
            <a:ext cx="9505949" cy="2232645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1343025" y="1844675"/>
            <a:ext cx="950595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EF8BBC-D4C6-4BDA-84DB-2CEC9A514397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506ABB4-3642-3ED0-88CC-B5FFDC267EC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72464" y="6237312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3" name="Freeform 14">
              <a:extLst>
                <a:ext uri="{FF2B5EF4-FFF2-40B4-BE49-F238E27FC236}">
                  <a16:creationId xmlns:a16="http://schemas.microsoft.com/office/drawing/2014/main" id="{C8BF2F16-DEB8-A52A-0B7F-E9EB0B1879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Freeform 15">
              <a:extLst>
                <a:ext uri="{FF2B5EF4-FFF2-40B4-BE49-F238E27FC236}">
                  <a16:creationId xmlns:a16="http://schemas.microsoft.com/office/drawing/2014/main" id="{1A744F1B-C57E-5124-C95F-81D48ED4E0C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159769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343026" y="2348879"/>
            <a:ext cx="9505949" cy="2232645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1343025" y="1844675"/>
            <a:ext cx="950595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accent2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US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01EC93-4C06-8E7D-9FE8-A00BB90DED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68B736-D639-462A-B1E5-301D729679F6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71E0F28E-048C-8649-F8F3-2509F1813E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9B649970-ED94-A6A1-3F71-CCD07EACCC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7160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343026" y="2348879"/>
            <a:ext cx="9505949" cy="2232645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1343025" y="1844675"/>
            <a:ext cx="950595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C809B4-09A6-4DF2-B6A6-4CF8E006B020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EF00E20-C70C-36E1-9512-E9F4BB415A8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72464" y="6237312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3" name="Freeform 14">
              <a:extLst>
                <a:ext uri="{FF2B5EF4-FFF2-40B4-BE49-F238E27FC236}">
                  <a16:creationId xmlns:a16="http://schemas.microsoft.com/office/drawing/2014/main" id="{C21F1B9A-199D-AE57-800B-4D63EE686A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Freeform 15">
              <a:extLst>
                <a:ext uri="{FF2B5EF4-FFF2-40B4-BE49-F238E27FC236}">
                  <a16:creationId xmlns:a16="http://schemas.microsoft.com/office/drawing/2014/main" id="{6BDE5D6F-3F20-1566-C8D2-CF698BE3D20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136182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ay Half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983433" y="2348879"/>
            <a:ext cx="4176464" cy="223264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983431" y="1844675"/>
            <a:ext cx="4176464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US" dirty="0"/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AFAA533A-9EE1-49AA-B078-782749331E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090F463-8EC6-42AA-8575-54036F1A75CB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F2BC31C-758F-2D21-F857-BC809120029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368" y="404664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3" name="Freeform 14">
              <a:extLst>
                <a:ext uri="{FF2B5EF4-FFF2-40B4-BE49-F238E27FC236}">
                  <a16:creationId xmlns:a16="http://schemas.microsoft.com/office/drawing/2014/main" id="{109BFA99-8425-ACAD-7664-BF92A8C69DD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Freeform 15">
              <a:extLst>
                <a:ext uri="{FF2B5EF4-FFF2-40B4-BE49-F238E27FC236}">
                  <a16:creationId xmlns:a16="http://schemas.microsoft.com/office/drawing/2014/main" id="{AF0D15C1-2297-5FD1-5A47-488549604A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25315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hite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983433" y="2348879"/>
            <a:ext cx="4176464" cy="223264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800">
                <a:solidFill>
                  <a:schemeClr val="accent2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983431" y="1844675"/>
            <a:ext cx="4176464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accent2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US" dirty="0"/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AFAA533A-9EE1-49AA-B078-782749331E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6EAC8FA-3448-497E-AAB9-9C29795BB274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F4F4BBC-12F9-17C0-8AB6-84DF586E0BC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368" y="404664"/>
            <a:ext cx="1521663" cy="216000"/>
            <a:chOff x="-649288" y="2474913"/>
            <a:chExt cx="13498513" cy="1916112"/>
          </a:xfrm>
          <a:solidFill>
            <a:schemeClr val="accent2"/>
          </a:solidFill>
        </p:grpSpPr>
        <p:sp>
          <p:nvSpPr>
            <p:cNvPr id="3" name="Freeform 14">
              <a:extLst>
                <a:ext uri="{FF2B5EF4-FFF2-40B4-BE49-F238E27FC236}">
                  <a16:creationId xmlns:a16="http://schemas.microsoft.com/office/drawing/2014/main" id="{264A4A41-3FFD-EC4A-CF0D-711353C36E9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Freeform 15">
              <a:extLst>
                <a:ext uri="{FF2B5EF4-FFF2-40B4-BE49-F238E27FC236}">
                  <a16:creationId xmlns:a16="http://schemas.microsoft.com/office/drawing/2014/main" id="{56DA23AD-14AF-E4F3-F885-C3EFAF637BE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941587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range Half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983433" y="2348879"/>
            <a:ext cx="4176464" cy="223264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983431" y="1844675"/>
            <a:ext cx="4176464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US" dirty="0"/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AFAA533A-9EE1-49AA-B078-782749331E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68EE82C-6317-4FEE-B30E-4B6BC5CD2DCD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575592D-A49E-DB7C-F4D6-2B885391BE1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368" y="404664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3" name="Freeform 14">
              <a:extLst>
                <a:ext uri="{FF2B5EF4-FFF2-40B4-BE49-F238E27FC236}">
                  <a16:creationId xmlns:a16="http://schemas.microsoft.com/office/drawing/2014/main" id="{95916FED-76FE-E90E-D722-AC447A409F8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Freeform 15">
              <a:extLst>
                <a:ext uri="{FF2B5EF4-FFF2-40B4-BE49-F238E27FC236}">
                  <a16:creationId xmlns:a16="http://schemas.microsoft.com/office/drawing/2014/main" id="{6C7B7C4C-CFA2-22A4-9BDE-0EC5227274E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042102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ackground Pic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D970E12-D6A6-4677-B9A2-E6F5EBE77D8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343026" y="2348879"/>
            <a:ext cx="9505949" cy="2232645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1343025" y="1844675"/>
            <a:ext cx="950595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FA35156-A7CD-43E6-A3D6-ACE59920FE4E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58C78D9-746E-5484-461D-1FA5862ECA1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72464" y="6237312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7" name="Freeform 14">
              <a:extLst>
                <a:ext uri="{FF2B5EF4-FFF2-40B4-BE49-F238E27FC236}">
                  <a16:creationId xmlns:a16="http://schemas.microsoft.com/office/drawing/2014/main" id="{264F81E2-56DF-3977-6794-8A54AD9801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15">
              <a:extLst>
                <a:ext uri="{FF2B5EF4-FFF2-40B4-BE49-F238E27FC236}">
                  <a16:creationId xmlns:a16="http://schemas.microsoft.com/office/drawing/2014/main" id="{6E04C954-6BE3-0B90-0CAC-06F995929C8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624824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ackground Pic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D970E12-D6A6-4677-B9A2-E6F5EBE77D8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343026" y="2348879"/>
            <a:ext cx="9505949" cy="2232645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1343025" y="1844675"/>
            <a:ext cx="950595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8A10935-E67B-4B1D-A060-F0DE464BAB9B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70AFC88-CEB0-4616-E306-FA989669980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72464" y="6237312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7" name="Freeform 14">
              <a:extLst>
                <a:ext uri="{FF2B5EF4-FFF2-40B4-BE49-F238E27FC236}">
                  <a16:creationId xmlns:a16="http://schemas.microsoft.com/office/drawing/2014/main" id="{4CE30117-AC63-294C-4D50-3E1FDCFAFA1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15">
              <a:extLst>
                <a:ext uri="{FF2B5EF4-FFF2-40B4-BE49-F238E27FC236}">
                  <a16:creationId xmlns:a16="http://schemas.microsoft.com/office/drawing/2014/main" id="{DBE655DF-F7E7-F46C-F073-30FFA9E1671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41025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Pictur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9C817E4-799B-4A3B-9B68-4C7C5625ED2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" y="1"/>
            <a:ext cx="12192000" cy="6858000"/>
          </a:xfrm>
          <a:solidFill>
            <a:schemeClr val="bg2">
              <a:lumMod val="75000"/>
            </a:schemeClr>
          </a:solidFill>
        </p:spPr>
        <p:txBody>
          <a:bodyPr/>
          <a:lstStyle>
            <a:lvl1pPr>
              <a:defRPr sz="1000"/>
            </a:lvl1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343026" y="2348879"/>
            <a:ext cx="9505949" cy="2232645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1343025" y="1844675"/>
            <a:ext cx="950595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B61BF38-0D20-4D90-81A5-BFD4B565C6B6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722A410-1282-4AC4-6A52-2307EE05D87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272464" y="6237312"/>
            <a:ext cx="1522800" cy="21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978536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2663" y="1844675"/>
            <a:ext cx="6697513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967663" y="1844675"/>
            <a:ext cx="3241675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C986CF-D3F7-4FA4-93A5-FD23625C3C72}" type="datetime1">
              <a:rPr lang="fi-FI" smtClean="0"/>
              <a:t>31.10.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7595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2663" y="1844675"/>
            <a:ext cx="4897437" cy="410527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11900" y="1844675"/>
            <a:ext cx="4897438" cy="410527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B8D222-4FD8-488C-93CC-9EFD8DA2012B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547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Gra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2663" y="1844675"/>
            <a:ext cx="4897437" cy="41052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11900" y="1844675"/>
            <a:ext cx="4897438" cy="41052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98BFDB1-1AF8-D2CF-AEF4-FECA97794DC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72464" y="6237312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10" name="Freeform 14">
              <a:extLst>
                <a:ext uri="{FF2B5EF4-FFF2-40B4-BE49-F238E27FC236}">
                  <a16:creationId xmlns:a16="http://schemas.microsoft.com/office/drawing/2014/main" id="{8FEDEAB9-9BD4-0320-B56F-1602E436E74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15">
              <a:extLst>
                <a:ext uri="{FF2B5EF4-FFF2-40B4-BE49-F238E27FC236}">
                  <a16:creationId xmlns:a16="http://schemas.microsoft.com/office/drawing/2014/main" id="{F478B5E3-EF46-B57C-5B50-A27ED4E3119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0770BBDE-EBF1-5EE6-A46D-78BCCF0C8D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846D82F-5D3A-4D1B-AD61-FA2DB62DAF4E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688C15E3-BCCB-1A79-CBD4-A633EAD69C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RIA - RKL yrittäjäpäivä 1.11.2023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EF5190F6-4564-3B8C-58C3-DFF07AA43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6539260E-8052-161F-08A9-F538252C9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8334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2663" y="1844675"/>
            <a:ext cx="3241675" cy="410527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11675" y="1844675"/>
            <a:ext cx="6697663" cy="410527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2E4C35-7F0A-404A-81EB-05C5F55028BD}" type="datetime1">
              <a:rPr lang="fi-FI" smtClean="0"/>
              <a:t>31.10.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3690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2663" y="1844675"/>
            <a:ext cx="6697513" cy="410527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967663" y="1844675"/>
            <a:ext cx="3241675" cy="410527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723DD4-8F0F-4BE3-B9A0-BBB2C2B8C42D}" type="datetime1">
              <a:rPr lang="fi-FI" smtClean="0"/>
              <a:t>31.10.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0142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82662" y="1844675"/>
            <a:ext cx="3241129" cy="4105276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12" name="Content Placeholder 5"/>
          <p:cNvSpPr>
            <a:spLocks noGrp="1"/>
          </p:cNvSpPr>
          <p:nvPr>
            <p:ph sz="quarter" idx="14"/>
          </p:nvPr>
        </p:nvSpPr>
        <p:spPr>
          <a:xfrm>
            <a:off x="4511824" y="1844675"/>
            <a:ext cx="3168352" cy="4105276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6" name="Content Placeholder 6"/>
          <p:cNvSpPr>
            <a:spLocks noGrp="1"/>
          </p:cNvSpPr>
          <p:nvPr>
            <p:ph sz="quarter" idx="4"/>
          </p:nvPr>
        </p:nvSpPr>
        <p:spPr>
          <a:xfrm>
            <a:off x="7968208" y="1844675"/>
            <a:ext cx="3241130" cy="4105276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19852A-0174-443D-94FC-E4E1B62416E9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0671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82663" y="1844675"/>
            <a:ext cx="10226675" cy="57626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b="0" cap="none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82663" y="2420939"/>
            <a:ext cx="10226675" cy="3529012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EAA223-F8E9-4CC0-9580-7ED10CA3F897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4063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82662" y="1844675"/>
            <a:ext cx="3241129" cy="57626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lang="en-US" b="0" cap="none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11825" y="1844675"/>
            <a:ext cx="3168350" cy="57626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lang="en-US" b="0" cap="none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7968209" y="1844675"/>
            <a:ext cx="3241130" cy="57626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lang="en-US" b="0" cap="none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82662" y="2420939"/>
            <a:ext cx="3241129" cy="3529012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12" name="Content Placeholder 5"/>
          <p:cNvSpPr>
            <a:spLocks noGrp="1"/>
          </p:cNvSpPr>
          <p:nvPr>
            <p:ph sz="quarter" idx="14"/>
          </p:nvPr>
        </p:nvSpPr>
        <p:spPr>
          <a:xfrm>
            <a:off x="4511824" y="2420939"/>
            <a:ext cx="3168352" cy="3529012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6" name="Content Placeholder 6"/>
          <p:cNvSpPr>
            <a:spLocks noGrp="1"/>
          </p:cNvSpPr>
          <p:nvPr>
            <p:ph sz="quarter" idx="4"/>
          </p:nvPr>
        </p:nvSpPr>
        <p:spPr>
          <a:xfrm>
            <a:off x="7968208" y="2420939"/>
            <a:ext cx="3241130" cy="3529012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BCD4AC-1300-4116-83E9-492DFB282E6F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0383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82662" y="1844675"/>
            <a:ext cx="4897437" cy="576263"/>
          </a:xfrm>
        </p:spPr>
        <p:txBody>
          <a:bodyPr tIns="5400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0" cap="none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3" hasCustomPrompt="1"/>
          </p:nvPr>
        </p:nvSpPr>
        <p:spPr>
          <a:xfrm>
            <a:off x="6311901" y="1844675"/>
            <a:ext cx="4897438" cy="576263"/>
          </a:xfrm>
        </p:spPr>
        <p:txBody>
          <a:bodyPr tIns="5400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0" cap="none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82662" y="2420939"/>
            <a:ext cx="4897438" cy="3529012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11900" y="2420939"/>
            <a:ext cx="4897438" cy="3529012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9E6526-32EE-4EDA-85FA-6FA422B7036A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0308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82662" y="1844675"/>
            <a:ext cx="3241675" cy="57626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b="0" cap="none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11676" y="1844675"/>
            <a:ext cx="6697662" cy="57626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b="0" cap="none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82662" y="2420939"/>
            <a:ext cx="3241675" cy="3529012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12" name="Content Placeholder 5"/>
          <p:cNvSpPr>
            <a:spLocks noGrp="1"/>
          </p:cNvSpPr>
          <p:nvPr>
            <p:ph sz="quarter" idx="14"/>
          </p:nvPr>
        </p:nvSpPr>
        <p:spPr>
          <a:xfrm>
            <a:off x="4511674" y="2420939"/>
            <a:ext cx="6697663" cy="3529012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059D8-6889-402E-946C-5265245E5494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9780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82662" y="1844675"/>
            <a:ext cx="6697514" cy="57626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b="0" cap="none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967664" y="1844675"/>
            <a:ext cx="3241674" cy="57626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b="0" cap="none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82662" y="2420939"/>
            <a:ext cx="6697514" cy="3529012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12" name="Content Placeholder 5"/>
          <p:cNvSpPr>
            <a:spLocks noGrp="1"/>
          </p:cNvSpPr>
          <p:nvPr>
            <p:ph sz="quarter" idx="14"/>
          </p:nvPr>
        </p:nvSpPr>
        <p:spPr>
          <a:xfrm>
            <a:off x="7967663" y="2420939"/>
            <a:ext cx="3241674" cy="3529012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C60F6F-2E93-4606-B14C-1A04EA6BFBF9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2633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82662" y="1844675"/>
            <a:ext cx="3241129" cy="41052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5"/>
          <p:cNvSpPr>
            <a:spLocks noGrp="1"/>
          </p:cNvSpPr>
          <p:nvPr>
            <p:ph sz="quarter" idx="14"/>
          </p:nvPr>
        </p:nvSpPr>
        <p:spPr>
          <a:xfrm>
            <a:off x="4511824" y="1844675"/>
            <a:ext cx="3168352" cy="41052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6"/>
          <p:cNvSpPr>
            <a:spLocks noGrp="1"/>
          </p:cNvSpPr>
          <p:nvPr>
            <p:ph sz="quarter" idx="4"/>
          </p:nvPr>
        </p:nvSpPr>
        <p:spPr>
          <a:xfrm>
            <a:off x="7968208" y="1844675"/>
            <a:ext cx="3241130" cy="41052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C341D1-BAB1-411B-8AE1-32FB1B4EB379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7325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5"/>
          <p:cNvSpPr>
            <a:spLocks noGrp="1"/>
          </p:cNvSpPr>
          <p:nvPr>
            <p:ph type="title"/>
          </p:nvPr>
        </p:nvSpPr>
        <p:spPr>
          <a:xfrm>
            <a:off x="982663" y="404664"/>
            <a:ext cx="4897313" cy="1008063"/>
          </a:xfrm>
        </p:spPr>
        <p:txBody>
          <a:bodyPr/>
          <a:lstStyle>
            <a:lvl1pPr algn="l">
              <a:defRPr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982663" y="1844675"/>
            <a:ext cx="4897313" cy="410527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4"/>
          </p:nvPr>
        </p:nvSpPr>
        <p:spPr>
          <a:xfrm>
            <a:off x="6311900" y="404665"/>
            <a:ext cx="4897438" cy="5545286"/>
          </a:xfrm>
        </p:spPr>
        <p:txBody>
          <a:bodyPr/>
          <a:lstStyle>
            <a:lvl1pPr>
              <a:defRPr sz="1000"/>
            </a:lvl1pPr>
          </a:lstStyle>
          <a:p>
            <a:r>
              <a:rPr lang="fi-FI"/>
              <a:t>Lisää kaavio napsauttamalla kuvaketta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B3C3ED-74C6-4CC6-B011-5772E48758B8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4398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5"/>
          <p:cNvSpPr>
            <a:spLocks noGrp="1"/>
          </p:cNvSpPr>
          <p:nvPr>
            <p:ph type="title"/>
          </p:nvPr>
        </p:nvSpPr>
        <p:spPr>
          <a:xfrm>
            <a:off x="6312025" y="404664"/>
            <a:ext cx="4897313" cy="1008063"/>
          </a:xfrm>
        </p:spPr>
        <p:txBody>
          <a:bodyPr/>
          <a:lstStyle>
            <a:lvl1pPr algn="l">
              <a:defRPr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6312025" y="1844675"/>
            <a:ext cx="4897313" cy="410527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4"/>
          </p:nvPr>
        </p:nvSpPr>
        <p:spPr>
          <a:xfrm>
            <a:off x="982663" y="404665"/>
            <a:ext cx="4897438" cy="5545286"/>
          </a:xfrm>
        </p:spPr>
        <p:txBody>
          <a:bodyPr/>
          <a:lstStyle>
            <a:lvl1pPr>
              <a:defRPr sz="1000"/>
            </a:lvl1pPr>
          </a:lstStyle>
          <a:p>
            <a:r>
              <a:rPr lang="fi-FI"/>
              <a:t>Lisää kaavio napsauttamalla kuvaketta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F3FC93-7375-4FBD-97F1-A6E6E3EC0793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2405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AC7F4B-F32F-41F0-ADDD-2972C936D1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FA230ECD-10F3-4D02-A3B8-53E6D95BEB2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82663" y="1844675"/>
            <a:ext cx="4897437" cy="410527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6312024" y="1844824"/>
            <a:ext cx="4896544" cy="4104456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C699FB4-2ED9-47B0-873C-7393576C7502}" type="datetime1">
              <a:rPr lang="fi-FI" smtClean="0">
                <a:solidFill>
                  <a:srgbClr val="FF6900"/>
                </a:solidFill>
              </a:rPr>
              <a:t>31.10.2023</a:t>
            </a:fld>
            <a:endParaRPr lang="en-US">
              <a:solidFill>
                <a:srgbClr val="FF69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i-FI">
                <a:solidFill>
                  <a:srgbClr val="FF6900"/>
                </a:solidFill>
              </a:rPr>
              <a:t>RIA - RKL yrittäjäpäivä 1.11.2023</a:t>
            </a:r>
            <a:endParaRPr lang="en-US">
              <a:solidFill>
                <a:srgbClr val="FF69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1FEE6BA-E83C-4FBF-B719-E6671631796F}" type="slidenum">
              <a:rPr lang="en-US" smtClean="0">
                <a:solidFill>
                  <a:srgbClr val="FF6900"/>
                </a:solidFill>
              </a:rPr>
              <a:pPr/>
              <a:t>‹#›</a:t>
            </a:fld>
            <a:endParaRPr lang="en-US">
              <a:solidFill>
                <a:srgbClr val="FF69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9016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AC7F4B-F32F-41F0-ADDD-2972C936D1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3DFE771-6E05-405A-8CBC-13F4BF8B7F3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12024" y="1844675"/>
            <a:ext cx="4897437" cy="410527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983432" y="1844824"/>
            <a:ext cx="4896544" cy="4104456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9B85E7DC-8C1D-4BA2-8A99-F9019DCD49A3}" type="datetime1">
              <a:rPr lang="fi-FI" smtClean="0">
                <a:solidFill>
                  <a:srgbClr val="FF6900"/>
                </a:solidFill>
              </a:rPr>
              <a:t>31.10.2023</a:t>
            </a:fld>
            <a:endParaRPr lang="en-US">
              <a:solidFill>
                <a:srgbClr val="FF69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i-FI">
                <a:solidFill>
                  <a:srgbClr val="FF6900"/>
                </a:solidFill>
              </a:rPr>
              <a:t>RIA - RKL yrittäjäpäivä 1.11.2023</a:t>
            </a:r>
            <a:endParaRPr lang="en-US">
              <a:solidFill>
                <a:srgbClr val="FF69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1FEE6BA-E83C-4FBF-B719-E6671631796F}" type="slidenum">
              <a:rPr lang="en-US" smtClean="0">
                <a:solidFill>
                  <a:srgbClr val="FF6900"/>
                </a:solidFill>
              </a:rPr>
              <a:pPr/>
              <a:t>‹#›</a:t>
            </a:fld>
            <a:endParaRPr lang="en-US">
              <a:solidFill>
                <a:srgbClr val="FF69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8278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1/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82663" y="404664"/>
            <a:ext cx="4537273" cy="1008063"/>
          </a:xfrm>
        </p:spPr>
        <p:txBody>
          <a:bodyPr anchor="t" anchorCtr="0"/>
          <a:lstStyle>
            <a:lvl1pPr algn="l">
              <a:defRPr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982663" y="1844675"/>
            <a:ext cx="4537273" cy="410527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BF392ADB-EED0-476E-A6A5-2BF8F85A5225}" type="datetime1">
              <a:rPr lang="fi-FI" smtClean="0">
                <a:solidFill>
                  <a:srgbClr val="FF6900"/>
                </a:solidFill>
              </a:rPr>
              <a:t>31.10.2023</a:t>
            </a:fld>
            <a:endParaRPr lang="en-US">
              <a:solidFill>
                <a:srgbClr val="FF69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i-FI">
                <a:solidFill>
                  <a:srgbClr val="FF6900"/>
                </a:solidFill>
              </a:rPr>
              <a:t>RIA - RKL yrittäjäpäivä 1.11.2023</a:t>
            </a:r>
            <a:endParaRPr lang="en-US">
              <a:solidFill>
                <a:srgbClr val="FF69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1FEE6BA-E83C-4FBF-B719-E6671631796F}" type="slidenum">
              <a:rPr lang="en-US" smtClean="0">
                <a:solidFill>
                  <a:srgbClr val="FF6900"/>
                </a:solidFill>
              </a:rPr>
              <a:pPr/>
              <a:t>‹#›</a:t>
            </a:fld>
            <a:endParaRPr lang="en-US">
              <a:solidFill>
                <a:srgbClr val="FF69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7282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1/2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672065" y="404664"/>
            <a:ext cx="4537273" cy="1008063"/>
          </a:xfrm>
        </p:spPr>
        <p:txBody>
          <a:bodyPr/>
          <a:lstStyle>
            <a:lvl1pPr algn="l">
              <a:defRPr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672065" y="1844675"/>
            <a:ext cx="4537273" cy="410527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6096000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E332AF-4B2F-41E8-A144-ADEB2037AEA6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8038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1/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82663" y="404664"/>
            <a:ext cx="6553497" cy="1008063"/>
          </a:xfrm>
        </p:spPr>
        <p:txBody>
          <a:bodyPr/>
          <a:lstStyle>
            <a:lvl1pPr algn="l">
              <a:defRPr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982663" y="1844675"/>
            <a:ext cx="6553497" cy="410527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8112224" y="0"/>
            <a:ext cx="4079776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FE8E56E6-3C07-4D31-ABB8-7B13673176A4}" type="datetime1">
              <a:rPr lang="fi-FI" smtClean="0">
                <a:solidFill>
                  <a:srgbClr val="FF6900"/>
                </a:solidFill>
              </a:rPr>
              <a:t>31.10.2023</a:t>
            </a:fld>
            <a:endParaRPr lang="en-US">
              <a:solidFill>
                <a:srgbClr val="FF69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i-FI">
                <a:solidFill>
                  <a:srgbClr val="FF6900"/>
                </a:solidFill>
              </a:rPr>
              <a:t>RIA - RKL yrittäjäpäivä 1.11.2023</a:t>
            </a:r>
            <a:endParaRPr lang="en-US">
              <a:solidFill>
                <a:srgbClr val="FF69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1FEE6BA-E83C-4FBF-B719-E6671631796F}" type="slidenum">
              <a:rPr lang="en-US" smtClean="0">
                <a:solidFill>
                  <a:srgbClr val="FF6900"/>
                </a:solidFill>
              </a:rPr>
              <a:pPr/>
              <a:t>‹#›</a:t>
            </a:fld>
            <a:endParaRPr lang="en-US">
              <a:solidFill>
                <a:srgbClr val="FF69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372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1/3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655840" y="404664"/>
            <a:ext cx="6553497" cy="1008063"/>
          </a:xfrm>
        </p:spPr>
        <p:txBody>
          <a:bodyPr/>
          <a:lstStyle>
            <a:lvl1pPr algn="l">
              <a:defRPr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655840" y="1844675"/>
            <a:ext cx="6553497" cy="410527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-1960" y="0"/>
            <a:ext cx="4081736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BAAC989-51C4-4BFE-B381-0BB8EE066757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529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Gray 1/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982663" y="1844675"/>
            <a:ext cx="6553497" cy="41052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8112224" y="0"/>
            <a:ext cx="4079776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65DF4CB-2421-05A3-5213-51D6A0E235F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09E4383-C1AE-4F06-9EAC-72C0C2348117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116A416-AF93-747D-F273-749E446EA9A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RIA - RKL yrittäjäpäivä 1.11.2023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5A6798A-A7C8-C09B-E49C-3F6362C773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86A09445-C4AE-1BD2-CA62-D63E7F821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404664"/>
            <a:ext cx="6553498" cy="1008063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68972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and Picture Gray 1/3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655840" y="404664"/>
            <a:ext cx="6553497" cy="1008063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655840" y="1844675"/>
            <a:ext cx="6553497" cy="41052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-1960" y="0"/>
            <a:ext cx="4081736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FE4D04-E61E-4610-AFA3-27E6FAFB46DE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8664839-21E0-A653-8DE1-B62E95BA660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72464" y="6237312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28FD8B38-6860-6EF8-9525-A25136BA7B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15">
              <a:extLst>
                <a:ext uri="{FF2B5EF4-FFF2-40B4-BE49-F238E27FC236}">
                  <a16:creationId xmlns:a16="http://schemas.microsoft.com/office/drawing/2014/main" id="{908FD752-AB38-FB2A-42E2-FC72F6CB2C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852690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82663" y="1844675"/>
            <a:ext cx="10226675" cy="57626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b="0" cap="none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82663" y="2420939"/>
            <a:ext cx="10226675" cy="35290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E5A843-2FB6-4CB9-BF71-3FCF7F55CAB1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4595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2663" y="980728"/>
            <a:ext cx="4897437" cy="2448272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800"/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4" y="3429000"/>
            <a:ext cx="4897436" cy="122396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70000"/>
              </a:lnSpc>
              <a:defRPr lang="en-US" sz="10000" b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982663" y="4652963"/>
            <a:ext cx="4897437" cy="1296987"/>
          </a:xfrm>
        </p:spPr>
        <p:txBody>
          <a:bodyPr/>
          <a:lstStyle>
            <a:lvl1pPr>
              <a:lnSpc>
                <a:spcPct val="100000"/>
              </a:lnSpc>
              <a:spcBef>
                <a:spcPts val="200"/>
              </a:spcBef>
              <a:defRPr sz="1200"/>
            </a:lvl1pPr>
            <a:lvl2pPr>
              <a:lnSpc>
                <a:spcPct val="100000"/>
              </a:lnSpc>
              <a:spcBef>
                <a:spcPts val="200"/>
              </a:spcBef>
              <a:defRPr sz="1200"/>
            </a:lvl2pPr>
            <a:lvl3pPr>
              <a:lnSpc>
                <a:spcPct val="100000"/>
              </a:lnSpc>
              <a:spcBef>
                <a:spcPts val="200"/>
              </a:spcBef>
              <a:defRPr sz="1200"/>
            </a:lvl3pPr>
            <a:lvl4pPr>
              <a:lnSpc>
                <a:spcPct val="100000"/>
              </a:lnSpc>
              <a:spcBef>
                <a:spcPts val="200"/>
              </a:spcBef>
              <a:defRPr sz="1200"/>
            </a:lvl4pPr>
            <a:lvl5pPr>
              <a:lnSpc>
                <a:spcPct val="100000"/>
              </a:lnSpc>
              <a:spcBef>
                <a:spcPts val="200"/>
              </a:spcBef>
              <a:defRPr sz="1200"/>
            </a:lvl5pPr>
            <a:lvl6pPr>
              <a:lnSpc>
                <a:spcPct val="100000"/>
              </a:lnSpc>
              <a:spcBef>
                <a:spcPts val="200"/>
              </a:spcBef>
              <a:defRPr sz="1200"/>
            </a:lvl6pPr>
            <a:lvl7pPr>
              <a:lnSpc>
                <a:spcPct val="100000"/>
              </a:lnSpc>
              <a:spcBef>
                <a:spcPts val="200"/>
              </a:spcBef>
              <a:defRPr sz="1200"/>
            </a:lvl7pPr>
            <a:lvl8pPr>
              <a:lnSpc>
                <a:spcPct val="100000"/>
              </a:lnSpc>
              <a:spcBef>
                <a:spcPts val="200"/>
              </a:spcBef>
              <a:defRPr sz="1200"/>
            </a:lvl8pPr>
            <a:lvl9pPr>
              <a:lnSpc>
                <a:spcPct val="100000"/>
              </a:lnSpc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F4E9C5-ACD3-47C0-8CA3-3F6CD066A081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311900" y="981075"/>
            <a:ext cx="4897438" cy="647700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b="0" baseline="0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0" name="Chart Placeholder 9"/>
          <p:cNvSpPr>
            <a:spLocks noGrp="1"/>
          </p:cNvSpPr>
          <p:nvPr>
            <p:ph type="chart" sz="quarter" idx="16"/>
          </p:nvPr>
        </p:nvSpPr>
        <p:spPr>
          <a:xfrm>
            <a:off x="6311900" y="1844675"/>
            <a:ext cx="2448396" cy="1944365"/>
          </a:xfrm>
        </p:spPr>
        <p:txBody>
          <a:bodyPr/>
          <a:lstStyle>
            <a:lvl1pPr>
              <a:defRPr sz="1000"/>
            </a:lvl1pPr>
          </a:lstStyle>
          <a:p>
            <a:r>
              <a:rPr lang="fi-FI"/>
              <a:t>Lisää kaavio napsauttamalla kuvaketta</a:t>
            </a:r>
            <a:endParaRPr lang="fi-FI" dirty="0"/>
          </a:p>
        </p:txBody>
      </p:sp>
      <p:sp>
        <p:nvSpPr>
          <p:cNvPr id="11" name="Chart Placeholder 9"/>
          <p:cNvSpPr>
            <a:spLocks noGrp="1"/>
          </p:cNvSpPr>
          <p:nvPr>
            <p:ph type="chart" sz="quarter" idx="17"/>
          </p:nvPr>
        </p:nvSpPr>
        <p:spPr>
          <a:xfrm>
            <a:off x="8760297" y="1844675"/>
            <a:ext cx="2449042" cy="1944365"/>
          </a:xfrm>
        </p:spPr>
        <p:txBody>
          <a:bodyPr/>
          <a:lstStyle>
            <a:lvl1pPr>
              <a:defRPr sz="1000"/>
            </a:lvl1pPr>
          </a:lstStyle>
          <a:p>
            <a:r>
              <a:rPr lang="fi-FI"/>
              <a:t>Lisää kaavio napsauttamalla kuvaketta</a:t>
            </a:r>
            <a:endParaRPr lang="fi-FI" dirty="0"/>
          </a:p>
        </p:txBody>
      </p:sp>
      <p:sp>
        <p:nvSpPr>
          <p:cNvPr id="12" name="Chart Placeholder 9"/>
          <p:cNvSpPr>
            <a:spLocks noGrp="1"/>
          </p:cNvSpPr>
          <p:nvPr>
            <p:ph type="chart" sz="quarter" idx="18"/>
          </p:nvPr>
        </p:nvSpPr>
        <p:spPr>
          <a:xfrm>
            <a:off x="6311900" y="4005064"/>
            <a:ext cx="2448396" cy="1944886"/>
          </a:xfrm>
        </p:spPr>
        <p:txBody>
          <a:bodyPr/>
          <a:lstStyle>
            <a:lvl1pPr>
              <a:defRPr sz="1000"/>
            </a:lvl1pPr>
          </a:lstStyle>
          <a:p>
            <a:r>
              <a:rPr lang="fi-FI"/>
              <a:t>Lisää kaavio napsauttamalla kuvaketta</a:t>
            </a:r>
            <a:endParaRPr lang="fi-FI" dirty="0"/>
          </a:p>
        </p:txBody>
      </p:sp>
      <p:sp>
        <p:nvSpPr>
          <p:cNvPr id="13" name="Chart Placeholder 9"/>
          <p:cNvSpPr>
            <a:spLocks noGrp="1"/>
          </p:cNvSpPr>
          <p:nvPr>
            <p:ph type="chart" sz="quarter" idx="19"/>
          </p:nvPr>
        </p:nvSpPr>
        <p:spPr>
          <a:xfrm>
            <a:off x="8760297" y="4005064"/>
            <a:ext cx="2449042" cy="1944886"/>
          </a:xfrm>
        </p:spPr>
        <p:txBody>
          <a:bodyPr/>
          <a:lstStyle>
            <a:lvl1pPr>
              <a:defRPr sz="1000"/>
            </a:lvl1pPr>
          </a:lstStyle>
          <a:p>
            <a:r>
              <a:rPr lang="fi-FI"/>
              <a:t>Lisää kaavio napsauttamalla kuvaketta</a:t>
            </a:r>
            <a:endParaRPr lang="fi-FI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9735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Content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981893" y="3501008"/>
            <a:ext cx="10226675" cy="24489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2663" y="980728"/>
            <a:ext cx="4897437" cy="2448272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126554" y="3645024"/>
            <a:ext cx="3241254" cy="288032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sz="1400" b="0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15CD8221-CE0D-437A-8323-A2F27860CFA7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511824" y="3645024"/>
            <a:ext cx="3168352" cy="288032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sz="1400" b="0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A991BBD7-252F-482A-AB1F-CB67BD97D70A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824192" y="3645024"/>
            <a:ext cx="3240360" cy="288032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sz="1400" b="0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0" name="Chart Placeholder 9"/>
          <p:cNvSpPr>
            <a:spLocks noGrp="1"/>
          </p:cNvSpPr>
          <p:nvPr>
            <p:ph type="chart" sz="quarter" idx="16"/>
          </p:nvPr>
        </p:nvSpPr>
        <p:spPr>
          <a:xfrm>
            <a:off x="1128828" y="4005586"/>
            <a:ext cx="3238980" cy="1799718"/>
          </a:xfrm>
        </p:spPr>
        <p:txBody>
          <a:bodyPr/>
          <a:lstStyle>
            <a:lvl1pPr>
              <a:defRPr sz="1000"/>
            </a:lvl1pPr>
          </a:lstStyle>
          <a:p>
            <a:r>
              <a:rPr lang="fi-FI"/>
              <a:t>Lisää kaavio napsauttamalla kuvaketta</a:t>
            </a:r>
            <a:endParaRPr lang="fi-FI" dirty="0"/>
          </a:p>
        </p:txBody>
      </p:sp>
      <p:sp>
        <p:nvSpPr>
          <p:cNvPr id="11" name="Chart Placeholder 10"/>
          <p:cNvSpPr>
            <a:spLocks noGrp="1"/>
          </p:cNvSpPr>
          <p:nvPr>
            <p:ph type="chart" sz="quarter" idx="17"/>
          </p:nvPr>
        </p:nvSpPr>
        <p:spPr>
          <a:xfrm>
            <a:off x="4511824" y="4005586"/>
            <a:ext cx="3168352" cy="1799718"/>
          </a:xfrm>
        </p:spPr>
        <p:txBody>
          <a:bodyPr/>
          <a:lstStyle>
            <a:lvl1pPr>
              <a:defRPr sz="1000"/>
            </a:lvl1pPr>
          </a:lstStyle>
          <a:p>
            <a:r>
              <a:rPr lang="fi-FI"/>
              <a:t>Lisää kaavio napsauttamalla kuvaketta</a:t>
            </a:r>
            <a:endParaRPr lang="fi-FI"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8"/>
          </p:nvPr>
        </p:nvSpPr>
        <p:spPr>
          <a:xfrm>
            <a:off x="7824192" y="4005064"/>
            <a:ext cx="3240360" cy="1800200"/>
          </a:xfrm>
        </p:spPr>
        <p:txBody>
          <a:bodyPr/>
          <a:lstStyle>
            <a:lvl1pPr>
              <a:defRPr sz="1000"/>
            </a:lvl1pPr>
          </a:lstStyle>
          <a:p>
            <a:r>
              <a:rPr lang="fi-FI"/>
              <a:t>Lisää kaavio napsauttamalla kuvaketta</a:t>
            </a:r>
            <a:endParaRPr lang="fi-FI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7BF5D74-4CBD-420F-8C9C-EE09EB222F6C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F352291-7F09-7136-6121-DA6957D764B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72464" y="6237312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9" name="Freeform 14">
              <a:extLst>
                <a:ext uri="{FF2B5EF4-FFF2-40B4-BE49-F238E27FC236}">
                  <a16:creationId xmlns:a16="http://schemas.microsoft.com/office/drawing/2014/main" id="{1F533AE4-F87E-A1E0-684F-9BAA9556ACD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15">
              <a:extLst>
                <a:ext uri="{FF2B5EF4-FFF2-40B4-BE49-F238E27FC236}">
                  <a16:creationId xmlns:a16="http://schemas.microsoft.com/office/drawing/2014/main" id="{A44006E9-7CF2-BE3F-20B5-610A2872EB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704193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2663" y="980728"/>
            <a:ext cx="10226675" cy="2448272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6600">
                <a:solidFill>
                  <a:schemeClr val="accent2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4" y="3573016"/>
            <a:ext cx="4897436" cy="2376934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80000"/>
              </a:lnSpc>
              <a:defRPr lang="en-US" sz="18000" b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6311900" y="3573016"/>
            <a:ext cx="4897437" cy="2376935"/>
          </a:xfrm>
        </p:spPr>
        <p:txBody>
          <a:bodyPr/>
          <a:lstStyle>
            <a:lvl1pPr>
              <a:lnSpc>
                <a:spcPct val="100000"/>
              </a:lnSpc>
              <a:spcBef>
                <a:spcPts val="200"/>
              </a:spcBef>
              <a:defRPr sz="1600"/>
            </a:lvl1pPr>
            <a:lvl2pPr>
              <a:lnSpc>
                <a:spcPct val="100000"/>
              </a:lnSpc>
              <a:spcBef>
                <a:spcPts val="200"/>
              </a:spcBef>
              <a:defRPr sz="1600"/>
            </a:lvl2pPr>
            <a:lvl3pPr>
              <a:lnSpc>
                <a:spcPct val="100000"/>
              </a:lnSpc>
              <a:spcBef>
                <a:spcPts val="200"/>
              </a:spcBef>
              <a:defRPr sz="1400"/>
            </a:lvl3pPr>
            <a:lvl4pPr>
              <a:lnSpc>
                <a:spcPct val="100000"/>
              </a:lnSpc>
              <a:spcBef>
                <a:spcPts val="200"/>
              </a:spcBef>
              <a:defRPr sz="1400"/>
            </a:lvl4pPr>
            <a:lvl5pPr>
              <a:lnSpc>
                <a:spcPct val="100000"/>
              </a:lnSpc>
              <a:spcBef>
                <a:spcPts val="200"/>
              </a:spcBef>
              <a:defRPr sz="1400"/>
            </a:lvl5pPr>
            <a:lvl6pPr>
              <a:lnSpc>
                <a:spcPct val="100000"/>
              </a:lnSpc>
              <a:spcBef>
                <a:spcPts val="200"/>
              </a:spcBef>
              <a:defRPr sz="1200"/>
            </a:lvl6pPr>
            <a:lvl7pPr>
              <a:lnSpc>
                <a:spcPct val="100000"/>
              </a:lnSpc>
              <a:spcBef>
                <a:spcPts val="200"/>
              </a:spcBef>
              <a:defRPr sz="1200"/>
            </a:lvl7pPr>
            <a:lvl8pPr>
              <a:lnSpc>
                <a:spcPct val="100000"/>
              </a:lnSpc>
              <a:spcBef>
                <a:spcPts val="200"/>
              </a:spcBef>
              <a:defRPr sz="1200"/>
            </a:lvl8pPr>
            <a:lvl9pPr>
              <a:lnSpc>
                <a:spcPct val="100000"/>
              </a:lnSpc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312017-AC66-49CB-9EA5-D34E7454D556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9775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Content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6696" y="3573189"/>
            <a:ext cx="4897437" cy="1223963"/>
          </a:xfrm>
        </p:spPr>
        <p:txBody>
          <a:bodyPr anchor="t" anchorCtr="0"/>
          <a:lstStyle>
            <a:lvl1pPr algn="l">
              <a:lnSpc>
                <a:spcPct val="8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4" y="980728"/>
            <a:ext cx="4897436" cy="2448272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80000"/>
              </a:lnSpc>
              <a:defRPr lang="en-US" sz="18000" b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982663" y="4797152"/>
            <a:ext cx="4897437" cy="1152798"/>
          </a:xfrm>
        </p:spPr>
        <p:txBody>
          <a:bodyPr/>
          <a:lstStyle>
            <a:lvl1pPr>
              <a:lnSpc>
                <a:spcPct val="100000"/>
              </a:lnSpc>
              <a:spcBef>
                <a:spcPts val="200"/>
              </a:spcBef>
              <a:defRPr sz="12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200"/>
              </a:spcBef>
              <a:defRPr sz="12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Bef>
                <a:spcPts val="200"/>
              </a:spcBef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Bef>
                <a:spcPts val="200"/>
              </a:spcBef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spcBef>
                <a:spcPts val="200"/>
              </a:spcBef>
              <a:defRPr sz="1200">
                <a:solidFill>
                  <a:schemeClr val="bg1"/>
                </a:solidFill>
              </a:defRPr>
            </a:lvl5pPr>
            <a:lvl6pPr>
              <a:lnSpc>
                <a:spcPct val="100000"/>
              </a:lnSpc>
              <a:spcBef>
                <a:spcPts val="200"/>
              </a:spcBef>
              <a:defRPr sz="1200"/>
            </a:lvl6pPr>
            <a:lvl7pPr>
              <a:lnSpc>
                <a:spcPct val="100000"/>
              </a:lnSpc>
              <a:spcBef>
                <a:spcPts val="200"/>
              </a:spcBef>
              <a:defRPr sz="1200"/>
            </a:lvl7pPr>
            <a:lvl8pPr>
              <a:lnSpc>
                <a:spcPct val="100000"/>
              </a:lnSpc>
              <a:spcBef>
                <a:spcPts val="200"/>
              </a:spcBef>
              <a:defRPr sz="1200"/>
            </a:lvl8pPr>
            <a:lvl9pPr>
              <a:lnSpc>
                <a:spcPct val="100000"/>
              </a:lnSpc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8A6D8B5-39BF-4EEE-A0BF-20190D3B0A02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95ACD23-2AEF-D17C-54A8-F7D05EB8D8E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72464" y="6237312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7" name="Freeform 14">
              <a:extLst>
                <a:ext uri="{FF2B5EF4-FFF2-40B4-BE49-F238E27FC236}">
                  <a16:creationId xmlns:a16="http://schemas.microsoft.com/office/drawing/2014/main" id="{6EB2781D-2E7C-3411-4429-CD17C32222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15">
              <a:extLst>
                <a:ext uri="{FF2B5EF4-FFF2-40B4-BE49-F238E27FC236}">
                  <a16:creationId xmlns:a16="http://schemas.microsoft.com/office/drawing/2014/main" id="{B584527D-FC38-9D44-6D45-1F0390FC22E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802240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2663" y="3429000"/>
            <a:ext cx="4897437" cy="252095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4" y="981075"/>
            <a:ext cx="4897436" cy="2303910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80000"/>
              </a:lnSpc>
              <a:defRPr lang="en-US" sz="16000" b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6311900" y="981075"/>
            <a:ext cx="4897437" cy="2303909"/>
          </a:xfrm>
        </p:spPr>
        <p:txBody>
          <a:bodyPr/>
          <a:lstStyle>
            <a:lvl1pPr>
              <a:lnSpc>
                <a:spcPct val="100000"/>
              </a:lnSpc>
              <a:spcBef>
                <a:spcPts val="200"/>
              </a:spcBef>
              <a:defRPr sz="1600"/>
            </a:lvl1pPr>
            <a:lvl2pPr>
              <a:lnSpc>
                <a:spcPct val="100000"/>
              </a:lnSpc>
              <a:spcBef>
                <a:spcPts val="200"/>
              </a:spcBef>
              <a:defRPr sz="1600"/>
            </a:lvl2pPr>
            <a:lvl3pPr>
              <a:lnSpc>
                <a:spcPct val="100000"/>
              </a:lnSpc>
              <a:spcBef>
                <a:spcPts val="200"/>
              </a:spcBef>
              <a:defRPr sz="1400"/>
            </a:lvl3pPr>
            <a:lvl4pPr>
              <a:lnSpc>
                <a:spcPct val="100000"/>
              </a:lnSpc>
              <a:spcBef>
                <a:spcPts val="200"/>
              </a:spcBef>
              <a:defRPr sz="1400"/>
            </a:lvl4pPr>
            <a:lvl5pPr>
              <a:lnSpc>
                <a:spcPct val="100000"/>
              </a:lnSpc>
              <a:spcBef>
                <a:spcPts val="200"/>
              </a:spcBef>
              <a:defRPr sz="1400"/>
            </a:lvl5pPr>
            <a:lvl6pPr>
              <a:lnSpc>
                <a:spcPct val="100000"/>
              </a:lnSpc>
              <a:spcBef>
                <a:spcPts val="200"/>
              </a:spcBef>
              <a:defRPr sz="1200"/>
            </a:lvl6pPr>
            <a:lvl7pPr>
              <a:lnSpc>
                <a:spcPct val="100000"/>
              </a:lnSpc>
              <a:spcBef>
                <a:spcPts val="200"/>
              </a:spcBef>
              <a:defRPr sz="1200"/>
            </a:lvl7pPr>
            <a:lvl8pPr>
              <a:lnSpc>
                <a:spcPct val="100000"/>
              </a:lnSpc>
              <a:spcBef>
                <a:spcPts val="200"/>
              </a:spcBef>
              <a:defRPr sz="1200"/>
            </a:lvl8pPr>
            <a:lvl9pPr>
              <a:lnSpc>
                <a:spcPct val="100000"/>
              </a:lnSpc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9" name="Chart Placeholder 9"/>
          <p:cNvSpPr>
            <a:spLocks noGrp="1"/>
          </p:cNvSpPr>
          <p:nvPr>
            <p:ph type="chart" sz="quarter" idx="16"/>
          </p:nvPr>
        </p:nvSpPr>
        <p:spPr>
          <a:xfrm>
            <a:off x="6311900" y="3429000"/>
            <a:ext cx="4897438" cy="2520950"/>
          </a:xfrm>
        </p:spPr>
        <p:txBody>
          <a:bodyPr/>
          <a:lstStyle>
            <a:lvl1pPr>
              <a:defRPr sz="1000"/>
            </a:lvl1pPr>
          </a:lstStyle>
          <a:p>
            <a:r>
              <a:rPr lang="fi-FI"/>
              <a:t>Lisää kaavio napsauttamalla kuvaketta</a:t>
            </a:r>
            <a:endParaRPr lang="fi-FI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3CF20C-178D-4AA9-9F51-F95ED32B29AD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1531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Conten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2663" y="980728"/>
            <a:ext cx="4897437" cy="1728192"/>
          </a:xfrm>
        </p:spPr>
        <p:txBody>
          <a:bodyPr tIns="36000" anchor="t" anchorCtr="0"/>
          <a:lstStyle>
            <a:lvl1pPr algn="l">
              <a:lnSpc>
                <a:spcPct val="90000"/>
              </a:lnSpc>
              <a:defRPr sz="3600"/>
            </a:lvl1pPr>
          </a:lstStyle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312024" y="1484957"/>
            <a:ext cx="4897436" cy="1223963"/>
          </a:xfrm>
        </p:spPr>
        <p:txBody>
          <a:bodyPr vert="horz" lIns="0" tIns="144000" rIns="0" bIns="0" rtlCol="0" anchor="t" anchorCtr="0">
            <a:noAutofit/>
          </a:bodyPr>
          <a:lstStyle>
            <a:lvl1pPr>
              <a:lnSpc>
                <a:spcPct val="70000"/>
              </a:lnSpc>
              <a:defRPr lang="en-US" sz="8000" b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73F6AF-A626-4512-872F-6A91CEFCDB85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311900" y="981075"/>
            <a:ext cx="4897438" cy="35969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b="0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7B7EC3C-CA63-440B-BF6C-A47609BEFFC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82663" y="3140968"/>
            <a:ext cx="10225905" cy="2808982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3008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Conten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312024" y="2348707"/>
            <a:ext cx="4897436" cy="1080294"/>
          </a:xfrm>
        </p:spPr>
        <p:txBody>
          <a:bodyPr vert="horz" lIns="0" tIns="144000" rIns="0" bIns="0" rtlCol="0" anchor="t" anchorCtr="0">
            <a:noAutofit/>
          </a:bodyPr>
          <a:lstStyle>
            <a:lvl1pPr>
              <a:lnSpc>
                <a:spcPct val="70000"/>
              </a:lnSpc>
              <a:defRPr lang="en-US" sz="8000" b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D71348-8A70-4371-8892-F5B46DE151A0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311900" y="1844824"/>
            <a:ext cx="4897438" cy="35969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b="0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3606FFB-15CE-408A-8493-F752F10A6F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0E8E657-0EF0-4F72-90E3-DA9C0D6082D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982662" y="1844675"/>
            <a:ext cx="4897437" cy="576263"/>
          </a:xfrm>
        </p:spPr>
        <p:txBody>
          <a:bodyPr tIns="5400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0" cap="none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44C03E3-5B08-40B2-A67D-6AA499524A1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82662" y="2420939"/>
            <a:ext cx="4897438" cy="3529012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D11D370E-EE54-4484-827F-0993364EDD4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24" y="4292922"/>
            <a:ext cx="4897436" cy="1080294"/>
          </a:xfrm>
        </p:spPr>
        <p:txBody>
          <a:bodyPr vert="horz" lIns="0" tIns="144000" rIns="0" bIns="0" rtlCol="0" anchor="t" anchorCtr="0">
            <a:noAutofit/>
          </a:bodyPr>
          <a:lstStyle>
            <a:lvl1pPr>
              <a:lnSpc>
                <a:spcPct val="70000"/>
              </a:lnSpc>
              <a:defRPr lang="en-US" sz="8000" b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5C4E32A6-5E3A-4C1C-A077-1AE6C173EC77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311900" y="3789039"/>
            <a:ext cx="4897438" cy="35969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b="0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DC978E6-7B8F-4C4D-833D-4AC80D2A0777}"/>
              </a:ext>
            </a:extLst>
          </p:cNvPr>
          <p:cNvCxnSpPr/>
          <p:nvPr userDrawn="1"/>
        </p:nvCxnSpPr>
        <p:spPr>
          <a:xfrm>
            <a:off x="6096000" y="1844824"/>
            <a:ext cx="0" cy="4104456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0355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Content 8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312024" y="1844675"/>
            <a:ext cx="4896544" cy="41052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DA3F24-4ABE-483E-A5CB-313BB03AEA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578C2AF-0D84-445B-B990-8E67D01977BB}"/>
              </a:ext>
            </a:extLst>
          </p:cNvPr>
          <p:cNvCxnSpPr/>
          <p:nvPr userDrawn="1"/>
        </p:nvCxnSpPr>
        <p:spPr>
          <a:xfrm>
            <a:off x="6096000" y="1844824"/>
            <a:ext cx="0" cy="410445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9233129-9BD5-4C01-B019-833F2006B0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540" y="2348707"/>
            <a:ext cx="4897436" cy="1080294"/>
          </a:xfrm>
        </p:spPr>
        <p:txBody>
          <a:bodyPr vert="horz" lIns="0" tIns="144000" rIns="0" bIns="0" rtlCol="0" anchor="t" anchorCtr="0">
            <a:noAutofit/>
          </a:bodyPr>
          <a:lstStyle>
            <a:lvl1pPr>
              <a:lnSpc>
                <a:spcPct val="70000"/>
              </a:lnSpc>
              <a:defRPr lang="en-US" sz="8000" b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1D5DB1D-0828-49FC-925A-E87C6060FA5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982416" y="1844824"/>
            <a:ext cx="4897438" cy="35969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b="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E7808219-3103-4680-B89D-E15B9C0380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82540" y="4292923"/>
            <a:ext cx="4897436" cy="1080294"/>
          </a:xfrm>
        </p:spPr>
        <p:txBody>
          <a:bodyPr vert="horz" lIns="0" tIns="144000" rIns="0" bIns="0" rtlCol="0" anchor="t" anchorCtr="0">
            <a:noAutofit/>
          </a:bodyPr>
          <a:lstStyle>
            <a:lvl1pPr>
              <a:lnSpc>
                <a:spcPct val="70000"/>
              </a:lnSpc>
              <a:defRPr lang="en-US" sz="8000" b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44B32D3-35ED-400D-97C1-41008C4FD2BA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982416" y="3789040"/>
            <a:ext cx="4897438" cy="35969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b="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FFF200-3A88-11D6-BD2F-34C64E8380D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CA0CC76-6E32-4DB6-9A75-EA04452E313B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05CE197-814B-16A2-1CF4-D17EC9A2329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RIA - RKL yrittäjäpäivä 1.11.2023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6531C35-AFF7-ECBB-22C1-F0E9ECA6AFF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D10CB25-5436-37BB-40BC-6174E689AD1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72464" y="6237312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9E3A0499-6884-FA91-A234-67B7695D4FC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id="{6E50ACC5-D0F7-C0B5-6FF2-51CA8974EE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680081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Content 9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9233129-9BD5-4C01-B019-833F2006B0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540" y="2852762"/>
            <a:ext cx="4897436" cy="3096518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80000"/>
              </a:lnSpc>
              <a:defRPr lang="en-US" sz="16000" b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1D5DB1D-0828-49FC-925A-E87C6060FA5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982416" y="2348879"/>
            <a:ext cx="4897438" cy="35969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b="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E7808219-3103-4680-B89D-E15B9C0380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148" y="2852762"/>
            <a:ext cx="4897436" cy="3096517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80000"/>
              </a:lnSpc>
              <a:defRPr lang="en-US" sz="16000" b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44B32D3-35ED-400D-97C1-41008C4FD2BA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312024" y="2348880"/>
            <a:ext cx="4897438" cy="35969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b="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EEF6A2C-2FB2-43A8-A456-A31438059347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82662" y="1844675"/>
            <a:ext cx="10225906" cy="360189"/>
          </a:xfrm>
        </p:spPr>
        <p:txBody>
          <a:bodyPr tIns="54000" anchor="t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946D2EF-FD73-C34D-7CDA-B5AE2A07DB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31E176-F353-791E-4BA6-9E83E6E71F6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FC8EBA6-A2D7-4A6E-A039-2D74E8DB829C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3692380-6B98-8C05-4242-0B0EA240A0C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RIA - RKL yrittäjäpäivä 1.11.2023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00B10FF-E17B-9E9A-47C1-84348CB1633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A8BB335-7275-D274-ED2F-B5CD04F7C74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72464" y="6237312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18" name="Freeform 14">
              <a:extLst>
                <a:ext uri="{FF2B5EF4-FFF2-40B4-BE49-F238E27FC236}">
                  <a16:creationId xmlns:a16="http://schemas.microsoft.com/office/drawing/2014/main" id="{C7C681F7-B839-DC6F-09D4-BD93D70F0B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5">
              <a:extLst>
                <a:ext uri="{FF2B5EF4-FFF2-40B4-BE49-F238E27FC236}">
                  <a16:creationId xmlns:a16="http://schemas.microsoft.com/office/drawing/2014/main" id="{1AFDBA3D-C7CB-75CE-BD5F-F40100177A8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158011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2663" y="2204864"/>
            <a:ext cx="10226675" cy="2448272"/>
          </a:xfrm>
        </p:spPr>
        <p:txBody>
          <a:bodyPr vert="horz" lIns="0" tIns="14400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B494D9A-D778-43BE-84DB-73BF64718F97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RIA - RKL yrittäjäpäivä 1.11.2023</a:t>
            </a: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873FCD1-F5BF-8A7D-291F-A10B135040F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72464" y="6237312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4" name="Freeform 14">
              <a:extLst>
                <a:ext uri="{FF2B5EF4-FFF2-40B4-BE49-F238E27FC236}">
                  <a16:creationId xmlns:a16="http://schemas.microsoft.com/office/drawing/2014/main" id="{081B1E0E-D68A-4195-7C02-F5CEEFF261D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" name="Freeform 15">
              <a:extLst>
                <a:ext uri="{FF2B5EF4-FFF2-40B4-BE49-F238E27FC236}">
                  <a16:creationId xmlns:a16="http://schemas.microsoft.com/office/drawing/2014/main" id="{2ABA6786-CB90-7A06-1DAA-F0E81A22116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643306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82662" y="1844675"/>
            <a:ext cx="3241129" cy="57626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lang="en-US" b="0" cap="none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11825" y="1844675"/>
            <a:ext cx="3168350" cy="57626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lang="en-US" b="0" cap="none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7968209" y="1844675"/>
            <a:ext cx="3241130" cy="57626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lang="en-US" b="0" cap="none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82662" y="2420939"/>
            <a:ext cx="3241129" cy="35290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5"/>
          <p:cNvSpPr>
            <a:spLocks noGrp="1"/>
          </p:cNvSpPr>
          <p:nvPr>
            <p:ph sz="quarter" idx="14"/>
          </p:nvPr>
        </p:nvSpPr>
        <p:spPr>
          <a:xfrm>
            <a:off x="4511824" y="2420939"/>
            <a:ext cx="3168352" cy="35290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6"/>
          <p:cNvSpPr>
            <a:spLocks noGrp="1"/>
          </p:cNvSpPr>
          <p:nvPr>
            <p:ph sz="quarter" idx="4"/>
          </p:nvPr>
        </p:nvSpPr>
        <p:spPr>
          <a:xfrm>
            <a:off x="7968208" y="2420939"/>
            <a:ext cx="3241130" cy="35290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D5B812-13F4-42E6-9761-FC413893E37A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959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2663" y="2204864"/>
            <a:ext cx="10226675" cy="2448272"/>
          </a:xfrm>
        </p:spPr>
        <p:txBody>
          <a:bodyPr vert="horz" lIns="0" tIns="14400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7D70EEC-C0D8-4900-848B-3E151F6916D7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RIA - RKL yrittäjäpäivä 1.11.2023</a:t>
            </a: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E0894CD-4623-05B7-0D1C-B77FDF49AB7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72464" y="6237312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4" name="Freeform 14">
              <a:extLst>
                <a:ext uri="{FF2B5EF4-FFF2-40B4-BE49-F238E27FC236}">
                  <a16:creationId xmlns:a16="http://schemas.microsoft.com/office/drawing/2014/main" id="{2AD41710-FD0F-AB9E-03E6-55D8CDB8C57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" name="Freeform 15">
              <a:extLst>
                <a:ext uri="{FF2B5EF4-FFF2-40B4-BE49-F238E27FC236}">
                  <a16:creationId xmlns:a16="http://schemas.microsoft.com/office/drawing/2014/main" id="{00DA02AB-A574-315F-4B9C-D6308B6B0D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587991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Pictu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2371D0B7-F884-B337-4FB3-0DCEFB5BCC8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" y="1"/>
            <a:ext cx="12192000" cy="6858000"/>
          </a:xfrm>
          <a:solidFill>
            <a:schemeClr val="bg2">
              <a:lumMod val="75000"/>
            </a:schemeClr>
          </a:solidFill>
        </p:spPr>
        <p:txBody>
          <a:bodyPr/>
          <a:lstStyle>
            <a:lvl1pPr>
              <a:defRPr sz="1000"/>
            </a:lvl1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2663" y="2204864"/>
            <a:ext cx="10226675" cy="2448272"/>
          </a:xfrm>
        </p:spPr>
        <p:txBody>
          <a:bodyPr vert="horz" lIns="0" tIns="14400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DF72A7E-728F-44C8-9B5F-304C070AA8B8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RIA - RKL yrittäjäpäivä 1.11.2023</a:t>
            </a: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5BFE3A14-395C-BB5F-A843-6898B5D6A55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272464" y="6237312"/>
            <a:ext cx="1522800" cy="21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291473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800" cap="none"/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42C405-74B0-4F49-9A55-DF2CB71EE24D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6883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800" cap="none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2663" y="1844675"/>
            <a:ext cx="4897437" cy="410527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11900" y="1844675"/>
            <a:ext cx="4897438" cy="410527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1A8DF-FD32-4FEF-BFFF-22C154DE90B4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1694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Comparis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800" cap="none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82662" y="1844675"/>
            <a:ext cx="4897437" cy="576263"/>
          </a:xfrm>
        </p:spPr>
        <p:txBody>
          <a:bodyPr tIns="5400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0" cap="none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3" hasCustomPrompt="1"/>
          </p:nvPr>
        </p:nvSpPr>
        <p:spPr>
          <a:xfrm>
            <a:off x="6311901" y="1844675"/>
            <a:ext cx="4897438" cy="576263"/>
          </a:xfrm>
        </p:spPr>
        <p:txBody>
          <a:bodyPr tIns="5400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0" cap="none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82662" y="2420939"/>
            <a:ext cx="4897438" cy="3529012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11900" y="2420939"/>
            <a:ext cx="4897438" cy="3529012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08BDAA-723D-470E-9A31-C46CE1D9CB0F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1610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447AC8-78AE-40E0-AEF5-17B48F1D3B40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6433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B6F5BA-00B9-43E8-9EB9-42B251817A77}" type="datetime1">
              <a:rPr lang="fi-FI" smtClean="0"/>
              <a:t>31.10.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627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and Contact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799856" y="2348880"/>
            <a:ext cx="6049120" cy="2736304"/>
          </a:xfrm>
        </p:spPr>
        <p:txBody>
          <a:bodyPr vert="horz" lIns="0" tIns="144000" rIns="0" bIns="0" rtlCol="0" anchor="t" anchorCtr="0">
            <a:noAutofit/>
          </a:bodyPr>
          <a:lstStyle>
            <a:lvl1pPr algn="l">
              <a:defRPr lang="en-US" sz="5400" dirty="0">
                <a:solidFill>
                  <a:schemeClr val="bg1"/>
                </a:solidFill>
              </a:defRPr>
            </a:lvl1pPr>
          </a:lstStyle>
          <a:p>
            <a:pPr lvl="0" algn="l">
              <a:lnSpc>
                <a:spcPct val="90000"/>
              </a:lnSpc>
            </a:pPr>
            <a:r>
              <a:rPr lang="fi-FI" dirty="0"/>
              <a:t>Add thank you Message.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99856" y="1844675"/>
            <a:ext cx="604912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tabLst>
                <a:tab pos="1797050" algn="l"/>
              </a:tabLst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Add your @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800599" y="5229225"/>
            <a:ext cx="6048375" cy="720726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your contact detail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D884170-C793-4880-8A1D-3B5D7C77A318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RIA - RKL yrittäjäpäivä 1.11.2023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BB95CBD9-BA1E-7311-603F-C6522E20D3A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335360" y="0"/>
            <a:ext cx="3847690" cy="3429000"/>
          </a:xfrm>
          <a:custGeom>
            <a:avLst/>
            <a:gdLst>
              <a:gd name="T0" fmla="*/ 1508 w 3437"/>
              <a:gd name="T1" fmla="*/ 2040 h 3063"/>
              <a:gd name="T2" fmla="*/ 937 w 3437"/>
              <a:gd name="T3" fmla="*/ 2040 h 3063"/>
              <a:gd name="T4" fmla="*/ 573 w 3437"/>
              <a:gd name="T5" fmla="*/ 1531 h 3063"/>
              <a:gd name="T6" fmla="*/ 210 w 3437"/>
              <a:gd name="T7" fmla="*/ 1023 h 3063"/>
              <a:gd name="T8" fmla="*/ 780 w 3437"/>
              <a:gd name="T9" fmla="*/ 1023 h 3063"/>
              <a:gd name="T10" fmla="*/ 1144 w 3437"/>
              <a:gd name="T11" fmla="*/ 1531 h 3063"/>
              <a:gd name="T12" fmla="*/ 1508 w 3437"/>
              <a:gd name="T13" fmla="*/ 2040 h 3063"/>
              <a:gd name="T14" fmla="*/ 1719 w 3437"/>
              <a:gd name="T15" fmla="*/ 2040 h 3063"/>
              <a:gd name="T16" fmla="*/ 1354 w 3437"/>
              <a:gd name="T17" fmla="*/ 1531 h 3063"/>
              <a:gd name="T18" fmla="*/ 990 w 3437"/>
              <a:gd name="T19" fmla="*/ 1022 h 3063"/>
              <a:gd name="T20" fmla="*/ 1354 w 3437"/>
              <a:gd name="T21" fmla="*/ 510 h 3063"/>
              <a:gd name="T22" fmla="*/ 1719 w 3437"/>
              <a:gd name="T23" fmla="*/ 0 h 3063"/>
              <a:gd name="T24" fmla="*/ 1224 w 3437"/>
              <a:gd name="T25" fmla="*/ 0 h 3063"/>
              <a:gd name="T26" fmla="*/ 729 w 3437"/>
              <a:gd name="T27" fmla="*/ 0 h 3063"/>
              <a:gd name="T28" fmla="*/ 364 w 3437"/>
              <a:gd name="T29" fmla="*/ 510 h 3063"/>
              <a:gd name="T30" fmla="*/ 0 w 3437"/>
              <a:gd name="T31" fmla="*/ 1022 h 3063"/>
              <a:gd name="T32" fmla="*/ 364 w 3437"/>
              <a:gd name="T33" fmla="*/ 1531 h 3063"/>
              <a:gd name="T34" fmla="*/ 729 w 3437"/>
              <a:gd name="T35" fmla="*/ 2041 h 3063"/>
              <a:gd name="T36" fmla="*/ 364 w 3437"/>
              <a:gd name="T37" fmla="*/ 2552 h 3063"/>
              <a:gd name="T38" fmla="*/ 0 w 3437"/>
              <a:gd name="T39" fmla="*/ 3063 h 3063"/>
              <a:gd name="T40" fmla="*/ 494 w 3437"/>
              <a:gd name="T41" fmla="*/ 3063 h 3063"/>
              <a:gd name="T42" fmla="*/ 990 w 3437"/>
              <a:gd name="T43" fmla="*/ 3063 h 3063"/>
              <a:gd name="T44" fmla="*/ 1354 w 3437"/>
              <a:gd name="T45" fmla="*/ 2552 h 3063"/>
              <a:gd name="T46" fmla="*/ 1719 w 3437"/>
              <a:gd name="T47" fmla="*/ 2041 h 3063"/>
              <a:gd name="T48" fmla="*/ 2212 w 3437"/>
              <a:gd name="T49" fmla="*/ 2041 h 3063"/>
              <a:gd name="T50" fmla="*/ 2707 w 3437"/>
              <a:gd name="T51" fmla="*/ 2041 h 3063"/>
              <a:gd name="T52" fmla="*/ 3072 w 3437"/>
              <a:gd name="T53" fmla="*/ 1530 h 3063"/>
              <a:gd name="T54" fmla="*/ 3437 w 3437"/>
              <a:gd name="T55" fmla="*/ 1019 h 3063"/>
              <a:gd name="T56" fmla="*/ 2942 w 3437"/>
              <a:gd name="T57" fmla="*/ 1019 h 3063"/>
              <a:gd name="T58" fmla="*/ 2447 w 3437"/>
              <a:gd name="T59" fmla="*/ 1019 h 3063"/>
              <a:gd name="T60" fmla="*/ 2083 w 3437"/>
              <a:gd name="T61" fmla="*/ 1529 h 3063"/>
              <a:gd name="T62" fmla="*/ 1719 w 3437"/>
              <a:gd name="T63" fmla="*/ 2040 h 30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437" h="3063">
                <a:moveTo>
                  <a:pt x="1508" y="2040"/>
                </a:moveTo>
                <a:lnTo>
                  <a:pt x="937" y="2040"/>
                </a:lnTo>
                <a:lnTo>
                  <a:pt x="573" y="1531"/>
                </a:lnTo>
                <a:lnTo>
                  <a:pt x="210" y="1023"/>
                </a:lnTo>
                <a:lnTo>
                  <a:pt x="780" y="1023"/>
                </a:lnTo>
                <a:lnTo>
                  <a:pt x="1144" y="1531"/>
                </a:lnTo>
                <a:lnTo>
                  <a:pt x="1508" y="2040"/>
                </a:lnTo>
                <a:close/>
                <a:moveTo>
                  <a:pt x="1719" y="2040"/>
                </a:moveTo>
                <a:lnTo>
                  <a:pt x="1354" y="1531"/>
                </a:lnTo>
                <a:lnTo>
                  <a:pt x="990" y="1022"/>
                </a:lnTo>
                <a:lnTo>
                  <a:pt x="1354" y="510"/>
                </a:lnTo>
                <a:lnTo>
                  <a:pt x="1719" y="0"/>
                </a:lnTo>
                <a:lnTo>
                  <a:pt x="1224" y="0"/>
                </a:lnTo>
                <a:lnTo>
                  <a:pt x="729" y="0"/>
                </a:lnTo>
                <a:lnTo>
                  <a:pt x="364" y="510"/>
                </a:lnTo>
                <a:lnTo>
                  <a:pt x="0" y="1022"/>
                </a:lnTo>
                <a:lnTo>
                  <a:pt x="364" y="1531"/>
                </a:lnTo>
                <a:lnTo>
                  <a:pt x="729" y="2041"/>
                </a:lnTo>
                <a:lnTo>
                  <a:pt x="364" y="2552"/>
                </a:lnTo>
                <a:lnTo>
                  <a:pt x="0" y="3063"/>
                </a:lnTo>
                <a:lnTo>
                  <a:pt x="494" y="3063"/>
                </a:lnTo>
                <a:lnTo>
                  <a:pt x="990" y="3063"/>
                </a:lnTo>
                <a:lnTo>
                  <a:pt x="1354" y="2552"/>
                </a:lnTo>
                <a:lnTo>
                  <a:pt x="1719" y="2041"/>
                </a:lnTo>
                <a:lnTo>
                  <a:pt x="2212" y="2041"/>
                </a:lnTo>
                <a:lnTo>
                  <a:pt x="2707" y="2041"/>
                </a:lnTo>
                <a:lnTo>
                  <a:pt x="3072" y="1530"/>
                </a:lnTo>
                <a:lnTo>
                  <a:pt x="3437" y="1019"/>
                </a:lnTo>
                <a:lnTo>
                  <a:pt x="2942" y="1019"/>
                </a:lnTo>
                <a:lnTo>
                  <a:pt x="2447" y="1019"/>
                </a:lnTo>
                <a:lnTo>
                  <a:pt x="2083" y="1529"/>
                </a:lnTo>
                <a:lnTo>
                  <a:pt x="1719" y="204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6A15612-0889-B16D-332A-F6A720F4A78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768408" y="404664"/>
            <a:ext cx="2028885" cy="288000"/>
            <a:chOff x="-649288" y="2474913"/>
            <a:chExt cx="13498513" cy="1916112"/>
          </a:xfrm>
        </p:grpSpPr>
        <p:sp>
          <p:nvSpPr>
            <p:cNvPr id="6" name="Freeform 14">
              <a:extLst>
                <a:ext uri="{FF2B5EF4-FFF2-40B4-BE49-F238E27FC236}">
                  <a16:creationId xmlns:a16="http://schemas.microsoft.com/office/drawing/2014/main" id="{8FD5D8D2-736E-31CE-E0CA-4542A693B9C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15">
              <a:extLst>
                <a:ext uri="{FF2B5EF4-FFF2-40B4-BE49-F238E27FC236}">
                  <a16:creationId xmlns:a16="http://schemas.microsoft.com/office/drawing/2014/main" id="{798825A5-7927-6ECD-2314-06210F6CBA0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445406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and Contact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477B3C-ECB7-4F50-9681-A1C83DC00FE1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800600" y="2348879"/>
            <a:ext cx="6048375" cy="273630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fi-FI" dirty="0"/>
              <a:t>Add thank you Message.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00600" y="1844675"/>
            <a:ext cx="6048375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accent2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Add your @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800600" y="5229225"/>
            <a:ext cx="6048375" cy="720726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Add your contact details</a:t>
            </a:r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C15CA41F-9ABF-FDFA-31B8-17D38B7E850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335360" y="0"/>
            <a:ext cx="3847690" cy="3429000"/>
          </a:xfrm>
          <a:custGeom>
            <a:avLst/>
            <a:gdLst>
              <a:gd name="T0" fmla="*/ 1508 w 3437"/>
              <a:gd name="T1" fmla="*/ 2040 h 3063"/>
              <a:gd name="T2" fmla="*/ 937 w 3437"/>
              <a:gd name="T3" fmla="*/ 2040 h 3063"/>
              <a:gd name="T4" fmla="*/ 573 w 3437"/>
              <a:gd name="T5" fmla="*/ 1531 h 3063"/>
              <a:gd name="T6" fmla="*/ 210 w 3437"/>
              <a:gd name="T7" fmla="*/ 1023 h 3063"/>
              <a:gd name="T8" fmla="*/ 780 w 3437"/>
              <a:gd name="T9" fmla="*/ 1023 h 3063"/>
              <a:gd name="T10" fmla="*/ 1144 w 3437"/>
              <a:gd name="T11" fmla="*/ 1531 h 3063"/>
              <a:gd name="T12" fmla="*/ 1508 w 3437"/>
              <a:gd name="T13" fmla="*/ 2040 h 3063"/>
              <a:gd name="T14" fmla="*/ 1719 w 3437"/>
              <a:gd name="T15" fmla="*/ 2040 h 3063"/>
              <a:gd name="T16" fmla="*/ 1354 w 3437"/>
              <a:gd name="T17" fmla="*/ 1531 h 3063"/>
              <a:gd name="T18" fmla="*/ 990 w 3437"/>
              <a:gd name="T19" fmla="*/ 1022 h 3063"/>
              <a:gd name="T20" fmla="*/ 1354 w 3437"/>
              <a:gd name="T21" fmla="*/ 510 h 3063"/>
              <a:gd name="T22" fmla="*/ 1719 w 3437"/>
              <a:gd name="T23" fmla="*/ 0 h 3063"/>
              <a:gd name="T24" fmla="*/ 1224 w 3437"/>
              <a:gd name="T25" fmla="*/ 0 h 3063"/>
              <a:gd name="T26" fmla="*/ 729 w 3437"/>
              <a:gd name="T27" fmla="*/ 0 h 3063"/>
              <a:gd name="T28" fmla="*/ 364 w 3437"/>
              <a:gd name="T29" fmla="*/ 510 h 3063"/>
              <a:gd name="T30" fmla="*/ 0 w 3437"/>
              <a:gd name="T31" fmla="*/ 1022 h 3063"/>
              <a:gd name="T32" fmla="*/ 364 w 3437"/>
              <a:gd name="T33" fmla="*/ 1531 h 3063"/>
              <a:gd name="T34" fmla="*/ 729 w 3437"/>
              <a:gd name="T35" fmla="*/ 2041 h 3063"/>
              <a:gd name="T36" fmla="*/ 364 w 3437"/>
              <a:gd name="T37" fmla="*/ 2552 h 3063"/>
              <a:gd name="T38" fmla="*/ 0 w 3437"/>
              <a:gd name="T39" fmla="*/ 3063 h 3063"/>
              <a:gd name="T40" fmla="*/ 494 w 3437"/>
              <a:gd name="T41" fmla="*/ 3063 h 3063"/>
              <a:gd name="T42" fmla="*/ 990 w 3437"/>
              <a:gd name="T43" fmla="*/ 3063 h 3063"/>
              <a:gd name="T44" fmla="*/ 1354 w 3437"/>
              <a:gd name="T45" fmla="*/ 2552 h 3063"/>
              <a:gd name="T46" fmla="*/ 1719 w 3437"/>
              <a:gd name="T47" fmla="*/ 2041 h 3063"/>
              <a:gd name="T48" fmla="*/ 2212 w 3437"/>
              <a:gd name="T49" fmla="*/ 2041 h 3063"/>
              <a:gd name="T50" fmla="*/ 2707 w 3437"/>
              <a:gd name="T51" fmla="*/ 2041 h 3063"/>
              <a:gd name="T52" fmla="*/ 3072 w 3437"/>
              <a:gd name="T53" fmla="*/ 1530 h 3063"/>
              <a:gd name="T54" fmla="*/ 3437 w 3437"/>
              <a:gd name="T55" fmla="*/ 1019 h 3063"/>
              <a:gd name="T56" fmla="*/ 2942 w 3437"/>
              <a:gd name="T57" fmla="*/ 1019 h 3063"/>
              <a:gd name="T58" fmla="*/ 2447 w 3437"/>
              <a:gd name="T59" fmla="*/ 1019 h 3063"/>
              <a:gd name="T60" fmla="*/ 2083 w 3437"/>
              <a:gd name="T61" fmla="*/ 1529 h 3063"/>
              <a:gd name="T62" fmla="*/ 1719 w 3437"/>
              <a:gd name="T63" fmla="*/ 2040 h 30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437" h="3063">
                <a:moveTo>
                  <a:pt x="1508" y="2040"/>
                </a:moveTo>
                <a:lnTo>
                  <a:pt x="937" y="2040"/>
                </a:lnTo>
                <a:lnTo>
                  <a:pt x="573" y="1531"/>
                </a:lnTo>
                <a:lnTo>
                  <a:pt x="210" y="1023"/>
                </a:lnTo>
                <a:lnTo>
                  <a:pt x="780" y="1023"/>
                </a:lnTo>
                <a:lnTo>
                  <a:pt x="1144" y="1531"/>
                </a:lnTo>
                <a:lnTo>
                  <a:pt x="1508" y="2040"/>
                </a:lnTo>
                <a:close/>
                <a:moveTo>
                  <a:pt x="1719" y="2040"/>
                </a:moveTo>
                <a:lnTo>
                  <a:pt x="1354" y="1531"/>
                </a:lnTo>
                <a:lnTo>
                  <a:pt x="990" y="1022"/>
                </a:lnTo>
                <a:lnTo>
                  <a:pt x="1354" y="510"/>
                </a:lnTo>
                <a:lnTo>
                  <a:pt x="1719" y="0"/>
                </a:lnTo>
                <a:lnTo>
                  <a:pt x="1224" y="0"/>
                </a:lnTo>
                <a:lnTo>
                  <a:pt x="729" y="0"/>
                </a:lnTo>
                <a:lnTo>
                  <a:pt x="364" y="510"/>
                </a:lnTo>
                <a:lnTo>
                  <a:pt x="0" y="1022"/>
                </a:lnTo>
                <a:lnTo>
                  <a:pt x="364" y="1531"/>
                </a:lnTo>
                <a:lnTo>
                  <a:pt x="729" y="2041"/>
                </a:lnTo>
                <a:lnTo>
                  <a:pt x="364" y="2552"/>
                </a:lnTo>
                <a:lnTo>
                  <a:pt x="0" y="3063"/>
                </a:lnTo>
                <a:lnTo>
                  <a:pt x="494" y="3063"/>
                </a:lnTo>
                <a:lnTo>
                  <a:pt x="990" y="3063"/>
                </a:lnTo>
                <a:lnTo>
                  <a:pt x="1354" y="2552"/>
                </a:lnTo>
                <a:lnTo>
                  <a:pt x="1719" y="2041"/>
                </a:lnTo>
                <a:lnTo>
                  <a:pt x="2212" y="2041"/>
                </a:lnTo>
                <a:lnTo>
                  <a:pt x="2707" y="2041"/>
                </a:lnTo>
                <a:lnTo>
                  <a:pt x="3072" y="1530"/>
                </a:lnTo>
                <a:lnTo>
                  <a:pt x="3437" y="1019"/>
                </a:lnTo>
                <a:lnTo>
                  <a:pt x="2942" y="1019"/>
                </a:lnTo>
                <a:lnTo>
                  <a:pt x="2447" y="1019"/>
                </a:lnTo>
                <a:lnTo>
                  <a:pt x="2083" y="1529"/>
                </a:lnTo>
                <a:lnTo>
                  <a:pt x="1719" y="204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E07EBEE-2967-6F2B-0CB1-3A8C1282F82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768408" y="404664"/>
            <a:ext cx="2028885" cy="288000"/>
            <a:chOff x="-649288" y="2474913"/>
            <a:chExt cx="13498513" cy="1916112"/>
          </a:xfrm>
        </p:grpSpPr>
        <p:sp>
          <p:nvSpPr>
            <p:cNvPr id="14" name="Freeform 14">
              <a:extLst>
                <a:ext uri="{FF2B5EF4-FFF2-40B4-BE49-F238E27FC236}">
                  <a16:creationId xmlns:a16="http://schemas.microsoft.com/office/drawing/2014/main" id="{D0C8B06B-FAB9-FDD0-D6EA-B1E482AE7D0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5">
              <a:extLst>
                <a:ext uri="{FF2B5EF4-FFF2-40B4-BE49-F238E27FC236}">
                  <a16:creationId xmlns:a16="http://schemas.microsoft.com/office/drawing/2014/main" id="{6743027A-9A21-BD76-21DC-483FE46AE53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204238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-Rauta Pro Log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6">
            <a:extLst>
              <a:ext uri="{FF2B5EF4-FFF2-40B4-BE49-F238E27FC236}">
                <a16:creationId xmlns:a16="http://schemas.microsoft.com/office/drawing/2014/main" id="{3D2F24EB-B584-2FFC-2B0F-6F2019444E6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0" y="2303518"/>
            <a:ext cx="8688288" cy="4554482"/>
          </a:xfrm>
          <a:custGeom>
            <a:avLst/>
            <a:gdLst>
              <a:gd name="T0" fmla="*/ 1239 w 7147"/>
              <a:gd name="T1" fmla="*/ 2338 h 3746"/>
              <a:gd name="T2" fmla="*/ 2024 w 7147"/>
              <a:gd name="T3" fmla="*/ 1870 h 3746"/>
              <a:gd name="T4" fmla="*/ 2809 w 7147"/>
              <a:gd name="T5" fmla="*/ 2337 h 3746"/>
              <a:gd name="T6" fmla="*/ 2692 w 7147"/>
              <a:gd name="T7" fmla="*/ 2805 h 3746"/>
              <a:gd name="T8" fmla="*/ 1908 w 7147"/>
              <a:gd name="T9" fmla="*/ 3274 h 3746"/>
              <a:gd name="T10" fmla="*/ 1240 w 7147"/>
              <a:gd name="T11" fmla="*/ 3274 h 3746"/>
              <a:gd name="T12" fmla="*/ 906 w 7147"/>
              <a:gd name="T13" fmla="*/ 935 h 3746"/>
              <a:gd name="T14" fmla="*/ 1809 w 7147"/>
              <a:gd name="T15" fmla="*/ 600 h 3746"/>
              <a:gd name="T16" fmla="*/ 1572 w 7147"/>
              <a:gd name="T17" fmla="*/ 1869 h 3746"/>
              <a:gd name="T18" fmla="*/ 906 w 7147"/>
              <a:gd name="T19" fmla="*/ 935 h 3746"/>
              <a:gd name="T20" fmla="*/ 333 w 7147"/>
              <a:gd name="T21" fmla="*/ 468 h 3746"/>
              <a:gd name="T22" fmla="*/ 716 w 7147"/>
              <a:gd name="T23" fmla="*/ 936 h 3746"/>
              <a:gd name="T24" fmla="*/ 1380 w 7147"/>
              <a:gd name="T25" fmla="*/ 1869 h 3746"/>
              <a:gd name="T26" fmla="*/ 335 w 7147"/>
              <a:gd name="T27" fmla="*/ 2337 h 3746"/>
              <a:gd name="T28" fmla="*/ 714 w 7147"/>
              <a:gd name="T29" fmla="*/ 2806 h 3746"/>
              <a:gd name="T30" fmla="*/ 1383 w 7147"/>
              <a:gd name="T31" fmla="*/ 3745 h 3746"/>
              <a:gd name="T32" fmla="*/ 1575 w 7147"/>
              <a:gd name="T33" fmla="*/ 3745 h 3746"/>
              <a:gd name="T34" fmla="*/ 2477 w 7147"/>
              <a:gd name="T35" fmla="*/ 3745 h 3746"/>
              <a:gd name="T36" fmla="*/ 3145 w 7147"/>
              <a:gd name="T37" fmla="*/ 2806 h 3746"/>
              <a:gd name="T38" fmla="*/ 3858 w 7147"/>
              <a:gd name="T39" fmla="*/ 2806 h 3746"/>
              <a:gd name="T40" fmla="*/ 4528 w 7147"/>
              <a:gd name="T41" fmla="*/ 3745 h 3746"/>
              <a:gd name="T42" fmla="*/ 4384 w 7147"/>
              <a:gd name="T43" fmla="*/ 3275 h 3746"/>
              <a:gd name="T44" fmla="*/ 4382 w 7147"/>
              <a:gd name="T45" fmla="*/ 2337 h 3746"/>
              <a:gd name="T46" fmla="*/ 5051 w 7147"/>
              <a:gd name="T47" fmla="*/ 2338 h 3746"/>
              <a:gd name="T48" fmla="*/ 5052 w 7147"/>
              <a:gd name="T49" fmla="*/ 3276 h 3746"/>
              <a:gd name="T50" fmla="*/ 5172 w 7147"/>
              <a:gd name="T51" fmla="*/ 3745 h 3746"/>
              <a:gd name="T52" fmla="*/ 5956 w 7147"/>
              <a:gd name="T53" fmla="*/ 3278 h 3746"/>
              <a:gd name="T54" fmla="*/ 6622 w 7147"/>
              <a:gd name="T55" fmla="*/ 3279 h 3746"/>
              <a:gd name="T56" fmla="*/ 7147 w 7147"/>
              <a:gd name="T57" fmla="*/ 3746 h 3746"/>
              <a:gd name="T58" fmla="*/ 6477 w 7147"/>
              <a:gd name="T59" fmla="*/ 2808 h 3746"/>
              <a:gd name="T60" fmla="*/ 5577 w 7147"/>
              <a:gd name="T61" fmla="*/ 2808 h 3746"/>
              <a:gd name="T62" fmla="*/ 4909 w 7147"/>
              <a:gd name="T63" fmla="*/ 1869 h 3746"/>
              <a:gd name="T64" fmla="*/ 4716 w 7147"/>
              <a:gd name="T65" fmla="*/ 1869 h 3746"/>
              <a:gd name="T66" fmla="*/ 3812 w 7147"/>
              <a:gd name="T67" fmla="*/ 1869 h 3746"/>
              <a:gd name="T68" fmla="*/ 2906 w 7147"/>
              <a:gd name="T69" fmla="*/ 2203 h 3746"/>
              <a:gd name="T70" fmla="*/ 3143 w 7147"/>
              <a:gd name="T71" fmla="*/ 933 h 3746"/>
              <a:gd name="T72" fmla="*/ 2238 w 7147"/>
              <a:gd name="T73" fmla="*/ 933 h 3746"/>
              <a:gd name="T74" fmla="*/ 1906 w 7147"/>
              <a:gd name="T75" fmla="*/ 467 h 3746"/>
              <a:gd name="T76" fmla="*/ 1119 w 7147"/>
              <a:gd name="T77" fmla="*/ 0 h 37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147" h="3746">
                <a:moveTo>
                  <a:pt x="906" y="2806"/>
                </a:moveTo>
                <a:lnTo>
                  <a:pt x="1239" y="2338"/>
                </a:lnTo>
                <a:lnTo>
                  <a:pt x="1573" y="1870"/>
                </a:lnTo>
                <a:lnTo>
                  <a:pt x="2024" y="1870"/>
                </a:lnTo>
                <a:lnTo>
                  <a:pt x="2477" y="1870"/>
                </a:lnTo>
                <a:lnTo>
                  <a:pt x="2809" y="2337"/>
                </a:lnTo>
                <a:lnTo>
                  <a:pt x="3143" y="2805"/>
                </a:lnTo>
                <a:lnTo>
                  <a:pt x="2692" y="2805"/>
                </a:lnTo>
                <a:lnTo>
                  <a:pt x="2242" y="2805"/>
                </a:lnTo>
                <a:lnTo>
                  <a:pt x="1908" y="3274"/>
                </a:lnTo>
                <a:lnTo>
                  <a:pt x="1574" y="3743"/>
                </a:lnTo>
                <a:lnTo>
                  <a:pt x="1240" y="3274"/>
                </a:lnTo>
                <a:lnTo>
                  <a:pt x="906" y="2806"/>
                </a:lnTo>
                <a:close/>
                <a:moveTo>
                  <a:pt x="906" y="935"/>
                </a:moveTo>
                <a:lnTo>
                  <a:pt x="1476" y="133"/>
                </a:lnTo>
                <a:lnTo>
                  <a:pt x="1809" y="600"/>
                </a:lnTo>
                <a:lnTo>
                  <a:pt x="2143" y="1068"/>
                </a:lnTo>
                <a:lnTo>
                  <a:pt x="1572" y="1869"/>
                </a:lnTo>
                <a:lnTo>
                  <a:pt x="1239" y="1402"/>
                </a:lnTo>
                <a:lnTo>
                  <a:pt x="906" y="935"/>
                </a:lnTo>
                <a:close/>
                <a:moveTo>
                  <a:pt x="667" y="0"/>
                </a:moveTo>
                <a:lnTo>
                  <a:pt x="333" y="468"/>
                </a:lnTo>
                <a:lnTo>
                  <a:pt x="0" y="936"/>
                </a:lnTo>
                <a:lnTo>
                  <a:pt x="716" y="936"/>
                </a:lnTo>
                <a:lnTo>
                  <a:pt x="1047" y="1402"/>
                </a:lnTo>
                <a:lnTo>
                  <a:pt x="1380" y="1869"/>
                </a:lnTo>
                <a:lnTo>
                  <a:pt x="669" y="1869"/>
                </a:lnTo>
                <a:lnTo>
                  <a:pt x="335" y="2337"/>
                </a:lnTo>
                <a:lnTo>
                  <a:pt x="1" y="2806"/>
                </a:lnTo>
                <a:lnTo>
                  <a:pt x="714" y="2806"/>
                </a:lnTo>
                <a:lnTo>
                  <a:pt x="1048" y="3275"/>
                </a:lnTo>
                <a:lnTo>
                  <a:pt x="1383" y="3745"/>
                </a:lnTo>
                <a:lnTo>
                  <a:pt x="1573" y="3745"/>
                </a:lnTo>
                <a:lnTo>
                  <a:pt x="1575" y="3745"/>
                </a:lnTo>
                <a:lnTo>
                  <a:pt x="2025" y="3745"/>
                </a:lnTo>
                <a:lnTo>
                  <a:pt x="2477" y="3745"/>
                </a:lnTo>
                <a:lnTo>
                  <a:pt x="2811" y="3275"/>
                </a:lnTo>
                <a:lnTo>
                  <a:pt x="3145" y="2806"/>
                </a:lnTo>
                <a:lnTo>
                  <a:pt x="3336" y="2806"/>
                </a:lnTo>
                <a:lnTo>
                  <a:pt x="3858" y="2806"/>
                </a:lnTo>
                <a:lnTo>
                  <a:pt x="4193" y="3275"/>
                </a:lnTo>
                <a:lnTo>
                  <a:pt x="4528" y="3745"/>
                </a:lnTo>
                <a:lnTo>
                  <a:pt x="4719" y="3745"/>
                </a:lnTo>
                <a:lnTo>
                  <a:pt x="4384" y="3275"/>
                </a:lnTo>
                <a:lnTo>
                  <a:pt x="4049" y="2806"/>
                </a:lnTo>
                <a:lnTo>
                  <a:pt x="4382" y="2337"/>
                </a:lnTo>
                <a:lnTo>
                  <a:pt x="4716" y="1869"/>
                </a:lnTo>
                <a:lnTo>
                  <a:pt x="5051" y="2338"/>
                </a:lnTo>
                <a:lnTo>
                  <a:pt x="5386" y="2808"/>
                </a:lnTo>
                <a:lnTo>
                  <a:pt x="5052" y="3276"/>
                </a:lnTo>
                <a:lnTo>
                  <a:pt x="4719" y="3745"/>
                </a:lnTo>
                <a:lnTo>
                  <a:pt x="5172" y="3745"/>
                </a:lnTo>
                <a:lnTo>
                  <a:pt x="5624" y="3745"/>
                </a:lnTo>
                <a:lnTo>
                  <a:pt x="5956" y="3278"/>
                </a:lnTo>
                <a:lnTo>
                  <a:pt x="6289" y="2812"/>
                </a:lnTo>
                <a:lnTo>
                  <a:pt x="6622" y="3279"/>
                </a:lnTo>
                <a:lnTo>
                  <a:pt x="6955" y="3746"/>
                </a:lnTo>
                <a:lnTo>
                  <a:pt x="7147" y="3746"/>
                </a:lnTo>
                <a:lnTo>
                  <a:pt x="6812" y="3277"/>
                </a:lnTo>
                <a:lnTo>
                  <a:pt x="6477" y="2808"/>
                </a:lnTo>
                <a:lnTo>
                  <a:pt x="6286" y="2808"/>
                </a:lnTo>
                <a:lnTo>
                  <a:pt x="5577" y="2808"/>
                </a:lnTo>
                <a:lnTo>
                  <a:pt x="5242" y="2338"/>
                </a:lnTo>
                <a:lnTo>
                  <a:pt x="4909" y="1869"/>
                </a:lnTo>
                <a:lnTo>
                  <a:pt x="4717" y="1869"/>
                </a:lnTo>
                <a:lnTo>
                  <a:pt x="4716" y="1869"/>
                </a:lnTo>
                <a:lnTo>
                  <a:pt x="4264" y="1869"/>
                </a:lnTo>
                <a:lnTo>
                  <a:pt x="3812" y="1869"/>
                </a:lnTo>
                <a:lnTo>
                  <a:pt x="3240" y="2672"/>
                </a:lnTo>
                <a:lnTo>
                  <a:pt x="2906" y="2203"/>
                </a:lnTo>
                <a:lnTo>
                  <a:pt x="2572" y="1735"/>
                </a:lnTo>
                <a:lnTo>
                  <a:pt x="3143" y="933"/>
                </a:lnTo>
                <a:lnTo>
                  <a:pt x="2691" y="933"/>
                </a:lnTo>
                <a:lnTo>
                  <a:pt x="2238" y="933"/>
                </a:lnTo>
                <a:lnTo>
                  <a:pt x="2238" y="934"/>
                </a:lnTo>
                <a:lnTo>
                  <a:pt x="1906" y="467"/>
                </a:lnTo>
                <a:lnTo>
                  <a:pt x="1573" y="0"/>
                </a:lnTo>
                <a:lnTo>
                  <a:pt x="1119" y="0"/>
                </a:lnTo>
                <a:lnTo>
                  <a:pt x="667" y="0"/>
                </a:lnTo>
                <a:close/>
              </a:path>
            </a:pathLst>
          </a:custGeom>
          <a:solidFill>
            <a:srgbClr val="FF6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E4D0754-B591-B7E1-29A5-95D7E5467A8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65239" y="980776"/>
            <a:ext cx="3043329" cy="432000"/>
            <a:chOff x="-649288" y="2474913"/>
            <a:chExt cx="13498513" cy="1916112"/>
          </a:xfrm>
        </p:grpSpPr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4477DEB9-8816-8B8A-16B9-2F6EE89A70C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15">
              <a:extLst>
                <a:ext uri="{FF2B5EF4-FFF2-40B4-BE49-F238E27FC236}">
                  <a16:creationId xmlns:a16="http://schemas.microsoft.com/office/drawing/2014/main" id="{339E450D-120D-1FB0-1091-5A63F5E5D34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479250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82662" y="1844675"/>
            <a:ext cx="4897437" cy="576263"/>
          </a:xfrm>
        </p:spPr>
        <p:txBody>
          <a:bodyPr tIns="5400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0" cap="none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3" hasCustomPrompt="1"/>
          </p:nvPr>
        </p:nvSpPr>
        <p:spPr>
          <a:xfrm>
            <a:off x="6311901" y="1844675"/>
            <a:ext cx="4897438" cy="576263"/>
          </a:xfrm>
        </p:spPr>
        <p:txBody>
          <a:bodyPr tIns="5400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0" cap="none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82662" y="2420939"/>
            <a:ext cx="4897438" cy="35290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11900" y="2420939"/>
            <a:ext cx="4897438" cy="35290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045572-87C3-4DB3-B720-EF3EB7C9FE2F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7844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-Rauta Pro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6">
            <a:extLst>
              <a:ext uri="{FF2B5EF4-FFF2-40B4-BE49-F238E27FC236}">
                <a16:creationId xmlns:a16="http://schemas.microsoft.com/office/drawing/2014/main" id="{DDE28D11-0888-FFC7-E01C-EF7F676A998B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0" y="2303518"/>
            <a:ext cx="8688288" cy="4554482"/>
          </a:xfrm>
          <a:custGeom>
            <a:avLst/>
            <a:gdLst>
              <a:gd name="T0" fmla="*/ 1239 w 7147"/>
              <a:gd name="T1" fmla="*/ 2338 h 3746"/>
              <a:gd name="T2" fmla="*/ 2024 w 7147"/>
              <a:gd name="T3" fmla="*/ 1870 h 3746"/>
              <a:gd name="T4" fmla="*/ 2809 w 7147"/>
              <a:gd name="T5" fmla="*/ 2337 h 3746"/>
              <a:gd name="T6" fmla="*/ 2692 w 7147"/>
              <a:gd name="T7" fmla="*/ 2805 h 3746"/>
              <a:gd name="T8" fmla="*/ 1908 w 7147"/>
              <a:gd name="T9" fmla="*/ 3274 h 3746"/>
              <a:gd name="T10" fmla="*/ 1240 w 7147"/>
              <a:gd name="T11" fmla="*/ 3274 h 3746"/>
              <a:gd name="T12" fmla="*/ 906 w 7147"/>
              <a:gd name="T13" fmla="*/ 935 h 3746"/>
              <a:gd name="T14" fmla="*/ 1809 w 7147"/>
              <a:gd name="T15" fmla="*/ 600 h 3746"/>
              <a:gd name="T16" fmla="*/ 1572 w 7147"/>
              <a:gd name="T17" fmla="*/ 1869 h 3746"/>
              <a:gd name="T18" fmla="*/ 906 w 7147"/>
              <a:gd name="T19" fmla="*/ 935 h 3746"/>
              <a:gd name="T20" fmla="*/ 333 w 7147"/>
              <a:gd name="T21" fmla="*/ 468 h 3746"/>
              <a:gd name="T22" fmla="*/ 716 w 7147"/>
              <a:gd name="T23" fmla="*/ 936 h 3746"/>
              <a:gd name="T24" fmla="*/ 1380 w 7147"/>
              <a:gd name="T25" fmla="*/ 1869 h 3746"/>
              <a:gd name="T26" fmla="*/ 335 w 7147"/>
              <a:gd name="T27" fmla="*/ 2337 h 3746"/>
              <a:gd name="T28" fmla="*/ 714 w 7147"/>
              <a:gd name="T29" fmla="*/ 2806 h 3746"/>
              <a:gd name="T30" fmla="*/ 1383 w 7147"/>
              <a:gd name="T31" fmla="*/ 3745 h 3746"/>
              <a:gd name="T32" fmla="*/ 1575 w 7147"/>
              <a:gd name="T33" fmla="*/ 3745 h 3746"/>
              <a:gd name="T34" fmla="*/ 2477 w 7147"/>
              <a:gd name="T35" fmla="*/ 3745 h 3746"/>
              <a:gd name="T36" fmla="*/ 3145 w 7147"/>
              <a:gd name="T37" fmla="*/ 2806 h 3746"/>
              <a:gd name="T38" fmla="*/ 3858 w 7147"/>
              <a:gd name="T39" fmla="*/ 2806 h 3746"/>
              <a:gd name="T40" fmla="*/ 4528 w 7147"/>
              <a:gd name="T41" fmla="*/ 3745 h 3746"/>
              <a:gd name="T42" fmla="*/ 4384 w 7147"/>
              <a:gd name="T43" fmla="*/ 3275 h 3746"/>
              <a:gd name="T44" fmla="*/ 4382 w 7147"/>
              <a:gd name="T45" fmla="*/ 2337 h 3746"/>
              <a:gd name="T46" fmla="*/ 5051 w 7147"/>
              <a:gd name="T47" fmla="*/ 2338 h 3746"/>
              <a:gd name="T48" fmla="*/ 5052 w 7147"/>
              <a:gd name="T49" fmla="*/ 3276 h 3746"/>
              <a:gd name="T50" fmla="*/ 5172 w 7147"/>
              <a:gd name="T51" fmla="*/ 3745 h 3746"/>
              <a:gd name="T52" fmla="*/ 5956 w 7147"/>
              <a:gd name="T53" fmla="*/ 3278 h 3746"/>
              <a:gd name="T54" fmla="*/ 6622 w 7147"/>
              <a:gd name="T55" fmla="*/ 3279 h 3746"/>
              <a:gd name="T56" fmla="*/ 7147 w 7147"/>
              <a:gd name="T57" fmla="*/ 3746 h 3746"/>
              <a:gd name="T58" fmla="*/ 6477 w 7147"/>
              <a:gd name="T59" fmla="*/ 2808 h 3746"/>
              <a:gd name="T60" fmla="*/ 5577 w 7147"/>
              <a:gd name="T61" fmla="*/ 2808 h 3746"/>
              <a:gd name="T62" fmla="*/ 4909 w 7147"/>
              <a:gd name="T63" fmla="*/ 1869 h 3746"/>
              <a:gd name="T64" fmla="*/ 4716 w 7147"/>
              <a:gd name="T65" fmla="*/ 1869 h 3746"/>
              <a:gd name="T66" fmla="*/ 3812 w 7147"/>
              <a:gd name="T67" fmla="*/ 1869 h 3746"/>
              <a:gd name="T68" fmla="*/ 2906 w 7147"/>
              <a:gd name="T69" fmla="*/ 2203 h 3746"/>
              <a:gd name="T70" fmla="*/ 3143 w 7147"/>
              <a:gd name="T71" fmla="*/ 933 h 3746"/>
              <a:gd name="T72" fmla="*/ 2238 w 7147"/>
              <a:gd name="T73" fmla="*/ 933 h 3746"/>
              <a:gd name="T74" fmla="*/ 1906 w 7147"/>
              <a:gd name="T75" fmla="*/ 467 h 3746"/>
              <a:gd name="T76" fmla="*/ 1119 w 7147"/>
              <a:gd name="T77" fmla="*/ 0 h 37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147" h="3746">
                <a:moveTo>
                  <a:pt x="906" y="2806"/>
                </a:moveTo>
                <a:lnTo>
                  <a:pt x="1239" y="2338"/>
                </a:lnTo>
                <a:lnTo>
                  <a:pt x="1573" y="1870"/>
                </a:lnTo>
                <a:lnTo>
                  <a:pt x="2024" y="1870"/>
                </a:lnTo>
                <a:lnTo>
                  <a:pt x="2477" y="1870"/>
                </a:lnTo>
                <a:lnTo>
                  <a:pt x="2809" y="2337"/>
                </a:lnTo>
                <a:lnTo>
                  <a:pt x="3143" y="2805"/>
                </a:lnTo>
                <a:lnTo>
                  <a:pt x="2692" y="2805"/>
                </a:lnTo>
                <a:lnTo>
                  <a:pt x="2242" y="2805"/>
                </a:lnTo>
                <a:lnTo>
                  <a:pt x="1908" y="3274"/>
                </a:lnTo>
                <a:lnTo>
                  <a:pt x="1574" y="3743"/>
                </a:lnTo>
                <a:lnTo>
                  <a:pt x="1240" y="3274"/>
                </a:lnTo>
                <a:lnTo>
                  <a:pt x="906" y="2806"/>
                </a:lnTo>
                <a:close/>
                <a:moveTo>
                  <a:pt x="906" y="935"/>
                </a:moveTo>
                <a:lnTo>
                  <a:pt x="1476" y="133"/>
                </a:lnTo>
                <a:lnTo>
                  <a:pt x="1809" y="600"/>
                </a:lnTo>
                <a:lnTo>
                  <a:pt x="2143" y="1068"/>
                </a:lnTo>
                <a:lnTo>
                  <a:pt x="1572" y="1869"/>
                </a:lnTo>
                <a:lnTo>
                  <a:pt x="1239" y="1402"/>
                </a:lnTo>
                <a:lnTo>
                  <a:pt x="906" y="935"/>
                </a:lnTo>
                <a:close/>
                <a:moveTo>
                  <a:pt x="667" y="0"/>
                </a:moveTo>
                <a:lnTo>
                  <a:pt x="333" y="468"/>
                </a:lnTo>
                <a:lnTo>
                  <a:pt x="0" y="936"/>
                </a:lnTo>
                <a:lnTo>
                  <a:pt x="716" y="936"/>
                </a:lnTo>
                <a:lnTo>
                  <a:pt x="1047" y="1402"/>
                </a:lnTo>
                <a:lnTo>
                  <a:pt x="1380" y="1869"/>
                </a:lnTo>
                <a:lnTo>
                  <a:pt x="669" y="1869"/>
                </a:lnTo>
                <a:lnTo>
                  <a:pt x="335" y="2337"/>
                </a:lnTo>
                <a:lnTo>
                  <a:pt x="1" y="2806"/>
                </a:lnTo>
                <a:lnTo>
                  <a:pt x="714" y="2806"/>
                </a:lnTo>
                <a:lnTo>
                  <a:pt x="1048" y="3275"/>
                </a:lnTo>
                <a:lnTo>
                  <a:pt x="1383" y="3745"/>
                </a:lnTo>
                <a:lnTo>
                  <a:pt x="1573" y="3745"/>
                </a:lnTo>
                <a:lnTo>
                  <a:pt x="1575" y="3745"/>
                </a:lnTo>
                <a:lnTo>
                  <a:pt x="2025" y="3745"/>
                </a:lnTo>
                <a:lnTo>
                  <a:pt x="2477" y="3745"/>
                </a:lnTo>
                <a:lnTo>
                  <a:pt x="2811" y="3275"/>
                </a:lnTo>
                <a:lnTo>
                  <a:pt x="3145" y="2806"/>
                </a:lnTo>
                <a:lnTo>
                  <a:pt x="3336" y="2806"/>
                </a:lnTo>
                <a:lnTo>
                  <a:pt x="3858" y="2806"/>
                </a:lnTo>
                <a:lnTo>
                  <a:pt x="4193" y="3275"/>
                </a:lnTo>
                <a:lnTo>
                  <a:pt x="4528" y="3745"/>
                </a:lnTo>
                <a:lnTo>
                  <a:pt x="4719" y="3745"/>
                </a:lnTo>
                <a:lnTo>
                  <a:pt x="4384" y="3275"/>
                </a:lnTo>
                <a:lnTo>
                  <a:pt x="4049" y="2806"/>
                </a:lnTo>
                <a:lnTo>
                  <a:pt x="4382" y="2337"/>
                </a:lnTo>
                <a:lnTo>
                  <a:pt x="4716" y="1869"/>
                </a:lnTo>
                <a:lnTo>
                  <a:pt x="5051" y="2338"/>
                </a:lnTo>
                <a:lnTo>
                  <a:pt x="5386" y="2808"/>
                </a:lnTo>
                <a:lnTo>
                  <a:pt x="5052" y="3276"/>
                </a:lnTo>
                <a:lnTo>
                  <a:pt x="4719" y="3745"/>
                </a:lnTo>
                <a:lnTo>
                  <a:pt x="5172" y="3745"/>
                </a:lnTo>
                <a:lnTo>
                  <a:pt x="5624" y="3745"/>
                </a:lnTo>
                <a:lnTo>
                  <a:pt x="5956" y="3278"/>
                </a:lnTo>
                <a:lnTo>
                  <a:pt x="6289" y="2812"/>
                </a:lnTo>
                <a:lnTo>
                  <a:pt x="6622" y="3279"/>
                </a:lnTo>
                <a:lnTo>
                  <a:pt x="6955" y="3746"/>
                </a:lnTo>
                <a:lnTo>
                  <a:pt x="7147" y="3746"/>
                </a:lnTo>
                <a:lnTo>
                  <a:pt x="6812" y="3277"/>
                </a:lnTo>
                <a:lnTo>
                  <a:pt x="6477" y="2808"/>
                </a:lnTo>
                <a:lnTo>
                  <a:pt x="6286" y="2808"/>
                </a:lnTo>
                <a:lnTo>
                  <a:pt x="5577" y="2808"/>
                </a:lnTo>
                <a:lnTo>
                  <a:pt x="5242" y="2338"/>
                </a:lnTo>
                <a:lnTo>
                  <a:pt x="4909" y="1869"/>
                </a:lnTo>
                <a:lnTo>
                  <a:pt x="4717" y="1869"/>
                </a:lnTo>
                <a:lnTo>
                  <a:pt x="4716" y="1869"/>
                </a:lnTo>
                <a:lnTo>
                  <a:pt x="4264" y="1869"/>
                </a:lnTo>
                <a:lnTo>
                  <a:pt x="3812" y="1869"/>
                </a:lnTo>
                <a:lnTo>
                  <a:pt x="3240" y="2672"/>
                </a:lnTo>
                <a:lnTo>
                  <a:pt x="2906" y="2203"/>
                </a:lnTo>
                <a:lnTo>
                  <a:pt x="2572" y="1735"/>
                </a:lnTo>
                <a:lnTo>
                  <a:pt x="3143" y="933"/>
                </a:lnTo>
                <a:lnTo>
                  <a:pt x="2691" y="933"/>
                </a:lnTo>
                <a:lnTo>
                  <a:pt x="2238" y="933"/>
                </a:lnTo>
                <a:lnTo>
                  <a:pt x="2238" y="934"/>
                </a:lnTo>
                <a:lnTo>
                  <a:pt x="1906" y="467"/>
                </a:lnTo>
                <a:lnTo>
                  <a:pt x="1573" y="0"/>
                </a:lnTo>
                <a:lnTo>
                  <a:pt x="1119" y="0"/>
                </a:lnTo>
                <a:lnTo>
                  <a:pt x="667" y="0"/>
                </a:lnTo>
                <a:close/>
              </a:path>
            </a:pathLst>
          </a:custGeom>
          <a:solidFill>
            <a:srgbClr val="FF6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34308CC-D434-D955-65E5-08E637F695D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65239" y="980728"/>
            <a:ext cx="3043329" cy="432000"/>
            <a:chOff x="-649288" y="2474913"/>
            <a:chExt cx="13498513" cy="1916112"/>
          </a:xfrm>
        </p:grpSpPr>
        <p:sp>
          <p:nvSpPr>
            <p:cNvPr id="5" name="Freeform 14">
              <a:extLst>
                <a:ext uri="{FF2B5EF4-FFF2-40B4-BE49-F238E27FC236}">
                  <a16:creationId xmlns:a16="http://schemas.microsoft.com/office/drawing/2014/main" id="{4960430E-0D52-9888-F0FB-30A48235D3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15">
              <a:extLst>
                <a:ext uri="{FF2B5EF4-FFF2-40B4-BE49-F238E27FC236}">
                  <a16:creationId xmlns:a16="http://schemas.microsoft.com/office/drawing/2014/main" id="{C4BAA775-39AC-DA5A-1876-7E2A5E77E15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690712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 NEG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425" y="692150"/>
            <a:ext cx="10657275" cy="9366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fi-FI"/>
              <a:t>Muokkaa perustyyl. napsautt.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81750"/>
            <a:ext cx="1441450" cy="1428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447289-92AC-4F26-AA3A-3B1EABB8E880}" type="datetime1">
              <a:rPr lang="fi-FI" smtClean="0">
                <a:solidFill>
                  <a:prstClr val="white"/>
                </a:solidFill>
              </a:rPr>
              <a:t>31.10.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279650" y="6381750"/>
            <a:ext cx="5873750" cy="1428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>
                <a:solidFill>
                  <a:prstClr val="white"/>
                </a:solidFill>
              </a:rPr>
              <a:t>RIA - RKL yrittäjäpäivä 1.11.2023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>
                <a:solidFill>
                  <a:prstClr val="white"/>
                </a:solidFill>
              </a:r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79425" y="1844675"/>
            <a:ext cx="11233150" cy="41052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8" name="Freeform 6"/>
          <p:cNvSpPr>
            <a:spLocks noChangeAspect="1" noEditPoints="1"/>
          </p:cNvSpPr>
          <p:nvPr userDrawn="1"/>
        </p:nvSpPr>
        <p:spPr bwMode="black">
          <a:xfrm>
            <a:off x="11406178" y="333375"/>
            <a:ext cx="306397" cy="342000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0020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0506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p15="http://schemas.microsoft.com/office/powerpoint/2012/main" xmlns="">
      <p:transition>
        <p:fade/>
      </p:transition>
    </mc:Fallback>
  </mc:AlternateConten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14760650-30F4-4975-BD2E-0AD0A9621044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Author  |  Unit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Freeform 12">
            <a:extLst>
              <a:ext uri="{FF2B5EF4-FFF2-40B4-BE49-F238E27FC236}">
                <a16:creationId xmlns:a16="http://schemas.microsoft.com/office/drawing/2014/main" id="{3F6E8BCC-5353-CF01-3647-1ADAA000F05D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511825" y="0"/>
            <a:ext cx="7680176" cy="3431498"/>
          </a:xfrm>
          <a:custGeom>
            <a:avLst/>
            <a:gdLst>
              <a:gd name="T0" fmla="*/ 1118 w 7030"/>
              <a:gd name="T1" fmla="*/ 1944 h 3141"/>
              <a:gd name="T2" fmla="*/ 1437 w 7030"/>
              <a:gd name="T3" fmla="*/ 1496 h 3141"/>
              <a:gd name="T4" fmla="*/ 1756 w 7030"/>
              <a:gd name="T5" fmla="*/ 1049 h 3141"/>
              <a:gd name="T6" fmla="*/ 1757 w 7030"/>
              <a:gd name="T7" fmla="*/ 1049 h 3141"/>
              <a:gd name="T8" fmla="*/ 2131 w 7030"/>
              <a:gd name="T9" fmla="*/ 1570 h 3141"/>
              <a:gd name="T10" fmla="*/ 2504 w 7030"/>
              <a:gd name="T11" fmla="*/ 2092 h 3141"/>
              <a:gd name="T12" fmla="*/ 2184 w 7030"/>
              <a:gd name="T13" fmla="*/ 2542 h 3141"/>
              <a:gd name="T14" fmla="*/ 1864 w 7030"/>
              <a:gd name="T15" fmla="*/ 2991 h 3141"/>
              <a:gd name="T16" fmla="*/ 1491 w 7030"/>
              <a:gd name="T17" fmla="*/ 2468 h 3141"/>
              <a:gd name="T18" fmla="*/ 1118 w 7030"/>
              <a:gd name="T19" fmla="*/ 1944 h 3141"/>
              <a:gd name="T20" fmla="*/ 1971 w 7030"/>
              <a:gd name="T21" fmla="*/ 1049 h 3141"/>
              <a:gd name="T22" fmla="*/ 2556 w 7030"/>
              <a:gd name="T23" fmla="*/ 1049 h 3141"/>
              <a:gd name="T24" fmla="*/ 2928 w 7030"/>
              <a:gd name="T25" fmla="*/ 1570 h 3141"/>
              <a:gd name="T26" fmla="*/ 3300 w 7030"/>
              <a:gd name="T27" fmla="*/ 2092 h 3141"/>
              <a:gd name="T28" fmla="*/ 2718 w 7030"/>
              <a:gd name="T29" fmla="*/ 2092 h 3141"/>
              <a:gd name="T30" fmla="*/ 2345 w 7030"/>
              <a:gd name="T31" fmla="*/ 1570 h 3141"/>
              <a:gd name="T32" fmla="*/ 1971 w 7030"/>
              <a:gd name="T33" fmla="*/ 1049 h 3141"/>
              <a:gd name="T34" fmla="*/ 2769 w 7030"/>
              <a:gd name="T35" fmla="*/ 1048 h 3141"/>
              <a:gd name="T36" fmla="*/ 3088 w 7030"/>
              <a:gd name="T37" fmla="*/ 598 h 3141"/>
              <a:gd name="T38" fmla="*/ 3408 w 7030"/>
              <a:gd name="T39" fmla="*/ 150 h 3141"/>
              <a:gd name="T40" fmla="*/ 3781 w 7030"/>
              <a:gd name="T41" fmla="*/ 672 h 3141"/>
              <a:gd name="T42" fmla="*/ 4154 w 7030"/>
              <a:gd name="T43" fmla="*/ 1196 h 3141"/>
              <a:gd name="T44" fmla="*/ 3835 w 7030"/>
              <a:gd name="T45" fmla="*/ 1644 h 3141"/>
              <a:gd name="T46" fmla="*/ 3516 w 7030"/>
              <a:gd name="T47" fmla="*/ 2092 h 3141"/>
              <a:gd name="T48" fmla="*/ 3142 w 7030"/>
              <a:gd name="T49" fmla="*/ 1570 h 3141"/>
              <a:gd name="T50" fmla="*/ 2769 w 7030"/>
              <a:gd name="T51" fmla="*/ 1048 h 3141"/>
              <a:gd name="T52" fmla="*/ 6017 w 7030"/>
              <a:gd name="T53" fmla="*/ 0 h 3141"/>
              <a:gd name="T54" fmla="*/ 5645 w 7030"/>
              <a:gd name="T55" fmla="*/ 522 h 3141"/>
              <a:gd name="T56" fmla="*/ 5274 w 7030"/>
              <a:gd name="T57" fmla="*/ 1045 h 3141"/>
              <a:gd name="T58" fmla="*/ 4767 w 7030"/>
              <a:gd name="T59" fmla="*/ 1045 h 3141"/>
              <a:gd name="T60" fmla="*/ 4261 w 7030"/>
              <a:gd name="T61" fmla="*/ 1045 h 3141"/>
              <a:gd name="T62" fmla="*/ 3889 w 7030"/>
              <a:gd name="T63" fmla="*/ 522 h 3141"/>
              <a:gd name="T64" fmla="*/ 3517 w 7030"/>
              <a:gd name="T65" fmla="*/ 0 h 3141"/>
              <a:gd name="T66" fmla="*/ 3009 w 7030"/>
              <a:gd name="T67" fmla="*/ 0 h 3141"/>
              <a:gd name="T68" fmla="*/ 2503 w 7030"/>
              <a:gd name="T69" fmla="*/ 0 h 3141"/>
              <a:gd name="T70" fmla="*/ 2131 w 7030"/>
              <a:gd name="T71" fmla="*/ 522 h 3141"/>
              <a:gd name="T72" fmla="*/ 1759 w 7030"/>
              <a:gd name="T73" fmla="*/ 1045 h 3141"/>
              <a:gd name="T74" fmla="*/ 1253 w 7030"/>
              <a:gd name="T75" fmla="*/ 1045 h 3141"/>
              <a:gd name="T76" fmla="*/ 747 w 7030"/>
              <a:gd name="T77" fmla="*/ 1045 h 3141"/>
              <a:gd name="T78" fmla="*/ 373 w 7030"/>
              <a:gd name="T79" fmla="*/ 1569 h 3141"/>
              <a:gd name="T80" fmla="*/ 0 w 7030"/>
              <a:gd name="T81" fmla="*/ 2093 h 3141"/>
              <a:gd name="T82" fmla="*/ 504 w 7030"/>
              <a:gd name="T83" fmla="*/ 2093 h 3141"/>
              <a:gd name="T84" fmla="*/ 1010 w 7030"/>
              <a:gd name="T85" fmla="*/ 2093 h 3141"/>
              <a:gd name="T86" fmla="*/ 1383 w 7030"/>
              <a:gd name="T87" fmla="*/ 2617 h 3141"/>
              <a:gd name="T88" fmla="*/ 1756 w 7030"/>
              <a:gd name="T89" fmla="*/ 3141 h 3141"/>
              <a:gd name="T90" fmla="*/ 1757 w 7030"/>
              <a:gd name="T91" fmla="*/ 3141 h 3141"/>
              <a:gd name="T92" fmla="*/ 1971 w 7030"/>
              <a:gd name="T93" fmla="*/ 3141 h 3141"/>
              <a:gd name="T94" fmla="*/ 2770 w 7030"/>
              <a:gd name="T95" fmla="*/ 3141 h 3141"/>
              <a:gd name="T96" fmla="*/ 3143 w 7030"/>
              <a:gd name="T97" fmla="*/ 2617 h 3141"/>
              <a:gd name="T98" fmla="*/ 3517 w 7030"/>
              <a:gd name="T99" fmla="*/ 2093 h 3141"/>
              <a:gd name="T100" fmla="*/ 4022 w 7030"/>
              <a:gd name="T101" fmla="*/ 2093 h 3141"/>
              <a:gd name="T102" fmla="*/ 4527 w 7030"/>
              <a:gd name="T103" fmla="*/ 2093 h 3141"/>
              <a:gd name="T104" fmla="*/ 4898 w 7030"/>
              <a:gd name="T105" fmla="*/ 1571 h 3141"/>
              <a:gd name="T106" fmla="*/ 5271 w 7030"/>
              <a:gd name="T107" fmla="*/ 1049 h 3141"/>
              <a:gd name="T108" fmla="*/ 5777 w 7030"/>
              <a:gd name="T109" fmla="*/ 1049 h 3141"/>
              <a:gd name="T110" fmla="*/ 6283 w 7030"/>
              <a:gd name="T111" fmla="*/ 1049 h 3141"/>
              <a:gd name="T112" fmla="*/ 6657 w 7030"/>
              <a:gd name="T113" fmla="*/ 524 h 3141"/>
              <a:gd name="T114" fmla="*/ 7030 w 7030"/>
              <a:gd name="T115" fmla="*/ 0 h 3141"/>
              <a:gd name="T116" fmla="*/ 6524 w 7030"/>
              <a:gd name="T117" fmla="*/ 0 h 3141"/>
              <a:gd name="T118" fmla="*/ 6017 w 7030"/>
              <a:gd name="T119" fmla="*/ 0 h 3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030" h="3141">
                <a:moveTo>
                  <a:pt x="1118" y="1944"/>
                </a:moveTo>
                <a:lnTo>
                  <a:pt x="1437" y="1496"/>
                </a:lnTo>
                <a:lnTo>
                  <a:pt x="1756" y="1049"/>
                </a:lnTo>
                <a:lnTo>
                  <a:pt x="1757" y="1049"/>
                </a:lnTo>
                <a:lnTo>
                  <a:pt x="2131" y="1570"/>
                </a:lnTo>
                <a:lnTo>
                  <a:pt x="2504" y="2092"/>
                </a:lnTo>
                <a:lnTo>
                  <a:pt x="2184" y="2542"/>
                </a:lnTo>
                <a:lnTo>
                  <a:pt x="1864" y="2991"/>
                </a:lnTo>
                <a:lnTo>
                  <a:pt x="1491" y="2468"/>
                </a:lnTo>
                <a:lnTo>
                  <a:pt x="1118" y="1944"/>
                </a:lnTo>
                <a:close/>
                <a:moveTo>
                  <a:pt x="1971" y="1049"/>
                </a:moveTo>
                <a:lnTo>
                  <a:pt x="2556" y="1049"/>
                </a:lnTo>
                <a:lnTo>
                  <a:pt x="2928" y="1570"/>
                </a:lnTo>
                <a:lnTo>
                  <a:pt x="3300" y="2092"/>
                </a:lnTo>
                <a:lnTo>
                  <a:pt x="2718" y="2092"/>
                </a:lnTo>
                <a:lnTo>
                  <a:pt x="2345" y="1570"/>
                </a:lnTo>
                <a:lnTo>
                  <a:pt x="1971" y="1049"/>
                </a:lnTo>
                <a:close/>
                <a:moveTo>
                  <a:pt x="2769" y="1048"/>
                </a:moveTo>
                <a:lnTo>
                  <a:pt x="3088" y="598"/>
                </a:lnTo>
                <a:lnTo>
                  <a:pt x="3408" y="150"/>
                </a:lnTo>
                <a:lnTo>
                  <a:pt x="3781" y="672"/>
                </a:lnTo>
                <a:lnTo>
                  <a:pt x="4154" y="1196"/>
                </a:lnTo>
                <a:lnTo>
                  <a:pt x="3835" y="1644"/>
                </a:lnTo>
                <a:lnTo>
                  <a:pt x="3516" y="2092"/>
                </a:lnTo>
                <a:lnTo>
                  <a:pt x="3142" y="1570"/>
                </a:lnTo>
                <a:lnTo>
                  <a:pt x="2769" y="1048"/>
                </a:lnTo>
                <a:close/>
                <a:moveTo>
                  <a:pt x="6017" y="0"/>
                </a:moveTo>
                <a:lnTo>
                  <a:pt x="5645" y="522"/>
                </a:lnTo>
                <a:lnTo>
                  <a:pt x="5274" y="1045"/>
                </a:lnTo>
                <a:lnTo>
                  <a:pt x="4767" y="1045"/>
                </a:lnTo>
                <a:lnTo>
                  <a:pt x="4261" y="1045"/>
                </a:lnTo>
                <a:lnTo>
                  <a:pt x="3889" y="522"/>
                </a:lnTo>
                <a:lnTo>
                  <a:pt x="3517" y="0"/>
                </a:lnTo>
                <a:lnTo>
                  <a:pt x="3009" y="0"/>
                </a:lnTo>
                <a:lnTo>
                  <a:pt x="2503" y="0"/>
                </a:lnTo>
                <a:lnTo>
                  <a:pt x="2131" y="522"/>
                </a:lnTo>
                <a:lnTo>
                  <a:pt x="1759" y="1045"/>
                </a:lnTo>
                <a:lnTo>
                  <a:pt x="1253" y="1045"/>
                </a:lnTo>
                <a:lnTo>
                  <a:pt x="747" y="1045"/>
                </a:lnTo>
                <a:lnTo>
                  <a:pt x="373" y="1569"/>
                </a:lnTo>
                <a:lnTo>
                  <a:pt x="0" y="2093"/>
                </a:lnTo>
                <a:lnTo>
                  <a:pt x="504" y="2093"/>
                </a:lnTo>
                <a:lnTo>
                  <a:pt x="1010" y="2093"/>
                </a:lnTo>
                <a:lnTo>
                  <a:pt x="1383" y="2617"/>
                </a:lnTo>
                <a:lnTo>
                  <a:pt x="1756" y="3141"/>
                </a:lnTo>
                <a:lnTo>
                  <a:pt x="1757" y="3141"/>
                </a:lnTo>
                <a:lnTo>
                  <a:pt x="1971" y="3141"/>
                </a:lnTo>
                <a:lnTo>
                  <a:pt x="2770" y="3141"/>
                </a:lnTo>
                <a:lnTo>
                  <a:pt x="3143" y="2617"/>
                </a:lnTo>
                <a:lnTo>
                  <a:pt x="3517" y="2093"/>
                </a:lnTo>
                <a:lnTo>
                  <a:pt x="4022" y="2093"/>
                </a:lnTo>
                <a:lnTo>
                  <a:pt x="4527" y="2093"/>
                </a:lnTo>
                <a:lnTo>
                  <a:pt x="4898" y="1571"/>
                </a:lnTo>
                <a:lnTo>
                  <a:pt x="5271" y="1049"/>
                </a:lnTo>
                <a:lnTo>
                  <a:pt x="5777" y="1049"/>
                </a:lnTo>
                <a:lnTo>
                  <a:pt x="6283" y="1049"/>
                </a:lnTo>
                <a:lnTo>
                  <a:pt x="6657" y="524"/>
                </a:lnTo>
                <a:lnTo>
                  <a:pt x="7030" y="0"/>
                </a:lnTo>
                <a:lnTo>
                  <a:pt x="6524" y="0"/>
                </a:lnTo>
                <a:lnTo>
                  <a:pt x="6017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D384FA6-9F8B-73E8-9AB3-FEA935225E2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83432" y="3429000"/>
            <a:ext cx="4057774" cy="576000"/>
            <a:chOff x="-649288" y="2474913"/>
            <a:chExt cx="13498513" cy="1916112"/>
          </a:xfrm>
        </p:grpSpPr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3BFC7D33-8963-577B-3B56-732392617D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15">
              <a:extLst>
                <a:ext uri="{FF2B5EF4-FFF2-40B4-BE49-F238E27FC236}">
                  <a16:creationId xmlns:a16="http://schemas.microsoft.com/office/drawing/2014/main" id="{C0136CD6-A287-2A01-CF08-A624338CE4D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711345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Whi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8D0144E3-9233-41C2-AA7F-A502AAE7CA5D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Author  |  Unit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reeform 12">
            <a:extLst>
              <a:ext uri="{FF2B5EF4-FFF2-40B4-BE49-F238E27FC236}">
                <a16:creationId xmlns:a16="http://schemas.microsoft.com/office/drawing/2014/main" id="{FD3B0C9F-AEDD-C4B5-1CD9-890AB177B89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511825" y="0"/>
            <a:ext cx="7680176" cy="3431498"/>
          </a:xfrm>
          <a:custGeom>
            <a:avLst/>
            <a:gdLst>
              <a:gd name="T0" fmla="*/ 1118 w 7030"/>
              <a:gd name="T1" fmla="*/ 1944 h 3141"/>
              <a:gd name="T2" fmla="*/ 1437 w 7030"/>
              <a:gd name="T3" fmla="*/ 1496 h 3141"/>
              <a:gd name="T4" fmla="*/ 1756 w 7030"/>
              <a:gd name="T5" fmla="*/ 1049 h 3141"/>
              <a:gd name="T6" fmla="*/ 1757 w 7030"/>
              <a:gd name="T7" fmla="*/ 1049 h 3141"/>
              <a:gd name="T8" fmla="*/ 2131 w 7030"/>
              <a:gd name="T9" fmla="*/ 1570 h 3141"/>
              <a:gd name="T10" fmla="*/ 2504 w 7030"/>
              <a:gd name="T11" fmla="*/ 2092 h 3141"/>
              <a:gd name="T12" fmla="*/ 2184 w 7030"/>
              <a:gd name="T13" fmla="*/ 2542 h 3141"/>
              <a:gd name="T14" fmla="*/ 1864 w 7030"/>
              <a:gd name="T15" fmla="*/ 2991 h 3141"/>
              <a:gd name="T16" fmla="*/ 1491 w 7030"/>
              <a:gd name="T17" fmla="*/ 2468 h 3141"/>
              <a:gd name="T18" fmla="*/ 1118 w 7030"/>
              <a:gd name="T19" fmla="*/ 1944 h 3141"/>
              <a:gd name="T20" fmla="*/ 1971 w 7030"/>
              <a:gd name="T21" fmla="*/ 1049 h 3141"/>
              <a:gd name="T22" fmla="*/ 2556 w 7030"/>
              <a:gd name="T23" fmla="*/ 1049 h 3141"/>
              <a:gd name="T24" fmla="*/ 2928 w 7030"/>
              <a:gd name="T25" fmla="*/ 1570 h 3141"/>
              <a:gd name="T26" fmla="*/ 3300 w 7030"/>
              <a:gd name="T27" fmla="*/ 2092 h 3141"/>
              <a:gd name="T28" fmla="*/ 2718 w 7030"/>
              <a:gd name="T29" fmla="*/ 2092 h 3141"/>
              <a:gd name="T30" fmla="*/ 2345 w 7030"/>
              <a:gd name="T31" fmla="*/ 1570 h 3141"/>
              <a:gd name="T32" fmla="*/ 1971 w 7030"/>
              <a:gd name="T33" fmla="*/ 1049 h 3141"/>
              <a:gd name="T34" fmla="*/ 2769 w 7030"/>
              <a:gd name="T35" fmla="*/ 1048 h 3141"/>
              <a:gd name="T36" fmla="*/ 3088 w 7030"/>
              <a:gd name="T37" fmla="*/ 598 h 3141"/>
              <a:gd name="T38" fmla="*/ 3408 w 7030"/>
              <a:gd name="T39" fmla="*/ 150 h 3141"/>
              <a:gd name="T40" fmla="*/ 3781 w 7030"/>
              <a:gd name="T41" fmla="*/ 672 h 3141"/>
              <a:gd name="T42" fmla="*/ 4154 w 7030"/>
              <a:gd name="T43" fmla="*/ 1196 h 3141"/>
              <a:gd name="T44" fmla="*/ 3835 w 7030"/>
              <a:gd name="T45" fmla="*/ 1644 h 3141"/>
              <a:gd name="T46" fmla="*/ 3516 w 7030"/>
              <a:gd name="T47" fmla="*/ 2092 h 3141"/>
              <a:gd name="T48" fmla="*/ 3142 w 7030"/>
              <a:gd name="T49" fmla="*/ 1570 h 3141"/>
              <a:gd name="T50" fmla="*/ 2769 w 7030"/>
              <a:gd name="T51" fmla="*/ 1048 h 3141"/>
              <a:gd name="T52" fmla="*/ 6017 w 7030"/>
              <a:gd name="T53" fmla="*/ 0 h 3141"/>
              <a:gd name="T54" fmla="*/ 5645 w 7030"/>
              <a:gd name="T55" fmla="*/ 522 h 3141"/>
              <a:gd name="T56" fmla="*/ 5274 w 7030"/>
              <a:gd name="T57" fmla="*/ 1045 h 3141"/>
              <a:gd name="T58" fmla="*/ 4767 w 7030"/>
              <a:gd name="T59" fmla="*/ 1045 h 3141"/>
              <a:gd name="T60" fmla="*/ 4261 w 7030"/>
              <a:gd name="T61" fmla="*/ 1045 h 3141"/>
              <a:gd name="T62" fmla="*/ 3889 w 7030"/>
              <a:gd name="T63" fmla="*/ 522 h 3141"/>
              <a:gd name="T64" fmla="*/ 3517 w 7030"/>
              <a:gd name="T65" fmla="*/ 0 h 3141"/>
              <a:gd name="T66" fmla="*/ 3009 w 7030"/>
              <a:gd name="T67" fmla="*/ 0 h 3141"/>
              <a:gd name="T68" fmla="*/ 2503 w 7030"/>
              <a:gd name="T69" fmla="*/ 0 h 3141"/>
              <a:gd name="T70" fmla="*/ 2131 w 7030"/>
              <a:gd name="T71" fmla="*/ 522 h 3141"/>
              <a:gd name="T72" fmla="*/ 1759 w 7030"/>
              <a:gd name="T73" fmla="*/ 1045 h 3141"/>
              <a:gd name="T74" fmla="*/ 1253 w 7030"/>
              <a:gd name="T75" fmla="*/ 1045 h 3141"/>
              <a:gd name="T76" fmla="*/ 747 w 7030"/>
              <a:gd name="T77" fmla="*/ 1045 h 3141"/>
              <a:gd name="T78" fmla="*/ 373 w 7030"/>
              <a:gd name="T79" fmla="*/ 1569 h 3141"/>
              <a:gd name="T80" fmla="*/ 0 w 7030"/>
              <a:gd name="T81" fmla="*/ 2093 h 3141"/>
              <a:gd name="T82" fmla="*/ 504 w 7030"/>
              <a:gd name="T83" fmla="*/ 2093 h 3141"/>
              <a:gd name="T84" fmla="*/ 1010 w 7030"/>
              <a:gd name="T85" fmla="*/ 2093 h 3141"/>
              <a:gd name="T86" fmla="*/ 1383 w 7030"/>
              <a:gd name="T87" fmla="*/ 2617 h 3141"/>
              <a:gd name="T88" fmla="*/ 1756 w 7030"/>
              <a:gd name="T89" fmla="*/ 3141 h 3141"/>
              <a:gd name="T90" fmla="*/ 1757 w 7030"/>
              <a:gd name="T91" fmla="*/ 3141 h 3141"/>
              <a:gd name="T92" fmla="*/ 1971 w 7030"/>
              <a:gd name="T93" fmla="*/ 3141 h 3141"/>
              <a:gd name="T94" fmla="*/ 2770 w 7030"/>
              <a:gd name="T95" fmla="*/ 3141 h 3141"/>
              <a:gd name="T96" fmla="*/ 3143 w 7030"/>
              <a:gd name="T97" fmla="*/ 2617 h 3141"/>
              <a:gd name="T98" fmla="*/ 3517 w 7030"/>
              <a:gd name="T99" fmla="*/ 2093 h 3141"/>
              <a:gd name="T100" fmla="*/ 4022 w 7030"/>
              <a:gd name="T101" fmla="*/ 2093 h 3141"/>
              <a:gd name="T102" fmla="*/ 4527 w 7030"/>
              <a:gd name="T103" fmla="*/ 2093 h 3141"/>
              <a:gd name="T104" fmla="*/ 4898 w 7030"/>
              <a:gd name="T105" fmla="*/ 1571 h 3141"/>
              <a:gd name="T106" fmla="*/ 5271 w 7030"/>
              <a:gd name="T107" fmla="*/ 1049 h 3141"/>
              <a:gd name="T108" fmla="*/ 5777 w 7030"/>
              <a:gd name="T109" fmla="*/ 1049 h 3141"/>
              <a:gd name="T110" fmla="*/ 6283 w 7030"/>
              <a:gd name="T111" fmla="*/ 1049 h 3141"/>
              <a:gd name="T112" fmla="*/ 6657 w 7030"/>
              <a:gd name="T113" fmla="*/ 524 h 3141"/>
              <a:gd name="T114" fmla="*/ 7030 w 7030"/>
              <a:gd name="T115" fmla="*/ 0 h 3141"/>
              <a:gd name="T116" fmla="*/ 6524 w 7030"/>
              <a:gd name="T117" fmla="*/ 0 h 3141"/>
              <a:gd name="T118" fmla="*/ 6017 w 7030"/>
              <a:gd name="T119" fmla="*/ 0 h 3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030" h="3141">
                <a:moveTo>
                  <a:pt x="1118" y="1944"/>
                </a:moveTo>
                <a:lnTo>
                  <a:pt x="1437" y="1496"/>
                </a:lnTo>
                <a:lnTo>
                  <a:pt x="1756" y="1049"/>
                </a:lnTo>
                <a:lnTo>
                  <a:pt x="1757" y="1049"/>
                </a:lnTo>
                <a:lnTo>
                  <a:pt x="2131" y="1570"/>
                </a:lnTo>
                <a:lnTo>
                  <a:pt x="2504" y="2092"/>
                </a:lnTo>
                <a:lnTo>
                  <a:pt x="2184" y="2542"/>
                </a:lnTo>
                <a:lnTo>
                  <a:pt x="1864" y="2991"/>
                </a:lnTo>
                <a:lnTo>
                  <a:pt x="1491" y="2468"/>
                </a:lnTo>
                <a:lnTo>
                  <a:pt x="1118" y="1944"/>
                </a:lnTo>
                <a:close/>
                <a:moveTo>
                  <a:pt x="1971" y="1049"/>
                </a:moveTo>
                <a:lnTo>
                  <a:pt x="2556" y="1049"/>
                </a:lnTo>
                <a:lnTo>
                  <a:pt x="2928" y="1570"/>
                </a:lnTo>
                <a:lnTo>
                  <a:pt x="3300" y="2092"/>
                </a:lnTo>
                <a:lnTo>
                  <a:pt x="2718" y="2092"/>
                </a:lnTo>
                <a:lnTo>
                  <a:pt x="2345" y="1570"/>
                </a:lnTo>
                <a:lnTo>
                  <a:pt x="1971" y="1049"/>
                </a:lnTo>
                <a:close/>
                <a:moveTo>
                  <a:pt x="2769" y="1048"/>
                </a:moveTo>
                <a:lnTo>
                  <a:pt x="3088" y="598"/>
                </a:lnTo>
                <a:lnTo>
                  <a:pt x="3408" y="150"/>
                </a:lnTo>
                <a:lnTo>
                  <a:pt x="3781" y="672"/>
                </a:lnTo>
                <a:lnTo>
                  <a:pt x="4154" y="1196"/>
                </a:lnTo>
                <a:lnTo>
                  <a:pt x="3835" y="1644"/>
                </a:lnTo>
                <a:lnTo>
                  <a:pt x="3516" y="2092"/>
                </a:lnTo>
                <a:lnTo>
                  <a:pt x="3142" y="1570"/>
                </a:lnTo>
                <a:lnTo>
                  <a:pt x="2769" y="1048"/>
                </a:lnTo>
                <a:close/>
                <a:moveTo>
                  <a:pt x="6017" y="0"/>
                </a:moveTo>
                <a:lnTo>
                  <a:pt x="5645" y="522"/>
                </a:lnTo>
                <a:lnTo>
                  <a:pt x="5274" y="1045"/>
                </a:lnTo>
                <a:lnTo>
                  <a:pt x="4767" y="1045"/>
                </a:lnTo>
                <a:lnTo>
                  <a:pt x="4261" y="1045"/>
                </a:lnTo>
                <a:lnTo>
                  <a:pt x="3889" y="522"/>
                </a:lnTo>
                <a:lnTo>
                  <a:pt x="3517" y="0"/>
                </a:lnTo>
                <a:lnTo>
                  <a:pt x="3009" y="0"/>
                </a:lnTo>
                <a:lnTo>
                  <a:pt x="2503" y="0"/>
                </a:lnTo>
                <a:lnTo>
                  <a:pt x="2131" y="522"/>
                </a:lnTo>
                <a:lnTo>
                  <a:pt x="1759" y="1045"/>
                </a:lnTo>
                <a:lnTo>
                  <a:pt x="1253" y="1045"/>
                </a:lnTo>
                <a:lnTo>
                  <a:pt x="747" y="1045"/>
                </a:lnTo>
                <a:lnTo>
                  <a:pt x="373" y="1569"/>
                </a:lnTo>
                <a:lnTo>
                  <a:pt x="0" y="2093"/>
                </a:lnTo>
                <a:lnTo>
                  <a:pt x="504" y="2093"/>
                </a:lnTo>
                <a:lnTo>
                  <a:pt x="1010" y="2093"/>
                </a:lnTo>
                <a:lnTo>
                  <a:pt x="1383" y="2617"/>
                </a:lnTo>
                <a:lnTo>
                  <a:pt x="1756" y="3141"/>
                </a:lnTo>
                <a:lnTo>
                  <a:pt x="1757" y="3141"/>
                </a:lnTo>
                <a:lnTo>
                  <a:pt x="1971" y="3141"/>
                </a:lnTo>
                <a:lnTo>
                  <a:pt x="2770" y="3141"/>
                </a:lnTo>
                <a:lnTo>
                  <a:pt x="3143" y="2617"/>
                </a:lnTo>
                <a:lnTo>
                  <a:pt x="3517" y="2093"/>
                </a:lnTo>
                <a:lnTo>
                  <a:pt x="4022" y="2093"/>
                </a:lnTo>
                <a:lnTo>
                  <a:pt x="4527" y="2093"/>
                </a:lnTo>
                <a:lnTo>
                  <a:pt x="4898" y="1571"/>
                </a:lnTo>
                <a:lnTo>
                  <a:pt x="5271" y="1049"/>
                </a:lnTo>
                <a:lnTo>
                  <a:pt x="5777" y="1049"/>
                </a:lnTo>
                <a:lnTo>
                  <a:pt x="6283" y="1049"/>
                </a:lnTo>
                <a:lnTo>
                  <a:pt x="6657" y="524"/>
                </a:lnTo>
                <a:lnTo>
                  <a:pt x="7030" y="0"/>
                </a:lnTo>
                <a:lnTo>
                  <a:pt x="6524" y="0"/>
                </a:lnTo>
                <a:lnTo>
                  <a:pt x="6017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5644471-4EF4-7102-424C-03A544F5AAA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83430" y="3429000"/>
            <a:ext cx="4057773" cy="576000"/>
            <a:chOff x="-649288" y="2474913"/>
            <a:chExt cx="13498513" cy="1916112"/>
          </a:xfrm>
        </p:grpSpPr>
        <p:sp>
          <p:nvSpPr>
            <p:cNvPr id="11" name="Freeform 14">
              <a:extLst>
                <a:ext uri="{FF2B5EF4-FFF2-40B4-BE49-F238E27FC236}">
                  <a16:creationId xmlns:a16="http://schemas.microsoft.com/office/drawing/2014/main" id="{CC2B5684-2D7A-A1AA-B905-5822C6DAD6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15">
              <a:extLst>
                <a:ext uri="{FF2B5EF4-FFF2-40B4-BE49-F238E27FC236}">
                  <a16:creationId xmlns:a16="http://schemas.microsoft.com/office/drawing/2014/main" id="{4340188D-3BEC-AFBB-0276-2185504EBB0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149675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94FF3-646E-48D2-B2F9-FBD86AB09B63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  |  Uni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0CC04ED-B65B-48C8-B52A-7CDD12C54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025714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Gra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3EEEF34-1787-BA6A-F380-57EEB440B70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72464" y="6237312"/>
            <a:ext cx="1521663" cy="216000"/>
            <a:chOff x="-649288" y="2474913"/>
            <a:chExt cx="13498513" cy="1916112"/>
          </a:xfrm>
        </p:grpSpPr>
        <p:sp>
          <p:nvSpPr>
            <p:cNvPr id="7" name="Freeform 14">
              <a:extLst>
                <a:ext uri="{FF2B5EF4-FFF2-40B4-BE49-F238E27FC236}">
                  <a16:creationId xmlns:a16="http://schemas.microsoft.com/office/drawing/2014/main" id="{F375E352-ABC7-AC7F-000D-54AE1689E6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15">
              <a:extLst>
                <a:ext uri="{FF2B5EF4-FFF2-40B4-BE49-F238E27FC236}">
                  <a16:creationId xmlns:a16="http://schemas.microsoft.com/office/drawing/2014/main" id="{902C92C4-390B-6F36-7819-C2637371F49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0DC1F5FC-E9FE-1B02-2CB8-FF0E0A133F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5282A8F-F53D-4C3A-A3D3-F579F6E60E6E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E2A5FDB0-B31D-48B9-3923-942C6FF878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uthor  |  Unit</a:t>
            </a:r>
            <a:endParaRPr lang="en-US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71B32C20-501B-EA13-6D6B-B6C40F2807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797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82663" y="404664"/>
            <a:ext cx="4537273" cy="1008063"/>
          </a:xfrm>
        </p:spPr>
        <p:txBody>
          <a:bodyPr tIns="144000" anchor="t" anchorCtr="0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982663" y="1844675"/>
            <a:ext cx="4537273" cy="4105275"/>
          </a:xfrm>
        </p:spPr>
        <p:txBody>
          <a:bodyPr/>
          <a:lstStyle>
            <a:lvl1pPr marL="361950" indent="-361950">
              <a:buFont typeface="+mj-lt"/>
              <a:buAutoNum type="arabicPeriod"/>
              <a:defRPr/>
            </a:lvl1pPr>
            <a:lvl2pPr marL="628650" indent="-266700">
              <a:defRPr/>
            </a:lvl2pPr>
            <a:lvl3pPr marL="895350" indent="-273050">
              <a:defRPr/>
            </a:lvl3pPr>
            <a:lvl4pPr marL="1162050" indent="-266700">
              <a:defRPr/>
            </a:lvl4pPr>
            <a:lvl5pPr marL="1438275" indent="-276225">
              <a:defRPr/>
            </a:lvl5pPr>
            <a:lvl6pPr marL="1704975" indent="-274638">
              <a:defRPr/>
            </a:lvl6pPr>
            <a:lvl7pPr marL="1971675" indent="-266700">
              <a:defRPr/>
            </a:lvl7pPr>
            <a:lvl8pPr marL="2238375" indent="-265113">
              <a:defRPr/>
            </a:lvl8pPr>
            <a:lvl9pPr marL="2514600" indent="-266700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C0F353BE-9118-4713-9B6F-2415EDE4EC5A}" type="datetime1">
              <a:rPr lang="fi-FI" smtClean="0">
                <a:solidFill>
                  <a:srgbClr val="FF6900"/>
                </a:solidFill>
              </a:rPr>
              <a:t>31.10.2023</a:t>
            </a:fld>
            <a:endParaRPr lang="en-US">
              <a:solidFill>
                <a:srgbClr val="FF69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i-FI">
                <a:solidFill>
                  <a:srgbClr val="FF6900"/>
                </a:solidFill>
              </a:rPr>
              <a:t>Author  |  Unit</a:t>
            </a:r>
            <a:endParaRPr lang="en-US">
              <a:solidFill>
                <a:srgbClr val="FF69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1FEE6BA-E83C-4FBF-B719-E6671631796F}" type="slidenum">
              <a:rPr lang="en-US" smtClean="0">
                <a:solidFill>
                  <a:srgbClr val="FF6900"/>
                </a:solidFill>
              </a:rPr>
              <a:pPr/>
              <a:t>‹#›</a:t>
            </a:fld>
            <a:endParaRPr lang="en-US">
              <a:solidFill>
                <a:srgbClr val="FF69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1904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Gra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82663" y="404664"/>
            <a:ext cx="4537273" cy="1008063"/>
          </a:xfrm>
        </p:spPr>
        <p:txBody>
          <a:bodyPr tIns="144000" anchor="t" anchorCtr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982663" y="1844675"/>
            <a:ext cx="4537273" cy="4105275"/>
          </a:xfrm>
        </p:spPr>
        <p:txBody>
          <a:bodyPr/>
          <a:lstStyle>
            <a:lvl1pPr marL="361950" indent="-361950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628650" indent="-266700">
              <a:defRPr>
                <a:solidFill>
                  <a:schemeClr val="bg1"/>
                </a:solidFill>
              </a:defRPr>
            </a:lvl2pPr>
            <a:lvl3pPr marL="895350" indent="-273050">
              <a:defRPr>
                <a:solidFill>
                  <a:schemeClr val="bg1"/>
                </a:solidFill>
              </a:defRPr>
            </a:lvl3pPr>
            <a:lvl4pPr marL="1162050" indent="-266700">
              <a:defRPr>
                <a:solidFill>
                  <a:schemeClr val="bg1"/>
                </a:solidFill>
              </a:defRPr>
            </a:lvl4pPr>
            <a:lvl5pPr marL="1438275" indent="-276225">
              <a:defRPr>
                <a:solidFill>
                  <a:schemeClr val="bg1"/>
                </a:solidFill>
              </a:defRPr>
            </a:lvl5pPr>
            <a:lvl6pPr marL="1704975" indent="-274638">
              <a:defRPr>
                <a:solidFill>
                  <a:schemeClr val="bg1"/>
                </a:solidFill>
              </a:defRPr>
            </a:lvl6pPr>
            <a:lvl7pPr marL="1971675" indent="-266700">
              <a:defRPr>
                <a:solidFill>
                  <a:schemeClr val="bg1"/>
                </a:solidFill>
              </a:defRPr>
            </a:lvl7pPr>
            <a:lvl8pPr marL="2238375" indent="-265113">
              <a:defRPr>
                <a:solidFill>
                  <a:schemeClr val="bg1"/>
                </a:solidFill>
              </a:defRPr>
            </a:lvl8pPr>
            <a:lvl9pPr marL="2514600" indent="-26670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C9F978D-EA60-E03C-6DFB-9B487F8EB54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72464" y="6237312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10" name="Freeform 14">
              <a:extLst>
                <a:ext uri="{FF2B5EF4-FFF2-40B4-BE49-F238E27FC236}">
                  <a16:creationId xmlns:a16="http://schemas.microsoft.com/office/drawing/2014/main" id="{2F3CC0FE-0083-DB6D-8C9D-B0F6C53FEA9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15">
              <a:extLst>
                <a:ext uri="{FF2B5EF4-FFF2-40B4-BE49-F238E27FC236}">
                  <a16:creationId xmlns:a16="http://schemas.microsoft.com/office/drawing/2014/main" id="{5E24E1FD-7EA3-5FE2-FC30-3B0CC3AB680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7" name="Freeform 5">
            <a:extLst>
              <a:ext uri="{FF2B5EF4-FFF2-40B4-BE49-F238E27FC236}">
                <a16:creationId xmlns:a16="http://schemas.microsoft.com/office/drawing/2014/main" id="{388D8099-A1EE-CBE3-C02E-24DAC735E74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344310" y="0"/>
            <a:ext cx="3847690" cy="3429000"/>
          </a:xfrm>
          <a:custGeom>
            <a:avLst/>
            <a:gdLst>
              <a:gd name="T0" fmla="*/ 1508 w 3437"/>
              <a:gd name="T1" fmla="*/ 2040 h 3063"/>
              <a:gd name="T2" fmla="*/ 937 w 3437"/>
              <a:gd name="T3" fmla="*/ 2040 h 3063"/>
              <a:gd name="T4" fmla="*/ 573 w 3437"/>
              <a:gd name="T5" fmla="*/ 1531 h 3063"/>
              <a:gd name="T6" fmla="*/ 210 w 3437"/>
              <a:gd name="T7" fmla="*/ 1023 h 3063"/>
              <a:gd name="T8" fmla="*/ 780 w 3437"/>
              <a:gd name="T9" fmla="*/ 1023 h 3063"/>
              <a:gd name="T10" fmla="*/ 1144 w 3437"/>
              <a:gd name="T11" fmla="*/ 1531 h 3063"/>
              <a:gd name="T12" fmla="*/ 1508 w 3437"/>
              <a:gd name="T13" fmla="*/ 2040 h 3063"/>
              <a:gd name="T14" fmla="*/ 1719 w 3437"/>
              <a:gd name="T15" fmla="*/ 2040 h 3063"/>
              <a:gd name="T16" fmla="*/ 1354 w 3437"/>
              <a:gd name="T17" fmla="*/ 1531 h 3063"/>
              <a:gd name="T18" fmla="*/ 990 w 3437"/>
              <a:gd name="T19" fmla="*/ 1022 h 3063"/>
              <a:gd name="T20" fmla="*/ 1354 w 3437"/>
              <a:gd name="T21" fmla="*/ 510 h 3063"/>
              <a:gd name="T22" fmla="*/ 1719 w 3437"/>
              <a:gd name="T23" fmla="*/ 0 h 3063"/>
              <a:gd name="T24" fmla="*/ 1224 w 3437"/>
              <a:gd name="T25" fmla="*/ 0 h 3063"/>
              <a:gd name="T26" fmla="*/ 729 w 3437"/>
              <a:gd name="T27" fmla="*/ 0 h 3063"/>
              <a:gd name="T28" fmla="*/ 364 w 3437"/>
              <a:gd name="T29" fmla="*/ 510 h 3063"/>
              <a:gd name="T30" fmla="*/ 0 w 3437"/>
              <a:gd name="T31" fmla="*/ 1022 h 3063"/>
              <a:gd name="T32" fmla="*/ 364 w 3437"/>
              <a:gd name="T33" fmla="*/ 1531 h 3063"/>
              <a:gd name="T34" fmla="*/ 729 w 3437"/>
              <a:gd name="T35" fmla="*/ 2041 h 3063"/>
              <a:gd name="T36" fmla="*/ 364 w 3437"/>
              <a:gd name="T37" fmla="*/ 2552 h 3063"/>
              <a:gd name="T38" fmla="*/ 0 w 3437"/>
              <a:gd name="T39" fmla="*/ 3063 h 3063"/>
              <a:gd name="T40" fmla="*/ 494 w 3437"/>
              <a:gd name="T41" fmla="*/ 3063 h 3063"/>
              <a:gd name="T42" fmla="*/ 990 w 3437"/>
              <a:gd name="T43" fmla="*/ 3063 h 3063"/>
              <a:gd name="T44" fmla="*/ 1354 w 3437"/>
              <a:gd name="T45" fmla="*/ 2552 h 3063"/>
              <a:gd name="T46" fmla="*/ 1719 w 3437"/>
              <a:gd name="T47" fmla="*/ 2041 h 3063"/>
              <a:gd name="T48" fmla="*/ 2212 w 3437"/>
              <a:gd name="T49" fmla="*/ 2041 h 3063"/>
              <a:gd name="T50" fmla="*/ 2707 w 3437"/>
              <a:gd name="T51" fmla="*/ 2041 h 3063"/>
              <a:gd name="T52" fmla="*/ 3072 w 3437"/>
              <a:gd name="T53" fmla="*/ 1530 h 3063"/>
              <a:gd name="T54" fmla="*/ 3437 w 3437"/>
              <a:gd name="T55" fmla="*/ 1019 h 3063"/>
              <a:gd name="T56" fmla="*/ 2942 w 3437"/>
              <a:gd name="T57" fmla="*/ 1019 h 3063"/>
              <a:gd name="T58" fmla="*/ 2447 w 3437"/>
              <a:gd name="T59" fmla="*/ 1019 h 3063"/>
              <a:gd name="T60" fmla="*/ 2083 w 3437"/>
              <a:gd name="T61" fmla="*/ 1529 h 3063"/>
              <a:gd name="T62" fmla="*/ 1719 w 3437"/>
              <a:gd name="T63" fmla="*/ 2040 h 30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437" h="3063">
                <a:moveTo>
                  <a:pt x="1508" y="2040"/>
                </a:moveTo>
                <a:lnTo>
                  <a:pt x="937" y="2040"/>
                </a:lnTo>
                <a:lnTo>
                  <a:pt x="573" y="1531"/>
                </a:lnTo>
                <a:lnTo>
                  <a:pt x="210" y="1023"/>
                </a:lnTo>
                <a:lnTo>
                  <a:pt x="780" y="1023"/>
                </a:lnTo>
                <a:lnTo>
                  <a:pt x="1144" y="1531"/>
                </a:lnTo>
                <a:lnTo>
                  <a:pt x="1508" y="2040"/>
                </a:lnTo>
                <a:close/>
                <a:moveTo>
                  <a:pt x="1719" y="2040"/>
                </a:moveTo>
                <a:lnTo>
                  <a:pt x="1354" y="1531"/>
                </a:lnTo>
                <a:lnTo>
                  <a:pt x="990" y="1022"/>
                </a:lnTo>
                <a:lnTo>
                  <a:pt x="1354" y="510"/>
                </a:lnTo>
                <a:lnTo>
                  <a:pt x="1719" y="0"/>
                </a:lnTo>
                <a:lnTo>
                  <a:pt x="1224" y="0"/>
                </a:lnTo>
                <a:lnTo>
                  <a:pt x="729" y="0"/>
                </a:lnTo>
                <a:lnTo>
                  <a:pt x="364" y="510"/>
                </a:lnTo>
                <a:lnTo>
                  <a:pt x="0" y="1022"/>
                </a:lnTo>
                <a:lnTo>
                  <a:pt x="364" y="1531"/>
                </a:lnTo>
                <a:lnTo>
                  <a:pt x="729" y="2041"/>
                </a:lnTo>
                <a:lnTo>
                  <a:pt x="364" y="2552"/>
                </a:lnTo>
                <a:lnTo>
                  <a:pt x="0" y="3063"/>
                </a:lnTo>
                <a:lnTo>
                  <a:pt x="494" y="3063"/>
                </a:lnTo>
                <a:lnTo>
                  <a:pt x="990" y="3063"/>
                </a:lnTo>
                <a:lnTo>
                  <a:pt x="1354" y="2552"/>
                </a:lnTo>
                <a:lnTo>
                  <a:pt x="1719" y="2041"/>
                </a:lnTo>
                <a:lnTo>
                  <a:pt x="2212" y="2041"/>
                </a:lnTo>
                <a:lnTo>
                  <a:pt x="2707" y="2041"/>
                </a:lnTo>
                <a:lnTo>
                  <a:pt x="3072" y="1530"/>
                </a:lnTo>
                <a:lnTo>
                  <a:pt x="3437" y="1019"/>
                </a:lnTo>
                <a:lnTo>
                  <a:pt x="2942" y="1019"/>
                </a:lnTo>
                <a:lnTo>
                  <a:pt x="2447" y="1019"/>
                </a:lnTo>
                <a:lnTo>
                  <a:pt x="2083" y="1529"/>
                </a:lnTo>
                <a:lnTo>
                  <a:pt x="1719" y="204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F0F5C119-F154-2D28-1F3A-BAFC8159A4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FAF9208-878F-4C8C-824E-59760925D5E8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D33A03E1-53E3-66DF-D770-FAD58153D7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uthor  |  Unit</a:t>
            </a:r>
            <a:endParaRPr lang="en-US" dirty="0"/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5F189751-455F-28A7-485B-376FB9C284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7600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82663" y="404664"/>
            <a:ext cx="4537273" cy="1008063"/>
          </a:xfrm>
        </p:spPr>
        <p:txBody>
          <a:bodyPr tIns="144000" anchor="t" anchorCtr="0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982663" y="1844675"/>
            <a:ext cx="4537273" cy="4105275"/>
          </a:xfrm>
        </p:spPr>
        <p:txBody>
          <a:bodyPr/>
          <a:lstStyle>
            <a:lvl1pPr marL="361950" indent="-361950">
              <a:buFont typeface="+mj-lt"/>
              <a:buAutoNum type="arabicPeriod"/>
              <a:defRPr/>
            </a:lvl1pPr>
            <a:lvl2pPr marL="628650" indent="-266700">
              <a:defRPr/>
            </a:lvl2pPr>
            <a:lvl3pPr marL="895350" indent="-273050">
              <a:defRPr/>
            </a:lvl3pPr>
            <a:lvl4pPr marL="1162050" indent="-266700">
              <a:defRPr/>
            </a:lvl4pPr>
            <a:lvl5pPr marL="1438275" indent="-276225">
              <a:defRPr/>
            </a:lvl5pPr>
            <a:lvl6pPr marL="1704975" indent="-274638">
              <a:defRPr/>
            </a:lvl6pPr>
            <a:lvl7pPr marL="1971675" indent="-266700">
              <a:defRPr/>
            </a:lvl7pPr>
            <a:lvl8pPr marL="2238375" indent="-265113">
              <a:defRPr/>
            </a:lvl8pPr>
            <a:lvl9pPr marL="2514600" indent="-266700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48DB1461-AC53-4657-82C1-5687DD3C8B6B}" type="datetime1">
              <a:rPr lang="fi-FI" smtClean="0">
                <a:solidFill>
                  <a:srgbClr val="FF6900"/>
                </a:solidFill>
              </a:rPr>
              <a:t>31.10.2023</a:t>
            </a:fld>
            <a:endParaRPr lang="en-US">
              <a:solidFill>
                <a:srgbClr val="FF69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i-FI">
                <a:solidFill>
                  <a:srgbClr val="FF6900"/>
                </a:solidFill>
              </a:rPr>
              <a:t>Author  |  Unit</a:t>
            </a:r>
            <a:endParaRPr lang="en-US">
              <a:solidFill>
                <a:srgbClr val="FF69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1FEE6BA-E83C-4FBF-B719-E6671631796F}" type="slidenum">
              <a:rPr lang="en-US" smtClean="0">
                <a:solidFill>
                  <a:srgbClr val="FF6900"/>
                </a:solidFill>
              </a:rPr>
              <a:pPr/>
              <a:t>‹#›</a:t>
            </a:fld>
            <a:endParaRPr lang="en-US">
              <a:solidFill>
                <a:srgbClr val="FF6900"/>
              </a:solidFill>
            </a:endParaRPr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B82B854A-49BE-8648-3758-90543E17334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344310" y="0"/>
            <a:ext cx="3847690" cy="3429000"/>
          </a:xfrm>
          <a:custGeom>
            <a:avLst/>
            <a:gdLst>
              <a:gd name="T0" fmla="*/ 1508 w 3437"/>
              <a:gd name="T1" fmla="*/ 2040 h 3063"/>
              <a:gd name="T2" fmla="*/ 937 w 3437"/>
              <a:gd name="T3" fmla="*/ 2040 h 3063"/>
              <a:gd name="T4" fmla="*/ 573 w 3437"/>
              <a:gd name="T5" fmla="*/ 1531 h 3063"/>
              <a:gd name="T6" fmla="*/ 210 w 3437"/>
              <a:gd name="T7" fmla="*/ 1023 h 3063"/>
              <a:gd name="T8" fmla="*/ 780 w 3437"/>
              <a:gd name="T9" fmla="*/ 1023 h 3063"/>
              <a:gd name="T10" fmla="*/ 1144 w 3437"/>
              <a:gd name="T11" fmla="*/ 1531 h 3063"/>
              <a:gd name="T12" fmla="*/ 1508 w 3437"/>
              <a:gd name="T13" fmla="*/ 2040 h 3063"/>
              <a:gd name="T14" fmla="*/ 1719 w 3437"/>
              <a:gd name="T15" fmla="*/ 2040 h 3063"/>
              <a:gd name="T16" fmla="*/ 1354 w 3437"/>
              <a:gd name="T17" fmla="*/ 1531 h 3063"/>
              <a:gd name="T18" fmla="*/ 990 w 3437"/>
              <a:gd name="T19" fmla="*/ 1022 h 3063"/>
              <a:gd name="T20" fmla="*/ 1354 w 3437"/>
              <a:gd name="T21" fmla="*/ 510 h 3063"/>
              <a:gd name="T22" fmla="*/ 1719 w 3437"/>
              <a:gd name="T23" fmla="*/ 0 h 3063"/>
              <a:gd name="T24" fmla="*/ 1224 w 3437"/>
              <a:gd name="T25" fmla="*/ 0 h 3063"/>
              <a:gd name="T26" fmla="*/ 729 w 3437"/>
              <a:gd name="T27" fmla="*/ 0 h 3063"/>
              <a:gd name="T28" fmla="*/ 364 w 3437"/>
              <a:gd name="T29" fmla="*/ 510 h 3063"/>
              <a:gd name="T30" fmla="*/ 0 w 3437"/>
              <a:gd name="T31" fmla="*/ 1022 h 3063"/>
              <a:gd name="T32" fmla="*/ 364 w 3437"/>
              <a:gd name="T33" fmla="*/ 1531 h 3063"/>
              <a:gd name="T34" fmla="*/ 729 w 3437"/>
              <a:gd name="T35" fmla="*/ 2041 h 3063"/>
              <a:gd name="T36" fmla="*/ 364 w 3437"/>
              <a:gd name="T37" fmla="*/ 2552 h 3063"/>
              <a:gd name="T38" fmla="*/ 0 w 3437"/>
              <a:gd name="T39" fmla="*/ 3063 h 3063"/>
              <a:gd name="T40" fmla="*/ 494 w 3437"/>
              <a:gd name="T41" fmla="*/ 3063 h 3063"/>
              <a:gd name="T42" fmla="*/ 990 w 3437"/>
              <a:gd name="T43" fmla="*/ 3063 h 3063"/>
              <a:gd name="T44" fmla="*/ 1354 w 3437"/>
              <a:gd name="T45" fmla="*/ 2552 h 3063"/>
              <a:gd name="T46" fmla="*/ 1719 w 3437"/>
              <a:gd name="T47" fmla="*/ 2041 h 3063"/>
              <a:gd name="T48" fmla="*/ 2212 w 3437"/>
              <a:gd name="T49" fmla="*/ 2041 h 3063"/>
              <a:gd name="T50" fmla="*/ 2707 w 3437"/>
              <a:gd name="T51" fmla="*/ 2041 h 3063"/>
              <a:gd name="T52" fmla="*/ 3072 w 3437"/>
              <a:gd name="T53" fmla="*/ 1530 h 3063"/>
              <a:gd name="T54" fmla="*/ 3437 w 3437"/>
              <a:gd name="T55" fmla="*/ 1019 h 3063"/>
              <a:gd name="T56" fmla="*/ 2942 w 3437"/>
              <a:gd name="T57" fmla="*/ 1019 h 3063"/>
              <a:gd name="T58" fmla="*/ 2447 w 3437"/>
              <a:gd name="T59" fmla="*/ 1019 h 3063"/>
              <a:gd name="T60" fmla="*/ 2083 w 3437"/>
              <a:gd name="T61" fmla="*/ 1529 h 3063"/>
              <a:gd name="T62" fmla="*/ 1719 w 3437"/>
              <a:gd name="T63" fmla="*/ 2040 h 30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437" h="3063">
                <a:moveTo>
                  <a:pt x="1508" y="2040"/>
                </a:moveTo>
                <a:lnTo>
                  <a:pt x="937" y="2040"/>
                </a:lnTo>
                <a:lnTo>
                  <a:pt x="573" y="1531"/>
                </a:lnTo>
                <a:lnTo>
                  <a:pt x="210" y="1023"/>
                </a:lnTo>
                <a:lnTo>
                  <a:pt x="780" y="1023"/>
                </a:lnTo>
                <a:lnTo>
                  <a:pt x="1144" y="1531"/>
                </a:lnTo>
                <a:lnTo>
                  <a:pt x="1508" y="2040"/>
                </a:lnTo>
                <a:close/>
                <a:moveTo>
                  <a:pt x="1719" y="2040"/>
                </a:moveTo>
                <a:lnTo>
                  <a:pt x="1354" y="1531"/>
                </a:lnTo>
                <a:lnTo>
                  <a:pt x="990" y="1022"/>
                </a:lnTo>
                <a:lnTo>
                  <a:pt x="1354" y="510"/>
                </a:lnTo>
                <a:lnTo>
                  <a:pt x="1719" y="0"/>
                </a:lnTo>
                <a:lnTo>
                  <a:pt x="1224" y="0"/>
                </a:lnTo>
                <a:lnTo>
                  <a:pt x="729" y="0"/>
                </a:lnTo>
                <a:lnTo>
                  <a:pt x="364" y="510"/>
                </a:lnTo>
                <a:lnTo>
                  <a:pt x="0" y="1022"/>
                </a:lnTo>
                <a:lnTo>
                  <a:pt x="364" y="1531"/>
                </a:lnTo>
                <a:lnTo>
                  <a:pt x="729" y="2041"/>
                </a:lnTo>
                <a:lnTo>
                  <a:pt x="364" y="2552"/>
                </a:lnTo>
                <a:lnTo>
                  <a:pt x="0" y="3063"/>
                </a:lnTo>
                <a:lnTo>
                  <a:pt x="494" y="3063"/>
                </a:lnTo>
                <a:lnTo>
                  <a:pt x="990" y="3063"/>
                </a:lnTo>
                <a:lnTo>
                  <a:pt x="1354" y="2552"/>
                </a:lnTo>
                <a:lnTo>
                  <a:pt x="1719" y="2041"/>
                </a:lnTo>
                <a:lnTo>
                  <a:pt x="2212" y="2041"/>
                </a:lnTo>
                <a:lnTo>
                  <a:pt x="2707" y="2041"/>
                </a:lnTo>
                <a:lnTo>
                  <a:pt x="3072" y="1530"/>
                </a:lnTo>
                <a:lnTo>
                  <a:pt x="3437" y="1019"/>
                </a:lnTo>
                <a:lnTo>
                  <a:pt x="2942" y="1019"/>
                </a:lnTo>
                <a:lnTo>
                  <a:pt x="2447" y="1019"/>
                </a:lnTo>
                <a:lnTo>
                  <a:pt x="2083" y="1529"/>
                </a:lnTo>
                <a:lnTo>
                  <a:pt x="1719" y="204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3646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a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43026" y="2348879"/>
            <a:ext cx="9505949" cy="223264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3025" y="1844675"/>
            <a:ext cx="950595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1343025" y="5229225"/>
            <a:ext cx="9505950" cy="720726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64548361-E900-86FF-01B3-9D74AF0BEA0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EF30A2-5B72-4303-AA8C-FE622B4725A0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A398014A-9C76-634D-AC84-D1AFFD1A691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uthor  |  Unit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C55DE782-BFF6-11D2-DF2E-67D2AFCD8B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B43795B-07B0-AC4E-62D6-0AC4F9C82A3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368" y="404664"/>
            <a:ext cx="1521663" cy="216000"/>
            <a:chOff x="-649288" y="2474913"/>
            <a:chExt cx="13498513" cy="1916112"/>
          </a:xfrm>
        </p:grpSpPr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E56F41F9-047A-C51B-22E9-04480DDA67A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id="{2A29EE22-C282-5627-621F-9D456D2161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277522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82662" y="1844675"/>
            <a:ext cx="3241675" cy="57626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b="0" cap="none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11676" y="1844675"/>
            <a:ext cx="6697662" cy="57626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b="0" cap="none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82662" y="2420939"/>
            <a:ext cx="3241675" cy="35290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5"/>
          <p:cNvSpPr>
            <a:spLocks noGrp="1"/>
          </p:cNvSpPr>
          <p:nvPr>
            <p:ph sz="quarter" idx="14"/>
          </p:nvPr>
        </p:nvSpPr>
        <p:spPr>
          <a:xfrm>
            <a:off x="4511674" y="2420939"/>
            <a:ext cx="6697663" cy="35290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DD2E4D-4044-4306-8AFC-4828A57D0664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5857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343026" y="2348879"/>
            <a:ext cx="9505949" cy="223264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343025" y="1844675"/>
            <a:ext cx="950595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accent2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1343025" y="5229225"/>
            <a:ext cx="9505950" cy="720726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155BF4-2D4F-450C-822D-6688E8058F61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  |  Uni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0AA7FC4-5117-B627-77AB-1F3112F36F2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368" y="404664"/>
            <a:ext cx="1521663" cy="216000"/>
            <a:chOff x="-649288" y="2474913"/>
            <a:chExt cx="13498513" cy="1916112"/>
          </a:xfrm>
        </p:grpSpPr>
        <p:sp>
          <p:nvSpPr>
            <p:cNvPr id="13" name="Freeform 14">
              <a:extLst>
                <a:ext uri="{FF2B5EF4-FFF2-40B4-BE49-F238E27FC236}">
                  <a16:creationId xmlns:a16="http://schemas.microsoft.com/office/drawing/2014/main" id="{64287AB0-0B3C-C2C3-C202-D427BAC48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15">
              <a:extLst>
                <a:ext uri="{FF2B5EF4-FFF2-40B4-BE49-F238E27FC236}">
                  <a16:creationId xmlns:a16="http://schemas.microsoft.com/office/drawing/2014/main" id="{E44AAD35-9C19-4683-475B-7802E9A3909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999589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343026" y="2348879"/>
            <a:ext cx="9505949" cy="223264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343025" y="1844675"/>
            <a:ext cx="950595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1343025" y="5229225"/>
            <a:ext cx="9505950" cy="720726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30C3C1-81FE-404B-B88A-797523786622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uthor  |  Unit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E71F3B9-495D-6431-42F3-4996DE9BBD4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368" y="404664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6" name="Freeform 14">
              <a:extLst>
                <a:ext uri="{FF2B5EF4-FFF2-40B4-BE49-F238E27FC236}">
                  <a16:creationId xmlns:a16="http://schemas.microsoft.com/office/drawing/2014/main" id="{B58EE95E-1DBB-05D2-39C2-0A95F82FFFB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15">
              <a:extLst>
                <a:ext uri="{FF2B5EF4-FFF2-40B4-BE49-F238E27FC236}">
                  <a16:creationId xmlns:a16="http://schemas.microsoft.com/office/drawing/2014/main" id="{431AA149-E2D6-F893-8E95-5111124F507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14925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a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343026" y="2348879"/>
            <a:ext cx="9505949" cy="2232645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1343025" y="1844675"/>
            <a:ext cx="950595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89F6D0E-1ECF-49E0-92B0-29DC47426144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uthor  |  Uni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506ABB4-3642-3ED0-88CC-B5FFDC267EC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72464" y="6237312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3" name="Freeform 14">
              <a:extLst>
                <a:ext uri="{FF2B5EF4-FFF2-40B4-BE49-F238E27FC236}">
                  <a16:creationId xmlns:a16="http://schemas.microsoft.com/office/drawing/2014/main" id="{C8BF2F16-DEB8-A52A-0B7F-E9EB0B1879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Freeform 15">
              <a:extLst>
                <a:ext uri="{FF2B5EF4-FFF2-40B4-BE49-F238E27FC236}">
                  <a16:creationId xmlns:a16="http://schemas.microsoft.com/office/drawing/2014/main" id="{1A744F1B-C57E-5124-C95F-81D48ED4E0C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481168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343026" y="2348879"/>
            <a:ext cx="9505949" cy="2232645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1343025" y="1844675"/>
            <a:ext cx="950595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accent2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01EC93-4C06-8E7D-9FE8-A00BB90DED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66E443-B36F-493C-8ED0-4B49AEE4C41E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71E0F28E-048C-8649-F8F3-2509F1813E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  |  Unit</a:t>
            </a:r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9B649970-ED94-A6A1-3F71-CCD07EACCC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1472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343026" y="2348879"/>
            <a:ext cx="9505949" cy="2232645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1343025" y="1844675"/>
            <a:ext cx="950595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20BF0-7902-4F7C-BAC8-5E4B20E8F501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uthor  |  Uni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EF00E20-C70C-36E1-9512-E9F4BB415A8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72464" y="6237312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3" name="Freeform 14">
              <a:extLst>
                <a:ext uri="{FF2B5EF4-FFF2-40B4-BE49-F238E27FC236}">
                  <a16:creationId xmlns:a16="http://schemas.microsoft.com/office/drawing/2014/main" id="{C21F1B9A-199D-AE57-800B-4D63EE686A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Freeform 15">
              <a:extLst>
                <a:ext uri="{FF2B5EF4-FFF2-40B4-BE49-F238E27FC236}">
                  <a16:creationId xmlns:a16="http://schemas.microsoft.com/office/drawing/2014/main" id="{6BDE5D6F-3F20-1566-C8D2-CF698BE3D20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4284784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ay Half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983433" y="2348879"/>
            <a:ext cx="4176464" cy="223264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983431" y="1844675"/>
            <a:ext cx="4176464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AFAA533A-9EE1-49AA-B078-782749331E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DD1D71D-5A0F-4918-AFB1-972C8A1B75C6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uthor  |  Uni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F2BC31C-758F-2D21-F857-BC809120029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368" y="404664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3" name="Freeform 14">
              <a:extLst>
                <a:ext uri="{FF2B5EF4-FFF2-40B4-BE49-F238E27FC236}">
                  <a16:creationId xmlns:a16="http://schemas.microsoft.com/office/drawing/2014/main" id="{109BFA99-8425-ACAD-7664-BF92A8C69DD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Freeform 15">
              <a:extLst>
                <a:ext uri="{FF2B5EF4-FFF2-40B4-BE49-F238E27FC236}">
                  <a16:creationId xmlns:a16="http://schemas.microsoft.com/office/drawing/2014/main" id="{AF0D15C1-2297-5FD1-5A47-488549604A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574025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hite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983433" y="2348879"/>
            <a:ext cx="4176464" cy="223264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983431" y="1844675"/>
            <a:ext cx="4176464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accent2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AFAA533A-9EE1-49AA-B078-782749331E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BF6C205D-F49F-456E-AA82-F2BA15D8B260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Author  |  Uni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F4F4BBC-12F9-17C0-8AB6-84DF586E0BC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368" y="404664"/>
            <a:ext cx="1521663" cy="216000"/>
            <a:chOff x="-649288" y="2474913"/>
            <a:chExt cx="13498513" cy="1916112"/>
          </a:xfrm>
          <a:solidFill>
            <a:schemeClr val="accent2"/>
          </a:solidFill>
        </p:grpSpPr>
        <p:sp>
          <p:nvSpPr>
            <p:cNvPr id="3" name="Freeform 14">
              <a:extLst>
                <a:ext uri="{FF2B5EF4-FFF2-40B4-BE49-F238E27FC236}">
                  <a16:creationId xmlns:a16="http://schemas.microsoft.com/office/drawing/2014/main" id="{264A4A41-3FFD-EC4A-CF0D-711353C36E9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Freeform 15">
              <a:extLst>
                <a:ext uri="{FF2B5EF4-FFF2-40B4-BE49-F238E27FC236}">
                  <a16:creationId xmlns:a16="http://schemas.microsoft.com/office/drawing/2014/main" id="{56DA23AD-14AF-E4F3-F885-C3EFAF637BE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63087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range Half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983433" y="2348879"/>
            <a:ext cx="4176464" cy="223264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983431" y="1844675"/>
            <a:ext cx="4176464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AFAA533A-9EE1-49AA-B078-782749331E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3C94A13-55BA-4AFA-8E0F-46E112935575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uthor  |  Uni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575592D-A49E-DB7C-F4D6-2B885391BE1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368" y="404664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3" name="Freeform 14">
              <a:extLst>
                <a:ext uri="{FF2B5EF4-FFF2-40B4-BE49-F238E27FC236}">
                  <a16:creationId xmlns:a16="http://schemas.microsoft.com/office/drawing/2014/main" id="{95916FED-76FE-E90E-D722-AC447A409F8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Freeform 15">
              <a:extLst>
                <a:ext uri="{FF2B5EF4-FFF2-40B4-BE49-F238E27FC236}">
                  <a16:creationId xmlns:a16="http://schemas.microsoft.com/office/drawing/2014/main" id="{6C7B7C4C-CFA2-22A4-9BDE-0EC5227274E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173980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ackground Pic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D970E12-D6A6-4677-B9A2-E6F5EBE77D8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343026" y="2348879"/>
            <a:ext cx="9505949" cy="2232645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1343025" y="1844675"/>
            <a:ext cx="950595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9F4C36E-3B99-4CE5-A8FB-43D3C50359F6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uthor  |  Uni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58C78D9-746E-5484-461D-1FA5862ECA1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72464" y="6237312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7" name="Freeform 14">
              <a:extLst>
                <a:ext uri="{FF2B5EF4-FFF2-40B4-BE49-F238E27FC236}">
                  <a16:creationId xmlns:a16="http://schemas.microsoft.com/office/drawing/2014/main" id="{264F81E2-56DF-3977-6794-8A54AD9801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15">
              <a:extLst>
                <a:ext uri="{FF2B5EF4-FFF2-40B4-BE49-F238E27FC236}">
                  <a16:creationId xmlns:a16="http://schemas.microsoft.com/office/drawing/2014/main" id="{6E04C954-6BE3-0B90-0CAC-06F995929C8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797177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ackground Pic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D970E12-D6A6-4677-B9A2-E6F5EBE77D8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343026" y="2348879"/>
            <a:ext cx="9505949" cy="2232645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1343025" y="1844675"/>
            <a:ext cx="950595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4B6620B-EE66-4CAC-8B42-B14F0102D606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uthor  |  Uni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70AFC88-CEB0-4616-E306-FA989669980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72464" y="6237312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7" name="Freeform 14">
              <a:extLst>
                <a:ext uri="{FF2B5EF4-FFF2-40B4-BE49-F238E27FC236}">
                  <a16:creationId xmlns:a16="http://schemas.microsoft.com/office/drawing/2014/main" id="{4CE30117-AC63-294C-4D50-3E1FDCFAFA1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15">
              <a:extLst>
                <a:ext uri="{FF2B5EF4-FFF2-40B4-BE49-F238E27FC236}">
                  <a16:creationId xmlns:a16="http://schemas.microsoft.com/office/drawing/2014/main" id="{DBE655DF-F7E7-F46C-F073-30FFA9E1671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705858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82662" y="1844675"/>
            <a:ext cx="6697514" cy="57626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b="0" cap="none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967664" y="1844675"/>
            <a:ext cx="3241674" cy="57626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b="0" cap="none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82662" y="2420939"/>
            <a:ext cx="6697514" cy="35290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5"/>
          <p:cNvSpPr>
            <a:spLocks noGrp="1"/>
          </p:cNvSpPr>
          <p:nvPr>
            <p:ph sz="quarter" idx="14"/>
          </p:nvPr>
        </p:nvSpPr>
        <p:spPr>
          <a:xfrm>
            <a:off x="7967663" y="2420939"/>
            <a:ext cx="3241674" cy="35290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BDF08C-5D67-48CF-A092-4504EA2DE983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0654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Pictur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9C817E4-799B-4A3B-9B68-4C7C5625ED2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" y="1"/>
            <a:ext cx="12192000" cy="6858000"/>
          </a:xfrm>
          <a:solidFill>
            <a:schemeClr val="bg2">
              <a:lumMod val="75000"/>
            </a:schemeClr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343026" y="2348879"/>
            <a:ext cx="9505949" cy="2232645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1343025" y="1844675"/>
            <a:ext cx="950595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DD7C84-4228-44DB-822F-7D1688652DB9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uthor  |  Uni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722A410-1282-4AC4-6A52-2307EE05D87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272464" y="6237312"/>
            <a:ext cx="1522800" cy="21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70974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2663" y="1844675"/>
            <a:ext cx="4897437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11900" y="1844675"/>
            <a:ext cx="4897438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8E45A-CF63-4B94-871F-EFBEE1001341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  |  Uni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5517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Gra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2663" y="1844675"/>
            <a:ext cx="4897437" cy="41052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11900" y="1844675"/>
            <a:ext cx="4897438" cy="41052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98BFDB1-1AF8-D2CF-AEF4-FECA97794DC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72464" y="6237312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10" name="Freeform 14">
              <a:extLst>
                <a:ext uri="{FF2B5EF4-FFF2-40B4-BE49-F238E27FC236}">
                  <a16:creationId xmlns:a16="http://schemas.microsoft.com/office/drawing/2014/main" id="{8FEDEAB9-9BD4-0320-B56F-1602E436E74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15">
              <a:extLst>
                <a:ext uri="{FF2B5EF4-FFF2-40B4-BE49-F238E27FC236}">
                  <a16:creationId xmlns:a16="http://schemas.microsoft.com/office/drawing/2014/main" id="{F478B5E3-EF46-B57C-5B50-A27ED4E3119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0770BBDE-EBF1-5EE6-A46D-78BCCF0C8D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2B5A175-9A48-4524-8005-667D7BFDE613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688C15E3-BCCB-1A79-CBD4-A633EAD69C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uthor  |  Unit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EF5190F6-4564-3B8C-58C3-DFF07AA43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6539260E-8052-161F-08A9-F538252C9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5801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2663" y="1844675"/>
            <a:ext cx="3241675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11675" y="1844675"/>
            <a:ext cx="6697663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F9CC45-B527-4C7B-8338-27CCC83DB0A3}" type="datetime1">
              <a:rPr lang="fi-FI" smtClean="0"/>
              <a:t>31.10.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  |  Uni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8698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2663" y="1844675"/>
            <a:ext cx="6697513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967663" y="1844675"/>
            <a:ext cx="3241675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6895F7-817D-4BA7-B9A5-56C9C1EB64AD}" type="datetime1">
              <a:rPr lang="fi-FI" smtClean="0"/>
              <a:t>31.10.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  |  Uni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6584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82662" y="1844675"/>
            <a:ext cx="3241129" cy="41052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5"/>
          <p:cNvSpPr>
            <a:spLocks noGrp="1"/>
          </p:cNvSpPr>
          <p:nvPr>
            <p:ph sz="quarter" idx="14"/>
          </p:nvPr>
        </p:nvSpPr>
        <p:spPr>
          <a:xfrm>
            <a:off x="4511824" y="1844675"/>
            <a:ext cx="3168352" cy="41052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6"/>
          <p:cNvSpPr>
            <a:spLocks noGrp="1"/>
          </p:cNvSpPr>
          <p:nvPr>
            <p:ph sz="quarter" idx="4"/>
          </p:nvPr>
        </p:nvSpPr>
        <p:spPr>
          <a:xfrm>
            <a:off x="7968208" y="1844675"/>
            <a:ext cx="3241130" cy="41052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B313A2-1826-4F7B-8145-37986C64A6BC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  |  Uni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1172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82663" y="1844675"/>
            <a:ext cx="10226675" cy="57626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b="0" cap="none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82663" y="2420939"/>
            <a:ext cx="10226675" cy="35290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EF4F78-DD81-4796-9643-25379CDA1279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  |  Uni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7016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82662" y="1844675"/>
            <a:ext cx="3241129" cy="57626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lang="en-US" b="0" cap="none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11825" y="1844675"/>
            <a:ext cx="3168350" cy="57626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lang="en-US" b="0" cap="none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7968209" y="1844675"/>
            <a:ext cx="3241130" cy="57626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lang="en-US" b="0" cap="none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82662" y="2420939"/>
            <a:ext cx="3241129" cy="35290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5"/>
          <p:cNvSpPr>
            <a:spLocks noGrp="1"/>
          </p:cNvSpPr>
          <p:nvPr>
            <p:ph sz="quarter" idx="14"/>
          </p:nvPr>
        </p:nvSpPr>
        <p:spPr>
          <a:xfrm>
            <a:off x="4511824" y="2420939"/>
            <a:ext cx="3168352" cy="35290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6"/>
          <p:cNvSpPr>
            <a:spLocks noGrp="1"/>
          </p:cNvSpPr>
          <p:nvPr>
            <p:ph sz="quarter" idx="4"/>
          </p:nvPr>
        </p:nvSpPr>
        <p:spPr>
          <a:xfrm>
            <a:off x="7968208" y="2420939"/>
            <a:ext cx="3241130" cy="35290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B77874-C19D-4AA0-9D06-C22D3B8150DF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  |  Uni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9958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82662" y="1844675"/>
            <a:ext cx="4897437" cy="576263"/>
          </a:xfrm>
        </p:spPr>
        <p:txBody>
          <a:bodyPr tIns="5400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0" cap="none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3" hasCustomPrompt="1"/>
          </p:nvPr>
        </p:nvSpPr>
        <p:spPr>
          <a:xfrm>
            <a:off x="6311901" y="1844675"/>
            <a:ext cx="4897438" cy="576263"/>
          </a:xfrm>
        </p:spPr>
        <p:txBody>
          <a:bodyPr tIns="5400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0" cap="none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82662" y="2420939"/>
            <a:ext cx="4897438" cy="35290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11900" y="2420939"/>
            <a:ext cx="4897438" cy="35290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2469AA-8399-4084-9176-B4FE872A1BCD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  |  Uni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6328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82662" y="1844675"/>
            <a:ext cx="3241675" cy="57626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b="0" cap="none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11676" y="1844675"/>
            <a:ext cx="6697662" cy="57626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b="0" cap="none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82662" y="2420939"/>
            <a:ext cx="3241675" cy="35290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5"/>
          <p:cNvSpPr>
            <a:spLocks noGrp="1"/>
          </p:cNvSpPr>
          <p:nvPr>
            <p:ph sz="quarter" idx="14"/>
          </p:nvPr>
        </p:nvSpPr>
        <p:spPr>
          <a:xfrm>
            <a:off x="4511674" y="2420939"/>
            <a:ext cx="6697663" cy="35290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0F28CB-9A2A-44D8-9C90-801862E1BBDC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  |  Uni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0406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F39A92-A77F-4148-B5BD-04C04D55588D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0CC04ED-B65B-48C8-B52A-7CDD12C54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227750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5"/>
          <p:cNvSpPr>
            <a:spLocks noGrp="1"/>
          </p:cNvSpPr>
          <p:nvPr>
            <p:ph type="title"/>
          </p:nvPr>
        </p:nvSpPr>
        <p:spPr>
          <a:xfrm>
            <a:off x="982663" y="404664"/>
            <a:ext cx="4897313" cy="1008063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982663" y="1844675"/>
            <a:ext cx="4897313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4"/>
          </p:nvPr>
        </p:nvSpPr>
        <p:spPr>
          <a:xfrm>
            <a:off x="6311900" y="404665"/>
            <a:ext cx="4897438" cy="5545286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FDF48A-C648-49D6-88DE-D25F3D164C38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6076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82662" y="1844675"/>
            <a:ext cx="6697514" cy="57626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b="0" cap="none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967664" y="1844675"/>
            <a:ext cx="3241674" cy="57626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b="0" cap="none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82662" y="2420939"/>
            <a:ext cx="6697514" cy="35290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5"/>
          <p:cNvSpPr>
            <a:spLocks noGrp="1"/>
          </p:cNvSpPr>
          <p:nvPr>
            <p:ph sz="quarter" idx="14"/>
          </p:nvPr>
        </p:nvSpPr>
        <p:spPr>
          <a:xfrm>
            <a:off x="7967663" y="2420939"/>
            <a:ext cx="3241674" cy="35290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E16A69-145F-4ADD-86E6-873FC8C21280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  |  Uni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1241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5"/>
          <p:cNvSpPr>
            <a:spLocks noGrp="1"/>
          </p:cNvSpPr>
          <p:nvPr>
            <p:ph type="title"/>
          </p:nvPr>
        </p:nvSpPr>
        <p:spPr>
          <a:xfrm>
            <a:off x="982663" y="404664"/>
            <a:ext cx="4897313" cy="1008063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982663" y="1844675"/>
            <a:ext cx="4897313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4"/>
          </p:nvPr>
        </p:nvSpPr>
        <p:spPr>
          <a:xfrm>
            <a:off x="6311900" y="404665"/>
            <a:ext cx="4897438" cy="5545286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47459E-8C3D-40BB-A083-70424A77A5A7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  |  Uni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1323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5"/>
          <p:cNvSpPr>
            <a:spLocks noGrp="1"/>
          </p:cNvSpPr>
          <p:nvPr>
            <p:ph type="title"/>
          </p:nvPr>
        </p:nvSpPr>
        <p:spPr>
          <a:xfrm>
            <a:off x="6312025" y="404664"/>
            <a:ext cx="4897313" cy="1008063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6312025" y="1844675"/>
            <a:ext cx="4897313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4"/>
          </p:nvPr>
        </p:nvSpPr>
        <p:spPr>
          <a:xfrm>
            <a:off x="982663" y="404665"/>
            <a:ext cx="4897438" cy="5545286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8519-0E07-41DE-A928-DADF364345A1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  |  Uni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900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AC7F4B-F32F-41F0-ADDD-2972C936D1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FA230ECD-10F3-4D02-A3B8-53E6D95BEB2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82663" y="1844675"/>
            <a:ext cx="4897437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6312024" y="1844824"/>
            <a:ext cx="4896544" cy="4104456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FEEB7DCA-4948-41E4-9B8C-52753C69664C}" type="datetime1">
              <a:rPr lang="fi-FI" smtClean="0">
                <a:solidFill>
                  <a:srgbClr val="FF6900"/>
                </a:solidFill>
              </a:rPr>
              <a:t>31.10.2023</a:t>
            </a:fld>
            <a:endParaRPr lang="en-US">
              <a:solidFill>
                <a:srgbClr val="FF69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i-FI">
                <a:solidFill>
                  <a:srgbClr val="FF6900"/>
                </a:solidFill>
              </a:rPr>
              <a:t>Author  |  Unit</a:t>
            </a:r>
            <a:endParaRPr lang="en-US">
              <a:solidFill>
                <a:srgbClr val="FF69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1FEE6BA-E83C-4FBF-B719-E6671631796F}" type="slidenum">
              <a:rPr lang="en-US" smtClean="0">
                <a:solidFill>
                  <a:srgbClr val="FF6900"/>
                </a:solidFill>
              </a:rPr>
              <a:pPr/>
              <a:t>‹#›</a:t>
            </a:fld>
            <a:endParaRPr lang="en-US">
              <a:solidFill>
                <a:srgbClr val="FF69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203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AC7F4B-F32F-41F0-ADDD-2972C936D1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3DFE771-6E05-405A-8CBC-13F4BF8B7F3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12024" y="1844675"/>
            <a:ext cx="4897437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983432" y="1844824"/>
            <a:ext cx="4896544" cy="4104456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6CAFC24-5887-4962-8CFF-3E4D9183E4B1}" type="datetime1">
              <a:rPr lang="fi-FI" smtClean="0">
                <a:solidFill>
                  <a:srgbClr val="FF6900"/>
                </a:solidFill>
              </a:rPr>
              <a:t>31.10.2023</a:t>
            </a:fld>
            <a:endParaRPr lang="en-US">
              <a:solidFill>
                <a:srgbClr val="FF69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i-FI">
                <a:solidFill>
                  <a:srgbClr val="FF6900"/>
                </a:solidFill>
              </a:rPr>
              <a:t>Author  |  Unit</a:t>
            </a:r>
            <a:endParaRPr lang="en-US">
              <a:solidFill>
                <a:srgbClr val="FF69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1FEE6BA-E83C-4FBF-B719-E6671631796F}" type="slidenum">
              <a:rPr lang="en-US" smtClean="0">
                <a:solidFill>
                  <a:srgbClr val="FF6900"/>
                </a:solidFill>
              </a:rPr>
              <a:pPr/>
              <a:t>‹#›</a:t>
            </a:fld>
            <a:endParaRPr lang="en-US">
              <a:solidFill>
                <a:srgbClr val="FF69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4641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1/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82663" y="404664"/>
            <a:ext cx="4537273" cy="1008063"/>
          </a:xfrm>
        </p:spPr>
        <p:txBody>
          <a:bodyPr anchor="t" anchorCtr="0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982663" y="1844675"/>
            <a:ext cx="4537273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FDFFF011-4760-4A95-AD9B-F080506FC7DD}" type="datetime1">
              <a:rPr lang="fi-FI" smtClean="0">
                <a:solidFill>
                  <a:srgbClr val="FF6900"/>
                </a:solidFill>
              </a:rPr>
              <a:t>31.10.2023</a:t>
            </a:fld>
            <a:endParaRPr lang="en-US">
              <a:solidFill>
                <a:srgbClr val="FF69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i-FI">
                <a:solidFill>
                  <a:srgbClr val="FF6900"/>
                </a:solidFill>
              </a:rPr>
              <a:t>Author  |  Unit</a:t>
            </a:r>
            <a:endParaRPr lang="en-US">
              <a:solidFill>
                <a:srgbClr val="FF69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1FEE6BA-E83C-4FBF-B719-E6671631796F}" type="slidenum">
              <a:rPr lang="en-US" smtClean="0">
                <a:solidFill>
                  <a:srgbClr val="FF6900"/>
                </a:solidFill>
              </a:rPr>
              <a:pPr/>
              <a:t>‹#›</a:t>
            </a:fld>
            <a:endParaRPr lang="en-US">
              <a:solidFill>
                <a:srgbClr val="FF69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7954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1/2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672065" y="404664"/>
            <a:ext cx="4537273" cy="1008063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672065" y="1844675"/>
            <a:ext cx="4537273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6096000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41C1448-CFD7-4310-BC60-E6372639680A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Author  |  Unit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4371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1/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82663" y="404664"/>
            <a:ext cx="6553497" cy="1008063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982663" y="1844675"/>
            <a:ext cx="6553497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8112224" y="0"/>
            <a:ext cx="4079776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4AC020F-337A-482D-83E7-892100B2A953}" type="datetime1">
              <a:rPr lang="fi-FI" smtClean="0">
                <a:solidFill>
                  <a:srgbClr val="FF6900"/>
                </a:solidFill>
              </a:rPr>
              <a:t>31.10.2023</a:t>
            </a:fld>
            <a:endParaRPr lang="en-US">
              <a:solidFill>
                <a:srgbClr val="FF69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i-FI">
                <a:solidFill>
                  <a:srgbClr val="FF6900"/>
                </a:solidFill>
              </a:rPr>
              <a:t>Author  |  Unit</a:t>
            </a:r>
            <a:endParaRPr lang="en-US">
              <a:solidFill>
                <a:srgbClr val="FF69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1FEE6BA-E83C-4FBF-B719-E6671631796F}" type="slidenum">
              <a:rPr lang="en-US" smtClean="0">
                <a:solidFill>
                  <a:srgbClr val="FF6900"/>
                </a:solidFill>
              </a:rPr>
              <a:pPr/>
              <a:t>‹#›</a:t>
            </a:fld>
            <a:endParaRPr lang="en-US">
              <a:solidFill>
                <a:srgbClr val="FF69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2551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1/3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655840" y="404664"/>
            <a:ext cx="6553497" cy="1008063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655840" y="1844675"/>
            <a:ext cx="6553497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-1960" y="0"/>
            <a:ext cx="4081736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745BDB7-3811-4C7D-A34E-31F8CEC470BE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Author  |  Unit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4157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Gray 1/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982663" y="1844675"/>
            <a:ext cx="6553497" cy="41052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8112224" y="0"/>
            <a:ext cx="4079776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65DF4CB-2421-05A3-5213-51D6A0E235F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A96F6B7-B84B-4C92-8831-384808E1DDDA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116A416-AF93-747D-F273-749E446EA9A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uthor  |  Unit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5A6798A-A7C8-C09B-E49C-3F6362C773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86A09445-C4AE-1BD2-CA62-D63E7F821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404664"/>
            <a:ext cx="6553498" cy="1008063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851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5"/>
          <p:cNvSpPr>
            <a:spLocks noGrp="1"/>
          </p:cNvSpPr>
          <p:nvPr>
            <p:ph type="title"/>
          </p:nvPr>
        </p:nvSpPr>
        <p:spPr>
          <a:xfrm>
            <a:off x="6312025" y="404664"/>
            <a:ext cx="4897313" cy="1008063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6312025" y="1844675"/>
            <a:ext cx="4897313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4"/>
          </p:nvPr>
        </p:nvSpPr>
        <p:spPr>
          <a:xfrm>
            <a:off x="982663" y="404665"/>
            <a:ext cx="4897438" cy="5545286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677111-8D0C-4847-BD06-1602C9027C89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7560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and Picture Gray 1/3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655840" y="404664"/>
            <a:ext cx="6553497" cy="1008063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655840" y="1844675"/>
            <a:ext cx="6553497" cy="41052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-1960" y="0"/>
            <a:ext cx="4081736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D863873-9102-4686-8E8B-674A3D174C4C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Author  |  Unit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8664839-21E0-A653-8DE1-B62E95BA660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72464" y="6237312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28FD8B38-6860-6EF8-9525-A25136BA7B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15">
              <a:extLst>
                <a:ext uri="{FF2B5EF4-FFF2-40B4-BE49-F238E27FC236}">
                  <a16:creationId xmlns:a16="http://schemas.microsoft.com/office/drawing/2014/main" id="{908FD752-AB38-FB2A-42E2-FC72F6CB2C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90332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2663" y="980728"/>
            <a:ext cx="4897437" cy="2448272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4" y="3429000"/>
            <a:ext cx="4897436" cy="122396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70000"/>
              </a:lnSpc>
              <a:defRPr lang="en-US" sz="10000" b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982663" y="4652963"/>
            <a:ext cx="4897437" cy="1296987"/>
          </a:xfrm>
        </p:spPr>
        <p:txBody>
          <a:bodyPr/>
          <a:lstStyle>
            <a:lvl1pPr>
              <a:lnSpc>
                <a:spcPct val="100000"/>
              </a:lnSpc>
              <a:spcBef>
                <a:spcPts val="200"/>
              </a:spcBef>
              <a:defRPr sz="1200"/>
            </a:lvl1pPr>
            <a:lvl2pPr>
              <a:lnSpc>
                <a:spcPct val="100000"/>
              </a:lnSpc>
              <a:spcBef>
                <a:spcPts val="200"/>
              </a:spcBef>
              <a:defRPr sz="1200"/>
            </a:lvl2pPr>
            <a:lvl3pPr>
              <a:lnSpc>
                <a:spcPct val="100000"/>
              </a:lnSpc>
              <a:spcBef>
                <a:spcPts val="200"/>
              </a:spcBef>
              <a:defRPr sz="1200"/>
            </a:lvl3pPr>
            <a:lvl4pPr>
              <a:lnSpc>
                <a:spcPct val="100000"/>
              </a:lnSpc>
              <a:spcBef>
                <a:spcPts val="200"/>
              </a:spcBef>
              <a:defRPr sz="1200"/>
            </a:lvl4pPr>
            <a:lvl5pPr>
              <a:lnSpc>
                <a:spcPct val="100000"/>
              </a:lnSpc>
              <a:spcBef>
                <a:spcPts val="200"/>
              </a:spcBef>
              <a:defRPr sz="1200"/>
            </a:lvl5pPr>
            <a:lvl6pPr>
              <a:lnSpc>
                <a:spcPct val="100000"/>
              </a:lnSpc>
              <a:spcBef>
                <a:spcPts val="200"/>
              </a:spcBef>
              <a:defRPr sz="1200"/>
            </a:lvl6pPr>
            <a:lvl7pPr>
              <a:lnSpc>
                <a:spcPct val="100000"/>
              </a:lnSpc>
              <a:spcBef>
                <a:spcPts val="200"/>
              </a:spcBef>
              <a:defRPr sz="1200"/>
            </a:lvl7pPr>
            <a:lvl8pPr>
              <a:lnSpc>
                <a:spcPct val="100000"/>
              </a:lnSpc>
              <a:spcBef>
                <a:spcPts val="200"/>
              </a:spcBef>
              <a:defRPr sz="1200"/>
            </a:lvl8pPr>
            <a:lvl9pPr>
              <a:lnSpc>
                <a:spcPct val="100000"/>
              </a:lnSpc>
              <a:spcBef>
                <a:spcPts val="200"/>
              </a:spcBef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DD0E-0026-491C-AA0D-94673B33655F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311900" y="981075"/>
            <a:ext cx="4897438" cy="647700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b="0" baseline="0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0" name="Chart Placeholder 9"/>
          <p:cNvSpPr>
            <a:spLocks noGrp="1"/>
          </p:cNvSpPr>
          <p:nvPr>
            <p:ph type="chart" sz="quarter" idx="16"/>
          </p:nvPr>
        </p:nvSpPr>
        <p:spPr>
          <a:xfrm>
            <a:off x="6311900" y="1844675"/>
            <a:ext cx="2448396" cy="1944365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chart</a:t>
            </a:r>
            <a:endParaRPr lang="fi-FI" dirty="0"/>
          </a:p>
        </p:txBody>
      </p:sp>
      <p:sp>
        <p:nvSpPr>
          <p:cNvPr id="11" name="Chart Placeholder 9"/>
          <p:cNvSpPr>
            <a:spLocks noGrp="1"/>
          </p:cNvSpPr>
          <p:nvPr>
            <p:ph type="chart" sz="quarter" idx="17"/>
          </p:nvPr>
        </p:nvSpPr>
        <p:spPr>
          <a:xfrm>
            <a:off x="8760297" y="1844675"/>
            <a:ext cx="2449042" cy="1944365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chart</a:t>
            </a:r>
            <a:endParaRPr lang="fi-FI" dirty="0"/>
          </a:p>
        </p:txBody>
      </p:sp>
      <p:sp>
        <p:nvSpPr>
          <p:cNvPr id="12" name="Chart Placeholder 9"/>
          <p:cNvSpPr>
            <a:spLocks noGrp="1"/>
          </p:cNvSpPr>
          <p:nvPr>
            <p:ph type="chart" sz="quarter" idx="18"/>
          </p:nvPr>
        </p:nvSpPr>
        <p:spPr>
          <a:xfrm>
            <a:off x="6311900" y="4005064"/>
            <a:ext cx="2448396" cy="1944886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chart</a:t>
            </a:r>
            <a:endParaRPr lang="fi-FI" dirty="0"/>
          </a:p>
        </p:txBody>
      </p:sp>
      <p:sp>
        <p:nvSpPr>
          <p:cNvPr id="13" name="Chart Placeholder 9"/>
          <p:cNvSpPr>
            <a:spLocks noGrp="1"/>
          </p:cNvSpPr>
          <p:nvPr>
            <p:ph type="chart" sz="quarter" idx="19"/>
          </p:nvPr>
        </p:nvSpPr>
        <p:spPr>
          <a:xfrm>
            <a:off x="8760297" y="4005064"/>
            <a:ext cx="2449042" cy="1944886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chart</a:t>
            </a:r>
            <a:endParaRPr lang="fi-FI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  |  Uni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9962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Content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981893" y="3501008"/>
            <a:ext cx="10226675" cy="24489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2663" y="980728"/>
            <a:ext cx="4897437" cy="2448272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126554" y="3645024"/>
            <a:ext cx="3241254" cy="288032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sz="1400" b="0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15CD8221-CE0D-437A-8323-A2F27860CFA7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511824" y="3645024"/>
            <a:ext cx="3168352" cy="288032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sz="1400" b="0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A991BBD7-252F-482A-AB1F-CB67BD97D70A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824192" y="3645024"/>
            <a:ext cx="3240360" cy="288032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sz="1400" b="0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0" name="Chart Placeholder 9"/>
          <p:cNvSpPr>
            <a:spLocks noGrp="1"/>
          </p:cNvSpPr>
          <p:nvPr>
            <p:ph type="chart" sz="quarter" idx="16"/>
          </p:nvPr>
        </p:nvSpPr>
        <p:spPr>
          <a:xfrm>
            <a:off x="1128828" y="4005586"/>
            <a:ext cx="3238980" cy="1799718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chart</a:t>
            </a:r>
            <a:endParaRPr lang="fi-FI" dirty="0"/>
          </a:p>
        </p:txBody>
      </p:sp>
      <p:sp>
        <p:nvSpPr>
          <p:cNvPr id="11" name="Chart Placeholder 10"/>
          <p:cNvSpPr>
            <a:spLocks noGrp="1"/>
          </p:cNvSpPr>
          <p:nvPr>
            <p:ph type="chart" sz="quarter" idx="17"/>
          </p:nvPr>
        </p:nvSpPr>
        <p:spPr>
          <a:xfrm>
            <a:off x="4511824" y="4005586"/>
            <a:ext cx="3168352" cy="1799718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chart</a:t>
            </a:r>
            <a:endParaRPr lang="fi-FI"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8"/>
          </p:nvPr>
        </p:nvSpPr>
        <p:spPr>
          <a:xfrm>
            <a:off x="7824192" y="4005064"/>
            <a:ext cx="3240360" cy="1800200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chart</a:t>
            </a:r>
            <a:endParaRPr lang="fi-FI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989E6DD-4F17-4916-B2B7-F02D226FBA1D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uthor  |  Uni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F352291-7F09-7136-6121-DA6957D764B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72464" y="6237312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9" name="Freeform 14">
              <a:extLst>
                <a:ext uri="{FF2B5EF4-FFF2-40B4-BE49-F238E27FC236}">
                  <a16:creationId xmlns:a16="http://schemas.microsoft.com/office/drawing/2014/main" id="{1F533AE4-F87E-A1E0-684F-9BAA9556ACD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15">
              <a:extLst>
                <a:ext uri="{FF2B5EF4-FFF2-40B4-BE49-F238E27FC236}">
                  <a16:creationId xmlns:a16="http://schemas.microsoft.com/office/drawing/2014/main" id="{A44006E9-7CF2-BE3F-20B5-610A2872EB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633798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2663" y="980728"/>
            <a:ext cx="10226675" cy="2448272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6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4" y="3573016"/>
            <a:ext cx="4897436" cy="2376934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80000"/>
              </a:lnSpc>
              <a:defRPr lang="en-US" sz="18000" b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6311900" y="3573016"/>
            <a:ext cx="4897437" cy="2376935"/>
          </a:xfrm>
        </p:spPr>
        <p:txBody>
          <a:bodyPr/>
          <a:lstStyle>
            <a:lvl1pPr>
              <a:lnSpc>
                <a:spcPct val="100000"/>
              </a:lnSpc>
              <a:spcBef>
                <a:spcPts val="200"/>
              </a:spcBef>
              <a:defRPr sz="1600"/>
            </a:lvl1pPr>
            <a:lvl2pPr>
              <a:lnSpc>
                <a:spcPct val="100000"/>
              </a:lnSpc>
              <a:spcBef>
                <a:spcPts val="200"/>
              </a:spcBef>
              <a:defRPr sz="1600"/>
            </a:lvl2pPr>
            <a:lvl3pPr>
              <a:lnSpc>
                <a:spcPct val="100000"/>
              </a:lnSpc>
              <a:spcBef>
                <a:spcPts val="200"/>
              </a:spcBef>
              <a:defRPr sz="1400"/>
            </a:lvl3pPr>
            <a:lvl4pPr>
              <a:lnSpc>
                <a:spcPct val="100000"/>
              </a:lnSpc>
              <a:spcBef>
                <a:spcPts val="200"/>
              </a:spcBef>
              <a:defRPr sz="1400"/>
            </a:lvl4pPr>
            <a:lvl5pPr>
              <a:lnSpc>
                <a:spcPct val="100000"/>
              </a:lnSpc>
              <a:spcBef>
                <a:spcPts val="200"/>
              </a:spcBef>
              <a:defRPr sz="1400"/>
            </a:lvl5pPr>
            <a:lvl6pPr>
              <a:lnSpc>
                <a:spcPct val="100000"/>
              </a:lnSpc>
              <a:spcBef>
                <a:spcPts val="200"/>
              </a:spcBef>
              <a:defRPr sz="1200"/>
            </a:lvl6pPr>
            <a:lvl7pPr>
              <a:lnSpc>
                <a:spcPct val="100000"/>
              </a:lnSpc>
              <a:spcBef>
                <a:spcPts val="200"/>
              </a:spcBef>
              <a:defRPr sz="1200"/>
            </a:lvl7pPr>
            <a:lvl8pPr>
              <a:lnSpc>
                <a:spcPct val="100000"/>
              </a:lnSpc>
              <a:spcBef>
                <a:spcPts val="200"/>
              </a:spcBef>
              <a:defRPr sz="1200"/>
            </a:lvl8pPr>
            <a:lvl9pPr>
              <a:lnSpc>
                <a:spcPct val="100000"/>
              </a:lnSpc>
              <a:spcBef>
                <a:spcPts val="200"/>
              </a:spcBef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3609DB-4C28-4A84-BCBF-226D1D7220DD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  |  Uni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8112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Content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6696" y="3573189"/>
            <a:ext cx="4897437" cy="1223963"/>
          </a:xfrm>
        </p:spPr>
        <p:txBody>
          <a:bodyPr anchor="t" anchorCtr="0"/>
          <a:lstStyle>
            <a:lvl1pPr algn="l">
              <a:lnSpc>
                <a:spcPct val="8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4" y="980728"/>
            <a:ext cx="4897436" cy="2448272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80000"/>
              </a:lnSpc>
              <a:defRPr lang="en-US" sz="18000" b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982663" y="4797152"/>
            <a:ext cx="4897437" cy="1152798"/>
          </a:xfrm>
        </p:spPr>
        <p:txBody>
          <a:bodyPr/>
          <a:lstStyle>
            <a:lvl1pPr>
              <a:lnSpc>
                <a:spcPct val="100000"/>
              </a:lnSpc>
              <a:spcBef>
                <a:spcPts val="200"/>
              </a:spcBef>
              <a:defRPr sz="12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200"/>
              </a:spcBef>
              <a:defRPr sz="12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Bef>
                <a:spcPts val="200"/>
              </a:spcBef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Bef>
                <a:spcPts val="200"/>
              </a:spcBef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spcBef>
                <a:spcPts val="200"/>
              </a:spcBef>
              <a:defRPr sz="1200">
                <a:solidFill>
                  <a:schemeClr val="bg1"/>
                </a:solidFill>
              </a:defRPr>
            </a:lvl5pPr>
            <a:lvl6pPr>
              <a:lnSpc>
                <a:spcPct val="100000"/>
              </a:lnSpc>
              <a:spcBef>
                <a:spcPts val="200"/>
              </a:spcBef>
              <a:defRPr sz="1200"/>
            </a:lvl6pPr>
            <a:lvl7pPr>
              <a:lnSpc>
                <a:spcPct val="100000"/>
              </a:lnSpc>
              <a:spcBef>
                <a:spcPts val="200"/>
              </a:spcBef>
              <a:defRPr sz="1200"/>
            </a:lvl7pPr>
            <a:lvl8pPr>
              <a:lnSpc>
                <a:spcPct val="100000"/>
              </a:lnSpc>
              <a:spcBef>
                <a:spcPts val="200"/>
              </a:spcBef>
              <a:defRPr sz="1200"/>
            </a:lvl8pPr>
            <a:lvl9pPr>
              <a:lnSpc>
                <a:spcPct val="100000"/>
              </a:lnSpc>
              <a:spcBef>
                <a:spcPts val="200"/>
              </a:spcBef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2A1B3B-55F7-405A-A153-16D275835786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uthor  |  Uni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95ACD23-2AEF-D17C-54A8-F7D05EB8D8E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72464" y="6237312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7" name="Freeform 14">
              <a:extLst>
                <a:ext uri="{FF2B5EF4-FFF2-40B4-BE49-F238E27FC236}">
                  <a16:creationId xmlns:a16="http://schemas.microsoft.com/office/drawing/2014/main" id="{6EB2781D-2E7C-3411-4429-CD17C32222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15">
              <a:extLst>
                <a:ext uri="{FF2B5EF4-FFF2-40B4-BE49-F238E27FC236}">
                  <a16:creationId xmlns:a16="http://schemas.microsoft.com/office/drawing/2014/main" id="{B584527D-FC38-9D44-6D45-1F0390FC22E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887048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2663" y="3429000"/>
            <a:ext cx="4897437" cy="252095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4" y="981075"/>
            <a:ext cx="4897436" cy="2303910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80000"/>
              </a:lnSpc>
              <a:defRPr lang="en-US" sz="16000" b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6311900" y="981075"/>
            <a:ext cx="4897437" cy="2303909"/>
          </a:xfrm>
        </p:spPr>
        <p:txBody>
          <a:bodyPr/>
          <a:lstStyle>
            <a:lvl1pPr>
              <a:lnSpc>
                <a:spcPct val="100000"/>
              </a:lnSpc>
              <a:spcBef>
                <a:spcPts val="200"/>
              </a:spcBef>
              <a:defRPr sz="1600"/>
            </a:lvl1pPr>
            <a:lvl2pPr>
              <a:lnSpc>
                <a:spcPct val="100000"/>
              </a:lnSpc>
              <a:spcBef>
                <a:spcPts val="200"/>
              </a:spcBef>
              <a:defRPr sz="1600"/>
            </a:lvl2pPr>
            <a:lvl3pPr>
              <a:lnSpc>
                <a:spcPct val="100000"/>
              </a:lnSpc>
              <a:spcBef>
                <a:spcPts val="200"/>
              </a:spcBef>
              <a:defRPr sz="1400"/>
            </a:lvl3pPr>
            <a:lvl4pPr>
              <a:lnSpc>
                <a:spcPct val="100000"/>
              </a:lnSpc>
              <a:spcBef>
                <a:spcPts val="200"/>
              </a:spcBef>
              <a:defRPr sz="1400"/>
            </a:lvl4pPr>
            <a:lvl5pPr>
              <a:lnSpc>
                <a:spcPct val="100000"/>
              </a:lnSpc>
              <a:spcBef>
                <a:spcPts val="200"/>
              </a:spcBef>
              <a:defRPr sz="1400"/>
            </a:lvl5pPr>
            <a:lvl6pPr>
              <a:lnSpc>
                <a:spcPct val="100000"/>
              </a:lnSpc>
              <a:spcBef>
                <a:spcPts val="200"/>
              </a:spcBef>
              <a:defRPr sz="1200"/>
            </a:lvl6pPr>
            <a:lvl7pPr>
              <a:lnSpc>
                <a:spcPct val="100000"/>
              </a:lnSpc>
              <a:spcBef>
                <a:spcPts val="200"/>
              </a:spcBef>
              <a:defRPr sz="1200"/>
            </a:lvl7pPr>
            <a:lvl8pPr>
              <a:lnSpc>
                <a:spcPct val="100000"/>
              </a:lnSpc>
              <a:spcBef>
                <a:spcPts val="200"/>
              </a:spcBef>
              <a:defRPr sz="1200"/>
            </a:lvl8pPr>
            <a:lvl9pPr>
              <a:lnSpc>
                <a:spcPct val="100000"/>
              </a:lnSpc>
              <a:spcBef>
                <a:spcPts val="200"/>
              </a:spcBef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hart Placeholder 9"/>
          <p:cNvSpPr>
            <a:spLocks noGrp="1"/>
          </p:cNvSpPr>
          <p:nvPr>
            <p:ph type="chart" sz="quarter" idx="16"/>
          </p:nvPr>
        </p:nvSpPr>
        <p:spPr>
          <a:xfrm>
            <a:off x="6311900" y="3429000"/>
            <a:ext cx="4897438" cy="2520950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chart</a:t>
            </a:r>
            <a:endParaRPr lang="fi-FI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FDC5F0-CE0D-4C5A-ADF4-6E8B3B954AE1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  |  Uni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6644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Conten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2663" y="980728"/>
            <a:ext cx="4897437" cy="1728192"/>
          </a:xfrm>
        </p:spPr>
        <p:txBody>
          <a:bodyPr tIns="36000" anchor="t" anchorCtr="0"/>
          <a:lstStyle>
            <a:lvl1pPr algn="l">
              <a:lnSpc>
                <a:spcPct val="90000"/>
              </a:lnSpc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312024" y="1484957"/>
            <a:ext cx="4897436" cy="1223963"/>
          </a:xfrm>
        </p:spPr>
        <p:txBody>
          <a:bodyPr vert="horz" lIns="0" tIns="144000" rIns="0" bIns="0" rtlCol="0" anchor="t" anchorCtr="0">
            <a:noAutofit/>
          </a:bodyPr>
          <a:lstStyle>
            <a:lvl1pPr>
              <a:lnSpc>
                <a:spcPct val="70000"/>
              </a:lnSpc>
              <a:defRPr lang="en-US" sz="8000" b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E5F175-E739-4750-B8C5-DDA89B3A864C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311900" y="981075"/>
            <a:ext cx="4897438" cy="35969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b="0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  |  Uni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7B7EC3C-CA63-440B-BF6C-A47609BEFFC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82663" y="3140968"/>
            <a:ext cx="10225905" cy="28089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5234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Conten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312024" y="2348707"/>
            <a:ext cx="4897436" cy="1080294"/>
          </a:xfrm>
        </p:spPr>
        <p:txBody>
          <a:bodyPr vert="horz" lIns="0" tIns="144000" rIns="0" bIns="0" rtlCol="0" anchor="t" anchorCtr="0">
            <a:noAutofit/>
          </a:bodyPr>
          <a:lstStyle>
            <a:lvl1pPr>
              <a:lnSpc>
                <a:spcPct val="70000"/>
              </a:lnSpc>
              <a:defRPr lang="en-US" sz="8000" b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9E2F8D-616A-4F8F-A499-7893EBE8D2DA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311900" y="1844824"/>
            <a:ext cx="4897438" cy="35969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b="0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  |  Uni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3606FFB-15CE-408A-8493-F752F10A6F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0E8E657-0EF0-4F72-90E3-DA9C0D6082D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982662" y="1844675"/>
            <a:ext cx="4897437" cy="576263"/>
          </a:xfrm>
        </p:spPr>
        <p:txBody>
          <a:bodyPr tIns="5400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0" cap="none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44C03E3-5B08-40B2-A67D-6AA499524A1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82662" y="2420939"/>
            <a:ext cx="4897438" cy="35290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D11D370E-EE54-4484-827F-0993364EDD4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24" y="4292922"/>
            <a:ext cx="4897436" cy="1080294"/>
          </a:xfrm>
        </p:spPr>
        <p:txBody>
          <a:bodyPr vert="horz" lIns="0" tIns="144000" rIns="0" bIns="0" rtlCol="0" anchor="t" anchorCtr="0">
            <a:noAutofit/>
          </a:bodyPr>
          <a:lstStyle>
            <a:lvl1pPr>
              <a:lnSpc>
                <a:spcPct val="70000"/>
              </a:lnSpc>
              <a:defRPr lang="en-US" sz="8000" b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5C4E32A6-5E3A-4C1C-A077-1AE6C173EC77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311900" y="3789039"/>
            <a:ext cx="4897438" cy="35969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b="0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DC978E6-7B8F-4C4D-833D-4AC80D2A0777}"/>
              </a:ext>
            </a:extLst>
          </p:cNvPr>
          <p:cNvCxnSpPr/>
          <p:nvPr userDrawn="1"/>
        </p:nvCxnSpPr>
        <p:spPr>
          <a:xfrm>
            <a:off x="6096000" y="1844824"/>
            <a:ext cx="0" cy="4104456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1498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Content 8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312024" y="1844675"/>
            <a:ext cx="4896544" cy="41052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DA3F24-4ABE-483E-A5CB-313BB03AEA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578C2AF-0D84-445B-B990-8E67D01977BB}"/>
              </a:ext>
            </a:extLst>
          </p:cNvPr>
          <p:cNvCxnSpPr/>
          <p:nvPr userDrawn="1"/>
        </p:nvCxnSpPr>
        <p:spPr>
          <a:xfrm>
            <a:off x="6096000" y="1844824"/>
            <a:ext cx="0" cy="410445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9233129-9BD5-4C01-B019-833F2006B0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540" y="2348707"/>
            <a:ext cx="4897436" cy="1080294"/>
          </a:xfrm>
        </p:spPr>
        <p:txBody>
          <a:bodyPr vert="horz" lIns="0" tIns="144000" rIns="0" bIns="0" rtlCol="0" anchor="t" anchorCtr="0">
            <a:noAutofit/>
          </a:bodyPr>
          <a:lstStyle>
            <a:lvl1pPr>
              <a:lnSpc>
                <a:spcPct val="70000"/>
              </a:lnSpc>
              <a:defRPr lang="en-US" sz="8000" b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1D5DB1D-0828-49FC-925A-E87C6060FA5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982416" y="1844824"/>
            <a:ext cx="4897438" cy="35969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b="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E7808219-3103-4680-B89D-E15B9C0380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82540" y="4292923"/>
            <a:ext cx="4897436" cy="1080294"/>
          </a:xfrm>
        </p:spPr>
        <p:txBody>
          <a:bodyPr vert="horz" lIns="0" tIns="144000" rIns="0" bIns="0" rtlCol="0" anchor="t" anchorCtr="0">
            <a:noAutofit/>
          </a:bodyPr>
          <a:lstStyle>
            <a:lvl1pPr>
              <a:lnSpc>
                <a:spcPct val="70000"/>
              </a:lnSpc>
              <a:defRPr lang="en-US" sz="8000" b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44B32D3-35ED-400D-97C1-41008C4FD2BA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982416" y="3789040"/>
            <a:ext cx="4897438" cy="35969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b="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FFF200-3A88-11D6-BD2F-34C64E8380D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ECFE054-1986-4933-9F08-602183B8789D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05CE197-814B-16A2-1CF4-D17EC9A2329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uthor  |  Unit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6531C35-AFF7-ECBB-22C1-F0E9ECA6AFF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D10CB25-5436-37BB-40BC-6174E689AD1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72464" y="6237312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9E3A0499-6884-FA91-A234-67B7695D4FC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id="{6E50ACC5-D0F7-C0B5-6FF2-51CA8974EE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711141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Content 9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9233129-9BD5-4C01-B019-833F2006B0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540" y="2852762"/>
            <a:ext cx="4897436" cy="3096518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80000"/>
              </a:lnSpc>
              <a:defRPr lang="en-US" sz="16000" b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1D5DB1D-0828-49FC-925A-E87C6060FA5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982416" y="2348879"/>
            <a:ext cx="4897438" cy="35969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b="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E7808219-3103-4680-B89D-E15B9C0380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148" y="2852762"/>
            <a:ext cx="4897436" cy="3096517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80000"/>
              </a:lnSpc>
              <a:defRPr lang="en-US" sz="16000" b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44B32D3-35ED-400D-97C1-41008C4FD2BA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312024" y="2348880"/>
            <a:ext cx="4897438" cy="35969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b="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EEF6A2C-2FB2-43A8-A456-A31438059347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82662" y="1844675"/>
            <a:ext cx="10225906" cy="360189"/>
          </a:xfrm>
        </p:spPr>
        <p:txBody>
          <a:bodyPr tIns="54000" anchor="t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946D2EF-FD73-C34D-7CDA-B5AE2A07DB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31E176-F353-791E-4BA6-9E83E6E71F6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B99351-6DD7-48C8-8FB0-5420FC551AA3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3692380-6B98-8C05-4242-0B0EA240A0C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uthor  |  Unit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00B10FF-E17B-9E9A-47C1-84348CB1633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A8BB335-7275-D274-ED2F-B5CD04F7C74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72464" y="6237312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18" name="Freeform 14">
              <a:extLst>
                <a:ext uri="{FF2B5EF4-FFF2-40B4-BE49-F238E27FC236}">
                  <a16:creationId xmlns:a16="http://schemas.microsoft.com/office/drawing/2014/main" id="{C7C681F7-B839-DC6F-09D4-BD93D70F0B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5">
              <a:extLst>
                <a:ext uri="{FF2B5EF4-FFF2-40B4-BE49-F238E27FC236}">
                  <a16:creationId xmlns:a16="http://schemas.microsoft.com/office/drawing/2014/main" id="{1AFDBA3D-C7CB-75CE-BD5F-F40100177A8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927891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AC7F4B-F32F-41F0-ADDD-2972C936D1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FA230ECD-10F3-4D02-A3B8-53E6D95BEB2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82663" y="1844675"/>
            <a:ext cx="4897437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6312024" y="1844824"/>
            <a:ext cx="4896544" cy="4104456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C7DD22B3-E187-45A0-A089-3A306DCA9D7C}" type="datetime1">
              <a:rPr lang="fi-FI" smtClean="0">
                <a:solidFill>
                  <a:srgbClr val="FF6900"/>
                </a:solidFill>
              </a:rPr>
              <a:t>31.10.2023</a:t>
            </a:fld>
            <a:endParaRPr lang="en-US">
              <a:solidFill>
                <a:srgbClr val="FF69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i-FI">
                <a:solidFill>
                  <a:srgbClr val="FF6900"/>
                </a:solidFill>
              </a:rPr>
              <a:t>RIA - RKL yrittäjäpäivä 1.11.2023</a:t>
            </a:r>
            <a:endParaRPr lang="en-US">
              <a:solidFill>
                <a:srgbClr val="FF69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1FEE6BA-E83C-4FBF-B719-E6671631796F}" type="slidenum">
              <a:rPr lang="en-US" smtClean="0">
                <a:solidFill>
                  <a:srgbClr val="FF6900"/>
                </a:solidFill>
              </a:rPr>
              <a:pPr/>
              <a:t>‹#›</a:t>
            </a:fld>
            <a:endParaRPr lang="en-US">
              <a:solidFill>
                <a:srgbClr val="FF69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5886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2663" y="2204864"/>
            <a:ext cx="10226675" cy="2448272"/>
          </a:xfrm>
        </p:spPr>
        <p:txBody>
          <a:bodyPr vert="horz" lIns="0" tIns="14400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E48C0F-32EB-49DA-A4D2-C5CB15ECE7DC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uthor  |  Unit</a:t>
            </a: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873FCD1-F5BF-8A7D-291F-A10B135040F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72464" y="6237312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4" name="Freeform 14">
              <a:extLst>
                <a:ext uri="{FF2B5EF4-FFF2-40B4-BE49-F238E27FC236}">
                  <a16:creationId xmlns:a16="http://schemas.microsoft.com/office/drawing/2014/main" id="{081B1E0E-D68A-4195-7C02-F5CEEFF261D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" name="Freeform 15">
              <a:extLst>
                <a:ext uri="{FF2B5EF4-FFF2-40B4-BE49-F238E27FC236}">
                  <a16:creationId xmlns:a16="http://schemas.microsoft.com/office/drawing/2014/main" id="{2ABA6786-CB90-7A06-1DAA-F0E81A22116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4275323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2663" y="2204864"/>
            <a:ext cx="10226675" cy="2448272"/>
          </a:xfrm>
        </p:spPr>
        <p:txBody>
          <a:bodyPr vert="horz" lIns="0" tIns="14400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C539DD8-292F-4661-BAB1-0BECE5FC9698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uthor  |  Unit</a:t>
            </a: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E0894CD-4623-05B7-0D1C-B77FDF49AB7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72464" y="6237312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4" name="Freeform 14">
              <a:extLst>
                <a:ext uri="{FF2B5EF4-FFF2-40B4-BE49-F238E27FC236}">
                  <a16:creationId xmlns:a16="http://schemas.microsoft.com/office/drawing/2014/main" id="{2AD41710-FD0F-AB9E-03E6-55D8CDB8C57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" name="Freeform 15">
              <a:extLst>
                <a:ext uri="{FF2B5EF4-FFF2-40B4-BE49-F238E27FC236}">
                  <a16:creationId xmlns:a16="http://schemas.microsoft.com/office/drawing/2014/main" id="{00DA02AB-A574-315F-4B9C-D6308B6B0D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603759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Pictu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2371D0B7-F884-B337-4FB3-0DCEFB5BCC8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" y="1"/>
            <a:ext cx="12192000" cy="6858000"/>
          </a:xfrm>
          <a:solidFill>
            <a:schemeClr val="bg2">
              <a:lumMod val="75000"/>
            </a:schemeClr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2663" y="2204864"/>
            <a:ext cx="10226675" cy="2448272"/>
          </a:xfrm>
        </p:spPr>
        <p:txBody>
          <a:bodyPr vert="horz" lIns="0" tIns="14400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38285A1-3D8C-4165-8D9C-C952F1A1DCD7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uthor  |  Unit</a:t>
            </a: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5BFE3A14-395C-BB5F-A843-6898B5D6A55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272464" y="6237312"/>
            <a:ext cx="1522800" cy="21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2806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800" cap="none"/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625C9C-0625-43A7-840E-CA60419E9CCA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  |  Uni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9878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800" cap="none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2663" y="1844675"/>
            <a:ext cx="4897437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11900" y="1844675"/>
            <a:ext cx="4897438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566E9-1296-47A0-82F8-6B4B084E5C6A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  |  Uni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5922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Comparis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800" cap="none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82662" y="1844675"/>
            <a:ext cx="4897437" cy="576263"/>
          </a:xfrm>
        </p:spPr>
        <p:txBody>
          <a:bodyPr tIns="5400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0" cap="none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3" hasCustomPrompt="1"/>
          </p:nvPr>
        </p:nvSpPr>
        <p:spPr>
          <a:xfrm>
            <a:off x="6311901" y="1844675"/>
            <a:ext cx="4897438" cy="576263"/>
          </a:xfrm>
        </p:spPr>
        <p:txBody>
          <a:bodyPr tIns="5400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0" cap="none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82662" y="2420939"/>
            <a:ext cx="4897438" cy="35290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11900" y="2420939"/>
            <a:ext cx="4897438" cy="35290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A23E8-D689-4412-8224-E2DB774BA16A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  |  Uni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9037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32FB4C-B995-4981-9A39-F921D6FE7BEE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  |  Uni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0521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1149A-076E-446B-81FC-E0A3A7B5C23A}" type="datetime1">
              <a:rPr lang="fi-FI" smtClean="0"/>
              <a:t>31.10.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  |  Un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370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and Contact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799856" y="2348880"/>
            <a:ext cx="6049120" cy="2736304"/>
          </a:xfrm>
        </p:spPr>
        <p:txBody>
          <a:bodyPr vert="horz" lIns="0" tIns="144000" rIns="0" bIns="0" rtlCol="0" anchor="t" anchorCtr="0">
            <a:noAutofit/>
          </a:bodyPr>
          <a:lstStyle>
            <a:lvl1pPr algn="l">
              <a:defRPr lang="en-US" sz="5400" dirty="0">
                <a:solidFill>
                  <a:schemeClr val="bg1"/>
                </a:solidFill>
              </a:defRPr>
            </a:lvl1pPr>
          </a:lstStyle>
          <a:p>
            <a:pPr lvl="0" algn="l">
              <a:lnSpc>
                <a:spcPct val="90000"/>
              </a:lnSpc>
            </a:pPr>
            <a:r>
              <a:rPr lang="fi-FI" dirty="0"/>
              <a:t>Add thank you Message.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99856" y="1844675"/>
            <a:ext cx="604912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tabLst>
                <a:tab pos="1797050" algn="l"/>
              </a:tabLst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Add your @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800599" y="5229225"/>
            <a:ext cx="6048375" cy="720726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your contact detail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90E1BEF-D278-45B7-A4EE-1BCD525FF694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Author  |  Unit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BB95CBD9-BA1E-7311-603F-C6522E20D3A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335360" y="0"/>
            <a:ext cx="3847690" cy="3429000"/>
          </a:xfrm>
          <a:custGeom>
            <a:avLst/>
            <a:gdLst>
              <a:gd name="T0" fmla="*/ 1508 w 3437"/>
              <a:gd name="T1" fmla="*/ 2040 h 3063"/>
              <a:gd name="T2" fmla="*/ 937 w 3437"/>
              <a:gd name="T3" fmla="*/ 2040 h 3063"/>
              <a:gd name="T4" fmla="*/ 573 w 3437"/>
              <a:gd name="T5" fmla="*/ 1531 h 3063"/>
              <a:gd name="T6" fmla="*/ 210 w 3437"/>
              <a:gd name="T7" fmla="*/ 1023 h 3063"/>
              <a:gd name="T8" fmla="*/ 780 w 3437"/>
              <a:gd name="T9" fmla="*/ 1023 h 3063"/>
              <a:gd name="T10" fmla="*/ 1144 w 3437"/>
              <a:gd name="T11" fmla="*/ 1531 h 3063"/>
              <a:gd name="T12" fmla="*/ 1508 w 3437"/>
              <a:gd name="T13" fmla="*/ 2040 h 3063"/>
              <a:gd name="T14" fmla="*/ 1719 w 3437"/>
              <a:gd name="T15" fmla="*/ 2040 h 3063"/>
              <a:gd name="T16" fmla="*/ 1354 w 3437"/>
              <a:gd name="T17" fmla="*/ 1531 h 3063"/>
              <a:gd name="T18" fmla="*/ 990 w 3437"/>
              <a:gd name="T19" fmla="*/ 1022 h 3063"/>
              <a:gd name="T20" fmla="*/ 1354 w 3437"/>
              <a:gd name="T21" fmla="*/ 510 h 3063"/>
              <a:gd name="T22" fmla="*/ 1719 w 3437"/>
              <a:gd name="T23" fmla="*/ 0 h 3063"/>
              <a:gd name="T24" fmla="*/ 1224 w 3437"/>
              <a:gd name="T25" fmla="*/ 0 h 3063"/>
              <a:gd name="T26" fmla="*/ 729 w 3437"/>
              <a:gd name="T27" fmla="*/ 0 h 3063"/>
              <a:gd name="T28" fmla="*/ 364 w 3437"/>
              <a:gd name="T29" fmla="*/ 510 h 3063"/>
              <a:gd name="T30" fmla="*/ 0 w 3437"/>
              <a:gd name="T31" fmla="*/ 1022 h 3063"/>
              <a:gd name="T32" fmla="*/ 364 w 3437"/>
              <a:gd name="T33" fmla="*/ 1531 h 3063"/>
              <a:gd name="T34" fmla="*/ 729 w 3437"/>
              <a:gd name="T35" fmla="*/ 2041 h 3063"/>
              <a:gd name="T36" fmla="*/ 364 w 3437"/>
              <a:gd name="T37" fmla="*/ 2552 h 3063"/>
              <a:gd name="T38" fmla="*/ 0 w 3437"/>
              <a:gd name="T39" fmla="*/ 3063 h 3063"/>
              <a:gd name="T40" fmla="*/ 494 w 3437"/>
              <a:gd name="T41" fmla="*/ 3063 h 3063"/>
              <a:gd name="T42" fmla="*/ 990 w 3437"/>
              <a:gd name="T43" fmla="*/ 3063 h 3063"/>
              <a:gd name="T44" fmla="*/ 1354 w 3437"/>
              <a:gd name="T45" fmla="*/ 2552 h 3063"/>
              <a:gd name="T46" fmla="*/ 1719 w 3437"/>
              <a:gd name="T47" fmla="*/ 2041 h 3063"/>
              <a:gd name="T48" fmla="*/ 2212 w 3437"/>
              <a:gd name="T49" fmla="*/ 2041 h 3063"/>
              <a:gd name="T50" fmla="*/ 2707 w 3437"/>
              <a:gd name="T51" fmla="*/ 2041 h 3063"/>
              <a:gd name="T52" fmla="*/ 3072 w 3437"/>
              <a:gd name="T53" fmla="*/ 1530 h 3063"/>
              <a:gd name="T54" fmla="*/ 3437 w 3437"/>
              <a:gd name="T55" fmla="*/ 1019 h 3063"/>
              <a:gd name="T56" fmla="*/ 2942 w 3437"/>
              <a:gd name="T57" fmla="*/ 1019 h 3063"/>
              <a:gd name="T58" fmla="*/ 2447 w 3437"/>
              <a:gd name="T59" fmla="*/ 1019 h 3063"/>
              <a:gd name="T60" fmla="*/ 2083 w 3437"/>
              <a:gd name="T61" fmla="*/ 1529 h 3063"/>
              <a:gd name="T62" fmla="*/ 1719 w 3437"/>
              <a:gd name="T63" fmla="*/ 2040 h 30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437" h="3063">
                <a:moveTo>
                  <a:pt x="1508" y="2040"/>
                </a:moveTo>
                <a:lnTo>
                  <a:pt x="937" y="2040"/>
                </a:lnTo>
                <a:lnTo>
                  <a:pt x="573" y="1531"/>
                </a:lnTo>
                <a:lnTo>
                  <a:pt x="210" y="1023"/>
                </a:lnTo>
                <a:lnTo>
                  <a:pt x="780" y="1023"/>
                </a:lnTo>
                <a:lnTo>
                  <a:pt x="1144" y="1531"/>
                </a:lnTo>
                <a:lnTo>
                  <a:pt x="1508" y="2040"/>
                </a:lnTo>
                <a:close/>
                <a:moveTo>
                  <a:pt x="1719" y="2040"/>
                </a:moveTo>
                <a:lnTo>
                  <a:pt x="1354" y="1531"/>
                </a:lnTo>
                <a:lnTo>
                  <a:pt x="990" y="1022"/>
                </a:lnTo>
                <a:lnTo>
                  <a:pt x="1354" y="510"/>
                </a:lnTo>
                <a:lnTo>
                  <a:pt x="1719" y="0"/>
                </a:lnTo>
                <a:lnTo>
                  <a:pt x="1224" y="0"/>
                </a:lnTo>
                <a:lnTo>
                  <a:pt x="729" y="0"/>
                </a:lnTo>
                <a:lnTo>
                  <a:pt x="364" y="510"/>
                </a:lnTo>
                <a:lnTo>
                  <a:pt x="0" y="1022"/>
                </a:lnTo>
                <a:lnTo>
                  <a:pt x="364" y="1531"/>
                </a:lnTo>
                <a:lnTo>
                  <a:pt x="729" y="2041"/>
                </a:lnTo>
                <a:lnTo>
                  <a:pt x="364" y="2552"/>
                </a:lnTo>
                <a:lnTo>
                  <a:pt x="0" y="3063"/>
                </a:lnTo>
                <a:lnTo>
                  <a:pt x="494" y="3063"/>
                </a:lnTo>
                <a:lnTo>
                  <a:pt x="990" y="3063"/>
                </a:lnTo>
                <a:lnTo>
                  <a:pt x="1354" y="2552"/>
                </a:lnTo>
                <a:lnTo>
                  <a:pt x="1719" y="2041"/>
                </a:lnTo>
                <a:lnTo>
                  <a:pt x="2212" y="2041"/>
                </a:lnTo>
                <a:lnTo>
                  <a:pt x="2707" y="2041"/>
                </a:lnTo>
                <a:lnTo>
                  <a:pt x="3072" y="1530"/>
                </a:lnTo>
                <a:lnTo>
                  <a:pt x="3437" y="1019"/>
                </a:lnTo>
                <a:lnTo>
                  <a:pt x="2942" y="1019"/>
                </a:lnTo>
                <a:lnTo>
                  <a:pt x="2447" y="1019"/>
                </a:lnTo>
                <a:lnTo>
                  <a:pt x="2083" y="1529"/>
                </a:lnTo>
                <a:lnTo>
                  <a:pt x="1719" y="204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6A15612-0889-B16D-332A-F6A720F4A78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768408" y="404664"/>
            <a:ext cx="2028885" cy="288000"/>
            <a:chOff x="-649288" y="2474913"/>
            <a:chExt cx="13498513" cy="1916112"/>
          </a:xfrm>
        </p:grpSpPr>
        <p:sp>
          <p:nvSpPr>
            <p:cNvPr id="6" name="Freeform 14">
              <a:extLst>
                <a:ext uri="{FF2B5EF4-FFF2-40B4-BE49-F238E27FC236}">
                  <a16:creationId xmlns:a16="http://schemas.microsoft.com/office/drawing/2014/main" id="{8FD5D8D2-736E-31CE-E0CA-4542A693B9C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15">
              <a:extLst>
                <a:ext uri="{FF2B5EF4-FFF2-40B4-BE49-F238E27FC236}">
                  <a16:creationId xmlns:a16="http://schemas.microsoft.com/office/drawing/2014/main" id="{798825A5-7927-6ECD-2314-06210F6CBA0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371965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and Contact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E2600-4781-4252-ADFC-8069A559AC8B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uthor  |  Uni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800600" y="2348879"/>
            <a:ext cx="6048375" cy="273630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fi-FI" dirty="0"/>
              <a:t>Add thank you Message.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00600" y="1844675"/>
            <a:ext cx="6048375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accent2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Add your @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800600" y="5229225"/>
            <a:ext cx="6048375" cy="720726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Add your contact details</a:t>
            </a:r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C15CA41F-9ABF-FDFA-31B8-17D38B7E850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335360" y="0"/>
            <a:ext cx="3847690" cy="3429000"/>
          </a:xfrm>
          <a:custGeom>
            <a:avLst/>
            <a:gdLst>
              <a:gd name="T0" fmla="*/ 1508 w 3437"/>
              <a:gd name="T1" fmla="*/ 2040 h 3063"/>
              <a:gd name="T2" fmla="*/ 937 w 3437"/>
              <a:gd name="T3" fmla="*/ 2040 h 3063"/>
              <a:gd name="T4" fmla="*/ 573 w 3437"/>
              <a:gd name="T5" fmla="*/ 1531 h 3063"/>
              <a:gd name="T6" fmla="*/ 210 w 3437"/>
              <a:gd name="T7" fmla="*/ 1023 h 3063"/>
              <a:gd name="T8" fmla="*/ 780 w 3437"/>
              <a:gd name="T9" fmla="*/ 1023 h 3063"/>
              <a:gd name="T10" fmla="*/ 1144 w 3437"/>
              <a:gd name="T11" fmla="*/ 1531 h 3063"/>
              <a:gd name="T12" fmla="*/ 1508 w 3437"/>
              <a:gd name="T13" fmla="*/ 2040 h 3063"/>
              <a:gd name="T14" fmla="*/ 1719 w 3437"/>
              <a:gd name="T15" fmla="*/ 2040 h 3063"/>
              <a:gd name="T16" fmla="*/ 1354 w 3437"/>
              <a:gd name="T17" fmla="*/ 1531 h 3063"/>
              <a:gd name="T18" fmla="*/ 990 w 3437"/>
              <a:gd name="T19" fmla="*/ 1022 h 3063"/>
              <a:gd name="T20" fmla="*/ 1354 w 3437"/>
              <a:gd name="T21" fmla="*/ 510 h 3063"/>
              <a:gd name="T22" fmla="*/ 1719 w 3437"/>
              <a:gd name="T23" fmla="*/ 0 h 3063"/>
              <a:gd name="T24" fmla="*/ 1224 w 3437"/>
              <a:gd name="T25" fmla="*/ 0 h 3063"/>
              <a:gd name="T26" fmla="*/ 729 w 3437"/>
              <a:gd name="T27" fmla="*/ 0 h 3063"/>
              <a:gd name="T28" fmla="*/ 364 w 3437"/>
              <a:gd name="T29" fmla="*/ 510 h 3063"/>
              <a:gd name="T30" fmla="*/ 0 w 3437"/>
              <a:gd name="T31" fmla="*/ 1022 h 3063"/>
              <a:gd name="T32" fmla="*/ 364 w 3437"/>
              <a:gd name="T33" fmla="*/ 1531 h 3063"/>
              <a:gd name="T34" fmla="*/ 729 w 3437"/>
              <a:gd name="T35" fmla="*/ 2041 h 3063"/>
              <a:gd name="T36" fmla="*/ 364 w 3437"/>
              <a:gd name="T37" fmla="*/ 2552 h 3063"/>
              <a:gd name="T38" fmla="*/ 0 w 3437"/>
              <a:gd name="T39" fmla="*/ 3063 h 3063"/>
              <a:gd name="T40" fmla="*/ 494 w 3437"/>
              <a:gd name="T41" fmla="*/ 3063 h 3063"/>
              <a:gd name="T42" fmla="*/ 990 w 3437"/>
              <a:gd name="T43" fmla="*/ 3063 h 3063"/>
              <a:gd name="T44" fmla="*/ 1354 w 3437"/>
              <a:gd name="T45" fmla="*/ 2552 h 3063"/>
              <a:gd name="T46" fmla="*/ 1719 w 3437"/>
              <a:gd name="T47" fmla="*/ 2041 h 3063"/>
              <a:gd name="T48" fmla="*/ 2212 w 3437"/>
              <a:gd name="T49" fmla="*/ 2041 h 3063"/>
              <a:gd name="T50" fmla="*/ 2707 w 3437"/>
              <a:gd name="T51" fmla="*/ 2041 h 3063"/>
              <a:gd name="T52" fmla="*/ 3072 w 3437"/>
              <a:gd name="T53" fmla="*/ 1530 h 3063"/>
              <a:gd name="T54" fmla="*/ 3437 w 3437"/>
              <a:gd name="T55" fmla="*/ 1019 h 3063"/>
              <a:gd name="T56" fmla="*/ 2942 w 3437"/>
              <a:gd name="T57" fmla="*/ 1019 h 3063"/>
              <a:gd name="T58" fmla="*/ 2447 w 3437"/>
              <a:gd name="T59" fmla="*/ 1019 h 3063"/>
              <a:gd name="T60" fmla="*/ 2083 w 3437"/>
              <a:gd name="T61" fmla="*/ 1529 h 3063"/>
              <a:gd name="T62" fmla="*/ 1719 w 3437"/>
              <a:gd name="T63" fmla="*/ 2040 h 30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437" h="3063">
                <a:moveTo>
                  <a:pt x="1508" y="2040"/>
                </a:moveTo>
                <a:lnTo>
                  <a:pt x="937" y="2040"/>
                </a:lnTo>
                <a:lnTo>
                  <a:pt x="573" y="1531"/>
                </a:lnTo>
                <a:lnTo>
                  <a:pt x="210" y="1023"/>
                </a:lnTo>
                <a:lnTo>
                  <a:pt x="780" y="1023"/>
                </a:lnTo>
                <a:lnTo>
                  <a:pt x="1144" y="1531"/>
                </a:lnTo>
                <a:lnTo>
                  <a:pt x="1508" y="2040"/>
                </a:lnTo>
                <a:close/>
                <a:moveTo>
                  <a:pt x="1719" y="2040"/>
                </a:moveTo>
                <a:lnTo>
                  <a:pt x="1354" y="1531"/>
                </a:lnTo>
                <a:lnTo>
                  <a:pt x="990" y="1022"/>
                </a:lnTo>
                <a:lnTo>
                  <a:pt x="1354" y="510"/>
                </a:lnTo>
                <a:lnTo>
                  <a:pt x="1719" y="0"/>
                </a:lnTo>
                <a:lnTo>
                  <a:pt x="1224" y="0"/>
                </a:lnTo>
                <a:lnTo>
                  <a:pt x="729" y="0"/>
                </a:lnTo>
                <a:lnTo>
                  <a:pt x="364" y="510"/>
                </a:lnTo>
                <a:lnTo>
                  <a:pt x="0" y="1022"/>
                </a:lnTo>
                <a:lnTo>
                  <a:pt x="364" y="1531"/>
                </a:lnTo>
                <a:lnTo>
                  <a:pt x="729" y="2041"/>
                </a:lnTo>
                <a:lnTo>
                  <a:pt x="364" y="2552"/>
                </a:lnTo>
                <a:lnTo>
                  <a:pt x="0" y="3063"/>
                </a:lnTo>
                <a:lnTo>
                  <a:pt x="494" y="3063"/>
                </a:lnTo>
                <a:lnTo>
                  <a:pt x="990" y="3063"/>
                </a:lnTo>
                <a:lnTo>
                  <a:pt x="1354" y="2552"/>
                </a:lnTo>
                <a:lnTo>
                  <a:pt x="1719" y="2041"/>
                </a:lnTo>
                <a:lnTo>
                  <a:pt x="2212" y="2041"/>
                </a:lnTo>
                <a:lnTo>
                  <a:pt x="2707" y="2041"/>
                </a:lnTo>
                <a:lnTo>
                  <a:pt x="3072" y="1530"/>
                </a:lnTo>
                <a:lnTo>
                  <a:pt x="3437" y="1019"/>
                </a:lnTo>
                <a:lnTo>
                  <a:pt x="2942" y="1019"/>
                </a:lnTo>
                <a:lnTo>
                  <a:pt x="2447" y="1019"/>
                </a:lnTo>
                <a:lnTo>
                  <a:pt x="2083" y="1529"/>
                </a:lnTo>
                <a:lnTo>
                  <a:pt x="1719" y="204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E07EBEE-2967-6F2B-0CB1-3A8C1282F82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768408" y="404664"/>
            <a:ext cx="2028885" cy="288000"/>
            <a:chOff x="-649288" y="2474913"/>
            <a:chExt cx="13498513" cy="1916112"/>
          </a:xfrm>
        </p:grpSpPr>
        <p:sp>
          <p:nvSpPr>
            <p:cNvPr id="14" name="Freeform 14">
              <a:extLst>
                <a:ext uri="{FF2B5EF4-FFF2-40B4-BE49-F238E27FC236}">
                  <a16:creationId xmlns:a16="http://schemas.microsoft.com/office/drawing/2014/main" id="{D0C8B06B-FAB9-FDD0-D6EA-B1E482AE7D0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5">
              <a:extLst>
                <a:ext uri="{FF2B5EF4-FFF2-40B4-BE49-F238E27FC236}">
                  <a16:creationId xmlns:a16="http://schemas.microsoft.com/office/drawing/2014/main" id="{6743027A-9A21-BD76-21DC-483FE46AE53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341668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AC7F4B-F32F-41F0-ADDD-2972C936D1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3DFE771-6E05-405A-8CBC-13F4BF8B7F3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12024" y="1844675"/>
            <a:ext cx="4897437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983432" y="1844824"/>
            <a:ext cx="4896544" cy="4104456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91EE945C-3F6A-47E2-8B0E-FED426A15728}" type="datetime1">
              <a:rPr lang="fi-FI" smtClean="0">
                <a:solidFill>
                  <a:srgbClr val="FF6900"/>
                </a:solidFill>
              </a:rPr>
              <a:t>31.10.2023</a:t>
            </a:fld>
            <a:endParaRPr lang="en-US">
              <a:solidFill>
                <a:srgbClr val="FF69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i-FI">
                <a:solidFill>
                  <a:srgbClr val="FF6900"/>
                </a:solidFill>
              </a:rPr>
              <a:t>RIA - RKL yrittäjäpäivä 1.11.2023</a:t>
            </a:r>
            <a:endParaRPr lang="en-US">
              <a:solidFill>
                <a:srgbClr val="FF69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1FEE6BA-E83C-4FBF-B719-E6671631796F}" type="slidenum">
              <a:rPr lang="en-US" smtClean="0">
                <a:solidFill>
                  <a:srgbClr val="FF6900"/>
                </a:solidFill>
              </a:rPr>
              <a:pPr/>
              <a:t>‹#›</a:t>
            </a:fld>
            <a:endParaRPr lang="en-US">
              <a:solidFill>
                <a:srgbClr val="FF69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303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-Rauta Pro Log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6">
            <a:extLst>
              <a:ext uri="{FF2B5EF4-FFF2-40B4-BE49-F238E27FC236}">
                <a16:creationId xmlns:a16="http://schemas.microsoft.com/office/drawing/2014/main" id="{3D2F24EB-B584-2FFC-2B0F-6F2019444E6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0" y="2303518"/>
            <a:ext cx="8688288" cy="4554482"/>
          </a:xfrm>
          <a:custGeom>
            <a:avLst/>
            <a:gdLst>
              <a:gd name="T0" fmla="*/ 1239 w 7147"/>
              <a:gd name="T1" fmla="*/ 2338 h 3746"/>
              <a:gd name="T2" fmla="*/ 2024 w 7147"/>
              <a:gd name="T3" fmla="*/ 1870 h 3746"/>
              <a:gd name="T4" fmla="*/ 2809 w 7147"/>
              <a:gd name="T5" fmla="*/ 2337 h 3746"/>
              <a:gd name="T6" fmla="*/ 2692 w 7147"/>
              <a:gd name="T7" fmla="*/ 2805 h 3746"/>
              <a:gd name="T8" fmla="*/ 1908 w 7147"/>
              <a:gd name="T9" fmla="*/ 3274 h 3746"/>
              <a:gd name="T10" fmla="*/ 1240 w 7147"/>
              <a:gd name="T11" fmla="*/ 3274 h 3746"/>
              <a:gd name="T12" fmla="*/ 906 w 7147"/>
              <a:gd name="T13" fmla="*/ 935 h 3746"/>
              <a:gd name="T14" fmla="*/ 1809 w 7147"/>
              <a:gd name="T15" fmla="*/ 600 h 3746"/>
              <a:gd name="T16" fmla="*/ 1572 w 7147"/>
              <a:gd name="T17" fmla="*/ 1869 h 3746"/>
              <a:gd name="T18" fmla="*/ 906 w 7147"/>
              <a:gd name="T19" fmla="*/ 935 h 3746"/>
              <a:gd name="T20" fmla="*/ 333 w 7147"/>
              <a:gd name="T21" fmla="*/ 468 h 3746"/>
              <a:gd name="T22" fmla="*/ 716 w 7147"/>
              <a:gd name="T23" fmla="*/ 936 h 3746"/>
              <a:gd name="T24" fmla="*/ 1380 w 7147"/>
              <a:gd name="T25" fmla="*/ 1869 h 3746"/>
              <a:gd name="T26" fmla="*/ 335 w 7147"/>
              <a:gd name="T27" fmla="*/ 2337 h 3746"/>
              <a:gd name="T28" fmla="*/ 714 w 7147"/>
              <a:gd name="T29" fmla="*/ 2806 h 3746"/>
              <a:gd name="T30" fmla="*/ 1383 w 7147"/>
              <a:gd name="T31" fmla="*/ 3745 h 3746"/>
              <a:gd name="T32" fmla="*/ 1575 w 7147"/>
              <a:gd name="T33" fmla="*/ 3745 h 3746"/>
              <a:gd name="T34" fmla="*/ 2477 w 7147"/>
              <a:gd name="T35" fmla="*/ 3745 h 3746"/>
              <a:gd name="T36" fmla="*/ 3145 w 7147"/>
              <a:gd name="T37" fmla="*/ 2806 h 3746"/>
              <a:gd name="T38" fmla="*/ 3858 w 7147"/>
              <a:gd name="T39" fmla="*/ 2806 h 3746"/>
              <a:gd name="T40" fmla="*/ 4528 w 7147"/>
              <a:gd name="T41" fmla="*/ 3745 h 3746"/>
              <a:gd name="T42" fmla="*/ 4384 w 7147"/>
              <a:gd name="T43" fmla="*/ 3275 h 3746"/>
              <a:gd name="T44" fmla="*/ 4382 w 7147"/>
              <a:gd name="T45" fmla="*/ 2337 h 3746"/>
              <a:gd name="T46" fmla="*/ 5051 w 7147"/>
              <a:gd name="T47" fmla="*/ 2338 h 3746"/>
              <a:gd name="T48" fmla="*/ 5052 w 7147"/>
              <a:gd name="T49" fmla="*/ 3276 h 3746"/>
              <a:gd name="T50" fmla="*/ 5172 w 7147"/>
              <a:gd name="T51" fmla="*/ 3745 h 3746"/>
              <a:gd name="T52" fmla="*/ 5956 w 7147"/>
              <a:gd name="T53" fmla="*/ 3278 h 3746"/>
              <a:gd name="T54" fmla="*/ 6622 w 7147"/>
              <a:gd name="T55" fmla="*/ 3279 h 3746"/>
              <a:gd name="T56" fmla="*/ 7147 w 7147"/>
              <a:gd name="T57" fmla="*/ 3746 h 3746"/>
              <a:gd name="T58" fmla="*/ 6477 w 7147"/>
              <a:gd name="T59" fmla="*/ 2808 h 3746"/>
              <a:gd name="T60" fmla="*/ 5577 w 7147"/>
              <a:gd name="T61" fmla="*/ 2808 h 3746"/>
              <a:gd name="T62" fmla="*/ 4909 w 7147"/>
              <a:gd name="T63" fmla="*/ 1869 h 3746"/>
              <a:gd name="T64" fmla="*/ 4716 w 7147"/>
              <a:gd name="T65" fmla="*/ 1869 h 3746"/>
              <a:gd name="T66" fmla="*/ 3812 w 7147"/>
              <a:gd name="T67" fmla="*/ 1869 h 3746"/>
              <a:gd name="T68" fmla="*/ 2906 w 7147"/>
              <a:gd name="T69" fmla="*/ 2203 h 3746"/>
              <a:gd name="T70" fmla="*/ 3143 w 7147"/>
              <a:gd name="T71" fmla="*/ 933 h 3746"/>
              <a:gd name="T72" fmla="*/ 2238 w 7147"/>
              <a:gd name="T73" fmla="*/ 933 h 3746"/>
              <a:gd name="T74" fmla="*/ 1906 w 7147"/>
              <a:gd name="T75" fmla="*/ 467 h 3746"/>
              <a:gd name="T76" fmla="*/ 1119 w 7147"/>
              <a:gd name="T77" fmla="*/ 0 h 37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147" h="3746">
                <a:moveTo>
                  <a:pt x="906" y="2806"/>
                </a:moveTo>
                <a:lnTo>
                  <a:pt x="1239" y="2338"/>
                </a:lnTo>
                <a:lnTo>
                  <a:pt x="1573" y="1870"/>
                </a:lnTo>
                <a:lnTo>
                  <a:pt x="2024" y="1870"/>
                </a:lnTo>
                <a:lnTo>
                  <a:pt x="2477" y="1870"/>
                </a:lnTo>
                <a:lnTo>
                  <a:pt x="2809" y="2337"/>
                </a:lnTo>
                <a:lnTo>
                  <a:pt x="3143" y="2805"/>
                </a:lnTo>
                <a:lnTo>
                  <a:pt x="2692" y="2805"/>
                </a:lnTo>
                <a:lnTo>
                  <a:pt x="2242" y="2805"/>
                </a:lnTo>
                <a:lnTo>
                  <a:pt x="1908" y="3274"/>
                </a:lnTo>
                <a:lnTo>
                  <a:pt x="1574" y="3743"/>
                </a:lnTo>
                <a:lnTo>
                  <a:pt x="1240" y="3274"/>
                </a:lnTo>
                <a:lnTo>
                  <a:pt x="906" y="2806"/>
                </a:lnTo>
                <a:close/>
                <a:moveTo>
                  <a:pt x="906" y="935"/>
                </a:moveTo>
                <a:lnTo>
                  <a:pt x="1476" y="133"/>
                </a:lnTo>
                <a:lnTo>
                  <a:pt x="1809" y="600"/>
                </a:lnTo>
                <a:lnTo>
                  <a:pt x="2143" y="1068"/>
                </a:lnTo>
                <a:lnTo>
                  <a:pt x="1572" y="1869"/>
                </a:lnTo>
                <a:lnTo>
                  <a:pt x="1239" y="1402"/>
                </a:lnTo>
                <a:lnTo>
                  <a:pt x="906" y="935"/>
                </a:lnTo>
                <a:close/>
                <a:moveTo>
                  <a:pt x="667" y="0"/>
                </a:moveTo>
                <a:lnTo>
                  <a:pt x="333" y="468"/>
                </a:lnTo>
                <a:lnTo>
                  <a:pt x="0" y="936"/>
                </a:lnTo>
                <a:lnTo>
                  <a:pt x="716" y="936"/>
                </a:lnTo>
                <a:lnTo>
                  <a:pt x="1047" y="1402"/>
                </a:lnTo>
                <a:lnTo>
                  <a:pt x="1380" y="1869"/>
                </a:lnTo>
                <a:lnTo>
                  <a:pt x="669" y="1869"/>
                </a:lnTo>
                <a:lnTo>
                  <a:pt x="335" y="2337"/>
                </a:lnTo>
                <a:lnTo>
                  <a:pt x="1" y="2806"/>
                </a:lnTo>
                <a:lnTo>
                  <a:pt x="714" y="2806"/>
                </a:lnTo>
                <a:lnTo>
                  <a:pt x="1048" y="3275"/>
                </a:lnTo>
                <a:lnTo>
                  <a:pt x="1383" y="3745"/>
                </a:lnTo>
                <a:lnTo>
                  <a:pt x="1573" y="3745"/>
                </a:lnTo>
                <a:lnTo>
                  <a:pt x="1575" y="3745"/>
                </a:lnTo>
                <a:lnTo>
                  <a:pt x="2025" y="3745"/>
                </a:lnTo>
                <a:lnTo>
                  <a:pt x="2477" y="3745"/>
                </a:lnTo>
                <a:lnTo>
                  <a:pt x="2811" y="3275"/>
                </a:lnTo>
                <a:lnTo>
                  <a:pt x="3145" y="2806"/>
                </a:lnTo>
                <a:lnTo>
                  <a:pt x="3336" y="2806"/>
                </a:lnTo>
                <a:lnTo>
                  <a:pt x="3858" y="2806"/>
                </a:lnTo>
                <a:lnTo>
                  <a:pt x="4193" y="3275"/>
                </a:lnTo>
                <a:lnTo>
                  <a:pt x="4528" y="3745"/>
                </a:lnTo>
                <a:lnTo>
                  <a:pt x="4719" y="3745"/>
                </a:lnTo>
                <a:lnTo>
                  <a:pt x="4384" y="3275"/>
                </a:lnTo>
                <a:lnTo>
                  <a:pt x="4049" y="2806"/>
                </a:lnTo>
                <a:lnTo>
                  <a:pt x="4382" y="2337"/>
                </a:lnTo>
                <a:lnTo>
                  <a:pt x="4716" y="1869"/>
                </a:lnTo>
                <a:lnTo>
                  <a:pt x="5051" y="2338"/>
                </a:lnTo>
                <a:lnTo>
                  <a:pt x="5386" y="2808"/>
                </a:lnTo>
                <a:lnTo>
                  <a:pt x="5052" y="3276"/>
                </a:lnTo>
                <a:lnTo>
                  <a:pt x="4719" y="3745"/>
                </a:lnTo>
                <a:lnTo>
                  <a:pt x="5172" y="3745"/>
                </a:lnTo>
                <a:lnTo>
                  <a:pt x="5624" y="3745"/>
                </a:lnTo>
                <a:lnTo>
                  <a:pt x="5956" y="3278"/>
                </a:lnTo>
                <a:lnTo>
                  <a:pt x="6289" y="2812"/>
                </a:lnTo>
                <a:lnTo>
                  <a:pt x="6622" y="3279"/>
                </a:lnTo>
                <a:lnTo>
                  <a:pt x="6955" y="3746"/>
                </a:lnTo>
                <a:lnTo>
                  <a:pt x="7147" y="3746"/>
                </a:lnTo>
                <a:lnTo>
                  <a:pt x="6812" y="3277"/>
                </a:lnTo>
                <a:lnTo>
                  <a:pt x="6477" y="2808"/>
                </a:lnTo>
                <a:lnTo>
                  <a:pt x="6286" y="2808"/>
                </a:lnTo>
                <a:lnTo>
                  <a:pt x="5577" y="2808"/>
                </a:lnTo>
                <a:lnTo>
                  <a:pt x="5242" y="2338"/>
                </a:lnTo>
                <a:lnTo>
                  <a:pt x="4909" y="1869"/>
                </a:lnTo>
                <a:lnTo>
                  <a:pt x="4717" y="1869"/>
                </a:lnTo>
                <a:lnTo>
                  <a:pt x="4716" y="1869"/>
                </a:lnTo>
                <a:lnTo>
                  <a:pt x="4264" y="1869"/>
                </a:lnTo>
                <a:lnTo>
                  <a:pt x="3812" y="1869"/>
                </a:lnTo>
                <a:lnTo>
                  <a:pt x="3240" y="2672"/>
                </a:lnTo>
                <a:lnTo>
                  <a:pt x="2906" y="2203"/>
                </a:lnTo>
                <a:lnTo>
                  <a:pt x="2572" y="1735"/>
                </a:lnTo>
                <a:lnTo>
                  <a:pt x="3143" y="933"/>
                </a:lnTo>
                <a:lnTo>
                  <a:pt x="2691" y="933"/>
                </a:lnTo>
                <a:lnTo>
                  <a:pt x="2238" y="933"/>
                </a:lnTo>
                <a:lnTo>
                  <a:pt x="2238" y="934"/>
                </a:lnTo>
                <a:lnTo>
                  <a:pt x="1906" y="467"/>
                </a:lnTo>
                <a:lnTo>
                  <a:pt x="1573" y="0"/>
                </a:lnTo>
                <a:lnTo>
                  <a:pt x="1119" y="0"/>
                </a:lnTo>
                <a:lnTo>
                  <a:pt x="667" y="0"/>
                </a:lnTo>
                <a:close/>
              </a:path>
            </a:pathLst>
          </a:custGeom>
          <a:solidFill>
            <a:srgbClr val="FF6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E4D0754-B591-B7E1-29A5-95D7E5467A8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65239" y="980776"/>
            <a:ext cx="3043329" cy="432000"/>
            <a:chOff x="-649288" y="2474913"/>
            <a:chExt cx="13498513" cy="1916112"/>
          </a:xfrm>
        </p:grpSpPr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4477DEB9-8816-8B8A-16B9-2F6EE89A70C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15">
              <a:extLst>
                <a:ext uri="{FF2B5EF4-FFF2-40B4-BE49-F238E27FC236}">
                  <a16:creationId xmlns:a16="http://schemas.microsoft.com/office/drawing/2014/main" id="{339E450D-120D-1FB0-1091-5A63F5E5D34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458473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-Rauta Pro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6">
            <a:extLst>
              <a:ext uri="{FF2B5EF4-FFF2-40B4-BE49-F238E27FC236}">
                <a16:creationId xmlns:a16="http://schemas.microsoft.com/office/drawing/2014/main" id="{DDE28D11-0888-FFC7-E01C-EF7F676A998B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0" y="2303518"/>
            <a:ext cx="8688288" cy="4554482"/>
          </a:xfrm>
          <a:custGeom>
            <a:avLst/>
            <a:gdLst>
              <a:gd name="T0" fmla="*/ 1239 w 7147"/>
              <a:gd name="T1" fmla="*/ 2338 h 3746"/>
              <a:gd name="T2" fmla="*/ 2024 w 7147"/>
              <a:gd name="T3" fmla="*/ 1870 h 3746"/>
              <a:gd name="T4" fmla="*/ 2809 w 7147"/>
              <a:gd name="T5" fmla="*/ 2337 h 3746"/>
              <a:gd name="T6" fmla="*/ 2692 w 7147"/>
              <a:gd name="T7" fmla="*/ 2805 h 3746"/>
              <a:gd name="T8" fmla="*/ 1908 w 7147"/>
              <a:gd name="T9" fmla="*/ 3274 h 3746"/>
              <a:gd name="T10" fmla="*/ 1240 w 7147"/>
              <a:gd name="T11" fmla="*/ 3274 h 3746"/>
              <a:gd name="T12" fmla="*/ 906 w 7147"/>
              <a:gd name="T13" fmla="*/ 935 h 3746"/>
              <a:gd name="T14" fmla="*/ 1809 w 7147"/>
              <a:gd name="T15" fmla="*/ 600 h 3746"/>
              <a:gd name="T16" fmla="*/ 1572 w 7147"/>
              <a:gd name="T17" fmla="*/ 1869 h 3746"/>
              <a:gd name="T18" fmla="*/ 906 w 7147"/>
              <a:gd name="T19" fmla="*/ 935 h 3746"/>
              <a:gd name="T20" fmla="*/ 333 w 7147"/>
              <a:gd name="T21" fmla="*/ 468 h 3746"/>
              <a:gd name="T22" fmla="*/ 716 w 7147"/>
              <a:gd name="T23" fmla="*/ 936 h 3746"/>
              <a:gd name="T24" fmla="*/ 1380 w 7147"/>
              <a:gd name="T25" fmla="*/ 1869 h 3746"/>
              <a:gd name="T26" fmla="*/ 335 w 7147"/>
              <a:gd name="T27" fmla="*/ 2337 h 3746"/>
              <a:gd name="T28" fmla="*/ 714 w 7147"/>
              <a:gd name="T29" fmla="*/ 2806 h 3746"/>
              <a:gd name="T30" fmla="*/ 1383 w 7147"/>
              <a:gd name="T31" fmla="*/ 3745 h 3746"/>
              <a:gd name="T32" fmla="*/ 1575 w 7147"/>
              <a:gd name="T33" fmla="*/ 3745 h 3746"/>
              <a:gd name="T34" fmla="*/ 2477 w 7147"/>
              <a:gd name="T35" fmla="*/ 3745 h 3746"/>
              <a:gd name="T36" fmla="*/ 3145 w 7147"/>
              <a:gd name="T37" fmla="*/ 2806 h 3746"/>
              <a:gd name="T38" fmla="*/ 3858 w 7147"/>
              <a:gd name="T39" fmla="*/ 2806 h 3746"/>
              <a:gd name="T40" fmla="*/ 4528 w 7147"/>
              <a:gd name="T41" fmla="*/ 3745 h 3746"/>
              <a:gd name="T42" fmla="*/ 4384 w 7147"/>
              <a:gd name="T43" fmla="*/ 3275 h 3746"/>
              <a:gd name="T44" fmla="*/ 4382 w 7147"/>
              <a:gd name="T45" fmla="*/ 2337 h 3746"/>
              <a:gd name="T46" fmla="*/ 5051 w 7147"/>
              <a:gd name="T47" fmla="*/ 2338 h 3746"/>
              <a:gd name="T48" fmla="*/ 5052 w 7147"/>
              <a:gd name="T49" fmla="*/ 3276 h 3746"/>
              <a:gd name="T50" fmla="*/ 5172 w 7147"/>
              <a:gd name="T51" fmla="*/ 3745 h 3746"/>
              <a:gd name="T52" fmla="*/ 5956 w 7147"/>
              <a:gd name="T53" fmla="*/ 3278 h 3746"/>
              <a:gd name="T54" fmla="*/ 6622 w 7147"/>
              <a:gd name="T55" fmla="*/ 3279 h 3746"/>
              <a:gd name="T56" fmla="*/ 7147 w 7147"/>
              <a:gd name="T57" fmla="*/ 3746 h 3746"/>
              <a:gd name="T58" fmla="*/ 6477 w 7147"/>
              <a:gd name="T59" fmla="*/ 2808 h 3746"/>
              <a:gd name="T60" fmla="*/ 5577 w 7147"/>
              <a:gd name="T61" fmla="*/ 2808 h 3746"/>
              <a:gd name="T62" fmla="*/ 4909 w 7147"/>
              <a:gd name="T63" fmla="*/ 1869 h 3746"/>
              <a:gd name="T64" fmla="*/ 4716 w 7147"/>
              <a:gd name="T65" fmla="*/ 1869 h 3746"/>
              <a:gd name="T66" fmla="*/ 3812 w 7147"/>
              <a:gd name="T67" fmla="*/ 1869 h 3746"/>
              <a:gd name="T68" fmla="*/ 2906 w 7147"/>
              <a:gd name="T69" fmla="*/ 2203 h 3746"/>
              <a:gd name="T70" fmla="*/ 3143 w 7147"/>
              <a:gd name="T71" fmla="*/ 933 h 3746"/>
              <a:gd name="T72" fmla="*/ 2238 w 7147"/>
              <a:gd name="T73" fmla="*/ 933 h 3746"/>
              <a:gd name="T74" fmla="*/ 1906 w 7147"/>
              <a:gd name="T75" fmla="*/ 467 h 3746"/>
              <a:gd name="T76" fmla="*/ 1119 w 7147"/>
              <a:gd name="T77" fmla="*/ 0 h 37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147" h="3746">
                <a:moveTo>
                  <a:pt x="906" y="2806"/>
                </a:moveTo>
                <a:lnTo>
                  <a:pt x="1239" y="2338"/>
                </a:lnTo>
                <a:lnTo>
                  <a:pt x="1573" y="1870"/>
                </a:lnTo>
                <a:lnTo>
                  <a:pt x="2024" y="1870"/>
                </a:lnTo>
                <a:lnTo>
                  <a:pt x="2477" y="1870"/>
                </a:lnTo>
                <a:lnTo>
                  <a:pt x="2809" y="2337"/>
                </a:lnTo>
                <a:lnTo>
                  <a:pt x="3143" y="2805"/>
                </a:lnTo>
                <a:lnTo>
                  <a:pt x="2692" y="2805"/>
                </a:lnTo>
                <a:lnTo>
                  <a:pt x="2242" y="2805"/>
                </a:lnTo>
                <a:lnTo>
                  <a:pt x="1908" y="3274"/>
                </a:lnTo>
                <a:lnTo>
                  <a:pt x="1574" y="3743"/>
                </a:lnTo>
                <a:lnTo>
                  <a:pt x="1240" y="3274"/>
                </a:lnTo>
                <a:lnTo>
                  <a:pt x="906" y="2806"/>
                </a:lnTo>
                <a:close/>
                <a:moveTo>
                  <a:pt x="906" y="935"/>
                </a:moveTo>
                <a:lnTo>
                  <a:pt x="1476" y="133"/>
                </a:lnTo>
                <a:lnTo>
                  <a:pt x="1809" y="600"/>
                </a:lnTo>
                <a:lnTo>
                  <a:pt x="2143" y="1068"/>
                </a:lnTo>
                <a:lnTo>
                  <a:pt x="1572" y="1869"/>
                </a:lnTo>
                <a:lnTo>
                  <a:pt x="1239" y="1402"/>
                </a:lnTo>
                <a:lnTo>
                  <a:pt x="906" y="935"/>
                </a:lnTo>
                <a:close/>
                <a:moveTo>
                  <a:pt x="667" y="0"/>
                </a:moveTo>
                <a:lnTo>
                  <a:pt x="333" y="468"/>
                </a:lnTo>
                <a:lnTo>
                  <a:pt x="0" y="936"/>
                </a:lnTo>
                <a:lnTo>
                  <a:pt x="716" y="936"/>
                </a:lnTo>
                <a:lnTo>
                  <a:pt x="1047" y="1402"/>
                </a:lnTo>
                <a:lnTo>
                  <a:pt x="1380" y="1869"/>
                </a:lnTo>
                <a:lnTo>
                  <a:pt x="669" y="1869"/>
                </a:lnTo>
                <a:lnTo>
                  <a:pt x="335" y="2337"/>
                </a:lnTo>
                <a:lnTo>
                  <a:pt x="1" y="2806"/>
                </a:lnTo>
                <a:lnTo>
                  <a:pt x="714" y="2806"/>
                </a:lnTo>
                <a:lnTo>
                  <a:pt x="1048" y="3275"/>
                </a:lnTo>
                <a:lnTo>
                  <a:pt x="1383" y="3745"/>
                </a:lnTo>
                <a:lnTo>
                  <a:pt x="1573" y="3745"/>
                </a:lnTo>
                <a:lnTo>
                  <a:pt x="1575" y="3745"/>
                </a:lnTo>
                <a:lnTo>
                  <a:pt x="2025" y="3745"/>
                </a:lnTo>
                <a:lnTo>
                  <a:pt x="2477" y="3745"/>
                </a:lnTo>
                <a:lnTo>
                  <a:pt x="2811" y="3275"/>
                </a:lnTo>
                <a:lnTo>
                  <a:pt x="3145" y="2806"/>
                </a:lnTo>
                <a:lnTo>
                  <a:pt x="3336" y="2806"/>
                </a:lnTo>
                <a:lnTo>
                  <a:pt x="3858" y="2806"/>
                </a:lnTo>
                <a:lnTo>
                  <a:pt x="4193" y="3275"/>
                </a:lnTo>
                <a:lnTo>
                  <a:pt x="4528" y="3745"/>
                </a:lnTo>
                <a:lnTo>
                  <a:pt x="4719" y="3745"/>
                </a:lnTo>
                <a:lnTo>
                  <a:pt x="4384" y="3275"/>
                </a:lnTo>
                <a:lnTo>
                  <a:pt x="4049" y="2806"/>
                </a:lnTo>
                <a:lnTo>
                  <a:pt x="4382" y="2337"/>
                </a:lnTo>
                <a:lnTo>
                  <a:pt x="4716" y="1869"/>
                </a:lnTo>
                <a:lnTo>
                  <a:pt x="5051" y="2338"/>
                </a:lnTo>
                <a:lnTo>
                  <a:pt x="5386" y="2808"/>
                </a:lnTo>
                <a:lnTo>
                  <a:pt x="5052" y="3276"/>
                </a:lnTo>
                <a:lnTo>
                  <a:pt x="4719" y="3745"/>
                </a:lnTo>
                <a:lnTo>
                  <a:pt x="5172" y="3745"/>
                </a:lnTo>
                <a:lnTo>
                  <a:pt x="5624" y="3745"/>
                </a:lnTo>
                <a:lnTo>
                  <a:pt x="5956" y="3278"/>
                </a:lnTo>
                <a:lnTo>
                  <a:pt x="6289" y="2812"/>
                </a:lnTo>
                <a:lnTo>
                  <a:pt x="6622" y="3279"/>
                </a:lnTo>
                <a:lnTo>
                  <a:pt x="6955" y="3746"/>
                </a:lnTo>
                <a:lnTo>
                  <a:pt x="7147" y="3746"/>
                </a:lnTo>
                <a:lnTo>
                  <a:pt x="6812" y="3277"/>
                </a:lnTo>
                <a:lnTo>
                  <a:pt x="6477" y="2808"/>
                </a:lnTo>
                <a:lnTo>
                  <a:pt x="6286" y="2808"/>
                </a:lnTo>
                <a:lnTo>
                  <a:pt x="5577" y="2808"/>
                </a:lnTo>
                <a:lnTo>
                  <a:pt x="5242" y="2338"/>
                </a:lnTo>
                <a:lnTo>
                  <a:pt x="4909" y="1869"/>
                </a:lnTo>
                <a:lnTo>
                  <a:pt x="4717" y="1869"/>
                </a:lnTo>
                <a:lnTo>
                  <a:pt x="4716" y="1869"/>
                </a:lnTo>
                <a:lnTo>
                  <a:pt x="4264" y="1869"/>
                </a:lnTo>
                <a:lnTo>
                  <a:pt x="3812" y="1869"/>
                </a:lnTo>
                <a:lnTo>
                  <a:pt x="3240" y="2672"/>
                </a:lnTo>
                <a:lnTo>
                  <a:pt x="2906" y="2203"/>
                </a:lnTo>
                <a:lnTo>
                  <a:pt x="2572" y="1735"/>
                </a:lnTo>
                <a:lnTo>
                  <a:pt x="3143" y="933"/>
                </a:lnTo>
                <a:lnTo>
                  <a:pt x="2691" y="933"/>
                </a:lnTo>
                <a:lnTo>
                  <a:pt x="2238" y="933"/>
                </a:lnTo>
                <a:lnTo>
                  <a:pt x="2238" y="934"/>
                </a:lnTo>
                <a:lnTo>
                  <a:pt x="1906" y="467"/>
                </a:lnTo>
                <a:lnTo>
                  <a:pt x="1573" y="0"/>
                </a:lnTo>
                <a:lnTo>
                  <a:pt x="1119" y="0"/>
                </a:lnTo>
                <a:lnTo>
                  <a:pt x="667" y="0"/>
                </a:lnTo>
                <a:close/>
              </a:path>
            </a:pathLst>
          </a:custGeom>
          <a:solidFill>
            <a:srgbClr val="FF6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34308CC-D434-D955-65E5-08E637F695D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65239" y="980728"/>
            <a:ext cx="3043329" cy="432000"/>
            <a:chOff x="-649288" y="2474913"/>
            <a:chExt cx="13498513" cy="1916112"/>
          </a:xfrm>
        </p:grpSpPr>
        <p:sp>
          <p:nvSpPr>
            <p:cNvPr id="5" name="Freeform 14">
              <a:extLst>
                <a:ext uri="{FF2B5EF4-FFF2-40B4-BE49-F238E27FC236}">
                  <a16:creationId xmlns:a16="http://schemas.microsoft.com/office/drawing/2014/main" id="{4960430E-0D52-9888-F0FB-30A48235D3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15">
              <a:extLst>
                <a:ext uri="{FF2B5EF4-FFF2-40B4-BE49-F238E27FC236}">
                  <a16:creationId xmlns:a16="http://schemas.microsoft.com/office/drawing/2014/main" id="{C4BAA775-39AC-DA5A-1876-7E2A5E77E15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207456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82663" y="404664"/>
            <a:ext cx="4537273" cy="1008063"/>
          </a:xfrm>
        </p:spPr>
        <p:txBody>
          <a:bodyPr anchor="t" anchorCtr="0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982663" y="1844675"/>
            <a:ext cx="4537273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659B5BC0-FAEA-48DE-8E97-D9DCEACD7342}" type="datetime1">
              <a:rPr lang="fi-FI" smtClean="0">
                <a:solidFill>
                  <a:srgbClr val="FF6900"/>
                </a:solidFill>
              </a:rPr>
              <a:t>31.10.2023</a:t>
            </a:fld>
            <a:endParaRPr lang="en-US">
              <a:solidFill>
                <a:srgbClr val="FF69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i-FI">
                <a:solidFill>
                  <a:srgbClr val="FF6900"/>
                </a:solidFill>
              </a:rPr>
              <a:t>Author  |  Unit</a:t>
            </a:r>
            <a:endParaRPr lang="en-US">
              <a:solidFill>
                <a:srgbClr val="FF69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1FEE6BA-E83C-4FBF-B719-E6671631796F}" type="slidenum">
              <a:rPr lang="en-US" smtClean="0">
                <a:solidFill>
                  <a:srgbClr val="FF6900"/>
                </a:solidFill>
              </a:rPr>
              <a:pPr/>
              <a:t>‹#›</a:t>
            </a:fld>
            <a:endParaRPr lang="en-US">
              <a:solidFill>
                <a:srgbClr val="FF6900"/>
              </a:solidFill>
            </a:endParaRPr>
          </a:p>
        </p:txBody>
      </p:sp>
      <p:sp>
        <p:nvSpPr>
          <p:cNvPr id="2" name="Picture Placeholder 10">
            <a:extLst>
              <a:ext uri="{FF2B5EF4-FFF2-40B4-BE49-F238E27FC236}">
                <a16:creationId xmlns:a16="http://schemas.microsoft.com/office/drawing/2014/main" id="{2551F895-EF49-0E55-8365-BCA366FAB2C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3429000"/>
            <a:ext cx="3060340" cy="3429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8980D83B-D79E-1E6A-DD05-BC77608CBD4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156340" y="3429000"/>
            <a:ext cx="3035660" cy="3429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636321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s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3035659" cy="3429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2" name="Picture Placeholder 10">
            <a:extLst>
              <a:ext uri="{FF2B5EF4-FFF2-40B4-BE49-F238E27FC236}">
                <a16:creationId xmlns:a16="http://schemas.microsoft.com/office/drawing/2014/main" id="{657C3D0A-A4CA-B7A0-6606-C27CCF14BB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3429000"/>
            <a:ext cx="6096000" cy="3429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672065" y="404664"/>
            <a:ext cx="4537273" cy="1008063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672065" y="1844675"/>
            <a:ext cx="4537273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04AA7BD-13AE-499C-8C25-90B4BBBE63AD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Author  |  Unit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9D401235-1871-050E-0CB1-9AA40D3D19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35660" y="0"/>
            <a:ext cx="3060340" cy="3429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590312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1/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82663" y="404664"/>
            <a:ext cx="4537273" cy="1008063"/>
          </a:xfrm>
        </p:spPr>
        <p:txBody>
          <a:bodyPr anchor="t" anchorCtr="0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982663" y="1844675"/>
            <a:ext cx="4537273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7B36128-DF27-4557-B0E4-FCA5E9B74169}" type="datetime1">
              <a:rPr lang="fi-FI" smtClean="0">
                <a:solidFill>
                  <a:srgbClr val="FF6900"/>
                </a:solidFill>
              </a:rPr>
              <a:t>31.10.2023</a:t>
            </a:fld>
            <a:endParaRPr lang="en-US">
              <a:solidFill>
                <a:srgbClr val="FF69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i-FI">
                <a:solidFill>
                  <a:srgbClr val="FF6900"/>
                </a:solidFill>
              </a:rPr>
              <a:t>RIA - RKL yrittäjäpäivä 1.11.2023</a:t>
            </a:r>
            <a:endParaRPr lang="en-US">
              <a:solidFill>
                <a:srgbClr val="FF69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1FEE6BA-E83C-4FBF-B719-E6671631796F}" type="slidenum">
              <a:rPr lang="en-US" smtClean="0">
                <a:solidFill>
                  <a:srgbClr val="FF6900"/>
                </a:solidFill>
              </a:rPr>
              <a:pPr/>
              <a:t>‹#›</a:t>
            </a:fld>
            <a:endParaRPr lang="en-US">
              <a:solidFill>
                <a:srgbClr val="FF69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4141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1/2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672065" y="404664"/>
            <a:ext cx="4537273" cy="1008063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672065" y="1844675"/>
            <a:ext cx="4537273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6096000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B6339D-7534-4B17-A8AB-C29E3BDDDA2B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4133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1/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82663" y="404664"/>
            <a:ext cx="6553497" cy="1008063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982663" y="1844675"/>
            <a:ext cx="6553497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8112224" y="0"/>
            <a:ext cx="4079776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47EDC01-DE33-46BE-ACBE-E2D751F8EAEA}" type="datetime1">
              <a:rPr lang="fi-FI" smtClean="0">
                <a:solidFill>
                  <a:srgbClr val="FF6900"/>
                </a:solidFill>
              </a:rPr>
              <a:t>31.10.2023</a:t>
            </a:fld>
            <a:endParaRPr lang="en-US">
              <a:solidFill>
                <a:srgbClr val="FF69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i-FI">
                <a:solidFill>
                  <a:srgbClr val="FF6900"/>
                </a:solidFill>
              </a:rPr>
              <a:t>RIA - RKL yrittäjäpäivä 1.11.2023</a:t>
            </a:r>
            <a:endParaRPr lang="en-US">
              <a:solidFill>
                <a:srgbClr val="FF69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1FEE6BA-E83C-4FBF-B719-E6671631796F}" type="slidenum">
              <a:rPr lang="en-US" smtClean="0">
                <a:solidFill>
                  <a:srgbClr val="FF6900"/>
                </a:solidFill>
              </a:rPr>
              <a:pPr/>
              <a:t>‹#›</a:t>
            </a:fld>
            <a:endParaRPr lang="en-US">
              <a:solidFill>
                <a:srgbClr val="FF69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2118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1/3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655840" y="404664"/>
            <a:ext cx="6553497" cy="1008063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655840" y="1844675"/>
            <a:ext cx="6553497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-1960" y="0"/>
            <a:ext cx="4081736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5B11FD-9ACC-4D58-A35A-A848C136C570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8140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Gray 1/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982663" y="1844675"/>
            <a:ext cx="6553497" cy="41052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8112224" y="0"/>
            <a:ext cx="4079776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65DF4CB-2421-05A3-5213-51D6A0E235F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B351DF5-E169-4BED-B8B9-295CD3B99EDE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116A416-AF93-747D-F273-749E446EA9A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IA - RKL yrittäjäpäivä 1.11.2023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5A6798A-A7C8-C09B-E49C-3F6362C773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86A09445-C4AE-1BD2-CA62-D63E7F821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404664"/>
            <a:ext cx="6553498" cy="1008063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4694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and Picture Gray 1/3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655840" y="404664"/>
            <a:ext cx="6553497" cy="1008063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655840" y="1844675"/>
            <a:ext cx="6553497" cy="41052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-1960" y="0"/>
            <a:ext cx="4081736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784B930-8748-44AC-B278-D1F8A27D4D80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8664839-21E0-A653-8DE1-B62E95BA660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72464" y="6237312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28FD8B38-6860-6EF8-9525-A25136BA7B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15">
              <a:extLst>
                <a:ext uri="{FF2B5EF4-FFF2-40B4-BE49-F238E27FC236}">
                  <a16:creationId xmlns:a16="http://schemas.microsoft.com/office/drawing/2014/main" id="{908FD752-AB38-FB2A-42E2-FC72F6CB2C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4263934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Gra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3EEEF34-1787-BA6A-F380-57EEB440B70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72464" y="6237312"/>
            <a:ext cx="1521663" cy="216000"/>
            <a:chOff x="-649288" y="2474913"/>
            <a:chExt cx="13498513" cy="1916112"/>
          </a:xfrm>
        </p:grpSpPr>
        <p:sp>
          <p:nvSpPr>
            <p:cNvPr id="7" name="Freeform 14">
              <a:extLst>
                <a:ext uri="{FF2B5EF4-FFF2-40B4-BE49-F238E27FC236}">
                  <a16:creationId xmlns:a16="http://schemas.microsoft.com/office/drawing/2014/main" id="{F375E352-ABC7-AC7F-000D-54AE1689E6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15">
              <a:extLst>
                <a:ext uri="{FF2B5EF4-FFF2-40B4-BE49-F238E27FC236}">
                  <a16:creationId xmlns:a16="http://schemas.microsoft.com/office/drawing/2014/main" id="{902C92C4-390B-6F36-7819-C2637371F49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0DC1F5FC-E9FE-1B02-2CB8-FF0E0A133F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3C32E53-A76B-4DDC-A77B-3D0EA9F2238A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E2A5FDB0-B31D-48B9-3923-942C6FF878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IA - RKL yrittäjäpäivä 1.11.2023</a:t>
            </a:r>
            <a:endParaRPr lang="en-US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71B32C20-501B-EA13-6D6B-B6C40F2807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8476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2663" y="980728"/>
            <a:ext cx="4897437" cy="2448272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4" y="3429000"/>
            <a:ext cx="4897436" cy="122396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70000"/>
              </a:lnSpc>
              <a:defRPr lang="en-US" sz="10000" b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982663" y="4652963"/>
            <a:ext cx="4897437" cy="1296987"/>
          </a:xfrm>
        </p:spPr>
        <p:txBody>
          <a:bodyPr/>
          <a:lstStyle>
            <a:lvl1pPr>
              <a:lnSpc>
                <a:spcPct val="100000"/>
              </a:lnSpc>
              <a:spcBef>
                <a:spcPts val="200"/>
              </a:spcBef>
              <a:defRPr sz="1200"/>
            </a:lvl1pPr>
            <a:lvl2pPr>
              <a:lnSpc>
                <a:spcPct val="100000"/>
              </a:lnSpc>
              <a:spcBef>
                <a:spcPts val="200"/>
              </a:spcBef>
              <a:defRPr sz="1200"/>
            </a:lvl2pPr>
            <a:lvl3pPr>
              <a:lnSpc>
                <a:spcPct val="100000"/>
              </a:lnSpc>
              <a:spcBef>
                <a:spcPts val="200"/>
              </a:spcBef>
              <a:defRPr sz="1200"/>
            </a:lvl3pPr>
            <a:lvl4pPr>
              <a:lnSpc>
                <a:spcPct val="100000"/>
              </a:lnSpc>
              <a:spcBef>
                <a:spcPts val="200"/>
              </a:spcBef>
              <a:defRPr sz="1200"/>
            </a:lvl4pPr>
            <a:lvl5pPr>
              <a:lnSpc>
                <a:spcPct val="100000"/>
              </a:lnSpc>
              <a:spcBef>
                <a:spcPts val="200"/>
              </a:spcBef>
              <a:defRPr sz="1200"/>
            </a:lvl5pPr>
            <a:lvl6pPr>
              <a:lnSpc>
                <a:spcPct val="100000"/>
              </a:lnSpc>
              <a:spcBef>
                <a:spcPts val="200"/>
              </a:spcBef>
              <a:defRPr sz="1200"/>
            </a:lvl6pPr>
            <a:lvl7pPr>
              <a:lnSpc>
                <a:spcPct val="100000"/>
              </a:lnSpc>
              <a:spcBef>
                <a:spcPts val="200"/>
              </a:spcBef>
              <a:defRPr sz="1200"/>
            </a:lvl7pPr>
            <a:lvl8pPr>
              <a:lnSpc>
                <a:spcPct val="100000"/>
              </a:lnSpc>
              <a:spcBef>
                <a:spcPts val="200"/>
              </a:spcBef>
              <a:defRPr sz="1200"/>
            </a:lvl8pPr>
            <a:lvl9pPr>
              <a:lnSpc>
                <a:spcPct val="100000"/>
              </a:lnSpc>
              <a:spcBef>
                <a:spcPts val="200"/>
              </a:spcBef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7EA6EA-F322-45A2-8B32-C7421750E41B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311900" y="981075"/>
            <a:ext cx="4897438" cy="647700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b="0" baseline="0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0" name="Chart Placeholder 9"/>
          <p:cNvSpPr>
            <a:spLocks noGrp="1"/>
          </p:cNvSpPr>
          <p:nvPr>
            <p:ph type="chart" sz="quarter" idx="16"/>
          </p:nvPr>
        </p:nvSpPr>
        <p:spPr>
          <a:xfrm>
            <a:off x="6311900" y="1844675"/>
            <a:ext cx="2448396" cy="1944365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chart</a:t>
            </a:r>
            <a:endParaRPr lang="fi-FI" dirty="0"/>
          </a:p>
        </p:txBody>
      </p:sp>
      <p:sp>
        <p:nvSpPr>
          <p:cNvPr id="11" name="Chart Placeholder 9"/>
          <p:cNvSpPr>
            <a:spLocks noGrp="1"/>
          </p:cNvSpPr>
          <p:nvPr>
            <p:ph type="chart" sz="quarter" idx="17"/>
          </p:nvPr>
        </p:nvSpPr>
        <p:spPr>
          <a:xfrm>
            <a:off x="8760297" y="1844675"/>
            <a:ext cx="2449042" cy="1944365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chart</a:t>
            </a:r>
            <a:endParaRPr lang="fi-FI" dirty="0"/>
          </a:p>
        </p:txBody>
      </p:sp>
      <p:sp>
        <p:nvSpPr>
          <p:cNvPr id="12" name="Chart Placeholder 9"/>
          <p:cNvSpPr>
            <a:spLocks noGrp="1"/>
          </p:cNvSpPr>
          <p:nvPr>
            <p:ph type="chart" sz="quarter" idx="18"/>
          </p:nvPr>
        </p:nvSpPr>
        <p:spPr>
          <a:xfrm>
            <a:off x="6311900" y="4005064"/>
            <a:ext cx="2448396" cy="1944886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chart</a:t>
            </a:r>
            <a:endParaRPr lang="fi-FI" dirty="0"/>
          </a:p>
        </p:txBody>
      </p:sp>
      <p:sp>
        <p:nvSpPr>
          <p:cNvPr id="13" name="Chart Placeholder 9"/>
          <p:cNvSpPr>
            <a:spLocks noGrp="1"/>
          </p:cNvSpPr>
          <p:nvPr>
            <p:ph type="chart" sz="quarter" idx="19"/>
          </p:nvPr>
        </p:nvSpPr>
        <p:spPr>
          <a:xfrm>
            <a:off x="8760297" y="4005064"/>
            <a:ext cx="2449042" cy="1944886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chart</a:t>
            </a:r>
            <a:endParaRPr lang="fi-FI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5054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Content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981893" y="3501008"/>
            <a:ext cx="10226675" cy="24489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2663" y="980728"/>
            <a:ext cx="4897437" cy="2448272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126554" y="3645024"/>
            <a:ext cx="3241254" cy="288032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sz="1400" b="0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15CD8221-CE0D-437A-8323-A2F27860CFA7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511824" y="3645024"/>
            <a:ext cx="3168352" cy="288032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sz="1400" b="0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A991BBD7-252F-482A-AB1F-CB67BD97D70A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824192" y="3645024"/>
            <a:ext cx="3240360" cy="288032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sz="1400" b="0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0" name="Chart Placeholder 9"/>
          <p:cNvSpPr>
            <a:spLocks noGrp="1"/>
          </p:cNvSpPr>
          <p:nvPr>
            <p:ph type="chart" sz="quarter" idx="16"/>
          </p:nvPr>
        </p:nvSpPr>
        <p:spPr>
          <a:xfrm>
            <a:off x="1128828" y="4005586"/>
            <a:ext cx="3238980" cy="1799718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chart</a:t>
            </a:r>
            <a:endParaRPr lang="fi-FI" dirty="0"/>
          </a:p>
        </p:txBody>
      </p:sp>
      <p:sp>
        <p:nvSpPr>
          <p:cNvPr id="11" name="Chart Placeholder 10"/>
          <p:cNvSpPr>
            <a:spLocks noGrp="1"/>
          </p:cNvSpPr>
          <p:nvPr>
            <p:ph type="chart" sz="quarter" idx="17"/>
          </p:nvPr>
        </p:nvSpPr>
        <p:spPr>
          <a:xfrm>
            <a:off x="4511824" y="4005586"/>
            <a:ext cx="3168352" cy="1799718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chart</a:t>
            </a:r>
            <a:endParaRPr lang="fi-FI"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8"/>
          </p:nvPr>
        </p:nvSpPr>
        <p:spPr>
          <a:xfrm>
            <a:off x="7824192" y="4005064"/>
            <a:ext cx="3240360" cy="1800200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chart</a:t>
            </a:r>
            <a:endParaRPr lang="fi-FI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922430-3F7E-4FDB-88D2-6D24B09F0015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IA - RKL yrittäjäpäivä 1.11.202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F352291-7F09-7136-6121-DA6957D764B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72464" y="6237312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9" name="Freeform 14">
              <a:extLst>
                <a:ext uri="{FF2B5EF4-FFF2-40B4-BE49-F238E27FC236}">
                  <a16:creationId xmlns:a16="http://schemas.microsoft.com/office/drawing/2014/main" id="{1F533AE4-F87E-A1E0-684F-9BAA9556ACD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15">
              <a:extLst>
                <a:ext uri="{FF2B5EF4-FFF2-40B4-BE49-F238E27FC236}">
                  <a16:creationId xmlns:a16="http://schemas.microsoft.com/office/drawing/2014/main" id="{A44006E9-7CF2-BE3F-20B5-610A2872EB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758949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2663" y="980728"/>
            <a:ext cx="10226675" cy="2448272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6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4" y="3573016"/>
            <a:ext cx="4897436" cy="2376934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80000"/>
              </a:lnSpc>
              <a:defRPr lang="en-US" sz="18000" b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6311900" y="3573016"/>
            <a:ext cx="4897437" cy="2376935"/>
          </a:xfrm>
        </p:spPr>
        <p:txBody>
          <a:bodyPr/>
          <a:lstStyle>
            <a:lvl1pPr>
              <a:lnSpc>
                <a:spcPct val="100000"/>
              </a:lnSpc>
              <a:spcBef>
                <a:spcPts val="200"/>
              </a:spcBef>
              <a:defRPr sz="1600"/>
            </a:lvl1pPr>
            <a:lvl2pPr>
              <a:lnSpc>
                <a:spcPct val="100000"/>
              </a:lnSpc>
              <a:spcBef>
                <a:spcPts val="200"/>
              </a:spcBef>
              <a:defRPr sz="1600"/>
            </a:lvl2pPr>
            <a:lvl3pPr>
              <a:lnSpc>
                <a:spcPct val="100000"/>
              </a:lnSpc>
              <a:spcBef>
                <a:spcPts val="200"/>
              </a:spcBef>
              <a:defRPr sz="1400"/>
            </a:lvl3pPr>
            <a:lvl4pPr>
              <a:lnSpc>
                <a:spcPct val="100000"/>
              </a:lnSpc>
              <a:spcBef>
                <a:spcPts val="200"/>
              </a:spcBef>
              <a:defRPr sz="1400"/>
            </a:lvl4pPr>
            <a:lvl5pPr>
              <a:lnSpc>
                <a:spcPct val="100000"/>
              </a:lnSpc>
              <a:spcBef>
                <a:spcPts val="200"/>
              </a:spcBef>
              <a:defRPr sz="1400"/>
            </a:lvl5pPr>
            <a:lvl6pPr>
              <a:lnSpc>
                <a:spcPct val="100000"/>
              </a:lnSpc>
              <a:spcBef>
                <a:spcPts val="200"/>
              </a:spcBef>
              <a:defRPr sz="1200"/>
            </a:lvl6pPr>
            <a:lvl7pPr>
              <a:lnSpc>
                <a:spcPct val="100000"/>
              </a:lnSpc>
              <a:spcBef>
                <a:spcPts val="200"/>
              </a:spcBef>
              <a:defRPr sz="1200"/>
            </a:lvl7pPr>
            <a:lvl8pPr>
              <a:lnSpc>
                <a:spcPct val="100000"/>
              </a:lnSpc>
              <a:spcBef>
                <a:spcPts val="200"/>
              </a:spcBef>
              <a:defRPr sz="1200"/>
            </a:lvl8pPr>
            <a:lvl9pPr>
              <a:lnSpc>
                <a:spcPct val="100000"/>
              </a:lnSpc>
              <a:spcBef>
                <a:spcPts val="200"/>
              </a:spcBef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C5DFCB-9541-4CCA-85D8-6CF90D608014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2121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Content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6696" y="3573189"/>
            <a:ext cx="4897437" cy="1223963"/>
          </a:xfrm>
        </p:spPr>
        <p:txBody>
          <a:bodyPr anchor="t" anchorCtr="0"/>
          <a:lstStyle>
            <a:lvl1pPr algn="l">
              <a:lnSpc>
                <a:spcPct val="8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4" y="980728"/>
            <a:ext cx="4897436" cy="2448272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80000"/>
              </a:lnSpc>
              <a:defRPr lang="en-US" sz="18000" b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982663" y="4797152"/>
            <a:ext cx="4897437" cy="1152798"/>
          </a:xfrm>
        </p:spPr>
        <p:txBody>
          <a:bodyPr/>
          <a:lstStyle>
            <a:lvl1pPr>
              <a:lnSpc>
                <a:spcPct val="100000"/>
              </a:lnSpc>
              <a:spcBef>
                <a:spcPts val="200"/>
              </a:spcBef>
              <a:defRPr sz="12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200"/>
              </a:spcBef>
              <a:defRPr sz="12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Bef>
                <a:spcPts val="200"/>
              </a:spcBef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Bef>
                <a:spcPts val="200"/>
              </a:spcBef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spcBef>
                <a:spcPts val="200"/>
              </a:spcBef>
              <a:defRPr sz="1200">
                <a:solidFill>
                  <a:schemeClr val="bg1"/>
                </a:solidFill>
              </a:defRPr>
            </a:lvl5pPr>
            <a:lvl6pPr>
              <a:lnSpc>
                <a:spcPct val="100000"/>
              </a:lnSpc>
              <a:spcBef>
                <a:spcPts val="200"/>
              </a:spcBef>
              <a:defRPr sz="1200"/>
            </a:lvl6pPr>
            <a:lvl7pPr>
              <a:lnSpc>
                <a:spcPct val="100000"/>
              </a:lnSpc>
              <a:spcBef>
                <a:spcPts val="200"/>
              </a:spcBef>
              <a:defRPr sz="1200"/>
            </a:lvl7pPr>
            <a:lvl8pPr>
              <a:lnSpc>
                <a:spcPct val="100000"/>
              </a:lnSpc>
              <a:spcBef>
                <a:spcPts val="200"/>
              </a:spcBef>
              <a:defRPr sz="1200"/>
            </a:lvl8pPr>
            <a:lvl9pPr>
              <a:lnSpc>
                <a:spcPct val="100000"/>
              </a:lnSpc>
              <a:spcBef>
                <a:spcPts val="200"/>
              </a:spcBef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7A94383-7704-4DA1-A4EC-3BD157412108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IA - RKL yrittäjäpäivä 1.11.202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95ACD23-2AEF-D17C-54A8-F7D05EB8D8E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72464" y="6237312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7" name="Freeform 14">
              <a:extLst>
                <a:ext uri="{FF2B5EF4-FFF2-40B4-BE49-F238E27FC236}">
                  <a16:creationId xmlns:a16="http://schemas.microsoft.com/office/drawing/2014/main" id="{6EB2781D-2E7C-3411-4429-CD17C32222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15">
              <a:extLst>
                <a:ext uri="{FF2B5EF4-FFF2-40B4-BE49-F238E27FC236}">
                  <a16:creationId xmlns:a16="http://schemas.microsoft.com/office/drawing/2014/main" id="{B584527D-FC38-9D44-6D45-1F0390FC22E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803881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2663" y="3429000"/>
            <a:ext cx="4897437" cy="252095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982664" y="981075"/>
            <a:ext cx="4897436" cy="2303910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80000"/>
              </a:lnSpc>
              <a:defRPr lang="en-US" sz="16000" b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6311900" y="981075"/>
            <a:ext cx="4897437" cy="2303909"/>
          </a:xfrm>
        </p:spPr>
        <p:txBody>
          <a:bodyPr/>
          <a:lstStyle>
            <a:lvl1pPr>
              <a:lnSpc>
                <a:spcPct val="100000"/>
              </a:lnSpc>
              <a:spcBef>
                <a:spcPts val="200"/>
              </a:spcBef>
              <a:defRPr sz="1600"/>
            </a:lvl1pPr>
            <a:lvl2pPr>
              <a:lnSpc>
                <a:spcPct val="100000"/>
              </a:lnSpc>
              <a:spcBef>
                <a:spcPts val="200"/>
              </a:spcBef>
              <a:defRPr sz="1600"/>
            </a:lvl2pPr>
            <a:lvl3pPr>
              <a:lnSpc>
                <a:spcPct val="100000"/>
              </a:lnSpc>
              <a:spcBef>
                <a:spcPts val="200"/>
              </a:spcBef>
              <a:defRPr sz="1400"/>
            </a:lvl3pPr>
            <a:lvl4pPr>
              <a:lnSpc>
                <a:spcPct val="100000"/>
              </a:lnSpc>
              <a:spcBef>
                <a:spcPts val="200"/>
              </a:spcBef>
              <a:defRPr sz="1400"/>
            </a:lvl4pPr>
            <a:lvl5pPr>
              <a:lnSpc>
                <a:spcPct val="100000"/>
              </a:lnSpc>
              <a:spcBef>
                <a:spcPts val="200"/>
              </a:spcBef>
              <a:defRPr sz="1400"/>
            </a:lvl5pPr>
            <a:lvl6pPr>
              <a:lnSpc>
                <a:spcPct val="100000"/>
              </a:lnSpc>
              <a:spcBef>
                <a:spcPts val="200"/>
              </a:spcBef>
              <a:defRPr sz="1200"/>
            </a:lvl6pPr>
            <a:lvl7pPr>
              <a:lnSpc>
                <a:spcPct val="100000"/>
              </a:lnSpc>
              <a:spcBef>
                <a:spcPts val="200"/>
              </a:spcBef>
              <a:defRPr sz="1200"/>
            </a:lvl7pPr>
            <a:lvl8pPr>
              <a:lnSpc>
                <a:spcPct val="100000"/>
              </a:lnSpc>
              <a:spcBef>
                <a:spcPts val="200"/>
              </a:spcBef>
              <a:defRPr sz="1200"/>
            </a:lvl8pPr>
            <a:lvl9pPr>
              <a:lnSpc>
                <a:spcPct val="100000"/>
              </a:lnSpc>
              <a:spcBef>
                <a:spcPts val="200"/>
              </a:spcBef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hart Placeholder 9"/>
          <p:cNvSpPr>
            <a:spLocks noGrp="1"/>
          </p:cNvSpPr>
          <p:nvPr>
            <p:ph type="chart" sz="quarter" idx="16"/>
          </p:nvPr>
        </p:nvSpPr>
        <p:spPr>
          <a:xfrm>
            <a:off x="6311900" y="3429000"/>
            <a:ext cx="4897438" cy="2520950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chart</a:t>
            </a:r>
            <a:endParaRPr lang="fi-FI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50AC0D-3868-42D9-82AA-DD68F6651E83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90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Conten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2663" y="980728"/>
            <a:ext cx="4897437" cy="1728192"/>
          </a:xfrm>
        </p:spPr>
        <p:txBody>
          <a:bodyPr tIns="36000" anchor="t" anchorCtr="0"/>
          <a:lstStyle>
            <a:lvl1pPr algn="l">
              <a:lnSpc>
                <a:spcPct val="90000"/>
              </a:lnSpc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312024" y="1484957"/>
            <a:ext cx="4897436" cy="1223963"/>
          </a:xfrm>
        </p:spPr>
        <p:txBody>
          <a:bodyPr vert="horz" lIns="0" tIns="144000" rIns="0" bIns="0" rtlCol="0" anchor="t" anchorCtr="0">
            <a:noAutofit/>
          </a:bodyPr>
          <a:lstStyle>
            <a:lvl1pPr>
              <a:lnSpc>
                <a:spcPct val="70000"/>
              </a:lnSpc>
              <a:defRPr lang="en-US" sz="8000" b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A1D89B-1C21-4C0A-911A-1C9E4DC51905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311900" y="981075"/>
            <a:ext cx="4897438" cy="35969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b="0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7B7EC3C-CA63-440B-BF6C-A47609BEFFC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82663" y="3140968"/>
            <a:ext cx="10225905" cy="28089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0591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Conten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312024" y="2348707"/>
            <a:ext cx="4897436" cy="1080294"/>
          </a:xfrm>
        </p:spPr>
        <p:txBody>
          <a:bodyPr vert="horz" lIns="0" tIns="144000" rIns="0" bIns="0" rtlCol="0" anchor="t" anchorCtr="0">
            <a:noAutofit/>
          </a:bodyPr>
          <a:lstStyle>
            <a:lvl1pPr>
              <a:lnSpc>
                <a:spcPct val="70000"/>
              </a:lnSpc>
              <a:defRPr lang="en-US" sz="8000" b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6C3636-F723-4AC8-A460-5A12C91016F6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311900" y="1844824"/>
            <a:ext cx="4897438" cy="35969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b="0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3606FFB-15CE-408A-8493-F752F10A6F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0E8E657-0EF0-4F72-90E3-DA9C0D6082D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982662" y="1844675"/>
            <a:ext cx="4897437" cy="576263"/>
          </a:xfrm>
        </p:spPr>
        <p:txBody>
          <a:bodyPr tIns="5400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0" cap="none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C44C03E3-5B08-40B2-A67D-6AA499524A1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82662" y="2420939"/>
            <a:ext cx="4897438" cy="35290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D11D370E-EE54-4484-827F-0993364EDD4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024" y="4292922"/>
            <a:ext cx="4897436" cy="1080294"/>
          </a:xfrm>
        </p:spPr>
        <p:txBody>
          <a:bodyPr vert="horz" lIns="0" tIns="144000" rIns="0" bIns="0" rtlCol="0" anchor="t" anchorCtr="0">
            <a:noAutofit/>
          </a:bodyPr>
          <a:lstStyle>
            <a:lvl1pPr>
              <a:lnSpc>
                <a:spcPct val="70000"/>
              </a:lnSpc>
              <a:defRPr lang="en-US" sz="8000" b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5C4E32A6-5E3A-4C1C-A077-1AE6C173EC77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311900" y="3789039"/>
            <a:ext cx="4897438" cy="35969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b="0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DC978E6-7B8F-4C4D-833D-4AC80D2A0777}"/>
              </a:ext>
            </a:extLst>
          </p:cNvPr>
          <p:cNvCxnSpPr/>
          <p:nvPr userDrawn="1"/>
        </p:nvCxnSpPr>
        <p:spPr>
          <a:xfrm>
            <a:off x="6096000" y="1844824"/>
            <a:ext cx="0" cy="4104456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142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Content 8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312024" y="1844675"/>
            <a:ext cx="4896544" cy="41052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DA3F24-4ABE-483E-A5CB-313BB03AEA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578C2AF-0D84-445B-B990-8E67D01977BB}"/>
              </a:ext>
            </a:extLst>
          </p:cNvPr>
          <p:cNvCxnSpPr/>
          <p:nvPr userDrawn="1"/>
        </p:nvCxnSpPr>
        <p:spPr>
          <a:xfrm>
            <a:off x="6096000" y="1844824"/>
            <a:ext cx="0" cy="410445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9233129-9BD5-4C01-B019-833F2006B0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540" y="2348707"/>
            <a:ext cx="4897436" cy="1080294"/>
          </a:xfrm>
        </p:spPr>
        <p:txBody>
          <a:bodyPr vert="horz" lIns="0" tIns="144000" rIns="0" bIns="0" rtlCol="0" anchor="t" anchorCtr="0">
            <a:noAutofit/>
          </a:bodyPr>
          <a:lstStyle>
            <a:lvl1pPr>
              <a:lnSpc>
                <a:spcPct val="70000"/>
              </a:lnSpc>
              <a:defRPr lang="en-US" sz="8000" b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1D5DB1D-0828-49FC-925A-E87C6060FA5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982416" y="1844824"/>
            <a:ext cx="4897438" cy="35969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b="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E7808219-3103-4680-B89D-E15B9C0380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82540" y="4292923"/>
            <a:ext cx="4897436" cy="1080294"/>
          </a:xfrm>
        </p:spPr>
        <p:txBody>
          <a:bodyPr vert="horz" lIns="0" tIns="144000" rIns="0" bIns="0" rtlCol="0" anchor="t" anchorCtr="0">
            <a:noAutofit/>
          </a:bodyPr>
          <a:lstStyle>
            <a:lvl1pPr>
              <a:lnSpc>
                <a:spcPct val="70000"/>
              </a:lnSpc>
              <a:defRPr lang="en-US" sz="8000" b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44B32D3-35ED-400D-97C1-41008C4FD2BA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982416" y="3789040"/>
            <a:ext cx="4897438" cy="35969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b="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FFF200-3A88-11D6-BD2F-34C64E8380D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D8BA87-D0DC-41F2-A489-E3B96EADCE06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05CE197-814B-16A2-1CF4-D17EC9A2329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IA - RKL yrittäjäpäivä 1.11.2023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6531C35-AFF7-ECBB-22C1-F0E9ECA6AFF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D10CB25-5436-37BB-40BC-6174E689AD1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72464" y="6237312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9E3A0499-6884-FA91-A234-67B7695D4FC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id="{6E50ACC5-D0F7-C0B5-6FF2-51CA8974EE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491431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Content 9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9233129-9BD5-4C01-B019-833F2006B0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540" y="2852762"/>
            <a:ext cx="4897436" cy="3096518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80000"/>
              </a:lnSpc>
              <a:defRPr lang="en-US" sz="16000" b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1D5DB1D-0828-49FC-925A-E87C6060FA5F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982416" y="2348879"/>
            <a:ext cx="4897438" cy="35969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b="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E7808219-3103-4680-B89D-E15B9C0380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2148" y="2852762"/>
            <a:ext cx="4897436" cy="3096517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80000"/>
              </a:lnSpc>
              <a:defRPr lang="en-US" sz="16000" b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#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44B32D3-35ED-400D-97C1-41008C4FD2BA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312024" y="2348880"/>
            <a:ext cx="4897438" cy="35969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b="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EEF6A2C-2FB2-43A8-A456-A31438059347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82662" y="1844675"/>
            <a:ext cx="10225906" cy="360189"/>
          </a:xfrm>
        </p:spPr>
        <p:txBody>
          <a:bodyPr tIns="54000" anchor="t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18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946D2EF-FD73-C34D-7CDA-B5AE2A07DB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31E176-F353-791E-4BA6-9E83E6E71F6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A6A1FE0-7E38-43AE-B79E-2BCD27962C56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3692380-6B98-8C05-4242-0B0EA240A0C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IA - RKL yrittäjäpäivä 1.11.2023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00B10FF-E17B-9E9A-47C1-84348CB1633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A8BB335-7275-D274-ED2F-B5CD04F7C74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72464" y="6237312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18" name="Freeform 14">
              <a:extLst>
                <a:ext uri="{FF2B5EF4-FFF2-40B4-BE49-F238E27FC236}">
                  <a16:creationId xmlns:a16="http://schemas.microsoft.com/office/drawing/2014/main" id="{C7C681F7-B839-DC6F-09D4-BD93D70F0B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5">
              <a:extLst>
                <a:ext uri="{FF2B5EF4-FFF2-40B4-BE49-F238E27FC236}">
                  <a16:creationId xmlns:a16="http://schemas.microsoft.com/office/drawing/2014/main" id="{1AFDBA3D-C7CB-75CE-BD5F-F40100177A8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138105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2663" y="2204864"/>
            <a:ext cx="10226675" cy="2448272"/>
          </a:xfrm>
        </p:spPr>
        <p:txBody>
          <a:bodyPr vert="horz" lIns="0" tIns="14400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ACB461E-9AB7-4EEC-AD9F-84019179289F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IA - RKL yrittäjäpäivä 1.11.2023</a:t>
            </a: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873FCD1-F5BF-8A7D-291F-A10B135040F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72464" y="6237312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4" name="Freeform 14">
              <a:extLst>
                <a:ext uri="{FF2B5EF4-FFF2-40B4-BE49-F238E27FC236}">
                  <a16:creationId xmlns:a16="http://schemas.microsoft.com/office/drawing/2014/main" id="{081B1E0E-D68A-4195-7C02-F5CEEFF261D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" name="Freeform 15">
              <a:extLst>
                <a:ext uri="{FF2B5EF4-FFF2-40B4-BE49-F238E27FC236}">
                  <a16:creationId xmlns:a16="http://schemas.microsoft.com/office/drawing/2014/main" id="{2ABA6786-CB90-7A06-1DAA-F0E81A22116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304278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82663" y="404664"/>
            <a:ext cx="4537273" cy="1008063"/>
          </a:xfrm>
        </p:spPr>
        <p:txBody>
          <a:bodyPr tIns="144000" anchor="t" anchorCtr="0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982663" y="1844675"/>
            <a:ext cx="4537273" cy="4105275"/>
          </a:xfrm>
        </p:spPr>
        <p:txBody>
          <a:bodyPr/>
          <a:lstStyle>
            <a:lvl1pPr marL="361950" indent="-361950">
              <a:buFont typeface="+mj-lt"/>
              <a:buAutoNum type="arabicPeriod"/>
              <a:defRPr/>
            </a:lvl1pPr>
            <a:lvl2pPr marL="628650" indent="-266700">
              <a:defRPr/>
            </a:lvl2pPr>
            <a:lvl3pPr marL="895350" indent="-273050">
              <a:defRPr/>
            </a:lvl3pPr>
            <a:lvl4pPr marL="1162050" indent="-266700">
              <a:defRPr/>
            </a:lvl4pPr>
            <a:lvl5pPr marL="1438275" indent="-276225">
              <a:defRPr/>
            </a:lvl5pPr>
            <a:lvl6pPr marL="1704975" indent="-274638">
              <a:defRPr/>
            </a:lvl6pPr>
            <a:lvl7pPr marL="1971675" indent="-266700">
              <a:defRPr/>
            </a:lvl7pPr>
            <a:lvl8pPr marL="2238375" indent="-265113">
              <a:defRPr/>
            </a:lvl8pPr>
            <a:lvl9pPr marL="2514600" indent="-266700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A87341A-89BD-4C05-A359-973E4781F89D}" type="datetime1">
              <a:rPr lang="fi-FI" smtClean="0">
                <a:solidFill>
                  <a:srgbClr val="FF6900"/>
                </a:solidFill>
              </a:rPr>
              <a:t>31.10.2023</a:t>
            </a:fld>
            <a:endParaRPr lang="en-US">
              <a:solidFill>
                <a:srgbClr val="FF69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i-FI">
                <a:solidFill>
                  <a:srgbClr val="FF6900"/>
                </a:solidFill>
              </a:rPr>
              <a:t>RIA - RKL yrittäjäpäivä 1.11.2023</a:t>
            </a:r>
            <a:endParaRPr lang="en-US">
              <a:solidFill>
                <a:srgbClr val="FF69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1FEE6BA-E83C-4FBF-B719-E6671631796F}" type="slidenum">
              <a:rPr lang="en-US" smtClean="0">
                <a:solidFill>
                  <a:srgbClr val="FF6900"/>
                </a:solidFill>
              </a:rPr>
              <a:pPr/>
              <a:t>‹#›</a:t>
            </a:fld>
            <a:endParaRPr lang="en-US">
              <a:solidFill>
                <a:srgbClr val="FF69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1042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2663" y="2204864"/>
            <a:ext cx="10226675" cy="2448272"/>
          </a:xfrm>
        </p:spPr>
        <p:txBody>
          <a:bodyPr vert="horz" lIns="0" tIns="14400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7B3D76C-FC11-4649-A9DC-C5EB9F7DB04D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IA - RKL yrittäjäpäivä 1.11.2023</a:t>
            </a: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E0894CD-4623-05B7-0D1C-B77FDF49AB7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72464" y="6237312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4" name="Freeform 14">
              <a:extLst>
                <a:ext uri="{FF2B5EF4-FFF2-40B4-BE49-F238E27FC236}">
                  <a16:creationId xmlns:a16="http://schemas.microsoft.com/office/drawing/2014/main" id="{2AD41710-FD0F-AB9E-03E6-55D8CDB8C57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" name="Freeform 15">
              <a:extLst>
                <a:ext uri="{FF2B5EF4-FFF2-40B4-BE49-F238E27FC236}">
                  <a16:creationId xmlns:a16="http://schemas.microsoft.com/office/drawing/2014/main" id="{00DA02AB-A574-315F-4B9C-D6308B6B0D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4177546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Pictu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2371D0B7-F884-B337-4FB3-0DCEFB5BCC8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" y="1"/>
            <a:ext cx="12192000" cy="6858000"/>
          </a:xfrm>
          <a:solidFill>
            <a:schemeClr val="bg2">
              <a:lumMod val="75000"/>
            </a:schemeClr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2663" y="2204864"/>
            <a:ext cx="10226675" cy="2448272"/>
          </a:xfrm>
        </p:spPr>
        <p:txBody>
          <a:bodyPr vert="horz" lIns="0" tIns="14400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12F4575-EE9E-43B0-98B9-C2E04676F3DE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IA - RKL yrittäjäpäivä 1.11.2023</a:t>
            </a: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5BFE3A14-395C-BB5F-A843-6898B5D6A55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272464" y="6237312"/>
            <a:ext cx="1522800" cy="21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0092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800" cap="none"/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DA6211-92CC-4AC5-806D-1EC620BF1A72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4629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800" cap="none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2663" y="1844675"/>
            <a:ext cx="4897437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11900" y="1844675"/>
            <a:ext cx="4897438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ED5041-5234-44B7-905F-39AB9DA8EEAA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3507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Comparis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800" cap="none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82662" y="1844675"/>
            <a:ext cx="4897437" cy="576263"/>
          </a:xfrm>
        </p:spPr>
        <p:txBody>
          <a:bodyPr tIns="5400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0" cap="none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3" hasCustomPrompt="1"/>
          </p:nvPr>
        </p:nvSpPr>
        <p:spPr>
          <a:xfrm>
            <a:off x="6311901" y="1844675"/>
            <a:ext cx="4897438" cy="576263"/>
          </a:xfrm>
        </p:spPr>
        <p:txBody>
          <a:bodyPr tIns="5400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0" cap="none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82662" y="2420939"/>
            <a:ext cx="4897438" cy="35290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11900" y="2420939"/>
            <a:ext cx="4897438" cy="35290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4F34F5-EC02-483A-91ED-BE9390BD2985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2168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AEBCB0-20BB-442C-81E5-D686D6B996D6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8902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D109FC-FA13-4C9C-A7CD-DE4BF0236B69}" type="datetime1">
              <a:rPr lang="fi-FI" smtClean="0"/>
              <a:t>31.10.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7942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and Contact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799856" y="2348880"/>
            <a:ext cx="6049120" cy="2736304"/>
          </a:xfrm>
        </p:spPr>
        <p:txBody>
          <a:bodyPr vert="horz" lIns="0" tIns="144000" rIns="0" bIns="0" rtlCol="0" anchor="t" anchorCtr="0">
            <a:noAutofit/>
          </a:bodyPr>
          <a:lstStyle>
            <a:lvl1pPr algn="l">
              <a:defRPr lang="en-US" sz="5400" dirty="0">
                <a:solidFill>
                  <a:schemeClr val="bg1"/>
                </a:solidFill>
              </a:defRPr>
            </a:lvl1pPr>
          </a:lstStyle>
          <a:p>
            <a:pPr lvl="0" algn="l">
              <a:lnSpc>
                <a:spcPct val="90000"/>
              </a:lnSpc>
            </a:pPr>
            <a:r>
              <a:rPr lang="fi-FI" dirty="0"/>
              <a:t>Add thank you Message.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99856" y="1844675"/>
            <a:ext cx="604912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tabLst>
                <a:tab pos="1797050" algn="l"/>
              </a:tabLst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Add your @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800599" y="5229225"/>
            <a:ext cx="6048375" cy="720726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your contact detail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8A27CD07-834E-4145-A5BA-651D1AD5C559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RIA - RKL yrittäjäpäivä 1.11.2023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BB95CBD9-BA1E-7311-603F-C6522E20D3A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335360" y="0"/>
            <a:ext cx="3847690" cy="3429000"/>
          </a:xfrm>
          <a:custGeom>
            <a:avLst/>
            <a:gdLst>
              <a:gd name="T0" fmla="*/ 1508 w 3437"/>
              <a:gd name="T1" fmla="*/ 2040 h 3063"/>
              <a:gd name="T2" fmla="*/ 937 w 3437"/>
              <a:gd name="T3" fmla="*/ 2040 h 3063"/>
              <a:gd name="T4" fmla="*/ 573 w 3437"/>
              <a:gd name="T5" fmla="*/ 1531 h 3063"/>
              <a:gd name="T6" fmla="*/ 210 w 3437"/>
              <a:gd name="T7" fmla="*/ 1023 h 3063"/>
              <a:gd name="T8" fmla="*/ 780 w 3437"/>
              <a:gd name="T9" fmla="*/ 1023 h 3063"/>
              <a:gd name="T10" fmla="*/ 1144 w 3437"/>
              <a:gd name="T11" fmla="*/ 1531 h 3063"/>
              <a:gd name="T12" fmla="*/ 1508 w 3437"/>
              <a:gd name="T13" fmla="*/ 2040 h 3063"/>
              <a:gd name="T14" fmla="*/ 1719 w 3437"/>
              <a:gd name="T15" fmla="*/ 2040 h 3063"/>
              <a:gd name="T16" fmla="*/ 1354 w 3437"/>
              <a:gd name="T17" fmla="*/ 1531 h 3063"/>
              <a:gd name="T18" fmla="*/ 990 w 3437"/>
              <a:gd name="T19" fmla="*/ 1022 h 3063"/>
              <a:gd name="T20" fmla="*/ 1354 w 3437"/>
              <a:gd name="T21" fmla="*/ 510 h 3063"/>
              <a:gd name="T22" fmla="*/ 1719 w 3437"/>
              <a:gd name="T23" fmla="*/ 0 h 3063"/>
              <a:gd name="T24" fmla="*/ 1224 w 3437"/>
              <a:gd name="T25" fmla="*/ 0 h 3063"/>
              <a:gd name="T26" fmla="*/ 729 w 3437"/>
              <a:gd name="T27" fmla="*/ 0 h 3063"/>
              <a:gd name="T28" fmla="*/ 364 w 3437"/>
              <a:gd name="T29" fmla="*/ 510 h 3063"/>
              <a:gd name="T30" fmla="*/ 0 w 3437"/>
              <a:gd name="T31" fmla="*/ 1022 h 3063"/>
              <a:gd name="T32" fmla="*/ 364 w 3437"/>
              <a:gd name="T33" fmla="*/ 1531 h 3063"/>
              <a:gd name="T34" fmla="*/ 729 w 3437"/>
              <a:gd name="T35" fmla="*/ 2041 h 3063"/>
              <a:gd name="T36" fmla="*/ 364 w 3437"/>
              <a:gd name="T37" fmla="*/ 2552 h 3063"/>
              <a:gd name="T38" fmla="*/ 0 w 3437"/>
              <a:gd name="T39" fmla="*/ 3063 h 3063"/>
              <a:gd name="T40" fmla="*/ 494 w 3437"/>
              <a:gd name="T41" fmla="*/ 3063 h 3063"/>
              <a:gd name="T42" fmla="*/ 990 w 3437"/>
              <a:gd name="T43" fmla="*/ 3063 h 3063"/>
              <a:gd name="T44" fmla="*/ 1354 w 3437"/>
              <a:gd name="T45" fmla="*/ 2552 h 3063"/>
              <a:gd name="T46" fmla="*/ 1719 w 3437"/>
              <a:gd name="T47" fmla="*/ 2041 h 3063"/>
              <a:gd name="T48" fmla="*/ 2212 w 3437"/>
              <a:gd name="T49" fmla="*/ 2041 h 3063"/>
              <a:gd name="T50" fmla="*/ 2707 w 3437"/>
              <a:gd name="T51" fmla="*/ 2041 h 3063"/>
              <a:gd name="T52" fmla="*/ 3072 w 3437"/>
              <a:gd name="T53" fmla="*/ 1530 h 3063"/>
              <a:gd name="T54" fmla="*/ 3437 w 3437"/>
              <a:gd name="T55" fmla="*/ 1019 h 3063"/>
              <a:gd name="T56" fmla="*/ 2942 w 3437"/>
              <a:gd name="T57" fmla="*/ 1019 h 3063"/>
              <a:gd name="T58" fmla="*/ 2447 w 3437"/>
              <a:gd name="T59" fmla="*/ 1019 h 3063"/>
              <a:gd name="T60" fmla="*/ 2083 w 3437"/>
              <a:gd name="T61" fmla="*/ 1529 h 3063"/>
              <a:gd name="T62" fmla="*/ 1719 w 3437"/>
              <a:gd name="T63" fmla="*/ 2040 h 30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437" h="3063">
                <a:moveTo>
                  <a:pt x="1508" y="2040"/>
                </a:moveTo>
                <a:lnTo>
                  <a:pt x="937" y="2040"/>
                </a:lnTo>
                <a:lnTo>
                  <a:pt x="573" y="1531"/>
                </a:lnTo>
                <a:lnTo>
                  <a:pt x="210" y="1023"/>
                </a:lnTo>
                <a:lnTo>
                  <a:pt x="780" y="1023"/>
                </a:lnTo>
                <a:lnTo>
                  <a:pt x="1144" y="1531"/>
                </a:lnTo>
                <a:lnTo>
                  <a:pt x="1508" y="2040"/>
                </a:lnTo>
                <a:close/>
                <a:moveTo>
                  <a:pt x="1719" y="2040"/>
                </a:moveTo>
                <a:lnTo>
                  <a:pt x="1354" y="1531"/>
                </a:lnTo>
                <a:lnTo>
                  <a:pt x="990" y="1022"/>
                </a:lnTo>
                <a:lnTo>
                  <a:pt x="1354" y="510"/>
                </a:lnTo>
                <a:lnTo>
                  <a:pt x="1719" y="0"/>
                </a:lnTo>
                <a:lnTo>
                  <a:pt x="1224" y="0"/>
                </a:lnTo>
                <a:lnTo>
                  <a:pt x="729" y="0"/>
                </a:lnTo>
                <a:lnTo>
                  <a:pt x="364" y="510"/>
                </a:lnTo>
                <a:lnTo>
                  <a:pt x="0" y="1022"/>
                </a:lnTo>
                <a:lnTo>
                  <a:pt x="364" y="1531"/>
                </a:lnTo>
                <a:lnTo>
                  <a:pt x="729" y="2041"/>
                </a:lnTo>
                <a:lnTo>
                  <a:pt x="364" y="2552"/>
                </a:lnTo>
                <a:lnTo>
                  <a:pt x="0" y="3063"/>
                </a:lnTo>
                <a:lnTo>
                  <a:pt x="494" y="3063"/>
                </a:lnTo>
                <a:lnTo>
                  <a:pt x="990" y="3063"/>
                </a:lnTo>
                <a:lnTo>
                  <a:pt x="1354" y="2552"/>
                </a:lnTo>
                <a:lnTo>
                  <a:pt x="1719" y="2041"/>
                </a:lnTo>
                <a:lnTo>
                  <a:pt x="2212" y="2041"/>
                </a:lnTo>
                <a:lnTo>
                  <a:pt x="2707" y="2041"/>
                </a:lnTo>
                <a:lnTo>
                  <a:pt x="3072" y="1530"/>
                </a:lnTo>
                <a:lnTo>
                  <a:pt x="3437" y="1019"/>
                </a:lnTo>
                <a:lnTo>
                  <a:pt x="2942" y="1019"/>
                </a:lnTo>
                <a:lnTo>
                  <a:pt x="2447" y="1019"/>
                </a:lnTo>
                <a:lnTo>
                  <a:pt x="2083" y="1529"/>
                </a:lnTo>
                <a:lnTo>
                  <a:pt x="1719" y="204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6A15612-0889-B16D-332A-F6A720F4A78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768408" y="404664"/>
            <a:ext cx="2028885" cy="288000"/>
            <a:chOff x="-649288" y="2474913"/>
            <a:chExt cx="13498513" cy="1916112"/>
          </a:xfrm>
        </p:grpSpPr>
        <p:sp>
          <p:nvSpPr>
            <p:cNvPr id="6" name="Freeform 14">
              <a:extLst>
                <a:ext uri="{FF2B5EF4-FFF2-40B4-BE49-F238E27FC236}">
                  <a16:creationId xmlns:a16="http://schemas.microsoft.com/office/drawing/2014/main" id="{8FD5D8D2-736E-31CE-E0CA-4542A693B9C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15">
              <a:extLst>
                <a:ext uri="{FF2B5EF4-FFF2-40B4-BE49-F238E27FC236}">
                  <a16:creationId xmlns:a16="http://schemas.microsoft.com/office/drawing/2014/main" id="{798825A5-7927-6ECD-2314-06210F6CBA0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184950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and Contact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38A91-6BFE-4BF1-B4DD-839C98349FC1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800600" y="2348879"/>
            <a:ext cx="6048375" cy="273630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fi-FI" dirty="0"/>
              <a:t>Add thank you Message.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00600" y="1844675"/>
            <a:ext cx="6048375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accent2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Add your @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800600" y="5229225"/>
            <a:ext cx="6048375" cy="720726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Add your contact details</a:t>
            </a:r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C15CA41F-9ABF-FDFA-31B8-17D38B7E850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335360" y="0"/>
            <a:ext cx="3847690" cy="3429000"/>
          </a:xfrm>
          <a:custGeom>
            <a:avLst/>
            <a:gdLst>
              <a:gd name="T0" fmla="*/ 1508 w 3437"/>
              <a:gd name="T1" fmla="*/ 2040 h 3063"/>
              <a:gd name="T2" fmla="*/ 937 w 3437"/>
              <a:gd name="T3" fmla="*/ 2040 h 3063"/>
              <a:gd name="T4" fmla="*/ 573 w 3437"/>
              <a:gd name="T5" fmla="*/ 1531 h 3063"/>
              <a:gd name="T6" fmla="*/ 210 w 3437"/>
              <a:gd name="T7" fmla="*/ 1023 h 3063"/>
              <a:gd name="T8" fmla="*/ 780 w 3437"/>
              <a:gd name="T9" fmla="*/ 1023 h 3063"/>
              <a:gd name="T10" fmla="*/ 1144 w 3437"/>
              <a:gd name="T11" fmla="*/ 1531 h 3063"/>
              <a:gd name="T12" fmla="*/ 1508 w 3437"/>
              <a:gd name="T13" fmla="*/ 2040 h 3063"/>
              <a:gd name="T14" fmla="*/ 1719 w 3437"/>
              <a:gd name="T15" fmla="*/ 2040 h 3063"/>
              <a:gd name="T16" fmla="*/ 1354 w 3437"/>
              <a:gd name="T17" fmla="*/ 1531 h 3063"/>
              <a:gd name="T18" fmla="*/ 990 w 3437"/>
              <a:gd name="T19" fmla="*/ 1022 h 3063"/>
              <a:gd name="T20" fmla="*/ 1354 w 3437"/>
              <a:gd name="T21" fmla="*/ 510 h 3063"/>
              <a:gd name="T22" fmla="*/ 1719 w 3437"/>
              <a:gd name="T23" fmla="*/ 0 h 3063"/>
              <a:gd name="T24" fmla="*/ 1224 w 3437"/>
              <a:gd name="T25" fmla="*/ 0 h 3063"/>
              <a:gd name="T26" fmla="*/ 729 w 3437"/>
              <a:gd name="T27" fmla="*/ 0 h 3063"/>
              <a:gd name="T28" fmla="*/ 364 w 3437"/>
              <a:gd name="T29" fmla="*/ 510 h 3063"/>
              <a:gd name="T30" fmla="*/ 0 w 3437"/>
              <a:gd name="T31" fmla="*/ 1022 h 3063"/>
              <a:gd name="T32" fmla="*/ 364 w 3437"/>
              <a:gd name="T33" fmla="*/ 1531 h 3063"/>
              <a:gd name="T34" fmla="*/ 729 w 3437"/>
              <a:gd name="T35" fmla="*/ 2041 h 3063"/>
              <a:gd name="T36" fmla="*/ 364 w 3437"/>
              <a:gd name="T37" fmla="*/ 2552 h 3063"/>
              <a:gd name="T38" fmla="*/ 0 w 3437"/>
              <a:gd name="T39" fmla="*/ 3063 h 3063"/>
              <a:gd name="T40" fmla="*/ 494 w 3437"/>
              <a:gd name="T41" fmla="*/ 3063 h 3063"/>
              <a:gd name="T42" fmla="*/ 990 w 3437"/>
              <a:gd name="T43" fmla="*/ 3063 h 3063"/>
              <a:gd name="T44" fmla="*/ 1354 w 3437"/>
              <a:gd name="T45" fmla="*/ 2552 h 3063"/>
              <a:gd name="T46" fmla="*/ 1719 w 3437"/>
              <a:gd name="T47" fmla="*/ 2041 h 3063"/>
              <a:gd name="T48" fmla="*/ 2212 w 3437"/>
              <a:gd name="T49" fmla="*/ 2041 h 3063"/>
              <a:gd name="T50" fmla="*/ 2707 w 3437"/>
              <a:gd name="T51" fmla="*/ 2041 h 3063"/>
              <a:gd name="T52" fmla="*/ 3072 w 3437"/>
              <a:gd name="T53" fmla="*/ 1530 h 3063"/>
              <a:gd name="T54" fmla="*/ 3437 w 3437"/>
              <a:gd name="T55" fmla="*/ 1019 h 3063"/>
              <a:gd name="T56" fmla="*/ 2942 w 3437"/>
              <a:gd name="T57" fmla="*/ 1019 h 3063"/>
              <a:gd name="T58" fmla="*/ 2447 w 3437"/>
              <a:gd name="T59" fmla="*/ 1019 h 3063"/>
              <a:gd name="T60" fmla="*/ 2083 w 3437"/>
              <a:gd name="T61" fmla="*/ 1529 h 3063"/>
              <a:gd name="T62" fmla="*/ 1719 w 3437"/>
              <a:gd name="T63" fmla="*/ 2040 h 30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437" h="3063">
                <a:moveTo>
                  <a:pt x="1508" y="2040"/>
                </a:moveTo>
                <a:lnTo>
                  <a:pt x="937" y="2040"/>
                </a:lnTo>
                <a:lnTo>
                  <a:pt x="573" y="1531"/>
                </a:lnTo>
                <a:lnTo>
                  <a:pt x="210" y="1023"/>
                </a:lnTo>
                <a:lnTo>
                  <a:pt x="780" y="1023"/>
                </a:lnTo>
                <a:lnTo>
                  <a:pt x="1144" y="1531"/>
                </a:lnTo>
                <a:lnTo>
                  <a:pt x="1508" y="2040"/>
                </a:lnTo>
                <a:close/>
                <a:moveTo>
                  <a:pt x="1719" y="2040"/>
                </a:moveTo>
                <a:lnTo>
                  <a:pt x="1354" y="1531"/>
                </a:lnTo>
                <a:lnTo>
                  <a:pt x="990" y="1022"/>
                </a:lnTo>
                <a:lnTo>
                  <a:pt x="1354" y="510"/>
                </a:lnTo>
                <a:lnTo>
                  <a:pt x="1719" y="0"/>
                </a:lnTo>
                <a:lnTo>
                  <a:pt x="1224" y="0"/>
                </a:lnTo>
                <a:lnTo>
                  <a:pt x="729" y="0"/>
                </a:lnTo>
                <a:lnTo>
                  <a:pt x="364" y="510"/>
                </a:lnTo>
                <a:lnTo>
                  <a:pt x="0" y="1022"/>
                </a:lnTo>
                <a:lnTo>
                  <a:pt x="364" y="1531"/>
                </a:lnTo>
                <a:lnTo>
                  <a:pt x="729" y="2041"/>
                </a:lnTo>
                <a:lnTo>
                  <a:pt x="364" y="2552"/>
                </a:lnTo>
                <a:lnTo>
                  <a:pt x="0" y="3063"/>
                </a:lnTo>
                <a:lnTo>
                  <a:pt x="494" y="3063"/>
                </a:lnTo>
                <a:lnTo>
                  <a:pt x="990" y="3063"/>
                </a:lnTo>
                <a:lnTo>
                  <a:pt x="1354" y="2552"/>
                </a:lnTo>
                <a:lnTo>
                  <a:pt x="1719" y="2041"/>
                </a:lnTo>
                <a:lnTo>
                  <a:pt x="2212" y="2041"/>
                </a:lnTo>
                <a:lnTo>
                  <a:pt x="2707" y="2041"/>
                </a:lnTo>
                <a:lnTo>
                  <a:pt x="3072" y="1530"/>
                </a:lnTo>
                <a:lnTo>
                  <a:pt x="3437" y="1019"/>
                </a:lnTo>
                <a:lnTo>
                  <a:pt x="2942" y="1019"/>
                </a:lnTo>
                <a:lnTo>
                  <a:pt x="2447" y="1019"/>
                </a:lnTo>
                <a:lnTo>
                  <a:pt x="2083" y="1529"/>
                </a:lnTo>
                <a:lnTo>
                  <a:pt x="1719" y="204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E07EBEE-2967-6F2B-0CB1-3A8C1282F82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768408" y="404664"/>
            <a:ext cx="2028885" cy="288000"/>
            <a:chOff x="-649288" y="2474913"/>
            <a:chExt cx="13498513" cy="1916112"/>
          </a:xfrm>
        </p:grpSpPr>
        <p:sp>
          <p:nvSpPr>
            <p:cNvPr id="14" name="Freeform 14">
              <a:extLst>
                <a:ext uri="{FF2B5EF4-FFF2-40B4-BE49-F238E27FC236}">
                  <a16:creationId xmlns:a16="http://schemas.microsoft.com/office/drawing/2014/main" id="{D0C8B06B-FAB9-FDD0-D6EA-B1E482AE7D0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5">
              <a:extLst>
                <a:ext uri="{FF2B5EF4-FFF2-40B4-BE49-F238E27FC236}">
                  <a16:creationId xmlns:a16="http://schemas.microsoft.com/office/drawing/2014/main" id="{6743027A-9A21-BD76-21DC-483FE46AE53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4164587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-Rauta Pro Log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6">
            <a:extLst>
              <a:ext uri="{FF2B5EF4-FFF2-40B4-BE49-F238E27FC236}">
                <a16:creationId xmlns:a16="http://schemas.microsoft.com/office/drawing/2014/main" id="{3D2F24EB-B584-2FFC-2B0F-6F2019444E6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0" y="2303518"/>
            <a:ext cx="8688288" cy="4554482"/>
          </a:xfrm>
          <a:custGeom>
            <a:avLst/>
            <a:gdLst>
              <a:gd name="T0" fmla="*/ 1239 w 7147"/>
              <a:gd name="T1" fmla="*/ 2338 h 3746"/>
              <a:gd name="T2" fmla="*/ 2024 w 7147"/>
              <a:gd name="T3" fmla="*/ 1870 h 3746"/>
              <a:gd name="T4" fmla="*/ 2809 w 7147"/>
              <a:gd name="T5" fmla="*/ 2337 h 3746"/>
              <a:gd name="T6" fmla="*/ 2692 w 7147"/>
              <a:gd name="T7" fmla="*/ 2805 h 3746"/>
              <a:gd name="T8" fmla="*/ 1908 w 7147"/>
              <a:gd name="T9" fmla="*/ 3274 h 3746"/>
              <a:gd name="T10" fmla="*/ 1240 w 7147"/>
              <a:gd name="T11" fmla="*/ 3274 h 3746"/>
              <a:gd name="T12" fmla="*/ 906 w 7147"/>
              <a:gd name="T13" fmla="*/ 935 h 3746"/>
              <a:gd name="T14" fmla="*/ 1809 w 7147"/>
              <a:gd name="T15" fmla="*/ 600 h 3746"/>
              <a:gd name="T16" fmla="*/ 1572 w 7147"/>
              <a:gd name="T17" fmla="*/ 1869 h 3746"/>
              <a:gd name="T18" fmla="*/ 906 w 7147"/>
              <a:gd name="T19" fmla="*/ 935 h 3746"/>
              <a:gd name="T20" fmla="*/ 333 w 7147"/>
              <a:gd name="T21" fmla="*/ 468 h 3746"/>
              <a:gd name="T22" fmla="*/ 716 w 7147"/>
              <a:gd name="T23" fmla="*/ 936 h 3746"/>
              <a:gd name="T24" fmla="*/ 1380 w 7147"/>
              <a:gd name="T25" fmla="*/ 1869 h 3746"/>
              <a:gd name="T26" fmla="*/ 335 w 7147"/>
              <a:gd name="T27" fmla="*/ 2337 h 3746"/>
              <a:gd name="T28" fmla="*/ 714 w 7147"/>
              <a:gd name="T29" fmla="*/ 2806 h 3746"/>
              <a:gd name="T30" fmla="*/ 1383 w 7147"/>
              <a:gd name="T31" fmla="*/ 3745 h 3746"/>
              <a:gd name="T32" fmla="*/ 1575 w 7147"/>
              <a:gd name="T33" fmla="*/ 3745 h 3746"/>
              <a:gd name="T34" fmla="*/ 2477 w 7147"/>
              <a:gd name="T35" fmla="*/ 3745 h 3746"/>
              <a:gd name="T36" fmla="*/ 3145 w 7147"/>
              <a:gd name="T37" fmla="*/ 2806 h 3746"/>
              <a:gd name="T38" fmla="*/ 3858 w 7147"/>
              <a:gd name="T39" fmla="*/ 2806 h 3746"/>
              <a:gd name="T40" fmla="*/ 4528 w 7147"/>
              <a:gd name="T41" fmla="*/ 3745 h 3746"/>
              <a:gd name="T42" fmla="*/ 4384 w 7147"/>
              <a:gd name="T43" fmla="*/ 3275 h 3746"/>
              <a:gd name="T44" fmla="*/ 4382 w 7147"/>
              <a:gd name="T45" fmla="*/ 2337 h 3746"/>
              <a:gd name="T46" fmla="*/ 5051 w 7147"/>
              <a:gd name="T47" fmla="*/ 2338 h 3746"/>
              <a:gd name="T48" fmla="*/ 5052 w 7147"/>
              <a:gd name="T49" fmla="*/ 3276 h 3746"/>
              <a:gd name="T50" fmla="*/ 5172 w 7147"/>
              <a:gd name="T51" fmla="*/ 3745 h 3746"/>
              <a:gd name="T52" fmla="*/ 5956 w 7147"/>
              <a:gd name="T53" fmla="*/ 3278 h 3746"/>
              <a:gd name="T54" fmla="*/ 6622 w 7147"/>
              <a:gd name="T55" fmla="*/ 3279 h 3746"/>
              <a:gd name="T56" fmla="*/ 7147 w 7147"/>
              <a:gd name="T57" fmla="*/ 3746 h 3746"/>
              <a:gd name="T58" fmla="*/ 6477 w 7147"/>
              <a:gd name="T59" fmla="*/ 2808 h 3746"/>
              <a:gd name="T60" fmla="*/ 5577 w 7147"/>
              <a:gd name="T61" fmla="*/ 2808 h 3746"/>
              <a:gd name="T62" fmla="*/ 4909 w 7147"/>
              <a:gd name="T63" fmla="*/ 1869 h 3746"/>
              <a:gd name="T64" fmla="*/ 4716 w 7147"/>
              <a:gd name="T65" fmla="*/ 1869 h 3746"/>
              <a:gd name="T66" fmla="*/ 3812 w 7147"/>
              <a:gd name="T67" fmla="*/ 1869 h 3746"/>
              <a:gd name="T68" fmla="*/ 2906 w 7147"/>
              <a:gd name="T69" fmla="*/ 2203 h 3746"/>
              <a:gd name="T70" fmla="*/ 3143 w 7147"/>
              <a:gd name="T71" fmla="*/ 933 h 3746"/>
              <a:gd name="T72" fmla="*/ 2238 w 7147"/>
              <a:gd name="T73" fmla="*/ 933 h 3746"/>
              <a:gd name="T74" fmla="*/ 1906 w 7147"/>
              <a:gd name="T75" fmla="*/ 467 h 3746"/>
              <a:gd name="T76" fmla="*/ 1119 w 7147"/>
              <a:gd name="T77" fmla="*/ 0 h 37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147" h="3746">
                <a:moveTo>
                  <a:pt x="906" y="2806"/>
                </a:moveTo>
                <a:lnTo>
                  <a:pt x="1239" y="2338"/>
                </a:lnTo>
                <a:lnTo>
                  <a:pt x="1573" y="1870"/>
                </a:lnTo>
                <a:lnTo>
                  <a:pt x="2024" y="1870"/>
                </a:lnTo>
                <a:lnTo>
                  <a:pt x="2477" y="1870"/>
                </a:lnTo>
                <a:lnTo>
                  <a:pt x="2809" y="2337"/>
                </a:lnTo>
                <a:lnTo>
                  <a:pt x="3143" y="2805"/>
                </a:lnTo>
                <a:lnTo>
                  <a:pt x="2692" y="2805"/>
                </a:lnTo>
                <a:lnTo>
                  <a:pt x="2242" y="2805"/>
                </a:lnTo>
                <a:lnTo>
                  <a:pt x="1908" y="3274"/>
                </a:lnTo>
                <a:lnTo>
                  <a:pt x="1574" y="3743"/>
                </a:lnTo>
                <a:lnTo>
                  <a:pt x="1240" y="3274"/>
                </a:lnTo>
                <a:lnTo>
                  <a:pt x="906" y="2806"/>
                </a:lnTo>
                <a:close/>
                <a:moveTo>
                  <a:pt x="906" y="935"/>
                </a:moveTo>
                <a:lnTo>
                  <a:pt x="1476" y="133"/>
                </a:lnTo>
                <a:lnTo>
                  <a:pt x="1809" y="600"/>
                </a:lnTo>
                <a:lnTo>
                  <a:pt x="2143" y="1068"/>
                </a:lnTo>
                <a:lnTo>
                  <a:pt x="1572" y="1869"/>
                </a:lnTo>
                <a:lnTo>
                  <a:pt x="1239" y="1402"/>
                </a:lnTo>
                <a:lnTo>
                  <a:pt x="906" y="935"/>
                </a:lnTo>
                <a:close/>
                <a:moveTo>
                  <a:pt x="667" y="0"/>
                </a:moveTo>
                <a:lnTo>
                  <a:pt x="333" y="468"/>
                </a:lnTo>
                <a:lnTo>
                  <a:pt x="0" y="936"/>
                </a:lnTo>
                <a:lnTo>
                  <a:pt x="716" y="936"/>
                </a:lnTo>
                <a:lnTo>
                  <a:pt x="1047" y="1402"/>
                </a:lnTo>
                <a:lnTo>
                  <a:pt x="1380" y="1869"/>
                </a:lnTo>
                <a:lnTo>
                  <a:pt x="669" y="1869"/>
                </a:lnTo>
                <a:lnTo>
                  <a:pt x="335" y="2337"/>
                </a:lnTo>
                <a:lnTo>
                  <a:pt x="1" y="2806"/>
                </a:lnTo>
                <a:lnTo>
                  <a:pt x="714" y="2806"/>
                </a:lnTo>
                <a:lnTo>
                  <a:pt x="1048" y="3275"/>
                </a:lnTo>
                <a:lnTo>
                  <a:pt x="1383" y="3745"/>
                </a:lnTo>
                <a:lnTo>
                  <a:pt x="1573" y="3745"/>
                </a:lnTo>
                <a:lnTo>
                  <a:pt x="1575" y="3745"/>
                </a:lnTo>
                <a:lnTo>
                  <a:pt x="2025" y="3745"/>
                </a:lnTo>
                <a:lnTo>
                  <a:pt x="2477" y="3745"/>
                </a:lnTo>
                <a:lnTo>
                  <a:pt x="2811" y="3275"/>
                </a:lnTo>
                <a:lnTo>
                  <a:pt x="3145" y="2806"/>
                </a:lnTo>
                <a:lnTo>
                  <a:pt x="3336" y="2806"/>
                </a:lnTo>
                <a:lnTo>
                  <a:pt x="3858" y="2806"/>
                </a:lnTo>
                <a:lnTo>
                  <a:pt x="4193" y="3275"/>
                </a:lnTo>
                <a:lnTo>
                  <a:pt x="4528" y="3745"/>
                </a:lnTo>
                <a:lnTo>
                  <a:pt x="4719" y="3745"/>
                </a:lnTo>
                <a:lnTo>
                  <a:pt x="4384" y="3275"/>
                </a:lnTo>
                <a:lnTo>
                  <a:pt x="4049" y="2806"/>
                </a:lnTo>
                <a:lnTo>
                  <a:pt x="4382" y="2337"/>
                </a:lnTo>
                <a:lnTo>
                  <a:pt x="4716" y="1869"/>
                </a:lnTo>
                <a:lnTo>
                  <a:pt x="5051" y="2338"/>
                </a:lnTo>
                <a:lnTo>
                  <a:pt x="5386" y="2808"/>
                </a:lnTo>
                <a:lnTo>
                  <a:pt x="5052" y="3276"/>
                </a:lnTo>
                <a:lnTo>
                  <a:pt x="4719" y="3745"/>
                </a:lnTo>
                <a:lnTo>
                  <a:pt x="5172" y="3745"/>
                </a:lnTo>
                <a:lnTo>
                  <a:pt x="5624" y="3745"/>
                </a:lnTo>
                <a:lnTo>
                  <a:pt x="5956" y="3278"/>
                </a:lnTo>
                <a:lnTo>
                  <a:pt x="6289" y="2812"/>
                </a:lnTo>
                <a:lnTo>
                  <a:pt x="6622" y="3279"/>
                </a:lnTo>
                <a:lnTo>
                  <a:pt x="6955" y="3746"/>
                </a:lnTo>
                <a:lnTo>
                  <a:pt x="7147" y="3746"/>
                </a:lnTo>
                <a:lnTo>
                  <a:pt x="6812" y="3277"/>
                </a:lnTo>
                <a:lnTo>
                  <a:pt x="6477" y="2808"/>
                </a:lnTo>
                <a:lnTo>
                  <a:pt x="6286" y="2808"/>
                </a:lnTo>
                <a:lnTo>
                  <a:pt x="5577" y="2808"/>
                </a:lnTo>
                <a:lnTo>
                  <a:pt x="5242" y="2338"/>
                </a:lnTo>
                <a:lnTo>
                  <a:pt x="4909" y="1869"/>
                </a:lnTo>
                <a:lnTo>
                  <a:pt x="4717" y="1869"/>
                </a:lnTo>
                <a:lnTo>
                  <a:pt x="4716" y="1869"/>
                </a:lnTo>
                <a:lnTo>
                  <a:pt x="4264" y="1869"/>
                </a:lnTo>
                <a:lnTo>
                  <a:pt x="3812" y="1869"/>
                </a:lnTo>
                <a:lnTo>
                  <a:pt x="3240" y="2672"/>
                </a:lnTo>
                <a:lnTo>
                  <a:pt x="2906" y="2203"/>
                </a:lnTo>
                <a:lnTo>
                  <a:pt x="2572" y="1735"/>
                </a:lnTo>
                <a:lnTo>
                  <a:pt x="3143" y="933"/>
                </a:lnTo>
                <a:lnTo>
                  <a:pt x="2691" y="933"/>
                </a:lnTo>
                <a:lnTo>
                  <a:pt x="2238" y="933"/>
                </a:lnTo>
                <a:lnTo>
                  <a:pt x="2238" y="934"/>
                </a:lnTo>
                <a:lnTo>
                  <a:pt x="1906" y="467"/>
                </a:lnTo>
                <a:lnTo>
                  <a:pt x="1573" y="0"/>
                </a:lnTo>
                <a:lnTo>
                  <a:pt x="1119" y="0"/>
                </a:lnTo>
                <a:lnTo>
                  <a:pt x="667" y="0"/>
                </a:lnTo>
                <a:close/>
              </a:path>
            </a:pathLst>
          </a:custGeom>
          <a:solidFill>
            <a:srgbClr val="FF6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E4D0754-B591-B7E1-29A5-95D7E5467A8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65239" y="980776"/>
            <a:ext cx="3043329" cy="432000"/>
            <a:chOff x="-649288" y="2474913"/>
            <a:chExt cx="13498513" cy="1916112"/>
          </a:xfrm>
        </p:grpSpPr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4477DEB9-8816-8B8A-16B9-2F6EE89A70C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15">
              <a:extLst>
                <a:ext uri="{FF2B5EF4-FFF2-40B4-BE49-F238E27FC236}">
                  <a16:creationId xmlns:a16="http://schemas.microsoft.com/office/drawing/2014/main" id="{339E450D-120D-1FB0-1091-5A63F5E5D34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321214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Gra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82663" y="404664"/>
            <a:ext cx="4537273" cy="1008063"/>
          </a:xfrm>
        </p:spPr>
        <p:txBody>
          <a:bodyPr tIns="144000" anchor="t" anchorCtr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982663" y="1844675"/>
            <a:ext cx="4537273" cy="4105275"/>
          </a:xfrm>
        </p:spPr>
        <p:txBody>
          <a:bodyPr/>
          <a:lstStyle>
            <a:lvl1pPr marL="361950" indent="-361950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628650" indent="-266700">
              <a:defRPr>
                <a:solidFill>
                  <a:schemeClr val="bg1"/>
                </a:solidFill>
              </a:defRPr>
            </a:lvl2pPr>
            <a:lvl3pPr marL="895350" indent="-273050">
              <a:defRPr>
                <a:solidFill>
                  <a:schemeClr val="bg1"/>
                </a:solidFill>
              </a:defRPr>
            </a:lvl3pPr>
            <a:lvl4pPr marL="1162050" indent="-266700">
              <a:defRPr>
                <a:solidFill>
                  <a:schemeClr val="bg1"/>
                </a:solidFill>
              </a:defRPr>
            </a:lvl4pPr>
            <a:lvl5pPr marL="1438275" indent="-276225">
              <a:defRPr>
                <a:solidFill>
                  <a:schemeClr val="bg1"/>
                </a:solidFill>
              </a:defRPr>
            </a:lvl5pPr>
            <a:lvl6pPr marL="1704975" indent="-274638">
              <a:defRPr>
                <a:solidFill>
                  <a:schemeClr val="bg1"/>
                </a:solidFill>
              </a:defRPr>
            </a:lvl6pPr>
            <a:lvl7pPr marL="1971675" indent="-266700">
              <a:defRPr>
                <a:solidFill>
                  <a:schemeClr val="bg1"/>
                </a:solidFill>
              </a:defRPr>
            </a:lvl7pPr>
            <a:lvl8pPr marL="2238375" indent="-265113">
              <a:defRPr>
                <a:solidFill>
                  <a:schemeClr val="bg1"/>
                </a:solidFill>
              </a:defRPr>
            </a:lvl8pPr>
            <a:lvl9pPr marL="2514600" indent="-26670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C9F978D-EA60-E03C-6DFB-9B487F8EB54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72464" y="6237312"/>
            <a:ext cx="1521663" cy="216000"/>
            <a:chOff x="-649288" y="2474913"/>
            <a:chExt cx="13498513" cy="1916112"/>
          </a:xfrm>
          <a:solidFill>
            <a:schemeClr val="bg1"/>
          </a:solidFill>
        </p:grpSpPr>
        <p:sp>
          <p:nvSpPr>
            <p:cNvPr id="10" name="Freeform 14">
              <a:extLst>
                <a:ext uri="{FF2B5EF4-FFF2-40B4-BE49-F238E27FC236}">
                  <a16:creationId xmlns:a16="http://schemas.microsoft.com/office/drawing/2014/main" id="{2F3CC0FE-0083-DB6D-8C9D-B0F6C53FEA9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15">
              <a:extLst>
                <a:ext uri="{FF2B5EF4-FFF2-40B4-BE49-F238E27FC236}">
                  <a16:creationId xmlns:a16="http://schemas.microsoft.com/office/drawing/2014/main" id="{5E24E1FD-7EA3-5FE2-FC30-3B0CC3AB680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7" name="Freeform 5">
            <a:extLst>
              <a:ext uri="{FF2B5EF4-FFF2-40B4-BE49-F238E27FC236}">
                <a16:creationId xmlns:a16="http://schemas.microsoft.com/office/drawing/2014/main" id="{388D8099-A1EE-CBE3-C02E-24DAC735E74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344310" y="0"/>
            <a:ext cx="3847690" cy="3429000"/>
          </a:xfrm>
          <a:custGeom>
            <a:avLst/>
            <a:gdLst>
              <a:gd name="T0" fmla="*/ 1508 w 3437"/>
              <a:gd name="T1" fmla="*/ 2040 h 3063"/>
              <a:gd name="T2" fmla="*/ 937 w 3437"/>
              <a:gd name="T3" fmla="*/ 2040 h 3063"/>
              <a:gd name="T4" fmla="*/ 573 w 3437"/>
              <a:gd name="T5" fmla="*/ 1531 h 3063"/>
              <a:gd name="T6" fmla="*/ 210 w 3437"/>
              <a:gd name="T7" fmla="*/ 1023 h 3063"/>
              <a:gd name="T8" fmla="*/ 780 w 3437"/>
              <a:gd name="T9" fmla="*/ 1023 h 3063"/>
              <a:gd name="T10" fmla="*/ 1144 w 3437"/>
              <a:gd name="T11" fmla="*/ 1531 h 3063"/>
              <a:gd name="T12" fmla="*/ 1508 w 3437"/>
              <a:gd name="T13" fmla="*/ 2040 h 3063"/>
              <a:gd name="T14" fmla="*/ 1719 w 3437"/>
              <a:gd name="T15" fmla="*/ 2040 h 3063"/>
              <a:gd name="T16" fmla="*/ 1354 w 3437"/>
              <a:gd name="T17" fmla="*/ 1531 h 3063"/>
              <a:gd name="T18" fmla="*/ 990 w 3437"/>
              <a:gd name="T19" fmla="*/ 1022 h 3063"/>
              <a:gd name="T20" fmla="*/ 1354 w 3437"/>
              <a:gd name="T21" fmla="*/ 510 h 3063"/>
              <a:gd name="T22" fmla="*/ 1719 w 3437"/>
              <a:gd name="T23" fmla="*/ 0 h 3063"/>
              <a:gd name="T24" fmla="*/ 1224 w 3437"/>
              <a:gd name="T25" fmla="*/ 0 h 3063"/>
              <a:gd name="T26" fmla="*/ 729 w 3437"/>
              <a:gd name="T27" fmla="*/ 0 h 3063"/>
              <a:gd name="T28" fmla="*/ 364 w 3437"/>
              <a:gd name="T29" fmla="*/ 510 h 3063"/>
              <a:gd name="T30" fmla="*/ 0 w 3437"/>
              <a:gd name="T31" fmla="*/ 1022 h 3063"/>
              <a:gd name="T32" fmla="*/ 364 w 3437"/>
              <a:gd name="T33" fmla="*/ 1531 h 3063"/>
              <a:gd name="T34" fmla="*/ 729 w 3437"/>
              <a:gd name="T35" fmla="*/ 2041 h 3063"/>
              <a:gd name="T36" fmla="*/ 364 w 3437"/>
              <a:gd name="T37" fmla="*/ 2552 h 3063"/>
              <a:gd name="T38" fmla="*/ 0 w 3437"/>
              <a:gd name="T39" fmla="*/ 3063 h 3063"/>
              <a:gd name="T40" fmla="*/ 494 w 3437"/>
              <a:gd name="T41" fmla="*/ 3063 h 3063"/>
              <a:gd name="T42" fmla="*/ 990 w 3437"/>
              <a:gd name="T43" fmla="*/ 3063 h 3063"/>
              <a:gd name="T44" fmla="*/ 1354 w 3437"/>
              <a:gd name="T45" fmla="*/ 2552 h 3063"/>
              <a:gd name="T46" fmla="*/ 1719 w 3437"/>
              <a:gd name="T47" fmla="*/ 2041 h 3063"/>
              <a:gd name="T48" fmla="*/ 2212 w 3437"/>
              <a:gd name="T49" fmla="*/ 2041 h 3063"/>
              <a:gd name="T50" fmla="*/ 2707 w 3437"/>
              <a:gd name="T51" fmla="*/ 2041 h 3063"/>
              <a:gd name="T52" fmla="*/ 3072 w 3437"/>
              <a:gd name="T53" fmla="*/ 1530 h 3063"/>
              <a:gd name="T54" fmla="*/ 3437 w 3437"/>
              <a:gd name="T55" fmla="*/ 1019 h 3063"/>
              <a:gd name="T56" fmla="*/ 2942 w 3437"/>
              <a:gd name="T57" fmla="*/ 1019 h 3063"/>
              <a:gd name="T58" fmla="*/ 2447 w 3437"/>
              <a:gd name="T59" fmla="*/ 1019 h 3063"/>
              <a:gd name="T60" fmla="*/ 2083 w 3437"/>
              <a:gd name="T61" fmla="*/ 1529 h 3063"/>
              <a:gd name="T62" fmla="*/ 1719 w 3437"/>
              <a:gd name="T63" fmla="*/ 2040 h 30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437" h="3063">
                <a:moveTo>
                  <a:pt x="1508" y="2040"/>
                </a:moveTo>
                <a:lnTo>
                  <a:pt x="937" y="2040"/>
                </a:lnTo>
                <a:lnTo>
                  <a:pt x="573" y="1531"/>
                </a:lnTo>
                <a:lnTo>
                  <a:pt x="210" y="1023"/>
                </a:lnTo>
                <a:lnTo>
                  <a:pt x="780" y="1023"/>
                </a:lnTo>
                <a:lnTo>
                  <a:pt x="1144" y="1531"/>
                </a:lnTo>
                <a:lnTo>
                  <a:pt x="1508" y="2040"/>
                </a:lnTo>
                <a:close/>
                <a:moveTo>
                  <a:pt x="1719" y="2040"/>
                </a:moveTo>
                <a:lnTo>
                  <a:pt x="1354" y="1531"/>
                </a:lnTo>
                <a:lnTo>
                  <a:pt x="990" y="1022"/>
                </a:lnTo>
                <a:lnTo>
                  <a:pt x="1354" y="510"/>
                </a:lnTo>
                <a:lnTo>
                  <a:pt x="1719" y="0"/>
                </a:lnTo>
                <a:lnTo>
                  <a:pt x="1224" y="0"/>
                </a:lnTo>
                <a:lnTo>
                  <a:pt x="729" y="0"/>
                </a:lnTo>
                <a:lnTo>
                  <a:pt x="364" y="510"/>
                </a:lnTo>
                <a:lnTo>
                  <a:pt x="0" y="1022"/>
                </a:lnTo>
                <a:lnTo>
                  <a:pt x="364" y="1531"/>
                </a:lnTo>
                <a:lnTo>
                  <a:pt x="729" y="2041"/>
                </a:lnTo>
                <a:lnTo>
                  <a:pt x="364" y="2552"/>
                </a:lnTo>
                <a:lnTo>
                  <a:pt x="0" y="3063"/>
                </a:lnTo>
                <a:lnTo>
                  <a:pt x="494" y="3063"/>
                </a:lnTo>
                <a:lnTo>
                  <a:pt x="990" y="3063"/>
                </a:lnTo>
                <a:lnTo>
                  <a:pt x="1354" y="2552"/>
                </a:lnTo>
                <a:lnTo>
                  <a:pt x="1719" y="2041"/>
                </a:lnTo>
                <a:lnTo>
                  <a:pt x="2212" y="2041"/>
                </a:lnTo>
                <a:lnTo>
                  <a:pt x="2707" y="2041"/>
                </a:lnTo>
                <a:lnTo>
                  <a:pt x="3072" y="1530"/>
                </a:lnTo>
                <a:lnTo>
                  <a:pt x="3437" y="1019"/>
                </a:lnTo>
                <a:lnTo>
                  <a:pt x="2942" y="1019"/>
                </a:lnTo>
                <a:lnTo>
                  <a:pt x="2447" y="1019"/>
                </a:lnTo>
                <a:lnTo>
                  <a:pt x="2083" y="1529"/>
                </a:lnTo>
                <a:lnTo>
                  <a:pt x="1719" y="204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F0F5C119-F154-2D28-1F3A-BAFC8159A4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F48E178-A1DE-40FE-B99D-9D6F7CDBCCD6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D33A03E1-53E3-66DF-D770-FAD58153D7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IA - RKL yrittäjäpäivä 1.11.2023</a:t>
            </a:r>
            <a:endParaRPr lang="en-US" dirty="0"/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5F189751-455F-28A7-485B-376FB9C284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1449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-Rauta Pro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6">
            <a:extLst>
              <a:ext uri="{FF2B5EF4-FFF2-40B4-BE49-F238E27FC236}">
                <a16:creationId xmlns:a16="http://schemas.microsoft.com/office/drawing/2014/main" id="{DDE28D11-0888-FFC7-E01C-EF7F676A998B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0" y="2303518"/>
            <a:ext cx="8688288" cy="4554482"/>
          </a:xfrm>
          <a:custGeom>
            <a:avLst/>
            <a:gdLst>
              <a:gd name="T0" fmla="*/ 1239 w 7147"/>
              <a:gd name="T1" fmla="*/ 2338 h 3746"/>
              <a:gd name="T2" fmla="*/ 2024 w 7147"/>
              <a:gd name="T3" fmla="*/ 1870 h 3746"/>
              <a:gd name="T4" fmla="*/ 2809 w 7147"/>
              <a:gd name="T5" fmla="*/ 2337 h 3746"/>
              <a:gd name="T6" fmla="*/ 2692 w 7147"/>
              <a:gd name="T7" fmla="*/ 2805 h 3746"/>
              <a:gd name="T8" fmla="*/ 1908 w 7147"/>
              <a:gd name="T9" fmla="*/ 3274 h 3746"/>
              <a:gd name="T10" fmla="*/ 1240 w 7147"/>
              <a:gd name="T11" fmla="*/ 3274 h 3746"/>
              <a:gd name="T12" fmla="*/ 906 w 7147"/>
              <a:gd name="T13" fmla="*/ 935 h 3746"/>
              <a:gd name="T14" fmla="*/ 1809 w 7147"/>
              <a:gd name="T15" fmla="*/ 600 h 3746"/>
              <a:gd name="T16" fmla="*/ 1572 w 7147"/>
              <a:gd name="T17" fmla="*/ 1869 h 3746"/>
              <a:gd name="T18" fmla="*/ 906 w 7147"/>
              <a:gd name="T19" fmla="*/ 935 h 3746"/>
              <a:gd name="T20" fmla="*/ 333 w 7147"/>
              <a:gd name="T21" fmla="*/ 468 h 3746"/>
              <a:gd name="T22" fmla="*/ 716 w 7147"/>
              <a:gd name="T23" fmla="*/ 936 h 3746"/>
              <a:gd name="T24" fmla="*/ 1380 w 7147"/>
              <a:gd name="T25" fmla="*/ 1869 h 3746"/>
              <a:gd name="T26" fmla="*/ 335 w 7147"/>
              <a:gd name="T27" fmla="*/ 2337 h 3746"/>
              <a:gd name="T28" fmla="*/ 714 w 7147"/>
              <a:gd name="T29" fmla="*/ 2806 h 3746"/>
              <a:gd name="T30" fmla="*/ 1383 w 7147"/>
              <a:gd name="T31" fmla="*/ 3745 h 3746"/>
              <a:gd name="T32" fmla="*/ 1575 w 7147"/>
              <a:gd name="T33" fmla="*/ 3745 h 3746"/>
              <a:gd name="T34" fmla="*/ 2477 w 7147"/>
              <a:gd name="T35" fmla="*/ 3745 h 3746"/>
              <a:gd name="T36" fmla="*/ 3145 w 7147"/>
              <a:gd name="T37" fmla="*/ 2806 h 3746"/>
              <a:gd name="T38" fmla="*/ 3858 w 7147"/>
              <a:gd name="T39" fmla="*/ 2806 h 3746"/>
              <a:gd name="T40" fmla="*/ 4528 w 7147"/>
              <a:gd name="T41" fmla="*/ 3745 h 3746"/>
              <a:gd name="T42" fmla="*/ 4384 w 7147"/>
              <a:gd name="T43" fmla="*/ 3275 h 3746"/>
              <a:gd name="T44" fmla="*/ 4382 w 7147"/>
              <a:gd name="T45" fmla="*/ 2337 h 3746"/>
              <a:gd name="T46" fmla="*/ 5051 w 7147"/>
              <a:gd name="T47" fmla="*/ 2338 h 3746"/>
              <a:gd name="T48" fmla="*/ 5052 w 7147"/>
              <a:gd name="T49" fmla="*/ 3276 h 3746"/>
              <a:gd name="T50" fmla="*/ 5172 w 7147"/>
              <a:gd name="T51" fmla="*/ 3745 h 3746"/>
              <a:gd name="T52" fmla="*/ 5956 w 7147"/>
              <a:gd name="T53" fmla="*/ 3278 h 3746"/>
              <a:gd name="T54" fmla="*/ 6622 w 7147"/>
              <a:gd name="T55" fmla="*/ 3279 h 3746"/>
              <a:gd name="T56" fmla="*/ 7147 w 7147"/>
              <a:gd name="T57" fmla="*/ 3746 h 3746"/>
              <a:gd name="T58" fmla="*/ 6477 w 7147"/>
              <a:gd name="T59" fmla="*/ 2808 h 3746"/>
              <a:gd name="T60" fmla="*/ 5577 w 7147"/>
              <a:gd name="T61" fmla="*/ 2808 h 3746"/>
              <a:gd name="T62" fmla="*/ 4909 w 7147"/>
              <a:gd name="T63" fmla="*/ 1869 h 3746"/>
              <a:gd name="T64" fmla="*/ 4716 w 7147"/>
              <a:gd name="T65" fmla="*/ 1869 h 3746"/>
              <a:gd name="T66" fmla="*/ 3812 w 7147"/>
              <a:gd name="T67" fmla="*/ 1869 h 3746"/>
              <a:gd name="T68" fmla="*/ 2906 w 7147"/>
              <a:gd name="T69" fmla="*/ 2203 h 3746"/>
              <a:gd name="T70" fmla="*/ 3143 w 7147"/>
              <a:gd name="T71" fmla="*/ 933 h 3746"/>
              <a:gd name="T72" fmla="*/ 2238 w 7147"/>
              <a:gd name="T73" fmla="*/ 933 h 3746"/>
              <a:gd name="T74" fmla="*/ 1906 w 7147"/>
              <a:gd name="T75" fmla="*/ 467 h 3746"/>
              <a:gd name="T76" fmla="*/ 1119 w 7147"/>
              <a:gd name="T77" fmla="*/ 0 h 37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147" h="3746">
                <a:moveTo>
                  <a:pt x="906" y="2806"/>
                </a:moveTo>
                <a:lnTo>
                  <a:pt x="1239" y="2338"/>
                </a:lnTo>
                <a:lnTo>
                  <a:pt x="1573" y="1870"/>
                </a:lnTo>
                <a:lnTo>
                  <a:pt x="2024" y="1870"/>
                </a:lnTo>
                <a:lnTo>
                  <a:pt x="2477" y="1870"/>
                </a:lnTo>
                <a:lnTo>
                  <a:pt x="2809" y="2337"/>
                </a:lnTo>
                <a:lnTo>
                  <a:pt x="3143" y="2805"/>
                </a:lnTo>
                <a:lnTo>
                  <a:pt x="2692" y="2805"/>
                </a:lnTo>
                <a:lnTo>
                  <a:pt x="2242" y="2805"/>
                </a:lnTo>
                <a:lnTo>
                  <a:pt x="1908" y="3274"/>
                </a:lnTo>
                <a:lnTo>
                  <a:pt x="1574" y="3743"/>
                </a:lnTo>
                <a:lnTo>
                  <a:pt x="1240" y="3274"/>
                </a:lnTo>
                <a:lnTo>
                  <a:pt x="906" y="2806"/>
                </a:lnTo>
                <a:close/>
                <a:moveTo>
                  <a:pt x="906" y="935"/>
                </a:moveTo>
                <a:lnTo>
                  <a:pt x="1476" y="133"/>
                </a:lnTo>
                <a:lnTo>
                  <a:pt x="1809" y="600"/>
                </a:lnTo>
                <a:lnTo>
                  <a:pt x="2143" y="1068"/>
                </a:lnTo>
                <a:lnTo>
                  <a:pt x="1572" y="1869"/>
                </a:lnTo>
                <a:lnTo>
                  <a:pt x="1239" y="1402"/>
                </a:lnTo>
                <a:lnTo>
                  <a:pt x="906" y="935"/>
                </a:lnTo>
                <a:close/>
                <a:moveTo>
                  <a:pt x="667" y="0"/>
                </a:moveTo>
                <a:lnTo>
                  <a:pt x="333" y="468"/>
                </a:lnTo>
                <a:lnTo>
                  <a:pt x="0" y="936"/>
                </a:lnTo>
                <a:lnTo>
                  <a:pt x="716" y="936"/>
                </a:lnTo>
                <a:lnTo>
                  <a:pt x="1047" y="1402"/>
                </a:lnTo>
                <a:lnTo>
                  <a:pt x="1380" y="1869"/>
                </a:lnTo>
                <a:lnTo>
                  <a:pt x="669" y="1869"/>
                </a:lnTo>
                <a:lnTo>
                  <a:pt x="335" y="2337"/>
                </a:lnTo>
                <a:lnTo>
                  <a:pt x="1" y="2806"/>
                </a:lnTo>
                <a:lnTo>
                  <a:pt x="714" y="2806"/>
                </a:lnTo>
                <a:lnTo>
                  <a:pt x="1048" y="3275"/>
                </a:lnTo>
                <a:lnTo>
                  <a:pt x="1383" y="3745"/>
                </a:lnTo>
                <a:lnTo>
                  <a:pt x="1573" y="3745"/>
                </a:lnTo>
                <a:lnTo>
                  <a:pt x="1575" y="3745"/>
                </a:lnTo>
                <a:lnTo>
                  <a:pt x="2025" y="3745"/>
                </a:lnTo>
                <a:lnTo>
                  <a:pt x="2477" y="3745"/>
                </a:lnTo>
                <a:lnTo>
                  <a:pt x="2811" y="3275"/>
                </a:lnTo>
                <a:lnTo>
                  <a:pt x="3145" y="2806"/>
                </a:lnTo>
                <a:lnTo>
                  <a:pt x="3336" y="2806"/>
                </a:lnTo>
                <a:lnTo>
                  <a:pt x="3858" y="2806"/>
                </a:lnTo>
                <a:lnTo>
                  <a:pt x="4193" y="3275"/>
                </a:lnTo>
                <a:lnTo>
                  <a:pt x="4528" y="3745"/>
                </a:lnTo>
                <a:lnTo>
                  <a:pt x="4719" y="3745"/>
                </a:lnTo>
                <a:lnTo>
                  <a:pt x="4384" y="3275"/>
                </a:lnTo>
                <a:lnTo>
                  <a:pt x="4049" y="2806"/>
                </a:lnTo>
                <a:lnTo>
                  <a:pt x="4382" y="2337"/>
                </a:lnTo>
                <a:lnTo>
                  <a:pt x="4716" y="1869"/>
                </a:lnTo>
                <a:lnTo>
                  <a:pt x="5051" y="2338"/>
                </a:lnTo>
                <a:lnTo>
                  <a:pt x="5386" y="2808"/>
                </a:lnTo>
                <a:lnTo>
                  <a:pt x="5052" y="3276"/>
                </a:lnTo>
                <a:lnTo>
                  <a:pt x="4719" y="3745"/>
                </a:lnTo>
                <a:lnTo>
                  <a:pt x="5172" y="3745"/>
                </a:lnTo>
                <a:lnTo>
                  <a:pt x="5624" y="3745"/>
                </a:lnTo>
                <a:lnTo>
                  <a:pt x="5956" y="3278"/>
                </a:lnTo>
                <a:lnTo>
                  <a:pt x="6289" y="2812"/>
                </a:lnTo>
                <a:lnTo>
                  <a:pt x="6622" y="3279"/>
                </a:lnTo>
                <a:lnTo>
                  <a:pt x="6955" y="3746"/>
                </a:lnTo>
                <a:lnTo>
                  <a:pt x="7147" y="3746"/>
                </a:lnTo>
                <a:lnTo>
                  <a:pt x="6812" y="3277"/>
                </a:lnTo>
                <a:lnTo>
                  <a:pt x="6477" y="2808"/>
                </a:lnTo>
                <a:lnTo>
                  <a:pt x="6286" y="2808"/>
                </a:lnTo>
                <a:lnTo>
                  <a:pt x="5577" y="2808"/>
                </a:lnTo>
                <a:lnTo>
                  <a:pt x="5242" y="2338"/>
                </a:lnTo>
                <a:lnTo>
                  <a:pt x="4909" y="1869"/>
                </a:lnTo>
                <a:lnTo>
                  <a:pt x="4717" y="1869"/>
                </a:lnTo>
                <a:lnTo>
                  <a:pt x="4716" y="1869"/>
                </a:lnTo>
                <a:lnTo>
                  <a:pt x="4264" y="1869"/>
                </a:lnTo>
                <a:lnTo>
                  <a:pt x="3812" y="1869"/>
                </a:lnTo>
                <a:lnTo>
                  <a:pt x="3240" y="2672"/>
                </a:lnTo>
                <a:lnTo>
                  <a:pt x="2906" y="2203"/>
                </a:lnTo>
                <a:lnTo>
                  <a:pt x="2572" y="1735"/>
                </a:lnTo>
                <a:lnTo>
                  <a:pt x="3143" y="933"/>
                </a:lnTo>
                <a:lnTo>
                  <a:pt x="2691" y="933"/>
                </a:lnTo>
                <a:lnTo>
                  <a:pt x="2238" y="933"/>
                </a:lnTo>
                <a:lnTo>
                  <a:pt x="2238" y="934"/>
                </a:lnTo>
                <a:lnTo>
                  <a:pt x="1906" y="467"/>
                </a:lnTo>
                <a:lnTo>
                  <a:pt x="1573" y="0"/>
                </a:lnTo>
                <a:lnTo>
                  <a:pt x="1119" y="0"/>
                </a:lnTo>
                <a:lnTo>
                  <a:pt x="667" y="0"/>
                </a:lnTo>
                <a:close/>
              </a:path>
            </a:pathLst>
          </a:custGeom>
          <a:solidFill>
            <a:srgbClr val="FF6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34308CC-D434-D955-65E5-08E637F695D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65239" y="980728"/>
            <a:ext cx="3043329" cy="432000"/>
            <a:chOff x="-649288" y="2474913"/>
            <a:chExt cx="13498513" cy="1916112"/>
          </a:xfrm>
        </p:grpSpPr>
        <p:sp>
          <p:nvSpPr>
            <p:cNvPr id="5" name="Freeform 14">
              <a:extLst>
                <a:ext uri="{FF2B5EF4-FFF2-40B4-BE49-F238E27FC236}">
                  <a16:creationId xmlns:a16="http://schemas.microsoft.com/office/drawing/2014/main" id="{4960430E-0D52-9888-F0FB-30A48235D3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15">
              <a:extLst>
                <a:ext uri="{FF2B5EF4-FFF2-40B4-BE49-F238E27FC236}">
                  <a16:creationId xmlns:a16="http://schemas.microsoft.com/office/drawing/2014/main" id="{C4BAA775-39AC-DA5A-1876-7E2A5E77E15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980751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82663" y="404664"/>
            <a:ext cx="4537273" cy="1008063"/>
          </a:xfrm>
        </p:spPr>
        <p:txBody>
          <a:bodyPr anchor="t" anchorCtr="0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982663" y="1844675"/>
            <a:ext cx="4537273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F40B2001-A0B3-4870-8BF3-782EF946E180}" type="datetime1">
              <a:rPr lang="fi-FI" smtClean="0">
                <a:solidFill>
                  <a:srgbClr val="FF6900"/>
                </a:solidFill>
              </a:rPr>
              <a:t>31.10.2023</a:t>
            </a:fld>
            <a:endParaRPr lang="en-US">
              <a:solidFill>
                <a:srgbClr val="FF69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i-FI">
                <a:solidFill>
                  <a:srgbClr val="FF6900"/>
                </a:solidFill>
              </a:rPr>
              <a:t>RIA - RKL yrittäjäpäivä 1.11.2023</a:t>
            </a:r>
            <a:endParaRPr lang="en-US">
              <a:solidFill>
                <a:srgbClr val="FF69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1FEE6BA-E83C-4FBF-B719-E6671631796F}" type="slidenum">
              <a:rPr lang="en-US" smtClean="0">
                <a:solidFill>
                  <a:srgbClr val="FF6900"/>
                </a:solidFill>
              </a:rPr>
              <a:pPr/>
              <a:t>‹#›</a:t>
            </a:fld>
            <a:endParaRPr lang="en-US">
              <a:solidFill>
                <a:srgbClr val="FF6900"/>
              </a:solidFill>
            </a:endParaRPr>
          </a:p>
        </p:txBody>
      </p:sp>
      <p:sp>
        <p:nvSpPr>
          <p:cNvPr id="2" name="Picture Placeholder 10">
            <a:extLst>
              <a:ext uri="{FF2B5EF4-FFF2-40B4-BE49-F238E27FC236}">
                <a16:creationId xmlns:a16="http://schemas.microsoft.com/office/drawing/2014/main" id="{2551F895-EF49-0E55-8365-BCA366FAB2C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3429000"/>
            <a:ext cx="3060340" cy="3429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8980D83B-D79E-1E6A-DD05-BC77608CBD4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156340" y="3429000"/>
            <a:ext cx="3035660" cy="3429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82024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s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3035659" cy="3429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2" name="Picture Placeholder 10">
            <a:extLst>
              <a:ext uri="{FF2B5EF4-FFF2-40B4-BE49-F238E27FC236}">
                <a16:creationId xmlns:a16="http://schemas.microsoft.com/office/drawing/2014/main" id="{657C3D0A-A4CA-B7A0-6606-C27CCF14BB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3429000"/>
            <a:ext cx="6096000" cy="3429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672065" y="404664"/>
            <a:ext cx="4537273" cy="1008063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672065" y="1844675"/>
            <a:ext cx="4537273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BB737A9-A29F-4968-9DDF-6520D48DADA5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9D401235-1871-050E-0CB1-9AA40D3D19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35660" y="0"/>
            <a:ext cx="3060340" cy="3429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851268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FA3BC942-0D08-4839-A254-2572286F491B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RIA - RKL yrittäjäpäivä 1.11.202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05F18AE-1651-40F7-AA67-43B0687F4AAA}"/>
              </a:ext>
            </a:extLst>
          </p:cNvPr>
          <p:cNvSpPr>
            <a:spLocks noEditPoints="1"/>
          </p:cNvSpPr>
          <p:nvPr userDrawn="1"/>
        </p:nvSpPr>
        <p:spPr bwMode="auto">
          <a:xfrm flipH="1">
            <a:off x="3739815" y="0"/>
            <a:ext cx="8452185" cy="6858000"/>
          </a:xfrm>
          <a:custGeom>
            <a:avLst/>
            <a:gdLst>
              <a:gd name="T0" fmla="*/ 3840 w 5339"/>
              <a:gd name="T1" fmla="*/ 2225 h 4332"/>
              <a:gd name="T2" fmla="*/ 3809 w 5339"/>
              <a:gd name="T3" fmla="*/ 3825 h 4332"/>
              <a:gd name="T4" fmla="*/ 3729 w 5339"/>
              <a:gd name="T5" fmla="*/ 3009 h 4332"/>
              <a:gd name="T6" fmla="*/ 31 w 5339"/>
              <a:gd name="T7" fmla="*/ 3825 h 4332"/>
              <a:gd name="T8" fmla="*/ 0 w 5339"/>
              <a:gd name="T9" fmla="*/ 2225 h 4332"/>
              <a:gd name="T10" fmla="*/ 46 w 5339"/>
              <a:gd name="T11" fmla="*/ 2196 h 4332"/>
              <a:gd name="T12" fmla="*/ 69 w 5339"/>
              <a:gd name="T13" fmla="*/ 3800 h 4332"/>
              <a:gd name="T14" fmla="*/ 2282 w 5339"/>
              <a:gd name="T15" fmla="*/ 2194 h 4332"/>
              <a:gd name="T16" fmla="*/ 2313 w 5339"/>
              <a:gd name="T17" fmla="*/ 3794 h 4332"/>
              <a:gd name="T18" fmla="*/ 2180 w 5339"/>
              <a:gd name="T19" fmla="*/ 3824 h 4332"/>
              <a:gd name="T20" fmla="*/ 2157 w 5339"/>
              <a:gd name="T21" fmla="*/ 2219 h 4332"/>
              <a:gd name="T22" fmla="*/ 812 w 5339"/>
              <a:gd name="T23" fmla="*/ 2196 h 4332"/>
              <a:gd name="T24" fmla="*/ 836 w 5339"/>
              <a:gd name="T25" fmla="*/ 3800 h 4332"/>
              <a:gd name="T26" fmla="*/ 698 w 5339"/>
              <a:gd name="T27" fmla="*/ 3822 h 4332"/>
              <a:gd name="T28" fmla="*/ 682 w 5339"/>
              <a:gd name="T29" fmla="*/ 2213 h 4332"/>
              <a:gd name="T30" fmla="*/ 1909 w 5339"/>
              <a:gd name="T31" fmla="*/ 2197 h 4332"/>
              <a:gd name="T32" fmla="*/ 1925 w 5339"/>
              <a:gd name="T33" fmla="*/ 3806 h 4332"/>
              <a:gd name="T34" fmla="*/ 1870 w 5339"/>
              <a:gd name="T35" fmla="*/ 3819 h 4332"/>
              <a:gd name="T36" fmla="*/ 1862 w 5339"/>
              <a:gd name="T37" fmla="*/ 2209 h 4332"/>
              <a:gd name="T38" fmla="*/ 3471 w 5339"/>
              <a:gd name="T39" fmla="*/ 516 h 4332"/>
              <a:gd name="T40" fmla="*/ 3479 w 5339"/>
              <a:gd name="T41" fmla="*/ 2128 h 4332"/>
              <a:gd name="T42" fmla="*/ 3338 w 5339"/>
              <a:gd name="T43" fmla="*/ 2132 h 4332"/>
              <a:gd name="T44" fmla="*/ 3338 w 5339"/>
              <a:gd name="T45" fmla="*/ 519 h 4332"/>
              <a:gd name="T46" fmla="*/ 4569 w 5339"/>
              <a:gd name="T47" fmla="*/ 519 h 4332"/>
              <a:gd name="T48" fmla="*/ 4569 w 5339"/>
              <a:gd name="T49" fmla="*/ 2132 h 4332"/>
              <a:gd name="T50" fmla="*/ 4513 w 5339"/>
              <a:gd name="T51" fmla="*/ 2128 h 4332"/>
              <a:gd name="T52" fmla="*/ 4520 w 5339"/>
              <a:gd name="T53" fmla="*/ 516 h 4332"/>
              <a:gd name="T54" fmla="*/ 2803 w 5339"/>
              <a:gd name="T55" fmla="*/ 523 h 4332"/>
              <a:gd name="T56" fmla="*/ 2796 w 5339"/>
              <a:gd name="T57" fmla="*/ 2135 h 4332"/>
              <a:gd name="T58" fmla="*/ 2741 w 5339"/>
              <a:gd name="T59" fmla="*/ 2122 h 4332"/>
              <a:gd name="T60" fmla="*/ 2758 w 5339"/>
              <a:gd name="T61" fmla="*/ 513 h 4332"/>
              <a:gd name="T62" fmla="*/ 400 w 5339"/>
              <a:gd name="T63" fmla="*/ 2122 h 4332"/>
              <a:gd name="T64" fmla="*/ 416 w 5339"/>
              <a:gd name="T65" fmla="*/ 513 h 4332"/>
              <a:gd name="T66" fmla="*/ 554 w 5339"/>
              <a:gd name="T67" fmla="*/ 535 h 4332"/>
              <a:gd name="T68" fmla="*/ 530 w 5339"/>
              <a:gd name="T69" fmla="*/ 2140 h 4332"/>
              <a:gd name="T70" fmla="*/ 1168 w 5339"/>
              <a:gd name="T71" fmla="*/ 2116 h 4332"/>
              <a:gd name="T72" fmla="*/ 1191 w 5339"/>
              <a:gd name="T73" fmla="*/ 511 h 4332"/>
              <a:gd name="T74" fmla="*/ 1237 w 5339"/>
              <a:gd name="T75" fmla="*/ 541 h 4332"/>
              <a:gd name="T76" fmla="*/ 1206 w 5339"/>
              <a:gd name="T77" fmla="*/ 2141 h 4332"/>
              <a:gd name="T78" fmla="*/ 354 w 5339"/>
              <a:gd name="T79" fmla="*/ 3872 h 4332"/>
              <a:gd name="T80" fmla="*/ 440 w 5339"/>
              <a:gd name="T81" fmla="*/ 3902 h 4332"/>
              <a:gd name="T82" fmla="*/ 1569 w 5339"/>
              <a:gd name="T83" fmla="*/ 3881 h 4332"/>
              <a:gd name="T84" fmla="*/ 1707 w 5339"/>
              <a:gd name="T85" fmla="*/ 3903 h 4332"/>
              <a:gd name="T86" fmla="*/ 2735 w 5339"/>
              <a:gd name="T87" fmla="*/ 3884 h 4332"/>
              <a:gd name="T88" fmla="*/ 2802 w 5339"/>
              <a:gd name="T89" fmla="*/ 3894 h 4332"/>
              <a:gd name="T90" fmla="*/ 4253 w 5339"/>
              <a:gd name="T91" fmla="*/ 3897 h 4332"/>
              <a:gd name="T92" fmla="*/ 4308 w 5339"/>
              <a:gd name="T93" fmla="*/ 3884 h 4332"/>
              <a:gd name="T94" fmla="*/ 5183 w 5339"/>
              <a:gd name="T95" fmla="*/ 3903 h 4332"/>
              <a:gd name="T96" fmla="*/ 5320 w 5339"/>
              <a:gd name="T97" fmla="*/ 3883 h 4332"/>
              <a:gd name="T98" fmla="*/ 4113 w 5339"/>
              <a:gd name="T99" fmla="*/ 423 h 4332"/>
              <a:gd name="T100" fmla="*/ 3981 w 5339"/>
              <a:gd name="T101" fmla="*/ 452 h 4332"/>
              <a:gd name="T102" fmla="*/ 2315 w 5339"/>
              <a:gd name="T103" fmla="*/ 0 h 4332"/>
              <a:gd name="T104" fmla="*/ 2275 w 5339"/>
              <a:gd name="T105" fmla="*/ 460 h 4332"/>
              <a:gd name="T106" fmla="*/ 1953 w 5339"/>
              <a:gd name="T107" fmla="*/ 0 h 4332"/>
              <a:gd name="T108" fmla="*/ 2079 w 5339"/>
              <a:gd name="T109" fmla="*/ 460 h 4332"/>
              <a:gd name="T110" fmla="*/ 1953 w 5339"/>
              <a:gd name="T111" fmla="*/ 0 h 4332"/>
              <a:gd name="T112" fmla="*/ 955 w 5339"/>
              <a:gd name="T113" fmla="*/ 458 h 4332"/>
              <a:gd name="T114" fmla="*/ 871 w 5339"/>
              <a:gd name="T115" fmla="*/ 429 h 4332"/>
              <a:gd name="T116" fmla="*/ 52 w 5339"/>
              <a:gd name="T117" fmla="*/ 457 h 4332"/>
              <a:gd name="T118" fmla="*/ 1 w 5339"/>
              <a:gd name="T119" fmla="*/ 435 h 43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339" h="4332">
                <a:moveTo>
                  <a:pt x="3760" y="2194"/>
                </a:moveTo>
                <a:lnTo>
                  <a:pt x="3809" y="2194"/>
                </a:lnTo>
                <a:lnTo>
                  <a:pt x="3815" y="2196"/>
                </a:lnTo>
                <a:lnTo>
                  <a:pt x="3820" y="2197"/>
                </a:lnTo>
                <a:lnTo>
                  <a:pt x="3825" y="2200"/>
                </a:lnTo>
                <a:lnTo>
                  <a:pt x="3831" y="2203"/>
                </a:lnTo>
                <a:lnTo>
                  <a:pt x="3834" y="2209"/>
                </a:lnTo>
                <a:lnTo>
                  <a:pt x="3837" y="2213"/>
                </a:lnTo>
                <a:lnTo>
                  <a:pt x="3838" y="2219"/>
                </a:lnTo>
                <a:lnTo>
                  <a:pt x="3840" y="2225"/>
                </a:lnTo>
                <a:lnTo>
                  <a:pt x="3840" y="3009"/>
                </a:lnTo>
                <a:lnTo>
                  <a:pt x="3840" y="3794"/>
                </a:lnTo>
                <a:lnTo>
                  <a:pt x="3838" y="3800"/>
                </a:lnTo>
                <a:lnTo>
                  <a:pt x="3837" y="3806"/>
                </a:lnTo>
                <a:lnTo>
                  <a:pt x="3834" y="3812"/>
                </a:lnTo>
                <a:lnTo>
                  <a:pt x="3831" y="3816"/>
                </a:lnTo>
                <a:lnTo>
                  <a:pt x="3825" y="3819"/>
                </a:lnTo>
                <a:lnTo>
                  <a:pt x="3820" y="3822"/>
                </a:lnTo>
                <a:lnTo>
                  <a:pt x="3815" y="3824"/>
                </a:lnTo>
                <a:lnTo>
                  <a:pt x="3809" y="3825"/>
                </a:lnTo>
                <a:lnTo>
                  <a:pt x="3760" y="3825"/>
                </a:lnTo>
                <a:lnTo>
                  <a:pt x="3754" y="3824"/>
                </a:lnTo>
                <a:lnTo>
                  <a:pt x="3748" y="3822"/>
                </a:lnTo>
                <a:lnTo>
                  <a:pt x="3742" y="3819"/>
                </a:lnTo>
                <a:lnTo>
                  <a:pt x="3738" y="3816"/>
                </a:lnTo>
                <a:lnTo>
                  <a:pt x="3735" y="3812"/>
                </a:lnTo>
                <a:lnTo>
                  <a:pt x="3732" y="3806"/>
                </a:lnTo>
                <a:lnTo>
                  <a:pt x="3730" y="3800"/>
                </a:lnTo>
                <a:lnTo>
                  <a:pt x="3729" y="3794"/>
                </a:lnTo>
                <a:lnTo>
                  <a:pt x="3729" y="3009"/>
                </a:lnTo>
                <a:lnTo>
                  <a:pt x="3729" y="2225"/>
                </a:lnTo>
                <a:lnTo>
                  <a:pt x="3730" y="2219"/>
                </a:lnTo>
                <a:lnTo>
                  <a:pt x="3732" y="2213"/>
                </a:lnTo>
                <a:lnTo>
                  <a:pt x="3735" y="2209"/>
                </a:lnTo>
                <a:lnTo>
                  <a:pt x="3738" y="2203"/>
                </a:lnTo>
                <a:lnTo>
                  <a:pt x="3742" y="2200"/>
                </a:lnTo>
                <a:lnTo>
                  <a:pt x="3748" y="2197"/>
                </a:lnTo>
                <a:lnTo>
                  <a:pt x="3754" y="2196"/>
                </a:lnTo>
                <a:lnTo>
                  <a:pt x="3760" y="2194"/>
                </a:lnTo>
                <a:close/>
                <a:moveTo>
                  <a:pt x="31" y="3825"/>
                </a:moveTo>
                <a:lnTo>
                  <a:pt x="25" y="3824"/>
                </a:lnTo>
                <a:lnTo>
                  <a:pt x="19" y="3822"/>
                </a:lnTo>
                <a:lnTo>
                  <a:pt x="13" y="3819"/>
                </a:lnTo>
                <a:lnTo>
                  <a:pt x="9" y="3816"/>
                </a:lnTo>
                <a:lnTo>
                  <a:pt x="6" y="3812"/>
                </a:lnTo>
                <a:lnTo>
                  <a:pt x="3" y="3806"/>
                </a:lnTo>
                <a:lnTo>
                  <a:pt x="1" y="3800"/>
                </a:lnTo>
                <a:lnTo>
                  <a:pt x="0" y="3794"/>
                </a:lnTo>
                <a:lnTo>
                  <a:pt x="0" y="3009"/>
                </a:lnTo>
                <a:lnTo>
                  <a:pt x="0" y="2225"/>
                </a:lnTo>
                <a:lnTo>
                  <a:pt x="1" y="2219"/>
                </a:lnTo>
                <a:lnTo>
                  <a:pt x="3" y="2213"/>
                </a:lnTo>
                <a:lnTo>
                  <a:pt x="6" y="2209"/>
                </a:lnTo>
                <a:lnTo>
                  <a:pt x="9" y="2203"/>
                </a:lnTo>
                <a:lnTo>
                  <a:pt x="13" y="2200"/>
                </a:lnTo>
                <a:lnTo>
                  <a:pt x="19" y="2197"/>
                </a:lnTo>
                <a:lnTo>
                  <a:pt x="25" y="2196"/>
                </a:lnTo>
                <a:lnTo>
                  <a:pt x="31" y="2194"/>
                </a:lnTo>
                <a:lnTo>
                  <a:pt x="40" y="2194"/>
                </a:lnTo>
                <a:lnTo>
                  <a:pt x="46" y="2196"/>
                </a:lnTo>
                <a:lnTo>
                  <a:pt x="52" y="2197"/>
                </a:lnTo>
                <a:lnTo>
                  <a:pt x="58" y="2200"/>
                </a:lnTo>
                <a:lnTo>
                  <a:pt x="62" y="2203"/>
                </a:lnTo>
                <a:lnTo>
                  <a:pt x="65" y="2209"/>
                </a:lnTo>
                <a:lnTo>
                  <a:pt x="68" y="2213"/>
                </a:lnTo>
                <a:lnTo>
                  <a:pt x="69" y="2219"/>
                </a:lnTo>
                <a:lnTo>
                  <a:pt x="71" y="2225"/>
                </a:lnTo>
                <a:lnTo>
                  <a:pt x="71" y="3009"/>
                </a:lnTo>
                <a:lnTo>
                  <a:pt x="71" y="3794"/>
                </a:lnTo>
                <a:lnTo>
                  <a:pt x="69" y="3800"/>
                </a:lnTo>
                <a:lnTo>
                  <a:pt x="68" y="3806"/>
                </a:lnTo>
                <a:lnTo>
                  <a:pt x="65" y="3812"/>
                </a:lnTo>
                <a:lnTo>
                  <a:pt x="62" y="3816"/>
                </a:lnTo>
                <a:lnTo>
                  <a:pt x="58" y="3819"/>
                </a:lnTo>
                <a:lnTo>
                  <a:pt x="52" y="3822"/>
                </a:lnTo>
                <a:lnTo>
                  <a:pt x="46" y="3824"/>
                </a:lnTo>
                <a:lnTo>
                  <a:pt x="40" y="3825"/>
                </a:lnTo>
                <a:lnTo>
                  <a:pt x="31" y="3825"/>
                </a:lnTo>
                <a:close/>
                <a:moveTo>
                  <a:pt x="2188" y="2194"/>
                </a:moveTo>
                <a:lnTo>
                  <a:pt x="2282" y="2194"/>
                </a:lnTo>
                <a:lnTo>
                  <a:pt x="2288" y="2196"/>
                </a:lnTo>
                <a:lnTo>
                  <a:pt x="2294" y="2197"/>
                </a:lnTo>
                <a:lnTo>
                  <a:pt x="2298" y="2200"/>
                </a:lnTo>
                <a:lnTo>
                  <a:pt x="2304" y="2203"/>
                </a:lnTo>
                <a:lnTo>
                  <a:pt x="2307" y="2209"/>
                </a:lnTo>
                <a:lnTo>
                  <a:pt x="2310" y="2213"/>
                </a:lnTo>
                <a:lnTo>
                  <a:pt x="2312" y="2219"/>
                </a:lnTo>
                <a:lnTo>
                  <a:pt x="2313" y="2225"/>
                </a:lnTo>
                <a:lnTo>
                  <a:pt x="2313" y="3009"/>
                </a:lnTo>
                <a:lnTo>
                  <a:pt x="2313" y="3794"/>
                </a:lnTo>
                <a:lnTo>
                  <a:pt x="2312" y="3800"/>
                </a:lnTo>
                <a:lnTo>
                  <a:pt x="2310" y="3806"/>
                </a:lnTo>
                <a:lnTo>
                  <a:pt x="2307" y="3812"/>
                </a:lnTo>
                <a:lnTo>
                  <a:pt x="2304" y="3816"/>
                </a:lnTo>
                <a:lnTo>
                  <a:pt x="2298" y="3819"/>
                </a:lnTo>
                <a:lnTo>
                  <a:pt x="2294" y="3822"/>
                </a:lnTo>
                <a:lnTo>
                  <a:pt x="2288" y="3824"/>
                </a:lnTo>
                <a:lnTo>
                  <a:pt x="2282" y="3825"/>
                </a:lnTo>
                <a:lnTo>
                  <a:pt x="2188" y="3825"/>
                </a:lnTo>
                <a:lnTo>
                  <a:pt x="2180" y="3824"/>
                </a:lnTo>
                <a:lnTo>
                  <a:pt x="2176" y="3822"/>
                </a:lnTo>
                <a:lnTo>
                  <a:pt x="2170" y="3819"/>
                </a:lnTo>
                <a:lnTo>
                  <a:pt x="2166" y="3816"/>
                </a:lnTo>
                <a:lnTo>
                  <a:pt x="2163" y="3812"/>
                </a:lnTo>
                <a:lnTo>
                  <a:pt x="2160" y="3806"/>
                </a:lnTo>
                <a:lnTo>
                  <a:pt x="2157" y="3800"/>
                </a:lnTo>
                <a:lnTo>
                  <a:pt x="2157" y="3794"/>
                </a:lnTo>
                <a:lnTo>
                  <a:pt x="2157" y="3009"/>
                </a:lnTo>
                <a:lnTo>
                  <a:pt x="2157" y="2225"/>
                </a:lnTo>
                <a:lnTo>
                  <a:pt x="2157" y="2219"/>
                </a:lnTo>
                <a:lnTo>
                  <a:pt x="2160" y="2213"/>
                </a:lnTo>
                <a:lnTo>
                  <a:pt x="2163" y="2209"/>
                </a:lnTo>
                <a:lnTo>
                  <a:pt x="2166" y="2203"/>
                </a:lnTo>
                <a:lnTo>
                  <a:pt x="2170" y="2200"/>
                </a:lnTo>
                <a:lnTo>
                  <a:pt x="2176" y="2197"/>
                </a:lnTo>
                <a:lnTo>
                  <a:pt x="2180" y="2196"/>
                </a:lnTo>
                <a:lnTo>
                  <a:pt x="2188" y="2194"/>
                </a:lnTo>
                <a:close/>
                <a:moveTo>
                  <a:pt x="710" y="2194"/>
                </a:moveTo>
                <a:lnTo>
                  <a:pt x="805" y="2194"/>
                </a:lnTo>
                <a:lnTo>
                  <a:pt x="812" y="2196"/>
                </a:lnTo>
                <a:lnTo>
                  <a:pt x="816" y="2197"/>
                </a:lnTo>
                <a:lnTo>
                  <a:pt x="822" y="2200"/>
                </a:lnTo>
                <a:lnTo>
                  <a:pt x="827" y="2203"/>
                </a:lnTo>
                <a:lnTo>
                  <a:pt x="830" y="2209"/>
                </a:lnTo>
                <a:lnTo>
                  <a:pt x="833" y="2213"/>
                </a:lnTo>
                <a:lnTo>
                  <a:pt x="836" y="2219"/>
                </a:lnTo>
                <a:lnTo>
                  <a:pt x="836" y="2225"/>
                </a:lnTo>
                <a:lnTo>
                  <a:pt x="836" y="3009"/>
                </a:lnTo>
                <a:lnTo>
                  <a:pt x="836" y="3794"/>
                </a:lnTo>
                <a:lnTo>
                  <a:pt x="836" y="3800"/>
                </a:lnTo>
                <a:lnTo>
                  <a:pt x="833" y="3806"/>
                </a:lnTo>
                <a:lnTo>
                  <a:pt x="830" y="3812"/>
                </a:lnTo>
                <a:lnTo>
                  <a:pt x="827" y="3816"/>
                </a:lnTo>
                <a:lnTo>
                  <a:pt x="822" y="3819"/>
                </a:lnTo>
                <a:lnTo>
                  <a:pt x="816" y="3822"/>
                </a:lnTo>
                <a:lnTo>
                  <a:pt x="812" y="3824"/>
                </a:lnTo>
                <a:lnTo>
                  <a:pt x="805" y="3825"/>
                </a:lnTo>
                <a:lnTo>
                  <a:pt x="710" y="3825"/>
                </a:lnTo>
                <a:lnTo>
                  <a:pt x="704" y="3824"/>
                </a:lnTo>
                <a:lnTo>
                  <a:pt x="698" y="3822"/>
                </a:lnTo>
                <a:lnTo>
                  <a:pt x="694" y="3819"/>
                </a:lnTo>
                <a:lnTo>
                  <a:pt x="688" y="3816"/>
                </a:lnTo>
                <a:lnTo>
                  <a:pt x="685" y="3812"/>
                </a:lnTo>
                <a:lnTo>
                  <a:pt x="682" y="3806"/>
                </a:lnTo>
                <a:lnTo>
                  <a:pt x="681" y="3800"/>
                </a:lnTo>
                <a:lnTo>
                  <a:pt x="679" y="3794"/>
                </a:lnTo>
                <a:lnTo>
                  <a:pt x="679" y="3009"/>
                </a:lnTo>
                <a:lnTo>
                  <a:pt x="679" y="2225"/>
                </a:lnTo>
                <a:lnTo>
                  <a:pt x="681" y="2219"/>
                </a:lnTo>
                <a:lnTo>
                  <a:pt x="682" y="2213"/>
                </a:lnTo>
                <a:lnTo>
                  <a:pt x="685" y="2209"/>
                </a:lnTo>
                <a:lnTo>
                  <a:pt x="688" y="2203"/>
                </a:lnTo>
                <a:lnTo>
                  <a:pt x="694" y="2200"/>
                </a:lnTo>
                <a:lnTo>
                  <a:pt x="698" y="2197"/>
                </a:lnTo>
                <a:lnTo>
                  <a:pt x="704" y="2196"/>
                </a:lnTo>
                <a:lnTo>
                  <a:pt x="710" y="2194"/>
                </a:lnTo>
                <a:close/>
                <a:moveTo>
                  <a:pt x="1887" y="2194"/>
                </a:moveTo>
                <a:lnTo>
                  <a:pt x="1897" y="2194"/>
                </a:lnTo>
                <a:lnTo>
                  <a:pt x="1903" y="2196"/>
                </a:lnTo>
                <a:lnTo>
                  <a:pt x="1909" y="2197"/>
                </a:lnTo>
                <a:lnTo>
                  <a:pt x="1913" y="2200"/>
                </a:lnTo>
                <a:lnTo>
                  <a:pt x="1918" y="2203"/>
                </a:lnTo>
                <a:lnTo>
                  <a:pt x="1922" y="2209"/>
                </a:lnTo>
                <a:lnTo>
                  <a:pt x="1925" y="2213"/>
                </a:lnTo>
                <a:lnTo>
                  <a:pt x="1926" y="2219"/>
                </a:lnTo>
                <a:lnTo>
                  <a:pt x="1926" y="2225"/>
                </a:lnTo>
                <a:lnTo>
                  <a:pt x="1926" y="3009"/>
                </a:lnTo>
                <a:lnTo>
                  <a:pt x="1926" y="3794"/>
                </a:lnTo>
                <a:lnTo>
                  <a:pt x="1926" y="3800"/>
                </a:lnTo>
                <a:lnTo>
                  <a:pt x="1925" y="3806"/>
                </a:lnTo>
                <a:lnTo>
                  <a:pt x="1922" y="3812"/>
                </a:lnTo>
                <a:lnTo>
                  <a:pt x="1918" y="3816"/>
                </a:lnTo>
                <a:lnTo>
                  <a:pt x="1913" y="3819"/>
                </a:lnTo>
                <a:lnTo>
                  <a:pt x="1909" y="3822"/>
                </a:lnTo>
                <a:lnTo>
                  <a:pt x="1903" y="3824"/>
                </a:lnTo>
                <a:lnTo>
                  <a:pt x="1897" y="3825"/>
                </a:lnTo>
                <a:lnTo>
                  <a:pt x="1887" y="3825"/>
                </a:lnTo>
                <a:lnTo>
                  <a:pt x="1881" y="3824"/>
                </a:lnTo>
                <a:lnTo>
                  <a:pt x="1875" y="3822"/>
                </a:lnTo>
                <a:lnTo>
                  <a:pt x="1870" y="3819"/>
                </a:lnTo>
                <a:lnTo>
                  <a:pt x="1866" y="3816"/>
                </a:lnTo>
                <a:lnTo>
                  <a:pt x="1862" y="3812"/>
                </a:lnTo>
                <a:lnTo>
                  <a:pt x="1860" y="3806"/>
                </a:lnTo>
                <a:lnTo>
                  <a:pt x="1857" y="3800"/>
                </a:lnTo>
                <a:lnTo>
                  <a:pt x="1857" y="3794"/>
                </a:lnTo>
                <a:lnTo>
                  <a:pt x="1857" y="3009"/>
                </a:lnTo>
                <a:lnTo>
                  <a:pt x="1857" y="2225"/>
                </a:lnTo>
                <a:lnTo>
                  <a:pt x="1857" y="2219"/>
                </a:lnTo>
                <a:lnTo>
                  <a:pt x="1860" y="2213"/>
                </a:lnTo>
                <a:lnTo>
                  <a:pt x="1862" y="2209"/>
                </a:lnTo>
                <a:lnTo>
                  <a:pt x="1866" y="2203"/>
                </a:lnTo>
                <a:lnTo>
                  <a:pt x="1870" y="2200"/>
                </a:lnTo>
                <a:lnTo>
                  <a:pt x="1875" y="2197"/>
                </a:lnTo>
                <a:lnTo>
                  <a:pt x="1881" y="2196"/>
                </a:lnTo>
                <a:lnTo>
                  <a:pt x="1887" y="2194"/>
                </a:lnTo>
                <a:close/>
                <a:moveTo>
                  <a:pt x="3358" y="510"/>
                </a:moveTo>
                <a:lnTo>
                  <a:pt x="3453" y="510"/>
                </a:lnTo>
                <a:lnTo>
                  <a:pt x="3460" y="511"/>
                </a:lnTo>
                <a:lnTo>
                  <a:pt x="3466" y="513"/>
                </a:lnTo>
                <a:lnTo>
                  <a:pt x="3471" y="516"/>
                </a:lnTo>
                <a:lnTo>
                  <a:pt x="3475" y="519"/>
                </a:lnTo>
                <a:lnTo>
                  <a:pt x="3479" y="523"/>
                </a:lnTo>
                <a:lnTo>
                  <a:pt x="3481" y="529"/>
                </a:lnTo>
                <a:lnTo>
                  <a:pt x="3484" y="535"/>
                </a:lnTo>
                <a:lnTo>
                  <a:pt x="3484" y="541"/>
                </a:lnTo>
                <a:lnTo>
                  <a:pt x="3484" y="1325"/>
                </a:lnTo>
                <a:lnTo>
                  <a:pt x="3484" y="2110"/>
                </a:lnTo>
                <a:lnTo>
                  <a:pt x="3484" y="2116"/>
                </a:lnTo>
                <a:lnTo>
                  <a:pt x="3481" y="2122"/>
                </a:lnTo>
                <a:lnTo>
                  <a:pt x="3479" y="2128"/>
                </a:lnTo>
                <a:lnTo>
                  <a:pt x="3475" y="2132"/>
                </a:lnTo>
                <a:lnTo>
                  <a:pt x="3471" y="2135"/>
                </a:lnTo>
                <a:lnTo>
                  <a:pt x="3466" y="2138"/>
                </a:lnTo>
                <a:lnTo>
                  <a:pt x="3460" y="2140"/>
                </a:lnTo>
                <a:lnTo>
                  <a:pt x="3453" y="2141"/>
                </a:lnTo>
                <a:lnTo>
                  <a:pt x="3358" y="2141"/>
                </a:lnTo>
                <a:lnTo>
                  <a:pt x="3352" y="2140"/>
                </a:lnTo>
                <a:lnTo>
                  <a:pt x="3347" y="2138"/>
                </a:lnTo>
                <a:lnTo>
                  <a:pt x="3342" y="2135"/>
                </a:lnTo>
                <a:lnTo>
                  <a:pt x="3338" y="2132"/>
                </a:lnTo>
                <a:lnTo>
                  <a:pt x="3333" y="2128"/>
                </a:lnTo>
                <a:lnTo>
                  <a:pt x="3330" y="2122"/>
                </a:lnTo>
                <a:lnTo>
                  <a:pt x="3329" y="2116"/>
                </a:lnTo>
                <a:lnTo>
                  <a:pt x="3329" y="2110"/>
                </a:lnTo>
                <a:lnTo>
                  <a:pt x="3329" y="1325"/>
                </a:lnTo>
                <a:lnTo>
                  <a:pt x="3329" y="541"/>
                </a:lnTo>
                <a:lnTo>
                  <a:pt x="3329" y="535"/>
                </a:lnTo>
                <a:lnTo>
                  <a:pt x="3330" y="529"/>
                </a:lnTo>
                <a:lnTo>
                  <a:pt x="3333" y="523"/>
                </a:lnTo>
                <a:lnTo>
                  <a:pt x="3338" y="519"/>
                </a:lnTo>
                <a:lnTo>
                  <a:pt x="3342" y="516"/>
                </a:lnTo>
                <a:lnTo>
                  <a:pt x="3347" y="513"/>
                </a:lnTo>
                <a:lnTo>
                  <a:pt x="3352" y="511"/>
                </a:lnTo>
                <a:lnTo>
                  <a:pt x="3358" y="510"/>
                </a:lnTo>
                <a:close/>
                <a:moveTo>
                  <a:pt x="4538" y="510"/>
                </a:moveTo>
                <a:lnTo>
                  <a:pt x="4547" y="510"/>
                </a:lnTo>
                <a:lnTo>
                  <a:pt x="4553" y="511"/>
                </a:lnTo>
                <a:lnTo>
                  <a:pt x="4559" y="513"/>
                </a:lnTo>
                <a:lnTo>
                  <a:pt x="4564" y="516"/>
                </a:lnTo>
                <a:lnTo>
                  <a:pt x="4569" y="519"/>
                </a:lnTo>
                <a:lnTo>
                  <a:pt x="4572" y="523"/>
                </a:lnTo>
                <a:lnTo>
                  <a:pt x="4575" y="529"/>
                </a:lnTo>
                <a:lnTo>
                  <a:pt x="4576" y="535"/>
                </a:lnTo>
                <a:lnTo>
                  <a:pt x="4578" y="541"/>
                </a:lnTo>
                <a:lnTo>
                  <a:pt x="4578" y="1325"/>
                </a:lnTo>
                <a:lnTo>
                  <a:pt x="4578" y="2110"/>
                </a:lnTo>
                <a:lnTo>
                  <a:pt x="4576" y="2116"/>
                </a:lnTo>
                <a:lnTo>
                  <a:pt x="4575" y="2122"/>
                </a:lnTo>
                <a:lnTo>
                  <a:pt x="4572" y="2128"/>
                </a:lnTo>
                <a:lnTo>
                  <a:pt x="4569" y="2132"/>
                </a:lnTo>
                <a:lnTo>
                  <a:pt x="4564" y="2135"/>
                </a:lnTo>
                <a:lnTo>
                  <a:pt x="4559" y="2138"/>
                </a:lnTo>
                <a:lnTo>
                  <a:pt x="4553" y="2140"/>
                </a:lnTo>
                <a:lnTo>
                  <a:pt x="4547" y="2141"/>
                </a:lnTo>
                <a:lnTo>
                  <a:pt x="4538" y="2141"/>
                </a:lnTo>
                <a:lnTo>
                  <a:pt x="4532" y="2140"/>
                </a:lnTo>
                <a:lnTo>
                  <a:pt x="4526" y="2138"/>
                </a:lnTo>
                <a:lnTo>
                  <a:pt x="4520" y="2135"/>
                </a:lnTo>
                <a:lnTo>
                  <a:pt x="4516" y="2132"/>
                </a:lnTo>
                <a:lnTo>
                  <a:pt x="4513" y="2128"/>
                </a:lnTo>
                <a:lnTo>
                  <a:pt x="4510" y="2122"/>
                </a:lnTo>
                <a:lnTo>
                  <a:pt x="4508" y="2116"/>
                </a:lnTo>
                <a:lnTo>
                  <a:pt x="4507" y="2110"/>
                </a:lnTo>
                <a:lnTo>
                  <a:pt x="4507" y="1325"/>
                </a:lnTo>
                <a:lnTo>
                  <a:pt x="4507" y="541"/>
                </a:lnTo>
                <a:lnTo>
                  <a:pt x="4508" y="535"/>
                </a:lnTo>
                <a:lnTo>
                  <a:pt x="4510" y="529"/>
                </a:lnTo>
                <a:lnTo>
                  <a:pt x="4513" y="523"/>
                </a:lnTo>
                <a:lnTo>
                  <a:pt x="4516" y="519"/>
                </a:lnTo>
                <a:lnTo>
                  <a:pt x="4520" y="516"/>
                </a:lnTo>
                <a:lnTo>
                  <a:pt x="4526" y="513"/>
                </a:lnTo>
                <a:lnTo>
                  <a:pt x="4532" y="511"/>
                </a:lnTo>
                <a:lnTo>
                  <a:pt x="4538" y="510"/>
                </a:lnTo>
                <a:close/>
                <a:moveTo>
                  <a:pt x="2769" y="510"/>
                </a:moveTo>
                <a:lnTo>
                  <a:pt x="2778" y="510"/>
                </a:lnTo>
                <a:lnTo>
                  <a:pt x="2784" y="511"/>
                </a:lnTo>
                <a:lnTo>
                  <a:pt x="2790" y="513"/>
                </a:lnTo>
                <a:lnTo>
                  <a:pt x="2796" y="516"/>
                </a:lnTo>
                <a:lnTo>
                  <a:pt x="2800" y="519"/>
                </a:lnTo>
                <a:lnTo>
                  <a:pt x="2803" y="523"/>
                </a:lnTo>
                <a:lnTo>
                  <a:pt x="2806" y="529"/>
                </a:lnTo>
                <a:lnTo>
                  <a:pt x="2808" y="535"/>
                </a:lnTo>
                <a:lnTo>
                  <a:pt x="2809" y="541"/>
                </a:lnTo>
                <a:lnTo>
                  <a:pt x="2809" y="1325"/>
                </a:lnTo>
                <a:lnTo>
                  <a:pt x="2809" y="2110"/>
                </a:lnTo>
                <a:lnTo>
                  <a:pt x="2808" y="2116"/>
                </a:lnTo>
                <a:lnTo>
                  <a:pt x="2806" y="2122"/>
                </a:lnTo>
                <a:lnTo>
                  <a:pt x="2803" y="2128"/>
                </a:lnTo>
                <a:lnTo>
                  <a:pt x="2800" y="2132"/>
                </a:lnTo>
                <a:lnTo>
                  <a:pt x="2796" y="2135"/>
                </a:lnTo>
                <a:lnTo>
                  <a:pt x="2790" y="2138"/>
                </a:lnTo>
                <a:lnTo>
                  <a:pt x="2784" y="2140"/>
                </a:lnTo>
                <a:lnTo>
                  <a:pt x="2778" y="2141"/>
                </a:lnTo>
                <a:lnTo>
                  <a:pt x="2769" y="2141"/>
                </a:lnTo>
                <a:lnTo>
                  <a:pt x="2763" y="2140"/>
                </a:lnTo>
                <a:lnTo>
                  <a:pt x="2758" y="2138"/>
                </a:lnTo>
                <a:lnTo>
                  <a:pt x="2752" y="2135"/>
                </a:lnTo>
                <a:lnTo>
                  <a:pt x="2747" y="2132"/>
                </a:lnTo>
                <a:lnTo>
                  <a:pt x="2744" y="2128"/>
                </a:lnTo>
                <a:lnTo>
                  <a:pt x="2741" y="2122"/>
                </a:lnTo>
                <a:lnTo>
                  <a:pt x="2740" y="2116"/>
                </a:lnTo>
                <a:lnTo>
                  <a:pt x="2738" y="2110"/>
                </a:lnTo>
                <a:lnTo>
                  <a:pt x="2738" y="1325"/>
                </a:lnTo>
                <a:lnTo>
                  <a:pt x="2738" y="541"/>
                </a:lnTo>
                <a:lnTo>
                  <a:pt x="2740" y="535"/>
                </a:lnTo>
                <a:lnTo>
                  <a:pt x="2741" y="529"/>
                </a:lnTo>
                <a:lnTo>
                  <a:pt x="2744" y="523"/>
                </a:lnTo>
                <a:lnTo>
                  <a:pt x="2747" y="519"/>
                </a:lnTo>
                <a:lnTo>
                  <a:pt x="2752" y="516"/>
                </a:lnTo>
                <a:lnTo>
                  <a:pt x="2758" y="513"/>
                </a:lnTo>
                <a:lnTo>
                  <a:pt x="2763" y="511"/>
                </a:lnTo>
                <a:lnTo>
                  <a:pt x="2769" y="510"/>
                </a:lnTo>
                <a:close/>
                <a:moveTo>
                  <a:pt x="523" y="2141"/>
                </a:moveTo>
                <a:lnTo>
                  <a:pt x="428" y="2141"/>
                </a:lnTo>
                <a:lnTo>
                  <a:pt x="422" y="2140"/>
                </a:lnTo>
                <a:lnTo>
                  <a:pt x="416" y="2138"/>
                </a:lnTo>
                <a:lnTo>
                  <a:pt x="412" y="2135"/>
                </a:lnTo>
                <a:lnTo>
                  <a:pt x="407" y="2132"/>
                </a:lnTo>
                <a:lnTo>
                  <a:pt x="403" y="2128"/>
                </a:lnTo>
                <a:lnTo>
                  <a:pt x="400" y="2122"/>
                </a:lnTo>
                <a:lnTo>
                  <a:pt x="399" y="2116"/>
                </a:lnTo>
                <a:lnTo>
                  <a:pt x="399" y="2110"/>
                </a:lnTo>
                <a:lnTo>
                  <a:pt x="399" y="1325"/>
                </a:lnTo>
                <a:lnTo>
                  <a:pt x="399" y="541"/>
                </a:lnTo>
                <a:lnTo>
                  <a:pt x="399" y="535"/>
                </a:lnTo>
                <a:lnTo>
                  <a:pt x="400" y="529"/>
                </a:lnTo>
                <a:lnTo>
                  <a:pt x="403" y="523"/>
                </a:lnTo>
                <a:lnTo>
                  <a:pt x="407" y="519"/>
                </a:lnTo>
                <a:lnTo>
                  <a:pt x="412" y="516"/>
                </a:lnTo>
                <a:lnTo>
                  <a:pt x="416" y="513"/>
                </a:lnTo>
                <a:lnTo>
                  <a:pt x="422" y="511"/>
                </a:lnTo>
                <a:lnTo>
                  <a:pt x="428" y="510"/>
                </a:lnTo>
                <a:lnTo>
                  <a:pt x="523" y="510"/>
                </a:lnTo>
                <a:lnTo>
                  <a:pt x="530" y="511"/>
                </a:lnTo>
                <a:lnTo>
                  <a:pt x="534" y="513"/>
                </a:lnTo>
                <a:lnTo>
                  <a:pt x="540" y="516"/>
                </a:lnTo>
                <a:lnTo>
                  <a:pt x="545" y="519"/>
                </a:lnTo>
                <a:lnTo>
                  <a:pt x="549" y="523"/>
                </a:lnTo>
                <a:lnTo>
                  <a:pt x="551" y="529"/>
                </a:lnTo>
                <a:lnTo>
                  <a:pt x="554" y="535"/>
                </a:lnTo>
                <a:lnTo>
                  <a:pt x="554" y="541"/>
                </a:lnTo>
                <a:lnTo>
                  <a:pt x="554" y="1325"/>
                </a:lnTo>
                <a:lnTo>
                  <a:pt x="554" y="2110"/>
                </a:lnTo>
                <a:lnTo>
                  <a:pt x="554" y="2116"/>
                </a:lnTo>
                <a:lnTo>
                  <a:pt x="551" y="2122"/>
                </a:lnTo>
                <a:lnTo>
                  <a:pt x="549" y="2128"/>
                </a:lnTo>
                <a:lnTo>
                  <a:pt x="545" y="2132"/>
                </a:lnTo>
                <a:lnTo>
                  <a:pt x="540" y="2135"/>
                </a:lnTo>
                <a:lnTo>
                  <a:pt x="534" y="2138"/>
                </a:lnTo>
                <a:lnTo>
                  <a:pt x="530" y="2140"/>
                </a:lnTo>
                <a:lnTo>
                  <a:pt x="523" y="2141"/>
                </a:lnTo>
                <a:close/>
                <a:moveTo>
                  <a:pt x="1206" y="2141"/>
                </a:moveTo>
                <a:lnTo>
                  <a:pt x="1197" y="2141"/>
                </a:lnTo>
                <a:lnTo>
                  <a:pt x="1191" y="2140"/>
                </a:lnTo>
                <a:lnTo>
                  <a:pt x="1185" y="2138"/>
                </a:lnTo>
                <a:lnTo>
                  <a:pt x="1179" y="2135"/>
                </a:lnTo>
                <a:lnTo>
                  <a:pt x="1175" y="2132"/>
                </a:lnTo>
                <a:lnTo>
                  <a:pt x="1172" y="2128"/>
                </a:lnTo>
                <a:lnTo>
                  <a:pt x="1169" y="2122"/>
                </a:lnTo>
                <a:lnTo>
                  <a:pt x="1168" y="2116"/>
                </a:lnTo>
                <a:lnTo>
                  <a:pt x="1166" y="2110"/>
                </a:lnTo>
                <a:lnTo>
                  <a:pt x="1166" y="1325"/>
                </a:lnTo>
                <a:lnTo>
                  <a:pt x="1166" y="541"/>
                </a:lnTo>
                <a:lnTo>
                  <a:pt x="1168" y="535"/>
                </a:lnTo>
                <a:lnTo>
                  <a:pt x="1169" y="529"/>
                </a:lnTo>
                <a:lnTo>
                  <a:pt x="1172" y="523"/>
                </a:lnTo>
                <a:lnTo>
                  <a:pt x="1175" y="519"/>
                </a:lnTo>
                <a:lnTo>
                  <a:pt x="1179" y="516"/>
                </a:lnTo>
                <a:lnTo>
                  <a:pt x="1185" y="513"/>
                </a:lnTo>
                <a:lnTo>
                  <a:pt x="1191" y="511"/>
                </a:lnTo>
                <a:lnTo>
                  <a:pt x="1197" y="510"/>
                </a:lnTo>
                <a:lnTo>
                  <a:pt x="1206" y="510"/>
                </a:lnTo>
                <a:lnTo>
                  <a:pt x="1212" y="511"/>
                </a:lnTo>
                <a:lnTo>
                  <a:pt x="1218" y="513"/>
                </a:lnTo>
                <a:lnTo>
                  <a:pt x="1224" y="516"/>
                </a:lnTo>
                <a:lnTo>
                  <a:pt x="1228" y="519"/>
                </a:lnTo>
                <a:lnTo>
                  <a:pt x="1231" y="523"/>
                </a:lnTo>
                <a:lnTo>
                  <a:pt x="1234" y="529"/>
                </a:lnTo>
                <a:lnTo>
                  <a:pt x="1237" y="535"/>
                </a:lnTo>
                <a:lnTo>
                  <a:pt x="1237" y="541"/>
                </a:lnTo>
                <a:lnTo>
                  <a:pt x="1237" y="1325"/>
                </a:lnTo>
                <a:lnTo>
                  <a:pt x="1237" y="2110"/>
                </a:lnTo>
                <a:lnTo>
                  <a:pt x="1237" y="2116"/>
                </a:lnTo>
                <a:lnTo>
                  <a:pt x="1234" y="2122"/>
                </a:lnTo>
                <a:lnTo>
                  <a:pt x="1231" y="2128"/>
                </a:lnTo>
                <a:lnTo>
                  <a:pt x="1228" y="2132"/>
                </a:lnTo>
                <a:lnTo>
                  <a:pt x="1224" y="2135"/>
                </a:lnTo>
                <a:lnTo>
                  <a:pt x="1218" y="2138"/>
                </a:lnTo>
                <a:lnTo>
                  <a:pt x="1212" y="2140"/>
                </a:lnTo>
                <a:lnTo>
                  <a:pt x="1206" y="2141"/>
                </a:lnTo>
                <a:close/>
                <a:moveTo>
                  <a:pt x="440" y="4332"/>
                </a:moveTo>
                <a:lnTo>
                  <a:pt x="331" y="4332"/>
                </a:lnTo>
                <a:lnTo>
                  <a:pt x="331" y="3902"/>
                </a:lnTo>
                <a:lnTo>
                  <a:pt x="331" y="3896"/>
                </a:lnTo>
                <a:lnTo>
                  <a:pt x="334" y="3890"/>
                </a:lnTo>
                <a:lnTo>
                  <a:pt x="335" y="3886"/>
                </a:lnTo>
                <a:lnTo>
                  <a:pt x="340" y="3881"/>
                </a:lnTo>
                <a:lnTo>
                  <a:pt x="344" y="3877"/>
                </a:lnTo>
                <a:lnTo>
                  <a:pt x="348" y="3874"/>
                </a:lnTo>
                <a:lnTo>
                  <a:pt x="354" y="3872"/>
                </a:lnTo>
                <a:lnTo>
                  <a:pt x="360" y="3872"/>
                </a:lnTo>
                <a:lnTo>
                  <a:pt x="409" y="3872"/>
                </a:lnTo>
                <a:lnTo>
                  <a:pt x="416" y="3872"/>
                </a:lnTo>
                <a:lnTo>
                  <a:pt x="421" y="3874"/>
                </a:lnTo>
                <a:lnTo>
                  <a:pt x="427" y="3877"/>
                </a:lnTo>
                <a:lnTo>
                  <a:pt x="431" y="3881"/>
                </a:lnTo>
                <a:lnTo>
                  <a:pt x="435" y="3886"/>
                </a:lnTo>
                <a:lnTo>
                  <a:pt x="437" y="3890"/>
                </a:lnTo>
                <a:lnTo>
                  <a:pt x="440" y="3896"/>
                </a:lnTo>
                <a:lnTo>
                  <a:pt x="440" y="3902"/>
                </a:lnTo>
                <a:lnTo>
                  <a:pt x="440" y="4332"/>
                </a:lnTo>
                <a:close/>
                <a:moveTo>
                  <a:pt x="1707" y="4332"/>
                </a:moveTo>
                <a:lnTo>
                  <a:pt x="1552" y="4332"/>
                </a:lnTo>
                <a:lnTo>
                  <a:pt x="1552" y="3909"/>
                </a:lnTo>
                <a:lnTo>
                  <a:pt x="1552" y="3903"/>
                </a:lnTo>
                <a:lnTo>
                  <a:pt x="1553" y="3897"/>
                </a:lnTo>
                <a:lnTo>
                  <a:pt x="1556" y="3891"/>
                </a:lnTo>
                <a:lnTo>
                  <a:pt x="1560" y="3887"/>
                </a:lnTo>
                <a:lnTo>
                  <a:pt x="1565" y="3884"/>
                </a:lnTo>
                <a:lnTo>
                  <a:pt x="1569" y="3881"/>
                </a:lnTo>
                <a:lnTo>
                  <a:pt x="1575" y="3878"/>
                </a:lnTo>
                <a:lnTo>
                  <a:pt x="1581" y="3878"/>
                </a:lnTo>
                <a:lnTo>
                  <a:pt x="1677" y="3878"/>
                </a:lnTo>
                <a:lnTo>
                  <a:pt x="1683" y="3878"/>
                </a:lnTo>
                <a:lnTo>
                  <a:pt x="1689" y="3881"/>
                </a:lnTo>
                <a:lnTo>
                  <a:pt x="1693" y="3884"/>
                </a:lnTo>
                <a:lnTo>
                  <a:pt x="1698" y="3887"/>
                </a:lnTo>
                <a:lnTo>
                  <a:pt x="1702" y="3891"/>
                </a:lnTo>
                <a:lnTo>
                  <a:pt x="1705" y="3897"/>
                </a:lnTo>
                <a:lnTo>
                  <a:pt x="1707" y="3903"/>
                </a:lnTo>
                <a:lnTo>
                  <a:pt x="1707" y="3909"/>
                </a:lnTo>
                <a:lnTo>
                  <a:pt x="1707" y="4332"/>
                </a:lnTo>
                <a:close/>
                <a:moveTo>
                  <a:pt x="2809" y="4332"/>
                </a:moveTo>
                <a:lnTo>
                  <a:pt x="2722" y="4332"/>
                </a:lnTo>
                <a:lnTo>
                  <a:pt x="2722" y="3909"/>
                </a:lnTo>
                <a:lnTo>
                  <a:pt x="2724" y="3903"/>
                </a:lnTo>
                <a:lnTo>
                  <a:pt x="2725" y="3897"/>
                </a:lnTo>
                <a:lnTo>
                  <a:pt x="2728" y="3891"/>
                </a:lnTo>
                <a:lnTo>
                  <a:pt x="2731" y="3887"/>
                </a:lnTo>
                <a:lnTo>
                  <a:pt x="2735" y="3884"/>
                </a:lnTo>
                <a:lnTo>
                  <a:pt x="2741" y="3881"/>
                </a:lnTo>
                <a:lnTo>
                  <a:pt x="2747" y="3878"/>
                </a:lnTo>
                <a:lnTo>
                  <a:pt x="2753" y="3878"/>
                </a:lnTo>
                <a:lnTo>
                  <a:pt x="2762" y="3878"/>
                </a:lnTo>
                <a:lnTo>
                  <a:pt x="2769" y="3878"/>
                </a:lnTo>
                <a:lnTo>
                  <a:pt x="2777" y="3881"/>
                </a:lnTo>
                <a:lnTo>
                  <a:pt x="2784" y="3884"/>
                </a:lnTo>
                <a:lnTo>
                  <a:pt x="2792" y="3887"/>
                </a:lnTo>
                <a:lnTo>
                  <a:pt x="2799" y="3891"/>
                </a:lnTo>
                <a:lnTo>
                  <a:pt x="2802" y="3894"/>
                </a:lnTo>
                <a:lnTo>
                  <a:pt x="2805" y="3897"/>
                </a:lnTo>
                <a:lnTo>
                  <a:pt x="2808" y="3903"/>
                </a:lnTo>
                <a:lnTo>
                  <a:pt x="2809" y="3906"/>
                </a:lnTo>
                <a:lnTo>
                  <a:pt x="2809" y="3909"/>
                </a:lnTo>
                <a:lnTo>
                  <a:pt x="2809" y="4332"/>
                </a:lnTo>
                <a:close/>
                <a:moveTo>
                  <a:pt x="4321" y="4332"/>
                </a:moveTo>
                <a:lnTo>
                  <a:pt x="4252" y="4332"/>
                </a:lnTo>
                <a:lnTo>
                  <a:pt x="4252" y="3909"/>
                </a:lnTo>
                <a:lnTo>
                  <a:pt x="4252" y="3903"/>
                </a:lnTo>
                <a:lnTo>
                  <a:pt x="4253" y="3897"/>
                </a:lnTo>
                <a:lnTo>
                  <a:pt x="4256" y="3891"/>
                </a:lnTo>
                <a:lnTo>
                  <a:pt x="4260" y="3887"/>
                </a:lnTo>
                <a:lnTo>
                  <a:pt x="4265" y="3884"/>
                </a:lnTo>
                <a:lnTo>
                  <a:pt x="4269" y="3881"/>
                </a:lnTo>
                <a:lnTo>
                  <a:pt x="4275" y="3878"/>
                </a:lnTo>
                <a:lnTo>
                  <a:pt x="4281" y="3878"/>
                </a:lnTo>
                <a:lnTo>
                  <a:pt x="4291" y="3878"/>
                </a:lnTo>
                <a:lnTo>
                  <a:pt x="4297" y="3878"/>
                </a:lnTo>
                <a:lnTo>
                  <a:pt x="4303" y="3881"/>
                </a:lnTo>
                <a:lnTo>
                  <a:pt x="4308" y="3884"/>
                </a:lnTo>
                <a:lnTo>
                  <a:pt x="4312" y="3887"/>
                </a:lnTo>
                <a:lnTo>
                  <a:pt x="4316" y="3891"/>
                </a:lnTo>
                <a:lnTo>
                  <a:pt x="4319" y="3897"/>
                </a:lnTo>
                <a:lnTo>
                  <a:pt x="4321" y="3903"/>
                </a:lnTo>
                <a:lnTo>
                  <a:pt x="4321" y="3909"/>
                </a:lnTo>
                <a:lnTo>
                  <a:pt x="4321" y="4332"/>
                </a:lnTo>
                <a:close/>
                <a:moveTo>
                  <a:pt x="5339" y="4332"/>
                </a:moveTo>
                <a:lnTo>
                  <a:pt x="5183" y="4332"/>
                </a:lnTo>
                <a:lnTo>
                  <a:pt x="5183" y="3911"/>
                </a:lnTo>
                <a:lnTo>
                  <a:pt x="5183" y="3903"/>
                </a:lnTo>
                <a:lnTo>
                  <a:pt x="5186" y="3899"/>
                </a:lnTo>
                <a:lnTo>
                  <a:pt x="5189" y="3893"/>
                </a:lnTo>
                <a:lnTo>
                  <a:pt x="5192" y="3888"/>
                </a:lnTo>
                <a:lnTo>
                  <a:pt x="5196" y="3886"/>
                </a:lnTo>
                <a:lnTo>
                  <a:pt x="5202" y="3883"/>
                </a:lnTo>
                <a:lnTo>
                  <a:pt x="5207" y="3880"/>
                </a:lnTo>
                <a:lnTo>
                  <a:pt x="5214" y="3880"/>
                </a:lnTo>
                <a:lnTo>
                  <a:pt x="5308" y="3880"/>
                </a:lnTo>
                <a:lnTo>
                  <a:pt x="5314" y="3880"/>
                </a:lnTo>
                <a:lnTo>
                  <a:pt x="5320" y="3883"/>
                </a:lnTo>
                <a:lnTo>
                  <a:pt x="5325" y="3886"/>
                </a:lnTo>
                <a:lnTo>
                  <a:pt x="5331" y="3888"/>
                </a:lnTo>
                <a:lnTo>
                  <a:pt x="5334" y="3893"/>
                </a:lnTo>
                <a:lnTo>
                  <a:pt x="5337" y="3899"/>
                </a:lnTo>
                <a:lnTo>
                  <a:pt x="5338" y="3903"/>
                </a:lnTo>
                <a:lnTo>
                  <a:pt x="5339" y="3911"/>
                </a:lnTo>
                <a:lnTo>
                  <a:pt x="5339" y="4332"/>
                </a:lnTo>
                <a:close/>
                <a:moveTo>
                  <a:pt x="3956" y="0"/>
                </a:moveTo>
                <a:lnTo>
                  <a:pt x="4113" y="0"/>
                </a:lnTo>
                <a:lnTo>
                  <a:pt x="4113" y="423"/>
                </a:lnTo>
                <a:lnTo>
                  <a:pt x="4111" y="429"/>
                </a:lnTo>
                <a:lnTo>
                  <a:pt x="4110" y="435"/>
                </a:lnTo>
                <a:lnTo>
                  <a:pt x="4107" y="439"/>
                </a:lnTo>
                <a:lnTo>
                  <a:pt x="4104" y="444"/>
                </a:lnTo>
                <a:lnTo>
                  <a:pt x="4099" y="448"/>
                </a:lnTo>
                <a:lnTo>
                  <a:pt x="4094" y="451"/>
                </a:lnTo>
                <a:lnTo>
                  <a:pt x="4088" y="452"/>
                </a:lnTo>
                <a:lnTo>
                  <a:pt x="4082" y="452"/>
                </a:lnTo>
                <a:lnTo>
                  <a:pt x="3987" y="452"/>
                </a:lnTo>
                <a:lnTo>
                  <a:pt x="3981" y="452"/>
                </a:lnTo>
                <a:lnTo>
                  <a:pt x="3975" y="451"/>
                </a:lnTo>
                <a:lnTo>
                  <a:pt x="3970" y="448"/>
                </a:lnTo>
                <a:lnTo>
                  <a:pt x="3965" y="444"/>
                </a:lnTo>
                <a:lnTo>
                  <a:pt x="3962" y="439"/>
                </a:lnTo>
                <a:lnTo>
                  <a:pt x="3959" y="435"/>
                </a:lnTo>
                <a:lnTo>
                  <a:pt x="3958" y="429"/>
                </a:lnTo>
                <a:lnTo>
                  <a:pt x="3956" y="423"/>
                </a:lnTo>
                <a:lnTo>
                  <a:pt x="3956" y="0"/>
                </a:lnTo>
                <a:close/>
                <a:moveTo>
                  <a:pt x="2244" y="0"/>
                </a:moveTo>
                <a:lnTo>
                  <a:pt x="2315" y="0"/>
                </a:lnTo>
                <a:lnTo>
                  <a:pt x="2315" y="429"/>
                </a:lnTo>
                <a:lnTo>
                  <a:pt x="2313" y="435"/>
                </a:lnTo>
                <a:lnTo>
                  <a:pt x="2312" y="441"/>
                </a:lnTo>
                <a:lnTo>
                  <a:pt x="2309" y="447"/>
                </a:lnTo>
                <a:lnTo>
                  <a:pt x="2306" y="451"/>
                </a:lnTo>
                <a:lnTo>
                  <a:pt x="2301" y="454"/>
                </a:lnTo>
                <a:lnTo>
                  <a:pt x="2296" y="457"/>
                </a:lnTo>
                <a:lnTo>
                  <a:pt x="2290" y="458"/>
                </a:lnTo>
                <a:lnTo>
                  <a:pt x="2284" y="460"/>
                </a:lnTo>
                <a:lnTo>
                  <a:pt x="2275" y="460"/>
                </a:lnTo>
                <a:lnTo>
                  <a:pt x="2269" y="458"/>
                </a:lnTo>
                <a:lnTo>
                  <a:pt x="2263" y="457"/>
                </a:lnTo>
                <a:lnTo>
                  <a:pt x="2257" y="454"/>
                </a:lnTo>
                <a:lnTo>
                  <a:pt x="2253" y="451"/>
                </a:lnTo>
                <a:lnTo>
                  <a:pt x="2250" y="447"/>
                </a:lnTo>
                <a:lnTo>
                  <a:pt x="2247" y="441"/>
                </a:lnTo>
                <a:lnTo>
                  <a:pt x="2245" y="435"/>
                </a:lnTo>
                <a:lnTo>
                  <a:pt x="2244" y="429"/>
                </a:lnTo>
                <a:lnTo>
                  <a:pt x="2244" y="0"/>
                </a:lnTo>
                <a:close/>
                <a:moveTo>
                  <a:pt x="1953" y="0"/>
                </a:moveTo>
                <a:lnTo>
                  <a:pt x="2110" y="0"/>
                </a:lnTo>
                <a:lnTo>
                  <a:pt x="2110" y="429"/>
                </a:lnTo>
                <a:lnTo>
                  <a:pt x="2110" y="435"/>
                </a:lnTo>
                <a:lnTo>
                  <a:pt x="2107" y="441"/>
                </a:lnTo>
                <a:lnTo>
                  <a:pt x="2104" y="447"/>
                </a:lnTo>
                <a:lnTo>
                  <a:pt x="2101" y="451"/>
                </a:lnTo>
                <a:lnTo>
                  <a:pt x="2096" y="454"/>
                </a:lnTo>
                <a:lnTo>
                  <a:pt x="2090" y="457"/>
                </a:lnTo>
                <a:lnTo>
                  <a:pt x="2086" y="458"/>
                </a:lnTo>
                <a:lnTo>
                  <a:pt x="2079" y="460"/>
                </a:lnTo>
                <a:lnTo>
                  <a:pt x="1984" y="460"/>
                </a:lnTo>
                <a:lnTo>
                  <a:pt x="1978" y="458"/>
                </a:lnTo>
                <a:lnTo>
                  <a:pt x="1972" y="457"/>
                </a:lnTo>
                <a:lnTo>
                  <a:pt x="1968" y="454"/>
                </a:lnTo>
                <a:lnTo>
                  <a:pt x="1963" y="451"/>
                </a:lnTo>
                <a:lnTo>
                  <a:pt x="1959" y="447"/>
                </a:lnTo>
                <a:lnTo>
                  <a:pt x="1956" y="441"/>
                </a:lnTo>
                <a:lnTo>
                  <a:pt x="1955" y="435"/>
                </a:lnTo>
                <a:lnTo>
                  <a:pt x="1953" y="429"/>
                </a:lnTo>
                <a:lnTo>
                  <a:pt x="1953" y="0"/>
                </a:lnTo>
                <a:close/>
                <a:moveTo>
                  <a:pt x="871" y="0"/>
                </a:moveTo>
                <a:lnTo>
                  <a:pt x="980" y="0"/>
                </a:lnTo>
                <a:lnTo>
                  <a:pt x="980" y="429"/>
                </a:lnTo>
                <a:lnTo>
                  <a:pt x="979" y="435"/>
                </a:lnTo>
                <a:lnTo>
                  <a:pt x="977" y="441"/>
                </a:lnTo>
                <a:lnTo>
                  <a:pt x="974" y="447"/>
                </a:lnTo>
                <a:lnTo>
                  <a:pt x="971" y="451"/>
                </a:lnTo>
                <a:lnTo>
                  <a:pt x="967" y="454"/>
                </a:lnTo>
                <a:lnTo>
                  <a:pt x="961" y="457"/>
                </a:lnTo>
                <a:lnTo>
                  <a:pt x="955" y="458"/>
                </a:lnTo>
                <a:lnTo>
                  <a:pt x="949" y="460"/>
                </a:lnTo>
                <a:lnTo>
                  <a:pt x="900" y="460"/>
                </a:lnTo>
                <a:lnTo>
                  <a:pt x="895" y="458"/>
                </a:lnTo>
                <a:lnTo>
                  <a:pt x="889" y="457"/>
                </a:lnTo>
                <a:lnTo>
                  <a:pt x="884" y="454"/>
                </a:lnTo>
                <a:lnTo>
                  <a:pt x="880" y="451"/>
                </a:lnTo>
                <a:lnTo>
                  <a:pt x="875" y="447"/>
                </a:lnTo>
                <a:lnTo>
                  <a:pt x="872" y="441"/>
                </a:lnTo>
                <a:lnTo>
                  <a:pt x="871" y="435"/>
                </a:lnTo>
                <a:lnTo>
                  <a:pt x="871" y="429"/>
                </a:lnTo>
                <a:lnTo>
                  <a:pt x="871" y="0"/>
                </a:lnTo>
                <a:close/>
                <a:moveTo>
                  <a:pt x="0" y="0"/>
                </a:moveTo>
                <a:lnTo>
                  <a:pt x="71" y="0"/>
                </a:lnTo>
                <a:lnTo>
                  <a:pt x="71" y="429"/>
                </a:lnTo>
                <a:lnTo>
                  <a:pt x="69" y="435"/>
                </a:lnTo>
                <a:lnTo>
                  <a:pt x="68" y="441"/>
                </a:lnTo>
                <a:lnTo>
                  <a:pt x="65" y="447"/>
                </a:lnTo>
                <a:lnTo>
                  <a:pt x="62" y="451"/>
                </a:lnTo>
                <a:lnTo>
                  <a:pt x="58" y="454"/>
                </a:lnTo>
                <a:lnTo>
                  <a:pt x="52" y="457"/>
                </a:lnTo>
                <a:lnTo>
                  <a:pt x="46" y="458"/>
                </a:lnTo>
                <a:lnTo>
                  <a:pt x="40" y="460"/>
                </a:lnTo>
                <a:lnTo>
                  <a:pt x="31" y="460"/>
                </a:lnTo>
                <a:lnTo>
                  <a:pt x="25" y="458"/>
                </a:lnTo>
                <a:lnTo>
                  <a:pt x="19" y="457"/>
                </a:lnTo>
                <a:lnTo>
                  <a:pt x="13" y="454"/>
                </a:lnTo>
                <a:lnTo>
                  <a:pt x="9" y="451"/>
                </a:lnTo>
                <a:lnTo>
                  <a:pt x="6" y="447"/>
                </a:lnTo>
                <a:lnTo>
                  <a:pt x="3" y="441"/>
                </a:lnTo>
                <a:lnTo>
                  <a:pt x="1" y="435"/>
                </a:lnTo>
                <a:lnTo>
                  <a:pt x="0" y="429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1" name="Freeform 9">
            <a:extLst>
              <a:ext uri="{FF2B5EF4-FFF2-40B4-BE49-F238E27FC236}">
                <a16:creationId xmlns:a16="http://schemas.microsoft.com/office/drawing/2014/main" id="{9DBC4F97-53B9-4D70-B9D4-FD87AA01DB16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07368" y="404664"/>
            <a:ext cx="648000" cy="723297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chemeClr val="accent2"/>
              </a:solidFill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4115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Blu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1A2CEA1E-4D6F-49D4-B531-FF842BA6D2B2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RIA - RKL yrittäjäpäivä 1.11.202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E4F9C910-C7DF-4A1E-B118-79FC2962235C}"/>
              </a:ext>
            </a:extLst>
          </p:cNvPr>
          <p:cNvSpPr>
            <a:spLocks noEditPoints="1"/>
          </p:cNvSpPr>
          <p:nvPr userDrawn="1"/>
        </p:nvSpPr>
        <p:spPr bwMode="auto">
          <a:xfrm flipH="1">
            <a:off x="3739815" y="0"/>
            <a:ext cx="8452185" cy="6858000"/>
          </a:xfrm>
          <a:custGeom>
            <a:avLst/>
            <a:gdLst>
              <a:gd name="T0" fmla="*/ 3840 w 5339"/>
              <a:gd name="T1" fmla="*/ 2225 h 4332"/>
              <a:gd name="T2" fmla="*/ 3809 w 5339"/>
              <a:gd name="T3" fmla="*/ 3825 h 4332"/>
              <a:gd name="T4" fmla="*/ 3729 w 5339"/>
              <a:gd name="T5" fmla="*/ 3009 h 4332"/>
              <a:gd name="T6" fmla="*/ 31 w 5339"/>
              <a:gd name="T7" fmla="*/ 3825 h 4332"/>
              <a:gd name="T8" fmla="*/ 0 w 5339"/>
              <a:gd name="T9" fmla="*/ 2225 h 4332"/>
              <a:gd name="T10" fmla="*/ 46 w 5339"/>
              <a:gd name="T11" fmla="*/ 2196 h 4332"/>
              <a:gd name="T12" fmla="*/ 69 w 5339"/>
              <a:gd name="T13" fmla="*/ 3800 h 4332"/>
              <a:gd name="T14" fmla="*/ 2282 w 5339"/>
              <a:gd name="T15" fmla="*/ 2194 h 4332"/>
              <a:gd name="T16" fmla="*/ 2313 w 5339"/>
              <a:gd name="T17" fmla="*/ 3794 h 4332"/>
              <a:gd name="T18" fmla="*/ 2180 w 5339"/>
              <a:gd name="T19" fmla="*/ 3824 h 4332"/>
              <a:gd name="T20" fmla="*/ 2157 w 5339"/>
              <a:gd name="T21" fmla="*/ 2219 h 4332"/>
              <a:gd name="T22" fmla="*/ 812 w 5339"/>
              <a:gd name="T23" fmla="*/ 2196 h 4332"/>
              <a:gd name="T24" fmla="*/ 836 w 5339"/>
              <a:gd name="T25" fmla="*/ 3800 h 4332"/>
              <a:gd name="T26" fmla="*/ 698 w 5339"/>
              <a:gd name="T27" fmla="*/ 3822 h 4332"/>
              <a:gd name="T28" fmla="*/ 682 w 5339"/>
              <a:gd name="T29" fmla="*/ 2213 h 4332"/>
              <a:gd name="T30" fmla="*/ 1909 w 5339"/>
              <a:gd name="T31" fmla="*/ 2197 h 4332"/>
              <a:gd name="T32" fmla="*/ 1925 w 5339"/>
              <a:gd name="T33" fmla="*/ 3806 h 4332"/>
              <a:gd name="T34" fmla="*/ 1870 w 5339"/>
              <a:gd name="T35" fmla="*/ 3819 h 4332"/>
              <a:gd name="T36" fmla="*/ 1862 w 5339"/>
              <a:gd name="T37" fmla="*/ 2209 h 4332"/>
              <a:gd name="T38" fmla="*/ 3471 w 5339"/>
              <a:gd name="T39" fmla="*/ 516 h 4332"/>
              <a:gd name="T40" fmla="*/ 3479 w 5339"/>
              <a:gd name="T41" fmla="*/ 2128 h 4332"/>
              <a:gd name="T42" fmla="*/ 3338 w 5339"/>
              <a:gd name="T43" fmla="*/ 2132 h 4332"/>
              <a:gd name="T44" fmla="*/ 3338 w 5339"/>
              <a:gd name="T45" fmla="*/ 519 h 4332"/>
              <a:gd name="T46" fmla="*/ 4569 w 5339"/>
              <a:gd name="T47" fmla="*/ 519 h 4332"/>
              <a:gd name="T48" fmla="*/ 4569 w 5339"/>
              <a:gd name="T49" fmla="*/ 2132 h 4332"/>
              <a:gd name="T50" fmla="*/ 4513 w 5339"/>
              <a:gd name="T51" fmla="*/ 2128 h 4332"/>
              <a:gd name="T52" fmla="*/ 4520 w 5339"/>
              <a:gd name="T53" fmla="*/ 516 h 4332"/>
              <a:gd name="T54" fmla="*/ 2803 w 5339"/>
              <a:gd name="T55" fmla="*/ 523 h 4332"/>
              <a:gd name="T56" fmla="*/ 2796 w 5339"/>
              <a:gd name="T57" fmla="*/ 2135 h 4332"/>
              <a:gd name="T58" fmla="*/ 2741 w 5339"/>
              <a:gd name="T59" fmla="*/ 2122 h 4332"/>
              <a:gd name="T60" fmla="*/ 2758 w 5339"/>
              <a:gd name="T61" fmla="*/ 513 h 4332"/>
              <a:gd name="T62" fmla="*/ 400 w 5339"/>
              <a:gd name="T63" fmla="*/ 2122 h 4332"/>
              <a:gd name="T64" fmla="*/ 416 w 5339"/>
              <a:gd name="T65" fmla="*/ 513 h 4332"/>
              <a:gd name="T66" fmla="*/ 554 w 5339"/>
              <a:gd name="T67" fmla="*/ 535 h 4332"/>
              <a:gd name="T68" fmla="*/ 530 w 5339"/>
              <a:gd name="T69" fmla="*/ 2140 h 4332"/>
              <a:gd name="T70" fmla="*/ 1168 w 5339"/>
              <a:gd name="T71" fmla="*/ 2116 h 4332"/>
              <a:gd name="T72" fmla="*/ 1191 w 5339"/>
              <a:gd name="T73" fmla="*/ 511 h 4332"/>
              <a:gd name="T74" fmla="*/ 1237 w 5339"/>
              <a:gd name="T75" fmla="*/ 541 h 4332"/>
              <a:gd name="T76" fmla="*/ 1206 w 5339"/>
              <a:gd name="T77" fmla="*/ 2141 h 4332"/>
              <a:gd name="T78" fmla="*/ 354 w 5339"/>
              <a:gd name="T79" fmla="*/ 3872 h 4332"/>
              <a:gd name="T80" fmla="*/ 440 w 5339"/>
              <a:gd name="T81" fmla="*/ 3902 h 4332"/>
              <a:gd name="T82" fmla="*/ 1569 w 5339"/>
              <a:gd name="T83" fmla="*/ 3881 h 4332"/>
              <a:gd name="T84" fmla="*/ 1707 w 5339"/>
              <a:gd name="T85" fmla="*/ 3903 h 4332"/>
              <a:gd name="T86" fmla="*/ 2735 w 5339"/>
              <a:gd name="T87" fmla="*/ 3884 h 4332"/>
              <a:gd name="T88" fmla="*/ 2802 w 5339"/>
              <a:gd name="T89" fmla="*/ 3894 h 4332"/>
              <a:gd name="T90" fmla="*/ 4253 w 5339"/>
              <a:gd name="T91" fmla="*/ 3897 h 4332"/>
              <a:gd name="T92" fmla="*/ 4308 w 5339"/>
              <a:gd name="T93" fmla="*/ 3884 h 4332"/>
              <a:gd name="T94" fmla="*/ 5183 w 5339"/>
              <a:gd name="T95" fmla="*/ 3903 h 4332"/>
              <a:gd name="T96" fmla="*/ 5320 w 5339"/>
              <a:gd name="T97" fmla="*/ 3883 h 4332"/>
              <a:gd name="T98" fmla="*/ 4113 w 5339"/>
              <a:gd name="T99" fmla="*/ 423 h 4332"/>
              <a:gd name="T100" fmla="*/ 3981 w 5339"/>
              <a:gd name="T101" fmla="*/ 452 h 4332"/>
              <a:gd name="T102" fmla="*/ 2315 w 5339"/>
              <a:gd name="T103" fmla="*/ 0 h 4332"/>
              <a:gd name="T104" fmla="*/ 2275 w 5339"/>
              <a:gd name="T105" fmla="*/ 460 h 4332"/>
              <a:gd name="T106" fmla="*/ 1953 w 5339"/>
              <a:gd name="T107" fmla="*/ 0 h 4332"/>
              <a:gd name="T108" fmla="*/ 2079 w 5339"/>
              <a:gd name="T109" fmla="*/ 460 h 4332"/>
              <a:gd name="T110" fmla="*/ 1953 w 5339"/>
              <a:gd name="T111" fmla="*/ 0 h 4332"/>
              <a:gd name="T112" fmla="*/ 955 w 5339"/>
              <a:gd name="T113" fmla="*/ 458 h 4332"/>
              <a:gd name="T114" fmla="*/ 871 w 5339"/>
              <a:gd name="T115" fmla="*/ 429 h 4332"/>
              <a:gd name="T116" fmla="*/ 52 w 5339"/>
              <a:gd name="T117" fmla="*/ 457 h 4332"/>
              <a:gd name="T118" fmla="*/ 1 w 5339"/>
              <a:gd name="T119" fmla="*/ 435 h 43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339" h="4332">
                <a:moveTo>
                  <a:pt x="3760" y="2194"/>
                </a:moveTo>
                <a:lnTo>
                  <a:pt x="3809" y="2194"/>
                </a:lnTo>
                <a:lnTo>
                  <a:pt x="3815" y="2196"/>
                </a:lnTo>
                <a:lnTo>
                  <a:pt x="3820" y="2197"/>
                </a:lnTo>
                <a:lnTo>
                  <a:pt x="3825" y="2200"/>
                </a:lnTo>
                <a:lnTo>
                  <a:pt x="3831" y="2203"/>
                </a:lnTo>
                <a:lnTo>
                  <a:pt x="3834" y="2209"/>
                </a:lnTo>
                <a:lnTo>
                  <a:pt x="3837" y="2213"/>
                </a:lnTo>
                <a:lnTo>
                  <a:pt x="3838" y="2219"/>
                </a:lnTo>
                <a:lnTo>
                  <a:pt x="3840" y="2225"/>
                </a:lnTo>
                <a:lnTo>
                  <a:pt x="3840" y="3009"/>
                </a:lnTo>
                <a:lnTo>
                  <a:pt x="3840" y="3794"/>
                </a:lnTo>
                <a:lnTo>
                  <a:pt x="3838" y="3800"/>
                </a:lnTo>
                <a:lnTo>
                  <a:pt x="3837" y="3806"/>
                </a:lnTo>
                <a:lnTo>
                  <a:pt x="3834" y="3812"/>
                </a:lnTo>
                <a:lnTo>
                  <a:pt x="3831" y="3816"/>
                </a:lnTo>
                <a:lnTo>
                  <a:pt x="3825" y="3819"/>
                </a:lnTo>
                <a:lnTo>
                  <a:pt x="3820" y="3822"/>
                </a:lnTo>
                <a:lnTo>
                  <a:pt x="3815" y="3824"/>
                </a:lnTo>
                <a:lnTo>
                  <a:pt x="3809" y="3825"/>
                </a:lnTo>
                <a:lnTo>
                  <a:pt x="3760" y="3825"/>
                </a:lnTo>
                <a:lnTo>
                  <a:pt x="3754" y="3824"/>
                </a:lnTo>
                <a:lnTo>
                  <a:pt x="3748" y="3822"/>
                </a:lnTo>
                <a:lnTo>
                  <a:pt x="3742" y="3819"/>
                </a:lnTo>
                <a:lnTo>
                  <a:pt x="3738" y="3816"/>
                </a:lnTo>
                <a:lnTo>
                  <a:pt x="3735" y="3812"/>
                </a:lnTo>
                <a:lnTo>
                  <a:pt x="3732" y="3806"/>
                </a:lnTo>
                <a:lnTo>
                  <a:pt x="3730" y="3800"/>
                </a:lnTo>
                <a:lnTo>
                  <a:pt x="3729" y="3794"/>
                </a:lnTo>
                <a:lnTo>
                  <a:pt x="3729" y="3009"/>
                </a:lnTo>
                <a:lnTo>
                  <a:pt x="3729" y="2225"/>
                </a:lnTo>
                <a:lnTo>
                  <a:pt x="3730" y="2219"/>
                </a:lnTo>
                <a:lnTo>
                  <a:pt x="3732" y="2213"/>
                </a:lnTo>
                <a:lnTo>
                  <a:pt x="3735" y="2209"/>
                </a:lnTo>
                <a:lnTo>
                  <a:pt x="3738" y="2203"/>
                </a:lnTo>
                <a:lnTo>
                  <a:pt x="3742" y="2200"/>
                </a:lnTo>
                <a:lnTo>
                  <a:pt x="3748" y="2197"/>
                </a:lnTo>
                <a:lnTo>
                  <a:pt x="3754" y="2196"/>
                </a:lnTo>
                <a:lnTo>
                  <a:pt x="3760" y="2194"/>
                </a:lnTo>
                <a:close/>
                <a:moveTo>
                  <a:pt x="31" y="3825"/>
                </a:moveTo>
                <a:lnTo>
                  <a:pt x="25" y="3824"/>
                </a:lnTo>
                <a:lnTo>
                  <a:pt x="19" y="3822"/>
                </a:lnTo>
                <a:lnTo>
                  <a:pt x="13" y="3819"/>
                </a:lnTo>
                <a:lnTo>
                  <a:pt x="9" y="3816"/>
                </a:lnTo>
                <a:lnTo>
                  <a:pt x="6" y="3812"/>
                </a:lnTo>
                <a:lnTo>
                  <a:pt x="3" y="3806"/>
                </a:lnTo>
                <a:lnTo>
                  <a:pt x="1" y="3800"/>
                </a:lnTo>
                <a:lnTo>
                  <a:pt x="0" y="3794"/>
                </a:lnTo>
                <a:lnTo>
                  <a:pt x="0" y="3009"/>
                </a:lnTo>
                <a:lnTo>
                  <a:pt x="0" y="2225"/>
                </a:lnTo>
                <a:lnTo>
                  <a:pt x="1" y="2219"/>
                </a:lnTo>
                <a:lnTo>
                  <a:pt x="3" y="2213"/>
                </a:lnTo>
                <a:lnTo>
                  <a:pt x="6" y="2209"/>
                </a:lnTo>
                <a:lnTo>
                  <a:pt x="9" y="2203"/>
                </a:lnTo>
                <a:lnTo>
                  <a:pt x="13" y="2200"/>
                </a:lnTo>
                <a:lnTo>
                  <a:pt x="19" y="2197"/>
                </a:lnTo>
                <a:lnTo>
                  <a:pt x="25" y="2196"/>
                </a:lnTo>
                <a:lnTo>
                  <a:pt x="31" y="2194"/>
                </a:lnTo>
                <a:lnTo>
                  <a:pt x="40" y="2194"/>
                </a:lnTo>
                <a:lnTo>
                  <a:pt x="46" y="2196"/>
                </a:lnTo>
                <a:lnTo>
                  <a:pt x="52" y="2197"/>
                </a:lnTo>
                <a:lnTo>
                  <a:pt x="58" y="2200"/>
                </a:lnTo>
                <a:lnTo>
                  <a:pt x="62" y="2203"/>
                </a:lnTo>
                <a:lnTo>
                  <a:pt x="65" y="2209"/>
                </a:lnTo>
                <a:lnTo>
                  <a:pt x="68" y="2213"/>
                </a:lnTo>
                <a:lnTo>
                  <a:pt x="69" y="2219"/>
                </a:lnTo>
                <a:lnTo>
                  <a:pt x="71" y="2225"/>
                </a:lnTo>
                <a:lnTo>
                  <a:pt x="71" y="3009"/>
                </a:lnTo>
                <a:lnTo>
                  <a:pt x="71" y="3794"/>
                </a:lnTo>
                <a:lnTo>
                  <a:pt x="69" y="3800"/>
                </a:lnTo>
                <a:lnTo>
                  <a:pt x="68" y="3806"/>
                </a:lnTo>
                <a:lnTo>
                  <a:pt x="65" y="3812"/>
                </a:lnTo>
                <a:lnTo>
                  <a:pt x="62" y="3816"/>
                </a:lnTo>
                <a:lnTo>
                  <a:pt x="58" y="3819"/>
                </a:lnTo>
                <a:lnTo>
                  <a:pt x="52" y="3822"/>
                </a:lnTo>
                <a:lnTo>
                  <a:pt x="46" y="3824"/>
                </a:lnTo>
                <a:lnTo>
                  <a:pt x="40" y="3825"/>
                </a:lnTo>
                <a:lnTo>
                  <a:pt x="31" y="3825"/>
                </a:lnTo>
                <a:close/>
                <a:moveTo>
                  <a:pt x="2188" y="2194"/>
                </a:moveTo>
                <a:lnTo>
                  <a:pt x="2282" y="2194"/>
                </a:lnTo>
                <a:lnTo>
                  <a:pt x="2288" y="2196"/>
                </a:lnTo>
                <a:lnTo>
                  <a:pt x="2294" y="2197"/>
                </a:lnTo>
                <a:lnTo>
                  <a:pt x="2298" y="2200"/>
                </a:lnTo>
                <a:lnTo>
                  <a:pt x="2304" y="2203"/>
                </a:lnTo>
                <a:lnTo>
                  <a:pt x="2307" y="2209"/>
                </a:lnTo>
                <a:lnTo>
                  <a:pt x="2310" y="2213"/>
                </a:lnTo>
                <a:lnTo>
                  <a:pt x="2312" y="2219"/>
                </a:lnTo>
                <a:lnTo>
                  <a:pt x="2313" y="2225"/>
                </a:lnTo>
                <a:lnTo>
                  <a:pt x="2313" y="3009"/>
                </a:lnTo>
                <a:lnTo>
                  <a:pt x="2313" y="3794"/>
                </a:lnTo>
                <a:lnTo>
                  <a:pt x="2312" y="3800"/>
                </a:lnTo>
                <a:lnTo>
                  <a:pt x="2310" y="3806"/>
                </a:lnTo>
                <a:lnTo>
                  <a:pt x="2307" y="3812"/>
                </a:lnTo>
                <a:lnTo>
                  <a:pt x="2304" y="3816"/>
                </a:lnTo>
                <a:lnTo>
                  <a:pt x="2298" y="3819"/>
                </a:lnTo>
                <a:lnTo>
                  <a:pt x="2294" y="3822"/>
                </a:lnTo>
                <a:lnTo>
                  <a:pt x="2288" y="3824"/>
                </a:lnTo>
                <a:lnTo>
                  <a:pt x="2282" y="3825"/>
                </a:lnTo>
                <a:lnTo>
                  <a:pt x="2188" y="3825"/>
                </a:lnTo>
                <a:lnTo>
                  <a:pt x="2180" y="3824"/>
                </a:lnTo>
                <a:lnTo>
                  <a:pt x="2176" y="3822"/>
                </a:lnTo>
                <a:lnTo>
                  <a:pt x="2170" y="3819"/>
                </a:lnTo>
                <a:lnTo>
                  <a:pt x="2166" y="3816"/>
                </a:lnTo>
                <a:lnTo>
                  <a:pt x="2163" y="3812"/>
                </a:lnTo>
                <a:lnTo>
                  <a:pt x="2160" y="3806"/>
                </a:lnTo>
                <a:lnTo>
                  <a:pt x="2157" y="3800"/>
                </a:lnTo>
                <a:lnTo>
                  <a:pt x="2157" y="3794"/>
                </a:lnTo>
                <a:lnTo>
                  <a:pt x="2157" y="3009"/>
                </a:lnTo>
                <a:lnTo>
                  <a:pt x="2157" y="2225"/>
                </a:lnTo>
                <a:lnTo>
                  <a:pt x="2157" y="2219"/>
                </a:lnTo>
                <a:lnTo>
                  <a:pt x="2160" y="2213"/>
                </a:lnTo>
                <a:lnTo>
                  <a:pt x="2163" y="2209"/>
                </a:lnTo>
                <a:lnTo>
                  <a:pt x="2166" y="2203"/>
                </a:lnTo>
                <a:lnTo>
                  <a:pt x="2170" y="2200"/>
                </a:lnTo>
                <a:lnTo>
                  <a:pt x="2176" y="2197"/>
                </a:lnTo>
                <a:lnTo>
                  <a:pt x="2180" y="2196"/>
                </a:lnTo>
                <a:lnTo>
                  <a:pt x="2188" y="2194"/>
                </a:lnTo>
                <a:close/>
                <a:moveTo>
                  <a:pt x="710" y="2194"/>
                </a:moveTo>
                <a:lnTo>
                  <a:pt x="805" y="2194"/>
                </a:lnTo>
                <a:lnTo>
                  <a:pt x="812" y="2196"/>
                </a:lnTo>
                <a:lnTo>
                  <a:pt x="816" y="2197"/>
                </a:lnTo>
                <a:lnTo>
                  <a:pt x="822" y="2200"/>
                </a:lnTo>
                <a:lnTo>
                  <a:pt x="827" y="2203"/>
                </a:lnTo>
                <a:lnTo>
                  <a:pt x="830" y="2209"/>
                </a:lnTo>
                <a:lnTo>
                  <a:pt x="833" y="2213"/>
                </a:lnTo>
                <a:lnTo>
                  <a:pt x="836" y="2219"/>
                </a:lnTo>
                <a:lnTo>
                  <a:pt x="836" y="2225"/>
                </a:lnTo>
                <a:lnTo>
                  <a:pt x="836" y="3009"/>
                </a:lnTo>
                <a:lnTo>
                  <a:pt x="836" y="3794"/>
                </a:lnTo>
                <a:lnTo>
                  <a:pt x="836" y="3800"/>
                </a:lnTo>
                <a:lnTo>
                  <a:pt x="833" y="3806"/>
                </a:lnTo>
                <a:lnTo>
                  <a:pt x="830" y="3812"/>
                </a:lnTo>
                <a:lnTo>
                  <a:pt x="827" y="3816"/>
                </a:lnTo>
                <a:lnTo>
                  <a:pt x="822" y="3819"/>
                </a:lnTo>
                <a:lnTo>
                  <a:pt x="816" y="3822"/>
                </a:lnTo>
                <a:lnTo>
                  <a:pt x="812" y="3824"/>
                </a:lnTo>
                <a:lnTo>
                  <a:pt x="805" y="3825"/>
                </a:lnTo>
                <a:lnTo>
                  <a:pt x="710" y="3825"/>
                </a:lnTo>
                <a:lnTo>
                  <a:pt x="704" y="3824"/>
                </a:lnTo>
                <a:lnTo>
                  <a:pt x="698" y="3822"/>
                </a:lnTo>
                <a:lnTo>
                  <a:pt x="694" y="3819"/>
                </a:lnTo>
                <a:lnTo>
                  <a:pt x="688" y="3816"/>
                </a:lnTo>
                <a:lnTo>
                  <a:pt x="685" y="3812"/>
                </a:lnTo>
                <a:lnTo>
                  <a:pt x="682" y="3806"/>
                </a:lnTo>
                <a:lnTo>
                  <a:pt x="681" y="3800"/>
                </a:lnTo>
                <a:lnTo>
                  <a:pt x="679" y="3794"/>
                </a:lnTo>
                <a:lnTo>
                  <a:pt x="679" y="3009"/>
                </a:lnTo>
                <a:lnTo>
                  <a:pt x="679" y="2225"/>
                </a:lnTo>
                <a:lnTo>
                  <a:pt x="681" y="2219"/>
                </a:lnTo>
                <a:lnTo>
                  <a:pt x="682" y="2213"/>
                </a:lnTo>
                <a:lnTo>
                  <a:pt x="685" y="2209"/>
                </a:lnTo>
                <a:lnTo>
                  <a:pt x="688" y="2203"/>
                </a:lnTo>
                <a:lnTo>
                  <a:pt x="694" y="2200"/>
                </a:lnTo>
                <a:lnTo>
                  <a:pt x="698" y="2197"/>
                </a:lnTo>
                <a:lnTo>
                  <a:pt x="704" y="2196"/>
                </a:lnTo>
                <a:lnTo>
                  <a:pt x="710" y="2194"/>
                </a:lnTo>
                <a:close/>
                <a:moveTo>
                  <a:pt x="1887" y="2194"/>
                </a:moveTo>
                <a:lnTo>
                  <a:pt x="1897" y="2194"/>
                </a:lnTo>
                <a:lnTo>
                  <a:pt x="1903" y="2196"/>
                </a:lnTo>
                <a:lnTo>
                  <a:pt x="1909" y="2197"/>
                </a:lnTo>
                <a:lnTo>
                  <a:pt x="1913" y="2200"/>
                </a:lnTo>
                <a:lnTo>
                  <a:pt x="1918" y="2203"/>
                </a:lnTo>
                <a:lnTo>
                  <a:pt x="1922" y="2209"/>
                </a:lnTo>
                <a:lnTo>
                  <a:pt x="1925" y="2213"/>
                </a:lnTo>
                <a:lnTo>
                  <a:pt x="1926" y="2219"/>
                </a:lnTo>
                <a:lnTo>
                  <a:pt x="1926" y="2225"/>
                </a:lnTo>
                <a:lnTo>
                  <a:pt x="1926" y="3009"/>
                </a:lnTo>
                <a:lnTo>
                  <a:pt x="1926" y="3794"/>
                </a:lnTo>
                <a:lnTo>
                  <a:pt x="1926" y="3800"/>
                </a:lnTo>
                <a:lnTo>
                  <a:pt x="1925" y="3806"/>
                </a:lnTo>
                <a:lnTo>
                  <a:pt x="1922" y="3812"/>
                </a:lnTo>
                <a:lnTo>
                  <a:pt x="1918" y="3816"/>
                </a:lnTo>
                <a:lnTo>
                  <a:pt x="1913" y="3819"/>
                </a:lnTo>
                <a:lnTo>
                  <a:pt x="1909" y="3822"/>
                </a:lnTo>
                <a:lnTo>
                  <a:pt x="1903" y="3824"/>
                </a:lnTo>
                <a:lnTo>
                  <a:pt x="1897" y="3825"/>
                </a:lnTo>
                <a:lnTo>
                  <a:pt x="1887" y="3825"/>
                </a:lnTo>
                <a:lnTo>
                  <a:pt x="1881" y="3824"/>
                </a:lnTo>
                <a:lnTo>
                  <a:pt x="1875" y="3822"/>
                </a:lnTo>
                <a:lnTo>
                  <a:pt x="1870" y="3819"/>
                </a:lnTo>
                <a:lnTo>
                  <a:pt x="1866" y="3816"/>
                </a:lnTo>
                <a:lnTo>
                  <a:pt x="1862" y="3812"/>
                </a:lnTo>
                <a:lnTo>
                  <a:pt x="1860" y="3806"/>
                </a:lnTo>
                <a:lnTo>
                  <a:pt x="1857" y="3800"/>
                </a:lnTo>
                <a:lnTo>
                  <a:pt x="1857" y="3794"/>
                </a:lnTo>
                <a:lnTo>
                  <a:pt x="1857" y="3009"/>
                </a:lnTo>
                <a:lnTo>
                  <a:pt x="1857" y="2225"/>
                </a:lnTo>
                <a:lnTo>
                  <a:pt x="1857" y="2219"/>
                </a:lnTo>
                <a:lnTo>
                  <a:pt x="1860" y="2213"/>
                </a:lnTo>
                <a:lnTo>
                  <a:pt x="1862" y="2209"/>
                </a:lnTo>
                <a:lnTo>
                  <a:pt x="1866" y="2203"/>
                </a:lnTo>
                <a:lnTo>
                  <a:pt x="1870" y="2200"/>
                </a:lnTo>
                <a:lnTo>
                  <a:pt x="1875" y="2197"/>
                </a:lnTo>
                <a:lnTo>
                  <a:pt x="1881" y="2196"/>
                </a:lnTo>
                <a:lnTo>
                  <a:pt x="1887" y="2194"/>
                </a:lnTo>
                <a:close/>
                <a:moveTo>
                  <a:pt x="3358" y="510"/>
                </a:moveTo>
                <a:lnTo>
                  <a:pt x="3453" y="510"/>
                </a:lnTo>
                <a:lnTo>
                  <a:pt x="3460" y="511"/>
                </a:lnTo>
                <a:lnTo>
                  <a:pt x="3466" y="513"/>
                </a:lnTo>
                <a:lnTo>
                  <a:pt x="3471" y="516"/>
                </a:lnTo>
                <a:lnTo>
                  <a:pt x="3475" y="519"/>
                </a:lnTo>
                <a:lnTo>
                  <a:pt x="3479" y="523"/>
                </a:lnTo>
                <a:lnTo>
                  <a:pt x="3481" y="529"/>
                </a:lnTo>
                <a:lnTo>
                  <a:pt x="3484" y="535"/>
                </a:lnTo>
                <a:lnTo>
                  <a:pt x="3484" y="541"/>
                </a:lnTo>
                <a:lnTo>
                  <a:pt x="3484" y="1325"/>
                </a:lnTo>
                <a:lnTo>
                  <a:pt x="3484" y="2110"/>
                </a:lnTo>
                <a:lnTo>
                  <a:pt x="3484" y="2116"/>
                </a:lnTo>
                <a:lnTo>
                  <a:pt x="3481" y="2122"/>
                </a:lnTo>
                <a:lnTo>
                  <a:pt x="3479" y="2128"/>
                </a:lnTo>
                <a:lnTo>
                  <a:pt x="3475" y="2132"/>
                </a:lnTo>
                <a:lnTo>
                  <a:pt x="3471" y="2135"/>
                </a:lnTo>
                <a:lnTo>
                  <a:pt x="3466" y="2138"/>
                </a:lnTo>
                <a:lnTo>
                  <a:pt x="3460" y="2140"/>
                </a:lnTo>
                <a:lnTo>
                  <a:pt x="3453" y="2141"/>
                </a:lnTo>
                <a:lnTo>
                  <a:pt x="3358" y="2141"/>
                </a:lnTo>
                <a:lnTo>
                  <a:pt x="3352" y="2140"/>
                </a:lnTo>
                <a:lnTo>
                  <a:pt x="3347" y="2138"/>
                </a:lnTo>
                <a:lnTo>
                  <a:pt x="3342" y="2135"/>
                </a:lnTo>
                <a:lnTo>
                  <a:pt x="3338" y="2132"/>
                </a:lnTo>
                <a:lnTo>
                  <a:pt x="3333" y="2128"/>
                </a:lnTo>
                <a:lnTo>
                  <a:pt x="3330" y="2122"/>
                </a:lnTo>
                <a:lnTo>
                  <a:pt x="3329" y="2116"/>
                </a:lnTo>
                <a:lnTo>
                  <a:pt x="3329" y="2110"/>
                </a:lnTo>
                <a:lnTo>
                  <a:pt x="3329" y="1325"/>
                </a:lnTo>
                <a:lnTo>
                  <a:pt x="3329" y="541"/>
                </a:lnTo>
                <a:lnTo>
                  <a:pt x="3329" y="535"/>
                </a:lnTo>
                <a:lnTo>
                  <a:pt x="3330" y="529"/>
                </a:lnTo>
                <a:lnTo>
                  <a:pt x="3333" y="523"/>
                </a:lnTo>
                <a:lnTo>
                  <a:pt x="3338" y="519"/>
                </a:lnTo>
                <a:lnTo>
                  <a:pt x="3342" y="516"/>
                </a:lnTo>
                <a:lnTo>
                  <a:pt x="3347" y="513"/>
                </a:lnTo>
                <a:lnTo>
                  <a:pt x="3352" y="511"/>
                </a:lnTo>
                <a:lnTo>
                  <a:pt x="3358" y="510"/>
                </a:lnTo>
                <a:close/>
                <a:moveTo>
                  <a:pt x="4538" y="510"/>
                </a:moveTo>
                <a:lnTo>
                  <a:pt x="4547" y="510"/>
                </a:lnTo>
                <a:lnTo>
                  <a:pt x="4553" y="511"/>
                </a:lnTo>
                <a:lnTo>
                  <a:pt x="4559" y="513"/>
                </a:lnTo>
                <a:lnTo>
                  <a:pt x="4564" y="516"/>
                </a:lnTo>
                <a:lnTo>
                  <a:pt x="4569" y="519"/>
                </a:lnTo>
                <a:lnTo>
                  <a:pt x="4572" y="523"/>
                </a:lnTo>
                <a:lnTo>
                  <a:pt x="4575" y="529"/>
                </a:lnTo>
                <a:lnTo>
                  <a:pt x="4576" y="535"/>
                </a:lnTo>
                <a:lnTo>
                  <a:pt x="4578" y="541"/>
                </a:lnTo>
                <a:lnTo>
                  <a:pt x="4578" y="1325"/>
                </a:lnTo>
                <a:lnTo>
                  <a:pt x="4578" y="2110"/>
                </a:lnTo>
                <a:lnTo>
                  <a:pt x="4576" y="2116"/>
                </a:lnTo>
                <a:lnTo>
                  <a:pt x="4575" y="2122"/>
                </a:lnTo>
                <a:lnTo>
                  <a:pt x="4572" y="2128"/>
                </a:lnTo>
                <a:lnTo>
                  <a:pt x="4569" y="2132"/>
                </a:lnTo>
                <a:lnTo>
                  <a:pt x="4564" y="2135"/>
                </a:lnTo>
                <a:lnTo>
                  <a:pt x="4559" y="2138"/>
                </a:lnTo>
                <a:lnTo>
                  <a:pt x="4553" y="2140"/>
                </a:lnTo>
                <a:lnTo>
                  <a:pt x="4547" y="2141"/>
                </a:lnTo>
                <a:lnTo>
                  <a:pt x="4538" y="2141"/>
                </a:lnTo>
                <a:lnTo>
                  <a:pt x="4532" y="2140"/>
                </a:lnTo>
                <a:lnTo>
                  <a:pt x="4526" y="2138"/>
                </a:lnTo>
                <a:lnTo>
                  <a:pt x="4520" y="2135"/>
                </a:lnTo>
                <a:lnTo>
                  <a:pt x="4516" y="2132"/>
                </a:lnTo>
                <a:lnTo>
                  <a:pt x="4513" y="2128"/>
                </a:lnTo>
                <a:lnTo>
                  <a:pt x="4510" y="2122"/>
                </a:lnTo>
                <a:lnTo>
                  <a:pt x="4508" y="2116"/>
                </a:lnTo>
                <a:lnTo>
                  <a:pt x="4507" y="2110"/>
                </a:lnTo>
                <a:lnTo>
                  <a:pt x="4507" y="1325"/>
                </a:lnTo>
                <a:lnTo>
                  <a:pt x="4507" y="541"/>
                </a:lnTo>
                <a:lnTo>
                  <a:pt x="4508" y="535"/>
                </a:lnTo>
                <a:lnTo>
                  <a:pt x="4510" y="529"/>
                </a:lnTo>
                <a:lnTo>
                  <a:pt x="4513" y="523"/>
                </a:lnTo>
                <a:lnTo>
                  <a:pt x="4516" y="519"/>
                </a:lnTo>
                <a:lnTo>
                  <a:pt x="4520" y="516"/>
                </a:lnTo>
                <a:lnTo>
                  <a:pt x="4526" y="513"/>
                </a:lnTo>
                <a:lnTo>
                  <a:pt x="4532" y="511"/>
                </a:lnTo>
                <a:lnTo>
                  <a:pt x="4538" y="510"/>
                </a:lnTo>
                <a:close/>
                <a:moveTo>
                  <a:pt x="2769" y="510"/>
                </a:moveTo>
                <a:lnTo>
                  <a:pt x="2778" y="510"/>
                </a:lnTo>
                <a:lnTo>
                  <a:pt x="2784" y="511"/>
                </a:lnTo>
                <a:lnTo>
                  <a:pt x="2790" y="513"/>
                </a:lnTo>
                <a:lnTo>
                  <a:pt x="2796" y="516"/>
                </a:lnTo>
                <a:lnTo>
                  <a:pt x="2800" y="519"/>
                </a:lnTo>
                <a:lnTo>
                  <a:pt x="2803" y="523"/>
                </a:lnTo>
                <a:lnTo>
                  <a:pt x="2806" y="529"/>
                </a:lnTo>
                <a:lnTo>
                  <a:pt x="2808" y="535"/>
                </a:lnTo>
                <a:lnTo>
                  <a:pt x="2809" y="541"/>
                </a:lnTo>
                <a:lnTo>
                  <a:pt x="2809" y="1325"/>
                </a:lnTo>
                <a:lnTo>
                  <a:pt x="2809" y="2110"/>
                </a:lnTo>
                <a:lnTo>
                  <a:pt x="2808" y="2116"/>
                </a:lnTo>
                <a:lnTo>
                  <a:pt x="2806" y="2122"/>
                </a:lnTo>
                <a:lnTo>
                  <a:pt x="2803" y="2128"/>
                </a:lnTo>
                <a:lnTo>
                  <a:pt x="2800" y="2132"/>
                </a:lnTo>
                <a:lnTo>
                  <a:pt x="2796" y="2135"/>
                </a:lnTo>
                <a:lnTo>
                  <a:pt x="2790" y="2138"/>
                </a:lnTo>
                <a:lnTo>
                  <a:pt x="2784" y="2140"/>
                </a:lnTo>
                <a:lnTo>
                  <a:pt x="2778" y="2141"/>
                </a:lnTo>
                <a:lnTo>
                  <a:pt x="2769" y="2141"/>
                </a:lnTo>
                <a:lnTo>
                  <a:pt x="2763" y="2140"/>
                </a:lnTo>
                <a:lnTo>
                  <a:pt x="2758" y="2138"/>
                </a:lnTo>
                <a:lnTo>
                  <a:pt x="2752" y="2135"/>
                </a:lnTo>
                <a:lnTo>
                  <a:pt x="2747" y="2132"/>
                </a:lnTo>
                <a:lnTo>
                  <a:pt x="2744" y="2128"/>
                </a:lnTo>
                <a:lnTo>
                  <a:pt x="2741" y="2122"/>
                </a:lnTo>
                <a:lnTo>
                  <a:pt x="2740" y="2116"/>
                </a:lnTo>
                <a:lnTo>
                  <a:pt x="2738" y="2110"/>
                </a:lnTo>
                <a:lnTo>
                  <a:pt x="2738" y="1325"/>
                </a:lnTo>
                <a:lnTo>
                  <a:pt x="2738" y="541"/>
                </a:lnTo>
                <a:lnTo>
                  <a:pt x="2740" y="535"/>
                </a:lnTo>
                <a:lnTo>
                  <a:pt x="2741" y="529"/>
                </a:lnTo>
                <a:lnTo>
                  <a:pt x="2744" y="523"/>
                </a:lnTo>
                <a:lnTo>
                  <a:pt x="2747" y="519"/>
                </a:lnTo>
                <a:lnTo>
                  <a:pt x="2752" y="516"/>
                </a:lnTo>
                <a:lnTo>
                  <a:pt x="2758" y="513"/>
                </a:lnTo>
                <a:lnTo>
                  <a:pt x="2763" y="511"/>
                </a:lnTo>
                <a:lnTo>
                  <a:pt x="2769" y="510"/>
                </a:lnTo>
                <a:close/>
                <a:moveTo>
                  <a:pt x="523" y="2141"/>
                </a:moveTo>
                <a:lnTo>
                  <a:pt x="428" y="2141"/>
                </a:lnTo>
                <a:lnTo>
                  <a:pt x="422" y="2140"/>
                </a:lnTo>
                <a:lnTo>
                  <a:pt x="416" y="2138"/>
                </a:lnTo>
                <a:lnTo>
                  <a:pt x="412" y="2135"/>
                </a:lnTo>
                <a:lnTo>
                  <a:pt x="407" y="2132"/>
                </a:lnTo>
                <a:lnTo>
                  <a:pt x="403" y="2128"/>
                </a:lnTo>
                <a:lnTo>
                  <a:pt x="400" y="2122"/>
                </a:lnTo>
                <a:lnTo>
                  <a:pt x="399" y="2116"/>
                </a:lnTo>
                <a:lnTo>
                  <a:pt x="399" y="2110"/>
                </a:lnTo>
                <a:lnTo>
                  <a:pt x="399" y="1325"/>
                </a:lnTo>
                <a:lnTo>
                  <a:pt x="399" y="541"/>
                </a:lnTo>
                <a:lnTo>
                  <a:pt x="399" y="535"/>
                </a:lnTo>
                <a:lnTo>
                  <a:pt x="400" y="529"/>
                </a:lnTo>
                <a:lnTo>
                  <a:pt x="403" y="523"/>
                </a:lnTo>
                <a:lnTo>
                  <a:pt x="407" y="519"/>
                </a:lnTo>
                <a:lnTo>
                  <a:pt x="412" y="516"/>
                </a:lnTo>
                <a:lnTo>
                  <a:pt x="416" y="513"/>
                </a:lnTo>
                <a:lnTo>
                  <a:pt x="422" y="511"/>
                </a:lnTo>
                <a:lnTo>
                  <a:pt x="428" y="510"/>
                </a:lnTo>
                <a:lnTo>
                  <a:pt x="523" y="510"/>
                </a:lnTo>
                <a:lnTo>
                  <a:pt x="530" y="511"/>
                </a:lnTo>
                <a:lnTo>
                  <a:pt x="534" y="513"/>
                </a:lnTo>
                <a:lnTo>
                  <a:pt x="540" y="516"/>
                </a:lnTo>
                <a:lnTo>
                  <a:pt x="545" y="519"/>
                </a:lnTo>
                <a:lnTo>
                  <a:pt x="549" y="523"/>
                </a:lnTo>
                <a:lnTo>
                  <a:pt x="551" y="529"/>
                </a:lnTo>
                <a:lnTo>
                  <a:pt x="554" y="535"/>
                </a:lnTo>
                <a:lnTo>
                  <a:pt x="554" y="541"/>
                </a:lnTo>
                <a:lnTo>
                  <a:pt x="554" y="1325"/>
                </a:lnTo>
                <a:lnTo>
                  <a:pt x="554" y="2110"/>
                </a:lnTo>
                <a:lnTo>
                  <a:pt x="554" y="2116"/>
                </a:lnTo>
                <a:lnTo>
                  <a:pt x="551" y="2122"/>
                </a:lnTo>
                <a:lnTo>
                  <a:pt x="549" y="2128"/>
                </a:lnTo>
                <a:lnTo>
                  <a:pt x="545" y="2132"/>
                </a:lnTo>
                <a:lnTo>
                  <a:pt x="540" y="2135"/>
                </a:lnTo>
                <a:lnTo>
                  <a:pt x="534" y="2138"/>
                </a:lnTo>
                <a:lnTo>
                  <a:pt x="530" y="2140"/>
                </a:lnTo>
                <a:lnTo>
                  <a:pt x="523" y="2141"/>
                </a:lnTo>
                <a:close/>
                <a:moveTo>
                  <a:pt x="1206" y="2141"/>
                </a:moveTo>
                <a:lnTo>
                  <a:pt x="1197" y="2141"/>
                </a:lnTo>
                <a:lnTo>
                  <a:pt x="1191" y="2140"/>
                </a:lnTo>
                <a:lnTo>
                  <a:pt x="1185" y="2138"/>
                </a:lnTo>
                <a:lnTo>
                  <a:pt x="1179" y="2135"/>
                </a:lnTo>
                <a:lnTo>
                  <a:pt x="1175" y="2132"/>
                </a:lnTo>
                <a:lnTo>
                  <a:pt x="1172" y="2128"/>
                </a:lnTo>
                <a:lnTo>
                  <a:pt x="1169" y="2122"/>
                </a:lnTo>
                <a:lnTo>
                  <a:pt x="1168" y="2116"/>
                </a:lnTo>
                <a:lnTo>
                  <a:pt x="1166" y="2110"/>
                </a:lnTo>
                <a:lnTo>
                  <a:pt x="1166" y="1325"/>
                </a:lnTo>
                <a:lnTo>
                  <a:pt x="1166" y="541"/>
                </a:lnTo>
                <a:lnTo>
                  <a:pt x="1168" y="535"/>
                </a:lnTo>
                <a:lnTo>
                  <a:pt x="1169" y="529"/>
                </a:lnTo>
                <a:lnTo>
                  <a:pt x="1172" y="523"/>
                </a:lnTo>
                <a:lnTo>
                  <a:pt x="1175" y="519"/>
                </a:lnTo>
                <a:lnTo>
                  <a:pt x="1179" y="516"/>
                </a:lnTo>
                <a:lnTo>
                  <a:pt x="1185" y="513"/>
                </a:lnTo>
                <a:lnTo>
                  <a:pt x="1191" y="511"/>
                </a:lnTo>
                <a:lnTo>
                  <a:pt x="1197" y="510"/>
                </a:lnTo>
                <a:lnTo>
                  <a:pt x="1206" y="510"/>
                </a:lnTo>
                <a:lnTo>
                  <a:pt x="1212" y="511"/>
                </a:lnTo>
                <a:lnTo>
                  <a:pt x="1218" y="513"/>
                </a:lnTo>
                <a:lnTo>
                  <a:pt x="1224" y="516"/>
                </a:lnTo>
                <a:lnTo>
                  <a:pt x="1228" y="519"/>
                </a:lnTo>
                <a:lnTo>
                  <a:pt x="1231" y="523"/>
                </a:lnTo>
                <a:lnTo>
                  <a:pt x="1234" y="529"/>
                </a:lnTo>
                <a:lnTo>
                  <a:pt x="1237" y="535"/>
                </a:lnTo>
                <a:lnTo>
                  <a:pt x="1237" y="541"/>
                </a:lnTo>
                <a:lnTo>
                  <a:pt x="1237" y="1325"/>
                </a:lnTo>
                <a:lnTo>
                  <a:pt x="1237" y="2110"/>
                </a:lnTo>
                <a:lnTo>
                  <a:pt x="1237" y="2116"/>
                </a:lnTo>
                <a:lnTo>
                  <a:pt x="1234" y="2122"/>
                </a:lnTo>
                <a:lnTo>
                  <a:pt x="1231" y="2128"/>
                </a:lnTo>
                <a:lnTo>
                  <a:pt x="1228" y="2132"/>
                </a:lnTo>
                <a:lnTo>
                  <a:pt x="1224" y="2135"/>
                </a:lnTo>
                <a:lnTo>
                  <a:pt x="1218" y="2138"/>
                </a:lnTo>
                <a:lnTo>
                  <a:pt x="1212" y="2140"/>
                </a:lnTo>
                <a:lnTo>
                  <a:pt x="1206" y="2141"/>
                </a:lnTo>
                <a:close/>
                <a:moveTo>
                  <a:pt x="440" y="4332"/>
                </a:moveTo>
                <a:lnTo>
                  <a:pt x="331" y="4332"/>
                </a:lnTo>
                <a:lnTo>
                  <a:pt x="331" y="3902"/>
                </a:lnTo>
                <a:lnTo>
                  <a:pt x="331" y="3896"/>
                </a:lnTo>
                <a:lnTo>
                  <a:pt x="334" y="3890"/>
                </a:lnTo>
                <a:lnTo>
                  <a:pt x="335" y="3886"/>
                </a:lnTo>
                <a:lnTo>
                  <a:pt x="340" y="3881"/>
                </a:lnTo>
                <a:lnTo>
                  <a:pt x="344" y="3877"/>
                </a:lnTo>
                <a:lnTo>
                  <a:pt x="348" y="3874"/>
                </a:lnTo>
                <a:lnTo>
                  <a:pt x="354" y="3872"/>
                </a:lnTo>
                <a:lnTo>
                  <a:pt x="360" y="3872"/>
                </a:lnTo>
                <a:lnTo>
                  <a:pt x="409" y="3872"/>
                </a:lnTo>
                <a:lnTo>
                  <a:pt x="416" y="3872"/>
                </a:lnTo>
                <a:lnTo>
                  <a:pt x="421" y="3874"/>
                </a:lnTo>
                <a:lnTo>
                  <a:pt x="427" y="3877"/>
                </a:lnTo>
                <a:lnTo>
                  <a:pt x="431" y="3881"/>
                </a:lnTo>
                <a:lnTo>
                  <a:pt x="435" y="3886"/>
                </a:lnTo>
                <a:lnTo>
                  <a:pt x="437" y="3890"/>
                </a:lnTo>
                <a:lnTo>
                  <a:pt x="440" y="3896"/>
                </a:lnTo>
                <a:lnTo>
                  <a:pt x="440" y="3902"/>
                </a:lnTo>
                <a:lnTo>
                  <a:pt x="440" y="4332"/>
                </a:lnTo>
                <a:close/>
                <a:moveTo>
                  <a:pt x="1707" y="4332"/>
                </a:moveTo>
                <a:lnTo>
                  <a:pt x="1552" y="4332"/>
                </a:lnTo>
                <a:lnTo>
                  <a:pt x="1552" y="3909"/>
                </a:lnTo>
                <a:lnTo>
                  <a:pt x="1552" y="3903"/>
                </a:lnTo>
                <a:lnTo>
                  <a:pt x="1553" y="3897"/>
                </a:lnTo>
                <a:lnTo>
                  <a:pt x="1556" y="3891"/>
                </a:lnTo>
                <a:lnTo>
                  <a:pt x="1560" y="3887"/>
                </a:lnTo>
                <a:lnTo>
                  <a:pt x="1565" y="3884"/>
                </a:lnTo>
                <a:lnTo>
                  <a:pt x="1569" y="3881"/>
                </a:lnTo>
                <a:lnTo>
                  <a:pt x="1575" y="3878"/>
                </a:lnTo>
                <a:lnTo>
                  <a:pt x="1581" y="3878"/>
                </a:lnTo>
                <a:lnTo>
                  <a:pt x="1677" y="3878"/>
                </a:lnTo>
                <a:lnTo>
                  <a:pt x="1683" y="3878"/>
                </a:lnTo>
                <a:lnTo>
                  <a:pt x="1689" y="3881"/>
                </a:lnTo>
                <a:lnTo>
                  <a:pt x="1693" y="3884"/>
                </a:lnTo>
                <a:lnTo>
                  <a:pt x="1698" y="3887"/>
                </a:lnTo>
                <a:lnTo>
                  <a:pt x="1702" y="3891"/>
                </a:lnTo>
                <a:lnTo>
                  <a:pt x="1705" y="3897"/>
                </a:lnTo>
                <a:lnTo>
                  <a:pt x="1707" y="3903"/>
                </a:lnTo>
                <a:lnTo>
                  <a:pt x="1707" y="3909"/>
                </a:lnTo>
                <a:lnTo>
                  <a:pt x="1707" y="4332"/>
                </a:lnTo>
                <a:close/>
                <a:moveTo>
                  <a:pt x="2809" y="4332"/>
                </a:moveTo>
                <a:lnTo>
                  <a:pt x="2722" y="4332"/>
                </a:lnTo>
                <a:lnTo>
                  <a:pt x="2722" y="3909"/>
                </a:lnTo>
                <a:lnTo>
                  <a:pt x="2724" y="3903"/>
                </a:lnTo>
                <a:lnTo>
                  <a:pt x="2725" y="3897"/>
                </a:lnTo>
                <a:lnTo>
                  <a:pt x="2728" y="3891"/>
                </a:lnTo>
                <a:lnTo>
                  <a:pt x="2731" y="3887"/>
                </a:lnTo>
                <a:lnTo>
                  <a:pt x="2735" y="3884"/>
                </a:lnTo>
                <a:lnTo>
                  <a:pt x="2741" y="3881"/>
                </a:lnTo>
                <a:lnTo>
                  <a:pt x="2747" y="3878"/>
                </a:lnTo>
                <a:lnTo>
                  <a:pt x="2753" y="3878"/>
                </a:lnTo>
                <a:lnTo>
                  <a:pt x="2762" y="3878"/>
                </a:lnTo>
                <a:lnTo>
                  <a:pt x="2769" y="3878"/>
                </a:lnTo>
                <a:lnTo>
                  <a:pt x="2777" y="3881"/>
                </a:lnTo>
                <a:lnTo>
                  <a:pt x="2784" y="3884"/>
                </a:lnTo>
                <a:lnTo>
                  <a:pt x="2792" y="3887"/>
                </a:lnTo>
                <a:lnTo>
                  <a:pt x="2799" y="3891"/>
                </a:lnTo>
                <a:lnTo>
                  <a:pt x="2802" y="3894"/>
                </a:lnTo>
                <a:lnTo>
                  <a:pt x="2805" y="3897"/>
                </a:lnTo>
                <a:lnTo>
                  <a:pt x="2808" y="3903"/>
                </a:lnTo>
                <a:lnTo>
                  <a:pt x="2809" y="3906"/>
                </a:lnTo>
                <a:lnTo>
                  <a:pt x="2809" y="3909"/>
                </a:lnTo>
                <a:lnTo>
                  <a:pt x="2809" y="4332"/>
                </a:lnTo>
                <a:close/>
                <a:moveTo>
                  <a:pt x="4321" y="4332"/>
                </a:moveTo>
                <a:lnTo>
                  <a:pt x="4252" y="4332"/>
                </a:lnTo>
                <a:lnTo>
                  <a:pt x="4252" y="3909"/>
                </a:lnTo>
                <a:lnTo>
                  <a:pt x="4252" y="3903"/>
                </a:lnTo>
                <a:lnTo>
                  <a:pt x="4253" y="3897"/>
                </a:lnTo>
                <a:lnTo>
                  <a:pt x="4256" y="3891"/>
                </a:lnTo>
                <a:lnTo>
                  <a:pt x="4260" y="3887"/>
                </a:lnTo>
                <a:lnTo>
                  <a:pt x="4265" y="3884"/>
                </a:lnTo>
                <a:lnTo>
                  <a:pt x="4269" y="3881"/>
                </a:lnTo>
                <a:lnTo>
                  <a:pt x="4275" y="3878"/>
                </a:lnTo>
                <a:lnTo>
                  <a:pt x="4281" y="3878"/>
                </a:lnTo>
                <a:lnTo>
                  <a:pt x="4291" y="3878"/>
                </a:lnTo>
                <a:lnTo>
                  <a:pt x="4297" y="3878"/>
                </a:lnTo>
                <a:lnTo>
                  <a:pt x="4303" y="3881"/>
                </a:lnTo>
                <a:lnTo>
                  <a:pt x="4308" y="3884"/>
                </a:lnTo>
                <a:lnTo>
                  <a:pt x="4312" y="3887"/>
                </a:lnTo>
                <a:lnTo>
                  <a:pt x="4316" y="3891"/>
                </a:lnTo>
                <a:lnTo>
                  <a:pt x="4319" y="3897"/>
                </a:lnTo>
                <a:lnTo>
                  <a:pt x="4321" y="3903"/>
                </a:lnTo>
                <a:lnTo>
                  <a:pt x="4321" y="3909"/>
                </a:lnTo>
                <a:lnTo>
                  <a:pt x="4321" y="4332"/>
                </a:lnTo>
                <a:close/>
                <a:moveTo>
                  <a:pt x="5339" y="4332"/>
                </a:moveTo>
                <a:lnTo>
                  <a:pt x="5183" y="4332"/>
                </a:lnTo>
                <a:lnTo>
                  <a:pt x="5183" y="3911"/>
                </a:lnTo>
                <a:lnTo>
                  <a:pt x="5183" y="3903"/>
                </a:lnTo>
                <a:lnTo>
                  <a:pt x="5186" y="3899"/>
                </a:lnTo>
                <a:lnTo>
                  <a:pt x="5189" y="3893"/>
                </a:lnTo>
                <a:lnTo>
                  <a:pt x="5192" y="3888"/>
                </a:lnTo>
                <a:lnTo>
                  <a:pt x="5196" y="3886"/>
                </a:lnTo>
                <a:lnTo>
                  <a:pt x="5202" y="3883"/>
                </a:lnTo>
                <a:lnTo>
                  <a:pt x="5207" y="3880"/>
                </a:lnTo>
                <a:lnTo>
                  <a:pt x="5214" y="3880"/>
                </a:lnTo>
                <a:lnTo>
                  <a:pt x="5308" y="3880"/>
                </a:lnTo>
                <a:lnTo>
                  <a:pt x="5314" y="3880"/>
                </a:lnTo>
                <a:lnTo>
                  <a:pt x="5320" y="3883"/>
                </a:lnTo>
                <a:lnTo>
                  <a:pt x="5325" y="3886"/>
                </a:lnTo>
                <a:lnTo>
                  <a:pt x="5331" y="3888"/>
                </a:lnTo>
                <a:lnTo>
                  <a:pt x="5334" y="3893"/>
                </a:lnTo>
                <a:lnTo>
                  <a:pt x="5337" y="3899"/>
                </a:lnTo>
                <a:lnTo>
                  <a:pt x="5338" y="3903"/>
                </a:lnTo>
                <a:lnTo>
                  <a:pt x="5339" y="3911"/>
                </a:lnTo>
                <a:lnTo>
                  <a:pt x="5339" y="4332"/>
                </a:lnTo>
                <a:close/>
                <a:moveTo>
                  <a:pt x="3956" y="0"/>
                </a:moveTo>
                <a:lnTo>
                  <a:pt x="4113" y="0"/>
                </a:lnTo>
                <a:lnTo>
                  <a:pt x="4113" y="423"/>
                </a:lnTo>
                <a:lnTo>
                  <a:pt x="4111" y="429"/>
                </a:lnTo>
                <a:lnTo>
                  <a:pt x="4110" y="435"/>
                </a:lnTo>
                <a:lnTo>
                  <a:pt x="4107" y="439"/>
                </a:lnTo>
                <a:lnTo>
                  <a:pt x="4104" y="444"/>
                </a:lnTo>
                <a:lnTo>
                  <a:pt x="4099" y="448"/>
                </a:lnTo>
                <a:lnTo>
                  <a:pt x="4094" y="451"/>
                </a:lnTo>
                <a:lnTo>
                  <a:pt x="4088" y="452"/>
                </a:lnTo>
                <a:lnTo>
                  <a:pt x="4082" y="452"/>
                </a:lnTo>
                <a:lnTo>
                  <a:pt x="3987" y="452"/>
                </a:lnTo>
                <a:lnTo>
                  <a:pt x="3981" y="452"/>
                </a:lnTo>
                <a:lnTo>
                  <a:pt x="3975" y="451"/>
                </a:lnTo>
                <a:lnTo>
                  <a:pt x="3970" y="448"/>
                </a:lnTo>
                <a:lnTo>
                  <a:pt x="3965" y="444"/>
                </a:lnTo>
                <a:lnTo>
                  <a:pt x="3962" y="439"/>
                </a:lnTo>
                <a:lnTo>
                  <a:pt x="3959" y="435"/>
                </a:lnTo>
                <a:lnTo>
                  <a:pt x="3958" y="429"/>
                </a:lnTo>
                <a:lnTo>
                  <a:pt x="3956" y="423"/>
                </a:lnTo>
                <a:lnTo>
                  <a:pt x="3956" y="0"/>
                </a:lnTo>
                <a:close/>
                <a:moveTo>
                  <a:pt x="2244" y="0"/>
                </a:moveTo>
                <a:lnTo>
                  <a:pt x="2315" y="0"/>
                </a:lnTo>
                <a:lnTo>
                  <a:pt x="2315" y="429"/>
                </a:lnTo>
                <a:lnTo>
                  <a:pt x="2313" y="435"/>
                </a:lnTo>
                <a:lnTo>
                  <a:pt x="2312" y="441"/>
                </a:lnTo>
                <a:lnTo>
                  <a:pt x="2309" y="447"/>
                </a:lnTo>
                <a:lnTo>
                  <a:pt x="2306" y="451"/>
                </a:lnTo>
                <a:lnTo>
                  <a:pt x="2301" y="454"/>
                </a:lnTo>
                <a:lnTo>
                  <a:pt x="2296" y="457"/>
                </a:lnTo>
                <a:lnTo>
                  <a:pt x="2290" y="458"/>
                </a:lnTo>
                <a:lnTo>
                  <a:pt x="2284" y="460"/>
                </a:lnTo>
                <a:lnTo>
                  <a:pt x="2275" y="460"/>
                </a:lnTo>
                <a:lnTo>
                  <a:pt x="2269" y="458"/>
                </a:lnTo>
                <a:lnTo>
                  <a:pt x="2263" y="457"/>
                </a:lnTo>
                <a:lnTo>
                  <a:pt x="2257" y="454"/>
                </a:lnTo>
                <a:lnTo>
                  <a:pt x="2253" y="451"/>
                </a:lnTo>
                <a:lnTo>
                  <a:pt x="2250" y="447"/>
                </a:lnTo>
                <a:lnTo>
                  <a:pt x="2247" y="441"/>
                </a:lnTo>
                <a:lnTo>
                  <a:pt x="2245" y="435"/>
                </a:lnTo>
                <a:lnTo>
                  <a:pt x="2244" y="429"/>
                </a:lnTo>
                <a:lnTo>
                  <a:pt x="2244" y="0"/>
                </a:lnTo>
                <a:close/>
                <a:moveTo>
                  <a:pt x="1953" y="0"/>
                </a:moveTo>
                <a:lnTo>
                  <a:pt x="2110" y="0"/>
                </a:lnTo>
                <a:lnTo>
                  <a:pt x="2110" y="429"/>
                </a:lnTo>
                <a:lnTo>
                  <a:pt x="2110" y="435"/>
                </a:lnTo>
                <a:lnTo>
                  <a:pt x="2107" y="441"/>
                </a:lnTo>
                <a:lnTo>
                  <a:pt x="2104" y="447"/>
                </a:lnTo>
                <a:lnTo>
                  <a:pt x="2101" y="451"/>
                </a:lnTo>
                <a:lnTo>
                  <a:pt x="2096" y="454"/>
                </a:lnTo>
                <a:lnTo>
                  <a:pt x="2090" y="457"/>
                </a:lnTo>
                <a:lnTo>
                  <a:pt x="2086" y="458"/>
                </a:lnTo>
                <a:lnTo>
                  <a:pt x="2079" y="460"/>
                </a:lnTo>
                <a:lnTo>
                  <a:pt x="1984" y="460"/>
                </a:lnTo>
                <a:lnTo>
                  <a:pt x="1978" y="458"/>
                </a:lnTo>
                <a:lnTo>
                  <a:pt x="1972" y="457"/>
                </a:lnTo>
                <a:lnTo>
                  <a:pt x="1968" y="454"/>
                </a:lnTo>
                <a:lnTo>
                  <a:pt x="1963" y="451"/>
                </a:lnTo>
                <a:lnTo>
                  <a:pt x="1959" y="447"/>
                </a:lnTo>
                <a:lnTo>
                  <a:pt x="1956" y="441"/>
                </a:lnTo>
                <a:lnTo>
                  <a:pt x="1955" y="435"/>
                </a:lnTo>
                <a:lnTo>
                  <a:pt x="1953" y="429"/>
                </a:lnTo>
                <a:lnTo>
                  <a:pt x="1953" y="0"/>
                </a:lnTo>
                <a:close/>
                <a:moveTo>
                  <a:pt x="871" y="0"/>
                </a:moveTo>
                <a:lnTo>
                  <a:pt x="980" y="0"/>
                </a:lnTo>
                <a:lnTo>
                  <a:pt x="980" y="429"/>
                </a:lnTo>
                <a:lnTo>
                  <a:pt x="979" y="435"/>
                </a:lnTo>
                <a:lnTo>
                  <a:pt x="977" y="441"/>
                </a:lnTo>
                <a:lnTo>
                  <a:pt x="974" y="447"/>
                </a:lnTo>
                <a:lnTo>
                  <a:pt x="971" y="451"/>
                </a:lnTo>
                <a:lnTo>
                  <a:pt x="967" y="454"/>
                </a:lnTo>
                <a:lnTo>
                  <a:pt x="961" y="457"/>
                </a:lnTo>
                <a:lnTo>
                  <a:pt x="955" y="458"/>
                </a:lnTo>
                <a:lnTo>
                  <a:pt x="949" y="460"/>
                </a:lnTo>
                <a:lnTo>
                  <a:pt x="900" y="460"/>
                </a:lnTo>
                <a:lnTo>
                  <a:pt x="895" y="458"/>
                </a:lnTo>
                <a:lnTo>
                  <a:pt x="889" y="457"/>
                </a:lnTo>
                <a:lnTo>
                  <a:pt x="884" y="454"/>
                </a:lnTo>
                <a:lnTo>
                  <a:pt x="880" y="451"/>
                </a:lnTo>
                <a:lnTo>
                  <a:pt x="875" y="447"/>
                </a:lnTo>
                <a:lnTo>
                  <a:pt x="872" y="441"/>
                </a:lnTo>
                <a:lnTo>
                  <a:pt x="871" y="435"/>
                </a:lnTo>
                <a:lnTo>
                  <a:pt x="871" y="429"/>
                </a:lnTo>
                <a:lnTo>
                  <a:pt x="871" y="0"/>
                </a:lnTo>
                <a:close/>
                <a:moveTo>
                  <a:pt x="0" y="0"/>
                </a:moveTo>
                <a:lnTo>
                  <a:pt x="71" y="0"/>
                </a:lnTo>
                <a:lnTo>
                  <a:pt x="71" y="429"/>
                </a:lnTo>
                <a:lnTo>
                  <a:pt x="69" y="435"/>
                </a:lnTo>
                <a:lnTo>
                  <a:pt x="68" y="441"/>
                </a:lnTo>
                <a:lnTo>
                  <a:pt x="65" y="447"/>
                </a:lnTo>
                <a:lnTo>
                  <a:pt x="62" y="451"/>
                </a:lnTo>
                <a:lnTo>
                  <a:pt x="58" y="454"/>
                </a:lnTo>
                <a:lnTo>
                  <a:pt x="52" y="457"/>
                </a:lnTo>
                <a:lnTo>
                  <a:pt x="46" y="458"/>
                </a:lnTo>
                <a:lnTo>
                  <a:pt x="40" y="460"/>
                </a:lnTo>
                <a:lnTo>
                  <a:pt x="31" y="460"/>
                </a:lnTo>
                <a:lnTo>
                  <a:pt x="25" y="458"/>
                </a:lnTo>
                <a:lnTo>
                  <a:pt x="19" y="457"/>
                </a:lnTo>
                <a:lnTo>
                  <a:pt x="13" y="454"/>
                </a:lnTo>
                <a:lnTo>
                  <a:pt x="9" y="451"/>
                </a:lnTo>
                <a:lnTo>
                  <a:pt x="6" y="447"/>
                </a:lnTo>
                <a:lnTo>
                  <a:pt x="3" y="441"/>
                </a:lnTo>
                <a:lnTo>
                  <a:pt x="1" y="435"/>
                </a:lnTo>
                <a:lnTo>
                  <a:pt x="0" y="429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9" name="Freeform 12">
            <a:extLst>
              <a:ext uri="{FF2B5EF4-FFF2-40B4-BE49-F238E27FC236}">
                <a16:creationId xmlns:a16="http://schemas.microsoft.com/office/drawing/2014/main" id="{90E8DE61-5EBF-4120-8570-4B0C114CA35D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07368" y="401447"/>
            <a:ext cx="648000" cy="723297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5366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Whit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ADEC6E57-0FF7-4044-B10C-FD4309DDFB1D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RIA - RKL yrittäjäpäivä 1.11.2023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E4F9C910-C7DF-4A1E-B118-79FC2962235C}"/>
              </a:ext>
            </a:extLst>
          </p:cNvPr>
          <p:cNvSpPr>
            <a:spLocks noEditPoints="1"/>
          </p:cNvSpPr>
          <p:nvPr userDrawn="1"/>
        </p:nvSpPr>
        <p:spPr bwMode="auto">
          <a:xfrm flipH="1">
            <a:off x="3739815" y="0"/>
            <a:ext cx="8452185" cy="6858000"/>
          </a:xfrm>
          <a:custGeom>
            <a:avLst/>
            <a:gdLst>
              <a:gd name="T0" fmla="*/ 3840 w 5339"/>
              <a:gd name="T1" fmla="*/ 2225 h 4332"/>
              <a:gd name="T2" fmla="*/ 3809 w 5339"/>
              <a:gd name="T3" fmla="*/ 3825 h 4332"/>
              <a:gd name="T4" fmla="*/ 3729 w 5339"/>
              <a:gd name="T5" fmla="*/ 3009 h 4332"/>
              <a:gd name="T6" fmla="*/ 31 w 5339"/>
              <a:gd name="T7" fmla="*/ 3825 h 4332"/>
              <a:gd name="T8" fmla="*/ 0 w 5339"/>
              <a:gd name="T9" fmla="*/ 2225 h 4332"/>
              <a:gd name="T10" fmla="*/ 46 w 5339"/>
              <a:gd name="T11" fmla="*/ 2196 h 4332"/>
              <a:gd name="T12" fmla="*/ 69 w 5339"/>
              <a:gd name="T13" fmla="*/ 3800 h 4332"/>
              <a:gd name="T14" fmla="*/ 2282 w 5339"/>
              <a:gd name="T15" fmla="*/ 2194 h 4332"/>
              <a:gd name="T16" fmla="*/ 2313 w 5339"/>
              <a:gd name="T17" fmla="*/ 3794 h 4332"/>
              <a:gd name="T18" fmla="*/ 2180 w 5339"/>
              <a:gd name="T19" fmla="*/ 3824 h 4332"/>
              <a:gd name="T20" fmla="*/ 2157 w 5339"/>
              <a:gd name="T21" fmla="*/ 2219 h 4332"/>
              <a:gd name="T22" fmla="*/ 812 w 5339"/>
              <a:gd name="T23" fmla="*/ 2196 h 4332"/>
              <a:gd name="T24" fmla="*/ 836 w 5339"/>
              <a:gd name="T25" fmla="*/ 3800 h 4332"/>
              <a:gd name="T26" fmla="*/ 698 w 5339"/>
              <a:gd name="T27" fmla="*/ 3822 h 4332"/>
              <a:gd name="T28" fmla="*/ 682 w 5339"/>
              <a:gd name="T29" fmla="*/ 2213 h 4332"/>
              <a:gd name="T30" fmla="*/ 1909 w 5339"/>
              <a:gd name="T31" fmla="*/ 2197 h 4332"/>
              <a:gd name="T32" fmla="*/ 1925 w 5339"/>
              <a:gd name="T33" fmla="*/ 3806 h 4332"/>
              <a:gd name="T34" fmla="*/ 1870 w 5339"/>
              <a:gd name="T35" fmla="*/ 3819 h 4332"/>
              <a:gd name="T36" fmla="*/ 1862 w 5339"/>
              <a:gd name="T37" fmla="*/ 2209 h 4332"/>
              <a:gd name="T38" fmla="*/ 3471 w 5339"/>
              <a:gd name="T39" fmla="*/ 516 h 4332"/>
              <a:gd name="T40" fmla="*/ 3479 w 5339"/>
              <a:gd name="T41" fmla="*/ 2128 h 4332"/>
              <a:gd name="T42" fmla="*/ 3338 w 5339"/>
              <a:gd name="T43" fmla="*/ 2132 h 4332"/>
              <a:gd name="T44" fmla="*/ 3338 w 5339"/>
              <a:gd name="T45" fmla="*/ 519 h 4332"/>
              <a:gd name="T46" fmla="*/ 4569 w 5339"/>
              <a:gd name="T47" fmla="*/ 519 h 4332"/>
              <a:gd name="T48" fmla="*/ 4569 w 5339"/>
              <a:gd name="T49" fmla="*/ 2132 h 4332"/>
              <a:gd name="T50" fmla="*/ 4513 w 5339"/>
              <a:gd name="T51" fmla="*/ 2128 h 4332"/>
              <a:gd name="T52" fmla="*/ 4520 w 5339"/>
              <a:gd name="T53" fmla="*/ 516 h 4332"/>
              <a:gd name="T54" fmla="*/ 2803 w 5339"/>
              <a:gd name="T55" fmla="*/ 523 h 4332"/>
              <a:gd name="T56" fmla="*/ 2796 w 5339"/>
              <a:gd name="T57" fmla="*/ 2135 h 4332"/>
              <a:gd name="T58" fmla="*/ 2741 w 5339"/>
              <a:gd name="T59" fmla="*/ 2122 h 4332"/>
              <a:gd name="T60" fmla="*/ 2758 w 5339"/>
              <a:gd name="T61" fmla="*/ 513 h 4332"/>
              <a:gd name="T62" fmla="*/ 400 w 5339"/>
              <a:gd name="T63" fmla="*/ 2122 h 4332"/>
              <a:gd name="T64" fmla="*/ 416 w 5339"/>
              <a:gd name="T65" fmla="*/ 513 h 4332"/>
              <a:gd name="T66" fmla="*/ 554 w 5339"/>
              <a:gd name="T67" fmla="*/ 535 h 4332"/>
              <a:gd name="T68" fmla="*/ 530 w 5339"/>
              <a:gd name="T69" fmla="*/ 2140 h 4332"/>
              <a:gd name="T70" fmla="*/ 1168 w 5339"/>
              <a:gd name="T71" fmla="*/ 2116 h 4332"/>
              <a:gd name="T72" fmla="*/ 1191 w 5339"/>
              <a:gd name="T73" fmla="*/ 511 h 4332"/>
              <a:gd name="T74" fmla="*/ 1237 w 5339"/>
              <a:gd name="T75" fmla="*/ 541 h 4332"/>
              <a:gd name="T76" fmla="*/ 1206 w 5339"/>
              <a:gd name="T77" fmla="*/ 2141 h 4332"/>
              <a:gd name="T78" fmla="*/ 354 w 5339"/>
              <a:gd name="T79" fmla="*/ 3872 h 4332"/>
              <a:gd name="T80" fmla="*/ 440 w 5339"/>
              <a:gd name="T81" fmla="*/ 3902 h 4332"/>
              <a:gd name="T82" fmla="*/ 1569 w 5339"/>
              <a:gd name="T83" fmla="*/ 3881 h 4332"/>
              <a:gd name="T84" fmla="*/ 1707 w 5339"/>
              <a:gd name="T85" fmla="*/ 3903 h 4332"/>
              <a:gd name="T86" fmla="*/ 2735 w 5339"/>
              <a:gd name="T87" fmla="*/ 3884 h 4332"/>
              <a:gd name="T88" fmla="*/ 2802 w 5339"/>
              <a:gd name="T89" fmla="*/ 3894 h 4332"/>
              <a:gd name="T90" fmla="*/ 4253 w 5339"/>
              <a:gd name="T91" fmla="*/ 3897 h 4332"/>
              <a:gd name="T92" fmla="*/ 4308 w 5339"/>
              <a:gd name="T93" fmla="*/ 3884 h 4332"/>
              <a:gd name="T94" fmla="*/ 5183 w 5339"/>
              <a:gd name="T95" fmla="*/ 3903 h 4332"/>
              <a:gd name="T96" fmla="*/ 5320 w 5339"/>
              <a:gd name="T97" fmla="*/ 3883 h 4332"/>
              <a:gd name="T98" fmla="*/ 4113 w 5339"/>
              <a:gd name="T99" fmla="*/ 423 h 4332"/>
              <a:gd name="T100" fmla="*/ 3981 w 5339"/>
              <a:gd name="T101" fmla="*/ 452 h 4332"/>
              <a:gd name="T102" fmla="*/ 2315 w 5339"/>
              <a:gd name="T103" fmla="*/ 0 h 4332"/>
              <a:gd name="T104" fmla="*/ 2275 w 5339"/>
              <a:gd name="T105" fmla="*/ 460 h 4332"/>
              <a:gd name="T106" fmla="*/ 1953 w 5339"/>
              <a:gd name="T107" fmla="*/ 0 h 4332"/>
              <a:gd name="T108" fmla="*/ 2079 w 5339"/>
              <a:gd name="T109" fmla="*/ 460 h 4332"/>
              <a:gd name="T110" fmla="*/ 1953 w 5339"/>
              <a:gd name="T111" fmla="*/ 0 h 4332"/>
              <a:gd name="T112" fmla="*/ 955 w 5339"/>
              <a:gd name="T113" fmla="*/ 458 h 4332"/>
              <a:gd name="T114" fmla="*/ 871 w 5339"/>
              <a:gd name="T115" fmla="*/ 429 h 4332"/>
              <a:gd name="T116" fmla="*/ 52 w 5339"/>
              <a:gd name="T117" fmla="*/ 457 h 4332"/>
              <a:gd name="T118" fmla="*/ 1 w 5339"/>
              <a:gd name="T119" fmla="*/ 435 h 43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339" h="4332">
                <a:moveTo>
                  <a:pt x="3760" y="2194"/>
                </a:moveTo>
                <a:lnTo>
                  <a:pt x="3809" y="2194"/>
                </a:lnTo>
                <a:lnTo>
                  <a:pt x="3815" y="2196"/>
                </a:lnTo>
                <a:lnTo>
                  <a:pt x="3820" y="2197"/>
                </a:lnTo>
                <a:lnTo>
                  <a:pt x="3825" y="2200"/>
                </a:lnTo>
                <a:lnTo>
                  <a:pt x="3831" y="2203"/>
                </a:lnTo>
                <a:lnTo>
                  <a:pt x="3834" y="2209"/>
                </a:lnTo>
                <a:lnTo>
                  <a:pt x="3837" y="2213"/>
                </a:lnTo>
                <a:lnTo>
                  <a:pt x="3838" y="2219"/>
                </a:lnTo>
                <a:lnTo>
                  <a:pt x="3840" y="2225"/>
                </a:lnTo>
                <a:lnTo>
                  <a:pt x="3840" y="3009"/>
                </a:lnTo>
                <a:lnTo>
                  <a:pt x="3840" y="3794"/>
                </a:lnTo>
                <a:lnTo>
                  <a:pt x="3838" y="3800"/>
                </a:lnTo>
                <a:lnTo>
                  <a:pt x="3837" y="3806"/>
                </a:lnTo>
                <a:lnTo>
                  <a:pt x="3834" y="3812"/>
                </a:lnTo>
                <a:lnTo>
                  <a:pt x="3831" y="3816"/>
                </a:lnTo>
                <a:lnTo>
                  <a:pt x="3825" y="3819"/>
                </a:lnTo>
                <a:lnTo>
                  <a:pt x="3820" y="3822"/>
                </a:lnTo>
                <a:lnTo>
                  <a:pt x="3815" y="3824"/>
                </a:lnTo>
                <a:lnTo>
                  <a:pt x="3809" y="3825"/>
                </a:lnTo>
                <a:lnTo>
                  <a:pt x="3760" y="3825"/>
                </a:lnTo>
                <a:lnTo>
                  <a:pt x="3754" y="3824"/>
                </a:lnTo>
                <a:lnTo>
                  <a:pt x="3748" y="3822"/>
                </a:lnTo>
                <a:lnTo>
                  <a:pt x="3742" y="3819"/>
                </a:lnTo>
                <a:lnTo>
                  <a:pt x="3738" y="3816"/>
                </a:lnTo>
                <a:lnTo>
                  <a:pt x="3735" y="3812"/>
                </a:lnTo>
                <a:lnTo>
                  <a:pt x="3732" y="3806"/>
                </a:lnTo>
                <a:lnTo>
                  <a:pt x="3730" y="3800"/>
                </a:lnTo>
                <a:lnTo>
                  <a:pt x="3729" y="3794"/>
                </a:lnTo>
                <a:lnTo>
                  <a:pt x="3729" y="3009"/>
                </a:lnTo>
                <a:lnTo>
                  <a:pt x="3729" y="2225"/>
                </a:lnTo>
                <a:lnTo>
                  <a:pt x="3730" y="2219"/>
                </a:lnTo>
                <a:lnTo>
                  <a:pt x="3732" y="2213"/>
                </a:lnTo>
                <a:lnTo>
                  <a:pt x="3735" y="2209"/>
                </a:lnTo>
                <a:lnTo>
                  <a:pt x="3738" y="2203"/>
                </a:lnTo>
                <a:lnTo>
                  <a:pt x="3742" y="2200"/>
                </a:lnTo>
                <a:lnTo>
                  <a:pt x="3748" y="2197"/>
                </a:lnTo>
                <a:lnTo>
                  <a:pt x="3754" y="2196"/>
                </a:lnTo>
                <a:lnTo>
                  <a:pt x="3760" y="2194"/>
                </a:lnTo>
                <a:close/>
                <a:moveTo>
                  <a:pt x="31" y="3825"/>
                </a:moveTo>
                <a:lnTo>
                  <a:pt x="25" y="3824"/>
                </a:lnTo>
                <a:lnTo>
                  <a:pt x="19" y="3822"/>
                </a:lnTo>
                <a:lnTo>
                  <a:pt x="13" y="3819"/>
                </a:lnTo>
                <a:lnTo>
                  <a:pt x="9" y="3816"/>
                </a:lnTo>
                <a:lnTo>
                  <a:pt x="6" y="3812"/>
                </a:lnTo>
                <a:lnTo>
                  <a:pt x="3" y="3806"/>
                </a:lnTo>
                <a:lnTo>
                  <a:pt x="1" y="3800"/>
                </a:lnTo>
                <a:lnTo>
                  <a:pt x="0" y="3794"/>
                </a:lnTo>
                <a:lnTo>
                  <a:pt x="0" y="3009"/>
                </a:lnTo>
                <a:lnTo>
                  <a:pt x="0" y="2225"/>
                </a:lnTo>
                <a:lnTo>
                  <a:pt x="1" y="2219"/>
                </a:lnTo>
                <a:lnTo>
                  <a:pt x="3" y="2213"/>
                </a:lnTo>
                <a:lnTo>
                  <a:pt x="6" y="2209"/>
                </a:lnTo>
                <a:lnTo>
                  <a:pt x="9" y="2203"/>
                </a:lnTo>
                <a:lnTo>
                  <a:pt x="13" y="2200"/>
                </a:lnTo>
                <a:lnTo>
                  <a:pt x="19" y="2197"/>
                </a:lnTo>
                <a:lnTo>
                  <a:pt x="25" y="2196"/>
                </a:lnTo>
                <a:lnTo>
                  <a:pt x="31" y="2194"/>
                </a:lnTo>
                <a:lnTo>
                  <a:pt x="40" y="2194"/>
                </a:lnTo>
                <a:lnTo>
                  <a:pt x="46" y="2196"/>
                </a:lnTo>
                <a:lnTo>
                  <a:pt x="52" y="2197"/>
                </a:lnTo>
                <a:lnTo>
                  <a:pt x="58" y="2200"/>
                </a:lnTo>
                <a:lnTo>
                  <a:pt x="62" y="2203"/>
                </a:lnTo>
                <a:lnTo>
                  <a:pt x="65" y="2209"/>
                </a:lnTo>
                <a:lnTo>
                  <a:pt x="68" y="2213"/>
                </a:lnTo>
                <a:lnTo>
                  <a:pt x="69" y="2219"/>
                </a:lnTo>
                <a:lnTo>
                  <a:pt x="71" y="2225"/>
                </a:lnTo>
                <a:lnTo>
                  <a:pt x="71" y="3009"/>
                </a:lnTo>
                <a:lnTo>
                  <a:pt x="71" y="3794"/>
                </a:lnTo>
                <a:lnTo>
                  <a:pt x="69" y="3800"/>
                </a:lnTo>
                <a:lnTo>
                  <a:pt x="68" y="3806"/>
                </a:lnTo>
                <a:lnTo>
                  <a:pt x="65" y="3812"/>
                </a:lnTo>
                <a:lnTo>
                  <a:pt x="62" y="3816"/>
                </a:lnTo>
                <a:lnTo>
                  <a:pt x="58" y="3819"/>
                </a:lnTo>
                <a:lnTo>
                  <a:pt x="52" y="3822"/>
                </a:lnTo>
                <a:lnTo>
                  <a:pt x="46" y="3824"/>
                </a:lnTo>
                <a:lnTo>
                  <a:pt x="40" y="3825"/>
                </a:lnTo>
                <a:lnTo>
                  <a:pt x="31" y="3825"/>
                </a:lnTo>
                <a:close/>
                <a:moveTo>
                  <a:pt x="2188" y="2194"/>
                </a:moveTo>
                <a:lnTo>
                  <a:pt x="2282" y="2194"/>
                </a:lnTo>
                <a:lnTo>
                  <a:pt x="2288" y="2196"/>
                </a:lnTo>
                <a:lnTo>
                  <a:pt x="2294" y="2197"/>
                </a:lnTo>
                <a:lnTo>
                  <a:pt x="2298" y="2200"/>
                </a:lnTo>
                <a:lnTo>
                  <a:pt x="2304" y="2203"/>
                </a:lnTo>
                <a:lnTo>
                  <a:pt x="2307" y="2209"/>
                </a:lnTo>
                <a:lnTo>
                  <a:pt x="2310" y="2213"/>
                </a:lnTo>
                <a:lnTo>
                  <a:pt x="2312" y="2219"/>
                </a:lnTo>
                <a:lnTo>
                  <a:pt x="2313" y="2225"/>
                </a:lnTo>
                <a:lnTo>
                  <a:pt x="2313" y="3009"/>
                </a:lnTo>
                <a:lnTo>
                  <a:pt x="2313" y="3794"/>
                </a:lnTo>
                <a:lnTo>
                  <a:pt x="2312" y="3800"/>
                </a:lnTo>
                <a:lnTo>
                  <a:pt x="2310" y="3806"/>
                </a:lnTo>
                <a:lnTo>
                  <a:pt x="2307" y="3812"/>
                </a:lnTo>
                <a:lnTo>
                  <a:pt x="2304" y="3816"/>
                </a:lnTo>
                <a:lnTo>
                  <a:pt x="2298" y="3819"/>
                </a:lnTo>
                <a:lnTo>
                  <a:pt x="2294" y="3822"/>
                </a:lnTo>
                <a:lnTo>
                  <a:pt x="2288" y="3824"/>
                </a:lnTo>
                <a:lnTo>
                  <a:pt x="2282" y="3825"/>
                </a:lnTo>
                <a:lnTo>
                  <a:pt x="2188" y="3825"/>
                </a:lnTo>
                <a:lnTo>
                  <a:pt x="2180" y="3824"/>
                </a:lnTo>
                <a:lnTo>
                  <a:pt x="2176" y="3822"/>
                </a:lnTo>
                <a:lnTo>
                  <a:pt x="2170" y="3819"/>
                </a:lnTo>
                <a:lnTo>
                  <a:pt x="2166" y="3816"/>
                </a:lnTo>
                <a:lnTo>
                  <a:pt x="2163" y="3812"/>
                </a:lnTo>
                <a:lnTo>
                  <a:pt x="2160" y="3806"/>
                </a:lnTo>
                <a:lnTo>
                  <a:pt x="2157" y="3800"/>
                </a:lnTo>
                <a:lnTo>
                  <a:pt x="2157" y="3794"/>
                </a:lnTo>
                <a:lnTo>
                  <a:pt x="2157" y="3009"/>
                </a:lnTo>
                <a:lnTo>
                  <a:pt x="2157" y="2225"/>
                </a:lnTo>
                <a:lnTo>
                  <a:pt x="2157" y="2219"/>
                </a:lnTo>
                <a:lnTo>
                  <a:pt x="2160" y="2213"/>
                </a:lnTo>
                <a:lnTo>
                  <a:pt x="2163" y="2209"/>
                </a:lnTo>
                <a:lnTo>
                  <a:pt x="2166" y="2203"/>
                </a:lnTo>
                <a:lnTo>
                  <a:pt x="2170" y="2200"/>
                </a:lnTo>
                <a:lnTo>
                  <a:pt x="2176" y="2197"/>
                </a:lnTo>
                <a:lnTo>
                  <a:pt x="2180" y="2196"/>
                </a:lnTo>
                <a:lnTo>
                  <a:pt x="2188" y="2194"/>
                </a:lnTo>
                <a:close/>
                <a:moveTo>
                  <a:pt x="710" y="2194"/>
                </a:moveTo>
                <a:lnTo>
                  <a:pt x="805" y="2194"/>
                </a:lnTo>
                <a:lnTo>
                  <a:pt x="812" y="2196"/>
                </a:lnTo>
                <a:lnTo>
                  <a:pt x="816" y="2197"/>
                </a:lnTo>
                <a:lnTo>
                  <a:pt x="822" y="2200"/>
                </a:lnTo>
                <a:lnTo>
                  <a:pt x="827" y="2203"/>
                </a:lnTo>
                <a:lnTo>
                  <a:pt x="830" y="2209"/>
                </a:lnTo>
                <a:lnTo>
                  <a:pt x="833" y="2213"/>
                </a:lnTo>
                <a:lnTo>
                  <a:pt x="836" y="2219"/>
                </a:lnTo>
                <a:lnTo>
                  <a:pt x="836" y="2225"/>
                </a:lnTo>
                <a:lnTo>
                  <a:pt x="836" y="3009"/>
                </a:lnTo>
                <a:lnTo>
                  <a:pt x="836" y="3794"/>
                </a:lnTo>
                <a:lnTo>
                  <a:pt x="836" y="3800"/>
                </a:lnTo>
                <a:lnTo>
                  <a:pt x="833" y="3806"/>
                </a:lnTo>
                <a:lnTo>
                  <a:pt x="830" y="3812"/>
                </a:lnTo>
                <a:lnTo>
                  <a:pt x="827" y="3816"/>
                </a:lnTo>
                <a:lnTo>
                  <a:pt x="822" y="3819"/>
                </a:lnTo>
                <a:lnTo>
                  <a:pt x="816" y="3822"/>
                </a:lnTo>
                <a:lnTo>
                  <a:pt x="812" y="3824"/>
                </a:lnTo>
                <a:lnTo>
                  <a:pt x="805" y="3825"/>
                </a:lnTo>
                <a:lnTo>
                  <a:pt x="710" y="3825"/>
                </a:lnTo>
                <a:lnTo>
                  <a:pt x="704" y="3824"/>
                </a:lnTo>
                <a:lnTo>
                  <a:pt x="698" y="3822"/>
                </a:lnTo>
                <a:lnTo>
                  <a:pt x="694" y="3819"/>
                </a:lnTo>
                <a:lnTo>
                  <a:pt x="688" y="3816"/>
                </a:lnTo>
                <a:lnTo>
                  <a:pt x="685" y="3812"/>
                </a:lnTo>
                <a:lnTo>
                  <a:pt x="682" y="3806"/>
                </a:lnTo>
                <a:lnTo>
                  <a:pt x="681" y="3800"/>
                </a:lnTo>
                <a:lnTo>
                  <a:pt x="679" y="3794"/>
                </a:lnTo>
                <a:lnTo>
                  <a:pt x="679" y="3009"/>
                </a:lnTo>
                <a:lnTo>
                  <a:pt x="679" y="2225"/>
                </a:lnTo>
                <a:lnTo>
                  <a:pt x="681" y="2219"/>
                </a:lnTo>
                <a:lnTo>
                  <a:pt x="682" y="2213"/>
                </a:lnTo>
                <a:lnTo>
                  <a:pt x="685" y="2209"/>
                </a:lnTo>
                <a:lnTo>
                  <a:pt x="688" y="2203"/>
                </a:lnTo>
                <a:lnTo>
                  <a:pt x="694" y="2200"/>
                </a:lnTo>
                <a:lnTo>
                  <a:pt x="698" y="2197"/>
                </a:lnTo>
                <a:lnTo>
                  <a:pt x="704" y="2196"/>
                </a:lnTo>
                <a:lnTo>
                  <a:pt x="710" y="2194"/>
                </a:lnTo>
                <a:close/>
                <a:moveTo>
                  <a:pt x="1887" y="2194"/>
                </a:moveTo>
                <a:lnTo>
                  <a:pt x="1897" y="2194"/>
                </a:lnTo>
                <a:lnTo>
                  <a:pt x="1903" y="2196"/>
                </a:lnTo>
                <a:lnTo>
                  <a:pt x="1909" y="2197"/>
                </a:lnTo>
                <a:lnTo>
                  <a:pt x="1913" y="2200"/>
                </a:lnTo>
                <a:lnTo>
                  <a:pt x="1918" y="2203"/>
                </a:lnTo>
                <a:lnTo>
                  <a:pt x="1922" y="2209"/>
                </a:lnTo>
                <a:lnTo>
                  <a:pt x="1925" y="2213"/>
                </a:lnTo>
                <a:lnTo>
                  <a:pt x="1926" y="2219"/>
                </a:lnTo>
                <a:lnTo>
                  <a:pt x="1926" y="2225"/>
                </a:lnTo>
                <a:lnTo>
                  <a:pt x="1926" y="3009"/>
                </a:lnTo>
                <a:lnTo>
                  <a:pt x="1926" y="3794"/>
                </a:lnTo>
                <a:lnTo>
                  <a:pt x="1926" y="3800"/>
                </a:lnTo>
                <a:lnTo>
                  <a:pt x="1925" y="3806"/>
                </a:lnTo>
                <a:lnTo>
                  <a:pt x="1922" y="3812"/>
                </a:lnTo>
                <a:lnTo>
                  <a:pt x="1918" y="3816"/>
                </a:lnTo>
                <a:lnTo>
                  <a:pt x="1913" y="3819"/>
                </a:lnTo>
                <a:lnTo>
                  <a:pt x="1909" y="3822"/>
                </a:lnTo>
                <a:lnTo>
                  <a:pt x="1903" y="3824"/>
                </a:lnTo>
                <a:lnTo>
                  <a:pt x="1897" y="3825"/>
                </a:lnTo>
                <a:lnTo>
                  <a:pt x="1887" y="3825"/>
                </a:lnTo>
                <a:lnTo>
                  <a:pt x="1881" y="3824"/>
                </a:lnTo>
                <a:lnTo>
                  <a:pt x="1875" y="3822"/>
                </a:lnTo>
                <a:lnTo>
                  <a:pt x="1870" y="3819"/>
                </a:lnTo>
                <a:lnTo>
                  <a:pt x="1866" y="3816"/>
                </a:lnTo>
                <a:lnTo>
                  <a:pt x="1862" y="3812"/>
                </a:lnTo>
                <a:lnTo>
                  <a:pt x="1860" y="3806"/>
                </a:lnTo>
                <a:lnTo>
                  <a:pt x="1857" y="3800"/>
                </a:lnTo>
                <a:lnTo>
                  <a:pt x="1857" y="3794"/>
                </a:lnTo>
                <a:lnTo>
                  <a:pt x="1857" y="3009"/>
                </a:lnTo>
                <a:lnTo>
                  <a:pt x="1857" y="2225"/>
                </a:lnTo>
                <a:lnTo>
                  <a:pt x="1857" y="2219"/>
                </a:lnTo>
                <a:lnTo>
                  <a:pt x="1860" y="2213"/>
                </a:lnTo>
                <a:lnTo>
                  <a:pt x="1862" y="2209"/>
                </a:lnTo>
                <a:lnTo>
                  <a:pt x="1866" y="2203"/>
                </a:lnTo>
                <a:lnTo>
                  <a:pt x="1870" y="2200"/>
                </a:lnTo>
                <a:lnTo>
                  <a:pt x="1875" y="2197"/>
                </a:lnTo>
                <a:lnTo>
                  <a:pt x="1881" y="2196"/>
                </a:lnTo>
                <a:lnTo>
                  <a:pt x="1887" y="2194"/>
                </a:lnTo>
                <a:close/>
                <a:moveTo>
                  <a:pt x="3358" y="510"/>
                </a:moveTo>
                <a:lnTo>
                  <a:pt x="3453" y="510"/>
                </a:lnTo>
                <a:lnTo>
                  <a:pt x="3460" y="511"/>
                </a:lnTo>
                <a:lnTo>
                  <a:pt x="3466" y="513"/>
                </a:lnTo>
                <a:lnTo>
                  <a:pt x="3471" y="516"/>
                </a:lnTo>
                <a:lnTo>
                  <a:pt x="3475" y="519"/>
                </a:lnTo>
                <a:lnTo>
                  <a:pt x="3479" y="523"/>
                </a:lnTo>
                <a:lnTo>
                  <a:pt x="3481" y="529"/>
                </a:lnTo>
                <a:lnTo>
                  <a:pt x="3484" y="535"/>
                </a:lnTo>
                <a:lnTo>
                  <a:pt x="3484" y="541"/>
                </a:lnTo>
                <a:lnTo>
                  <a:pt x="3484" y="1325"/>
                </a:lnTo>
                <a:lnTo>
                  <a:pt x="3484" y="2110"/>
                </a:lnTo>
                <a:lnTo>
                  <a:pt x="3484" y="2116"/>
                </a:lnTo>
                <a:lnTo>
                  <a:pt x="3481" y="2122"/>
                </a:lnTo>
                <a:lnTo>
                  <a:pt x="3479" y="2128"/>
                </a:lnTo>
                <a:lnTo>
                  <a:pt x="3475" y="2132"/>
                </a:lnTo>
                <a:lnTo>
                  <a:pt x="3471" y="2135"/>
                </a:lnTo>
                <a:lnTo>
                  <a:pt x="3466" y="2138"/>
                </a:lnTo>
                <a:lnTo>
                  <a:pt x="3460" y="2140"/>
                </a:lnTo>
                <a:lnTo>
                  <a:pt x="3453" y="2141"/>
                </a:lnTo>
                <a:lnTo>
                  <a:pt x="3358" y="2141"/>
                </a:lnTo>
                <a:lnTo>
                  <a:pt x="3352" y="2140"/>
                </a:lnTo>
                <a:lnTo>
                  <a:pt x="3347" y="2138"/>
                </a:lnTo>
                <a:lnTo>
                  <a:pt x="3342" y="2135"/>
                </a:lnTo>
                <a:lnTo>
                  <a:pt x="3338" y="2132"/>
                </a:lnTo>
                <a:lnTo>
                  <a:pt x="3333" y="2128"/>
                </a:lnTo>
                <a:lnTo>
                  <a:pt x="3330" y="2122"/>
                </a:lnTo>
                <a:lnTo>
                  <a:pt x="3329" y="2116"/>
                </a:lnTo>
                <a:lnTo>
                  <a:pt x="3329" y="2110"/>
                </a:lnTo>
                <a:lnTo>
                  <a:pt x="3329" y="1325"/>
                </a:lnTo>
                <a:lnTo>
                  <a:pt x="3329" y="541"/>
                </a:lnTo>
                <a:lnTo>
                  <a:pt x="3329" y="535"/>
                </a:lnTo>
                <a:lnTo>
                  <a:pt x="3330" y="529"/>
                </a:lnTo>
                <a:lnTo>
                  <a:pt x="3333" y="523"/>
                </a:lnTo>
                <a:lnTo>
                  <a:pt x="3338" y="519"/>
                </a:lnTo>
                <a:lnTo>
                  <a:pt x="3342" y="516"/>
                </a:lnTo>
                <a:lnTo>
                  <a:pt x="3347" y="513"/>
                </a:lnTo>
                <a:lnTo>
                  <a:pt x="3352" y="511"/>
                </a:lnTo>
                <a:lnTo>
                  <a:pt x="3358" y="510"/>
                </a:lnTo>
                <a:close/>
                <a:moveTo>
                  <a:pt x="4538" y="510"/>
                </a:moveTo>
                <a:lnTo>
                  <a:pt x="4547" y="510"/>
                </a:lnTo>
                <a:lnTo>
                  <a:pt x="4553" y="511"/>
                </a:lnTo>
                <a:lnTo>
                  <a:pt x="4559" y="513"/>
                </a:lnTo>
                <a:lnTo>
                  <a:pt x="4564" y="516"/>
                </a:lnTo>
                <a:lnTo>
                  <a:pt x="4569" y="519"/>
                </a:lnTo>
                <a:lnTo>
                  <a:pt x="4572" y="523"/>
                </a:lnTo>
                <a:lnTo>
                  <a:pt x="4575" y="529"/>
                </a:lnTo>
                <a:lnTo>
                  <a:pt x="4576" y="535"/>
                </a:lnTo>
                <a:lnTo>
                  <a:pt x="4578" y="541"/>
                </a:lnTo>
                <a:lnTo>
                  <a:pt x="4578" y="1325"/>
                </a:lnTo>
                <a:lnTo>
                  <a:pt x="4578" y="2110"/>
                </a:lnTo>
                <a:lnTo>
                  <a:pt x="4576" y="2116"/>
                </a:lnTo>
                <a:lnTo>
                  <a:pt x="4575" y="2122"/>
                </a:lnTo>
                <a:lnTo>
                  <a:pt x="4572" y="2128"/>
                </a:lnTo>
                <a:lnTo>
                  <a:pt x="4569" y="2132"/>
                </a:lnTo>
                <a:lnTo>
                  <a:pt x="4564" y="2135"/>
                </a:lnTo>
                <a:lnTo>
                  <a:pt x="4559" y="2138"/>
                </a:lnTo>
                <a:lnTo>
                  <a:pt x="4553" y="2140"/>
                </a:lnTo>
                <a:lnTo>
                  <a:pt x="4547" y="2141"/>
                </a:lnTo>
                <a:lnTo>
                  <a:pt x="4538" y="2141"/>
                </a:lnTo>
                <a:lnTo>
                  <a:pt x="4532" y="2140"/>
                </a:lnTo>
                <a:lnTo>
                  <a:pt x="4526" y="2138"/>
                </a:lnTo>
                <a:lnTo>
                  <a:pt x="4520" y="2135"/>
                </a:lnTo>
                <a:lnTo>
                  <a:pt x="4516" y="2132"/>
                </a:lnTo>
                <a:lnTo>
                  <a:pt x="4513" y="2128"/>
                </a:lnTo>
                <a:lnTo>
                  <a:pt x="4510" y="2122"/>
                </a:lnTo>
                <a:lnTo>
                  <a:pt x="4508" y="2116"/>
                </a:lnTo>
                <a:lnTo>
                  <a:pt x="4507" y="2110"/>
                </a:lnTo>
                <a:lnTo>
                  <a:pt x="4507" y="1325"/>
                </a:lnTo>
                <a:lnTo>
                  <a:pt x="4507" y="541"/>
                </a:lnTo>
                <a:lnTo>
                  <a:pt x="4508" y="535"/>
                </a:lnTo>
                <a:lnTo>
                  <a:pt x="4510" y="529"/>
                </a:lnTo>
                <a:lnTo>
                  <a:pt x="4513" y="523"/>
                </a:lnTo>
                <a:lnTo>
                  <a:pt x="4516" y="519"/>
                </a:lnTo>
                <a:lnTo>
                  <a:pt x="4520" y="516"/>
                </a:lnTo>
                <a:lnTo>
                  <a:pt x="4526" y="513"/>
                </a:lnTo>
                <a:lnTo>
                  <a:pt x="4532" y="511"/>
                </a:lnTo>
                <a:lnTo>
                  <a:pt x="4538" y="510"/>
                </a:lnTo>
                <a:close/>
                <a:moveTo>
                  <a:pt x="2769" y="510"/>
                </a:moveTo>
                <a:lnTo>
                  <a:pt x="2778" y="510"/>
                </a:lnTo>
                <a:lnTo>
                  <a:pt x="2784" y="511"/>
                </a:lnTo>
                <a:lnTo>
                  <a:pt x="2790" y="513"/>
                </a:lnTo>
                <a:lnTo>
                  <a:pt x="2796" y="516"/>
                </a:lnTo>
                <a:lnTo>
                  <a:pt x="2800" y="519"/>
                </a:lnTo>
                <a:lnTo>
                  <a:pt x="2803" y="523"/>
                </a:lnTo>
                <a:lnTo>
                  <a:pt x="2806" y="529"/>
                </a:lnTo>
                <a:lnTo>
                  <a:pt x="2808" y="535"/>
                </a:lnTo>
                <a:lnTo>
                  <a:pt x="2809" y="541"/>
                </a:lnTo>
                <a:lnTo>
                  <a:pt x="2809" y="1325"/>
                </a:lnTo>
                <a:lnTo>
                  <a:pt x="2809" y="2110"/>
                </a:lnTo>
                <a:lnTo>
                  <a:pt x="2808" y="2116"/>
                </a:lnTo>
                <a:lnTo>
                  <a:pt x="2806" y="2122"/>
                </a:lnTo>
                <a:lnTo>
                  <a:pt x="2803" y="2128"/>
                </a:lnTo>
                <a:lnTo>
                  <a:pt x="2800" y="2132"/>
                </a:lnTo>
                <a:lnTo>
                  <a:pt x="2796" y="2135"/>
                </a:lnTo>
                <a:lnTo>
                  <a:pt x="2790" y="2138"/>
                </a:lnTo>
                <a:lnTo>
                  <a:pt x="2784" y="2140"/>
                </a:lnTo>
                <a:lnTo>
                  <a:pt x="2778" y="2141"/>
                </a:lnTo>
                <a:lnTo>
                  <a:pt x="2769" y="2141"/>
                </a:lnTo>
                <a:lnTo>
                  <a:pt x="2763" y="2140"/>
                </a:lnTo>
                <a:lnTo>
                  <a:pt x="2758" y="2138"/>
                </a:lnTo>
                <a:lnTo>
                  <a:pt x="2752" y="2135"/>
                </a:lnTo>
                <a:lnTo>
                  <a:pt x="2747" y="2132"/>
                </a:lnTo>
                <a:lnTo>
                  <a:pt x="2744" y="2128"/>
                </a:lnTo>
                <a:lnTo>
                  <a:pt x="2741" y="2122"/>
                </a:lnTo>
                <a:lnTo>
                  <a:pt x="2740" y="2116"/>
                </a:lnTo>
                <a:lnTo>
                  <a:pt x="2738" y="2110"/>
                </a:lnTo>
                <a:lnTo>
                  <a:pt x="2738" y="1325"/>
                </a:lnTo>
                <a:lnTo>
                  <a:pt x="2738" y="541"/>
                </a:lnTo>
                <a:lnTo>
                  <a:pt x="2740" y="535"/>
                </a:lnTo>
                <a:lnTo>
                  <a:pt x="2741" y="529"/>
                </a:lnTo>
                <a:lnTo>
                  <a:pt x="2744" y="523"/>
                </a:lnTo>
                <a:lnTo>
                  <a:pt x="2747" y="519"/>
                </a:lnTo>
                <a:lnTo>
                  <a:pt x="2752" y="516"/>
                </a:lnTo>
                <a:lnTo>
                  <a:pt x="2758" y="513"/>
                </a:lnTo>
                <a:lnTo>
                  <a:pt x="2763" y="511"/>
                </a:lnTo>
                <a:lnTo>
                  <a:pt x="2769" y="510"/>
                </a:lnTo>
                <a:close/>
                <a:moveTo>
                  <a:pt x="523" y="2141"/>
                </a:moveTo>
                <a:lnTo>
                  <a:pt x="428" y="2141"/>
                </a:lnTo>
                <a:lnTo>
                  <a:pt x="422" y="2140"/>
                </a:lnTo>
                <a:lnTo>
                  <a:pt x="416" y="2138"/>
                </a:lnTo>
                <a:lnTo>
                  <a:pt x="412" y="2135"/>
                </a:lnTo>
                <a:lnTo>
                  <a:pt x="407" y="2132"/>
                </a:lnTo>
                <a:lnTo>
                  <a:pt x="403" y="2128"/>
                </a:lnTo>
                <a:lnTo>
                  <a:pt x="400" y="2122"/>
                </a:lnTo>
                <a:lnTo>
                  <a:pt x="399" y="2116"/>
                </a:lnTo>
                <a:lnTo>
                  <a:pt x="399" y="2110"/>
                </a:lnTo>
                <a:lnTo>
                  <a:pt x="399" y="1325"/>
                </a:lnTo>
                <a:lnTo>
                  <a:pt x="399" y="541"/>
                </a:lnTo>
                <a:lnTo>
                  <a:pt x="399" y="535"/>
                </a:lnTo>
                <a:lnTo>
                  <a:pt x="400" y="529"/>
                </a:lnTo>
                <a:lnTo>
                  <a:pt x="403" y="523"/>
                </a:lnTo>
                <a:lnTo>
                  <a:pt x="407" y="519"/>
                </a:lnTo>
                <a:lnTo>
                  <a:pt x="412" y="516"/>
                </a:lnTo>
                <a:lnTo>
                  <a:pt x="416" y="513"/>
                </a:lnTo>
                <a:lnTo>
                  <a:pt x="422" y="511"/>
                </a:lnTo>
                <a:lnTo>
                  <a:pt x="428" y="510"/>
                </a:lnTo>
                <a:lnTo>
                  <a:pt x="523" y="510"/>
                </a:lnTo>
                <a:lnTo>
                  <a:pt x="530" y="511"/>
                </a:lnTo>
                <a:lnTo>
                  <a:pt x="534" y="513"/>
                </a:lnTo>
                <a:lnTo>
                  <a:pt x="540" y="516"/>
                </a:lnTo>
                <a:lnTo>
                  <a:pt x="545" y="519"/>
                </a:lnTo>
                <a:lnTo>
                  <a:pt x="549" y="523"/>
                </a:lnTo>
                <a:lnTo>
                  <a:pt x="551" y="529"/>
                </a:lnTo>
                <a:lnTo>
                  <a:pt x="554" y="535"/>
                </a:lnTo>
                <a:lnTo>
                  <a:pt x="554" y="541"/>
                </a:lnTo>
                <a:lnTo>
                  <a:pt x="554" y="1325"/>
                </a:lnTo>
                <a:lnTo>
                  <a:pt x="554" y="2110"/>
                </a:lnTo>
                <a:lnTo>
                  <a:pt x="554" y="2116"/>
                </a:lnTo>
                <a:lnTo>
                  <a:pt x="551" y="2122"/>
                </a:lnTo>
                <a:lnTo>
                  <a:pt x="549" y="2128"/>
                </a:lnTo>
                <a:lnTo>
                  <a:pt x="545" y="2132"/>
                </a:lnTo>
                <a:lnTo>
                  <a:pt x="540" y="2135"/>
                </a:lnTo>
                <a:lnTo>
                  <a:pt x="534" y="2138"/>
                </a:lnTo>
                <a:lnTo>
                  <a:pt x="530" y="2140"/>
                </a:lnTo>
                <a:lnTo>
                  <a:pt x="523" y="2141"/>
                </a:lnTo>
                <a:close/>
                <a:moveTo>
                  <a:pt x="1206" y="2141"/>
                </a:moveTo>
                <a:lnTo>
                  <a:pt x="1197" y="2141"/>
                </a:lnTo>
                <a:lnTo>
                  <a:pt x="1191" y="2140"/>
                </a:lnTo>
                <a:lnTo>
                  <a:pt x="1185" y="2138"/>
                </a:lnTo>
                <a:lnTo>
                  <a:pt x="1179" y="2135"/>
                </a:lnTo>
                <a:lnTo>
                  <a:pt x="1175" y="2132"/>
                </a:lnTo>
                <a:lnTo>
                  <a:pt x="1172" y="2128"/>
                </a:lnTo>
                <a:lnTo>
                  <a:pt x="1169" y="2122"/>
                </a:lnTo>
                <a:lnTo>
                  <a:pt x="1168" y="2116"/>
                </a:lnTo>
                <a:lnTo>
                  <a:pt x="1166" y="2110"/>
                </a:lnTo>
                <a:lnTo>
                  <a:pt x="1166" y="1325"/>
                </a:lnTo>
                <a:lnTo>
                  <a:pt x="1166" y="541"/>
                </a:lnTo>
                <a:lnTo>
                  <a:pt x="1168" y="535"/>
                </a:lnTo>
                <a:lnTo>
                  <a:pt x="1169" y="529"/>
                </a:lnTo>
                <a:lnTo>
                  <a:pt x="1172" y="523"/>
                </a:lnTo>
                <a:lnTo>
                  <a:pt x="1175" y="519"/>
                </a:lnTo>
                <a:lnTo>
                  <a:pt x="1179" y="516"/>
                </a:lnTo>
                <a:lnTo>
                  <a:pt x="1185" y="513"/>
                </a:lnTo>
                <a:lnTo>
                  <a:pt x="1191" y="511"/>
                </a:lnTo>
                <a:lnTo>
                  <a:pt x="1197" y="510"/>
                </a:lnTo>
                <a:lnTo>
                  <a:pt x="1206" y="510"/>
                </a:lnTo>
                <a:lnTo>
                  <a:pt x="1212" y="511"/>
                </a:lnTo>
                <a:lnTo>
                  <a:pt x="1218" y="513"/>
                </a:lnTo>
                <a:lnTo>
                  <a:pt x="1224" y="516"/>
                </a:lnTo>
                <a:lnTo>
                  <a:pt x="1228" y="519"/>
                </a:lnTo>
                <a:lnTo>
                  <a:pt x="1231" y="523"/>
                </a:lnTo>
                <a:lnTo>
                  <a:pt x="1234" y="529"/>
                </a:lnTo>
                <a:lnTo>
                  <a:pt x="1237" y="535"/>
                </a:lnTo>
                <a:lnTo>
                  <a:pt x="1237" y="541"/>
                </a:lnTo>
                <a:lnTo>
                  <a:pt x="1237" y="1325"/>
                </a:lnTo>
                <a:lnTo>
                  <a:pt x="1237" y="2110"/>
                </a:lnTo>
                <a:lnTo>
                  <a:pt x="1237" y="2116"/>
                </a:lnTo>
                <a:lnTo>
                  <a:pt x="1234" y="2122"/>
                </a:lnTo>
                <a:lnTo>
                  <a:pt x="1231" y="2128"/>
                </a:lnTo>
                <a:lnTo>
                  <a:pt x="1228" y="2132"/>
                </a:lnTo>
                <a:lnTo>
                  <a:pt x="1224" y="2135"/>
                </a:lnTo>
                <a:lnTo>
                  <a:pt x="1218" y="2138"/>
                </a:lnTo>
                <a:lnTo>
                  <a:pt x="1212" y="2140"/>
                </a:lnTo>
                <a:lnTo>
                  <a:pt x="1206" y="2141"/>
                </a:lnTo>
                <a:close/>
                <a:moveTo>
                  <a:pt x="440" y="4332"/>
                </a:moveTo>
                <a:lnTo>
                  <a:pt x="331" y="4332"/>
                </a:lnTo>
                <a:lnTo>
                  <a:pt x="331" y="3902"/>
                </a:lnTo>
                <a:lnTo>
                  <a:pt x="331" y="3896"/>
                </a:lnTo>
                <a:lnTo>
                  <a:pt x="334" y="3890"/>
                </a:lnTo>
                <a:lnTo>
                  <a:pt x="335" y="3886"/>
                </a:lnTo>
                <a:lnTo>
                  <a:pt x="340" y="3881"/>
                </a:lnTo>
                <a:lnTo>
                  <a:pt x="344" y="3877"/>
                </a:lnTo>
                <a:lnTo>
                  <a:pt x="348" y="3874"/>
                </a:lnTo>
                <a:lnTo>
                  <a:pt x="354" y="3872"/>
                </a:lnTo>
                <a:lnTo>
                  <a:pt x="360" y="3872"/>
                </a:lnTo>
                <a:lnTo>
                  <a:pt x="409" y="3872"/>
                </a:lnTo>
                <a:lnTo>
                  <a:pt x="416" y="3872"/>
                </a:lnTo>
                <a:lnTo>
                  <a:pt x="421" y="3874"/>
                </a:lnTo>
                <a:lnTo>
                  <a:pt x="427" y="3877"/>
                </a:lnTo>
                <a:lnTo>
                  <a:pt x="431" y="3881"/>
                </a:lnTo>
                <a:lnTo>
                  <a:pt x="435" y="3886"/>
                </a:lnTo>
                <a:lnTo>
                  <a:pt x="437" y="3890"/>
                </a:lnTo>
                <a:lnTo>
                  <a:pt x="440" y="3896"/>
                </a:lnTo>
                <a:lnTo>
                  <a:pt x="440" y="3902"/>
                </a:lnTo>
                <a:lnTo>
                  <a:pt x="440" y="4332"/>
                </a:lnTo>
                <a:close/>
                <a:moveTo>
                  <a:pt x="1707" y="4332"/>
                </a:moveTo>
                <a:lnTo>
                  <a:pt x="1552" y="4332"/>
                </a:lnTo>
                <a:lnTo>
                  <a:pt x="1552" y="3909"/>
                </a:lnTo>
                <a:lnTo>
                  <a:pt x="1552" y="3903"/>
                </a:lnTo>
                <a:lnTo>
                  <a:pt x="1553" y="3897"/>
                </a:lnTo>
                <a:lnTo>
                  <a:pt x="1556" y="3891"/>
                </a:lnTo>
                <a:lnTo>
                  <a:pt x="1560" y="3887"/>
                </a:lnTo>
                <a:lnTo>
                  <a:pt x="1565" y="3884"/>
                </a:lnTo>
                <a:lnTo>
                  <a:pt x="1569" y="3881"/>
                </a:lnTo>
                <a:lnTo>
                  <a:pt x="1575" y="3878"/>
                </a:lnTo>
                <a:lnTo>
                  <a:pt x="1581" y="3878"/>
                </a:lnTo>
                <a:lnTo>
                  <a:pt x="1677" y="3878"/>
                </a:lnTo>
                <a:lnTo>
                  <a:pt x="1683" y="3878"/>
                </a:lnTo>
                <a:lnTo>
                  <a:pt x="1689" y="3881"/>
                </a:lnTo>
                <a:lnTo>
                  <a:pt x="1693" y="3884"/>
                </a:lnTo>
                <a:lnTo>
                  <a:pt x="1698" y="3887"/>
                </a:lnTo>
                <a:lnTo>
                  <a:pt x="1702" y="3891"/>
                </a:lnTo>
                <a:lnTo>
                  <a:pt x="1705" y="3897"/>
                </a:lnTo>
                <a:lnTo>
                  <a:pt x="1707" y="3903"/>
                </a:lnTo>
                <a:lnTo>
                  <a:pt x="1707" y="3909"/>
                </a:lnTo>
                <a:lnTo>
                  <a:pt x="1707" y="4332"/>
                </a:lnTo>
                <a:close/>
                <a:moveTo>
                  <a:pt x="2809" y="4332"/>
                </a:moveTo>
                <a:lnTo>
                  <a:pt x="2722" y="4332"/>
                </a:lnTo>
                <a:lnTo>
                  <a:pt x="2722" y="3909"/>
                </a:lnTo>
                <a:lnTo>
                  <a:pt x="2724" y="3903"/>
                </a:lnTo>
                <a:lnTo>
                  <a:pt x="2725" y="3897"/>
                </a:lnTo>
                <a:lnTo>
                  <a:pt x="2728" y="3891"/>
                </a:lnTo>
                <a:lnTo>
                  <a:pt x="2731" y="3887"/>
                </a:lnTo>
                <a:lnTo>
                  <a:pt x="2735" y="3884"/>
                </a:lnTo>
                <a:lnTo>
                  <a:pt x="2741" y="3881"/>
                </a:lnTo>
                <a:lnTo>
                  <a:pt x="2747" y="3878"/>
                </a:lnTo>
                <a:lnTo>
                  <a:pt x="2753" y="3878"/>
                </a:lnTo>
                <a:lnTo>
                  <a:pt x="2762" y="3878"/>
                </a:lnTo>
                <a:lnTo>
                  <a:pt x="2769" y="3878"/>
                </a:lnTo>
                <a:lnTo>
                  <a:pt x="2777" y="3881"/>
                </a:lnTo>
                <a:lnTo>
                  <a:pt x="2784" y="3884"/>
                </a:lnTo>
                <a:lnTo>
                  <a:pt x="2792" y="3887"/>
                </a:lnTo>
                <a:lnTo>
                  <a:pt x="2799" y="3891"/>
                </a:lnTo>
                <a:lnTo>
                  <a:pt x="2802" y="3894"/>
                </a:lnTo>
                <a:lnTo>
                  <a:pt x="2805" y="3897"/>
                </a:lnTo>
                <a:lnTo>
                  <a:pt x="2808" y="3903"/>
                </a:lnTo>
                <a:lnTo>
                  <a:pt x="2809" y="3906"/>
                </a:lnTo>
                <a:lnTo>
                  <a:pt x="2809" y="3909"/>
                </a:lnTo>
                <a:lnTo>
                  <a:pt x="2809" y="4332"/>
                </a:lnTo>
                <a:close/>
                <a:moveTo>
                  <a:pt x="4321" y="4332"/>
                </a:moveTo>
                <a:lnTo>
                  <a:pt x="4252" y="4332"/>
                </a:lnTo>
                <a:lnTo>
                  <a:pt x="4252" y="3909"/>
                </a:lnTo>
                <a:lnTo>
                  <a:pt x="4252" y="3903"/>
                </a:lnTo>
                <a:lnTo>
                  <a:pt x="4253" y="3897"/>
                </a:lnTo>
                <a:lnTo>
                  <a:pt x="4256" y="3891"/>
                </a:lnTo>
                <a:lnTo>
                  <a:pt x="4260" y="3887"/>
                </a:lnTo>
                <a:lnTo>
                  <a:pt x="4265" y="3884"/>
                </a:lnTo>
                <a:lnTo>
                  <a:pt x="4269" y="3881"/>
                </a:lnTo>
                <a:lnTo>
                  <a:pt x="4275" y="3878"/>
                </a:lnTo>
                <a:lnTo>
                  <a:pt x="4281" y="3878"/>
                </a:lnTo>
                <a:lnTo>
                  <a:pt x="4291" y="3878"/>
                </a:lnTo>
                <a:lnTo>
                  <a:pt x="4297" y="3878"/>
                </a:lnTo>
                <a:lnTo>
                  <a:pt x="4303" y="3881"/>
                </a:lnTo>
                <a:lnTo>
                  <a:pt x="4308" y="3884"/>
                </a:lnTo>
                <a:lnTo>
                  <a:pt x="4312" y="3887"/>
                </a:lnTo>
                <a:lnTo>
                  <a:pt x="4316" y="3891"/>
                </a:lnTo>
                <a:lnTo>
                  <a:pt x="4319" y="3897"/>
                </a:lnTo>
                <a:lnTo>
                  <a:pt x="4321" y="3903"/>
                </a:lnTo>
                <a:lnTo>
                  <a:pt x="4321" y="3909"/>
                </a:lnTo>
                <a:lnTo>
                  <a:pt x="4321" y="4332"/>
                </a:lnTo>
                <a:close/>
                <a:moveTo>
                  <a:pt x="5339" y="4332"/>
                </a:moveTo>
                <a:lnTo>
                  <a:pt x="5183" y="4332"/>
                </a:lnTo>
                <a:lnTo>
                  <a:pt x="5183" y="3911"/>
                </a:lnTo>
                <a:lnTo>
                  <a:pt x="5183" y="3903"/>
                </a:lnTo>
                <a:lnTo>
                  <a:pt x="5186" y="3899"/>
                </a:lnTo>
                <a:lnTo>
                  <a:pt x="5189" y="3893"/>
                </a:lnTo>
                <a:lnTo>
                  <a:pt x="5192" y="3888"/>
                </a:lnTo>
                <a:lnTo>
                  <a:pt x="5196" y="3886"/>
                </a:lnTo>
                <a:lnTo>
                  <a:pt x="5202" y="3883"/>
                </a:lnTo>
                <a:lnTo>
                  <a:pt x="5207" y="3880"/>
                </a:lnTo>
                <a:lnTo>
                  <a:pt x="5214" y="3880"/>
                </a:lnTo>
                <a:lnTo>
                  <a:pt x="5308" y="3880"/>
                </a:lnTo>
                <a:lnTo>
                  <a:pt x="5314" y="3880"/>
                </a:lnTo>
                <a:lnTo>
                  <a:pt x="5320" y="3883"/>
                </a:lnTo>
                <a:lnTo>
                  <a:pt x="5325" y="3886"/>
                </a:lnTo>
                <a:lnTo>
                  <a:pt x="5331" y="3888"/>
                </a:lnTo>
                <a:lnTo>
                  <a:pt x="5334" y="3893"/>
                </a:lnTo>
                <a:lnTo>
                  <a:pt x="5337" y="3899"/>
                </a:lnTo>
                <a:lnTo>
                  <a:pt x="5338" y="3903"/>
                </a:lnTo>
                <a:lnTo>
                  <a:pt x="5339" y="3911"/>
                </a:lnTo>
                <a:lnTo>
                  <a:pt x="5339" y="4332"/>
                </a:lnTo>
                <a:close/>
                <a:moveTo>
                  <a:pt x="3956" y="0"/>
                </a:moveTo>
                <a:lnTo>
                  <a:pt x="4113" y="0"/>
                </a:lnTo>
                <a:lnTo>
                  <a:pt x="4113" y="423"/>
                </a:lnTo>
                <a:lnTo>
                  <a:pt x="4111" y="429"/>
                </a:lnTo>
                <a:lnTo>
                  <a:pt x="4110" y="435"/>
                </a:lnTo>
                <a:lnTo>
                  <a:pt x="4107" y="439"/>
                </a:lnTo>
                <a:lnTo>
                  <a:pt x="4104" y="444"/>
                </a:lnTo>
                <a:lnTo>
                  <a:pt x="4099" y="448"/>
                </a:lnTo>
                <a:lnTo>
                  <a:pt x="4094" y="451"/>
                </a:lnTo>
                <a:lnTo>
                  <a:pt x="4088" y="452"/>
                </a:lnTo>
                <a:lnTo>
                  <a:pt x="4082" y="452"/>
                </a:lnTo>
                <a:lnTo>
                  <a:pt x="3987" y="452"/>
                </a:lnTo>
                <a:lnTo>
                  <a:pt x="3981" y="452"/>
                </a:lnTo>
                <a:lnTo>
                  <a:pt x="3975" y="451"/>
                </a:lnTo>
                <a:lnTo>
                  <a:pt x="3970" y="448"/>
                </a:lnTo>
                <a:lnTo>
                  <a:pt x="3965" y="444"/>
                </a:lnTo>
                <a:lnTo>
                  <a:pt x="3962" y="439"/>
                </a:lnTo>
                <a:lnTo>
                  <a:pt x="3959" y="435"/>
                </a:lnTo>
                <a:lnTo>
                  <a:pt x="3958" y="429"/>
                </a:lnTo>
                <a:lnTo>
                  <a:pt x="3956" y="423"/>
                </a:lnTo>
                <a:lnTo>
                  <a:pt x="3956" y="0"/>
                </a:lnTo>
                <a:close/>
                <a:moveTo>
                  <a:pt x="2244" y="0"/>
                </a:moveTo>
                <a:lnTo>
                  <a:pt x="2315" y="0"/>
                </a:lnTo>
                <a:lnTo>
                  <a:pt x="2315" y="429"/>
                </a:lnTo>
                <a:lnTo>
                  <a:pt x="2313" y="435"/>
                </a:lnTo>
                <a:lnTo>
                  <a:pt x="2312" y="441"/>
                </a:lnTo>
                <a:lnTo>
                  <a:pt x="2309" y="447"/>
                </a:lnTo>
                <a:lnTo>
                  <a:pt x="2306" y="451"/>
                </a:lnTo>
                <a:lnTo>
                  <a:pt x="2301" y="454"/>
                </a:lnTo>
                <a:lnTo>
                  <a:pt x="2296" y="457"/>
                </a:lnTo>
                <a:lnTo>
                  <a:pt x="2290" y="458"/>
                </a:lnTo>
                <a:lnTo>
                  <a:pt x="2284" y="460"/>
                </a:lnTo>
                <a:lnTo>
                  <a:pt x="2275" y="460"/>
                </a:lnTo>
                <a:lnTo>
                  <a:pt x="2269" y="458"/>
                </a:lnTo>
                <a:lnTo>
                  <a:pt x="2263" y="457"/>
                </a:lnTo>
                <a:lnTo>
                  <a:pt x="2257" y="454"/>
                </a:lnTo>
                <a:lnTo>
                  <a:pt x="2253" y="451"/>
                </a:lnTo>
                <a:lnTo>
                  <a:pt x="2250" y="447"/>
                </a:lnTo>
                <a:lnTo>
                  <a:pt x="2247" y="441"/>
                </a:lnTo>
                <a:lnTo>
                  <a:pt x="2245" y="435"/>
                </a:lnTo>
                <a:lnTo>
                  <a:pt x="2244" y="429"/>
                </a:lnTo>
                <a:lnTo>
                  <a:pt x="2244" y="0"/>
                </a:lnTo>
                <a:close/>
                <a:moveTo>
                  <a:pt x="1953" y="0"/>
                </a:moveTo>
                <a:lnTo>
                  <a:pt x="2110" y="0"/>
                </a:lnTo>
                <a:lnTo>
                  <a:pt x="2110" y="429"/>
                </a:lnTo>
                <a:lnTo>
                  <a:pt x="2110" y="435"/>
                </a:lnTo>
                <a:lnTo>
                  <a:pt x="2107" y="441"/>
                </a:lnTo>
                <a:lnTo>
                  <a:pt x="2104" y="447"/>
                </a:lnTo>
                <a:lnTo>
                  <a:pt x="2101" y="451"/>
                </a:lnTo>
                <a:lnTo>
                  <a:pt x="2096" y="454"/>
                </a:lnTo>
                <a:lnTo>
                  <a:pt x="2090" y="457"/>
                </a:lnTo>
                <a:lnTo>
                  <a:pt x="2086" y="458"/>
                </a:lnTo>
                <a:lnTo>
                  <a:pt x="2079" y="460"/>
                </a:lnTo>
                <a:lnTo>
                  <a:pt x="1984" y="460"/>
                </a:lnTo>
                <a:lnTo>
                  <a:pt x="1978" y="458"/>
                </a:lnTo>
                <a:lnTo>
                  <a:pt x="1972" y="457"/>
                </a:lnTo>
                <a:lnTo>
                  <a:pt x="1968" y="454"/>
                </a:lnTo>
                <a:lnTo>
                  <a:pt x="1963" y="451"/>
                </a:lnTo>
                <a:lnTo>
                  <a:pt x="1959" y="447"/>
                </a:lnTo>
                <a:lnTo>
                  <a:pt x="1956" y="441"/>
                </a:lnTo>
                <a:lnTo>
                  <a:pt x="1955" y="435"/>
                </a:lnTo>
                <a:lnTo>
                  <a:pt x="1953" y="429"/>
                </a:lnTo>
                <a:lnTo>
                  <a:pt x="1953" y="0"/>
                </a:lnTo>
                <a:close/>
                <a:moveTo>
                  <a:pt x="871" y="0"/>
                </a:moveTo>
                <a:lnTo>
                  <a:pt x="980" y="0"/>
                </a:lnTo>
                <a:lnTo>
                  <a:pt x="980" y="429"/>
                </a:lnTo>
                <a:lnTo>
                  <a:pt x="979" y="435"/>
                </a:lnTo>
                <a:lnTo>
                  <a:pt x="977" y="441"/>
                </a:lnTo>
                <a:lnTo>
                  <a:pt x="974" y="447"/>
                </a:lnTo>
                <a:lnTo>
                  <a:pt x="971" y="451"/>
                </a:lnTo>
                <a:lnTo>
                  <a:pt x="967" y="454"/>
                </a:lnTo>
                <a:lnTo>
                  <a:pt x="961" y="457"/>
                </a:lnTo>
                <a:lnTo>
                  <a:pt x="955" y="458"/>
                </a:lnTo>
                <a:lnTo>
                  <a:pt x="949" y="460"/>
                </a:lnTo>
                <a:lnTo>
                  <a:pt x="900" y="460"/>
                </a:lnTo>
                <a:lnTo>
                  <a:pt x="895" y="458"/>
                </a:lnTo>
                <a:lnTo>
                  <a:pt x="889" y="457"/>
                </a:lnTo>
                <a:lnTo>
                  <a:pt x="884" y="454"/>
                </a:lnTo>
                <a:lnTo>
                  <a:pt x="880" y="451"/>
                </a:lnTo>
                <a:lnTo>
                  <a:pt x="875" y="447"/>
                </a:lnTo>
                <a:lnTo>
                  <a:pt x="872" y="441"/>
                </a:lnTo>
                <a:lnTo>
                  <a:pt x="871" y="435"/>
                </a:lnTo>
                <a:lnTo>
                  <a:pt x="871" y="429"/>
                </a:lnTo>
                <a:lnTo>
                  <a:pt x="871" y="0"/>
                </a:lnTo>
                <a:close/>
                <a:moveTo>
                  <a:pt x="0" y="0"/>
                </a:moveTo>
                <a:lnTo>
                  <a:pt x="71" y="0"/>
                </a:lnTo>
                <a:lnTo>
                  <a:pt x="71" y="429"/>
                </a:lnTo>
                <a:lnTo>
                  <a:pt x="69" y="435"/>
                </a:lnTo>
                <a:lnTo>
                  <a:pt x="68" y="441"/>
                </a:lnTo>
                <a:lnTo>
                  <a:pt x="65" y="447"/>
                </a:lnTo>
                <a:lnTo>
                  <a:pt x="62" y="451"/>
                </a:lnTo>
                <a:lnTo>
                  <a:pt x="58" y="454"/>
                </a:lnTo>
                <a:lnTo>
                  <a:pt x="52" y="457"/>
                </a:lnTo>
                <a:lnTo>
                  <a:pt x="46" y="458"/>
                </a:lnTo>
                <a:lnTo>
                  <a:pt x="40" y="460"/>
                </a:lnTo>
                <a:lnTo>
                  <a:pt x="31" y="460"/>
                </a:lnTo>
                <a:lnTo>
                  <a:pt x="25" y="458"/>
                </a:lnTo>
                <a:lnTo>
                  <a:pt x="19" y="457"/>
                </a:lnTo>
                <a:lnTo>
                  <a:pt x="13" y="454"/>
                </a:lnTo>
                <a:lnTo>
                  <a:pt x="9" y="451"/>
                </a:lnTo>
                <a:lnTo>
                  <a:pt x="6" y="447"/>
                </a:lnTo>
                <a:lnTo>
                  <a:pt x="3" y="441"/>
                </a:lnTo>
                <a:lnTo>
                  <a:pt x="1" y="435"/>
                </a:lnTo>
                <a:lnTo>
                  <a:pt x="0" y="429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9" name="Freeform 12">
            <a:extLst>
              <a:ext uri="{FF2B5EF4-FFF2-40B4-BE49-F238E27FC236}">
                <a16:creationId xmlns:a16="http://schemas.microsoft.com/office/drawing/2014/main" id="{90E8DE61-5EBF-4120-8570-4B0C114CA35D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07368" y="401447"/>
            <a:ext cx="648000" cy="723297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1748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026C53-2624-4117-835D-2C8E7CB1CC57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0CC04ED-B65B-48C8-B52A-7CDD12C54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56333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Bei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67217D-F98F-4E80-BA4C-C19B4452EEDA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9516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8E0935-1C3B-491F-871C-D59124C55A23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IA - RKL yrittäjäpäivä 1.11.202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reeform 6"/>
          <p:cNvSpPr>
            <a:spLocks noChangeAspect="1" noEditPoints="1"/>
          </p:cNvSpPr>
          <p:nvPr userDrawn="1"/>
        </p:nvSpPr>
        <p:spPr bwMode="black">
          <a:xfrm>
            <a:off x="11418061" y="6051504"/>
            <a:ext cx="360000" cy="401832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4255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82663" y="404664"/>
            <a:ext cx="4537273" cy="1008063"/>
          </a:xfrm>
        </p:spPr>
        <p:txBody>
          <a:bodyPr tIns="144000" anchor="t" anchorCtr="0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982663" y="1844675"/>
            <a:ext cx="4537273" cy="4105275"/>
          </a:xfrm>
        </p:spPr>
        <p:txBody>
          <a:bodyPr/>
          <a:lstStyle>
            <a:lvl1pPr marL="361950" indent="-361950">
              <a:buFont typeface="+mj-lt"/>
              <a:buAutoNum type="arabicPeriod"/>
              <a:defRPr/>
            </a:lvl1pPr>
            <a:lvl2pPr marL="628650" indent="-266700">
              <a:defRPr/>
            </a:lvl2pPr>
            <a:lvl3pPr marL="895350" indent="-273050">
              <a:defRPr/>
            </a:lvl3pPr>
            <a:lvl4pPr marL="1162050" indent="-266700">
              <a:defRPr/>
            </a:lvl4pPr>
            <a:lvl5pPr marL="1438275" indent="-276225">
              <a:defRPr/>
            </a:lvl5pPr>
            <a:lvl6pPr marL="1704975" indent="-274638">
              <a:defRPr/>
            </a:lvl6pPr>
            <a:lvl7pPr marL="1971675" indent="-266700">
              <a:defRPr/>
            </a:lvl7pPr>
            <a:lvl8pPr marL="2238375" indent="-265113">
              <a:defRPr/>
            </a:lvl8pPr>
            <a:lvl9pPr marL="2514600" indent="-266700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1A1FC5AA-8054-4537-A9EC-03B7B6A4C73B}" type="datetime1">
              <a:rPr lang="fi-FI" smtClean="0">
                <a:solidFill>
                  <a:srgbClr val="FF6900"/>
                </a:solidFill>
              </a:rPr>
              <a:t>31.10.2023</a:t>
            </a:fld>
            <a:endParaRPr lang="en-US">
              <a:solidFill>
                <a:srgbClr val="FF69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i-FI">
                <a:solidFill>
                  <a:srgbClr val="FF6900"/>
                </a:solidFill>
              </a:rPr>
              <a:t>RIA - RKL yrittäjäpäivä 1.11.2023</a:t>
            </a:r>
            <a:endParaRPr lang="en-US">
              <a:solidFill>
                <a:srgbClr val="FF69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1FEE6BA-E83C-4FBF-B719-E6671631796F}" type="slidenum">
              <a:rPr lang="en-US" smtClean="0">
                <a:solidFill>
                  <a:srgbClr val="FF6900"/>
                </a:solidFill>
              </a:rPr>
              <a:pPr/>
              <a:t>‹#›</a:t>
            </a:fld>
            <a:endParaRPr lang="en-US">
              <a:solidFill>
                <a:srgbClr val="FF69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9574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82663" y="404664"/>
            <a:ext cx="4537273" cy="1008063"/>
          </a:xfrm>
        </p:spPr>
        <p:txBody>
          <a:bodyPr tIns="144000" anchor="t" anchorCtr="0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982663" y="1844675"/>
            <a:ext cx="4537273" cy="4105275"/>
          </a:xfrm>
        </p:spPr>
        <p:txBody>
          <a:bodyPr/>
          <a:lstStyle>
            <a:lvl1pPr marL="361950" indent="-361950">
              <a:buFont typeface="+mj-lt"/>
              <a:buAutoNum type="arabicPeriod"/>
              <a:defRPr/>
            </a:lvl1pPr>
            <a:lvl2pPr marL="628650" indent="-266700">
              <a:defRPr/>
            </a:lvl2pPr>
            <a:lvl3pPr marL="895350" indent="-273050">
              <a:defRPr/>
            </a:lvl3pPr>
            <a:lvl4pPr marL="1162050" indent="-266700">
              <a:defRPr/>
            </a:lvl4pPr>
            <a:lvl5pPr marL="1438275" indent="-276225">
              <a:defRPr/>
            </a:lvl5pPr>
            <a:lvl6pPr marL="1704975" indent="-274638">
              <a:defRPr/>
            </a:lvl6pPr>
            <a:lvl7pPr marL="1971675" indent="-266700">
              <a:defRPr/>
            </a:lvl7pPr>
            <a:lvl8pPr marL="2238375" indent="-265113">
              <a:defRPr/>
            </a:lvl8pPr>
            <a:lvl9pPr marL="2514600" indent="-266700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686B3614-A94E-467E-BF43-79D29100B766}" type="datetime1">
              <a:rPr lang="fi-FI" smtClean="0">
                <a:solidFill>
                  <a:srgbClr val="FF6900"/>
                </a:solidFill>
              </a:rPr>
              <a:t>31.10.2023</a:t>
            </a:fld>
            <a:endParaRPr lang="en-US">
              <a:solidFill>
                <a:srgbClr val="FF69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i-FI">
                <a:solidFill>
                  <a:srgbClr val="FF6900"/>
                </a:solidFill>
              </a:rPr>
              <a:t>RIA - RKL yrittäjäpäivä 1.11.2023</a:t>
            </a:r>
            <a:endParaRPr lang="en-US">
              <a:solidFill>
                <a:srgbClr val="FF69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1FEE6BA-E83C-4FBF-B719-E6671631796F}" type="slidenum">
              <a:rPr lang="en-US" smtClean="0">
                <a:solidFill>
                  <a:srgbClr val="FF6900"/>
                </a:solidFill>
              </a:rPr>
              <a:pPr/>
              <a:t>‹#›</a:t>
            </a:fld>
            <a:endParaRPr lang="en-US">
              <a:solidFill>
                <a:srgbClr val="FF6900"/>
              </a:solidFill>
            </a:endParaRPr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B82B854A-49BE-8648-3758-90543E17334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344310" y="0"/>
            <a:ext cx="3847690" cy="3429000"/>
          </a:xfrm>
          <a:custGeom>
            <a:avLst/>
            <a:gdLst>
              <a:gd name="T0" fmla="*/ 1508 w 3437"/>
              <a:gd name="T1" fmla="*/ 2040 h 3063"/>
              <a:gd name="T2" fmla="*/ 937 w 3437"/>
              <a:gd name="T3" fmla="*/ 2040 h 3063"/>
              <a:gd name="T4" fmla="*/ 573 w 3437"/>
              <a:gd name="T5" fmla="*/ 1531 h 3063"/>
              <a:gd name="T6" fmla="*/ 210 w 3437"/>
              <a:gd name="T7" fmla="*/ 1023 h 3063"/>
              <a:gd name="T8" fmla="*/ 780 w 3437"/>
              <a:gd name="T9" fmla="*/ 1023 h 3063"/>
              <a:gd name="T10" fmla="*/ 1144 w 3437"/>
              <a:gd name="T11" fmla="*/ 1531 h 3063"/>
              <a:gd name="T12" fmla="*/ 1508 w 3437"/>
              <a:gd name="T13" fmla="*/ 2040 h 3063"/>
              <a:gd name="T14" fmla="*/ 1719 w 3437"/>
              <a:gd name="T15" fmla="*/ 2040 h 3063"/>
              <a:gd name="T16" fmla="*/ 1354 w 3437"/>
              <a:gd name="T17" fmla="*/ 1531 h 3063"/>
              <a:gd name="T18" fmla="*/ 990 w 3437"/>
              <a:gd name="T19" fmla="*/ 1022 h 3063"/>
              <a:gd name="T20" fmla="*/ 1354 w 3437"/>
              <a:gd name="T21" fmla="*/ 510 h 3063"/>
              <a:gd name="T22" fmla="*/ 1719 w 3437"/>
              <a:gd name="T23" fmla="*/ 0 h 3063"/>
              <a:gd name="T24" fmla="*/ 1224 w 3437"/>
              <a:gd name="T25" fmla="*/ 0 h 3063"/>
              <a:gd name="T26" fmla="*/ 729 w 3437"/>
              <a:gd name="T27" fmla="*/ 0 h 3063"/>
              <a:gd name="T28" fmla="*/ 364 w 3437"/>
              <a:gd name="T29" fmla="*/ 510 h 3063"/>
              <a:gd name="T30" fmla="*/ 0 w 3437"/>
              <a:gd name="T31" fmla="*/ 1022 h 3063"/>
              <a:gd name="T32" fmla="*/ 364 w 3437"/>
              <a:gd name="T33" fmla="*/ 1531 h 3063"/>
              <a:gd name="T34" fmla="*/ 729 w 3437"/>
              <a:gd name="T35" fmla="*/ 2041 h 3063"/>
              <a:gd name="T36" fmla="*/ 364 w 3437"/>
              <a:gd name="T37" fmla="*/ 2552 h 3063"/>
              <a:gd name="T38" fmla="*/ 0 w 3437"/>
              <a:gd name="T39" fmla="*/ 3063 h 3063"/>
              <a:gd name="T40" fmla="*/ 494 w 3437"/>
              <a:gd name="T41" fmla="*/ 3063 h 3063"/>
              <a:gd name="T42" fmla="*/ 990 w 3437"/>
              <a:gd name="T43" fmla="*/ 3063 h 3063"/>
              <a:gd name="T44" fmla="*/ 1354 w 3437"/>
              <a:gd name="T45" fmla="*/ 2552 h 3063"/>
              <a:gd name="T46" fmla="*/ 1719 w 3437"/>
              <a:gd name="T47" fmla="*/ 2041 h 3063"/>
              <a:gd name="T48" fmla="*/ 2212 w 3437"/>
              <a:gd name="T49" fmla="*/ 2041 h 3063"/>
              <a:gd name="T50" fmla="*/ 2707 w 3437"/>
              <a:gd name="T51" fmla="*/ 2041 h 3063"/>
              <a:gd name="T52" fmla="*/ 3072 w 3437"/>
              <a:gd name="T53" fmla="*/ 1530 h 3063"/>
              <a:gd name="T54" fmla="*/ 3437 w 3437"/>
              <a:gd name="T55" fmla="*/ 1019 h 3063"/>
              <a:gd name="T56" fmla="*/ 2942 w 3437"/>
              <a:gd name="T57" fmla="*/ 1019 h 3063"/>
              <a:gd name="T58" fmla="*/ 2447 w 3437"/>
              <a:gd name="T59" fmla="*/ 1019 h 3063"/>
              <a:gd name="T60" fmla="*/ 2083 w 3437"/>
              <a:gd name="T61" fmla="*/ 1529 h 3063"/>
              <a:gd name="T62" fmla="*/ 1719 w 3437"/>
              <a:gd name="T63" fmla="*/ 2040 h 30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437" h="3063">
                <a:moveTo>
                  <a:pt x="1508" y="2040"/>
                </a:moveTo>
                <a:lnTo>
                  <a:pt x="937" y="2040"/>
                </a:lnTo>
                <a:lnTo>
                  <a:pt x="573" y="1531"/>
                </a:lnTo>
                <a:lnTo>
                  <a:pt x="210" y="1023"/>
                </a:lnTo>
                <a:lnTo>
                  <a:pt x="780" y="1023"/>
                </a:lnTo>
                <a:lnTo>
                  <a:pt x="1144" y="1531"/>
                </a:lnTo>
                <a:lnTo>
                  <a:pt x="1508" y="2040"/>
                </a:lnTo>
                <a:close/>
                <a:moveTo>
                  <a:pt x="1719" y="2040"/>
                </a:moveTo>
                <a:lnTo>
                  <a:pt x="1354" y="1531"/>
                </a:lnTo>
                <a:lnTo>
                  <a:pt x="990" y="1022"/>
                </a:lnTo>
                <a:lnTo>
                  <a:pt x="1354" y="510"/>
                </a:lnTo>
                <a:lnTo>
                  <a:pt x="1719" y="0"/>
                </a:lnTo>
                <a:lnTo>
                  <a:pt x="1224" y="0"/>
                </a:lnTo>
                <a:lnTo>
                  <a:pt x="729" y="0"/>
                </a:lnTo>
                <a:lnTo>
                  <a:pt x="364" y="510"/>
                </a:lnTo>
                <a:lnTo>
                  <a:pt x="0" y="1022"/>
                </a:lnTo>
                <a:lnTo>
                  <a:pt x="364" y="1531"/>
                </a:lnTo>
                <a:lnTo>
                  <a:pt x="729" y="2041"/>
                </a:lnTo>
                <a:lnTo>
                  <a:pt x="364" y="2552"/>
                </a:lnTo>
                <a:lnTo>
                  <a:pt x="0" y="3063"/>
                </a:lnTo>
                <a:lnTo>
                  <a:pt x="494" y="3063"/>
                </a:lnTo>
                <a:lnTo>
                  <a:pt x="990" y="3063"/>
                </a:lnTo>
                <a:lnTo>
                  <a:pt x="1354" y="2552"/>
                </a:lnTo>
                <a:lnTo>
                  <a:pt x="1719" y="2041"/>
                </a:lnTo>
                <a:lnTo>
                  <a:pt x="2212" y="2041"/>
                </a:lnTo>
                <a:lnTo>
                  <a:pt x="2707" y="2041"/>
                </a:lnTo>
                <a:lnTo>
                  <a:pt x="3072" y="1530"/>
                </a:lnTo>
                <a:lnTo>
                  <a:pt x="3437" y="1019"/>
                </a:lnTo>
                <a:lnTo>
                  <a:pt x="2942" y="1019"/>
                </a:lnTo>
                <a:lnTo>
                  <a:pt x="2447" y="1019"/>
                </a:lnTo>
                <a:lnTo>
                  <a:pt x="2083" y="1529"/>
                </a:lnTo>
                <a:lnTo>
                  <a:pt x="1719" y="204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2530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82663" y="404664"/>
            <a:ext cx="4537273" cy="1008063"/>
          </a:xfrm>
        </p:spPr>
        <p:txBody>
          <a:bodyPr tIns="144000" anchor="t" anchorCtr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982663" y="1844675"/>
            <a:ext cx="4537273" cy="4105275"/>
          </a:xfrm>
        </p:spPr>
        <p:txBody>
          <a:bodyPr/>
          <a:lstStyle>
            <a:lvl1pPr marL="361950" indent="-361950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628650" indent="-266700">
              <a:defRPr>
                <a:solidFill>
                  <a:schemeClr val="bg1"/>
                </a:solidFill>
              </a:defRPr>
            </a:lvl2pPr>
            <a:lvl3pPr marL="895350" indent="-273050">
              <a:defRPr>
                <a:solidFill>
                  <a:schemeClr val="bg1"/>
                </a:solidFill>
              </a:defRPr>
            </a:lvl3pPr>
            <a:lvl4pPr marL="1162050" indent="-266700">
              <a:defRPr>
                <a:solidFill>
                  <a:schemeClr val="bg1"/>
                </a:solidFill>
              </a:defRPr>
            </a:lvl4pPr>
            <a:lvl5pPr marL="1438275" indent="-276225">
              <a:defRPr>
                <a:solidFill>
                  <a:schemeClr val="bg1"/>
                </a:solidFill>
              </a:defRPr>
            </a:lvl5pPr>
            <a:lvl6pPr marL="1704975" indent="-274638">
              <a:defRPr>
                <a:solidFill>
                  <a:schemeClr val="bg1"/>
                </a:solidFill>
              </a:defRPr>
            </a:lvl6pPr>
            <a:lvl7pPr marL="1971675" indent="-266700">
              <a:defRPr>
                <a:solidFill>
                  <a:schemeClr val="bg1"/>
                </a:solidFill>
              </a:defRPr>
            </a:lvl7pPr>
            <a:lvl8pPr marL="2238375" indent="-265113">
              <a:defRPr>
                <a:solidFill>
                  <a:schemeClr val="bg1"/>
                </a:solidFill>
              </a:defRPr>
            </a:lvl8pPr>
            <a:lvl9pPr marL="2514600" indent="-26670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E79197A6-0965-4EA5-A622-89E05CD605FC}"/>
              </a:ext>
            </a:extLst>
          </p:cNvPr>
          <p:cNvSpPr>
            <a:spLocks noEditPoints="1"/>
          </p:cNvSpPr>
          <p:nvPr userDrawn="1"/>
        </p:nvSpPr>
        <p:spPr bwMode="auto">
          <a:xfrm flipH="1" flipV="1">
            <a:off x="5519494" y="0"/>
            <a:ext cx="6409154" cy="6858000"/>
          </a:xfrm>
          <a:custGeom>
            <a:avLst/>
            <a:gdLst>
              <a:gd name="T0" fmla="*/ 2381 w 4041"/>
              <a:gd name="T1" fmla="*/ 2204 h 4324"/>
              <a:gd name="T2" fmla="*/ 2381 w 4041"/>
              <a:gd name="T3" fmla="*/ 3804 h 4324"/>
              <a:gd name="T4" fmla="*/ 2300 w 4041"/>
              <a:gd name="T5" fmla="*/ 3816 h 4324"/>
              <a:gd name="T6" fmla="*/ 2276 w 4041"/>
              <a:gd name="T7" fmla="*/ 3788 h 4324"/>
              <a:gd name="T8" fmla="*/ 2294 w 4041"/>
              <a:gd name="T9" fmla="*/ 2192 h 4324"/>
              <a:gd name="T10" fmla="*/ 1573 w 4041"/>
              <a:gd name="T11" fmla="*/ 2196 h 4324"/>
              <a:gd name="T12" fmla="*/ 1587 w 4041"/>
              <a:gd name="T13" fmla="*/ 3794 h 4324"/>
              <a:gd name="T14" fmla="*/ 1557 w 4041"/>
              <a:gd name="T15" fmla="*/ 3818 h 4324"/>
              <a:gd name="T16" fmla="*/ 1434 w 4041"/>
              <a:gd name="T17" fmla="*/ 3798 h 4324"/>
              <a:gd name="T18" fmla="*/ 1440 w 4041"/>
              <a:gd name="T19" fmla="*/ 2200 h 4324"/>
              <a:gd name="T20" fmla="*/ 444 w 4041"/>
              <a:gd name="T21" fmla="*/ 2190 h 4324"/>
              <a:gd name="T22" fmla="*/ 469 w 4041"/>
              <a:gd name="T23" fmla="*/ 2220 h 4324"/>
              <a:gd name="T24" fmla="*/ 450 w 4041"/>
              <a:gd name="T25" fmla="*/ 3814 h 4324"/>
              <a:gd name="T26" fmla="*/ 408 w 4041"/>
              <a:gd name="T27" fmla="*/ 3808 h 4324"/>
              <a:gd name="T28" fmla="*/ 400 w 4041"/>
              <a:gd name="T29" fmla="*/ 2208 h 4324"/>
              <a:gd name="T30" fmla="*/ 685 w 4041"/>
              <a:gd name="T31" fmla="*/ 510 h 4324"/>
              <a:gd name="T32" fmla="*/ 808 w 4041"/>
              <a:gd name="T33" fmla="*/ 528 h 4324"/>
              <a:gd name="T34" fmla="*/ 802 w 4041"/>
              <a:gd name="T35" fmla="*/ 2128 h 4324"/>
              <a:gd name="T36" fmla="*/ 672 w 4041"/>
              <a:gd name="T37" fmla="*/ 2134 h 4324"/>
              <a:gd name="T38" fmla="*/ 654 w 4041"/>
              <a:gd name="T39" fmla="*/ 540 h 4324"/>
              <a:gd name="T40" fmla="*/ 679 w 4041"/>
              <a:gd name="T41" fmla="*/ 510 h 4324"/>
              <a:gd name="T42" fmla="*/ 3375 w 4041"/>
              <a:gd name="T43" fmla="*/ 518 h 4324"/>
              <a:gd name="T44" fmla="*/ 3381 w 4041"/>
              <a:gd name="T45" fmla="*/ 2118 h 4324"/>
              <a:gd name="T46" fmla="*/ 3342 w 4041"/>
              <a:gd name="T47" fmla="*/ 2136 h 4324"/>
              <a:gd name="T48" fmla="*/ 3314 w 4041"/>
              <a:gd name="T49" fmla="*/ 2112 h 4324"/>
              <a:gd name="T50" fmla="*/ 3326 w 4041"/>
              <a:gd name="T51" fmla="*/ 514 h 4324"/>
              <a:gd name="T52" fmla="*/ 1862 w 4041"/>
              <a:gd name="T53" fmla="*/ 512 h 4324"/>
              <a:gd name="T54" fmla="*/ 1880 w 4041"/>
              <a:gd name="T55" fmla="*/ 2106 h 4324"/>
              <a:gd name="T56" fmla="*/ 1856 w 4041"/>
              <a:gd name="T57" fmla="*/ 2136 h 4324"/>
              <a:gd name="T58" fmla="*/ 1816 w 4041"/>
              <a:gd name="T59" fmla="*/ 2124 h 4324"/>
              <a:gd name="T60" fmla="*/ 1816 w 4041"/>
              <a:gd name="T61" fmla="*/ 522 h 4324"/>
              <a:gd name="T62" fmla="*/ 30 w 4041"/>
              <a:gd name="T63" fmla="*/ 2136 h 4324"/>
              <a:gd name="T64" fmla="*/ 0 w 4041"/>
              <a:gd name="T65" fmla="*/ 2112 h 4324"/>
              <a:gd name="T66" fmla="*/ 14 w 4041"/>
              <a:gd name="T67" fmla="*/ 514 h 4324"/>
              <a:gd name="T68" fmla="*/ 57 w 4041"/>
              <a:gd name="T69" fmla="*/ 514 h 4324"/>
              <a:gd name="T70" fmla="*/ 71 w 4041"/>
              <a:gd name="T71" fmla="*/ 2112 h 4324"/>
              <a:gd name="T72" fmla="*/ 40 w 4041"/>
              <a:gd name="T73" fmla="*/ 2136 h 4324"/>
              <a:gd name="T74" fmla="*/ 79 w 4041"/>
              <a:gd name="T75" fmla="*/ 3881 h 4324"/>
              <a:gd name="T76" fmla="*/ 208 w 4041"/>
              <a:gd name="T77" fmla="*/ 3873 h 4324"/>
              <a:gd name="T78" fmla="*/ 226 w 4041"/>
              <a:gd name="T79" fmla="*/ 4324 h 4324"/>
              <a:gd name="T80" fmla="*/ 881 w 4041"/>
              <a:gd name="T81" fmla="*/ 3881 h 4324"/>
              <a:gd name="T82" fmla="*/ 927 w 4041"/>
              <a:gd name="T83" fmla="*/ 3873 h 4324"/>
              <a:gd name="T84" fmla="*/ 959 w 4041"/>
              <a:gd name="T85" fmla="*/ 4324 h 4324"/>
              <a:gd name="T86" fmla="*/ 2874 w 4041"/>
              <a:gd name="T87" fmla="*/ 3881 h 4324"/>
              <a:gd name="T88" fmla="*/ 2916 w 4041"/>
              <a:gd name="T89" fmla="*/ 3873 h 4324"/>
              <a:gd name="T90" fmla="*/ 2934 w 4041"/>
              <a:gd name="T91" fmla="*/ 4324 h 4324"/>
              <a:gd name="T92" fmla="*/ 3894 w 4041"/>
              <a:gd name="T93" fmla="*/ 3881 h 4324"/>
              <a:gd name="T94" fmla="*/ 4023 w 4041"/>
              <a:gd name="T95" fmla="*/ 3875 h 4324"/>
              <a:gd name="T96" fmla="*/ 4041 w 4041"/>
              <a:gd name="T97" fmla="*/ 4324 h 4324"/>
              <a:gd name="T98" fmla="*/ 2777 w 4041"/>
              <a:gd name="T99" fmla="*/ 443 h 4324"/>
              <a:gd name="T100" fmla="*/ 2648 w 4041"/>
              <a:gd name="T101" fmla="*/ 449 h 4324"/>
              <a:gd name="T102" fmla="*/ 2629 w 4041"/>
              <a:gd name="T103" fmla="*/ 0 h 4324"/>
              <a:gd name="T104" fmla="*/ 418 w 4041"/>
              <a:gd name="T105" fmla="*/ 449 h 4324"/>
              <a:gd name="T106" fmla="*/ 291 w 4041"/>
              <a:gd name="T107" fmla="*/ 455 h 4324"/>
              <a:gd name="T108" fmla="*/ 271 w 4041"/>
              <a:gd name="T109" fmla="*/ 0 h 4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041" h="4324">
                <a:moveTo>
                  <a:pt x="2306" y="2190"/>
                </a:moveTo>
                <a:lnTo>
                  <a:pt x="2355" y="2190"/>
                </a:lnTo>
                <a:lnTo>
                  <a:pt x="2361" y="2190"/>
                </a:lnTo>
                <a:lnTo>
                  <a:pt x="2367" y="2192"/>
                </a:lnTo>
                <a:lnTo>
                  <a:pt x="2373" y="2196"/>
                </a:lnTo>
                <a:lnTo>
                  <a:pt x="2377" y="2200"/>
                </a:lnTo>
                <a:lnTo>
                  <a:pt x="2381" y="2204"/>
                </a:lnTo>
                <a:lnTo>
                  <a:pt x="2383" y="2208"/>
                </a:lnTo>
                <a:lnTo>
                  <a:pt x="2385" y="2214"/>
                </a:lnTo>
                <a:lnTo>
                  <a:pt x="2385" y="2220"/>
                </a:lnTo>
                <a:lnTo>
                  <a:pt x="2385" y="3788"/>
                </a:lnTo>
                <a:lnTo>
                  <a:pt x="2385" y="3794"/>
                </a:lnTo>
                <a:lnTo>
                  <a:pt x="2383" y="3798"/>
                </a:lnTo>
                <a:lnTo>
                  <a:pt x="2381" y="3804"/>
                </a:lnTo>
                <a:lnTo>
                  <a:pt x="2377" y="3808"/>
                </a:lnTo>
                <a:lnTo>
                  <a:pt x="2373" y="3812"/>
                </a:lnTo>
                <a:lnTo>
                  <a:pt x="2367" y="3814"/>
                </a:lnTo>
                <a:lnTo>
                  <a:pt x="2361" y="3816"/>
                </a:lnTo>
                <a:lnTo>
                  <a:pt x="2355" y="3818"/>
                </a:lnTo>
                <a:lnTo>
                  <a:pt x="2306" y="3818"/>
                </a:lnTo>
                <a:lnTo>
                  <a:pt x="2300" y="3816"/>
                </a:lnTo>
                <a:lnTo>
                  <a:pt x="2294" y="3814"/>
                </a:lnTo>
                <a:lnTo>
                  <a:pt x="2290" y="3812"/>
                </a:lnTo>
                <a:lnTo>
                  <a:pt x="2286" y="3808"/>
                </a:lnTo>
                <a:lnTo>
                  <a:pt x="2282" y="3804"/>
                </a:lnTo>
                <a:lnTo>
                  <a:pt x="2278" y="3798"/>
                </a:lnTo>
                <a:lnTo>
                  <a:pt x="2276" y="3794"/>
                </a:lnTo>
                <a:lnTo>
                  <a:pt x="2276" y="3788"/>
                </a:lnTo>
                <a:lnTo>
                  <a:pt x="2276" y="2220"/>
                </a:lnTo>
                <a:lnTo>
                  <a:pt x="2276" y="2214"/>
                </a:lnTo>
                <a:lnTo>
                  <a:pt x="2278" y="2208"/>
                </a:lnTo>
                <a:lnTo>
                  <a:pt x="2282" y="2204"/>
                </a:lnTo>
                <a:lnTo>
                  <a:pt x="2286" y="2200"/>
                </a:lnTo>
                <a:lnTo>
                  <a:pt x="2290" y="2196"/>
                </a:lnTo>
                <a:lnTo>
                  <a:pt x="2294" y="2192"/>
                </a:lnTo>
                <a:lnTo>
                  <a:pt x="2300" y="2190"/>
                </a:lnTo>
                <a:lnTo>
                  <a:pt x="2306" y="2190"/>
                </a:lnTo>
                <a:close/>
                <a:moveTo>
                  <a:pt x="1462" y="2190"/>
                </a:moveTo>
                <a:lnTo>
                  <a:pt x="1557" y="2190"/>
                </a:lnTo>
                <a:lnTo>
                  <a:pt x="1563" y="2190"/>
                </a:lnTo>
                <a:lnTo>
                  <a:pt x="1569" y="2192"/>
                </a:lnTo>
                <a:lnTo>
                  <a:pt x="1573" y="2196"/>
                </a:lnTo>
                <a:lnTo>
                  <a:pt x="1579" y="2200"/>
                </a:lnTo>
                <a:lnTo>
                  <a:pt x="1581" y="2204"/>
                </a:lnTo>
                <a:lnTo>
                  <a:pt x="1585" y="2208"/>
                </a:lnTo>
                <a:lnTo>
                  <a:pt x="1587" y="2214"/>
                </a:lnTo>
                <a:lnTo>
                  <a:pt x="1587" y="2220"/>
                </a:lnTo>
                <a:lnTo>
                  <a:pt x="1587" y="3788"/>
                </a:lnTo>
                <a:lnTo>
                  <a:pt x="1587" y="3794"/>
                </a:lnTo>
                <a:lnTo>
                  <a:pt x="1585" y="3798"/>
                </a:lnTo>
                <a:lnTo>
                  <a:pt x="1581" y="3804"/>
                </a:lnTo>
                <a:lnTo>
                  <a:pt x="1579" y="3808"/>
                </a:lnTo>
                <a:lnTo>
                  <a:pt x="1573" y="3812"/>
                </a:lnTo>
                <a:lnTo>
                  <a:pt x="1569" y="3814"/>
                </a:lnTo>
                <a:lnTo>
                  <a:pt x="1563" y="3816"/>
                </a:lnTo>
                <a:lnTo>
                  <a:pt x="1557" y="3818"/>
                </a:lnTo>
                <a:lnTo>
                  <a:pt x="1462" y="3818"/>
                </a:lnTo>
                <a:lnTo>
                  <a:pt x="1456" y="3816"/>
                </a:lnTo>
                <a:lnTo>
                  <a:pt x="1450" y="3814"/>
                </a:lnTo>
                <a:lnTo>
                  <a:pt x="1446" y="3812"/>
                </a:lnTo>
                <a:lnTo>
                  <a:pt x="1440" y="3808"/>
                </a:lnTo>
                <a:lnTo>
                  <a:pt x="1436" y="3804"/>
                </a:lnTo>
                <a:lnTo>
                  <a:pt x="1434" y="3798"/>
                </a:lnTo>
                <a:lnTo>
                  <a:pt x="1432" y="3794"/>
                </a:lnTo>
                <a:lnTo>
                  <a:pt x="1432" y="3788"/>
                </a:lnTo>
                <a:lnTo>
                  <a:pt x="1432" y="2220"/>
                </a:lnTo>
                <a:lnTo>
                  <a:pt x="1432" y="2214"/>
                </a:lnTo>
                <a:lnTo>
                  <a:pt x="1434" y="2208"/>
                </a:lnTo>
                <a:lnTo>
                  <a:pt x="1436" y="2204"/>
                </a:lnTo>
                <a:lnTo>
                  <a:pt x="1440" y="2200"/>
                </a:lnTo>
                <a:lnTo>
                  <a:pt x="1446" y="2196"/>
                </a:lnTo>
                <a:lnTo>
                  <a:pt x="1450" y="2192"/>
                </a:lnTo>
                <a:lnTo>
                  <a:pt x="1456" y="2190"/>
                </a:lnTo>
                <a:lnTo>
                  <a:pt x="1462" y="2190"/>
                </a:lnTo>
                <a:close/>
                <a:moveTo>
                  <a:pt x="428" y="2190"/>
                </a:moveTo>
                <a:lnTo>
                  <a:pt x="438" y="2190"/>
                </a:lnTo>
                <a:lnTo>
                  <a:pt x="444" y="2190"/>
                </a:lnTo>
                <a:lnTo>
                  <a:pt x="450" y="2192"/>
                </a:lnTo>
                <a:lnTo>
                  <a:pt x="454" y="2196"/>
                </a:lnTo>
                <a:lnTo>
                  <a:pt x="460" y="2200"/>
                </a:lnTo>
                <a:lnTo>
                  <a:pt x="462" y="2204"/>
                </a:lnTo>
                <a:lnTo>
                  <a:pt x="467" y="2208"/>
                </a:lnTo>
                <a:lnTo>
                  <a:pt x="469" y="2214"/>
                </a:lnTo>
                <a:lnTo>
                  <a:pt x="469" y="2220"/>
                </a:lnTo>
                <a:lnTo>
                  <a:pt x="469" y="3788"/>
                </a:lnTo>
                <a:lnTo>
                  <a:pt x="469" y="3794"/>
                </a:lnTo>
                <a:lnTo>
                  <a:pt x="467" y="3798"/>
                </a:lnTo>
                <a:lnTo>
                  <a:pt x="462" y="3804"/>
                </a:lnTo>
                <a:lnTo>
                  <a:pt x="460" y="3808"/>
                </a:lnTo>
                <a:lnTo>
                  <a:pt x="454" y="3812"/>
                </a:lnTo>
                <a:lnTo>
                  <a:pt x="450" y="3814"/>
                </a:lnTo>
                <a:lnTo>
                  <a:pt x="444" y="3816"/>
                </a:lnTo>
                <a:lnTo>
                  <a:pt x="438" y="3818"/>
                </a:lnTo>
                <a:lnTo>
                  <a:pt x="428" y="3818"/>
                </a:lnTo>
                <a:lnTo>
                  <a:pt x="422" y="3816"/>
                </a:lnTo>
                <a:lnTo>
                  <a:pt x="416" y="3814"/>
                </a:lnTo>
                <a:lnTo>
                  <a:pt x="412" y="3812"/>
                </a:lnTo>
                <a:lnTo>
                  <a:pt x="408" y="3808"/>
                </a:lnTo>
                <a:lnTo>
                  <a:pt x="404" y="3804"/>
                </a:lnTo>
                <a:lnTo>
                  <a:pt x="400" y="3798"/>
                </a:lnTo>
                <a:lnTo>
                  <a:pt x="400" y="3794"/>
                </a:lnTo>
                <a:lnTo>
                  <a:pt x="398" y="3788"/>
                </a:lnTo>
                <a:lnTo>
                  <a:pt x="398" y="2220"/>
                </a:lnTo>
                <a:lnTo>
                  <a:pt x="400" y="2214"/>
                </a:lnTo>
                <a:lnTo>
                  <a:pt x="400" y="2208"/>
                </a:lnTo>
                <a:lnTo>
                  <a:pt x="404" y="2204"/>
                </a:lnTo>
                <a:lnTo>
                  <a:pt x="408" y="2200"/>
                </a:lnTo>
                <a:lnTo>
                  <a:pt x="412" y="2196"/>
                </a:lnTo>
                <a:lnTo>
                  <a:pt x="416" y="2192"/>
                </a:lnTo>
                <a:lnTo>
                  <a:pt x="422" y="2190"/>
                </a:lnTo>
                <a:lnTo>
                  <a:pt x="428" y="2190"/>
                </a:lnTo>
                <a:close/>
                <a:moveTo>
                  <a:pt x="685" y="510"/>
                </a:moveTo>
                <a:lnTo>
                  <a:pt x="780" y="510"/>
                </a:lnTo>
                <a:lnTo>
                  <a:pt x="786" y="510"/>
                </a:lnTo>
                <a:lnTo>
                  <a:pt x="792" y="512"/>
                </a:lnTo>
                <a:lnTo>
                  <a:pt x="796" y="514"/>
                </a:lnTo>
                <a:lnTo>
                  <a:pt x="802" y="518"/>
                </a:lnTo>
                <a:lnTo>
                  <a:pt x="804" y="522"/>
                </a:lnTo>
                <a:lnTo>
                  <a:pt x="808" y="528"/>
                </a:lnTo>
                <a:lnTo>
                  <a:pt x="810" y="534"/>
                </a:lnTo>
                <a:lnTo>
                  <a:pt x="810" y="540"/>
                </a:lnTo>
                <a:lnTo>
                  <a:pt x="810" y="2106"/>
                </a:lnTo>
                <a:lnTo>
                  <a:pt x="810" y="2112"/>
                </a:lnTo>
                <a:lnTo>
                  <a:pt x="808" y="2118"/>
                </a:lnTo>
                <a:lnTo>
                  <a:pt x="804" y="2124"/>
                </a:lnTo>
                <a:lnTo>
                  <a:pt x="802" y="2128"/>
                </a:lnTo>
                <a:lnTo>
                  <a:pt x="796" y="2132"/>
                </a:lnTo>
                <a:lnTo>
                  <a:pt x="792" y="2134"/>
                </a:lnTo>
                <a:lnTo>
                  <a:pt x="786" y="2136"/>
                </a:lnTo>
                <a:lnTo>
                  <a:pt x="780" y="2136"/>
                </a:lnTo>
                <a:lnTo>
                  <a:pt x="685" y="2136"/>
                </a:lnTo>
                <a:lnTo>
                  <a:pt x="679" y="2136"/>
                </a:lnTo>
                <a:lnTo>
                  <a:pt x="672" y="2134"/>
                </a:lnTo>
                <a:lnTo>
                  <a:pt x="668" y="2132"/>
                </a:lnTo>
                <a:lnTo>
                  <a:pt x="662" y="2128"/>
                </a:lnTo>
                <a:lnTo>
                  <a:pt x="660" y="2124"/>
                </a:lnTo>
                <a:lnTo>
                  <a:pt x="656" y="2118"/>
                </a:lnTo>
                <a:lnTo>
                  <a:pt x="654" y="2112"/>
                </a:lnTo>
                <a:lnTo>
                  <a:pt x="654" y="2106"/>
                </a:lnTo>
                <a:lnTo>
                  <a:pt x="654" y="540"/>
                </a:lnTo>
                <a:lnTo>
                  <a:pt x="654" y="534"/>
                </a:lnTo>
                <a:lnTo>
                  <a:pt x="656" y="528"/>
                </a:lnTo>
                <a:lnTo>
                  <a:pt x="660" y="522"/>
                </a:lnTo>
                <a:lnTo>
                  <a:pt x="662" y="518"/>
                </a:lnTo>
                <a:lnTo>
                  <a:pt x="668" y="514"/>
                </a:lnTo>
                <a:lnTo>
                  <a:pt x="672" y="512"/>
                </a:lnTo>
                <a:lnTo>
                  <a:pt x="679" y="510"/>
                </a:lnTo>
                <a:lnTo>
                  <a:pt x="685" y="510"/>
                </a:lnTo>
                <a:close/>
                <a:moveTo>
                  <a:pt x="3342" y="510"/>
                </a:moveTo>
                <a:lnTo>
                  <a:pt x="3352" y="510"/>
                </a:lnTo>
                <a:lnTo>
                  <a:pt x="3358" y="510"/>
                </a:lnTo>
                <a:lnTo>
                  <a:pt x="3364" y="512"/>
                </a:lnTo>
                <a:lnTo>
                  <a:pt x="3369" y="514"/>
                </a:lnTo>
                <a:lnTo>
                  <a:pt x="3375" y="518"/>
                </a:lnTo>
                <a:lnTo>
                  <a:pt x="3377" y="522"/>
                </a:lnTo>
                <a:lnTo>
                  <a:pt x="3381" y="528"/>
                </a:lnTo>
                <a:lnTo>
                  <a:pt x="3383" y="534"/>
                </a:lnTo>
                <a:lnTo>
                  <a:pt x="3383" y="540"/>
                </a:lnTo>
                <a:lnTo>
                  <a:pt x="3383" y="2106"/>
                </a:lnTo>
                <a:lnTo>
                  <a:pt x="3383" y="2112"/>
                </a:lnTo>
                <a:lnTo>
                  <a:pt x="3381" y="2118"/>
                </a:lnTo>
                <a:lnTo>
                  <a:pt x="3377" y="2124"/>
                </a:lnTo>
                <a:lnTo>
                  <a:pt x="3375" y="2128"/>
                </a:lnTo>
                <a:lnTo>
                  <a:pt x="3369" y="2132"/>
                </a:lnTo>
                <a:lnTo>
                  <a:pt x="3364" y="2134"/>
                </a:lnTo>
                <a:lnTo>
                  <a:pt x="3358" y="2136"/>
                </a:lnTo>
                <a:lnTo>
                  <a:pt x="3352" y="2136"/>
                </a:lnTo>
                <a:lnTo>
                  <a:pt x="3342" y="2136"/>
                </a:lnTo>
                <a:lnTo>
                  <a:pt x="3336" y="2136"/>
                </a:lnTo>
                <a:lnTo>
                  <a:pt x="3330" y="2134"/>
                </a:lnTo>
                <a:lnTo>
                  <a:pt x="3326" y="2132"/>
                </a:lnTo>
                <a:lnTo>
                  <a:pt x="3322" y="2128"/>
                </a:lnTo>
                <a:lnTo>
                  <a:pt x="3318" y="2124"/>
                </a:lnTo>
                <a:lnTo>
                  <a:pt x="3314" y="2118"/>
                </a:lnTo>
                <a:lnTo>
                  <a:pt x="3314" y="2112"/>
                </a:lnTo>
                <a:lnTo>
                  <a:pt x="3312" y="2106"/>
                </a:lnTo>
                <a:lnTo>
                  <a:pt x="3312" y="540"/>
                </a:lnTo>
                <a:lnTo>
                  <a:pt x="3314" y="534"/>
                </a:lnTo>
                <a:lnTo>
                  <a:pt x="3314" y="528"/>
                </a:lnTo>
                <a:lnTo>
                  <a:pt x="3318" y="522"/>
                </a:lnTo>
                <a:lnTo>
                  <a:pt x="3322" y="518"/>
                </a:lnTo>
                <a:lnTo>
                  <a:pt x="3326" y="514"/>
                </a:lnTo>
                <a:lnTo>
                  <a:pt x="3330" y="512"/>
                </a:lnTo>
                <a:lnTo>
                  <a:pt x="3336" y="510"/>
                </a:lnTo>
                <a:lnTo>
                  <a:pt x="3342" y="510"/>
                </a:lnTo>
                <a:close/>
                <a:moveTo>
                  <a:pt x="1842" y="510"/>
                </a:moveTo>
                <a:lnTo>
                  <a:pt x="1850" y="510"/>
                </a:lnTo>
                <a:lnTo>
                  <a:pt x="1856" y="510"/>
                </a:lnTo>
                <a:lnTo>
                  <a:pt x="1862" y="512"/>
                </a:lnTo>
                <a:lnTo>
                  <a:pt x="1868" y="514"/>
                </a:lnTo>
                <a:lnTo>
                  <a:pt x="1872" y="518"/>
                </a:lnTo>
                <a:lnTo>
                  <a:pt x="1876" y="522"/>
                </a:lnTo>
                <a:lnTo>
                  <a:pt x="1878" y="528"/>
                </a:lnTo>
                <a:lnTo>
                  <a:pt x="1880" y="534"/>
                </a:lnTo>
                <a:lnTo>
                  <a:pt x="1880" y="540"/>
                </a:lnTo>
                <a:lnTo>
                  <a:pt x="1880" y="2106"/>
                </a:lnTo>
                <a:lnTo>
                  <a:pt x="1880" y="2112"/>
                </a:lnTo>
                <a:lnTo>
                  <a:pt x="1878" y="2118"/>
                </a:lnTo>
                <a:lnTo>
                  <a:pt x="1876" y="2124"/>
                </a:lnTo>
                <a:lnTo>
                  <a:pt x="1872" y="2128"/>
                </a:lnTo>
                <a:lnTo>
                  <a:pt x="1868" y="2132"/>
                </a:lnTo>
                <a:lnTo>
                  <a:pt x="1862" y="2134"/>
                </a:lnTo>
                <a:lnTo>
                  <a:pt x="1856" y="2136"/>
                </a:lnTo>
                <a:lnTo>
                  <a:pt x="1850" y="2136"/>
                </a:lnTo>
                <a:lnTo>
                  <a:pt x="1842" y="2136"/>
                </a:lnTo>
                <a:lnTo>
                  <a:pt x="1836" y="2136"/>
                </a:lnTo>
                <a:lnTo>
                  <a:pt x="1830" y="2134"/>
                </a:lnTo>
                <a:lnTo>
                  <a:pt x="1824" y="2132"/>
                </a:lnTo>
                <a:lnTo>
                  <a:pt x="1820" y="2128"/>
                </a:lnTo>
                <a:lnTo>
                  <a:pt x="1816" y="2124"/>
                </a:lnTo>
                <a:lnTo>
                  <a:pt x="1814" y="2118"/>
                </a:lnTo>
                <a:lnTo>
                  <a:pt x="1811" y="2112"/>
                </a:lnTo>
                <a:lnTo>
                  <a:pt x="1811" y="2106"/>
                </a:lnTo>
                <a:lnTo>
                  <a:pt x="1811" y="540"/>
                </a:lnTo>
                <a:lnTo>
                  <a:pt x="1811" y="534"/>
                </a:lnTo>
                <a:lnTo>
                  <a:pt x="1814" y="528"/>
                </a:lnTo>
                <a:lnTo>
                  <a:pt x="1816" y="522"/>
                </a:lnTo>
                <a:lnTo>
                  <a:pt x="1820" y="518"/>
                </a:lnTo>
                <a:lnTo>
                  <a:pt x="1824" y="514"/>
                </a:lnTo>
                <a:lnTo>
                  <a:pt x="1830" y="512"/>
                </a:lnTo>
                <a:lnTo>
                  <a:pt x="1836" y="510"/>
                </a:lnTo>
                <a:lnTo>
                  <a:pt x="1842" y="510"/>
                </a:lnTo>
                <a:close/>
                <a:moveTo>
                  <a:pt x="40" y="2136"/>
                </a:moveTo>
                <a:lnTo>
                  <a:pt x="30" y="2136"/>
                </a:lnTo>
                <a:lnTo>
                  <a:pt x="24" y="2136"/>
                </a:lnTo>
                <a:lnTo>
                  <a:pt x="18" y="2134"/>
                </a:lnTo>
                <a:lnTo>
                  <a:pt x="14" y="2132"/>
                </a:lnTo>
                <a:lnTo>
                  <a:pt x="10" y="2128"/>
                </a:lnTo>
                <a:lnTo>
                  <a:pt x="6" y="2124"/>
                </a:lnTo>
                <a:lnTo>
                  <a:pt x="2" y="2118"/>
                </a:lnTo>
                <a:lnTo>
                  <a:pt x="0" y="2112"/>
                </a:lnTo>
                <a:lnTo>
                  <a:pt x="0" y="2106"/>
                </a:lnTo>
                <a:lnTo>
                  <a:pt x="0" y="540"/>
                </a:lnTo>
                <a:lnTo>
                  <a:pt x="0" y="534"/>
                </a:lnTo>
                <a:lnTo>
                  <a:pt x="2" y="528"/>
                </a:lnTo>
                <a:lnTo>
                  <a:pt x="6" y="522"/>
                </a:lnTo>
                <a:lnTo>
                  <a:pt x="10" y="518"/>
                </a:lnTo>
                <a:lnTo>
                  <a:pt x="14" y="514"/>
                </a:lnTo>
                <a:lnTo>
                  <a:pt x="18" y="512"/>
                </a:lnTo>
                <a:lnTo>
                  <a:pt x="24" y="510"/>
                </a:lnTo>
                <a:lnTo>
                  <a:pt x="30" y="510"/>
                </a:lnTo>
                <a:lnTo>
                  <a:pt x="40" y="510"/>
                </a:lnTo>
                <a:lnTo>
                  <a:pt x="46" y="510"/>
                </a:lnTo>
                <a:lnTo>
                  <a:pt x="53" y="512"/>
                </a:lnTo>
                <a:lnTo>
                  <a:pt x="57" y="514"/>
                </a:lnTo>
                <a:lnTo>
                  <a:pt x="61" y="518"/>
                </a:lnTo>
                <a:lnTo>
                  <a:pt x="65" y="522"/>
                </a:lnTo>
                <a:lnTo>
                  <a:pt x="69" y="528"/>
                </a:lnTo>
                <a:lnTo>
                  <a:pt x="71" y="534"/>
                </a:lnTo>
                <a:lnTo>
                  <a:pt x="71" y="540"/>
                </a:lnTo>
                <a:lnTo>
                  <a:pt x="71" y="2106"/>
                </a:lnTo>
                <a:lnTo>
                  <a:pt x="71" y="2112"/>
                </a:lnTo>
                <a:lnTo>
                  <a:pt x="69" y="2118"/>
                </a:lnTo>
                <a:lnTo>
                  <a:pt x="65" y="2124"/>
                </a:lnTo>
                <a:lnTo>
                  <a:pt x="61" y="2128"/>
                </a:lnTo>
                <a:lnTo>
                  <a:pt x="57" y="2132"/>
                </a:lnTo>
                <a:lnTo>
                  <a:pt x="53" y="2134"/>
                </a:lnTo>
                <a:lnTo>
                  <a:pt x="46" y="2136"/>
                </a:lnTo>
                <a:lnTo>
                  <a:pt x="40" y="2136"/>
                </a:lnTo>
                <a:close/>
                <a:moveTo>
                  <a:pt x="226" y="4324"/>
                </a:moveTo>
                <a:lnTo>
                  <a:pt x="71" y="4324"/>
                </a:lnTo>
                <a:lnTo>
                  <a:pt x="71" y="3901"/>
                </a:lnTo>
                <a:lnTo>
                  <a:pt x="71" y="3895"/>
                </a:lnTo>
                <a:lnTo>
                  <a:pt x="73" y="3889"/>
                </a:lnTo>
                <a:lnTo>
                  <a:pt x="75" y="3885"/>
                </a:lnTo>
                <a:lnTo>
                  <a:pt x="79" y="3881"/>
                </a:lnTo>
                <a:lnTo>
                  <a:pt x="83" y="3877"/>
                </a:lnTo>
                <a:lnTo>
                  <a:pt x="89" y="3873"/>
                </a:lnTo>
                <a:lnTo>
                  <a:pt x="95" y="3873"/>
                </a:lnTo>
                <a:lnTo>
                  <a:pt x="101" y="3871"/>
                </a:lnTo>
                <a:lnTo>
                  <a:pt x="196" y="3871"/>
                </a:lnTo>
                <a:lnTo>
                  <a:pt x="202" y="3873"/>
                </a:lnTo>
                <a:lnTo>
                  <a:pt x="208" y="3873"/>
                </a:lnTo>
                <a:lnTo>
                  <a:pt x="212" y="3877"/>
                </a:lnTo>
                <a:lnTo>
                  <a:pt x="216" y="3881"/>
                </a:lnTo>
                <a:lnTo>
                  <a:pt x="220" y="3885"/>
                </a:lnTo>
                <a:lnTo>
                  <a:pt x="224" y="3889"/>
                </a:lnTo>
                <a:lnTo>
                  <a:pt x="226" y="3895"/>
                </a:lnTo>
                <a:lnTo>
                  <a:pt x="226" y="3901"/>
                </a:lnTo>
                <a:lnTo>
                  <a:pt x="226" y="4324"/>
                </a:lnTo>
                <a:close/>
                <a:moveTo>
                  <a:pt x="959" y="4324"/>
                </a:moveTo>
                <a:lnTo>
                  <a:pt x="872" y="4324"/>
                </a:lnTo>
                <a:lnTo>
                  <a:pt x="872" y="3901"/>
                </a:lnTo>
                <a:lnTo>
                  <a:pt x="872" y="3895"/>
                </a:lnTo>
                <a:lnTo>
                  <a:pt x="874" y="3889"/>
                </a:lnTo>
                <a:lnTo>
                  <a:pt x="878" y="3885"/>
                </a:lnTo>
                <a:lnTo>
                  <a:pt x="881" y="3881"/>
                </a:lnTo>
                <a:lnTo>
                  <a:pt x="887" y="3877"/>
                </a:lnTo>
                <a:lnTo>
                  <a:pt x="891" y="3873"/>
                </a:lnTo>
                <a:lnTo>
                  <a:pt x="897" y="3873"/>
                </a:lnTo>
                <a:lnTo>
                  <a:pt x="903" y="3871"/>
                </a:lnTo>
                <a:lnTo>
                  <a:pt x="913" y="3871"/>
                </a:lnTo>
                <a:lnTo>
                  <a:pt x="919" y="3873"/>
                </a:lnTo>
                <a:lnTo>
                  <a:pt x="927" y="3873"/>
                </a:lnTo>
                <a:lnTo>
                  <a:pt x="935" y="3877"/>
                </a:lnTo>
                <a:lnTo>
                  <a:pt x="941" y="3881"/>
                </a:lnTo>
                <a:lnTo>
                  <a:pt x="949" y="3885"/>
                </a:lnTo>
                <a:lnTo>
                  <a:pt x="953" y="3889"/>
                </a:lnTo>
                <a:lnTo>
                  <a:pt x="957" y="3895"/>
                </a:lnTo>
                <a:lnTo>
                  <a:pt x="959" y="3901"/>
                </a:lnTo>
                <a:lnTo>
                  <a:pt x="959" y="4324"/>
                </a:lnTo>
                <a:close/>
                <a:moveTo>
                  <a:pt x="2934" y="4324"/>
                </a:moveTo>
                <a:lnTo>
                  <a:pt x="2866" y="4324"/>
                </a:lnTo>
                <a:lnTo>
                  <a:pt x="2866" y="3901"/>
                </a:lnTo>
                <a:lnTo>
                  <a:pt x="2866" y="3895"/>
                </a:lnTo>
                <a:lnTo>
                  <a:pt x="2868" y="3889"/>
                </a:lnTo>
                <a:lnTo>
                  <a:pt x="2870" y="3885"/>
                </a:lnTo>
                <a:lnTo>
                  <a:pt x="2874" y="3881"/>
                </a:lnTo>
                <a:lnTo>
                  <a:pt x="2878" y="3877"/>
                </a:lnTo>
                <a:lnTo>
                  <a:pt x="2884" y="3873"/>
                </a:lnTo>
                <a:lnTo>
                  <a:pt x="2890" y="3873"/>
                </a:lnTo>
                <a:lnTo>
                  <a:pt x="2896" y="3871"/>
                </a:lnTo>
                <a:lnTo>
                  <a:pt x="2904" y="3871"/>
                </a:lnTo>
                <a:lnTo>
                  <a:pt x="2910" y="3873"/>
                </a:lnTo>
                <a:lnTo>
                  <a:pt x="2916" y="3873"/>
                </a:lnTo>
                <a:lnTo>
                  <a:pt x="2922" y="3877"/>
                </a:lnTo>
                <a:lnTo>
                  <a:pt x="2926" y="3881"/>
                </a:lnTo>
                <a:lnTo>
                  <a:pt x="2930" y="3885"/>
                </a:lnTo>
                <a:lnTo>
                  <a:pt x="2932" y="3889"/>
                </a:lnTo>
                <a:lnTo>
                  <a:pt x="2934" y="3895"/>
                </a:lnTo>
                <a:lnTo>
                  <a:pt x="2934" y="3901"/>
                </a:lnTo>
                <a:lnTo>
                  <a:pt x="2934" y="4324"/>
                </a:lnTo>
                <a:close/>
                <a:moveTo>
                  <a:pt x="4041" y="4324"/>
                </a:moveTo>
                <a:lnTo>
                  <a:pt x="3886" y="4324"/>
                </a:lnTo>
                <a:lnTo>
                  <a:pt x="3886" y="3903"/>
                </a:lnTo>
                <a:lnTo>
                  <a:pt x="3886" y="3897"/>
                </a:lnTo>
                <a:lnTo>
                  <a:pt x="3888" y="3891"/>
                </a:lnTo>
                <a:lnTo>
                  <a:pt x="3890" y="3887"/>
                </a:lnTo>
                <a:lnTo>
                  <a:pt x="3894" y="3881"/>
                </a:lnTo>
                <a:lnTo>
                  <a:pt x="3898" y="3879"/>
                </a:lnTo>
                <a:lnTo>
                  <a:pt x="3904" y="3875"/>
                </a:lnTo>
                <a:lnTo>
                  <a:pt x="3910" y="3873"/>
                </a:lnTo>
                <a:lnTo>
                  <a:pt x="3916" y="3873"/>
                </a:lnTo>
                <a:lnTo>
                  <a:pt x="4011" y="3873"/>
                </a:lnTo>
                <a:lnTo>
                  <a:pt x="4017" y="3873"/>
                </a:lnTo>
                <a:lnTo>
                  <a:pt x="4023" y="3875"/>
                </a:lnTo>
                <a:lnTo>
                  <a:pt x="4027" y="3879"/>
                </a:lnTo>
                <a:lnTo>
                  <a:pt x="4031" y="3881"/>
                </a:lnTo>
                <a:lnTo>
                  <a:pt x="4035" y="3887"/>
                </a:lnTo>
                <a:lnTo>
                  <a:pt x="4039" y="3891"/>
                </a:lnTo>
                <a:lnTo>
                  <a:pt x="4039" y="3897"/>
                </a:lnTo>
                <a:lnTo>
                  <a:pt x="4041" y="3903"/>
                </a:lnTo>
                <a:lnTo>
                  <a:pt x="4041" y="4324"/>
                </a:lnTo>
                <a:close/>
                <a:moveTo>
                  <a:pt x="2629" y="0"/>
                </a:moveTo>
                <a:lnTo>
                  <a:pt x="2785" y="0"/>
                </a:lnTo>
                <a:lnTo>
                  <a:pt x="2785" y="421"/>
                </a:lnTo>
                <a:lnTo>
                  <a:pt x="2785" y="427"/>
                </a:lnTo>
                <a:lnTo>
                  <a:pt x="2783" y="433"/>
                </a:lnTo>
                <a:lnTo>
                  <a:pt x="2781" y="437"/>
                </a:lnTo>
                <a:lnTo>
                  <a:pt x="2777" y="443"/>
                </a:lnTo>
                <a:lnTo>
                  <a:pt x="2773" y="445"/>
                </a:lnTo>
                <a:lnTo>
                  <a:pt x="2767" y="449"/>
                </a:lnTo>
                <a:lnTo>
                  <a:pt x="2761" y="451"/>
                </a:lnTo>
                <a:lnTo>
                  <a:pt x="2755" y="451"/>
                </a:lnTo>
                <a:lnTo>
                  <a:pt x="2660" y="451"/>
                </a:lnTo>
                <a:lnTo>
                  <a:pt x="2654" y="451"/>
                </a:lnTo>
                <a:lnTo>
                  <a:pt x="2648" y="449"/>
                </a:lnTo>
                <a:lnTo>
                  <a:pt x="2644" y="445"/>
                </a:lnTo>
                <a:lnTo>
                  <a:pt x="2639" y="443"/>
                </a:lnTo>
                <a:lnTo>
                  <a:pt x="2635" y="437"/>
                </a:lnTo>
                <a:lnTo>
                  <a:pt x="2631" y="433"/>
                </a:lnTo>
                <a:lnTo>
                  <a:pt x="2631" y="427"/>
                </a:lnTo>
                <a:lnTo>
                  <a:pt x="2629" y="421"/>
                </a:lnTo>
                <a:lnTo>
                  <a:pt x="2629" y="0"/>
                </a:lnTo>
                <a:close/>
                <a:moveTo>
                  <a:pt x="271" y="0"/>
                </a:moveTo>
                <a:lnTo>
                  <a:pt x="426" y="0"/>
                </a:lnTo>
                <a:lnTo>
                  <a:pt x="426" y="427"/>
                </a:lnTo>
                <a:lnTo>
                  <a:pt x="426" y="433"/>
                </a:lnTo>
                <a:lnTo>
                  <a:pt x="424" y="439"/>
                </a:lnTo>
                <a:lnTo>
                  <a:pt x="422" y="445"/>
                </a:lnTo>
                <a:lnTo>
                  <a:pt x="418" y="449"/>
                </a:lnTo>
                <a:lnTo>
                  <a:pt x="414" y="453"/>
                </a:lnTo>
                <a:lnTo>
                  <a:pt x="408" y="455"/>
                </a:lnTo>
                <a:lnTo>
                  <a:pt x="402" y="457"/>
                </a:lnTo>
                <a:lnTo>
                  <a:pt x="396" y="457"/>
                </a:lnTo>
                <a:lnTo>
                  <a:pt x="301" y="457"/>
                </a:lnTo>
                <a:lnTo>
                  <a:pt x="295" y="457"/>
                </a:lnTo>
                <a:lnTo>
                  <a:pt x="291" y="455"/>
                </a:lnTo>
                <a:lnTo>
                  <a:pt x="285" y="453"/>
                </a:lnTo>
                <a:lnTo>
                  <a:pt x="281" y="449"/>
                </a:lnTo>
                <a:lnTo>
                  <a:pt x="277" y="445"/>
                </a:lnTo>
                <a:lnTo>
                  <a:pt x="275" y="439"/>
                </a:lnTo>
                <a:lnTo>
                  <a:pt x="273" y="433"/>
                </a:lnTo>
                <a:lnTo>
                  <a:pt x="271" y="427"/>
                </a:lnTo>
                <a:lnTo>
                  <a:pt x="271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EFC1703-6BC8-4854-ABE2-AEAA158FA975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RIA - RKL yrittäjäpäivä 1.11.2023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reeform 6">
            <a:extLst>
              <a:ext uri="{FF2B5EF4-FFF2-40B4-BE49-F238E27FC236}">
                <a16:creationId xmlns:a16="http://schemas.microsoft.com/office/drawing/2014/main" id="{3B8AEF8B-76DA-44A2-B594-F0971A4FA42E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11418061" y="6051504"/>
            <a:ext cx="360000" cy="401832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6643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43026" y="2348879"/>
            <a:ext cx="9505949" cy="223264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3025" y="1844675"/>
            <a:ext cx="950595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1343025" y="5229225"/>
            <a:ext cx="9505950" cy="720726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5C5630BA-F250-4C8E-B371-7BCEC0F3A742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07568" y="6309320"/>
            <a:ext cx="8641408" cy="143298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RIA - RKL yrittäjäpäivä 1.11.202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reeform 8"/>
          <p:cNvSpPr>
            <a:spLocks noChangeAspect="1" noEditPoints="1"/>
          </p:cNvSpPr>
          <p:nvPr userDrawn="1"/>
        </p:nvSpPr>
        <p:spPr bwMode="black">
          <a:xfrm>
            <a:off x="11136013" y="5730039"/>
            <a:ext cx="648000" cy="723297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068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343026" y="2348879"/>
            <a:ext cx="9505949" cy="223264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343025" y="1844675"/>
            <a:ext cx="950595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1343025" y="5229225"/>
            <a:ext cx="9505950" cy="720726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Freeform 12"/>
          <p:cNvSpPr>
            <a:spLocks noChangeAspect="1" noEditPoints="1"/>
          </p:cNvSpPr>
          <p:nvPr userDrawn="1"/>
        </p:nvSpPr>
        <p:spPr bwMode="black">
          <a:xfrm>
            <a:off x="11136013" y="5730039"/>
            <a:ext cx="648000" cy="723297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55E433E-D35A-4C56-8590-120AE3EC45E8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IA - RKL yrittäjäpäivä 1.11.2023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5758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343026" y="2348879"/>
            <a:ext cx="9505949" cy="223264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343025" y="1844675"/>
            <a:ext cx="950595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accent2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1343025" y="5229225"/>
            <a:ext cx="9505950" cy="720726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254D84-5189-47BE-AEAB-9D9AC887A7A8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Freeform 9"/>
          <p:cNvSpPr>
            <a:spLocks noChangeAspect="1" noEditPoints="1"/>
          </p:cNvSpPr>
          <p:nvPr userDrawn="1"/>
        </p:nvSpPr>
        <p:spPr bwMode="black">
          <a:xfrm>
            <a:off x="11136013" y="5730039"/>
            <a:ext cx="648000" cy="723297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chemeClr val="accent2"/>
              </a:solidFill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1217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2391EE5B-8CA8-4387-9218-0204062E7D6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368" y="2348879"/>
            <a:ext cx="7128793" cy="223264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01A3B0AB-9E87-478F-AB60-70D4D7D66A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7" y="1844675"/>
            <a:ext cx="7128794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BE834264-8EE2-4820-BF02-6A796285FB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7" y="5229225"/>
            <a:ext cx="7128794" cy="720726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9D748D8-1DC8-4ECF-9CC5-DB968A62ACCA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07568" y="6309320"/>
            <a:ext cx="8641408" cy="143298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RIA - RKL yrittäjäpäivä 1.11.202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8293B29A-FB85-491D-8AB7-E471AA1D6035}"/>
              </a:ext>
            </a:extLst>
          </p:cNvPr>
          <p:cNvSpPr>
            <a:spLocks noEditPoints="1"/>
          </p:cNvSpPr>
          <p:nvPr userDrawn="1"/>
        </p:nvSpPr>
        <p:spPr bwMode="auto">
          <a:xfrm flipH="1" flipV="1">
            <a:off x="5519494" y="0"/>
            <a:ext cx="6409154" cy="6858000"/>
          </a:xfrm>
          <a:custGeom>
            <a:avLst/>
            <a:gdLst>
              <a:gd name="T0" fmla="*/ 2381 w 4041"/>
              <a:gd name="T1" fmla="*/ 2204 h 4324"/>
              <a:gd name="T2" fmla="*/ 2381 w 4041"/>
              <a:gd name="T3" fmla="*/ 3804 h 4324"/>
              <a:gd name="T4" fmla="*/ 2300 w 4041"/>
              <a:gd name="T5" fmla="*/ 3816 h 4324"/>
              <a:gd name="T6" fmla="*/ 2276 w 4041"/>
              <a:gd name="T7" fmla="*/ 3788 h 4324"/>
              <a:gd name="T8" fmla="*/ 2294 w 4041"/>
              <a:gd name="T9" fmla="*/ 2192 h 4324"/>
              <a:gd name="T10" fmla="*/ 1573 w 4041"/>
              <a:gd name="T11" fmla="*/ 2196 h 4324"/>
              <a:gd name="T12" fmla="*/ 1587 w 4041"/>
              <a:gd name="T13" fmla="*/ 3794 h 4324"/>
              <a:gd name="T14" fmla="*/ 1557 w 4041"/>
              <a:gd name="T15" fmla="*/ 3818 h 4324"/>
              <a:gd name="T16" fmla="*/ 1434 w 4041"/>
              <a:gd name="T17" fmla="*/ 3798 h 4324"/>
              <a:gd name="T18" fmla="*/ 1440 w 4041"/>
              <a:gd name="T19" fmla="*/ 2200 h 4324"/>
              <a:gd name="T20" fmla="*/ 444 w 4041"/>
              <a:gd name="T21" fmla="*/ 2190 h 4324"/>
              <a:gd name="T22" fmla="*/ 469 w 4041"/>
              <a:gd name="T23" fmla="*/ 2220 h 4324"/>
              <a:gd name="T24" fmla="*/ 450 w 4041"/>
              <a:gd name="T25" fmla="*/ 3814 h 4324"/>
              <a:gd name="T26" fmla="*/ 408 w 4041"/>
              <a:gd name="T27" fmla="*/ 3808 h 4324"/>
              <a:gd name="T28" fmla="*/ 400 w 4041"/>
              <a:gd name="T29" fmla="*/ 2208 h 4324"/>
              <a:gd name="T30" fmla="*/ 685 w 4041"/>
              <a:gd name="T31" fmla="*/ 510 h 4324"/>
              <a:gd name="T32" fmla="*/ 808 w 4041"/>
              <a:gd name="T33" fmla="*/ 528 h 4324"/>
              <a:gd name="T34" fmla="*/ 802 w 4041"/>
              <a:gd name="T35" fmla="*/ 2128 h 4324"/>
              <a:gd name="T36" fmla="*/ 672 w 4041"/>
              <a:gd name="T37" fmla="*/ 2134 h 4324"/>
              <a:gd name="T38" fmla="*/ 654 w 4041"/>
              <a:gd name="T39" fmla="*/ 540 h 4324"/>
              <a:gd name="T40" fmla="*/ 679 w 4041"/>
              <a:gd name="T41" fmla="*/ 510 h 4324"/>
              <a:gd name="T42" fmla="*/ 3375 w 4041"/>
              <a:gd name="T43" fmla="*/ 518 h 4324"/>
              <a:gd name="T44" fmla="*/ 3381 w 4041"/>
              <a:gd name="T45" fmla="*/ 2118 h 4324"/>
              <a:gd name="T46" fmla="*/ 3342 w 4041"/>
              <a:gd name="T47" fmla="*/ 2136 h 4324"/>
              <a:gd name="T48" fmla="*/ 3314 w 4041"/>
              <a:gd name="T49" fmla="*/ 2112 h 4324"/>
              <a:gd name="T50" fmla="*/ 3326 w 4041"/>
              <a:gd name="T51" fmla="*/ 514 h 4324"/>
              <a:gd name="T52" fmla="*/ 1862 w 4041"/>
              <a:gd name="T53" fmla="*/ 512 h 4324"/>
              <a:gd name="T54" fmla="*/ 1880 w 4041"/>
              <a:gd name="T55" fmla="*/ 2106 h 4324"/>
              <a:gd name="T56" fmla="*/ 1856 w 4041"/>
              <a:gd name="T57" fmla="*/ 2136 h 4324"/>
              <a:gd name="T58" fmla="*/ 1816 w 4041"/>
              <a:gd name="T59" fmla="*/ 2124 h 4324"/>
              <a:gd name="T60" fmla="*/ 1816 w 4041"/>
              <a:gd name="T61" fmla="*/ 522 h 4324"/>
              <a:gd name="T62" fmla="*/ 30 w 4041"/>
              <a:gd name="T63" fmla="*/ 2136 h 4324"/>
              <a:gd name="T64" fmla="*/ 0 w 4041"/>
              <a:gd name="T65" fmla="*/ 2112 h 4324"/>
              <a:gd name="T66" fmla="*/ 14 w 4041"/>
              <a:gd name="T67" fmla="*/ 514 h 4324"/>
              <a:gd name="T68" fmla="*/ 57 w 4041"/>
              <a:gd name="T69" fmla="*/ 514 h 4324"/>
              <a:gd name="T70" fmla="*/ 71 w 4041"/>
              <a:gd name="T71" fmla="*/ 2112 h 4324"/>
              <a:gd name="T72" fmla="*/ 40 w 4041"/>
              <a:gd name="T73" fmla="*/ 2136 h 4324"/>
              <a:gd name="T74" fmla="*/ 79 w 4041"/>
              <a:gd name="T75" fmla="*/ 3881 h 4324"/>
              <a:gd name="T76" fmla="*/ 208 w 4041"/>
              <a:gd name="T77" fmla="*/ 3873 h 4324"/>
              <a:gd name="T78" fmla="*/ 226 w 4041"/>
              <a:gd name="T79" fmla="*/ 4324 h 4324"/>
              <a:gd name="T80" fmla="*/ 881 w 4041"/>
              <a:gd name="T81" fmla="*/ 3881 h 4324"/>
              <a:gd name="T82" fmla="*/ 927 w 4041"/>
              <a:gd name="T83" fmla="*/ 3873 h 4324"/>
              <a:gd name="T84" fmla="*/ 959 w 4041"/>
              <a:gd name="T85" fmla="*/ 4324 h 4324"/>
              <a:gd name="T86" fmla="*/ 2874 w 4041"/>
              <a:gd name="T87" fmla="*/ 3881 h 4324"/>
              <a:gd name="T88" fmla="*/ 2916 w 4041"/>
              <a:gd name="T89" fmla="*/ 3873 h 4324"/>
              <a:gd name="T90" fmla="*/ 2934 w 4041"/>
              <a:gd name="T91" fmla="*/ 4324 h 4324"/>
              <a:gd name="T92" fmla="*/ 3894 w 4041"/>
              <a:gd name="T93" fmla="*/ 3881 h 4324"/>
              <a:gd name="T94" fmla="*/ 4023 w 4041"/>
              <a:gd name="T95" fmla="*/ 3875 h 4324"/>
              <a:gd name="T96" fmla="*/ 4041 w 4041"/>
              <a:gd name="T97" fmla="*/ 4324 h 4324"/>
              <a:gd name="T98" fmla="*/ 2777 w 4041"/>
              <a:gd name="T99" fmla="*/ 443 h 4324"/>
              <a:gd name="T100" fmla="*/ 2648 w 4041"/>
              <a:gd name="T101" fmla="*/ 449 h 4324"/>
              <a:gd name="T102" fmla="*/ 2629 w 4041"/>
              <a:gd name="T103" fmla="*/ 0 h 4324"/>
              <a:gd name="T104" fmla="*/ 418 w 4041"/>
              <a:gd name="T105" fmla="*/ 449 h 4324"/>
              <a:gd name="T106" fmla="*/ 291 w 4041"/>
              <a:gd name="T107" fmla="*/ 455 h 4324"/>
              <a:gd name="T108" fmla="*/ 271 w 4041"/>
              <a:gd name="T109" fmla="*/ 0 h 4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041" h="4324">
                <a:moveTo>
                  <a:pt x="2306" y="2190"/>
                </a:moveTo>
                <a:lnTo>
                  <a:pt x="2355" y="2190"/>
                </a:lnTo>
                <a:lnTo>
                  <a:pt x="2361" y="2190"/>
                </a:lnTo>
                <a:lnTo>
                  <a:pt x="2367" y="2192"/>
                </a:lnTo>
                <a:lnTo>
                  <a:pt x="2373" y="2196"/>
                </a:lnTo>
                <a:lnTo>
                  <a:pt x="2377" y="2200"/>
                </a:lnTo>
                <a:lnTo>
                  <a:pt x="2381" y="2204"/>
                </a:lnTo>
                <a:lnTo>
                  <a:pt x="2383" y="2208"/>
                </a:lnTo>
                <a:lnTo>
                  <a:pt x="2385" y="2214"/>
                </a:lnTo>
                <a:lnTo>
                  <a:pt x="2385" y="2220"/>
                </a:lnTo>
                <a:lnTo>
                  <a:pt x="2385" y="3788"/>
                </a:lnTo>
                <a:lnTo>
                  <a:pt x="2385" y="3794"/>
                </a:lnTo>
                <a:lnTo>
                  <a:pt x="2383" y="3798"/>
                </a:lnTo>
                <a:lnTo>
                  <a:pt x="2381" y="3804"/>
                </a:lnTo>
                <a:lnTo>
                  <a:pt x="2377" y="3808"/>
                </a:lnTo>
                <a:lnTo>
                  <a:pt x="2373" y="3812"/>
                </a:lnTo>
                <a:lnTo>
                  <a:pt x="2367" y="3814"/>
                </a:lnTo>
                <a:lnTo>
                  <a:pt x="2361" y="3816"/>
                </a:lnTo>
                <a:lnTo>
                  <a:pt x="2355" y="3818"/>
                </a:lnTo>
                <a:lnTo>
                  <a:pt x="2306" y="3818"/>
                </a:lnTo>
                <a:lnTo>
                  <a:pt x="2300" y="3816"/>
                </a:lnTo>
                <a:lnTo>
                  <a:pt x="2294" y="3814"/>
                </a:lnTo>
                <a:lnTo>
                  <a:pt x="2290" y="3812"/>
                </a:lnTo>
                <a:lnTo>
                  <a:pt x="2286" y="3808"/>
                </a:lnTo>
                <a:lnTo>
                  <a:pt x="2282" y="3804"/>
                </a:lnTo>
                <a:lnTo>
                  <a:pt x="2278" y="3798"/>
                </a:lnTo>
                <a:lnTo>
                  <a:pt x="2276" y="3794"/>
                </a:lnTo>
                <a:lnTo>
                  <a:pt x="2276" y="3788"/>
                </a:lnTo>
                <a:lnTo>
                  <a:pt x="2276" y="2220"/>
                </a:lnTo>
                <a:lnTo>
                  <a:pt x="2276" y="2214"/>
                </a:lnTo>
                <a:lnTo>
                  <a:pt x="2278" y="2208"/>
                </a:lnTo>
                <a:lnTo>
                  <a:pt x="2282" y="2204"/>
                </a:lnTo>
                <a:lnTo>
                  <a:pt x="2286" y="2200"/>
                </a:lnTo>
                <a:lnTo>
                  <a:pt x="2290" y="2196"/>
                </a:lnTo>
                <a:lnTo>
                  <a:pt x="2294" y="2192"/>
                </a:lnTo>
                <a:lnTo>
                  <a:pt x="2300" y="2190"/>
                </a:lnTo>
                <a:lnTo>
                  <a:pt x="2306" y="2190"/>
                </a:lnTo>
                <a:close/>
                <a:moveTo>
                  <a:pt x="1462" y="2190"/>
                </a:moveTo>
                <a:lnTo>
                  <a:pt x="1557" y="2190"/>
                </a:lnTo>
                <a:lnTo>
                  <a:pt x="1563" y="2190"/>
                </a:lnTo>
                <a:lnTo>
                  <a:pt x="1569" y="2192"/>
                </a:lnTo>
                <a:lnTo>
                  <a:pt x="1573" y="2196"/>
                </a:lnTo>
                <a:lnTo>
                  <a:pt x="1579" y="2200"/>
                </a:lnTo>
                <a:lnTo>
                  <a:pt x="1581" y="2204"/>
                </a:lnTo>
                <a:lnTo>
                  <a:pt x="1585" y="2208"/>
                </a:lnTo>
                <a:lnTo>
                  <a:pt x="1587" y="2214"/>
                </a:lnTo>
                <a:lnTo>
                  <a:pt x="1587" y="2220"/>
                </a:lnTo>
                <a:lnTo>
                  <a:pt x="1587" y="3788"/>
                </a:lnTo>
                <a:lnTo>
                  <a:pt x="1587" y="3794"/>
                </a:lnTo>
                <a:lnTo>
                  <a:pt x="1585" y="3798"/>
                </a:lnTo>
                <a:lnTo>
                  <a:pt x="1581" y="3804"/>
                </a:lnTo>
                <a:lnTo>
                  <a:pt x="1579" y="3808"/>
                </a:lnTo>
                <a:lnTo>
                  <a:pt x="1573" y="3812"/>
                </a:lnTo>
                <a:lnTo>
                  <a:pt x="1569" y="3814"/>
                </a:lnTo>
                <a:lnTo>
                  <a:pt x="1563" y="3816"/>
                </a:lnTo>
                <a:lnTo>
                  <a:pt x="1557" y="3818"/>
                </a:lnTo>
                <a:lnTo>
                  <a:pt x="1462" y="3818"/>
                </a:lnTo>
                <a:lnTo>
                  <a:pt x="1456" y="3816"/>
                </a:lnTo>
                <a:lnTo>
                  <a:pt x="1450" y="3814"/>
                </a:lnTo>
                <a:lnTo>
                  <a:pt x="1446" y="3812"/>
                </a:lnTo>
                <a:lnTo>
                  <a:pt x="1440" y="3808"/>
                </a:lnTo>
                <a:lnTo>
                  <a:pt x="1436" y="3804"/>
                </a:lnTo>
                <a:lnTo>
                  <a:pt x="1434" y="3798"/>
                </a:lnTo>
                <a:lnTo>
                  <a:pt x="1432" y="3794"/>
                </a:lnTo>
                <a:lnTo>
                  <a:pt x="1432" y="3788"/>
                </a:lnTo>
                <a:lnTo>
                  <a:pt x="1432" y="2220"/>
                </a:lnTo>
                <a:lnTo>
                  <a:pt x="1432" y="2214"/>
                </a:lnTo>
                <a:lnTo>
                  <a:pt x="1434" y="2208"/>
                </a:lnTo>
                <a:lnTo>
                  <a:pt x="1436" y="2204"/>
                </a:lnTo>
                <a:lnTo>
                  <a:pt x="1440" y="2200"/>
                </a:lnTo>
                <a:lnTo>
                  <a:pt x="1446" y="2196"/>
                </a:lnTo>
                <a:lnTo>
                  <a:pt x="1450" y="2192"/>
                </a:lnTo>
                <a:lnTo>
                  <a:pt x="1456" y="2190"/>
                </a:lnTo>
                <a:lnTo>
                  <a:pt x="1462" y="2190"/>
                </a:lnTo>
                <a:close/>
                <a:moveTo>
                  <a:pt x="428" y="2190"/>
                </a:moveTo>
                <a:lnTo>
                  <a:pt x="438" y="2190"/>
                </a:lnTo>
                <a:lnTo>
                  <a:pt x="444" y="2190"/>
                </a:lnTo>
                <a:lnTo>
                  <a:pt x="450" y="2192"/>
                </a:lnTo>
                <a:lnTo>
                  <a:pt x="454" y="2196"/>
                </a:lnTo>
                <a:lnTo>
                  <a:pt x="460" y="2200"/>
                </a:lnTo>
                <a:lnTo>
                  <a:pt x="462" y="2204"/>
                </a:lnTo>
                <a:lnTo>
                  <a:pt x="467" y="2208"/>
                </a:lnTo>
                <a:lnTo>
                  <a:pt x="469" y="2214"/>
                </a:lnTo>
                <a:lnTo>
                  <a:pt x="469" y="2220"/>
                </a:lnTo>
                <a:lnTo>
                  <a:pt x="469" y="3788"/>
                </a:lnTo>
                <a:lnTo>
                  <a:pt x="469" y="3794"/>
                </a:lnTo>
                <a:lnTo>
                  <a:pt x="467" y="3798"/>
                </a:lnTo>
                <a:lnTo>
                  <a:pt x="462" y="3804"/>
                </a:lnTo>
                <a:lnTo>
                  <a:pt x="460" y="3808"/>
                </a:lnTo>
                <a:lnTo>
                  <a:pt x="454" y="3812"/>
                </a:lnTo>
                <a:lnTo>
                  <a:pt x="450" y="3814"/>
                </a:lnTo>
                <a:lnTo>
                  <a:pt x="444" y="3816"/>
                </a:lnTo>
                <a:lnTo>
                  <a:pt x="438" y="3818"/>
                </a:lnTo>
                <a:lnTo>
                  <a:pt x="428" y="3818"/>
                </a:lnTo>
                <a:lnTo>
                  <a:pt x="422" y="3816"/>
                </a:lnTo>
                <a:lnTo>
                  <a:pt x="416" y="3814"/>
                </a:lnTo>
                <a:lnTo>
                  <a:pt x="412" y="3812"/>
                </a:lnTo>
                <a:lnTo>
                  <a:pt x="408" y="3808"/>
                </a:lnTo>
                <a:lnTo>
                  <a:pt x="404" y="3804"/>
                </a:lnTo>
                <a:lnTo>
                  <a:pt x="400" y="3798"/>
                </a:lnTo>
                <a:lnTo>
                  <a:pt x="400" y="3794"/>
                </a:lnTo>
                <a:lnTo>
                  <a:pt x="398" y="3788"/>
                </a:lnTo>
                <a:lnTo>
                  <a:pt x="398" y="2220"/>
                </a:lnTo>
                <a:lnTo>
                  <a:pt x="400" y="2214"/>
                </a:lnTo>
                <a:lnTo>
                  <a:pt x="400" y="2208"/>
                </a:lnTo>
                <a:lnTo>
                  <a:pt x="404" y="2204"/>
                </a:lnTo>
                <a:lnTo>
                  <a:pt x="408" y="2200"/>
                </a:lnTo>
                <a:lnTo>
                  <a:pt x="412" y="2196"/>
                </a:lnTo>
                <a:lnTo>
                  <a:pt x="416" y="2192"/>
                </a:lnTo>
                <a:lnTo>
                  <a:pt x="422" y="2190"/>
                </a:lnTo>
                <a:lnTo>
                  <a:pt x="428" y="2190"/>
                </a:lnTo>
                <a:close/>
                <a:moveTo>
                  <a:pt x="685" y="510"/>
                </a:moveTo>
                <a:lnTo>
                  <a:pt x="780" y="510"/>
                </a:lnTo>
                <a:lnTo>
                  <a:pt x="786" y="510"/>
                </a:lnTo>
                <a:lnTo>
                  <a:pt x="792" y="512"/>
                </a:lnTo>
                <a:lnTo>
                  <a:pt x="796" y="514"/>
                </a:lnTo>
                <a:lnTo>
                  <a:pt x="802" y="518"/>
                </a:lnTo>
                <a:lnTo>
                  <a:pt x="804" y="522"/>
                </a:lnTo>
                <a:lnTo>
                  <a:pt x="808" y="528"/>
                </a:lnTo>
                <a:lnTo>
                  <a:pt x="810" y="534"/>
                </a:lnTo>
                <a:lnTo>
                  <a:pt x="810" y="540"/>
                </a:lnTo>
                <a:lnTo>
                  <a:pt x="810" y="2106"/>
                </a:lnTo>
                <a:lnTo>
                  <a:pt x="810" y="2112"/>
                </a:lnTo>
                <a:lnTo>
                  <a:pt x="808" y="2118"/>
                </a:lnTo>
                <a:lnTo>
                  <a:pt x="804" y="2124"/>
                </a:lnTo>
                <a:lnTo>
                  <a:pt x="802" y="2128"/>
                </a:lnTo>
                <a:lnTo>
                  <a:pt x="796" y="2132"/>
                </a:lnTo>
                <a:lnTo>
                  <a:pt x="792" y="2134"/>
                </a:lnTo>
                <a:lnTo>
                  <a:pt x="786" y="2136"/>
                </a:lnTo>
                <a:lnTo>
                  <a:pt x="780" y="2136"/>
                </a:lnTo>
                <a:lnTo>
                  <a:pt x="685" y="2136"/>
                </a:lnTo>
                <a:lnTo>
                  <a:pt x="679" y="2136"/>
                </a:lnTo>
                <a:lnTo>
                  <a:pt x="672" y="2134"/>
                </a:lnTo>
                <a:lnTo>
                  <a:pt x="668" y="2132"/>
                </a:lnTo>
                <a:lnTo>
                  <a:pt x="662" y="2128"/>
                </a:lnTo>
                <a:lnTo>
                  <a:pt x="660" y="2124"/>
                </a:lnTo>
                <a:lnTo>
                  <a:pt x="656" y="2118"/>
                </a:lnTo>
                <a:lnTo>
                  <a:pt x="654" y="2112"/>
                </a:lnTo>
                <a:lnTo>
                  <a:pt x="654" y="2106"/>
                </a:lnTo>
                <a:lnTo>
                  <a:pt x="654" y="540"/>
                </a:lnTo>
                <a:lnTo>
                  <a:pt x="654" y="534"/>
                </a:lnTo>
                <a:lnTo>
                  <a:pt x="656" y="528"/>
                </a:lnTo>
                <a:lnTo>
                  <a:pt x="660" y="522"/>
                </a:lnTo>
                <a:lnTo>
                  <a:pt x="662" y="518"/>
                </a:lnTo>
                <a:lnTo>
                  <a:pt x="668" y="514"/>
                </a:lnTo>
                <a:lnTo>
                  <a:pt x="672" y="512"/>
                </a:lnTo>
                <a:lnTo>
                  <a:pt x="679" y="510"/>
                </a:lnTo>
                <a:lnTo>
                  <a:pt x="685" y="510"/>
                </a:lnTo>
                <a:close/>
                <a:moveTo>
                  <a:pt x="3342" y="510"/>
                </a:moveTo>
                <a:lnTo>
                  <a:pt x="3352" y="510"/>
                </a:lnTo>
                <a:lnTo>
                  <a:pt x="3358" y="510"/>
                </a:lnTo>
                <a:lnTo>
                  <a:pt x="3364" y="512"/>
                </a:lnTo>
                <a:lnTo>
                  <a:pt x="3369" y="514"/>
                </a:lnTo>
                <a:lnTo>
                  <a:pt x="3375" y="518"/>
                </a:lnTo>
                <a:lnTo>
                  <a:pt x="3377" y="522"/>
                </a:lnTo>
                <a:lnTo>
                  <a:pt x="3381" y="528"/>
                </a:lnTo>
                <a:lnTo>
                  <a:pt x="3383" y="534"/>
                </a:lnTo>
                <a:lnTo>
                  <a:pt x="3383" y="540"/>
                </a:lnTo>
                <a:lnTo>
                  <a:pt x="3383" y="2106"/>
                </a:lnTo>
                <a:lnTo>
                  <a:pt x="3383" y="2112"/>
                </a:lnTo>
                <a:lnTo>
                  <a:pt x="3381" y="2118"/>
                </a:lnTo>
                <a:lnTo>
                  <a:pt x="3377" y="2124"/>
                </a:lnTo>
                <a:lnTo>
                  <a:pt x="3375" y="2128"/>
                </a:lnTo>
                <a:lnTo>
                  <a:pt x="3369" y="2132"/>
                </a:lnTo>
                <a:lnTo>
                  <a:pt x="3364" y="2134"/>
                </a:lnTo>
                <a:lnTo>
                  <a:pt x="3358" y="2136"/>
                </a:lnTo>
                <a:lnTo>
                  <a:pt x="3352" y="2136"/>
                </a:lnTo>
                <a:lnTo>
                  <a:pt x="3342" y="2136"/>
                </a:lnTo>
                <a:lnTo>
                  <a:pt x="3336" y="2136"/>
                </a:lnTo>
                <a:lnTo>
                  <a:pt x="3330" y="2134"/>
                </a:lnTo>
                <a:lnTo>
                  <a:pt x="3326" y="2132"/>
                </a:lnTo>
                <a:lnTo>
                  <a:pt x="3322" y="2128"/>
                </a:lnTo>
                <a:lnTo>
                  <a:pt x="3318" y="2124"/>
                </a:lnTo>
                <a:lnTo>
                  <a:pt x="3314" y="2118"/>
                </a:lnTo>
                <a:lnTo>
                  <a:pt x="3314" y="2112"/>
                </a:lnTo>
                <a:lnTo>
                  <a:pt x="3312" y="2106"/>
                </a:lnTo>
                <a:lnTo>
                  <a:pt x="3312" y="540"/>
                </a:lnTo>
                <a:lnTo>
                  <a:pt x="3314" y="534"/>
                </a:lnTo>
                <a:lnTo>
                  <a:pt x="3314" y="528"/>
                </a:lnTo>
                <a:lnTo>
                  <a:pt x="3318" y="522"/>
                </a:lnTo>
                <a:lnTo>
                  <a:pt x="3322" y="518"/>
                </a:lnTo>
                <a:lnTo>
                  <a:pt x="3326" y="514"/>
                </a:lnTo>
                <a:lnTo>
                  <a:pt x="3330" y="512"/>
                </a:lnTo>
                <a:lnTo>
                  <a:pt x="3336" y="510"/>
                </a:lnTo>
                <a:lnTo>
                  <a:pt x="3342" y="510"/>
                </a:lnTo>
                <a:close/>
                <a:moveTo>
                  <a:pt x="1842" y="510"/>
                </a:moveTo>
                <a:lnTo>
                  <a:pt x="1850" y="510"/>
                </a:lnTo>
                <a:lnTo>
                  <a:pt x="1856" y="510"/>
                </a:lnTo>
                <a:lnTo>
                  <a:pt x="1862" y="512"/>
                </a:lnTo>
                <a:lnTo>
                  <a:pt x="1868" y="514"/>
                </a:lnTo>
                <a:lnTo>
                  <a:pt x="1872" y="518"/>
                </a:lnTo>
                <a:lnTo>
                  <a:pt x="1876" y="522"/>
                </a:lnTo>
                <a:lnTo>
                  <a:pt x="1878" y="528"/>
                </a:lnTo>
                <a:lnTo>
                  <a:pt x="1880" y="534"/>
                </a:lnTo>
                <a:lnTo>
                  <a:pt x="1880" y="540"/>
                </a:lnTo>
                <a:lnTo>
                  <a:pt x="1880" y="2106"/>
                </a:lnTo>
                <a:lnTo>
                  <a:pt x="1880" y="2112"/>
                </a:lnTo>
                <a:lnTo>
                  <a:pt x="1878" y="2118"/>
                </a:lnTo>
                <a:lnTo>
                  <a:pt x="1876" y="2124"/>
                </a:lnTo>
                <a:lnTo>
                  <a:pt x="1872" y="2128"/>
                </a:lnTo>
                <a:lnTo>
                  <a:pt x="1868" y="2132"/>
                </a:lnTo>
                <a:lnTo>
                  <a:pt x="1862" y="2134"/>
                </a:lnTo>
                <a:lnTo>
                  <a:pt x="1856" y="2136"/>
                </a:lnTo>
                <a:lnTo>
                  <a:pt x="1850" y="2136"/>
                </a:lnTo>
                <a:lnTo>
                  <a:pt x="1842" y="2136"/>
                </a:lnTo>
                <a:lnTo>
                  <a:pt x="1836" y="2136"/>
                </a:lnTo>
                <a:lnTo>
                  <a:pt x="1830" y="2134"/>
                </a:lnTo>
                <a:lnTo>
                  <a:pt x="1824" y="2132"/>
                </a:lnTo>
                <a:lnTo>
                  <a:pt x="1820" y="2128"/>
                </a:lnTo>
                <a:lnTo>
                  <a:pt x="1816" y="2124"/>
                </a:lnTo>
                <a:lnTo>
                  <a:pt x="1814" y="2118"/>
                </a:lnTo>
                <a:lnTo>
                  <a:pt x="1811" y="2112"/>
                </a:lnTo>
                <a:lnTo>
                  <a:pt x="1811" y="2106"/>
                </a:lnTo>
                <a:lnTo>
                  <a:pt x="1811" y="540"/>
                </a:lnTo>
                <a:lnTo>
                  <a:pt x="1811" y="534"/>
                </a:lnTo>
                <a:lnTo>
                  <a:pt x="1814" y="528"/>
                </a:lnTo>
                <a:lnTo>
                  <a:pt x="1816" y="522"/>
                </a:lnTo>
                <a:lnTo>
                  <a:pt x="1820" y="518"/>
                </a:lnTo>
                <a:lnTo>
                  <a:pt x="1824" y="514"/>
                </a:lnTo>
                <a:lnTo>
                  <a:pt x="1830" y="512"/>
                </a:lnTo>
                <a:lnTo>
                  <a:pt x="1836" y="510"/>
                </a:lnTo>
                <a:lnTo>
                  <a:pt x="1842" y="510"/>
                </a:lnTo>
                <a:close/>
                <a:moveTo>
                  <a:pt x="40" y="2136"/>
                </a:moveTo>
                <a:lnTo>
                  <a:pt x="30" y="2136"/>
                </a:lnTo>
                <a:lnTo>
                  <a:pt x="24" y="2136"/>
                </a:lnTo>
                <a:lnTo>
                  <a:pt x="18" y="2134"/>
                </a:lnTo>
                <a:lnTo>
                  <a:pt x="14" y="2132"/>
                </a:lnTo>
                <a:lnTo>
                  <a:pt x="10" y="2128"/>
                </a:lnTo>
                <a:lnTo>
                  <a:pt x="6" y="2124"/>
                </a:lnTo>
                <a:lnTo>
                  <a:pt x="2" y="2118"/>
                </a:lnTo>
                <a:lnTo>
                  <a:pt x="0" y="2112"/>
                </a:lnTo>
                <a:lnTo>
                  <a:pt x="0" y="2106"/>
                </a:lnTo>
                <a:lnTo>
                  <a:pt x="0" y="540"/>
                </a:lnTo>
                <a:lnTo>
                  <a:pt x="0" y="534"/>
                </a:lnTo>
                <a:lnTo>
                  <a:pt x="2" y="528"/>
                </a:lnTo>
                <a:lnTo>
                  <a:pt x="6" y="522"/>
                </a:lnTo>
                <a:lnTo>
                  <a:pt x="10" y="518"/>
                </a:lnTo>
                <a:lnTo>
                  <a:pt x="14" y="514"/>
                </a:lnTo>
                <a:lnTo>
                  <a:pt x="18" y="512"/>
                </a:lnTo>
                <a:lnTo>
                  <a:pt x="24" y="510"/>
                </a:lnTo>
                <a:lnTo>
                  <a:pt x="30" y="510"/>
                </a:lnTo>
                <a:lnTo>
                  <a:pt x="40" y="510"/>
                </a:lnTo>
                <a:lnTo>
                  <a:pt x="46" y="510"/>
                </a:lnTo>
                <a:lnTo>
                  <a:pt x="53" y="512"/>
                </a:lnTo>
                <a:lnTo>
                  <a:pt x="57" y="514"/>
                </a:lnTo>
                <a:lnTo>
                  <a:pt x="61" y="518"/>
                </a:lnTo>
                <a:lnTo>
                  <a:pt x="65" y="522"/>
                </a:lnTo>
                <a:lnTo>
                  <a:pt x="69" y="528"/>
                </a:lnTo>
                <a:lnTo>
                  <a:pt x="71" y="534"/>
                </a:lnTo>
                <a:lnTo>
                  <a:pt x="71" y="540"/>
                </a:lnTo>
                <a:lnTo>
                  <a:pt x="71" y="2106"/>
                </a:lnTo>
                <a:lnTo>
                  <a:pt x="71" y="2112"/>
                </a:lnTo>
                <a:lnTo>
                  <a:pt x="69" y="2118"/>
                </a:lnTo>
                <a:lnTo>
                  <a:pt x="65" y="2124"/>
                </a:lnTo>
                <a:lnTo>
                  <a:pt x="61" y="2128"/>
                </a:lnTo>
                <a:lnTo>
                  <a:pt x="57" y="2132"/>
                </a:lnTo>
                <a:lnTo>
                  <a:pt x="53" y="2134"/>
                </a:lnTo>
                <a:lnTo>
                  <a:pt x="46" y="2136"/>
                </a:lnTo>
                <a:lnTo>
                  <a:pt x="40" y="2136"/>
                </a:lnTo>
                <a:close/>
                <a:moveTo>
                  <a:pt x="226" y="4324"/>
                </a:moveTo>
                <a:lnTo>
                  <a:pt x="71" y="4324"/>
                </a:lnTo>
                <a:lnTo>
                  <a:pt x="71" y="3901"/>
                </a:lnTo>
                <a:lnTo>
                  <a:pt x="71" y="3895"/>
                </a:lnTo>
                <a:lnTo>
                  <a:pt x="73" y="3889"/>
                </a:lnTo>
                <a:lnTo>
                  <a:pt x="75" y="3885"/>
                </a:lnTo>
                <a:lnTo>
                  <a:pt x="79" y="3881"/>
                </a:lnTo>
                <a:lnTo>
                  <a:pt x="83" y="3877"/>
                </a:lnTo>
                <a:lnTo>
                  <a:pt x="89" y="3873"/>
                </a:lnTo>
                <a:lnTo>
                  <a:pt x="95" y="3873"/>
                </a:lnTo>
                <a:lnTo>
                  <a:pt x="101" y="3871"/>
                </a:lnTo>
                <a:lnTo>
                  <a:pt x="196" y="3871"/>
                </a:lnTo>
                <a:lnTo>
                  <a:pt x="202" y="3873"/>
                </a:lnTo>
                <a:lnTo>
                  <a:pt x="208" y="3873"/>
                </a:lnTo>
                <a:lnTo>
                  <a:pt x="212" y="3877"/>
                </a:lnTo>
                <a:lnTo>
                  <a:pt x="216" y="3881"/>
                </a:lnTo>
                <a:lnTo>
                  <a:pt x="220" y="3885"/>
                </a:lnTo>
                <a:lnTo>
                  <a:pt x="224" y="3889"/>
                </a:lnTo>
                <a:lnTo>
                  <a:pt x="226" y="3895"/>
                </a:lnTo>
                <a:lnTo>
                  <a:pt x="226" y="3901"/>
                </a:lnTo>
                <a:lnTo>
                  <a:pt x="226" y="4324"/>
                </a:lnTo>
                <a:close/>
                <a:moveTo>
                  <a:pt x="959" y="4324"/>
                </a:moveTo>
                <a:lnTo>
                  <a:pt x="872" y="4324"/>
                </a:lnTo>
                <a:lnTo>
                  <a:pt x="872" y="3901"/>
                </a:lnTo>
                <a:lnTo>
                  <a:pt x="872" y="3895"/>
                </a:lnTo>
                <a:lnTo>
                  <a:pt x="874" y="3889"/>
                </a:lnTo>
                <a:lnTo>
                  <a:pt x="878" y="3885"/>
                </a:lnTo>
                <a:lnTo>
                  <a:pt x="881" y="3881"/>
                </a:lnTo>
                <a:lnTo>
                  <a:pt x="887" y="3877"/>
                </a:lnTo>
                <a:lnTo>
                  <a:pt x="891" y="3873"/>
                </a:lnTo>
                <a:lnTo>
                  <a:pt x="897" y="3873"/>
                </a:lnTo>
                <a:lnTo>
                  <a:pt x="903" y="3871"/>
                </a:lnTo>
                <a:lnTo>
                  <a:pt x="913" y="3871"/>
                </a:lnTo>
                <a:lnTo>
                  <a:pt x="919" y="3873"/>
                </a:lnTo>
                <a:lnTo>
                  <a:pt x="927" y="3873"/>
                </a:lnTo>
                <a:lnTo>
                  <a:pt x="935" y="3877"/>
                </a:lnTo>
                <a:lnTo>
                  <a:pt x="941" y="3881"/>
                </a:lnTo>
                <a:lnTo>
                  <a:pt x="949" y="3885"/>
                </a:lnTo>
                <a:lnTo>
                  <a:pt x="953" y="3889"/>
                </a:lnTo>
                <a:lnTo>
                  <a:pt x="957" y="3895"/>
                </a:lnTo>
                <a:lnTo>
                  <a:pt x="959" y="3901"/>
                </a:lnTo>
                <a:lnTo>
                  <a:pt x="959" y="4324"/>
                </a:lnTo>
                <a:close/>
                <a:moveTo>
                  <a:pt x="2934" y="4324"/>
                </a:moveTo>
                <a:lnTo>
                  <a:pt x="2866" y="4324"/>
                </a:lnTo>
                <a:lnTo>
                  <a:pt x="2866" y="3901"/>
                </a:lnTo>
                <a:lnTo>
                  <a:pt x="2866" y="3895"/>
                </a:lnTo>
                <a:lnTo>
                  <a:pt x="2868" y="3889"/>
                </a:lnTo>
                <a:lnTo>
                  <a:pt x="2870" y="3885"/>
                </a:lnTo>
                <a:lnTo>
                  <a:pt x="2874" y="3881"/>
                </a:lnTo>
                <a:lnTo>
                  <a:pt x="2878" y="3877"/>
                </a:lnTo>
                <a:lnTo>
                  <a:pt x="2884" y="3873"/>
                </a:lnTo>
                <a:lnTo>
                  <a:pt x="2890" y="3873"/>
                </a:lnTo>
                <a:lnTo>
                  <a:pt x="2896" y="3871"/>
                </a:lnTo>
                <a:lnTo>
                  <a:pt x="2904" y="3871"/>
                </a:lnTo>
                <a:lnTo>
                  <a:pt x="2910" y="3873"/>
                </a:lnTo>
                <a:lnTo>
                  <a:pt x="2916" y="3873"/>
                </a:lnTo>
                <a:lnTo>
                  <a:pt x="2922" y="3877"/>
                </a:lnTo>
                <a:lnTo>
                  <a:pt x="2926" y="3881"/>
                </a:lnTo>
                <a:lnTo>
                  <a:pt x="2930" y="3885"/>
                </a:lnTo>
                <a:lnTo>
                  <a:pt x="2932" y="3889"/>
                </a:lnTo>
                <a:lnTo>
                  <a:pt x="2934" y="3895"/>
                </a:lnTo>
                <a:lnTo>
                  <a:pt x="2934" y="3901"/>
                </a:lnTo>
                <a:lnTo>
                  <a:pt x="2934" y="4324"/>
                </a:lnTo>
                <a:close/>
                <a:moveTo>
                  <a:pt x="4041" y="4324"/>
                </a:moveTo>
                <a:lnTo>
                  <a:pt x="3886" y="4324"/>
                </a:lnTo>
                <a:lnTo>
                  <a:pt x="3886" y="3903"/>
                </a:lnTo>
                <a:lnTo>
                  <a:pt x="3886" y="3897"/>
                </a:lnTo>
                <a:lnTo>
                  <a:pt x="3888" y="3891"/>
                </a:lnTo>
                <a:lnTo>
                  <a:pt x="3890" y="3887"/>
                </a:lnTo>
                <a:lnTo>
                  <a:pt x="3894" y="3881"/>
                </a:lnTo>
                <a:lnTo>
                  <a:pt x="3898" y="3879"/>
                </a:lnTo>
                <a:lnTo>
                  <a:pt x="3904" y="3875"/>
                </a:lnTo>
                <a:lnTo>
                  <a:pt x="3910" y="3873"/>
                </a:lnTo>
                <a:lnTo>
                  <a:pt x="3916" y="3873"/>
                </a:lnTo>
                <a:lnTo>
                  <a:pt x="4011" y="3873"/>
                </a:lnTo>
                <a:lnTo>
                  <a:pt x="4017" y="3873"/>
                </a:lnTo>
                <a:lnTo>
                  <a:pt x="4023" y="3875"/>
                </a:lnTo>
                <a:lnTo>
                  <a:pt x="4027" y="3879"/>
                </a:lnTo>
                <a:lnTo>
                  <a:pt x="4031" y="3881"/>
                </a:lnTo>
                <a:lnTo>
                  <a:pt x="4035" y="3887"/>
                </a:lnTo>
                <a:lnTo>
                  <a:pt x="4039" y="3891"/>
                </a:lnTo>
                <a:lnTo>
                  <a:pt x="4039" y="3897"/>
                </a:lnTo>
                <a:lnTo>
                  <a:pt x="4041" y="3903"/>
                </a:lnTo>
                <a:lnTo>
                  <a:pt x="4041" y="4324"/>
                </a:lnTo>
                <a:close/>
                <a:moveTo>
                  <a:pt x="2629" y="0"/>
                </a:moveTo>
                <a:lnTo>
                  <a:pt x="2785" y="0"/>
                </a:lnTo>
                <a:lnTo>
                  <a:pt x="2785" y="421"/>
                </a:lnTo>
                <a:lnTo>
                  <a:pt x="2785" y="427"/>
                </a:lnTo>
                <a:lnTo>
                  <a:pt x="2783" y="433"/>
                </a:lnTo>
                <a:lnTo>
                  <a:pt x="2781" y="437"/>
                </a:lnTo>
                <a:lnTo>
                  <a:pt x="2777" y="443"/>
                </a:lnTo>
                <a:lnTo>
                  <a:pt x="2773" y="445"/>
                </a:lnTo>
                <a:lnTo>
                  <a:pt x="2767" y="449"/>
                </a:lnTo>
                <a:lnTo>
                  <a:pt x="2761" y="451"/>
                </a:lnTo>
                <a:lnTo>
                  <a:pt x="2755" y="451"/>
                </a:lnTo>
                <a:lnTo>
                  <a:pt x="2660" y="451"/>
                </a:lnTo>
                <a:lnTo>
                  <a:pt x="2654" y="451"/>
                </a:lnTo>
                <a:lnTo>
                  <a:pt x="2648" y="449"/>
                </a:lnTo>
                <a:lnTo>
                  <a:pt x="2644" y="445"/>
                </a:lnTo>
                <a:lnTo>
                  <a:pt x="2639" y="443"/>
                </a:lnTo>
                <a:lnTo>
                  <a:pt x="2635" y="437"/>
                </a:lnTo>
                <a:lnTo>
                  <a:pt x="2631" y="433"/>
                </a:lnTo>
                <a:lnTo>
                  <a:pt x="2631" y="427"/>
                </a:lnTo>
                <a:lnTo>
                  <a:pt x="2629" y="421"/>
                </a:lnTo>
                <a:lnTo>
                  <a:pt x="2629" y="0"/>
                </a:lnTo>
                <a:close/>
                <a:moveTo>
                  <a:pt x="271" y="0"/>
                </a:moveTo>
                <a:lnTo>
                  <a:pt x="426" y="0"/>
                </a:lnTo>
                <a:lnTo>
                  <a:pt x="426" y="427"/>
                </a:lnTo>
                <a:lnTo>
                  <a:pt x="426" y="433"/>
                </a:lnTo>
                <a:lnTo>
                  <a:pt x="424" y="439"/>
                </a:lnTo>
                <a:lnTo>
                  <a:pt x="422" y="445"/>
                </a:lnTo>
                <a:lnTo>
                  <a:pt x="418" y="449"/>
                </a:lnTo>
                <a:lnTo>
                  <a:pt x="414" y="453"/>
                </a:lnTo>
                <a:lnTo>
                  <a:pt x="408" y="455"/>
                </a:lnTo>
                <a:lnTo>
                  <a:pt x="402" y="457"/>
                </a:lnTo>
                <a:lnTo>
                  <a:pt x="396" y="457"/>
                </a:lnTo>
                <a:lnTo>
                  <a:pt x="301" y="457"/>
                </a:lnTo>
                <a:lnTo>
                  <a:pt x="295" y="457"/>
                </a:lnTo>
                <a:lnTo>
                  <a:pt x="291" y="455"/>
                </a:lnTo>
                <a:lnTo>
                  <a:pt x="285" y="453"/>
                </a:lnTo>
                <a:lnTo>
                  <a:pt x="281" y="449"/>
                </a:lnTo>
                <a:lnTo>
                  <a:pt x="277" y="445"/>
                </a:lnTo>
                <a:lnTo>
                  <a:pt x="275" y="439"/>
                </a:lnTo>
                <a:lnTo>
                  <a:pt x="273" y="433"/>
                </a:lnTo>
                <a:lnTo>
                  <a:pt x="271" y="427"/>
                </a:lnTo>
                <a:lnTo>
                  <a:pt x="271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6" name="Freeform 9">
            <a:extLst>
              <a:ext uri="{FF2B5EF4-FFF2-40B4-BE49-F238E27FC236}">
                <a16:creationId xmlns:a16="http://schemas.microsoft.com/office/drawing/2014/main" id="{ED7546D9-DE81-4986-BBF3-7574549AC70E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07368" y="404664"/>
            <a:ext cx="648000" cy="723297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chemeClr val="accent2"/>
              </a:solidFill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3020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3E96B2F2-701F-4684-8CB9-4C3BC20753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368" y="2348879"/>
            <a:ext cx="7128793" cy="223264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DB69179C-FECE-4849-8EEE-418E3742C6C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7" y="1844675"/>
            <a:ext cx="7128794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74DDDCD8-8A48-4356-8FBD-4FC5129F04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7" y="5229225"/>
            <a:ext cx="7128794" cy="720726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1448CA1B-9964-43FD-BE20-85811E7186C1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07568" y="6309320"/>
            <a:ext cx="8641408" cy="143298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RIA - RKL yrittäjäpäivä 1.11.202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reeform 5">
            <a:extLst>
              <a:ext uri="{FF2B5EF4-FFF2-40B4-BE49-F238E27FC236}">
                <a16:creationId xmlns:a16="http://schemas.microsoft.com/office/drawing/2014/main" id="{5F22D922-A299-4B36-AA1F-54B416857728}"/>
              </a:ext>
            </a:extLst>
          </p:cNvPr>
          <p:cNvSpPr>
            <a:spLocks noEditPoints="1"/>
          </p:cNvSpPr>
          <p:nvPr userDrawn="1"/>
        </p:nvSpPr>
        <p:spPr bwMode="auto">
          <a:xfrm flipH="1" flipV="1">
            <a:off x="5519494" y="0"/>
            <a:ext cx="6409154" cy="6858000"/>
          </a:xfrm>
          <a:custGeom>
            <a:avLst/>
            <a:gdLst>
              <a:gd name="T0" fmla="*/ 2381 w 4041"/>
              <a:gd name="T1" fmla="*/ 2204 h 4324"/>
              <a:gd name="T2" fmla="*/ 2381 w 4041"/>
              <a:gd name="T3" fmla="*/ 3804 h 4324"/>
              <a:gd name="T4" fmla="*/ 2300 w 4041"/>
              <a:gd name="T5" fmla="*/ 3816 h 4324"/>
              <a:gd name="T6" fmla="*/ 2276 w 4041"/>
              <a:gd name="T7" fmla="*/ 3788 h 4324"/>
              <a:gd name="T8" fmla="*/ 2294 w 4041"/>
              <a:gd name="T9" fmla="*/ 2192 h 4324"/>
              <a:gd name="T10" fmla="*/ 1573 w 4041"/>
              <a:gd name="T11" fmla="*/ 2196 h 4324"/>
              <a:gd name="T12" fmla="*/ 1587 w 4041"/>
              <a:gd name="T13" fmla="*/ 3794 h 4324"/>
              <a:gd name="T14" fmla="*/ 1557 w 4041"/>
              <a:gd name="T15" fmla="*/ 3818 h 4324"/>
              <a:gd name="T16" fmla="*/ 1434 w 4041"/>
              <a:gd name="T17" fmla="*/ 3798 h 4324"/>
              <a:gd name="T18" fmla="*/ 1440 w 4041"/>
              <a:gd name="T19" fmla="*/ 2200 h 4324"/>
              <a:gd name="T20" fmla="*/ 444 w 4041"/>
              <a:gd name="T21" fmla="*/ 2190 h 4324"/>
              <a:gd name="T22" fmla="*/ 469 w 4041"/>
              <a:gd name="T23" fmla="*/ 2220 h 4324"/>
              <a:gd name="T24" fmla="*/ 450 w 4041"/>
              <a:gd name="T25" fmla="*/ 3814 h 4324"/>
              <a:gd name="T26" fmla="*/ 408 w 4041"/>
              <a:gd name="T27" fmla="*/ 3808 h 4324"/>
              <a:gd name="T28" fmla="*/ 400 w 4041"/>
              <a:gd name="T29" fmla="*/ 2208 h 4324"/>
              <a:gd name="T30" fmla="*/ 685 w 4041"/>
              <a:gd name="T31" fmla="*/ 510 h 4324"/>
              <a:gd name="T32" fmla="*/ 808 w 4041"/>
              <a:gd name="T33" fmla="*/ 528 h 4324"/>
              <a:gd name="T34" fmla="*/ 802 w 4041"/>
              <a:gd name="T35" fmla="*/ 2128 h 4324"/>
              <a:gd name="T36" fmla="*/ 672 w 4041"/>
              <a:gd name="T37" fmla="*/ 2134 h 4324"/>
              <a:gd name="T38" fmla="*/ 654 w 4041"/>
              <a:gd name="T39" fmla="*/ 540 h 4324"/>
              <a:gd name="T40" fmla="*/ 679 w 4041"/>
              <a:gd name="T41" fmla="*/ 510 h 4324"/>
              <a:gd name="T42" fmla="*/ 3375 w 4041"/>
              <a:gd name="T43" fmla="*/ 518 h 4324"/>
              <a:gd name="T44" fmla="*/ 3381 w 4041"/>
              <a:gd name="T45" fmla="*/ 2118 h 4324"/>
              <a:gd name="T46" fmla="*/ 3342 w 4041"/>
              <a:gd name="T47" fmla="*/ 2136 h 4324"/>
              <a:gd name="T48" fmla="*/ 3314 w 4041"/>
              <a:gd name="T49" fmla="*/ 2112 h 4324"/>
              <a:gd name="T50" fmla="*/ 3326 w 4041"/>
              <a:gd name="T51" fmla="*/ 514 h 4324"/>
              <a:gd name="T52" fmla="*/ 1862 w 4041"/>
              <a:gd name="T53" fmla="*/ 512 h 4324"/>
              <a:gd name="T54" fmla="*/ 1880 w 4041"/>
              <a:gd name="T55" fmla="*/ 2106 h 4324"/>
              <a:gd name="T56" fmla="*/ 1856 w 4041"/>
              <a:gd name="T57" fmla="*/ 2136 h 4324"/>
              <a:gd name="T58" fmla="*/ 1816 w 4041"/>
              <a:gd name="T59" fmla="*/ 2124 h 4324"/>
              <a:gd name="T60" fmla="*/ 1816 w 4041"/>
              <a:gd name="T61" fmla="*/ 522 h 4324"/>
              <a:gd name="T62" fmla="*/ 30 w 4041"/>
              <a:gd name="T63" fmla="*/ 2136 h 4324"/>
              <a:gd name="T64" fmla="*/ 0 w 4041"/>
              <a:gd name="T65" fmla="*/ 2112 h 4324"/>
              <a:gd name="T66" fmla="*/ 14 w 4041"/>
              <a:gd name="T67" fmla="*/ 514 h 4324"/>
              <a:gd name="T68" fmla="*/ 57 w 4041"/>
              <a:gd name="T69" fmla="*/ 514 h 4324"/>
              <a:gd name="T70" fmla="*/ 71 w 4041"/>
              <a:gd name="T71" fmla="*/ 2112 h 4324"/>
              <a:gd name="T72" fmla="*/ 40 w 4041"/>
              <a:gd name="T73" fmla="*/ 2136 h 4324"/>
              <a:gd name="T74" fmla="*/ 79 w 4041"/>
              <a:gd name="T75" fmla="*/ 3881 h 4324"/>
              <a:gd name="T76" fmla="*/ 208 w 4041"/>
              <a:gd name="T77" fmla="*/ 3873 h 4324"/>
              <a:gd name="T78" fmla="*/ 226 w 4041"/>
              <a:gd name="T79" fmla="*/ 4324 h 4324"/>
              <a:gd name="T80" fmla="*/ 881 w 4041"/>
              <a:gd name="T81" fmla="*/ 3881 h 4324"/>
              <a:gd name="T82" fmla="*/ 927 w 4041"/>
              <a:gd name="T83" fmla="*/ 3873 h 4324"/>
              <a:gd name="T84" fmla="*/ 959 w 4041"/>
              <a:gd name="T85" fmla="*/ 4324 h 4324"/>
              <a:gd name="T86" fmla="*/ 2874 w 4041"/>
              <a:gd name="T87" fmla="*/ 3881 h 4324"/>
              <a:gd name="T88" fmla="*/ 2916 w 4041"/>
              <a:gd name="T89" fmla="*/ 3873 h 4324"/>
              <a:gd name="T90" fmla="*/ 2934 w 4041"/>
              <a:gd name="T91" fmla="*/ 4324 h 4324"/>
              <a:gd name="T92" fmla="*/ 3894 w 4041"/>
              <a:gd name="T93" fmla="*/ 3881 h 4324"/>
              <a:gd name="T94" fmla="*/ 4023 w 4041"/>
              <a:gd name="T95" fmla="*/ 3875 h 4324"/>
              <a:gd name="T96" fmla="*/ 4041 w 4041"/>
              <a:gd name="T97" fmla="*/ 4324 h 4324"/>
              <a:gd name="T98" fmla="*/ 2777 w 4041"/>
              <a:gd name="T99" fmla="*/ 443 h 4324"/>
              <a:gd name="T100" fmla="*/ 2648 w 4041"/>
              <a:gd name="T101" fmla="*/ 449 h 4324"/>
              <a:gd name="T102" fmla="*/ 2629 w 4041"/>
              <a:gd name="T103" fmla="*/ 0 h 4324"/>
              <a:gd name="T104" fmla="*/ 418 w 4041"/>
              <a:gd name="T105" fmla="*/ 449 h 4324"/>
              <a:gd name="T106" fmla="*/ 291 w 4041"/>
              <a:gd name="T107" fmla="*/ 455 h 4324"/>
              <a:gd name="T108" fmla="*/ 271 w 4041"/>
              <a:gd name="T109" fmla="*/ 0 h 4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041" h="4324">
                <a:moveTo>
                  <a:pt x="2306" y="2190"/>
                </a:moveTo>
                <a:lnTo>
                  <a:pt x="2355" y="2190"/>
                </a:lnTo>
                <a:lnTo>
                  <a:pt x="2361" y="2190"/>
                </a:lnTo>
                <a:lnTo>
                  <a:pt x="2367" y="2192"/>
                </a:lnTo>
                <a:lnTo>
                  <a:pt x="2373" y="2196"/>
                </a:lnTo>
                <a:lnTo>
                  <a:pt x="2377" y="2200"/>
                </a:lnTo>
                <a:lnTo>
                  <a:pt x="2381" y="2204"/>
                </a:lnTo>
                <a:lnTo>
                  <a:pt x="2383" y="2208"/>
                </a:lnTo>
                <a:lnTo>
                  <a:pt x="2385" y="2214"/>
                </a:lnTo>
                <a:lnTo>
                  <a:pt x="2385" y="2220"/>
                </a:lnTo>
                <a:lnTo>
                  <a:pt x="2385" y="3788"/>
                </a:lnTo>
                <a:lnTo>
                  <a:pt x="2385" y="3794"/>
                </a:lnTo>
                <a:lnTo>
                  <a:pt x="2383" y="3798"/>
                </a:lnTo>
                <a:lnTo>
                  <a:pt x="2381" y="3804"/>
                </a:lnTo>
                <a:lnTo>
                  <a:pt x="2377" y="3808"/>
                </a:lnTo>
                <a:lnTo>
                  <a:pt x="2373" y="3812"/>
                </a:lnTo>
                <a:lnTo>
                  <a:pt x="2367" y="3814"/>
                </a:lnTo>
                <a:lnTo>
                  <a:pt x="2361" y="3816"/>
                </a:lnTo>
                <a:lnTo>
                  <a:pt x="2355" y="3818"/>
                </a:lnTo>
                <a:lnTo>
                  <a:pt x="2306" y="3818"/>
                </a:lnTo>
                <a:lnTo>
                  <a:pt x="2300" y="3816"/>
                </a:lnTo>
                <a:lnTo>
                  <a:pt x="2294" y="3814"/>
                </a:lnTo>
                <a:lnTo>
                  <a:pt x="2290" y="3812"/>
                </a:lnTo>
                <a:lnTo>
                  <a:pt x="2286" y="3808"/>
                </a:lnTo>
                <a:lnTo>
                  <a:pt x="2282" y="3804"/>
                </a:lnTo>
                <a:lnTo>
                  <a:pt x="2278" y="3798"/>
                </a:lnTo>
                <a:lnTo>
                  <a:pt x="2276" y="3794"/>
                </a:lnTo>
                <a:lnTo>
                  <a:pt x="2276" y="3788"/>
                </a:lnTo>
                <a:lnTo>
                  <a:pt x="2276" y="2220"/>
                </a:lnTo>
                <a:lnTo>
                  <a:pt x="2276" y="2214"/>
                </a:lnTo>
                <a:lnTo>
                  <a:pt x="2278" y="2208"/>
                </a:lnTo>
                <a:lnTo>
                  <a:pt x="2282" y="2204"/>
                </a:lnTo>
                <a:lnTo>
                  <a:pt x="2286" y="2200"/>
                </a:lnTo>
                <a:lnTo>
                  <a:pt x="2290" y="2196"/>
                </a:lnTo>
                <a:lnTo>
                  <a:pt x="2294" y="2192"/>
                </a:lnTo>
                <a:lnTo>
                  <a:pt x="2300" y="2190"/>
                </a:lnTo>
                <a:lnTo>
                  <a:pt x="2306" y="2190"/>
                </a:lnTo>
                <a:close/>
                <a:moveTo>
                  <a:pt x="1462" y="2190"/>
                </a:moveTo>
                <a:lnTo>
                  <a:pt x="1557" y="2190"/>
                </a:lnTo>
                <a:lnTo>
                  <a:pt x="1563" y="2190"/>
                </a:lnTo>
                <a:lnTo>
                  <a:pt x="1569" y="2192"/>
                </a:lnTo>
                <a:lnTo>
                  <a:pt x="1573" y="2196"/>
                </a:lnTo>
                <a:lnTo>
                  <a:pt x="1579" y="2200"/>
                </a:lnTo>
                <a:lnTo>
                  <a:pt x="1581" y="2204"/>
                </a:lnTo>
                <a:lnTo>
                  <a:pt x="1585" y="2208"/>
                </a:lnTo>
                <a:lnTo>
                  <a:pt x="1587" y="2214"/>
                </a:lnTo>
                <a:lnTo>
                  <a:pt x="1587" y="2220"/>
                </a:lnTo>
                <a:lnTo>
                  <a:pt x="1587" y="3788"/>
                </a:lnTo>
                <a:lnTo>
                  <a:pt x="1587" y="3794"/>
                </a:lnTo>
                <a:lnTo>
                  <a:pt x="1585" y="3798"/>
                </a:lnTo>
                <a:lnTo>
                  <a:pt x="1581" y="3804"/>
                </a:lnTo>
                <a:lnTo>
                  <a:pt x="1579" y="3808"/>
                </a:lnTo>
                <a:lnTo>
                  <a:pt x="1573" y="3812"/>
                </a:lnTo>
                <a:lnTo>
                  <a:pt x="1569" y="3814"/>
                </a:lnTo>
                <a:lnTo>
                  <a:pt x="1563" y="3816"/>
                </a:lnTo>
                <a:lnTo>
                  <a:pt x="1557" y="3818"/>
                </a:lnTo>
                <a:lnTo>
                  <a:pt x="1462" y="3818"/>
                </a:lnTo>
                <a:lnTo>
                  <a:pt x="1456" y="3816"/>
                </a:lnTo>
                <a:lnTo>
                  <a:pt x="1450" y="3814"/>
                </a:lnTo>
                <a:lnTo>
                  <a:pt x="1446" y="3812"/>
                </a:lnTo>
                <a:lnTo>
                  <a:pt x="1440" y="3808"/>
                </a:lnTo>
                <a:lnTo>
                  <a:pt x="1436" y="3804"/>
                </a:lnTo>
                <a:lnTo>
                  <a:pt x="1434" y="3798"/>
                </a:lnTo>
                <a:lnTo>
                  <a:pt x="1432" y="3794"/>
                </a:lnTo>
                <a:lnTo>
                  <a:pt x="1432" y="3788"/>
                </a:lnTo>
                <a:lnTo>
                  <a:pt x="1432" y="2220"/>
                </a:lnTo>
                <a:lnTo>
                  <a:pt x="1432" y="2214"/>
                </a:lnTo>
                <a:lnTo>
                  <a:pt x="1434" y="2208"/>
                </a:lnTo>
                <a:lnTo>
                  <a:pt x="1436" y="2204"/>
                </a:lnTo>
                <a:lnTo>
                  <a:pt x="1440" y="2200"/>
                </a:lnTo>
                <a:lnTo>
                  <a:pt x="1446" y="2196"/>
                </a:lnTo>
                <a:lnTo>
                  <a:pt x="1450" y="2192"/>
                </a:lnTo>
                <a:lnTo>
                  <a:pt x="1456" y="2190"/>
                </a:lnTo>
                <a:lnTo>
                  <a:pt x="1462" y="2190"/>
                </a:lnTo>
                <a:close/>
                <a:moveTo>
                  <a:pt x="428" y="2190"/>
                </a:moveTo>
                <a:lnTo>
                  <a:pt x="438" y="2190"/>
                </a:lnTo>
                <a:lnTo>
                  <a:pt x="444" y="2190"/>
                </a:lnTo>
                <a:lnTo>
                  <a:pt x="450" y="2192"/>
                </a:lnTo>
                <a:lnTo>
                  <a:pt x="454" y="2196"/>
                </a:lnTo>
                <a:lnTo>
                  <a:pt x="460" y="2200"/>
                </a:lnTo>
                <a:lnTo>
                  <a:pt x="462" y="2204"/>
                </a:lnTo>
                <a:lnTo>
                  <a:pt x="467" y="2208"/>
                </a:lnTo>
                <a:lnTo>
                  <a:pt x="469" y="2214"/>
                </a:lnTo>
                <a:lnTo>
                  <a:pt x="469" y="2220"/>
                </a:lnTo>
                <a:lnTo>
                  <a:pt x="469" y="3788"/>
                </a:lnTo>
                <a:lnTo>
                  <a:pt x="469" y="3794"/>
                </a:lnTo>
                <a:lnTo>
                  <a:pt x="467" y="3798"/>
                </a:lnTo>
                <a:lnTo>
                  <a:pt x="462" y="3804"/>
                </a:lnTo>
                <a:lnTo>
                  <a:pt x="460" y="3808"/>
                </a:lnTo>
                <a:lnTo>
                  <a:pt x="454" y="3812"/>
                </a:lnTo>
                <a:lnTo>
                  <a:pt x="450" y="3814"/>
                </a:lnTo>
                <a:lnTo>
                  <a:pt x="444" y="3816"/>
                </a:lnTo>
                <a:lnTo>
                  <a:pt x="438" y="3818"/>
                </a:lnTo>
                <a:lnTo>
                  <a:pt x="428" y="3818"/>
                </a:lnTo>
                <a:lnTo>
                  <a:pt x="422" y="3816"/>
                </a:lnTo>
                <a:lnTo>
                  <a:pt x="416" y="3814"/>
                </a:lnTo>
                <a:lnTo>
                  <a:pt x="412" y="3812"/>
                </a:lnTo>
                <a:lnTo>
                  <a:pt x="408" y="3808"/>
                </a:lnTo>
                <a:lnTo>
                  <a:pt x="404" y="3804"/>
                </a:lnTo>
                <a:lnTo>
                  <a:pt x="400" y="3798"/>
                </a:lnTo>
                <a:lnTo>
                  <a:pt x="400" y="3794"/>
                </a:lnTo>
                <a:lnTo>
                  <a:pt x="398" y="3788"/>
                </a:lnTo>
                <a:lnTo>
                  <a:pt x="398" y="2220"/>
                </a:lnTo>
                <a:lnTo>
                  <a:pt x="400" y="2214"/>
                </a:lnTo>
                <a:lnTo>
                  <a:pt x="400" y="2208"/>
                </a:lnTo>
                <a:lnTo>
                  <a:pt x="404" y="2204"/>
                </a:lnTo>
                <a:lnTo>
                  <a:pt x="408" y="2200"/>
                </a:lnTo>
                <a:lnTo>
                  <a:pt x="412" y="2196"/>
                </a:lnTo>
                <a:lnTo>
                  <a:pt x="416" y="2192"/>
                </a:lnTo>
                <a:lnTo>
                  <a:pt x="422" y="2190"/>
                </a:lnTo>
                <a:lnTo>
                  <a:pt x="428" y="2190"/>
                </a:lnTo>
                <a:close/>
                <a:moveTo>
                  <a:pt x="685" y="510"/>
                </a:moveTo>
                <a:lnTo>
                  <a:pt x="780" y="510"/>
                </a:lnTo>
                <a:lnTo>
                  <a:pt x="786" y="510"/>
                </a:lnTo>
                <a:lnTo>
                  <a:pt x="792" y="512"/>
                </a:lnTo>
                <a:lnTo>
                  <a:pt x="796" y="514"/>
                </a:lnTo>
                <a:lnTo>
                  <a:pt x="802" y="518"/>
                </a:lnTo>
                <a:lnTo>
                  <a:pt x="804" y="522"/>
                </a:lnTo>
                <a:lnTo>
                  <a:pt x="808" y="528"/>
                </a:lnTo>
                <a:lnTo>
                  <a:pt x="810" y="534"/>
                </a:lnTo>
                <a:lnTo>
                  <a:pt x="810" y="540"/>
                </a:lnTo>
                <a:lnTo>
                  <a:pt x="810" y="2106"/>
                </a:lnTo>
                <a:lnTo>
                  <a:pt x="810" y="2112"/>
                </a:lnTo>
                <a:lnTo>
                  <a:pt x="808" y="2118"/>
                </a:lnTo>
                <a:lnTo>
                  <a:pt x="804" y="2124"/>
                </a:lnTo>
                <a:lnTo>
                  <a:pt x="802" y="2128"/>
                </a:lnTo>
                <a:lnTo>
                  <a:pt x="796" y="2132"/>
                </a:lnTo>
                <a:lnTo>
                  <a:pt x="792" y="2134"/>
                </a:lnTo>
                <a:lnTo>
                  <a:pt x="786" y="2136"/>
                </a:lnTo>
                <a:lnTo>
                  <a:pt x="780" y="2136"/>
                </a:lnTo>
                <a:lnTo>
                  <a:pt x="685" y="2136"/>
                </a:lnTo>
                <a:lnTo>
                  <a:pt x="679" y="2136"/>
                </a:lnTo>
                <a:lnTo>
                  <a:pt x="672" y="2134"/>
                </a:lnTo>
                <a:lnTo>
                  <a:pt x="668" y="2132"/>
                </a:lnTo>
                <a:lnTo>
                  <a:pt x="662" y="2128"/>
                </a:lnTo>
                <a:lnTo>
                  <a:pt x="660" y="2124"/>
                </a:lnTo>
                <a:lnTo>
                  <a:pt x="656" y="2118"/>
                </a:lnTo>
                <a:lnTo>
                  <a:pt x="654" y="2112"/>
                </a:lnTo>
                <a:lnTo>
                  <a:pt x="654" y="2106"/>
                </a:lnTo>
                <a:lnTo>
                  <a:pt x="654" y="540"/>
                </a:lnTo>
                <a:lnTo>
                  <a:pt x="654" y="534"/>
                </a:lnTo>
                <a:lnTo>
                  <a:pt x="656" y="528"/>
                </a:lnTo>
                <a:lnTo>
                  <a:pt x="660" y="522"/>
                </a:lnTo>
                <a:lnTo>
                  <a:pt x="662" y="518"/>
                </a:lnTo>
                <a:lnTo>
                  <a:pt x="668" y="514"/>
                </a:lnTo>
                <a:lnTo>
                  <a:pt x="672" y="512"/>
                </a:lnTo>
                <a:lnTo>
                  <a:pt x="679" y="510"/>
                </a:lnTo>
                <a:lnTo>
                  <a:pt x="685" y="510"/>
                </a:lnTo>
                <a:close/>
                <a:moveTo>
                  <a:pt x="3342" y="510"/>
                </a:moveTo>
                <a:lnTo>
                  <a:pt x="3352" y="510"/>
                </a:lnTo>
                <a:lnTo>
                  <a:pt x="3358" y="510"/>
                </a:lnTo>
                <a:lnTo>
                  <a:pt x="3364" y="512"/>
                </a:lnTo>
                <a:lnTo>
                  <a:pt x="3369" y="514"/>
                </a:lnTo>
                <a:lnTo>
                  <a:pt x="3375" y="518"/>
                </a:lnTo>
                <a:lnTo>
                  <a:pt x="3377" y="522"/>
                </a:lnTo>
                <a:lnTo>
                  <a:pt x="3381" y="528"/>
                </a:lnTo>
                <a:lnTo>
                  <a:pt x="3383" y="534"/>
                </a:lnTo>
                <a:lnTo>
                  <a:pt x="3383" y="540"/>
                </a:lnTo>
                <a:lnTo>
                  <a:pt x="3383" y="2106"/>
                </a:lnTo>
                <a:lnTo>
                  <a:pt x="3383" y="2112"/>
                </a:lnTo>
                <a:lnTo>
                  <a:pt x="3381" y="2118"/>
                </a:lnTo>
                <a:lnTo>
                  <a:pt x="3377" y="2124"/>
                </a:lnTo>
                <a:lnTo>
                  <a:pt x="3375" y="2128"/>
                </a:lnTo>
                <a:lnTo>
                  <a:pt x="3369" y="2132"/>
                </a:lnTo>
                <a:lnTo>
                  <a:pt x="3364" y="2134"/>
                </a:lnTo>
                <a:lnTo>
                  <a:pt x="3358" y="2136"/>
                </a:lnTo>
                <a:lnTo>
                  <a:pt x="3352" y="2136"/>
                </a:lnTo>
                <a:lnTo>
                  <a:pt x="3342" y="2136"/>
                </a:lnTo>
                <a:lnTo>
                  <a:pt x="3336" y="2136"/>
                </a:lnTo>
                <a:lnTo>
                  <a:pt x="3330" y="2134"/>
                </a:lnTo>
                <a:lnTo>
                  <a:pt x="3326" y="2132"/>
                </a:lnTo>
                <a:lnTo>
                  <a:pt x="3322" y="2128"/>
                </a:lnTo>
                <a:lnTo>
                  <a:pt x="3318" y="2124"/>
                </a:lnTo>
                <a:lnTo>
                  <a:pt x="3314" y="2118"/>
                </a:lnTo>
                <a:lnTo>
                  <a:pt x="3314" y="2112"/>
                </a:lnTo>
                <a:lnTo>
                  <a:pt x="3312" y="2106"/>
                </a:lnTo>
                <a:lnTo>
                  <a:pt x="3312" y="540"/>
                </a:lnTo>
                <a:lnTo>
                  <a:pt x="3314" y="534"/>
                </a:lnTo>
                <a:lnTo>
                  <a:pt x="3314" y="528"/>
                </a:lnTo>
                <a:lnTo>
                  <a:pt x="3318" y="522"/>
                </a:lnTo>
                <a:lnTo>
                  <a:pt x="3322" y="518"/>
                </a:lnTo>
                <a:lnTo>
                  <a:pt x="3326" y="514"/>
                </a:lnTo>
                <a:lnTo>
                  <a:pt x="3330" y="512"/>
                </a:lnTo>
                <a:lnTo>
                  <a:pt x="3336" y="510"/>
                </a:lnTo>
                <a:lnTo>
                  <a:pt x="3342" y="510"/>
                </a:lnTo>
                <a:close/>
                <a:moveTo>
                  <a:pt x="1842" y="510"/>
                </a:moveTo>
                <a:lnTo>
                  <a:pt x="1850" y="510"/>
                </a:lnTo>
                <a:lnTo>
                  <a:pt x="1856" y="510"/>
                </a:lnTo>
                <a:lnTo>
                  <a:pt x="1862" y="512"/>
                </a:lnTo>
                <a:lnTo>
                  <a:pt x="1868" y="514"/>
                </a:lnTo>
                <a:lnTo>
                  <a:pt x="1872" y="518"/>
                </a:lnTo>
                <a:lnTo>
                  <a:pt x="1876" y="522"/>
                </a:lnTo>
                <a:lnTo>
                  <a:pt x="1878" y="528"/>
                </a:lnTo>
                <a:lnTo>
                  <a:pt x="1880" y="534"/>
                </a:lnTo>
                <a:lnTo>
                  <a:pt x="1880" y="540"/>
                </a:lnTo>
                <a:lnTo>
                  <a:pt x="1880" y="2106"/>
                </a:lnTo>
                <a:lnTo>
                  <a:pt x="1880" y="2112"/>
                </a:lnTo>
                <a:lnTo>
                  <a:pt x="1878" y="2118"/>
                </a:lnTo>
                <a:lnTo>
                  <a:pt x="1876" y="2124"/>
                </a:lnTo>
                <a:lnTo>
                  <a:pt x="1872" y="2128"/>
                </a:lnTo>
                <a:lnTo>
                  <a:pt x="1868" y="2132"/>
                </a:lnTo>
                <a:lnTo>
                  <a:pt x="1862" y="2134"/>
                </a:lnTo>
                <a:lnTo>
                  <a:pt x="1856" y="2136"/>
                </a:lnTo>
                <a:lnTo>
                  <a:pt x="1850" y="2136"/>
                </a:lnTo>
                <a:lnTo>
                  <a:pt x="1842" y="2136"/>
                </a:lnTo>
                <a:lnTo>
                  <a:pt x="1836" y="2136"/>
                </a:lnTo>
                <a:lnTo>
                  <a:pt x="1830" y="2134"/>
                </a:lnTo>
                <a:lnTo>
                  <a:pt x="1824" y="2132"/>
                </a:lnTo>
                <a:lnTo>
                  <a:pt x="1820" y="2128"/>
                </a:lnTo>
                <a:lnTo>
                  <a:pt x="1816" y="2124"/>
                </a:lnTo>
                <a:lnTo>
                  <a:pt x="1814" y="2118"/>
                </a:lnTo>
                <a:lnTo>
                  <a:pt x="1811" y="2112"/>
                </a:lnTo>
                <a:lnTo>
                  <a:pt x="1811" y="2106"/>
                </a:lnTo>
                <a:lnTo>
                  <a:pt x="1811" y="540"/>
                </a:lnTo>
                <a:lnTo>
                  <a:pt x="1811" y="534"/>
                </a:lnTo>
                <a:lnTo>
                  <a:pt x="1814" y="528"/>
                </a:lnTo>
                <a:lnTo>
                  <a:pt x="1816" y="522"/>
                </a:lnTo>
                <a:lnTo>
                  <a:pt x="1820" y="518"/>
                </a:lnTo>
                <a:lnTo>
                  <a:pt x="1824" y="514"/>
                </a:lnTo>
                <a:lnTo>
                  <a:pt x="1830" y="512"/>
                </a:lnTo>
                <a:lnTo>
                  <a:pt x="1836" y="510"/>
                </a:lnTo>
                <a:lnTo>
                  <a:pt x="1842" y="510"/>
                </a:lnTo>
                <a:close/>
                <a:moveTo>
                  <a:pt x="40" y="2136"/>
                </a:moveTo>
                <a:lnTo>
                  <a:pt x="30" y="2136"/>
                </a:lnTo>
                <a:lnTo>
                  <a:pt x="24" y="2136"/>
                </a:lnTo>
                <a:lnTo>
                  <a:pt x="18" y="2134"/>
                </a:lnTo>
                <a:lnTo>
                  <a:pt x="14" y="2132"/>
                </a:lnTo>
                <a:lnTo>
                  <a:pt x="10" y="2128"/>
                </a:lnTo>
                <a:lnTo>
                  <a:pt x="6" y="2124"/>
                </a:lnTo>
                <a:lnTo>
                  <a:pt x="2" y="2118"/>
                </a:lnTo>
                <a:lnTo>
                  <a:pt x="0" y="2112"/>
                </a:lnTo>
                <a:lnTo>
                  <a:pt x="0" y="2106"/>
                </a:lnTo>
                <a:lnTo>
                  <a:pt x="0" y="540"/>
                </a:lnTo>
                <a:lnTo>
                  <a:pt x="0" y="534"/>
                </a:lnTo>
                <a:lnTo>
                  <a:pt x="2" y="528"/>
                </a:lnTo>
                <a:lnTo>
                  <a:pt x="6" y="522"/>
                </a:lnTo>
                <a:lnTo>
                  <a:pt x="10" y="518"/>
                </a:lnTo>
                <a:lnTo>
                  <a:pt x="14" y="514"/>
                </a:lnTo>
                <a:lnTo>
                  <a:pt x="18" y="512"/>
                </a:lnTo>
                <a:lnTo>
                  <a:pt x="24" y="510"/>
                </a:lnTo>
                <a:lnTo>
                  <a:pt x="30" y="510"/>
                </a:lnTo>
                <a:lnTo>
                  <a:pt x="40" y="510"/>
                </a:lnTo>
                <a:lnTo>
                  <a:pt x="46" y="510"/>
                </a:lnTo>
                <a:lnTo>
                  <a:pt x="53" y="512"/>
                </a:lnTo>
                <a:lnTo>
                  <a:pt x="57" y="514"/>
                </a:lnTo>
                <a:lnTo>
                  <a:pt x="61" y="518"/>
                </a:lnTo>
                <a:lnTo>
                  <a:pt x="65" y="522"/>
                </a:lnTo>
                <a:lnTo>
                  <a:pt x="69" y="528"/>
                </a:lnTo>
                <a:lnTo>
                  <a:pt x="71" y="534"/>
                </a:lnTo>
                <a:lnTo>
                  <a:pt x="71" y="540"/>
                </a:lnTo>
                <a:lnTo>
                  <a:pt x="71" y="2106"/>
                </a:lnTo>
                <a:lnTo>
                  <a:pt x="71" y="2112"/>
                </a:lnTo>
                <a:lnTo>
                  <a:pt x="69" y="2118"/>
                </a:lnTo>
                <a:lnTo>
                  <a:pt x="65" y="2124"/>
                </a:lnTo>
                <a:lnTo>
                  <a:pt x="61" y="2128"/>
                </a:lnTo>
                <a:lnTo>
                  <a:pt x="57" y="2132"/>
                </a:lnTo>
                <a:lnTo>
                  <a:pt x="53" y="2134"/>
                </a:lnTo>
                <a:lnTo>
                  <a:pt x="46" y="2136"/>
                </a:lnTo>
                <a:lnTo>
                  <a:pt x="40" y="2136"/>
                </a:lnTo>
                <a:close/>
                <a:moveTo>
                  <a:pt x="226" y="4324"/>
                </a:moveTo>
                <a:lnTo>
                  <a:pt x="71" y="4324"/>
                </a:lnTo>
                <a:lnTo>
                  <a:pt x="71" y="3901"/>
                </a:lnTo>
                <a:lnTo>
                  <a:pt x="71" y="3895"/>
                </a:lnTo>
                <a:lnTo>
                  <a:pt x="73" y="3889"/>
                </a:lnTo>
                <a:lnTo>
                  <a:pt x="75" y="3885"/>
                </a:lnTo>
                <a:lnTo>
                  <a:pt x="79" y="3881"/>
                </a:lnTo>
                <a:lnTo>
                  <a:pt x="83" y="3877"/>
                </a:lnTo>
                <a:lnTo>
                  <a:pt x="89" y="3873"/>
                </a:lnTo>
                <a:lnTo>
                  <a:pt x="95" y="3873"/>
                </a:lnTo>
                <a:lnTo>
                  <a:pt x="101" y="3871"/>
                </a:lnTo>
                <a:lnTo>
                  <a:pt x="196" y="3871"/>
                </a:lnTo>
                <a:lnTo>
                  <a:pt x="202" y="3873"/>
                </a:lnTo>
                <a:lnTo>
                  <a:pt x="208" y="3873"/>
                </a:lnTo>
                <a:lnTo>
                  <a:pt x="212" y="3877"/>
                </a:lnTo>
                <a:lnTo>
                  <a:pt x="216" y="3881"/>
                </a:lnTo>
                <a:lnTo>
                  <a:pt x="220" y="3885"/>
                </a:lnTo>
                <a:lnTo>
                  <a:pt x="224" y="3889"/>
                </a:lnTo>
                <a:lnTo>
                  <a:pt x="226" y="3895"/>
                </a:lnTo>
                <a:lnTo>
                  <a:pt x="226" y="3901"/>
                </a:lnTo>
                <a:lnTo>
                  <a:pt x="226" y="4324"/>
                </a:lnTo>
                <a:close/>
                <a:moveTo>
                  <a:pt x="959" y="4324"/>
                </a:moveTo>
                <a:lnTo>
                  <a:pt x="872" y="4324"/>
                </a:lnTo>
                <a:lnTo>
                  <a:pt x="872" y="3901"/>
                </a:lnTo>
                <a:lnTo>
                  <a:pt x="872" y="3895"/>
                </a:lnTo>
                <a:lnTo>
                  <a:pt x="874" y="3889"/>
                </a:lnTo>
                <a:lnTo>
                  <a:pt x="878" y="3885"/>
                </a:lnTo>
                <a:lnTo>
                  <a:pt x="881" y="3881"/>
                </a:lnTo>
                <a:lnTo>
                  <a:pt x="887" y="3877"/>
                </a:lnTo>
                <a:lnTo>
                  <a:pt x="891" y="3873"/>
                </a:lnTo>
                <a:lnTo>
                  <a:pt x="897" y="3873"/>
                </a:lnTo>
                <a:lnTo>
                  <a:pt x="903" y="3871"/>
                </a:lnTo>
                <a:lnTo>
                  <a:pt x="913" y="3871"/>
                </a:lnTo>
                <a:lnTo>
                  <a:pt x="919" y="3873"/>
                </a:lnTo>
                <a:lnTo>
                  <a:pt x="927" y="3873"/>
                </a:lnTo>
                <a:lnTo>
                  <a:pt x="935" y="3877"/>
                </a:lnTo>
                <a:lnTo>
                  <a:pt x="941" y="3881"/>
                </a:lnTo>
                <a:lnTo>
                  <a:pt x="949" y="3885"/>
                </a:lnTo>
                <a:lnTo>
                  <a:pt x="953" y="3889"/>
                </a:lnTo>
                <a:lnTo>
                  <a:pt x="957" y="3895"/>
                </a:lnTo>
                <a:lnTo>
                  <a:pt x="959" y="3901"/>
                </a:lnTo>
                <a:lnTo>
                  <a:pt x="959" y="4324"/>
                </a:lnTo>
                <a:close/>
                <a:moveTo>
                  <a:pt x="2934" y="4324"/>
                </a:moveTo>
                <a:lnTo>
                  <a:pt x="2866" y="4324"/>
                </a:lnTo>
                <a:lnTo>
                  <a:pt x="2866" y="3901"/>
                </a:lnTo>
                <a:lnTo>
                  <a:pt x="2866" y="3895"/>
                </a:lnTo>
                <a:lnTo>
                  <a:pt x="2868" y="3889"/>
                </a:lnTo>
                <a:lnTo>
                  <a:pt x="2870" y="3885"/>
                </a:lnTo>
                <a:lnTo>
                  <a:pt x="2874" y="3881"/>
                </a:lnTo>
                <a:lnTo>
                  <a:pt x="2878" y="3877"/>
                </a:lnTo>
                <a:lnTo>
                  <a:pt x="2884" y="3873"/>
                </a:lnTo>
                <a:lnTo>
                  <a:pt x="2890" y="3873"/>
                </a:lnTo>
                <a:lnTo>
                  <a:pt x="2896" y="3871"/>
                </a:lnTo>
                <a:lnTo>
                  <a:pt x="2904" y="3871"/>
                </a:lnTo>
                <a:lnTo>
                  <a:pt x="2910" y="3873"/>
                </a:lnTo>
                <a:lnTo>
                  <a:pt x="2916" y="3873"/>
                </a:lnTo>
                <a:lnTo>
                  <a:pt x="2922" y="3877"/>
                </a:lnTo>
                <a:lnTo>
                  <a:pt x="2926" y="3881"/>
                </a:lnTo>
                <a:lnTo>
                  <a:pt x="2930" y="3885"/>
                </a:lnTo>
                <a:lnTo>
                  <a:pt x="2932" y="3889"/>
                </a:lnTo>
                <a:lnTo>
                  <a:pt x="2934" y="3895"/>
                </a:lnTo>
                <a:lnTo>
                  <a:pt x="2934" y="3901"/>
                </a:lnTo>
                <a:lnTo>
                  <a:pt x="2934" y="4324"/>
                </a:lnTo>
                <a:close/>
                <a:moveTo>
                  <a:pt x="4041" y="4324"/>
                </a:moveTo>
                <a:lnTo>
                  <a:pt x="3886" y="4324"/>
                </a:lnTo>
                <a:lnTo>
                  <a:pt x="3886" y="3903"/>
                </a:lnTo>
                <a:lnTo>
                  <a:pt x="3886" y="3897"/>
                </a:lnTo>
                <a:lnTo>
                  <a:pt x="3888" y="3891"/>
                </a:lnTo>
                <a:lnTo>
                  <a:pt x="3890" y="3887"/>
                </a:lnTo>
                <a:lnTo>
                  <a:pt x="3894" y="3881"/>
                </a:lnTo>
                <a:lnTo>
                  <a:pt x="3898" y="3879"/>
                </a:lnTo>
                <a:lnTo>
                  <a:pt x="3904" y="3875"/>
                </a:lnTo>
                <a:lnTo>
                  <a:pt x="3910" y="3873"/>
                </a:lnTo>
                <a:lnTo>
                  <a:pt x="3916" y="3873"/>
                </a:lnTo>
                <a:lnTo>
                  <a:pt x="4011" y="3873"/>
                </a:lnTo>
                <a:lnTo>
                  <a:pt x="4017" y="3873"/>
                </a:lnTo>
                <a:lnTo>
                  <a:pt x="4023" y="3875"/>
                </a:lnTo>
                <a:lnTo>
                  <a:pt x="4027" y="3879"/>
                </a:lnTo>
                <a:lnTo>
                  <a:pt x="4031" y="3881"/>
                </a:lnTo>
                <a:lnTo>
                  <a:pt x="4035" y="3887"/>
                </a:lnTo>
                <a:lnTo>
                  <a:pt x="4039" y="3891"/>
                </a:lnTo>
                <a:lnTo>
                  <a:pt x="4039" y="3897"/>
                </a:lnTo>
                <a:lnTo>
                  <a:pt x="4041" y="3903"/>
                </a:lnTo>
                <a:lnTo>
                  <a:pt x="4041" y="4324"/>
                </a:lnTo>
                <a:close/>
                <a:moveTo>
                  <a:pt x="2629" y="0"/>
                </a:moveTo>
                <a:lnTo>
                  <a:pt x="2785" y="0"/>
                </a:lnTo>
                <a:lnTo>
                  <a:pt x="2785" y="421"/>
                </a:lnTo>
                <a:lnTo>
                  <a:pt x="2785" y="427"/>
                </a:lnTo>
                <a:lnTo>
                  <a:pt x="2783" y="433"/>
                </a:lnTo>
                <a:lnTo>
                  <a:pt x="2781" y="437"/>
                </a:lnTo>
                <a:lnTo>
                  <a:pt x="2777" y="443"/>
                </a:lnTo>
                <a:lnTo>
                  <a:pt x="2773" y="445"/>
                </a:lnTo>
                <a:lnTo>
                  <a:pt x="2767" y="449"/>
                </a:lnTo>
                <a:lnTo>
                  <a:pt x="2761" y="451"/>
                </a:lnTo>
                <a:lnTo>
                  <a:pt x="2755" y="451"/>
                </a:lnTo>
                <a:lnTo>
                  <a:pt x="2660" y="451"/>
                </a:lnTo>
                <a:lnTo>
                  <a:pt x="2654" y="451"/>
                </a:lnTo>
                <a:lnTo>
                  <a:pt x="2648" y="449"/>
                </a:lnTo>
                <a:lnTo>
                  <a:pt x="2644" y="445"/>
                </a:lnTo>
                <a:lnTo>
                  <a:pt x="2639" y="443"/>
                </a:lnTo>
                <a:lnTo>
                  <a:pt x="2635" y="437"/>
                </a:lnTo>
                <a:lnTo>
                  <a:pt x="2631" y="433"/>
                </a:lnTo>
                <a:lnTo>
                  <a:pt x="2631" y="427"/>
                </a:lnTo>
                <a:lnTo>
                  <a:pt x="2629" y="421"/>
                </a:lnTo>
                <a:lnTo>
                  <a:pt x="2629" y="0"/>
                </a:lnTo>
                <a:close/>
                <a:moveTo>
                  <a:pt x="271" y="0"/>
                </a:moveTo>
                <a:lnTo>
                  <a:pt x="426" y="0"/>
                </a:lnTo>
                <a:lnTo>
                  <a:pt x="426" y="427"/>
                </a:lnTo>
                <a:lnTo>
                  <a:pt x="426" y="433"/>
                </a:lnTo>
                <a:lnTo>
                  <a:pt x="424" y="439"/>
                </a:lnTo>
                <a:lnTo>
                  <a:pt x="422" y="445"/>
                </a:lnTo>
                <a:lnTo>
                  <a:pt x="418" y="449"/>
                </a:lnTo>
                <a:lnTo>
                  <a:pt x="414" y="453"/>
                </a:lnTo>
                <a:lnTo>
                  <a:pt x="408" y="455"/>
                </a:lnTo>
                <a:lnTo>
                  <a:pt x="402" y="457"/>
                </a:lnTo>
                <a:lnTo>
                  <a:pt x="396" y="457"/>
                </a:lnTo>
                <a:lnTo>
                  <a:pt x="301" y="457"/>
                </a:lnTo>
                <a:lnTo>
                  <a:pt x="295" y="457"/>
                </a:lnTo>
                <a:lnTo>
                  <a:pt x="291" y="455"/>
                </a:lnTo>
                <a:lnTo>
                  <a:pt x="285" y="453"/>
                </a:lnTo>
                <a:lnTo>
                  <a:pt x="281" y="449"/>
                </a:lnTo>
                <a:lnTo>
                  <a:pt x="277" y="445"/>
                </a:lnTo>
                <a:lnTo>
                  <a:pt x="275" y="439"/>
                </a:lnTo>
                <a:lnTo>
                  <a:pt x="273" y="433"/>
                </a:lnTo>
                <a:lnTo>
                  <a:pt x="271" y="427"/>
                </a:lnTo>
                <a:lnTo>
                  <a:pt x="271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6" name="Freeform 9">
            <a:extLst>
              <a:ext uri="{FF2B5EF4-FFF2-40B4-BE49-F238E27FC236}">
                <a16:creationId xmlns:a16="http://schemas.microsoft.com/office/drawing/2014/main" id="{60D6D538-077C-4F4F-A3E1-AD066003BFEE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07368" y="404664"/>
            <a:ext cx="648000" cy="723297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chemeClr val="accent2"/>
              </a:solidFill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6226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8AD25F64-BC90-4E97-BC45-F22EB06E7E5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368" y="2348879"/>
            <a:ext cx="10441607" cy="223264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8C5474DA-39CA-4F96-985C-F6CF8A0B92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367" y="1844675"/>
            <a:ext cx="10441608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accent2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EE51CC83-F364-4051-9B57-48127E13F6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7" y="5229225"/>
            <a:ext cx="10441608" cy="720726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46E7FB-02AB-46AF-9A9E-FD308EC82ECF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Freeform 9">
            <a:extLst>
              <a:ext uri="{FF2B5EF4-FFF2-40B4-BE49-F238E27FC236}">
                <a16:creationId xmlns:a16="http://schemas.microsoft.com/office/drawing/2014/main" id="{74445369-9AEE-4D7D-8958-EAE9522D2C4D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07368" y="404664"/>
            <a:ext cx="648000" cy="723297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chemeClr val="accent2"/>
              </a:solidFill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8490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343026" y="2348879"/>
            <a:ext cx="9505949" cy="2232645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1343025" y="1844675"/>
            <a:ext cx="950595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AD1DB1-91E7-4523-9AD4-6B8048576360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IA - RKL yrittäjäpäivä 1.11.202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reeform 6"/>
          <p:cNvSpPr>
            <a:spLocks noChangeAspect="1" noEditPoints="1"/>
          </p:cNvSpPr>
          <p:nvPr userDrawn="1"/>
        </p:nvSpPr>
        <p:spPr bwMode="black">
          <a:xfrm>
            <a:off x="11418061" y="6051504"/>
            <a:ext cx="360000" cy="401832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1023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343026" y="2348879"/>
            <a:ext cx="9505949" cy="2232645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1343025" y="1844675"/>
            <a:ext cx="950595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834C0E28-9037-4F2C-9DB6-A5445E0CDA4E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RIA - RKL yrittäjäpäivä 1.11.202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6"/>
          <p:cNvSpPr>
            <a:spLocks noChangeAspect="1" noEditPoints="1"/>
          </p:cNvSpPr>
          <p:nvPr userDrawn="1"/>
        </p:nvSpPr>
        <p:spPr bwMode="black">
          <a:xfrm>
            <a:off x="11418061" y="6051504"/>
            <a:ext cx="360000" cy="401832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rgbClr val="FF6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5902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range Half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983433" y="2348879"/>
            <a:ext cx="4176464" cy="223264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983431" y="1844675"/>
            <a:ext cx="4176464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AFAA533A-9EE1-49AA-B078-782749331E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853F851-7DE4-4FBA-8D96-6532CA68F8AC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IA - RKL yrittäjäpäivä 1.11.202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reeform 6">
            <a:extLst>
              <a:ext uri="{FF2B5EF4-FFF2-40B4-BE49-F238E27FC236}">
                <a16:creationId xmlns:a16="http://schemas.microsoft.com/office/drawing/2014/main" id="{776C6A5C-33EA-49A1-88AE-F24048F6DCD0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07368" y="404664"/>
            <a:ext cx="360000" cy="401832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3060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a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43026" y="2348879"/>
            <a:ext cx="9505949" cy="223264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3025" y="1844675"/>
            <a:ext cx="950595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1343025" y="5229225"/>
            <a:ext cx="9505950" cy="720726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64548361-E900-86FF-01B3-9D74AF0BEA0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8C30E51-959F-44FB-96FD-51CB33D4A409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A398014A-9C76-634D-AC84-D1AFFD1A691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IA - RKL yrittäjäpäivä 1.11.2023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C55DE782-BFF6-11D2-DF2E-67D2AFCD8B8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B43795B-07B0-AC4E-62D6-0AC4F9C82A3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368" y="404664"/>
            <a:ext cx="1521663" cy="216000"/>
            <a:chOff x="-649288" y="2474913"/>
            <a:chExt cx="13498513" cy="1916112"/>
          </a:xfrm>
        </p:grpSpPr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E56F41F9-047A-C51B-22E9-04480DDA67A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id="{2A29EE22-C282-5627-621F-9D456D2161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4090136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ue Half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983433" y="2348879"/>
            <a:ext cx="4176464" cy="223264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983431" y="1844675"/>
            <a:ext cx="4176464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AFAA533A-9EE1-49AA-B078-782749331E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6DC4FFA-B947-4685-BD99-EEC9216D8E75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RIA - RKL yrittäjäpäivä 1.11.202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reeform 6">
            <a:extLst>
              <a:ext uri="{FF2B5EF4-FFF2-40B4-BE49-F238E27FC236}">
                <a16:creationId xmlns:a16="http://schemas.microsoft.com/office/drawing/2014/main" id="{37F770F1-C62D-4B00-9926-0F0D48652FB1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07368" y="404664"/>
            <a:ext cx="360000" cy="401832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3619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eige Half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983433" y="2348879"/>
            <a:ext cx="4176464" cy="223264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983431" y="1844675"/>
            <a:ext cx="4176464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accent2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AFAA533A-9EE1-49AA-B078-782749331E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34D30A97-2EDD-4613-8F41-B7CA56B696A8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RIA - RKL yrittäjäpäivä 1.11.202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reeform 6">
            <a:extLst>
              <a:ext uri="{FF2B5EF4-FFF2-40B4-BE49-F238E27FC236}">
                <a16:creationId xmlns:a16="http://schemas.microsoft.com/office/drawing/2014/main" id="{776C6A5C-33EA-49A1-88AE-F24048F6DCD0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07368" y="404664"/>
            <a:ext cx="360000" cy="401832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9078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ackground Pic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D970E12-D6A6-4677-B9A2-E6F5EBE77D8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343026" y="2348879"/>
            <a:ext cx="9505949" cy="2232645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1343025" y="1844675"/>
            <a:ext cx="950595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DAC7A30-9D6F-4F93-A8A6-F29919AF73B6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IA - RKL yrittäjäpäivä 1.11.202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reeform 6"/>
          <p:cNvSpPr>
            <a:spLocks noChangeAspect="1" noEditPoints="1"/>
          </p:cNvSpPr>
          <p:nvPr userDrawn="1"/>
        </p:nvSpPr>
        <p:spPr bwMode="black">
          <a:xfrm>
            <a:off x="11418061" y="6051504"/>
            <a:ext cx="360000" cy="401832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5480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ackground Pic Blu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D970E12-D6A6-4677-B9A2-E6F5EBE77D8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343026" y="2348879"/>
            <a:ext cx="9505949" cy="2232645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1343025" y="1844675"/>
            <a:ext cx="950595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D555A7-59F2-426D-8ACF-FA33F06855A2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IA - RKL yrittäjäpäivä 1.11.202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reeform 6"/>
          <p:cNvSpPr>
            <a:spLocks noChangeAspect="1" noEditPoints="1"/>
          </p:cNvSpPr>
          <p:nvPr userDrawn="1"/>
        </p:nvSpPr>
        <p:spPr bwMode="black">
          <a:xfrm>
            <a:off x="11418061" y="6051504"/>
            <a:ext cx="360000" cy="401832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4540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Pic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9C817E4-799B-4A3B-9B68-4C7C5625ED2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" y="1"/>
            <a:ext cx="12192000" cy="6858000"/>
          </a:xfrm>
          <a:solidFill>
            <a:schemeClr val="bg2">
              <a:lumMod val="75000"/>
            </a:schemeClr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343026" y="2348879"/>
            <a:ext cx="9505949" cy="2232645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1343025" y="1844675"/>
            <a:ext cx="950595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bg1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84C26DD-8FED-4EB9-A7E0-953CFB819162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IA - RKL yrittäjäpäivä 1.11.202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9253EA8C-010F-4A81-978B-13BB8512208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1424592" y="6050136"/>
            <a:ext cx="360000" cy="403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8779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2663" y="1844675"/>
            <a:ext cx="4897437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11900" y="1844675"/>
            <a:ext cx="4897438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AB5B71-EC0C-4AC1-AE38-C883FA5F59E1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3212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ei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2663" y="1844675"/>
            <a:ext cx="4897437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11900" y="1844675"/>
            <a:ext cx="4897438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785875-BEF1-43A3-A262-0BFB6B72AC03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3964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2663" y="1844675"/>
            <a:ext cx="4897437" cy="41052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11900" y="1844675"/>
            <a:ext cx="4897438" cy="41052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DF91FAB-DC23-4F19-9F73-BE9D164F2A12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IA - RKL yrittäjäpäivä 1.11.2023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reeform 6"/>
          <p:cNvSpPr>
            <a:spLocks noChangeAspect="1" noEditPoints="1"/>
          </p:cNvSpPr>
          <p:nvPr userDrawn="1"/>
        </p:nvSpPr>
        <p:spPr bwMode="black">
          <a:xfrm>
            <a:off x="11418061" y="6051504"/>
            <a:ext cx="360000" cy="401832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1397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2663" y="1844675"/>
            <a:ext cx="3241675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11675" y="1844675"/>
            <a:ext cx="6697663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4CD355-21A5-4573-9702-595BCD9870C6}" type="datetime1">
              <a:rPr lang="fi-FI" smtClean="0"/>
              <a:t>31.10.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1175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2663" y="1844675"/>
            <a:ext cx="6697513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967663" y="1844675"/>
            <a:ext cx="3241675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A5A7A1-A9D1-47FF-ADE2-37011EC48326}" type="datetime1">
              <a:rPr lang="fi-FI" smtClean="0"/>
              <a:t>31.10.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955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343026" y="2348879"/>
            <a:ext cx="9505949" cy="223264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343025" y="1844675"/>
            <a:ext cx="9505950" cy="360363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600" cap="all" baseline="0">
                <a:solidFill>
                  <a:schemeClr val="accent2"/>
                </a:solidFill>
                <a:latin typeface="Skatta Sans Bold" panose="000008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1343025" y="5229225"/>
            <a:ext cx="9505950" cy="720726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7pPr>
            <a:lvl8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8pPr>
            <a:lvl9pPr marL="0" indent="0">
              <a:spcBef>
                <a:spcPts val="0"/>
              </a:spcBef>
              <a:buFontTx/>
              <a:buNone/>
              <a:defRPr sz="16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DB24B1-89A0-429F-8960-51AAE3A0385F}" type="datetime1">
              <a:rPr lang="fi-FI" smtClean="0"/>
              <a:t>31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0AA7FC4-5117-B627-77AB-1F3112F36F2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7368" y="404664"/>
            <a:ext cx="1521663" cy="216000"/>
            <a:chOff x="-649288" y="2474913"/>
            <a:chExt cx="13498513" cy="1916112"/>
          </a:xfrm>
        </p:grpSpPr>
        <p:sp>
          <p:nvSpPr>
            <p:cNvPr id="13" name="Freeform 14">
              <a:extLst>
                <a:ext uri="{FF2B5EF4-FFF2-40B4-BE49-F238E27FC236}">
                  <a16:creationId xmlns:a16="http://schemas.microsoft.com/office/drawing/2014/main" id="{64287AB0-0B3C-C2C3-C202-D427BAC489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15">
              <a:extLst>
                <a:ext uri="{FF2B5EF4-FFF2-40B4-BE49-F238E27FC236}">
                  <a16:creationId xmlns:a16="http://schemas.microsoft.com/office/drawing/2014/main" id="{E44AAD35-9C19-4683-475B-7802E9A3909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441809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82662" y="1844675"/>
            <a:ext cx="3241129" cy="41052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5"/>
          <p:cNvSpPr>
            <a:spLocks noGrp="1"/>
          </p:cNvSpPr>
          <p:nvPr>
            <p:ph sz="quarter" idx="14"/>
          </p:nvPr>
        </p:nvSpPr>
        <p:spPr>
          <a:xfrm>
            <a:off x="4511824" y="1844675"/>
            <a:ext cx="3168352" cy="41052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6"/>
          <p:cNvSpPr>
            <a:spLocks noGrp="1"/>
          </p:cNvSpPr>
          <p:nvPr>
            <p:ph sz="quarter" idx="4"/>
          </p:nvPr>
        </p:nvSpPr>
        <p:spPr>
          <a:xfrm>
            <a:off x="7968208" y="1844675"/>
            <a:ext cx="3241130" cy="41052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694102-56E7-40BC-B884-201DF3E0169A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3637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82663" y="1844675"/>
            <a:ext cx="10226675" cy="57626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b="0" cap="none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82663" y="2420939"/>
            <a:ext cx="10226675" cy="35290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2791FF-1F3B-4E16-A965-ADC23560775A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5363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82662" y="1844675"/>
            <a:ext cx="3241129" cy="57626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lang="en-US" b="0" cap="none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11825" y="1844675"/>
            <a:ext cx="3168350" cy="57626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lang="en-US" b="0" cap="none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7968209" y="1844675"/>
            <a:ext cx="3241130" cy="57626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lang="en-US" b="0" cap="none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82662" y="2420939"/>
            <a:ext cx="3241129" cy="35290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5"/>
          <p:cNvSpPr>
            <a:spLocks noGrp="1"/>
          </p:cNvSpPr>
          <p:nvPr>
            <p:ph sz="quarter" idx="14"/>
          </p:nvPr>
        </p:nvSpPr>
        <p:spPr>
          <a:xfrm>
            <a:off x="4511824" y="2420939"/>
            <a:ext cx="3168352" cy="35290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6"/>
          <p:cNvSpPr>
            <a:spLocks noGrp="1"/>
          </p:cNvSpPr>
          <p:nvPr>
            <p:ph sz="quarter" idx="4"/>
          </p:nvPr>
        </p:nvSpPr>
        <p:spPr>
          <a:xfrm>
            <a:off x="7968208" y="2420939"/>
            <a:ext cx="3241130" cy="35290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D01FB-4E39-4451-A0AD-5D1FB9E33107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0324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82662" y="1844675"/>
            <a:ext cx="4897437" cy="576263"/>
          </a:xfrm>
        </p:spPr>
        <p:txBody>
          <a:bodyPr tIns="5400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0" cap="none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3" hasCustomPrompt="1"/>
          </p:nvPr>
        </p:nvSpPr>
        <p:spPr>
          <a:xfrm>
            <a:off x="6311901" y="1844675"/>
            <a:ext cx="4897438" cy="576263"/>
          </a:xfrm>
        </p:spPr>
        <p:txBody>
          <a:bodyPr tIns="5400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0" cap="none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82662" y="2420939"/>
            <a:ext cx="4897438" cy="35290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11900" y="2420939"/>
            <a:ext cx="4897438" cy="35290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37B56B-BDCE-4B64-A264-F3195AAFBFBD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2177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82662" y="1844675"/>
            <a:ext cx="3241675" cy="57626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b="0" cap="none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11676" y="1844675"/>
            <a:ext cx="6697662" cy="57626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b="0" cap="none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82662" y="2420939"/>
            <a:ext cx="3241675" cy="35290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5"/>
          <p:cNvSpPr>
            <a:spLocks noGrp="1"/>
          </p:cNvSpPr>
          <p:nvPr>
            <p:ph sz="quarter" idx="14"/>
          </p:nvPr>
        </p:nvSpPr>
        <p:spPr>
          <a:xfrm>
            <a:off x="4511674" y="2420939"/>
            <a:ext cx="6697663" cy="35290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8D8545-259B-4F25-8FAE-7A27F5A3B03A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1411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82662" y="1844675"/>
            <a:ext cx="6697514" cy="57626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b="0" cap="none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967664" y="1844675"/>
            <a:ext cx="3241674" cy="576263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b="0" cap="none" baseline="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ts val="0"/>
              </a:spcBef>
            </a:pPr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82662" y="2420939"/>
            <a:ext cx="6697514" cy="35290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5"/>
          <p:cNvSpPr>
            <a:spLocks noGrp="1"/>
          </p:cNvSpPr>
          <p:nvPr>
            <p:ph sz="quarter" idx="14"/>
          </p:nvPr>
        </p:nvSpPr>
        <p:spPr>
          <a:xfrm>
            <a:off x="7967663" y="2420939"/>
            <a:ext cx="3241674" cy="35290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12923B-C44E-4759-8013-F1AF06B9886C}" type="datetime1">
              <a:rPr lang="fi-FI" smtClean="0"/>
              <a:t>31.10.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7308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5"/>
          <p:cNvSpPr>
            <a:spLocks noGrp="1"/>
          </p:cNvSpPr>
          <p:nvPr>
            <p:ph type="title"/>
          </p:nvPr>
        </p:nvSpPr>
        <p:spPr>
          <a:xfrm>
            <a:off x="982663" y="404664"/>
            <a:ext cx="4897313" cy="1008063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982663" y="1844675"/>
            <a:ext cx="4897313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4"/>
          </p:nvPr>
        </p:nvSpPr>
        <p:spPr>
          <a:xfrm>
            <a:off x="6311900" y="404665"/>
            <a:ext cx="4897438" cy="5545286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685FA0-DBF3-4CD5-9BAB-2EA926FE6474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3808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5"/>
          <p:cNvSpPr>
            <a:spLocks noGrp="1"/>
          </p:cNvSpPr>
          <p:nvPr>
            <p:ph type="title"/>
          </p:nvPr>
        </p:nvSpPr>
        <p:spPr>
          <a:xfrm>
            <a:off x="6312025" y="404664"/>
            <a:ext cx="4897313" cy="1008063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6312025" y="1844675"/>
            <a:ext cx="4897313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4"/>
          </p:nvPr>
        </p:nvSpPr>
        <p:spPr>
          <a:xfrm>
            <a:off x="982663" y="404665"/>
            <a:ext cx="4897438" cy="5545286"/>
          </a:xfrm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476AD6-FE9C-4648-8C33-95123B1945C5}" type="datetime1">
              <a:rPr lang="fi-FI" smtClean="0"/>
              <a:t>31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EE6BA-E83C-4FBF-B719-E667163179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6391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AC7F4B-F32F-41F0-ADDD-2972C936D1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FA230ECD-10F3-4D02-A3B8-53E6D95BEB2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82663" y="1844675"/>
            <a:ext cx="4897437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6312024" y="1844824"/>
            <a:ext cx="4896544" cy="4104456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5F124DEE-0CCE-4FBA-9C1C-161B31DE3064}" type="datetime1">
              <a:rPr lang="fi-FI" smtClean="0">
                <a:solidFill>
                  <a:srgbClr val="FF6900"/>
                </a:solidFill>
              </a:rPr>
              <a:t>31.10.2023</a:t>
            </a:fld>
            <a:endParaRPr lang="en-US">
              <a:solidFill>
                <a:srgbClr val="FF69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i-FI">
                <a:solidFill>
                  <a:srgbClr val="FF6900"/>
                </a:solidFill>
              </a:rPr>
              <a:t>RIA - RKL yrittäjäpäivä 1.11.2023</a:t>
            </a:r>
            <a:endParaRPr lang="en-US">
              <a:solidFill>
                <a:srgbClr val="FF69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1FEE6BA-E83C-4FBF-B719-E6671631796F}" type="slidenum">
              <a:rPr lang="en-US" smtClean="0">
                <a:solidFill>
                  <a:srgbClr val="FF6900"/>
                </a:solidFill>
              </a:rPr>
              <a:pPr/>
              <a:t>‹#›</a:t>
            </a:fld>
            <a:endParaRPr lang="en-US">
              <a:solidFill>
                <a:srgbClr val="FF69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1336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AC7F4B-F32F-41F0-ADDD-2972C936D1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3DFE771-6E05-405A-8CBC-13F4BF8B7F3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12024" y="1844675"/>
            <a:ext cx="4897437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983432" y="1844824"/>
            <a:ext cx="4896544" cy="4104456"/>
          </a:xfrm>
          <a:solidFill>
            <a:schemeClr val="bg2"/>
          </a:solidFill>
        </p:spPr>
        <p:txBody>
          <a:bodyPr/>
          <a:lstStyle>
            <a:lvl1pPr>
              <a:defRPr sz="10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554662B-1B08-4DA0-B242-8628AF129268}" type="datetime1">
              <a:rPr lang="fi-FI" smtClean="0">
                <a:solidFill>
                  <a:srgbClr val="FF6900"/>
                </a:solidFill>
              </a:rPr>
              <a:t>31.10.2023</a:t>
            </a:fld>
            <a:endParaRPr lang="en-US">
              <a:solidFill>
                <a:srgbClr val="FF69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i-FI">
                <a:solidFill>
                  <a:srgbClr val="FF6900"/>
                </a:solidFill>
              </a:rPr>
              <a:t>RIA - RKL yrittäjäpäivä 1.11.2023</a:t>
            </a:r>
            <a:endParaRPr lang="en-US">
              <a:solidFill>
                <a:srgbClr val="FF69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1FEE6BA-E83C-4FBF-B719-E6671631796F}" type="slidenum">
              <a:rPr lang="en-US" smtClean="0">
                <a:solidFill>
                  <a:srgbClr val="FF6900"/>
                </a:solidFill>
              </a:rPr>
              <a:pPr/>
              <a:t>‹#›</a:t>
            </a:fld>
            <a:endParaRPr lang="en-US">
              <a:solidFill>
                <a:srgbClr val="FF69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5207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image" Target="../media/image1.png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88.xml"/><Relationship Id="rId21" Type="http://schemas.openxmlformats.org/officeDocument/2006/relationships/slideLayout" Target="../slideLayouts/slideLayout83.xml"/><Relationship Id="rId42" Type="http://schemas.openxmlformats.org/officeDocument/2006/relationships/slideLayout" Target="../slideLayouts/slideLayout104.xml"/><Relationship Id="rId47" Type="http://schemas.openxmlformats.org/officeDocument/2006/relationships/slideLayout" Target="../slideLayouts/slideLayout109.xml"/><Relationship Id="rId63" Type="http://schemas.openxmlformats.org/officeDocument/2006/relationships/slideLayout" Target="../slideLayouts/slideLayout125.xml"/><Relationship Id="rId68" Type="http://schemas.openxmlformats.org/officeDocument/2006/relationships/slideLayout" Target="../slideLayouts/slideLayout130.xml"/><Relationship Id="rId2" Type="http://schemas.openxmlformats.org/officeDocument/2006/relationships/slideLayout" Target="../slideLayouts/slideLayout64.xml"/><Relationship Id="rId16" Type="http://schemas.openxmlformats.org/officeDocument/2006/relationships/slideLayout" Target="../slideLayouts/slideLayout78.xml"/><Relationship Id="rId29" Type="http://schemas.openxmlformats.org/officeDocument/2006/relationships/slideLayout" Target="../slideLayouts/slideLayout91.xml"/><Relationship Id="rId11" Type="http://schemas.openxmlformats.org/officeDocument/2006/relationships/slideLayout" Target="../slideLayouts/slideLayout73.xml"/><Relationship Id="rId24" Type="http://schemas.openxmlformats.org/officeDocument/2006/relationships/slideLayout" Target="../slideLayouts/slideLayout86.xml"/><Relationship Id="rId32" Type="http://schemas.openxmlformats.org/officeDocument/2006/relationships/slideLayout" Target="../slideLayouts/slideLayout94.xml"/><Relationship Id="rId37" Type="http://schemas.openxmlformats.org/officeDocument/2006/relationships/slideLayout" Target="../slideLayouts/slideLayout99.xml"/><Relationship Id="rId40" Type="http://schemas.openxmlformats.org/officeDocument/2006/relationships/slideLayout" Target="../slideLayouts/slideLayout102.xml"/><Relationship Id="rId45" Type="http://schemas.openxmlformats.org/officeDocument/2006/relationships/slideLayout" Target="../slideLayouts/slideLayout107.xml"/><Relationship Id="rId53" Type="http://schemas.openxmlformats.org/officeDocument/2006/relationships/slideLayout" Target="../slideLayouts/slideLayout115.xml"/><Relationship Id="rId58" Type="http://schemas.openxmlformats.org/officeDocument/2006/relationships/slideLayout" Target="../slideLayouts/slideLayout120.xml"/><Relationship Id="rId66" Type="http://schemas.openxmlformats.org/officeDocument/2006/relationships/slideLayout" Target="../slideLayouts/slideLayout128.xml"/><Relationship Id="rId74" Type="http://schemas.openxmlformats.org/officeDocument/2006/relationships/theme" Target="../theme/theme2.xml"/><Relationship Id="rId5" Type="http://schemas.openxmlformats.org/officeDocument/2006/relationships/slideLayout" Target="../slideLayouts/slideLayout67.xml"/><Relationship Id="rId61" Type="http://schemas.openxmlformats.org/officeDocument/2006/relationships/slideLayout" Target="../slideLayouts/slideLayout123.xml"/><Relationship Id="rId1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76.xml"/><Relationship Id="rId22" Type="http://schemas.openxmlformats.org/officeDocument/2006/relationships/slideLayout" Target="../slideLayouts/slideLayout84.xml"/><Relationship Id="rId27" Type="http://schemas.openxmlformats.org/officeDocument/2006/relationships/slideLayout" Target="../slideLayouts/slideLayout89.xml"/><Relationship Id="rId30" Type="http://schemas.openxmlformats.org/officeDocument/2006/relationships/slideLayout" Target="../slideLayouts/slideLayout92.xml"/><Relationship Id="rId35" Type="http://schemas.openxmlformats.org/officeDocument/2006/relationships/slideLayout" Target="../slideLayouts/slideLayout97.xml"/><Relationship Id="rId43" Type="http://schemas.openxmlformats.org/officeDocument/2006/relationships/slideLayout" Target="../slideLayouts/slideLayout105.xml"/><Relationship Id="rId48" Type="http://schemas.openxmlformats.org/officeDocument/2006/relationships/slideLayout" Target="../slideLayouts/slideLayout110.xml"/><Relationship Id="rId56" Type="http://schemas.openxmlformats.org/officeDocument/2006/relationships/slideLayout" Target="../slideLayouts/slideLayout118.xml"/><Relationship Id="rId64" Type="http://schemas.openxmlformats.org/officeDocument/2006/relationships/slideLayout" Target="../slideLayouts/slideLayout126.xml"/><Relationship Id="rId69" Type="http://schemas.openxmlformats.org/officeDocument/2006/relationships/slideLayout" Target="../slideLayouts/slideLayout131.xml"/><Relationship Id="rId8" Type="http://schemas.openxmlformats.org/officeDocument/2006/relationships/slideLayout" Target="../slideLayouts/slideLayout70.xml"/><Relationship Id="rId51" Type="http://schemas.openxmlformats.org/officeDocument/2006/relationships/slideLayout" Target="../slideLayouts/slideLayout113.xml"/><Relationship Id="rId72" Type="http://schemas.openxmlformats.org/officeDocument/2006/relationships/slideLayout" Target="../slideLayouts/slideLayout134.xml"/><Relationship Id="rId3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4.xml"/><Relationship Id="rId17" Type="http://schemas.openxmlformats.org/officeDocument/2006/relationships/slideLayout" Target="../slideLayouts/slideLayout79.xml"/><Relationship Id="rId25" Type="http://schemas.openxmlformats.org/officeDocument/2006/relationships/slideLayout" Target="../slideLayouts/slideLayout87.xml"/><Relationship Id="rId33" Type="http://schemas.openxmlformats.org/officeDocument/2006/relationships/slideLayout" Target="../slideLayouts/slideLayout95.xml"/><Relationship Id="rId38" Type="http://schemas.openxmlformats.org/officeDocument/2006/relationships/slideLayout" Target="../slideLayouts/slideLayout100.xml"/><Relationship Id="rId46" Type="http://schemas.openxmlformats.org/officeDocument/2006/relationships/slideLayout" Target="../slideLayouts/slideLayout108.xml"/><Relationship Id="rId59" Type="http://schemas.openxmlformats.org/officeDocument/2006/relationships/slideLayout" Target="../slideLayouts/slideLayout121.xml"/><Relationship Id="rId67" Type="http://schemas.openxmlformats.org/officeDocument/2006/relationships/slideLayout" Target="../slideLayouts/slideLayout129.xml"/><Relationship Id="rId20" Type="http://schemas.openxmlformats.org/officeDocument/2006/relationships/slideLayout" Target="../slideLayouts/slideLayout82.xml"/><Relationship Id="rId41" Type="http://schemas.openxmlformats.org/officeDocument/2006/relationships/slideLayout" Target="../slideLayouts/slideLayout103.xml"/><Relationship Id="rId54" Type="http://schemas.openxmlformats.org/officeDocument/2006/relationships/slideLayout" Target="../slideLayouts/slideLayout116.xml"/><Relationship Id="rId62" Type="http://schemas.openxmlformats.org/officeDocument/2006/relationships/slideLayout" Target="../slideLayouts/slideLayout124.xml"/><Relationship Id="rId70" Type="http://schemas.openxmlformats.org/officeDocument/2006/relationships/slideLayout" Target="../slideLayouts/slideLayout132.xml"/><Relationship Id="rId75" Type="http://schemas.openxmlformats.org/officeDocument/2006/relationships/image" Target="../media/image1.png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5" Type="http://schemas.openxmlformats.org/officeDocument/2006/relationships/slideLayout" Target="../slideLayouts/slideLayout77.xml"/><Relationship Id="rId23" Type="http://schemas.openxmlformats.org/officeDocument/2006/relationships/slideLayout" Target="../slideLayouts/slideLayout85.xml"/><Relationship Id="rId28" Type="http://schemas.openxmlformats.org/officeDocument/2006/relationships/slideLayout" Target="../slideLayouts/slideLayout90.xml"/><Relationship Id="rId36" Type="http://schemas.openxmlformats.org/officeDocument/2006/relationships/slideLayout" Target="../slideLayouts/slideLayout98.xml"/><Relationship Id="rId49" Type="http://schemas.openxmlformats.org/officeDocument/2006/relationships/slideLayout" Target="../slideLayouts/slideLayout111.xml"/><Relationship Id="rId57" Type="http://schemas.openxmlformats.org/officeDocument/2006/relationships/slideLayout" Target="../slideLayouts/slideLayout119.xml"/><Relationship Id="rId10" Type="http://schemas.openxmlformats.org/officeDocument/2006/relationships/slideLayout" Target="../slideLayouts/slideLayout72.xml"/><Relationship Id="rId31" Type="http://schemas.openxmlformats.org/officeDocument/2006/relationships/slideLayout" Target="../slideLayouts/slideLayout93.xml"/><Relationship Id="rId44" Type="http://schemas.openxmlformats.org/officeDocument/2006/relationships/slideLayout" Target="../slideLayouts/slideLayout106.xml"/><Relationship Id="rId52" Type="http://schemas.openxmlformats.org/officeDocument/2006/relationships/slideLayout" Target="../slideLayouts/slideLayout114.xml"/><Relationship Id="rId60" Type="http://schemas.openxmlformats.org/officeDocument/2006/relationships/slideLayout" Target="../slideLayouts/slideLayout122.xml"/><Relationship Id="rId65" Type="http://schemas.openxmlformats.org/officeDocument/2006/relationships/slideLayout" Target="../slideLayouts/slideLayout127.xml"/><Relationship Id="rId73" Type="http://schemas.openxmlformats.org/officeDocument/2006/relationships/slideLayout" Target="../slideLayouts/slideLayout135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3" Type="http://schemas.openxmlformats.org/officeDocument/2006/relationships/slideLayout" Target="../slideLayouts/slideLayout75.xml"/><Relationship Id="rId18" Type="http://schemas.openxmlformats.org/officeDocument/2006/relationships/slideLayout" Target="../slideLayouts/slideLayout80.xml"/><Relationship Id="rId39" Type="http://schemas.openxmlformats.org/officeDocument/2006/relationships/slideLayout" Target="../slideLayouts/slideLayout101.xml"/><Relationship Id="rId34" Type="http://schemas.openxmlformats.org/officeDocument/2006/relationships/slideLayout" Target="../slideLayouts/slideLayout96.xml"/><Relationship Id="rId50" Type="http://schemas.openxmlformats.org/officeDocument/2006/relationships/slideLayout" Target="../slideLayouts/slideLayout112.xml"/><Relationship Id="rId55" Type="http://schemas.openxmlformats.org/officeDocument/2006/relationships/slideLayout" Target="../slideLayouts/slideLayout117.xml"/><Relationship Id="rId7" Type="http://schemas.openxmlformats.org/officeDocument/2006/relationships/slideLayout" Target="../slideLayouts/slideLayout69.xml"/><Relationship Id="rId71" Type="http://schemas.openxmlformats.org/officeDocument/2006/relationships/slideLayout" Target="../slideLayouts/slideLayout133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61.xml"/><Relationship Id="rId21" Type="http://schemas.openxmlformats.org/officeDocument/2006/relationships/slideLayout" Target="../slideLayouts/slideLayout156.xml"/><Relationship Id="rId42" Type="http://schemas.openxmlformats.org/officeDocument/2006/relationships/slideLayout" Target="../slideLayouts/slideLayout177.xml"/><Relationship Id="rId47" Type="http://schemas.openxmlformats.org/officeDocument/2006/relationships/slideLayout" Target="../slideLayouts/slideLayout182.xml"/><Relationship Id="rId63" Type="http://schemas.openxmlformats.org/officeDocument/2006/relationships/slideLayout" Target="../slideLayouts/slideLayout198.xml"/><Relationship Id="rId68" Type="http://schemas.openxmlformats.org/officeDocument/2006/relationships/slideLayout" Target="../slideLayouts/slideLayout203.xml"/><Relationship Id="rId16" Type="http://schemas.openxmlformats.org/officeDocument/2006/relationships/slideLayout" Target="../slideLayouts/slideLayout151.xml"/><Relationship Id="rId11" Type="http://schemas.openxmlformats.org/officeDocument/2006/relationships/slideLayout" Target="../slideLayouts/slideLayout146.xml"/><Relationship Id="rId24" Type="http://schemas.openxmlformats.org/officeDocument/2006/relationships/slideLayout" Target="../slideLayouts/slideLayout159.xml"/><Relationship Id="rId32" Type="http://schemas.openxmlformats.org/officeDocument/2006/relationships/slideLayout" Target="../slideLayouts/slideLayout167.xml"/><Relationship Id="rId37" Type="http://schemas.openxmlformats.org/officeDocument/2006/relationships/slideLayout" Target="../slideLayouts/slideLayout172.xml"/><Relationship Id="rId40" Type="http://schemas.openxmlformats.org/officeDocument/2006/relationships/slideLayout" Target="../slideLayouts/slideLayout175.xml"/><Relationship Id="rId45" Type="http://schemas.openxmlformats.org/officeDocument/2006/relationships/slideLayout" Target="../slideLayouts/slideLayout180.xml"/><Relationship Id="rId53" Type="http://schemas.openxmlformats.org/officeDocument/2006/relationships/slideLayout" Target="../slideLayouts/slideLayout188.xml"/><Relationship Id="rId58" Type="http://schemas.openxmlformats.org/officeDocument/2006/relationships/slideLayout" Target="../slideLayouts/slideLayout193.xml"/><Relationship Id="rId66" Type="http://schemas.openxmlformats.org/officeDocument/2006/relationships/slideLayout" Target="../slideLayouts/slideLayout201.xml"/><Relationship Id="rId74" Type="http://schemas.openxmlformats.org/officeDocument/2006/relationships/slideLayout" Target="../slideLayouts/slideLayout209.xml"/><Relationship Id="rId5" Type="http://schemas.openxmlformats.org/officeDocument/2006/relationships/slideLayout" Target="../slideLayouts/slideLayout140.xml"/><Relationship Id="rId61" Type="http://schemas.openxmlformats.org/officeDocument/2006/relationships/slideLayout" Target="../slideLayouts/slideLayout196.xml"/><Relationship Id="rId19" Type="http://schemas.openxmlformats.org/officeDocument/2006/relationships/slideLayout" Target="../slideLayouts/slideLayout154.xml"/><Relationship Id="rId14" Type="http://schemas.openxmlformats.org/officeDocument/2006/relationships/slideLayout" Target="../slideLayouts/slideLayout149.xml"/><Relationship Id="rId22" Type="http://schemas.openxmlformats.org/officeDocument/2006/relationships/slideLayout" Target="../slideLayouts/slideLayout157.xml"/><Relationship Id="rId27" Type="http://schemas.openxmlformats.org/officeDocument/2006/relationships/slideLayout" Target="../slideLayouts/slideLayout162.xml"/><Relationship Id="rId30" Type="http://schemas.openxmlformats.org/officeDocument/2006/relationships/slideLayout" Target="../slideLayouts/slideLayout165.xml"/><Relationship Id="rId35" Type="http://schemas.openxmlformats.org/officeDocument/2006/relationships/slideLayout" Target="../slideLayouts/slideLayout170.xml"/><Relationship Id="rId43" Type="http://schemas.openxmlformats.org/officeDocument/2006/relationships/slideLayout" Target="../slideLayouts/slideLayout178.xml"/><Relationship Id="rId48" Type="http://schemas.openxmlformats.org/officeDocument/2006/relationships/slideLayout" Target="../slideLayouts/slideLayout183.xml"/><Relationship Id="rId56" Type="http://schemas.openxmlformats.org/officeDocument/2006/relationships/slideLayout" Target="../slideLayouts/slideLayout191.xml"/><Relationship Id="rId64" Type="http://schemas.openxmlformats.org/officeDocument/2006/relationships/slideLayout" Target="../slideLayouts/slideLayout199.xml"/><Relationship Id="rId69" Type="http://schemas.openxmlformats.org/officeDocument/2006/relationships/slideLayout" Target="../slideLayouts/slideLayout204.xml"/><Relationship Id="rId77" Type="http://schemas.openxmlformats.org/officeDocument/2006/relationships/image" Target="../media/image1.png"/><Relationship Id="rId8" Type="http://schemas.openxmlformats.org/officeDocument/2006/relationships/slideLayout" Target="../slideLayouts/slideLayout143.xml"/><Relationship Id="rId51" Type="http://schemas.openxmlformats.org/officeDocument/2006/relationships/slideLayout" Target="../slideLayouts/slideLayout186.xml"/><Relationship Id="rId72" Type="http://schemas.openxmlformats.org/officeDocument/2006/relationships/slideLayout" Target="../slideLayouts/slideLayout207.xml"/><Relationship Id="rId3" Type="http://schemas.openxmlformats.org/officeDocument/2006/relationships/slideLayout" Target="../slideLayouts/slideLayout138.xml"/><Relationship Id="rId12" Type="http://schemas.openxmlformats.org/officeDocument/2006/relationships/slideLayout" Target="../slideLayouts/slideLayout147.xml"/><Relationship Id="rId17" Type="http://schemas.openxmlformats.org/officeDocument/2006/relationships/slideLayout" Target="../slideLayouts/slideLayout152.xml"/><Relationship Id="rId25" Type="http://schemas.openxmlformats.org/officeDocument/2006/relationships/slideLayout" Target="../slideLayouts/slideLayout160.xml"/><Relationship Id="rId33" Type="http://schemas.openxmlformats.org/officeDocument/2006/relationships/slideLayout" Target="../slideLayouts/slideLayout168.xml"/><Relationship Id="rId38" Type="http://schemas.openxmlformats.org/officeDocument/2006/relationships/slideLayout" Target="../slideLayouts/slideLayout173.xml"/><Relationship Id="rId46" Type="http://schemas.openxmlformats.org/officeDocument/2006/relationships/slideLayout" Target="../slideLayouts/slideLayout181.xml"/><Relationship Id="rId59" Type="http://schemas.openxmlformats.org/officeDocument/2006/relationships/slideLayout" Target="../slideLayouts/slideLayout194.xml"/><Relationship Id="rId67" Type="http://schemas.openxmlformats.org/officeDocument/2006/relationships/slideLayout" Target="../slideLayouts/slideLayout202.xml"/><Relationship Id="rId20" Type="http://schemas.openxmlformats.org/officeDocument/2006/relationships/slideLayout" Target="../slideLayouts/slideLayout155.xml"/><Relationship Id="rId41" Type="http://schemas.openxmlformats.org/officeDocument/2006/relationships/slideLayout" Target="../slideLayouts/slideLayout176.xml"/><Relationship Id="rId54" Type="http://schemas.openxmlformats.org/officeDocument/2006/relationships/slideLayout" Target="../slideLayouts/slideLayout189.xml"/><Relationship Id="rId62" Type="http://schemas.openxmlformats.org/officeDocument/2006/relationships/slideLayout" Target="../slideLayouts/slideLayout197.xml"/><Relationship Id="rId70" Type="http://schemas.openxmlformats.org/officeDocument/2006/relationships/slideLayout" Target="../slideLayouts/slideLayout205.xml"/><Relationship Id="rId75" Type="http://schemas.openxmlformats.org/officeDocument/2006/relationships/slideLayout" Target="../slideLayouts/slideLayout210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5" Type="http://schemas.openxmlformats.org/officeDocument/2006/relationships/slideLayout" Target="../slideLayouts/slideLayout150.xml"/><Relationship Id="rId23" Type="http://schemas.openxmlformats.org/officeDocument/2006/relationships/slideLayout" Target="../slideLayouts/slideLayout158.xml"/><Relationship Id="rId28" Type="http://schemas.openxmlformats.org/officeDocument/2006/relationships/slideLayout" Target="../slideLayouts/slideLayout163.xml"/><Relationship Id="rId36" Type="http://schemas.openxmlformats.org/officeDocument/2006/relationships/slideLayout" Target="../slideLayouts/slideLayout171.xml"/><Relationship Id="rId49" Type="http://schemas.openxmlformats.org/officeDocument/2006/relationships/slideLayout" Target="../slideLayouts/slideLayout184.xml"/><Relationship Id="rId57" Type="http://schemas.openxmlformats.org/officeDocument/2006/relationships/slideLayout" Target="../slideLayouts/slideLayout192.xml"/><Relationship Id="rId10" Type="http://schemas.openxmlformats.org/officeDocument/2006/relationships/slideLayout" Target="../slideLayouts/slideLayout145.xml"/><Relationship Id="rId31" Type="http://schemas.openxmlformats.org/officeDocument/2006/relationships/slideLayout" Target="../slideLayouts/slideLayout166.xml"/><Relationship Id="rId44" Type="http://schemas.openxmlformats.org/officeDocument/2006/relationships/slideLayout" Target="../slideLayouts/slideLayout179.xml"/><Relationship Id="rId52" Type="http://schemas.openxmlformats.org/officeDocument/2006/relationships/slideLayout" Target="../slideLayouts/slideLayout187.xml"/><Relationship Id="rId60" Type="http://schemas.openxmlformats.org/officeDocument/2006/relationships/slideLayout" Target="../slideLayouts/slideLayout195.xml"/><Relationship Id="rId65" Type="http://schemas.openxmlformats.org/officeDocument/2006/relationships/slideLayout" Target="../slideLayouts/slideLayout200.xml"/><Relationship Id="rId73" Type="http://schemas.openxmlformats.org/officeDocument/2006/relationships/slideLayout" Target="../slideLayouts/slideLayout208.xml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Relationship Id="rId13" Type="http://schemas.openxmlformats.org/officeDocument/2006/relationships/slideLayout" Target="../slideLayouts/slideLayout148.xml"/><Relationship Id="rId18" Type="http://schemas.openxmlformats.org/officeDocument/2006/relationships/slideLayout" Target="../slideLayouts/slideLayout153.xml"/><Relationship Id="rId39" Type="http://schemas.openxmlformats.org/officeDocument/2006/relationships/slideLayout" Target="../slideLayouts/slideLayout174.xml"/><Relationship Id="rId34" Type="http://schemas.openxmlformats.org/officeDocument/2006/relationships/slideLayout" Target="../slideLayouts/slideLayout169.xml"/><Relationship Id="rId50" Type="http://schemas.openxmlformats.org/officeDocument/2006/relationships/slideLayout" Target="../slideLayouts/slideLayout185.xml"/><Relationship Id="rId55" Type="http://schemas.openxmlformats.org/officeDocument/2006/relationships/slideLayout" Target="../slideLayouts/slideLayout190.xml"/><Relationship Id="rId76" Type="http://schemas.openxmlformats.org/officeDocument/2006/relationships/theme" Target="../theme/theme3.xml"/><Relationship Id="rId7" Type="http://schemas.openxmlformats.org/officeDocument/2006/relationships/slideLayout" Target="../slideLayouts/slideLayout142.xml"/><Relationship Id="rId71" Type="http://schemas.openxmlformats.org/officeDocument/2006/relationships/slideLayout" Target="../slideLayouts/slideLayout206.xml"/><Relationship Id="rId2" Type="http://schemas.openxmlformats.org/officeDocument/2006/relationships/slideLayout" Target="../slideLayouts/slideLayout137.xml"/><Relationship Id="rId29" Type="http://schemas.openxmlformats.org/officeDocument/2006/relationships/slideLayout" Target="../slideLayouts/slideLayout164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23.xml"/><Relationship Id="rId18" Type="http://schemas.openxmlformats.org/officeDocument/2006/relationships/slideLayout" Target="../slideLayouts/slideLayout228.xml"/><Relationship Id="rId26" Type="http://schemas.openxmlformats.org/officeDocument/2006/relationships/slideLayout" Target="../slideLayouts/slideLayout236.xml"/><Relationship Id="rId39" Type="http://schemas.openxmlformats.org/officeDocument/2006/relationships/slideLayout" Target="../slideLayouts/slideLayout249.xml"/><Relationship Id="rId21" Type="http://schemas.openxmlformats.org/officeDocument/2006/relationships/slideLayout" Target="../slideLayouts/slideLayout231.xml"/><Relationship Id="rId34" Type="http://schemas.openxmlformats.org/officeDocument/2006/relationships/slideLayout" Target="../slideLayouts/slideLayout244.xml"/><Relationship Id="rId42" Type="http://schemas.openxmlformats.org/officeDocument/2006/relationships/slideLayout" Target="../slideLayouts/slideLayout252.xml"/><Relationship Id="rId47" Type="http://schemas.openxmlformats.org/officeDocument/2006/relationships/slideLayout" Target="../slideLayouts/slideLayout257.xml"/><Relationship Id="rId50" Type="http://schemas.openxmlformats.org/officeDocument/2006/relationships/slideLayout" Target="../slideLayouts/slideLayout260.xml"/><Relationship Id="rId55" Type="http://schemas.openxmlformats.org/officeDocument/2006/relationships/slideLayout" Target="../slideLayouts/slideLayout265.xml"/><Relationship Id="rId63" Type="http://schemas.openxmlformats.org/officeDocument/2006/relationships/image" Target="../media/image1.png"/><Relationship Id="rId7" Type="http://schemas.openxmlformats.org/officeDocument/2006/relationships/slideLayout" Target="../slideLayouts/slideLayout217.xml"/><Relationship Id="rId2" Type="http://schemas.openxmlformats.org/officeDocument/2006/relationships/slideLayout" Target="../slideLayouts/slideLayout212.xml"/><Relationship Id="rId16" Type="http://schemas.openxmlformats.org/officeDocument/2006/relationships/slideLayout" Target="../slideLayouts/slideLayout226.xml"/><Relationship Id="rId29" Type="http://schemas.openxmlformats.org/officeDocument/2006/relationships/slideLayout" Target="../slideLayouts/slideLayout239.xml"/><Relationship Id="rId11" Type="http://schemas.openxmlformats.org/officeDocument/2006/relationships/slideLayout" Target="../slideLayouts/slideLayout221.xml"/><Relationship Id="rId24" Type="http://schemas.openxmlformats.org/officeDocument/2006/relationships/slideLayout" Target="../slideLayouts/slideLayout234.xml"/><Relationship Id="rId32" Type="http://schemas.openxmlformats.org/officeDocument/2006/relationships/slideLayout" Target="../slideLayouts/slideLayout242.xml"/><Relationship Id="rId37" Type="http://schemas.openxmlformats.org/officeDocument/2006/relationships/slideLayout" Target="../slideLayouts/slideLayout247.xml"/><Relationship Id="rId40" Type="http://schemas.openxmlformats.org/officeDocument/2006/relationships/slideLayout" Target="../slideLayouts/slideLayout250.xml"/><Relationship Id="rId45" Type="http://schemas.openxmlformats.org/officeDocument/2006/relationships/slideLayout" Target="../slideLayouts/slideLayout255.xml"/><Relationship Id="rId53" Type="http://schemas.openxmlformats.org/officeDocument/2006/relationships/slideLayout" Target="../slideLayouts/slideLayout263.xml"/><Relationship Id="rId58" Type="http://schemas.openxmlformats.org/officeDocument/2006/relationships/slideLayout" Target="../slideLayouts/slideLayout268.xml"/><Relationship Id="rId5" Type="http://schemas.openxmlformats.org/officeDocument/2006/relationships/slideLayout" Target="../slideLayouts/slideLayout215.xml"/><Relationship Id="rId61" Type="http://schemas.openxmlformats.org/officeDocument/2006/relationships/slideLayout" Target="../slideLayouts/slideLayout271.xml"/><Relationship Id="rId19" Type="http://schemas.openxmlformats.org/officeDocument/2006/relationships/slideLayout" Target="../slideLayouts/slideLayout229.xml"/><Relationship Id="rId14" Type="http://schemas.openxmlformats.org/officeDocument/2006/relationships/slideLayout" Target="../slideLayouts/slideLayout224.xml"/><Relationship Id="rId22" Type="http://schemas.openxmlformats.org/officeDocument/2006/relationships/slideLayout" Target="../slideLayouts/slideLayout232.xml"/><Relationship Id="rId27" Type="http://schemas.openxmlformats.org/officeDocument/2006/relationships/slideLayout" Target="../slideLayouts/slideLayout237.xml"/><Relationship Id="rId30" Type="http://schemas.openxmlformats.org/officeDocument/2006/relationships/slideLayout" Target="../slideLayouts/slideLayout240.xml"/><Relationship Id="rId35" Type="http://schemas.openxmlformats.org/officeDocument/2006/relationships/slideLayout" Target="../slideLayouts/slideLayout245.xml"/><Relationship Id="rId43" Type="http://schemas.openxmlformats.org/officeDocument/2006/relationships/slideLayout" Target="../slideLayouts/slideLayout253.xml"/><Relationship Id="rId48" Type="http://schemas.openxmlformats.org/officeDocument/2006/relationships/slideLayout" Target="../slideLayouts/slideLayout258.xml"/><Relationship Id="rId56" Type="http://schemas.openxmlformats.org/officeDocument/2006/relationships/slideLayout" Target="../slideLayouts/slideLayout266.xml"/><Relationship Id="rId8" Type="http://schemas.openxmlformats.org/officeDocument/2006/relationships/slideLayout" Target="../slideLayouts/slideLayout218.xml"/><Relationship Id="rId51" Type="http://schemas.openxmlformats.org/officeDocument/2006/relationships/slideLayout" Target="../slideLayouts/slideLayout261.xml"/><Relationship Id="rId3" Type="http://schemas.openxmlformats.org/officeDocument/2006/relationships/slideLayout" Target="../slideLayouts/slideLayout213.xml"/><Relationship Id="rId12" Type="http://schemas.openxmlformats.org/officeDocument/2006/relationships/slideLayout" Target="../slideLayouts/slideLayout222.xml"/><Relationship Id="rId17" Type="http://schemas.openxmlformats.org/officeDocument/2006/relationships/slideLayout" Target="../slideLayouts/slideLayout227.xml"/><Relationship Id="rId25" Type="http://schemas.openxmlformats.org/officeDocument/2006/relationships/slideLayout" Target="../slideLayouts/slideLayout235.xml"/><Relationship Id="rId33" Type="http://schemas.openxmlformats.org/officeDocument/2006/relationships/slideLayout" Target="../slideLayouts/slideLayout243.xml"/><Relationship Id="rId38" Type="http://schemas.openxmlformats.org/officeDocument/2006/relationships/slideLayout" Target="../slideLayouts/slideLayout248.xml"/><Relationship Id="rId46" Type="http://schemas.openxmlformats.org/officeDocument/2006/relationships/slideLayout" Target="../slideLayouts/slideLayout256.xml"/><Relationship Id="rId59" Type="http://schemas.openxmlformats.org/officeDocument/2006/relationships/slideLayout" Target="../slideLayouts/slideLayout269.xml"/><Relationship Id="rId20" Type="http://schemas.openxmlformats.org/officeDocument/2006/relationships/slideLayout" Target="../slideLayouts/slideLayout230.xml"/><Relationship Id="rId41" Type="http://schemas.openxmlformats.org/officeDocument/2006/relationships/slideLayout" Target="../slideLayouts/slideLayout251.xml"/><Relationship Id="rId54" Type="http://schemas.openxmlformats.org/officeDocument/2006/relationships/slideLayout" Target="../slideLayouts/slideLayout264.xml"/><Relationship Id="rId62" Type="http://schemas.openxmlformats.org/officeDocument/2006/relationships/theme" Target="../theme/theme4.xml"/><Relationship Id="rId1" Type="http://schemas.openxmlformats.org/officeDocument/2006/relationships/slideLayout" Target="../slideLayouts/slideLayout211.xml"/><Relationship Id="rId6" Type="http://schemas.openxmlformats.org/officeDocument/2006/relationships/slideLayout" Target="../slideLayouts/slideLayout216.xml"/><Relationship Id="rId15" Type="http://schemas.openxmlformats.org/officeDocument/2006/relationships/slideLayout" Target="../slideLayouts/slideLayout225.xml"/><Relationship Id="rId23" Type="http://schemas.openxmlformats.org/officeDocument/2006/relationships/slideLayout" Target="../slideLayouts/slideLayout233.xml"/><Relationship Id="rId28" Type="http://schemas.openxmlformats.org/officeDocument/2006/relationships/slideLayout" Target="../slideLayouts/slideLayout238.xml"/><Relationship Id="rId36" Type="http://schemas.openxmlformats.org/officeDocument/2006/relationships/slideLayout" Target="../slideLayouts/slideLayout246.xml"/><Relationship Id="rId49" Type="http://schemas.openxmlformats.org/officeDocument/2006/relationships/slideLayout" Target="../slideLayouts/slideLayout259.xml"/><Relationship Id="rId57" Type="http://schemas.openxmlformats.org/officeDocument/2006/relationships/slideLayout" Target="../slideLayouts/slideLayout267.xml"/><Relationship Id="rId10" Type="http://schemas.openxmlformats.org/officeDocument/2006/relationships/slideLayout" Target="../slideLayouts/slideLayout220.xml"/><Relationship Id="rId31" Type="http://schemas.openxmlformats.org/officeDocument/2006/relationships/slideLayout" Target="../slideLayouts/slideLayout241.xml"/><Relationship Id="rId44" Type="http://schemas.openxmlformats.org/officeDocument/2006/relationships/slideLayout" Target="../slideLayouts/slideLayout254.xml"/><Relationship Id="rId52" Type="http://schemas.openxmlformats.org/officeDocument/2006/relationships/slideLayout" Target="../slideLayouts/slideLayout262.xml"/><Relationship Id="rId60" Type="http://schemas.openxmlformats.org/officeDocument/2006/relationships/slideLayout" Target="../slideLayouts/slideLayout270.xml"/><Relationship Id="rId4" Type="http://schemas.openxmlformats.org/officeDocument/2006/relationships/slideLayout" Target="../slideLayouts/slideLayout214.xml"/><Relationship Id="rId9" Type="http://schemas.openxmlformats.org/officeDocument/2006/relationships/slideLayout" Target="../slideLayouts/slideLayout219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84.xml"/><Relationship Id="rId18" Type="http://schemas.openxmlformats.org/officeDocument/2006/relationships/slideLayout" Target="../slideLayouts/slideLayout289.xml"/><Relationship Id="rId26" Type="http://schemas.openxmlformats.org/officeDocument/2006/relationships/slideLayout" Target="../slideLayouts/slideLayout297.xml"/><Relationship Id="rId39" Type="http://schemas.openxmlformats.org/officeDocument/2006/relationships/slideLayout" Target="../slideLayouts/slideLayout310.xml"/><Relationship Id="rId21" Type="http://schemas.openxmlformats.org/officeDocument/2006/relationships/slideLayout" Target="../slideLayouts/slideLayout292.xml"/><Relationship Id="rId34" Type="http://schemas.openxmlformats.org/officeDocument/2006/relationships/slideLayout" Target="../slideLayouts/slideLayout305.xml"/><Relationship Id="rId42" Type="http://schemas.openxmlformats.org/officeDocument/2006/relationships/slideLayout" Target="../slideLayouts/slideLayout313.xml"/><Relationship Id="rId47" Type="http://schemas.openxmlformats.org/officeDocument/2006/relationships/slideLayout" Target="../slideLayouts/slideLayout318.xml"/><Relationship Id="rId50" Type="http://schemas.openxmlformats.org/officeDocument/2006/relationships/slideLayout" Target="../slideLayouts/slideLayout321.xml"/><Relationship Id="rId55" Type="http://schemas.openxmlformats.org/officeDocument/2006/relationships/slideLayout" Target="../slideLayouts/slideLayout326.xml"/><Relationship Id="rId63" Type="http://schemas.openxmlformats.org/officeDocument/2006/relationships/theme" Target="../theme/theme5.xml"/><Relationship Id="rId7" Type="http://schemas.openxmlformats.org/officeDocument/2006/relationships/slideLayout" Target="../slideLayouts/slideLayout278.xml"/><Relationship Id="rId2" Type="http://schemas.openxmlformats.org/officeDocument/2006/relationships/slideLayout" Target="../slideLayouts/slideLayout273.xml"/><Relationship Id="rId16" Type="http://schemas.openxmlformats.org/officeDocument/2006/relationships/slideLayout" Target="../slideLayouts/slideLayout287.xml"/><Relationship Id="rId29" Type="http://schemas.openxmlformats.org/officeDocument/2006/relationships/slideLayout" Target="../slideLayouts/slideLayout300.xml"/><Relationship Id="rId11" Type="http://schemas.openxmlformats.org/officeDocument/2006/relationships/slideLayout" Target="../slideLayouts/slideLayout282.xml"/><Relationship Id="rId24" Type="http://schemas.openxmlformats.org/officeDocument/2006/relationships/slideLayout" Target="../slideLayouts/slideLayout295.xml"/><Relationship Id="rId32" Type="http://schemas.openxmlformats.org/officeDocument/2006/relationships/slideLayout" Target="../slideLayouts/slideLayout303.xml"/><Relationship Id="rId37" Type="http://schemas.openxmlformats.org/officeDocument/2006/relationships/slideLayout" Target="../slideLayouts/slideLayout308.xml"/><Relationship Id="rId40" Type="http://schemas.openxmlformats.org/officeDocument/2006/relationships/slideLayout" Target="../slideLayouts/slideLayout311.xml"/><Relationship Id="rId45" Type="http://schemas.openxmlformats.org/officeDocument/2006/relationships/slideLayout" Target="../slideLayouts/slideLayout316.xml"/><Relationship Id="rId53" Type="http://schemas.openxmlformats.org/officeDocument/2006/relationships/slideLayout" Target="../slideLayouts/slideLayout324.xml"/><Relationship Id="rId58" Type="http://schemas.openxmlformats.org/officeDocument/2006/relationships/slideLayout" Target="../slideLayouts/slideLayout329.xml"/><Relationship Id="rId5" Type="http://schemas.openxmlformats.org/officeDocument/2006/relationships/slideLayout" Target="../slideLayouts/slideLayout276.xml"/><Relationship Id="rId61" Type="http://schemas.openxmlformats.org/officeDocument/2006/relationships/slideLayout" Target="../slideLayouts/slideLayout332.xml"/><Relationship Id="rId19" Type="http://schemas.openxmlformats.org/officeDocument/2006/relationships/slideLayout" Target="../slideLayouts/slideLayout290.xml"/><Relationship Id="rId14" Type="http://schemas.openxmlformats.org/officeDocument/2006/relationships/slideLayout" Target="../slideLayouts/slideLayout285.xml"/><Relationship Id="rId22" Type="http://schemas.openxmlformats.org/officeDocument/2006/relationships/slideLayout" Target="../slideLayouts/slideLayout293.xml"/><Relationship Id="rId27" Type="http://schemas.openxmlformats.org/officeDocument/2006/relationships/slideLayout" Target="../slideLayouts/slideLayout298.xml"/><Relationship Id="rId30" Type="http://schemas.openxmlformats.org/officeDocument/2006/relationships/slideLayout" Target="../slideLayouts/slideLayout301.xml"/><Relationship Id="rId35" Type="http://schemas.openxmlformats.org/officeDocument/2006/relationships/slideLayout" Target="../slideLayouts/slideLayout306.xml"/><Relationship Id="rId43" Type="http://schemas.openxmlformats.org/officeDocument/2006/relationships/slideLayout" Target="../slideLayouts/slideLayout314.xml"/><Relationship Id="rId48" Type="http://schemas.openxmlformats.org/officeDocument/2006/relationships/slideLayout" Target="../slideLayouts/slideLayout319.xml"/><Relationship Id="rId56" Type="http://schemas.openxmlformats.org/officeDocument/2006/relationships/slideLayout" Target="../slideLayouts/slideLayout327.xml"/><Relationship Id="rId64" Type="http://schemas.openxmlformats.org/officeDocument/2006/relationships/image" Target="../media/image1.png"/><Relationship Id="rId8" Type="http://schemas.openxmlformats.org/officeDocument/2006/relationships/slideLayout" Target="../slideLayouts/slideLayout279.xml"/><Relationship Id="rId51" Type="http://schemas.openxmlformats.org/officeDocument/2006/relationships/slideLayout" Target="../slideLayouts/slideLayout322.xml"/><Relationship Id="rId3" Type="http://schemas.openxmlformats.org/officeDocument/2006/relationships/slideLayout" Target="../slideLayouts/slideLayout274.xml"/><Relationship Id="rId12" Type="http://schemas.openxmlformats.org/officeDocument/2006/relationships/slideLayout" Target="../slideLayouts/slideLayout283.xml"/><Relationship Id="rId17" Type="http://schemas.openxmlformats.org/officeDocument/2006/relationships/slideLayout" Target="../slideLayouts/slideLayout288.xml"/><Relationship Id="rId25" Type="http://schemas.openxmlformats.org/officeDocument/2006/relationships/slideLayout" Target="../slideLayouts/slideLayout296.xml"/><Relationship Id="rId33" Type="http://schemas.openxmlformats.org/officeDocument/2006/relationships/slideLayout" Target="../slideLayouts/slideLayout304.xml"/><Relationship Id="rId38" Type="http://schemas.openxmlformats.org/officeDocument/2006/relationships/slideLayout" Target="../slideLayouts/slideLayout309.xml"/><Relationship Id="rId46" Type="http://schemas.openxmlformats.org/officeDocument/2006/relationships/slideLayout" Target="../slideLayouts/slideLayout317.xml"/><Relationship Id="rId59" Type="http://schemas.openxmlformats.org/officeDocument/2006/relationships/slideLayout" Target="../slideLayouts/slideLayout330.xml"/><Relationship Id="rId20" Type="http://schemas.openxmlformats.org/officeDocument/2006/relationships/slideLayout" Target="../slideLayouts/slideLayout291.xml"/><Relationship Id="rId41" Type="http://schemas.openxmlformats.org/officeDocument/2006/relationships/slideLayout" Target="../slideLayouts/slideLayout312.xml"/><Relationship Id="rId54" Type="http://schemas.openxmlformats.org/officeDocument/2006/relationships/slideLayout" Target="../slideLayouts/slideLayout325.xml"/><Relationship Id="rId62" Type="http://schemas.openxmlformats.org/officeDocument/2006/relationships/slideLayout" Target="../slideLayouts/slideLayout333.xml"/><Relationship Id="rId1" Type="http://schemas.openxmlformats.org/officeDocument/2006/relationships/slideLayout" Target="../slideLayouts/slideLayout272.xml"/><Relationship Id="rId6" Type="http://schemas.openxmlformats.org/officeDocument/2006/relationships/slideLayout" Target="../slideLayouts/slideLayout277.xml"/><Relationship Id="rId15" Type="http://schemas.openxmlformats.org/officeDocument/2006/relationships/slideLayout" Target="../slideLayouts/slideLayout286.xml"/><Relationship Id="rId23" Type="http://schemas.openxmlformats.org/officeDocument/2006/relationships/slideLayout" Target="../slideLayouts/slideLayout294.xml"/><Relationship Id="rId28" Type="http://schemas.openxmlformats.org/officeDocument/2006/relationships/slideLayout" Target="../slideLayouts/slideLayout299.xml"/><Relationship Id="rId36" Type="http://schemas.openxmlformats.org/officeDocument/2006/relationships/slideLayout" Target="../slideLayouts/slideLayout307.xml"/><Relationship Id="rId49" Type="http://schemas.openxmlformats.org/officeDocument/2006/relationships/slideLayout" Target="../slideLayouts/slideLayout320.xml"/><Relationship Id="rId57" Type="http://schemas.openxmlformats.org/officeDocument/2006/relationships/slideLayout" Target="../slideLayouts/slideLayout328.xml"/><Relationship Id="rId10" Type="http://schemas.openxmlformats.org/officeDocument/2006/relationships/slideLayout" Target="../slideLayouts/slideLayout281.xml"/><Relationship Id="rId31" Type="http://schemas.openxmlformats.org/officeDocument/2006/relationships/slideLayout" Target="../slideLayouts/slideLayout302.xml"/><Relationship Id="rId44" Type="http://schemas.openxmlformats.org/officeDocument/2006/relationships/slideLayout" Target="../slideLayouts/slideLayout315.xml"/><Relationship Id="rId52" Type="http://schemas.openxmlformats.org/officeDocument/2006/relationships/slideLayout" Target="../slideLayouts/slideLayout323.xml"/><Relationship Id="rId60" Type="http://schemas.openxmlformats.org/officeDocument/2006/relationships/slideLayout" Target="../slideLayouts/slideLayout331.xml"/><Relationship Id="rId4" Type="http://schemas.openxmlformats.org/officeDocument/2006/relationships/slideLayout" Target="../slideLayouts/slideLayout275.xml"/><Relationship Id="rId9" Type="http://schemas.openxmlformats.org/officeDocument/2006/relationships/slideLayout" Target="../slideLayouts/slideLayout28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82662" y="404664"/>
            <a:ext cx="10226675" cy="1008063"/>
          </a:xfrm>
          <a:prstGeom prst="rect">
            <a:avLst/>
          </a:prstGeom>
        </p:spPr>
        <p:txBody>
          <a:bodyPr vert="horz" lIns="0" tIns="14400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2662" y="1844675"/>
            <a:ext cx="10226675" cy="41052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95400" y="6309320"/>
            <a:ext cx="1513457" cy="14329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>
                <a:solidFill>
                  <a:schemeClr val="accent2"/>
                </a:solidFill>
                <a:latin typeface="+mn-lt"/>
              </a:defRPr>
            </a:lvl1pPr>
          </a:lstStyle>
          <a:p>
            <a:fld id="{C5148916-5901-4E41-81EF-839CBF289928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07568" y="6309320"/>
            <a:ext cx="7704856" cy="14329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/>
              <a:t>RIA - RKL yrittäjäpäivä 1.11.2023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07369" y="6309320"/>
            <a:ext cx="288032" cy="14329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>
                <a:solidFill>
                  <a:schemeClr val="accent2"/>
                </a:solidFill>
                <a:latin typeface="+mn-lt"/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(c)" hidden="1">
            <a:extLst>
              <a:ext uri="{FF2B5EF4-FFF2-40B4-BE49-F238E27FC236}">
                <a16:creationId xmlns:a16="http://schemas.microsoft.com/office/drawing/2014/main" id="{BE2EB194-74AD-4D61-A442-17A3437B0AF6}"/>
              </a:ext>
            </a:extLst>
          </p:cNvPr>
          <p:cNvSpPr txBox="1"/>
          <p:nvPr userDrawn="1"/>
        </p:nvSpPr>
        <p:spPr>
          <a:xfrm>
            <a:off x="11975296" y="6891795"/>
            <a:ext cx="209994" cy="307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fi-FI" sz="200" dirty="0">
                <a:solidFill>
                  <a:schemeClr val="bg1"/>
                </a:solidFill>
                <a:latin typeface="+mn-lt"/>
              </a:rPr>
              <a:t>©grow. for</a:t>
            </a:r>
            <a:r>
              <a:rPr lang="fi-FI" sz="200" baseline="0" dirty="0">
                <a:solidFill>
                  <a:schemeClr val="bg1"/>
                </a:solidFill>
                <a:latin typeface="+mn-lt"/>
              </a:rPr>
              <a:t> KESKO</a:t>
            </a:r>
            <a:endParaRPr lang="en-GB" sz="200" dirty="0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0" name="(logo)" descr="Z:\GRW (grow)\logot\copyright_grow.png" hidden="1">
            <a:extLst>
              <a:ext uri="{FF2B5EF4-FFF2-40B4-BE49-F238E27FC236}">
                <a16:creationId xmlns:a16="http://schemas.microsoft.com/office/drawing/2014/main" id="{C6046EE3-3CDB-423E-818D-EE7BA4BCD56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36000"/>
            <a:ext cx="60261" cy="1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331AFFA5-2390-177B-A582-E882717BA55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72464" y="6237312"/>
            <a:ext cx="1521663" cy="216000"/>
            <a:chOff x="-649288" y="2474913"/>
            <a:chExt cx="13498513" cy="1916112"/>
          </a:xfrm>
        </p:grpSpPr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F763011E-9A71-C389-7637-7D7214A9246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15">
              <a:extLst>
                <a:ext uri="{FF2B5EF4-FFF2-40B4-BE49-F238E27FC236}">
                  <a16:creationId xmlns:a16="http://schemas.microsoft.com/office/drawing/2014/main" id="{8E4BB8C2-14FC-F1BF-1B41-F233F2958AE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6721068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793" r:id="rId2"/>
    <p:sldLayoutId id="2147483650" r:id="rId3"/>
    <p:sldLayoutId id="2147483788" r:id="rId4"/>
    <p:sldLayoutId id="2147483818" r:id="rId5"/>
    <p:sldLayoutId id="2147483819" r:id="rId6"/>
    <p:sldLayoutId id="2147483837" r:id="rId7"/>
    <p:sldLayoutId id="2147483649" r:id="rId8"/>
    <p:sldLayoutId id="2147483677" r:id="rId9"/>
    <p:sldLayoutId id="2147483679" r:id="rId10"/>
    <p:sldLayoutId id="2147483782" r:id="rId11"/>
    <p:sldLayoutId id="2147483838" r:id="rId12"/>
    <p:sldLayoutId id="2147483690" r:id="rId13"/>
    <p:sldLayoutId id="2147483813" r:id="rId14"/>
    <p:sldLayoutId id="2147483814" r:id="rId15"/>
    <p:sldLayoutId id="2147483812" r:id="rId16"/>
    <p:sldLayoutId id="2147483826" r:id="rId17"/>
    <p:sldLayoutId id="2147483815" r:id="rId18"/>
    <p:sldLayoutId id="2147483824" r:id="rId19"/>
    <p:sldLayoutId id="2147483652" r:id="rId20"/>
    <p:sldLayoutId id="2147483789" r:id="rId21"/>
    <p:sldLayoutId id="2147483735" r:id="rId22"/>
    <p:sldLayoutId id="2147483783" r:id="rId23"/>
    <p:sldLayoutId id="2147483784" r:id="rId24"/>
    <p:sldLayoutId id="2147483661" r:id="rId25"/>
    <p:sldLayoutId id="2147483664" r:id="rId26"/>
    <p:sldLayoutId id="2147483653" r:id="rId27"/>
    <p:sldLayoutId id="2147483729" r:id="rId28"/>
    <p:sldLayoutId id="2147483785" r:id="rId29"/>
    <p:sldLayoutId id="2147483670" r:id="rId30"/>
    <p:sldLayoutId id="2147483791" r:id="rId31"/>
    <p:sldLayoutId id="2147483810" r:id="rId32"/>
    <p:sldLayoutId id="2147483811" r:id="rId33"/>
    <p:sldLayoutId id="2147483731" r:id="rId34"/>
    <p:sldLayoutId id="2147483790" r:id="rId35"/>
    <p:sldLayoutId id="2147483808" r:id="rId36"/>
    <p:sldLayoutId id="2147483809" r:id="rId37"/>
    <p:sldLayoutId id="2147483816" r:id="rId38"/>
    <p:sldLayoutId id="2147483817" r:id="rId39"/>
    <p:sldLayoutId id="2147483797" r:id="rId40"/>
    <p:sldLayoutId id="2147483798" r:id="rId41"/>
    <p:sldLayoutId id="2147483799" r:id="rId42"/>
    <p:sldLayoutId id="2147483800" r:id="rId43"/>
    <p:sldLayoutId id="2147483801" r:id="rId44"/>
    <p:sldLayoutId id="2147483832" r:id="rId45"/>
    <p:sldLayoutId id="2147483833" r:id="rId46"/>
    <p:sldLayoutId id="2147483834" r:id="rId47"/>
    <p:sldLayoutId id="2147483835" r:id="rId48"/>
    <p:sldLayoutId id="2147483792" r:id="rId49"/>
    <p:sldLayoutId id="2147483776" r:id="rId50"/>
    <p:sldLayoutId id="2147483836" r:id="rId51"/>
    <p:sldLayoutId id="2147483827" r:id="rId52"/>
    <p:sldLayoutId id="2147483828" r:id="rId53"/>
    <p:sldLayoutId id="2147483829" r:id="rId54"/>
    <p:sldLayoutId id="2147483654" r:id="rId55"/>
    <p:sldLayoutId id="2147483655" r:id="rId56"/>
    <p:sldLayoutId id="2147483753" r:id="rId57"/>
    <p:sldLayoutId id="2147483796" r:id="rId58"/>
    <p:sldLayoutId id="2147483794" r:id="rId59"/>
    <p:sldLayoutId id="2147483795" r:id="rId60"/>
    <p:sldLayoutId id="2147483839" r:id="rId61"/>
    <p:sldLayoutId id="2147483840" r:id="rId6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dt="0"/>
  <p:txStyles>
    <p:titleStyle>
      <a:lvl1pPr algn="ctr" defTabSz="914400" rtl="0" eaLnBrk="1" latinLnBrk="0" hangingPunct="1">
        <a:lnSpc>
          <a:spcPct val="80000"/>
        </a:lnSpc>
        <a:spcBef>
          <a:spcPct val="0"/>
        </a:spcBef>
        <a:buNone/>
        <a:defRPr sz="3600" b="0" kern="1200" cap="all" spc="-50" baseline="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39750" indent="-273050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806450" indent="-266700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071563" indent="-265113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346200" indent="-274638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6pPr>
      <a:lvl7pPr marL="1612900" indent="-266700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7pPr>
      <a:lvl8pPr marL="1878013" indent="-265113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2152650" indent="-274638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3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82662" y="404664"/>
            <a:ext cx="10226675" cy="1008063"/>
          </a:xfrm>
          <a:prstGeom prst="rect">
            <a:avLst/>
          </a:prstGeom>
        </p:spPr>
        <p:txBody>
          <a:bodyPr vert="horz" lIns="0" tIns="14400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2662" y="1844675"/>
            <a:ext cx="10226675" cy="41052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95400" y="6309320"/>
            <a:ext cx="1513457" cy="14329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>
                <a:solidFill>
                  <a:schemeClr val="accent2"/>
                </a:solidFill>
                <a:latin typeface="+mn-lt"/>
              </a:defRPr>
            </a:lvl1pPr>
          </a:lstStyle>
          <a:p>
            <a:fld id="{8662DAF1-84F2-4BEF-88C7-F3C0024F54FB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07568" y="6309320"/>
            <a:ext cx="8641408" cy="14329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/>
              <a:t>RIA - RKL yrittäjäpäivä 1.11.2023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07369" y="6309320"/>
            <a:ext cx="288032" cy="14329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>
                <a:solidFill>
                  <a:schemeClr val="accent2"/>
                </a:solidFill>
                <a:latin typeface="+mn-lt"/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reeform 6"/>
          <p:cNvSpPr>
            <a:spLocks noChangeAspect="1" noEditPoints="1"/>
          </p:cNvSpPr>
          <p:nvPr/>
        </p:nvSpPr>
        <p:spPr bwMode="black">
          <a:xfrm>
            <a:off x="11418061" y="6051504"/>
            <a:ext cx="360000" cy="401832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rgbClr val="FF6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  <p:sp>
        <p:nvSpPr>
          <p:cNvPr id="9" name="(c)" hidden="1">
            <a:extLst>
              <a:ext uri="{FF2B5EF4-FFF2-40B4-BE49-F238E27FC236}">
                <a16:creationId xmlns:a16="http://schemas.microsoft.com/office/drawing/2014/main" id="{BE2EB194-74AD-4D61-A442-17A3437B0AF6}"/>
              </a:ext>
            </a:extLst>
          </p:cNvPr>
          <p:cNvSpPr txBox="1"/>
          <p:nvPr userDrawn="1"/>
        </p:nvSpPr>
        <p:spPr>
          <a:xfrm>
            <a:off x="11975296" y="6891795"/>
            <a:ext cx="209994" cy="307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fi-FI" sz="200" dirty="0">
                <a:solidFill>
                  <a:schemeClr val="bg1"/>
                </a:solidFill>
                <a:latin typeface="+mn-lt"/>
              </a:rPr>
              <a:t>©grow. for</a:t>
            </a:r>
            <a:r>
              <a:rPr lang="fi-FI" sz="200" baseline="0" dirty="0">
                <a:solidFill>
                  <a:schemeClr val="bg1"/>
                </a:solidFill>
                <a:latin typeface="+mn-lt"/>
              </a:rPr>
              <a:t> KESKO</a:t>
            </a:r>
            <a:endParaRPr lang="en-GB" sz="200" dirty="0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0" name="(logo)" descr="Z:\GRW (grow)\logot\copyright_grow.png" hidden="1">
            <a:extLst>
              <a:ext uri="{FF2B5EF4-FFF2-40B4-BE49-F238E27FC236}">
                <a16:creationId xmlns:a16="http://schemas.microsoft.com/office/drawing/2014/main" id="{C6046EE3-3CDB-423E-818D-EE7BA4BCD56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36000"/>
            <a:ext cx="60261" cy="1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710352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43" r:id="rId2"/>
    <p:sldLayoutId id="2147483844" r:id="rId3"/>
    <p:sldLayoutId id="2147483845" r:id="rId4"/>
    <p:sldLayoutId id="2147483846" r:id="rId5"/>
    <p:sldLayoutId id="2147483847" r:id="rId6"/>
    <p:sldLayoutId id="2147483848" r:id="rId7"/>
    <p:sldLayoutId id="2147483849" r:id="rId8"/>
    <p:sldLayoutId id="2147483850" r:id="rId9"/>
    <p:sldLayoutId id="2147483851" r:id="rId10"/>
    <p:sldLayoutId id="2147483852" r:id="rId11"/>
    <p:sldLayoutId id="2147483853" r:id="rId12"/>
    <p:sldLayoutId id="2147483854" r:id="rId13"/>
    <p:sldLayoutId id="2147483855" r:id="rId14"/>
    <p:sldLayoutId id="2147483856" r:id="rId15"/>
    <p:sldLayoutId id="2147483857" r:id="rId16"/>
    <p:sldLayoutId id="2147483858" r:id="rId17"/>
    <p:sldLayoutId id="2147483859" r:id="rId18"/>
    <p:sldLayoutId id="2147483860" r:id="rId19"/>
    <p:sldLayoutId id="2147483861" r:id="rId20"/>
    <p:sldLayoutId id="2147483862" r:id="rId21"/>
    <p:sldLayoutId id="2147483863" r:id="rId22"/>
    <p:sldLayoutId id="2147483864" r:id="rId23"/>
    <p:sldLayoutId id="2147483865" r:id="rId24"/>
    <p:sldLayoutId id="2147483866" r:id="rId25"/>
    <p:sldLayoutId id="2147483867" r:id="rId26"/>
    <p:sldLayoutId id="2147483868" r:id="rId27"/>
    <p:sldLayoutId id="2147483869" r:id="rId28"/>
    <p:sldLayoutId id="2147483870" r:id="rId29"/>
    <p:sldLayoutId id="2147483871" r:id="rId30"/>
    <p:sldLayoutId id="2147483872" r:id="rId31"/>
    <p:sldLayoutId id="2147483873" r:id="rId32"/>
    <p:sldLayoutId id="2147483874" r:id="rId33"/>
    <p:sldLayoutId id="2147483875" r:id="rId34"/>
    <p:sldLayoutId id="2147483876" r:id="rId35"/>
    <p:sldLayoutId id="2147483877" r:id="rId36"/>
    <p:sldLayoutId id="2147483878" r:id="rId37"/>
    <p:sldLayoutId id="2147483879" r:id="rId38"/>
    <p:sldLayoutId id="2147483880" r:id="rId39"/>
    <p:sldLayoutId id="2147483881" r:id="rId40"/>
    <p:sldLayoutId id="2147483882" r:id="rId41"/>
    <p:sldLayoutId id="2147483883" r:id="rId42"/>
    <p:sldLayoutId id="2147483884" r:id="rId43"/>
    <p:sldLayoutId id="2147483885" r:id="rId44"/>
    <p:sldLayoutId id="2147483886" r:id="rId45"/>
    <p:sldLayoutId id="2147483887" r:id="rId46"/>
    <p:sldLayoutId id="2147483888" r:id="rId47"/>
    <p:sldLayoutId id="2147483889" r:id="rId48"/>
    <p:sldLayoutId id="2147483890" r:id="rId49"/>
    <p:sldLayoutId id="2147483891" r:id="rId50"/>
    <p:sldLayoutId id="2147483892" r:id="rId51"/>
    <p:sldLayoutId id="2147483893" r:id="rId52"/>
    <p:sldLayoutId id="2147483894" r:id="rId53"/>
    <p:sldLayoutId id="2147483895" r:id="rId54"/>
    <p:sldLayoutId id="2147483896" r:id="rId55"/>
    <p:sldLayoutId id="2147483897" r:id="rId56"/>
    <p:sldLayoutId id="2147483898" r:id="rId57"/>
    <p:sldLayoutId id="2147483899" r:id="rId58"/>
    <p:sldLayoutId id="2147483900" r:id="rId59"/>
    <p:sldLayoutId id="2147483901" r:id="rId60"/>
    <p:sldLayoutId id="2147483902" r:id="rId61"/>
    <p:sldLayoutId id="2147483903" r:id="rId62"/>
    <p:sldLayoutId id="2147483904" r:id="rId63"/>
    <p:sldLayoutId id="2147483905" r:id="rId64"/>
    <p:sldLayoutId id="2147483906" r:id="rId65"/>
    <p:sldLayoutId id="2147483907" r:id="rId66"/>
    <p:sldLayoutId id="2147483908" r:id="rId67"/>
    <p:sldLayoutId id="2147483909" r:id="rId68"/>
    <p:sldLayoutId id="2147483910" r:id="rId69"/>
    <p:sldLayoutId id="2147483911" r:id="rId70"/>
    <p:sldLayoutId id="2147483912" r:id="rId71"/>
    <p:sldLayoutId id="2147483913" r:id="rId72"/>
    <p:sldLayoutId id="2147483914" r:id="rId73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dt="0"/>
  <p:txStyles>
    <p:titleStyle>
      <a:lvl1pPr algn="ctr" defTabSz="914400" rtl="0" eaLnBrk="1" latinLnBrk="0" hangingPunct="1">
        <a:lnSpc>
          <a:spcPct val="80000"/>
        </a:lnSpc>
        <a:spcBef>
          <a:spcPct val="0"/>
        </a:spcBef>
        <a:buNone/>
        <a:defRPr sz="3600" b="0" kern="1200" cap="all" spc="-50" baseline="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accent3"/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accent3"/>
          </a:solidFill>
          <a:latin typeface="+mn-lt"/>
          <a:ea typeface="+mn-ea"/>
          <a:cs typeface="+mn-cs"/>
        </a:defRPr>
      </a:lvl2pPr>
      <a:lvl3pPr marL="539750" indent="-273050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accent3"/>
          </a:solidFill>
          <a:latin typeface="+mn-lt"/>
          <a:ea typeface="+mn-ea"/>
          <a:cs typeface="+mn-cs"/>
        </a:defRPr>
      </a:lvl3pPr>
      <a:lvl4pPr marL="806450" indent="-266700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accent3"/>
          </a:solidFill>
          <a:latin typeface="+mn-lt"/>
          <a:ea typeface="+mn-ea"/>
          <a:cs typeface="+mn-cs"/>
        </a:defRPr>
      </a:lvl4pPr>
      <a:lvl5pPr marL="1071563" indent="-265113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accent3"/>
          </a:solidFill>
          <a:latin typeface="+mn-lt"/>
          <a:ea typeface="+mn-ea"/>
          <a:cs typeface="+mn-cs"/>
        </a:defRPr>
      </a:lvl5pPr>
      <a:lvl6pPr marL="1346200" indent="-274638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accent3"/>
          </a:solidFill>
          <a:latin typeface="+mn-lt"/>
          <a:ea typeface="+mn-ea"/>
          <a:cs typeface="+mn-cs"/>
        </a:defRPr>
      </a:lvl6pPr>
      <a:lvl7pPr marL="1612900" indent="-266700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accent3"/>
          </a:solidFill>
          <a:latin typeface="+mn-lt"/>
          <a:ea typeface="+mn-ea"/>
          <a:cs typeface="+mn-cs"/>
        </a:defRPr>
      </a:lvl7pPr>
      <a:lvl8pPr marL="1878013" indent="-265113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accent3"/>
          </a:solidFill>
          <a:latin typeface="+mn-lt"/>
          <a:ea typeface="+mn-ea"/>
          <a:cs typeface="+mn-cs"/>
        </a:defRPr>
      </a:lvl8pPr>
      <a:lvl9pPr marL="2152650" indent="-274638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accent3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82662" y="404664"/>
            <a:ext cx="10226675" cy="1008063"/>
          </a:xfrm>
          <a:prstGeom prst="rect">
            <a:avLst/>
          </a:prstGeom>
        </p:spPr>
        <p:txBody>
          <a:bodyPr vert="horz" lIns="0" tIns="144000" rIns="0" bIns="0" rtlCol="0" anchor="t" anchorCtr="0">
            <a:noAutofit/>
          </a:bodyPr>
          <a:lstStyle/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2662" y="1844675"/>
            <a:ext cx="10226675" cy="41052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95400" y="6309320"/>
            <a:ext cx="1513457" cy="14329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>
                <a:solidFill>
                  <a:schemeClr val="accent2"/>
                </a:solidFill>
                <a:latin typeface="+mn-lt"/>
              </a:defRPr>
            </a:lvl1pPr>
          </a:lstStyle>
          <a:p>
            <a:fld id="{E59B1FF3-4C48-49C5-BFCC-C498570E91F4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07568" y="6309320"/>
            <a:ext cx="8641408" cy="14329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fi-FI"/>
              <a:t>RIA - RKL yrittäjäpäivä 1.11.2023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07369" y="6309320"/>
            <a:ext cx="288032" cy="14329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>
                <a:solidFill>
                  <a:schemeClr val="accent2"/>
                </a:solidFill>
                <a:latin typeface="+mn-lt"/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reeform 6"/>
          <p:cNvSpPr>
            <a:spLocks noChangeAspect="1" noEditPoints="1"/>
          </p:cNvSpPr>
          <p:nvPr/>
        </p:nvSpPr>
        <p:spPr bwMode="black">
          <a:xfrm>
            <a:off x="11418061" y="6051504"/>
            <a:ext cx="360000" cy="401832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rgbClr val="FF6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Skatta Sans Regular" pitchFamily="50" charset="0"/>
            </a:endParaRPr>
          </a:p>
        </p:txBody>
      </p:sp>
      <p:sp>
        <p:nvSpPr>
          <p:cNvPr id="9" name="(c)" hidden="1">
            <a:extLst>
              <a:ext uri="{FF2B5EF4-FFF2-40B4-BE49-F238E27FC236}">
                <a16:creationId xmlns:a16="http://schemas.microsoft.com/office/drawing/2014/main" id="{BE2EB194-74AD-4D61-A442-17A3437B0AF6}"/>
              </a:ext>
            </a:extLst>
          </p:cNvPr>
          <p:cNvSpPr txBox="1"/>
          <p:nvPr userDrawn="1"/>
        </p:nvSpPr>
        <p:spPr>
          <a:xfrm>
            <a:off x="11975296" y="6891795"/>
            <a:ext cx="209994" cy="307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fi-FI" sz="200" dirty="0">
                <a:solidFill>
                  <a:schemeClr val="bg1"/>
                </a:solidFill>
                <a:latin typeface="+mn-lt"/>
              </a:rPr>
              <a:t>©grow. for</a:t>
            </a:r>
            <a:r>
              <a:rPr lang="fi-FI" sz="200" baseline="0" dirty="0">
                <a:solidFill>
                  <a:schemeClr val="bg1"/>
                </a:solidFill>
                <a:latin typeface="+mn-lt"/>
              </a:rPr>
              <a:t> KESKO</a:t>
            </a:r>
            <a:endParaRPr lang="en-GB" sz="200" dirty="0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0" name="(logo)" descr="Z:\GRW (grow)\logot\copyright_grow.png" hidden="1">
            <a:extLst>
              <a:ext uri="{FF2B5EF4-FFF2-40B4-BE49-F238E27FC236}">
                <a16:creationId xmlns:a16="http://schemas.microsoft.com/office/drawing/2014/main" id="{C6046EE3-3CDB-423E-818D-EE7BA4BCD56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36000"/>
            <a:ext cx="60261" cy="1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926273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6" r:id="rId1"/>
    <p:sldLayoutId id="2147483917" r:id="rId2"/>
    <p:sldLayoutId id="2147483918" r:id="rId3"/>
    <p:sldLayoutId id="2147483919" r:id="rId4"/>
    <p:sldLayoutId id="2147483920" r:id="rId5"/>
    <p:sldLayoutId id="2147483921" r:id="rId6"/>
    <p:sldLayoutId id="2147483922" r:id="rId7"/>
    <p:sldLayoutId id="2147483923" r:id="rId8"/>
    <p:sldLayoutId id="2147483924" r:id="rId9"/>
    <p:sldLayoutId id="2147483925" r:id="rId10"/>
    <p:sldLayoutId id="2147483926" r:id="rId11"/>
    <p:sldLayoutId id="2147483927" r:id="rId12"/>
    <p:sldLayoutId id="2147483928" r:id="rId13"/>
    <p:sldLayoutId id="2147483929" r:id="rId14"/>
    <p:sldLayoutId id="2147483930" r:id="rId15"/>
    <p:sldLayoutId id="2147483931" r:id="rId16"/>
    <p:sldLayoutId id="2147483932" r:id="rId17"/>
    <p:sldLayoutId id="2147483933" r:id="rId18"/>
    <p:sldLayoutId id="2147483934" r:id="rId19"/>
    <p:sldLayoutId id="2147483935" r:id="rId20"/>
    <p:sldLayoutId id="2147483936" r:id="rId21"/>
    <p:sldLayoutId id="2147483937" r:id="rId22"/>
    <p:sldLayoutId id="2147483938" r:id="rId23"/>
    <p:sldLayoutId id="2147483939" r:id="rId24"/>
    <p:sldLayoutId id="2147483940" r:id="rId25"/>
    <p:sldLayoutId id="2147483941" r:id="rId26"/>
    <p:sldLayoutId id="2147483942" r:id="rId27"/>
    <p:sldLayoutId id="2147483943" r:id="rId28"/>
    <p:sldLayoutId id="2147483944" r:id="rId29"/>
    <p:sldLayoutId id="2147483945" r:id="rId30"/>
    <p:sldLayoutId id="2147483946" r:id="rId31"/>
    <p:sldLayoutId id="2147483947" r:id="rId32"/>
    <p:sldLayoutId id="2147483948" r:id="rId33"/>
    <p:sldLayoutId id="2147483949" r:id="rId34"/>
    <p:sldLayoutId id="2147483950" r:id="rId35"/>
    <p:sldLayoutId id="2147483951" r:id="rId36"/>
    <p:sldLayoutId id="2147483952" r:id="rId37"/>
    <p:sldLayoutId id="2147483953" r:id="rId38"/>
    <p:sldLayoutId id="2147483954" r:id="rId39"/>
    <p:sldLayoutId id="2147483955" r:id="rId40"/>
    <p:sldLayoutId id="2147483956" r:id="rId41"/>
    <p:sldLayoutId id="2147483957" r:id="rId42"/>
    <p:sldLayoutId id="2147483958" r:id="rId43"/>
    <p:sldLayoutId id="2147483959" r:id="rId44"/>
    <p:sldLayoutId id="2147483960" r:id="rId45"/>
    <p:sldLayoutId id="2147483961" r:id="rId46"/>
    <p:sldLayoutId id="2147483962" r:id="rId47"/>
    <p:sldLayoutId id="2147483963" r:id="rId48"/>
    <p:sldLayoutId id="2147483964" r:id="rId49"/>
    <p:sldLayoutId id="2147483965" r:id="rId50"/>
    <p:sldLayoutId id="2147483966" r:id="rId51"/>
    <p:sldLayoutId id="2147483967" r:id="rId52"/>
    <p:sldLayoutId id="2147483968" r:id="rId53"/>
    <p:sldLayoutId id="2147483969" r:id="rId54"/>
    <p:sldLayoutId id="2147483970" r:id="rId55"/>
    <p:sldLayoutId id="2147483971" r:id="rId56"/>
    <p:sldLayoutId id="2147483972" r:id="rId57"/>
    <p:sldLayoutId id="2147483973" r:id="rId58"/>
    <p:sldLayoutId id="2147483974" r:id="rId59"/>
    <p:sldLayoutId id="2147483975" r:id="rId60"/>
    <p:sldLayoutId id="2147483976" r:id="rId61"/>
    <p:sldLayoutId id="2147483977" r:id="rId62"/>
    <p:sldLayoutId id="2147483978" r:id="rId63"/>
    <p:sldLayoutId id="2147483979" r:id="rId64"/>
    <p:sldLayoutId id="2147483980" r:id="rId65"/>
    <p:sldLayoutId id="2147483981" r:id="rId66"/>
    <p:sldLayoutId id="2147483982" r:id="rId67"/>
    <p:sldLayoutId id="2147483983" r:id="rId68"/>
    <p:sldLayoutId id="2147483984" r:id="rId69"/>
    <p:sldLayoutId id="2147483985" r:id="rId70"/>
    <p:sldLayoutId id="2147483986" r:id="rId71"/>
    <p:sldLayoutId id="2147483987" r:id="rId72"/>
    <p:sldLayoutId id="2147483988" r:id="rId73"/>
    <p:sldLayoutId id="2147483989" r:id="rId74"/>
    <p:sldLayoutId id="2147483990" r:id="rId7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dt="0"/>
  <p:txStyles>
    <p:titleStyle>
      <a:lvl1pPr algn="ctr" defTabSz="914400" rtl="0" eaLnBrk="1" latinLnBrk="0" hangingPunct="1">
        <a:lnSpc>
          <a:spcPct val="80000"/>
        </a:lnSpc>
        <a:spcBef>
          <a:spcPct val="0"/>
        </a:spcBef>
        <a:buNone/>
        <a:defRPr sz="3600" b="0" kern="1200" cap="all" spc="-50" baseline="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accent3"/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accent3"/>
          </a:solidFill>
          <a:latin typeface="+mn-lt"/>
          <a:ea typeface="+mn-ea"/>
          <a:cs typeface="+mn-cs"/>
        </a:defRPr>
      </a:lvl2pPr>
      <a:lvl3pPr marL="539750" indent="-273050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accent3"/>
          </a:solidFill>
          <a:latin typeface="+mn-lt"/>
          <a:ea typeface="+mn-ea"/>
          <a:cs typeface="+mn-cs"/>
        </a:defRPr>
      </a:lvl3pPr>
      <a:lvl4pPr marL="806450" indent="-266700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accent3"/>
          </a:solidFill>
          <a:latin typeface="+mn-lt"/>
          <a:ea typeface="+mn-ea"/>
          <a:cs typeface="+mn-cs"/>
        </a:defRPr>
      </a:lvl4pPr>
      <a:lvl5pPr marL="1071563" indent="-265113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accent3"/>
          </a:solidFill>
          <a:latin typeface="+mn-lt"/>
          <a:ea typeface="+mn-ea"/>
          <a:cs typeface="+mn-cs"/>
        </a:defRPr>
      </a:lvl5pPr>
      <a:lvl6pPr marL="1346200" indent="-274638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accent3"/>
          </a:solidFill>
          <a:latin typeface="+mn-lt"/>
          <a:ea typeface="+mn-ea"/>
          <a:cs typeface="+mn-cs"/>
        </a:defRPr>
      </a:lvl6pPr>
      <a:lvl7pPr marL="1612900" indent="-266700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accent3"/>
          </a:solidFill>
          <a:latin typeface="+mn-lt"/>
          <a:ea typeface="+mn-ea"/>
          <a:cs typeface="+mn-cs"/>
        </a:defRPr>
      </a:lvl7pPr>
      <a:lvl8pPr marL="1878013" indent="-265113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accent3"/>
          </a:solidFill>
          <a:latin typeface="+mn-lt"/>
          <a:ea typeface="+mn-ea"/>
          <a:cs typeface="+mn-cs"/>
        </a:defRPr>
      </a:lvl8pPr>
      <a:lvl9pPr marL="2152650" indent="-274638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accent3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82662" y="404664"/>
            <a:ext cx="10226675" cy="1008063"/>
          </a:xfrm>
          <a:prstGeom prst="rect">
            <a:avLst/>
          </a:prstGeom>
        </p:spPr>
        <p:txBody>
          <a:bodyPr vert="horz" lIns="0" tIns="144000" rIns="0" bIns="0" rtlCol="0" anchor="t" anchorCtr="0">
            <a:noAutofit/>
          </a:bodyPr>
          <a:lstStyle/>
          <a:p>
            <a:r>
              <a:rPr lang="fi-FI"/>
              <a:t>Muokkaa ots. perustyyl. napsautt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2662" y="1844675"/>
            <a:ext cx="10226675" cy="41052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95400" y="6309320"/>
            <a:ext cx="1513457" cy="14329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>
                <a:solidFill>
                  <a:schemeClr val="accent2"/>
                </a:solidFill>
                <a:latin typeface="+mn-lt"/>
              </a:defRPr>
            </a:lvl1pPr>
          </a:lstStyle>
          <a:p>
            <a:fld id="{C127472D-ACF5-4A25-A4BF-845E6F478D02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07568" y="6309320"/>
            <a:ext cx="7704856" cy="14329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fi-FI"/>
              <a:t>RIA - RKL yrittäjäpäivä 1.11.2023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07369" y="6309320"/>
            <a:ext cx="288032" cy="14329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>
                <a:solidFill>
                  <a:schemeClr val="accent2"/>
                </a:solidFill>
                <a:latin typeface="+mn-lt"/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(c)" hidden="1">
            <a:extLst>
              <a:ext uri="{FF2B5EF4-FFF2-40B4-BE49-F238E27FC236}">
                <a16:creationId xmlns:a16="http://schemas.microsoft.com/office/drawing/2014/main" id="{BE2EB194-74AD-4D61-A442-17A3437B0AF6}"/>
              </a:ext>
            </a:extLst>
          </p:cNvPr>
          <p:cNvSpPr txBox="1"/>
          <p:nvPr userDrawn="1"/>
        </p:nvSpPr>
        <p:spPr>
          <a:xfrm>
            <a:off x="11975296" y="6891795"/>
            <a:ext cx="209994" cy="307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fi-FI" sz="200" dirty="0">
                <a:solidFill>
                  <a:schemeClr val="bg1"/>
                </a:solidFill>
                <a:latin typeface="+mn-lt"/>
              </a:rPr>
              <a:t>©grow. for</a:t>
            </a:r>
            <a:r>
              <a:rPr lang="fi-FI" sz="200" baseline="0" dirty="0">
                <a:solidFill>
                  <a:schemeClr val="bg1"/>
                </a:solidFill>
                <a:latin typeface="+mn-lt"/>
              </a:rPr>
              <a:t> KESKO</a:t>
            </a:r>
            <a:endParaRPr lang="en-GB" sz="200" dirty="0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0" name="(logo)" descr="Z:\GRW (grow)\logot\copyright_grow.png" hidden="1">
            <a:extLst>
              <a:ext uri="{FF2B5EF4-FFF2-40B4-BE49-F238E27FC236}">
                <a16:creationId xmlns:a16="http://schemas.microsoft.com/office/drawing/2014/main" id="{C6046EE3-3CDB-423E-818D-EE7BA4BCD56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36000"/>
            <a:ext cx="60261" cy="1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331AFFA5-2390-177B-A582-E882717BA55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72464" y="6237312"/>
            <a:ext cx="1521663" cy="216000"/>
            <a:chOff x="-649288" y="2474913"/>
            <a:chExt cx="13498513" cy="1916112"/>
          </a:xfrm>
        </p:grpSpPr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F763011E-9A71-C389-7637-7D7214A9246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15">
              <a:extLst>
                <a:ext uri="{FF2B5EF4-FFF2-40B4-BE49-F238E27FC236}">
                  <a16:creationId xmlns:a16="http://schemas.microsoft.com/office/drawing/2014/main" id="{8E4BB8C2-14FC-F1BF-1B41-F233F2958AE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291321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2" r:id="rId1"/>
    <p:sldLayoutId id="2147483993" r:id="rId2"/>
    <p:sldLayoutId id="2147483994" r:id="rId3"/>
    <p:sldLayoutId id="2147483995" r:id="rId4"/>
    <p:sldLayoutId id="2147483996" r:id="rId5"/>
    <p:sldLayoutId id="2147483997" r:id="rId6"/>
    <p:sldLayoutId id="2147483998" r:id="rId7"/>
    <p:sldLayoutId id="2147483999" r:id="rId8"/>
    <p:sldLayoutId id="2147484000" r:id="rId9"/>
    <p:sldLayoutId id="2147484001" r:id="rId10"/>
    <p:sldLayoutId id="2147484002" r:id="rId11"/>
    <p:sldLayoutId id="2147484003" r:id="rId12"/>
    <p:sldLayoutId id="2147484004" r:id="rId13"/>
    <p:sldLayoutId id="2147484005" r:id="rId14"/>
    <p:sldLayoutId id="2147484006" r:id="rId15"/>
    <p:sldLayoutId id="2147484007" r:id="rId16"/>
    <p:sldLayoutId id="2147484008" r:id="rId17"/>
    <p:sldLayoutId id="2147484009" r:id="rId18"/>
    <p:sldLayoutId id="2147484010" r:id="rId19"/>
    <p:sldLayoutId id="2147484011" r:id="rId20"/>
    <p:sldLayoutId id="2147484012" r:id="rId21"/>
    <p:sldLayoutId id="2147484013" r:id="rId22"/>
    <p:sldLayoutId id="2147484014" r:id="rId23"/>
    <p:sldLayoutId id="2147484015" r:id="rId24"/>
    <p:sldLayoutId id="2147484016" r:id="rId25"/>
    <p:sldLayoutId id="2147484017" r:id="rId26"/>
    <p:sldLayoutId id="2147484018" r:id="rId27"/>
    <p:sldLayoutId id="2147484019" r:id="rId28"/>
    <p:sldLayoutId id="2147484020" r:id="rId29"/>
    <p:sldLayoutId id="2147484021" r:id="rId30"/>
    <p:sldLayoutId id="2147484022" r:id="rId31"/>
    <p:sldLayoutId id="2147484023" r:id="rId32"/>
    <p:sldLayoutId id="2147484024" r:id="rId33"/>
    <p:sldLayoutId id="2147484025" r:id="rId34"/>
    <p:sldLayoutId id="2147484026" r:id="rId35"/>
    <p:sldLayoutId id="2147484027" r:id="rId36"/>
    <p:sldLayoutId id="2147484028" r:id="rId37"/>
    <p:sldLayoutId id="2147484029" r:id="rId38"/>
    <p:sldLayoutId id="2147484030" r:id="rId39"/>
    <p:sldLayoutId id="2147484031" r:id="rId40"/>
    <p:sldLayoutId id="2147484032" r:id="rId41"/>
    <p:sldLayoutId id="2147484033" r:id="rId42"/>
    <p:sldLayoutId id="2147484034" r:id="rId43"/>
    <p:sldLayoutId id="2147484035" r:id="rId44"/>
    <p:sldLayoutId id="2147484036" r:id="rId45"/>
    <p:sldLayoutId id="2147484037" r:id="rId46"/>
    <p:sldLayoutId id="2147484038" r:id="rId47"/>
    <p:sldLayoutId id="2147484039" r:id="rId48"/>
    <p:sldLayoutId id="2147484040" r:id="rId49"/>
    <p:sldLayoutId id="2147484041" r:id="rId50"/>
    <p:sldLayoutId id="2147484042" r:id="rId51"/>
    <p:sldLayoutId id="2147484043" r:id="rId52"/>
    <p:sldLayoutId id="2147484044" r:id="rId53"/>
    <p:sldLayoutId id="2147484045" r:id="rId54"/>
    <p:sldLayoutId id="2147484046" r:id="rId55"/>
    <p:sldLayoutId id="2147484047" r:id="rId56"/>
    <p:sldLayoutId id="2147484048" r:id="rId57"/>
    <p:sldLayoutId id="2147484049" r:id="rId58"/>
    <p:sldLayoutId id="2147484050" r:id="rId59"/>
    <p:sldLayoutId id="2147484051" r:id="rId60"/>
    <p:sldLayoutId id="2147484052" r:id="rId6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dt="0"/>
  <p:txStyles>
    <p:titleStyle>
      <a:lvl1pPr algn="ctr" defTabSz="914400" rtl="0" eaLnBrk="1" latinLnBrk="0" hangingPunct="1">
        <a:lnSpc>
          <a:spcPct val="80000"/>
        </a:lnSpc>
        <a:spcBef>
          <a:spcPct val="0"/>
        </a:spcBef>
        <a:buNone/>
        <a:defRPr sz="3600" b="0" kern="1200" cap="all" spc="-50" baseline="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39750" indent="-273050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806450" indent="-266700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071563" indent="-265113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346200" indent="-274638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6pPr>
      <a:lvl7pPr marL="1612900" indent="-266700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7pPr>
      <a:lvl8pPr marL="1878013" indent="-265113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2152650" indent="-274638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3" pos="38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82662" y="404664"/>
            <a:ext cx="10226675" cy="1008063"/>
          </a:xfrm>
          <a:prstGeom prst="rect">
            <a:avLst/>
          </a:prstGeom>
        </p:spPr>
        <p:txBody>
          <a:bodyPr vert="horz" lIns="0" tIns="14400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2662" y="1844675"/>
            <a:ext cx="10226675" cy="41052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95400" y="6309320"/>
            <a:ext cx="1513457" cy="14329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>
                <a:solidFill>
                  <a:schemeClr val="accent2"/>
                </a:solidFill>
                <a:latin typeface="+mn-lt"/>
              </a:defRPr>
            </a:lvl1pPr>
          </a:lstStyle>
          <a:p>
            <a:fld id="{B7D2F138-C766-4309-ABBA-CB9764575F76}" type="datetime1">
              <a:rPr lang="fi-FI" smtClean="0"/>
              <a:t>31.10.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07568" y="6309320"/>
            <a:ext cx="7704856" cy="14329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dirty="0"/>
              <a:t>Author  |  Uni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07369" y="6309320"/>
            <a:ext cx="288032" cy="14329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>
                <a:solidFill>
                  <a:schemeClr val="accent2"/>
                </a:solidFill>
                <a:latin typeface="+mn-lt"/>
              </a:defRPr>
            </a:lvl1pPr>
          </a:lstStyle>
          <a:p>
            <a:fld id="{01FEE6BA-E83C-4FBF-B719-E6671631796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(c)" hidden="1">
            <a:extLst>
              <a:ext uri="{FF2B5EF4-FFF2-40B4-BE49-F238E27FC236}">
                <a16:creationId xmlns:a16="http://schemas.microsoft.com/office/drawing/2014/main" id="{BE2EB194-74AD-4D61-A442-17A3437B0AF6}"/>
              </a:ext>
            </a:extLst>
          </p:cNvPr>
          <p:cNvSpPr txBox="1"/>
          <p:nvPr userDrawn="1"/>
        </p:nvSpPr>
        <p:spPr>
          <a:xfrm>
            <a:off x="11975296" y="6891795"/>
            <a:ext cx="209994" cy="307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fi-FI" sz="200" dirty="0">
                <a:solidFill>
                  <a:schemeClr val="bg1"/>
                </a:solidFill>
                <a:latin typeface="+mn-lt"/>
              </a:rPr>
              <a:t>©grow. for</a:t>
            </a:r>
            <a:r>
              <a:rPr lang="fi-FI" sz="200" baseline="0" dirty="0">
                <a:solidFill>
                  <a:schemeClr val="bg1"/>
                </a:solidFill>
                <a:latin typeface="+mn-lt"/>
              </a:rPr>
              <a:t> KESKO</a:t>
            </a:r>
            <a:endParaRPr lang="en-GB" sz="200" dirty="0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0" name="(logo)" descr="Z:\GRW (grow)\logot\copyright_grow.png" hidden="1">
            <a:extLst>
              <a:ext uri="{FF2B5EF4-FFF2-40B4-BE49-F238E27FC236}">
                <a16:creationId xmlns:a16="http://schemas.microsoft.com/office/drawing/2014/main" id="{C6046EE3-3CDB-423E-818D-EE7BA4BCD56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36000"/>
            <a:ext cx="60261" cy="1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331AFFA5-2390-177B-A582-E882717BA55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72464" y="6237312"/>
            <a:ext cx="1521663" cy="216000"/>
            <a:chOff x="-649288" y="2474913"/>
            <a:chExt cx="13498513" cy="1916112"/>
          </a:xfrm>
        </p:grpSpPr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F763011E-9A71-C389-7637-7D7214A9246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15">
              <a:extLst>
                <a:ext uri="{FF2B5EF4-FFF2-40B4-BE49-F238E27FC236}">
                  <a16:creationId xmlns:a16="http://schemas.microsoft.com/office/drawing/2014/main" id="{8E4BB8C2-14FC-F1BF-1B41-F233F2958AE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0168080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4" r:id="rId1"/>
    <p:sldLayoutId id="2147484055" r:id="rId2"/>
    <p:sldLayoutId id="2147484056" r:id="rId3"/>
    <p:sldLayoutId id="2147484057" r:id="rId4"/>
    <p:sldLayoutId id="2147484058" r:id="rId5"/>
    <p:sldLayoutId id="2147484059" r:id="rId6"/>
    <p:sldLayoutId id="2147484060" r:id="rId7"/>
    <p:sldLayoutId id="2147484061" r:id="rId8"/>
    <p:sldLayoutId id="2147484062" r:id="rId9"/>
    <p:sldLayoutId id="2147484063" r:id="rId10"/>
    <p:sldLayoutId id="2147484064" r:id="rId11"/>
    <p:sldLayoutId id="2147484065" r:id="rId12"/>
    <p:sldLayoutId id="2147484066" r:id="rId13"/>
    <p:sldLayoutId id="2147484067" r:id="rId14"/>
    <p:sldLayoutId id="2147484068" r:id="rId15"/>
    <p:sldLayoutId id="2147484069" r:id="rId16"/>
    <p:sldLayoutId id="2147484070" r:id="rId17"/>
    <p:sldLayoutId id="2147484071" r:id="rId18"/>
    <p:sldLayoutId id="2147484072" r:id="rId19"/>
    <p:sldLayoutId id="2147484073" r:id="rId20"/>
    <p:sldLayoutId id="2147484074" r:id="rId21"/>
    <p:sldLayoutId id="2147484075" r:id="rId22"/>
    <p:sldLayoutId id="2147484076" r:id="rId23"/>
    <p:sldLayoutId id="2147484077" r:id="rId24"/>
    <p:sldLayoutId id="2147484078" r:id="rId25"/>
    <p:sldLayoutId id="2147484079" r:id="rId26"/>
    <p:sldLayoutId id="2147484080" r:id="rId27"/>
    <p:sldLayoutId id="2147484081" r:id="rId28"/>
    <p:sldLayoutId id="2147484082" r:id="rId29"/>
    <p:sldLayoutId id="2147484083" r:id="rId30"/>
    <p:sldLayoutId id="2147484084" r:id="rId31"/>
    <p:sldLayoutId id="2147484085" r:id="rId32"/>
    <p:sldLayoutId id="2147484086" r:id="rId33"/>
    <p:sldLayoutId id="2147484087" r:id="rId34"/>
    <p:sldLayoutId id="2147484088" r:id="rId35"/>
    <p:sldLayoutId id="2147484089" r:id="rId36"/>
    <p:sldLayoutId id="2147484090" r:id="rId37"/>
    <p:sldLayoutId id="2147484091" r:id="rId38"/>
    <p:sldLayoutId id="2147484092" r:id="rId39"/>
    <p:sldLayoutId id="2147484093" r:id="rId40"/>
    <p:sldLayoutId id="2147484094" r:id="rId41"/>
    <p:sldLayoutId id="2147484095" r:id="rId42"/>
    <p:sldLayoutId id="2147484096" r:id="rId43"/>
    <p:sldLayoutId id="2147484097" r:id="rId44"/>
    <p:sldLayoutId id="2147484098" r:id="rId45"/>
    <p:sldLayoutId id="2147484099" r:id="rId46"/>
    <p:sldLayoutId id="2147484100" r:id="rId47"/>
    <p:sldLayoutId id="2147484101" r:id="rId48"/>
    <p:sldLayoutId id="2147484102" r:id="rId49"/>
    <p:sldLayoutId id="2147484103" r:id="rId50"/>
    <p:sldLayoutId id="2147484104" r:id="rId51"/>
    <p:sldLayoutId id="2147484105" r:id="rId52"/>
    <p:sldLayoutId id="2147484106" r:id="rId53"/>
    <p:sldLayoutId id="2147484107" r:id="rId54"/>
    <p:sldLayoutId id="2147484108" r:id="rId55"/>
    <p:sldLayoutId id="2147484109" r:id="rId56"/>
    <p:sldLayoutId id="2147484110" r:id="rId57"/>
    <p:sldLayoutId id="2147484111" r:id="rId58"/>
    <p:sldLayoutId id="2147484112" r:id="rId59"/>
    <p:sldLayoutId id="2147484113" r:id="rId60"/>
    <p:sldLayoutId id="2147484114" r:id="rId61"/>
    <p:sldLayoutId id="2147484115" r:id="rId6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ctr" defTabSz="914400" rtl="0" eaLnBrk="1" latinLnBrk="0" hangingPunct="1">
        <a:lnSpc>
          <a:spcPct val="80000"/>
        </a:lnSpc>
        <a:spcBef>
          <a:spcPct val="0"/>
        </a:spcBef>
        <a:buNone/>
        <a:defRPr sz="3600" b="0" kern="1200" cap="all" spc="-50" baseline="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39750" indent="-273050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806450" indent="-266700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071563" indent="-265113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346200" indent="-274638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6pPr>
      <a:lvl7pPr marL="1612900" indent="-266700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7pPr>
      <a:lvl8pPr marL="1878013" indent="-265113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2152650" indent="-274638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3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2.xml"/><Relationship Id="rId7" Type="http://schemas.openxmlformats.org/officeDocument/2006/relationships/image" Target="../media/image7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k-rauta.fi/pro/yrityspalvelu" TargetMode="External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4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61.xml"/><Relationship Id="rId4" Type="http://schemas.openxmlformats.org/officeDocument/2006/relationships/image" Target="../media/image12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62.xml"/><Relationship Id="rId4" Type="http://schemas.openxmlformats.org/officeDocument/2006/relationships/image" Target="../media/image15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mailto:susanna.soriola@kesko.fi" TargetMode="External"/><Relationship Id="rId3" Type="http://schemas.openxmlformats.org/officeDocument/2006/relationships/image" Target="../media/image16.jpg"/><Relationship Id="rId7" Type="http://schemas.openxmlformats.org/officeDocument/2006/relationships/image" Target="../media/image18.jpg"/><Relationship Id="rId2" Type="http://schemas.openxmlformats.org/officeDocument/2006/relationships/hyperlink" Target="mailto:minna.molkentin-salmi@kesko.fi" TargetMode="External"/><Relationship Id="rId1" Type="http://schemas.openxmlformats.org/officeDocument/2006/relationships/slideLayout" Target="../slideLayouts/slideLayout293.xml"/><Relationship Id="rId6" Type="http://schemas.openxmlformats.org/officeDocument/2006/relationships/hyperlink" Target="mailto:erika.tarko-viljanen@kesko.fi" TargetMode="External"/><Relationship Id="rId11" Type="http://schemas.openxmlformats.org/officeDocument/2006/relationships/hyperlink" Target="http://www.dekostudio.fi/" TargetMode="External"/><Relationship Id="rId5" Type="http://schemas.openxmlformats.org/officeDocument/2006/relationships/image" Target="../media/image17.jpg"/><Relationship Id="rId10" Type="http://schemas.openxmlformats.org/officeDocument/2006/relationships/hyperlink" Target="mailto:dekostudio@kesko.fi" TargetMode="External"/><Relationship Id="rId4" Type="http://schemas.openxmlformats.org/officeDocument/2006/relationships/hyperlink" Target="mailto:jenna.javanainen@kesko.fi" TargetMode="External"/><Relationship Id="rId9" Type="http://schemas.openxmlformats.org/officeDocument/2006/relationships/image" Target="../media/image19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 descr="A group of people sitting at a table&#10;&#10;Description automatically generated with medium confidence">
            <a:extLst>
              <a:ext uri="{FF2B5EF4-FFF2-40B4-BE49-F238E27FC236}">
                <a16:creationId xmlns:a16="http://schemas.microsoft.com/office/drawing/2014/main" id="{3D6E5299-CCF1-15BA-139A-C67A05122810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A20F96F-77D3-A997-F476-0940CC7971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GB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4B69FDE-E535-489B-ABA7-649479301EF0}"/>
              </a:ext>
            </a:extLst>
          </p:cNvPr>
          <p:cNvGrpSpPr>
            <a:grpSpLocks noChangeAspect="1"/>
          </p:cNvGrpSpPr>
          <p:nvPr/>
        </p:nvGrpSpPr>
        <p:grpSpPr>
          <a:xfrm>
            <a:off x="3706928" y="2853000"/>
            <a:ext cx="4477072" cy="1008136"/>
            <a:chOff x="3529013" y="2851150"/>
            <a:chExt cx="5132388" cy="1155700"/>
          </a:xfrm>
          <a:solidFill>
            <a:schemeClr val="bg1"/>
          </a:solidFill>
        </p:grpSpPr>
        <p:sp>
          <p:nvSpPr>
            <p:cNvPr id="11" name="Freeform 30">
              <a:extLst>
                <a:ext uri="{FF2B5EF4-FFF2-40B4-BE49-F238E27FC236}">
                  <a16:creationId xmlns:a16="http://schemas.microsoft.com/office/drawing/2014/main" id="{970306FE-4834-4E6B-8427-23C83963BF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29013" y="2851150"/>
              <a:ext cx="1019175" cy="1139825"/>
            </a:xfrm>
            <a:custGeom>
              <a:avLst/>
              <a:gdLst>
                <a:gd name="T0" fmla="*/ 1 w 642"/>
                <a:gd name="T1" fmla="*/ 72 h 718"/>
                <a:gd name="T2" fmla="*/ 7 w 642"/>
                <a:gd name="T3" fmla="*/ 79 h 718"/>
                <a:gd name="T4" fmla="*/ 17 w 642"/>
                <a:gd name="T5" fmla="*/ 82 h 718"/>
                <a:gd name="T6" fmla="*/ 632 w 642"/>
                <a:gd name="T7" fmla="*/ 81 h 718"/>
                <a:gd name="T8" fmla="*/ 640 w 642"/>
                <a:gd name="T9" fmla="*/ 74 h 718"/>
                <a:gd name="T10" fmla="*/ 642 w 642"/>
                <a:gd name="T11" fmla="*/ 65 h 718"/>
                <a:gd name="T12" fmla="*/ 641 w 642"/>
                <a:gd name="T13" fmla="*/ 10 h 718"/>
                <a:gd name="T14" fmla="*/ 635 w 642"/>
                <a:gd name="T15" fmla="*/ 2 h 718"/>
                <a:gd name="T16" fmla="*/ 625 w 642"/>
                <a:gd name="T17" fmla="*/ 0 h 718"/>
                <a:gd name="T18" fmla="*/ 10 w 642"/>
                <a:gd name="T19" fmla="*/ 1 h 718"/>
                <a:gd name="T20" fmla="*/ 3 w 642"/>
                <a:gd name="T21" fmla="*/ 7 h 718"/>
                <a:gd name="T22" fmla="*/ 0 w 642"/>
                <a:gd name="T23" fmla="*/ 17 h 718"/>
                <a:gd name="T24" fmla="*/ 0 w 642"/>
                <a:gd name="T25" fmla="*/ 704 h 718"/>
                <a:gd name="T26" fmla="*/ 5 w 642"/>
                <a:gd name="T27" fmla="*/ 713 h 718"/>
                <a:gd name="T28" fmla="*/ 14 w 642"/>
                <a:gd name="T29" fmla="*/ 718 h 718"/>
                <a:gd name="T30" fmla="*/ 629 w 642"/>
                <a:gd name="T31" fmla="*/ 718 h 718"/>
                <a:gd name="T32" fmla="*/ 638 w 642"/>
                <a:gd name="T33" fmla="*/ 713 h 718"/>
                <a:gd name="T34" fmla="*/ 642 w 642"/>
                <a:gd name="T35" fmla="*/ 704 h 718"/>
                <a:gd name="T36" fmla="*/ 642 w 642"/>
                <a:gd name="T37" fmla="*/ 650 h 718"/>
                <a:gd name="T38" fmla="*/ 638 w 642"/>
                <a:gd name="T39" fmla="*/ 641 h 718"/>
                <a:gd name="T40" fmla="*/ 629 w 642"/>
                <a:gd name="T41" fmla="*/ 636 h 718"/>
                <a:gd name="T42" fmla="*/ 14 w 642"/>
                <a:gd name="T43" fmla="*/ 636 h 718"/>
                <a:gd name="T44" fmla="*/ 5 w 642"/>
                <a:gd name="T45" fmla="*/ 641 h 718"/>
                <a:gd name="T46" fmla="*/ 0 w 642"/>
                <a:gd name="T47" fmla="*/ 650 h 718"/>
                <a:gd name="T48" fmla="*/ 525 w 642"/>
                <a:gd name="T49" fmla="*/ 568 h 718"/>
                <a:gd name="T50" fmla="*/ 536 w 642"/>
                <a:gd name="T51" fmla="*/ 564 h 718"/>
                <a:gd name="T52" fmla="*/ 539 w 642"/>
                <a:gd name="T53" fmla="*/ 557 h 718"/>
                <a:gd name="T54" fmla="*/ 537 w 642"/>
                <a:gd name="T55" fmla="*/ 545 h 718"/>
                <a:gd name="T56" fmla="*/ 532 w 642"/>
                <a:gd name="T57" fmla="*/ 175 h 718"/>
                <a:gd name="T58" fmla="*/ 536 w 642"/>
                <a:gd name="T59" fmla="*/ 161 h 718"/>
                <a:gd name="T60" fmla="*/ 534 w 642"/>
                <a:gd name="T61" fmla="*/ 156 h 718"/>
                <a:gd name="T62" fmla="*/ 526 w 642"/>
                <a:gd name="T63" fmla="*/ 150 h 718"/>
                <a:gd name="T64" fmla="*/ 403 w 642"/>
                <a:gd name="T65" fmla="*/ 150 h 718"/>
                <a:gd name="T66" fmla="*/ 391 w 642"/>
                <a:gd name="T67" fmla="*/ 154 h 718"/>
                <a:gd name="T68" fmla="*/ 382 w 642"/>
                <a:gd name="T69" fmla="*/ 162 h 718"/>
                <a:gd name="T70" fmla="*/ 245 w 642"/>
                <a:gd name="T71" fmla="*/ 167 h 718"/>
                <a:gd name="T72" fmla="*/ 243 w 642"/>
                <a:gd name="T73" fmla="*/ 157 h 718"/>
                <a:gd name="T74" fmla="*/ 235 w 642"/>
                <a:gd name="T75" fmla="*/ 151 h 718"/>
                <a:gd name="T76" fmla="*/ 125 w 642"/>
                <a:gd name="T77" fmla="*/ 150 h 718"/>
                <a:gd name="T78" fmla="*/ 115 w 642"/>
                <a:gd name="T79" fmla="*/ 152 h 718"/>
                <a:gd name="T80" fmla="*/ 109 w 642"/>
                <a:gd name="T81" fmla="*/ 160 h 718"/>
                <a:gd name="T82" fmla="*/ 108 w 642"/>
                <a:gd name="T83" fmla="*/ 551 h 718"/>
                <a:gd name="T84" fmla="*/ 110 w 642"/>
                <a:gd name="T85" fmla="*/ 561 h 718"/>
                <a:gd name="T86" fmla="*/ 118 w 642"/>
                <a:gd name="T87" fmla="*/ 567 h 718"/>
                <a:gd name="T88" fmla="*/ 228 w 642"/>
                <a:gd name="T89" fmla="*/ 568 h 718"/>
                <a:gd name="T90" fmla="*/ 238 w 642"/>
                <a:gd name="T91" fmla="*/ 565 h 718"/>
                <a:gd name="T92" fmla="*/ 244 w 642"/>
                <a:gd name="T93" fmla="*/ 558 h 718"/>
                <a:gd name="T94" fmla="*/ 245 w 642"/>
                <a:gd name="T95" fmla="*/ 361 h 718"/>
                <a:gd name="T96" fmla="*/ 385 w 642"/>
                <a:gd name="T97" fmla="*/ 559 h 718"/>
                <a:gd name="T98" fmla="*/ 395 w 642"/>
                <a:gd name="T99" fmla="*/ 566 h 718"/>
                <a:gd name="T100" fmla="*/ 408 w 642"/>
                <a:gd name="T101" fmla="*/ 568 h 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42" h="718">
                  <a:moveTo>
                    <a:pt x="0" y="65"/>
                  </a:moveTo>
                  <a:lnTo>
                    <a:pt x="0" y="68"/>
                  </a:lnTo>
                  <a:lnTo>
                    <a:pt x="1" y="72"/>
                  </a:lnTo>
                  <a:lnTo>
                    <a:pt x="3" y="74"/>
                  </a:lnTo>
                  <a:lnTo>
                    <a:pt x="5" y="77"/>
                  </a:lnTo>
                  <a:lnTo>
                    <a:pt x="7" y="79"/>
                  </a:lnTo>
                  <a:lnTo>
                    <a:pt x="10" y="81"/>
                  </a:lnTo>
                  <a:lnTo>
                    <a:pt x="14" y="81"/>
                  </a:lnTo>
                  <a:lnTo>
                    <a:pt x="17" y="82"/>
                  </a:lnTo>
                  <a:lnTo>
                    <a:pt x="625" y="82"/>
                  </a:lnTo>
                  <a:lnTo>
                    <a:pt x="629" y="81"/>
                  </a:lnTo>
                  <a:lnTo>
                    <a:pt x="632" y="81"/>
                  </a:lnTo>
                  <a:lnTo>
                    <a:pt x="635" y="79"/>
                  </a:lnTo>
                  <a:lnTo>
                    <a:pt x="638" y="77"/>
                  </a:lnTo>
                  <a:lnTo>
                    <a:pt x="640" y="74"/>
                  </a:lnTo>
                  <a:lnTo>
                    <a:pt x="641" y="72"/>
                  </a:lnTo>
                  <a:lnTo>
                    <a:pt x="642" y="68"/>
                  </a:lnTo>
                  <a:lnTo>
                    <a:pt x="642" y="65"/>
                  </a:lnTo>
                  <a:lnTo>
                    <a:pt x="642" y="17"/>
                  </a:lnTo>
                  <a:lnTo>
                    <a:pt x="642" y="13"/>
                  </a:lnTo>
                  <a:lnTo>
                    <a:pt x="641" y="10"/>
                  </a:lnTo>
                  <a:lnTo>
                    <a:pt x="640" y="7"/>
                  </a:lnTo>
                  <a:lnTo>
                    <a:pt x="638" y="5"/>
                  </a:lnTo>
                  <a:lnTo>
                    <a:pt x="635" y="2"/>
                  </a:lnTo>
                  <a:lnTo>
                    <a:pt x="632" y="1"/>
                  </a:lnTo>
                  <a:lnTo>
                    <a:pt x="629" y="0"/>
                  </a:lnTo>
                  <a:lnTo>
                    <a:pt x="625" y="0"/>
                  </a:lnTo>
                  <a:lnTo>
                    <a:pt x="17" y="0"/>
                  </a:lnTo>
                  <a:lnTo>
                    <a:pt x="14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5" y="5"/>
                  </a:lnTo>
                  <a:lnTo>
                    <a:pt x="3" y="7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7"/>
                  </a:lnTo>
                  <a:lnTo>
                    <a:pt x="0" y="65"/>
                  </a:lnTo>
                  <a:close/>
                  <a:moveTo>
                    <a:pt x="0" y="701"/>
                  </a:moveTo>
                  <a:lnTo>
                    <a:pt x="0" y="704"/>
                  </a:lnTo>
                  <a:lnTo>
                    <a:pt x="1" y="708"/>
                  </a:lnTo>
                  <a:lnTo>
                    <a:pt x="3" y="711"/>
                  </a:lnTo>
                  <a:lnTo>
                    <a:pt x="5" y="713"/>
                  </a:lnTo>
                  <a:lnTo>
                    <a:pt x="7" y="715"/>
                  </a:lnTo>
                  <a:lnTo>
                    <a:pt x="10" y="717"/>
                  </a:lnTo>
                  <a:lnTo>
                    <a:pt x="14" y="718"/>
                  </a:lnTo>
                  <a:lnTo>
                    <a:pt x="17" y="718"/>
                  </a:lnTo>
                  <a:lnTo>
                    <a:pt x="625" y="718"/>
                  </a:lnTo>
                  <a:lnTo>
                    <a:pt x="629" y="718"/>
                  </a:lnTo>
                  <a:lnTo>
                    <a:pt x="632" y="717"/>
                  </a:lnTo>
                  <a:lnTo>
                    <a:pt x="635" y="715"/>
                  </a:lnTo>
                  <a:lnTo>
                    <a:pt x="638" y="713"/>
                  </a:lnTo>
                  <a:lnTo>
                    <a:pt x="640" y="711"/>
                  </a:lnTo>
                  <a:lnTo>
                    <a:pt x="641" y="708"/>
                  </a:lnTo>
                  <a:lnTo>
                    <a:pt x="642" y="704"/>
                  </a:lnTo>
                  <a:lnTo>
                    <a:pt x="642" y="701"/>
                  </a:lnTo>
                  <a:lnTo>
                    <a:pt x="642" y="653"/>
                  </a:lnTo>
                  <a:lnTo>
                    <a:pt x="642" y="650"/>
                  </a:lnTo>
                  <a:lnTo>
                    <a:pt x="641" y="646"/>
                  </a:lnTo>
                  <a:lnTo>
                    <a:pt x="640" y="643"/>
                  </a:lnTo>
                  <a:lnTo>
                    <a:pt x="638" y="641"/>
                  </a:lnTo>
                  <a:lnTo>
                    <a:pt x="635" y="639"/>
                  </a:lnTo>
                  <a:lnTo>
                    <a:pt x="632" y="637"/>
                  </a:lnTo>
                  <a:lnTo>
                    <a:pt x="629" y="636"/>
                  </a:lnTo>
                  <a:lnTo>
                    <a:pt x="625" y="636"/>
                  </a:lnTo>
                  <a:lnTo>
                    <a:pt x="17" y="636"/>
                  </a:lnTo>
                  <a:lnTo>
                    <a:pt x="14" y="636"/>
                  </a:lnTo>
                  <a:lnTo>
                    <a:pt x="10" y="637"/>
                  </a:lnTo>
                  <a:lnTo>
                    <a:pt x="7" y="639"/>
                  </a:lnTo>
                  <a:lnTo>
                    <a:pt x="5" y="641"/>
                  </a:lnTo>
                  <a:lnTo>
                    <a:pt x="3" y="643"/>
                  </a:lnTo>
                  <a:lnTo>
                    <a:pt x="1" y="646"/>
                  </a:lnTo>
                  <a:lnTo>
                    <a:pt x="0" y="650"/>
                  </a:lnTo>
                  <a:lnTo>
                    <a:pt x="0" y="653"/>
                  </a:lnTo>
                  <a:lnTo>
                    <a:pt x="0" y="701"/>
                  </a:lnTo>
                  <a:close/>
                  <a:moveTo>
                    <a:pt x="525" y="568"/>
                  </a:moveTo>
                  <a:lnTo>
                    <a:pt x="529" y="568"/>
                  </a:lnTo>
                  <a:lnTo>
                    <a:pt x="533" y="566"/>
                  </a:lnTo>
                  <a:lnTo>
                    <a:pt x="536" y="564"/>
                  </a:lnTo>
                  <a:lnTo>
                    <a:pt x="538" y="560"/>
                  </a:lnTo>
                  <a:lnTo>
                    <a:pt x="539" y="559"/>
                  </a:lnTo>
                  <a:lnTo>
                    <a:pt x="539" y="557"/>
                  </a:lnTo>
                  <a:lnTo>
                    <a:pt x="539" y="552"/>
                  </a:lnTo>
                  <a:lnTo>
                    <a:pt x="538" y="548"/>
                  </a:lnTo>
                  <a:lnTo>
                    <a:pt x="537" y="545"/>
                  </a:lnTo>
                  <a:lnTo>
                    <a:pt x="535" y="543"/>
                  </a:lnTo>
                  <a:lnTo>
                    <a:pt x="388" y="348"/>
                  </a:lnTo>
                  <a:lnTo>
                    <a:pt x="532" y="175"/>
                  </a:lnTo>
                  <a:lnTo>
                    <a:pt x="535" y="170"/>
                  </a:lnTo>
                  <a:lnTo>
                    <a:pt x="536" y="165"/>
                  </a:lnTo>
                  <a:lnTo>
                    <a:pt x="536" y="161"/>
                  </a:lnTo>
                  <a:lnTo>
                    <a:pt x="536" y="159"/>
                  </a:lnTo>
                  <a:lnTo>
                    <a:pt x="535" y="157"/>
                  </a:lnTo>
                  <a:lnTo>
                    <a:pt x="534" y="156"/>
                  </a:lnTo>
                  <a:lnTo>
                    <a:pt x="533" y="154"/>
                  </a:lnTo>
                  <a:lnTo>
                    <a:pt x="530" y="152"/>
                  </a:lnTo>
                  <a:lnTo>
                    <a:pt x="526" y="150"/>
                  </a:lnTo>
                  <a:lnTo>
                    <a:pt x="522" y="150"/>
                  </a:lnTo>
                  <a:lnTo>
                    <a:pt x="408" y="150"/>
                  </a:lnTo>
                  <a:lnTo>
                    <a:pt x="403" y="150"/>
                  </a:lnTo>
                  <a:lnTo>
                    <a:pt x="399" y="151"/>
                  </a:lnTo>
                  <a:lnTo>
                    <a:pt x="395" y="152"/>
                  </a:lnTo>
                  <a:lnTo>
                    <a:pt x="391" y="154"/>
                  </a:lnTo>
                  <a:lnTo>
                    <a:pt x="388" y="156"/>
                  </a:lnTo>
                  <a:lnTo>
                    <a:pt x="385" y="159"/>
                  </a:lnTo>
                  <a:lnTo>
                    <a:pt x="382" y="162"/>
                  </a:lnTo>
                  <a:lnTo>
                    <a:pt x="379" y="166"/>
                  </a:lnTo>
                  <a:lnTo>
                    <a:pt x="245" y="338"/>
                  </a:lnTo>
                  <a:lnTo>
                    <a:pt x="245" y="167"/>
                  </a:lnTo>
                  <a:lnTo>
                    <a:pt x="245" y="163"/>
                  </a:lnTo>
                  <a:lnTo>
                    <a:pt x="244" y="160"/>
                  </a:lnTo>
                  <a:lnTo>
                    <a:pt x="243" y="157"/>
                  </a:lnTo>
                  <a:lnTo>
                    <a:pt x="240" y="154"/>
                  </a:lnTo>
                  <a:lnTo>
                    <a:pt x="238" y="152"/>
                  </a:lnTo>
                  <a:lnTo>
                    <a:pt x="235" y="151"/>
                  </a:lnTo>
                  <a:lnTo>
                    <a:pt x="232" y="150"/>
                  </a:lnTo>
                  <a:lnTo>
                    <a:pt x="228" y="150"/>
                  </a:lnTo>
                  <a:lnTo>
                    <a:pt x="125" y="150"/>
                  </a:lnTo>
                  <a:lnTo>
                    <a:pt x="121" y="150"/>
                  </a:lnTo>
                  <a:lnTo>
                    <a:pt x="118" y="151"/>
                  </a:lnTo>
                  <a:lnTo>
                    <a:pt x="115" y="152"/>
                  </a:lnTo>
                  <a:lnTo>
                    <a:pt x="112" y="154"/>
                  </a:lnTo>
                  <a:lnTo>
                    <a:pt x="110" y="157"/>
                  </a:lnTo>
                  <a:lnTo>
                    <a:pt x="109" y="160"/>
                  </a:lnTo>
                  <a:lnTo>
                    <a:pt x="108" y="163"/>
                  </a:lnTo>
                  <a:lnTo>
                    <a:pt x="108" y="167"/>
                  </a:lnTo>
                  <a:lnTo>
                    <a:pt x="108" y="551"/>
                  </a:lnTo>
                  <a:lnTo>
                    <a:pt x="108" y="554"/>
                  </a:lnTo>
                  <a:lnTo>
                    <a:pt x="109" y="558"/>
                  </a:lnTo>
                  <a:lnTo>
                    <a:pt x="110" y="561"/>
                  </a:lnTo>
                  <a:lnTo>
                    <a:pt x="112" y="563"/>
                  </a:lnTo>
                  <a:lnTo>
                    <a:pt x="115" y="565"/>
                  </a:lnTo>
                  <a:lnTo>
                    <a:pt x="118" y="567"/>
                  </a:lnTo>
                  <a:lnTo>
                    <a:pt x="121" y="568"/>
                  </a:lnTo>
                  <a:lnTo>
                    <a:pt x="125" y="568"/>
                  </a:lnTo>
                  <a:lnTo>
                    <a:pt x="228" y="568"/>
                  </a:lnTo>
                  <a:lnTo>
                    <a:pt x="232" y="568"/>
                  </a:lnTo>
                  <a:lnTo>
                    <a:pt x="235" y="567"/>
                  </a:lnTo>
                  <a:lnTo>
                    <a:pt x="238" y="565"/>
                  </a:lnTo>
                  <a:lnTo>
                    <a:pt x="240" y="563"/>
                  </a:lnTo>
                  <a:lnTo>
                    <a:pt x="243" y="561"/>
                  </a:lnTo>
                  <a:lnTo>
                    <a:pt x="244" y="558"/>
                  </a:lnTo>
                  <a:lnTo>
                    <a:pt x="245" y="554"/>
                  </a:lnTo>
                  <a:lnTo>
                    <a:pt x="245" y="551"/>
                  </a:lnTo>
                  <a:lnTo>
                    <a:pt x="245" y="361"/>
                  </a:lnTo>
                  <a:lnTo>
                    <a:pt x="379" y="552"/>
                  </a:lnTo>
                  <a:lnTo>
                    <a:pt x="382" y="555"/>
                  </a:lnTo>
                  <a:lnTo>
                    <a:pt x="385" y="559"/>
                  </a:lnTo>
                  <a:lnTo>
                    <a:pt x="388" y="561"/>
                  </a:lnTo>
                  <a:lnTo>
                    <a:pt x="391" y="564"/>
                  </a:lnTo>
                  <a:lnTo>
                    <a:pt x="395" y="566"/>
                  </a:lnTo>
                  <a:lnTo>
                    <a:pt x="399" y="567"/>
                  </a:lnTo>
                  <a:lnTo>
                    <a:pt x="403" y="568"/>
                  </a:lnTo>
                  <a:lnTo>
                    <a:pt x="408" y="568"/>
                  </a:lnTo>
                  <a:lnTo>
                    <a:pt x="525" y="5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12" name="Freeform 31">
              <a:extLst>
                <a:ext uri="{FF2B5EF4-FFF2-40B4-BE49-F238E27FC236}">
                  <a16:creationId xmlns:a16="http://schemas.microsoft.com/office/drawing/2014/main" id="{2FE22805-5812-4D10-AF53-26BEED3BA6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4401" y="2851150"/>
              <a:ext cx="3937000" cy="1155700"/>
            </a:xfrm>
            <a:custGeom>
              <a:avLst/>
              <a:gdLst>
                <a:gd name="T0" fmla="*/ 562 w 2480"/>
                <a:gd name="T1" fmla="*/ 714 h 728"/>
                <a:gd name="T2" fmla="*/ 483 w 2480"/>
                <a:gd name="T3" fmla="*/ 339 h 728"/>
                <a:gd name="T4" fmla="*/ 505 w 2480"/>
                <a:gd name="T5" fmla="*/ 167 h 728"/>
                <a:gd name="T6" fmla="*/ 418 w 2480"/>
                <a:gd name="T7" fmla="*/ 45 h 728"/>
                <a:gd name="T8" fmla="*/ 258 w 2480"/>
                <a:gd name="T9" fmla="*/ 0 h 728"/>
                <a:gd name="T10" fmla="*/ 3 w 2480"/>
                <a:gd name="T11" fmla="*/ 711 h 728"/>
                <a:gd name="T12" fmla="*/ 176 w 2480"/>
                <a:gd name="T13" fmla="*/ 701 h 728"/>
                <a:gd name="T14" fmla="*/ 303 w 2480"/>
                <a:gd name="T15" fmla="*/ 169 h 728"/>
                <a:gd name="T16" fmla="*/ 324 w 2480"/>
                <a:gd name="T17" fmla="*/ 279 h 728"/>
                <a:gd name="T18" fmla="*/ 176 w 2480"/>
                <a:gd name="T19" fmla="*/ 325 h 728"/>
                <a:gd name="T20" fmla="*/ 1035 w 2480"/>
                <a:gd name="T21" fmla="*/ 407 h 728"/>
                <a:gd name="T22" fmla="*/ 976 w 2480"/>
                <a:gd name="T23" fmla="*/ 275 h 728"/>
                <a:gd name="T24" fmla="*/ 819 w 2480"/>
                <a:gd name="T25" fmla="*/ 235 h 728"/>
                <a:gd name="T26" fmla="*/ 636 w 2480"/>
                <a:gd name="T27" fmla="*/ 280 h 728"/>
                <a:gd name="T28" fmla="*/ 720 w 2480"/>
                <a:gd name="T29" fmla="*/ 373 h 728"/>
                <a:gd name="T30" fmla="*/ 862 w 2480"/>
                <a:gd name="T31" fmla="*/ 371 h 728"/>
                <a:gd name="T32" fmla="*/ 853 w 2480"/>
                <a:gd name="T33" fmla="*/ 422 h 728"/>
                <a:gd name="T34" fmla="*/ 681 w 2480"/>
                <a:gd name="T35" fmla="*/ 439 h 728"/>
                <a:gd name="T36" fmla="*/ 603 w 2480"/>
                <a:gd name="T37" fmla="*/ 523 h 728"/>
                <a:gd name="T38" fmla="*/ 605 w 2480"/>
                <a:gd name="T39" fmla="*/ 635 h 728"/>
                <a:gd name="T40" fmla="*/ 687 w 2480"/>
                <a:gd name="T41" fmla="*/ 713 h 728"/>
                <a:gd name="T42" fmla="*/ 822 w 2480"/>
                <a:gd name="T43" fmla="*/ 719 h 728"/>
                <a:gd name="T44" fmla="*/ 899 w 2480"/>
                <a:gd name="T45" fmla="*/ 718 h 728"/>
                <a:gd name="T46" fmla="*/ 760 w 2480"/>
                <a:gd name="T47" fmla="*/ 587 h 728"/>
                <a:gd name="T48" fmla="*/ 780 w 2480"/>
                <a:gd name="T49" fmla="*/ 520 h 728"/>
                <a:gd name="T50" fmla="*/ 863 w 2480"/>
                <a:gd name="T51" fmla="*/ 611 h 728"/>
                <a:gd name="T52" fmla="*/ 1557 w 2480"/>
                <a:gd name="T53" fmla="*/ 235 h 728"/>
                <a:gd name="T54" fmla="*/ 1388 w 2480"/>
                <a:gd name="T55" fmla="*/ 579 h 728"/>
                <a:gd name="T56" fmla="*/ 1300 w 2480"/>
                <a:gd name="T57" fmla="*/ 567 h 728"/>
                <a:gd name="T58" fmla="*/ 1277 w 2480"/>
                <a:gd name="T59" fmla="*/ 237 h 728"/>
                <a:gd name="T60" fmla="*/ 1120 w 2480"/>
                <a:gd name="T61" fmla="*/ 539 h 728"/>
                <a:gd name="T62" fmla="*/ 1163 w 2480"/>
                <a:gd name="T63" fmla="*/ 676 h 728"/>
                <a:gd name="T64" fmla="*/ 1256 w 2480"/>
                <a:gd name="T65" fmla="*/ 727 h 728"/>
                <a:gd name="T66" fmla="*/ 1383 w 2480"/>
                <a:gd name="T67" fmla="*/ 697 h 728"/>
                <a:gd name="T68" fmla="*/ 1556 w 2480"/>
                <a:gd name="T69" fmla="*/ 718 h 728"/>
                <a:gd name="T70" fmla="*/ 1962 w 2480"/>
                <a:gd name="T71" fmla="*/ 372 h 728"/>
                <a:gd name="T72" fmla="*/ 1985 w 2480"/>
                <a:gd name="T73" fmla="*/ 245 h 728"/>
                <a:gd name="T74" fmla="*/ 1729 w 2480"/>
                <a:gd name="T75" fmla="*/ 139 h 728"/>
                <a:gd name="T76" fmla="*/ 1643 w 2480"/>
                <a:gd name="T77" fmla="*/ 250 h 728"/>
                <a:gd name="T78" fmla="*/ 1714 w 2480"/>
                <a:gd name="T79" fmla="*/ 376 h 728"/>
                <a:gd name="T80" fmla="*/ 1753 w 2480"/>
                <a:gd name="T81" fmla="*/ 687 h 728"/>
                <a:gd name="T82" fmla="*/ 1877 w 2480"/>
                <a:gd name="T83" fmla="*/ 728 h 728"/>
                <a:gd name="T84" fmla="*/ 1990 w 2480"/>
                <a:gd name="T85" fmla="*/ 692 h 728"/>
                <a:gd name="T86" fmla="*/ 1909 w 2480"/>
                <a:gd name="T87" fmla="*/ 588 h 728"/>
                <a:gd name="T88" fmla="*/ 2345 w 2480"/>
                <a:gd name="T89" fmla="*/ 718 h 728"/>
                <a:gd name="T90" fmla="*/ 2477 w 2480"/>
                <a:gd name="T91" fmla="*/ 394 h 728"/>
                <a:gd name="T92" fmla="*/ 2412 w 2480"/>
                <a:gd name="T93" fmla="*/ 269 h 728"/>
                <a:gd name="T94" fmla="*/ 2237 w 2480"/>
                <a:gd name="T95" fmla="*/ 235 h 728"/>
                <a:gd name="T96" fmla="*/ 2079 w 2480"/>
                <a:gd name="T97" fmla="*/ 284 h 728"/>
                <a:gd name="T98" fmla="*/ 2177 w 2480"/>
                <a:gd name="T99" fmla="*/ 369 h 728"/>
                <a:gd name="T100" fmla="*/ 2310 w 2480"/>
                <a:gd name="T101" fmla="*/ 375 h 728"/>
                <a:gd name="T102" fmla="*/ 2284 w 2480"/>
                <a:gd name="T103" fmla="*/ 420 h 728"/>
                <a:gd name="T104" fmla="*/ 2117 w 2480"/>
                <a:gd name="T105" fmla="*/ 443 h 728"/>
                <a:gd name="T106" fmla="*/ 2043 w 2480"/>
                <a:gd name="T107" fmla="*/ 531 h 728"/>
                <a:gd name="T108" fmla="*/ 2051 w 2480"/>
                <a:gd name="T109" fmla="*/ 643 h 728"/>
                <a:gd name="T110" fmla="*/ 2144 w 2480"/>
                <a:gd name="T111" fmla="*/ 719 h 728"/>
                <a:gd name="T112" fmla="*/ 2272 w 2480"/>
                <a:gd name="T113" fmla="*/ 716 h 728"/>
                <a:gd name="T114" fmla="*/ 2345 w 2480"/>
                <a:gd name="T115" fmla="*/ 718 h 728"/>
                <a:gd name="T116" fmla="*/ 2200 w 2480"/>
                <a:gd name="T117" fmla="*/ 581 h 728"/>
                <a:gd name="T118" fmla="*/ 2228 w 2480"/>
                <a:gd name="T119" fmla="*/ 517 h 728"/>
                <a:gd name="T120" fmla="*/ 2298 w 2480"/>
                <a:gd name="T121" fmla="*/ 614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80" h="728">
                  <a:moveTo>
                    <a:pt x="369" y="702"/>
                  </a:moveTo>
                  <a:lnTo>
                    <a:pt x="371" y="706"/>
                  </a:lnTo>
                  <a:lnTo>
                    <a:pt x="374" y="709"/>
                  </a:lnTo>
                  <a:lnTo>
                    <a:pt x="376" y="712"/>
                  </a:lnTo>
                  <a:lnTo>
                    <a:pt x="379" y="714"/>
                  </a:lnTo>
                  <a:lnTo>
                    <a:pt x="382" y="716"/>
                  </a:lnTo>
                  <a:lnTo>
                    <a:pt x="386" y="717"/>
                  </a:lnTo>
                  <a:lnTo>
                    <a:pt x="390" y="718"/>
                  </a:lnTo>
                  <a:lnTo>
                    <a:pt x="394" y="718"/>
                  </a:lnTo>
                  <a:lnTo>
                    <a:pt x="551" y="718"/>
                  </a:lnTo>
                  <a:lnTo>
                    <a:pt x="556" y="717"/>
                  </a:lnTo>
                  <a:lnTo>
                    <a:pt x="558" y="717"/>
                  </a:lnTo>
                  <a:lnTo>
                    <a:pt x="559" y="716"/>
                  </a:lnTo>
                  <a:lnTo>
                    <a:pt x="562" y="714"/>
                  </a:lnTo>
                  <a:lnTo>
                    <a:pt x="564" y="711"/>
                  </a:lnTo>
                  <a:lnTo>
                    <a:pt x="566" y="708"/>
                  </a:lnTo>
                  <a:lnTo>
                    <a:pt x="566" y="704"/>
                  </a:lnTo>
                  <a:lnTo>
                    <a:pt x="565" y="700"/>
                  </a:lnTo>
                  <a:lnTo>
                    <a:pt x="563" y="696"/>
                  </a:lnTo>
                  <a:lnTo>
                    <a:pt x="408" y="416"/>
                  </a:lnTo>
                  <a:lnTo>
                    <a:pt x="419" y="408"/>
                  </a:lnTo>
                  <a:lnTo>
                    <a:pt x="430" y="400"/>
                  </a:lnTo>
                  <a:lnTo>
                    <a:pt x="440" y="391"/>
                  </a:lnTo>
                  <a:lnTo>
                    <a:pt x="450" y="382"/>
                  </a:lnTo>
                  <a:lnTo>
                    <a:pt x="459" y="372"/>
                  </a:lnTo>
                  <a:lnTo>
                    <a:pt x="467" y="361"/>
                  </a:lnTo>
                  <a:lnTo>
                    <a:pt x="475" y="350"/>
                  </a:lnTo>
                  <a:lnTo>
                    <a:pt x="483" y="339"/>
                  </a:lnTo>
                  <a:lnTo>
                    <a:pt x="489" y="327"/>
                  </a:lnTo>
                  <a:lnTo>
                    <a:pt x="495" y="315"/>
                  </a:lnTo>
                  <a:lnTo>
                    <a:pt x="500" y="303"/>
                  </a:lnTo>
                  <a:lnTo>
                    <a:pt x="505" y="290"/>
                  </a:lnTo>
                  <a:lnTo>
                    <a:pt x="508" y="277"/>
                  </a:lnTo>
                  <a:lnTo>
                    <a:pt x="511" y="263"/>
                  </a:lnTo>
                  <a:lnTo>
                    <a:pt x="511" y="256"/>
                  </a:lnTo>
                  <a:lnTo>
                    <a:pt x="512" y="249"/>
                  </a:lnTo>
                  <a:lnTo>
                    <a:pt x="513" y="235"/>
                  </a:lnTo>
                  <a:lnTo>
                    <a:pt x="512" y="220"/>
                  </a:lnTo>
                  <a:lnTo>
                    <a:pt x="511" y="206"/>
                  </a:lnTo>
                  <a:lnTo>
                    <a:pt x="510" y="193"/>
                  </a:lnTo>
                  <a:lnTo>
                    <a:pt x="507" y="180"/>
                  </a:lnTo>
                  <a:lnTo>
                    <a:pt x="505" y="167"/>
                  </a:lnTo>
                  <a:lnTo>
                    <a:pt x="501" y="155"/>
                  </a:lnTo>
                  <a:lnTo>
                    <a:pt x="497" y="143"/>
                  </a:lnTo>
                  <a:lnTo>
                    <a:pt x="493" y="132"/>
                  </a:lnTo>
                  <a:lnTo>
                    <a:pt x="490" y="127"/>
                  </a:lnTo>
                  <a:lnTo>
                    <a:pt x="487" y="121"/>
                  </a:lnTo>
                  <a:lnTo>
                    <a:pt x="482" y="111"/>
                  </a:lnTo>
                  <a:lnTo>
                    <a:pt x="475" y="101"/>
                  </a:lnTo>
                  <a:lnTo>
                    <a:pt x="469" y="92"/>
                  </a:lnTo>
                  <a:lnTo>
                    <a:pt x="461" y="83"/>
                  </a:lnTo>
                  <a:lnTo>
                    <a:pt x="454" y="74"/>
                  </a:lnTo>
                  <a:lnTo>
                    <a:pt x="445" y="66"/>
                  </a:lnTo>
                  <a:lnTo>
                    <a:pt x="437" y="59"/>
                  </a:lnTo>
                  <a:lnTo>
                    <a:pt x="428" y="52"/>
                  </a:lnTo>
                  <a:lnTo>
                    <a:pt x="418" y="45"/>
                  </a:lnTo>
                  <a:lnTo>
                    <a:pt x="408" y="39"/>
                  </a:lnTo>
                  <a:lnTo>
                    <a:pt x="397" y="33"/>
                  </a:lnTo>
                  <a:lnTo>
                    <a:pt x="386" y="28"/>
                  </a:lnTo>
                  <a:lnTo>
                    <a:pt x="375" y="23"/>
                  </a:lnTo>
                  <a:lnTo>
                    <a:pt x="363" y="18"/>
                  </a:lnTo>
                  <a:lnTo>
                    <a:pt x="351" y="14"/>
                  </a:lnTo>
                  <a:lnTo>
                    <a:pt x="339" y="11"/>
                  </a:lnTo>
                  <a:lnTo>
                    <a:pt x="326" y="8"/>
                  </a:lnTo>
                  <a:lnTo>
                    <a:pt x="313" y="5"/>
                  </a:lnTo>
                  <a:lnTo>
                    <a:pt x="300" y="3"/>
                  </a:lnTo>
                  <a:lnTo>
                    <a:pt x="293" y="3"/>
                  </a:lnTo>
                  <a:lnTo>
                    <a:pt x="286" y="2"/>
                  </a:lnTo>
                  <a:lnTo>
                    <a:pt x="272" y="1"/>
                  </a:lnTo>
                  <a:lnTo>
                    <a:pt x="258" y="0"/>
                  </a:lnTo>
                  <a:lnTo>
                    <a:pt x="243" y="0"/>
                  </a:lnTo>
                  <a:lnTo>
                    <a:pt x="17" y="0"/>
                  </a:lnTo>
                  <a:lnTo>
                    <a:pt x="14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5" y="5"/>
                  </a:lnTo>
                  <a:lnTo>
                    <a:pt x="3" y="7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7"/>
                  </a:lnTo>
                  <a:lnTo>
                    <a:pt x="0" y="701"/>
                  </a:lnTo>
                  <a:lnTo>
                    <a:pt x="0" y="704"/>
                  </a:lnTo>
                  <a:lnTo>
                    <a:pt x="1" y="708"/>
                  </a:lnTo>
                  <a:lnTo>
                    <a:pt x="3" y="711"/>
                  </a:lnTo>
                  <a:lnTo>
                    <a:pt x="5" y="713"/>
                  </a:lnTo>
                  <a:lnTo>
                    <a:pt x="7" y="715"/>
                  </a:lnTo>
                  <a:lnTo>
                    <a:pt x="10" y="717"/>
                  </a:lnTo>
                  <a:lnTo>
                    <a:pt x="14" y="718"/>
                  </a:lnTo>
                  <a:lnTo>
                    <a:pt x="17" y="718"/>
                  </a:lnTo>
                  <a:lnTo>
                    <a:pt x="159" y="718"/>
                  </a:lnTo>
                  <a:lnTo>
                    <a:pt x="163" y="718"/>
                  </a:lnTo>
                  <a:lnTo>
                    <a:pt x="166" y="717"/>
                  </a:lnTo>
                  <a:lnTo>
                    <a:pt x="169" y="715"/>
                  </a:lnTo>
                  <a:lnTo>
                    <a:pt x="171" y="713"/>
                  </a:lnTo>
                  <a:lnTo>
                    <a:pt x="173" y="711"/>
                  </a:lnTo>
                  <a:lnTo>
                    <a:pt x="175" y="708"/>
                  </a:lnTo>
                  <a:lnTo>
                    <a:pt x="176" y="704"/>
                  </a:lnTo>
                  <a:lnTo>
                    <a:pt x="176" y="701"/>
                  </a:lnTo>
                  <a:lnTo>
                    <a:pt x="176" y="458"/>
                  </a:lnTo>
                  <a:lnTo>
                    <a:pt x="244" y="458"/>
                  </a:lnTo>
                  <a:lnTo>
                    <a:pt x="369" y="702"/>
                  </a:lnTo>
                  <a:close/>
                  <a:moveTo>
                    <a:pt x="176" y="325"/>
                  </a:moveTo>
                  <a:lnTo>
                    <a:pt x="176" y="150"/>
                  </a:lnTo>
                  <a:lnTo>
                    <a:pt x="234" y="150"/>
                  </a:lnTo>
                  <a:lnTo>
                    <a:pt x="244" y="150"/>
                  </a:lnTo>
                  <a:lnTo>
                    <a:pt x="254" y="151"/>
                  </a:lnTo>
                  <a:lnTo>
                    <a:pt x="263" y="152"/>
                  </a:lnTo>
                  <a:lnTo>
                    <a:pt x="272" y="154"/>
                  </a:lnTo>
                  <a:lnTo>
                    <a:pt x="281" y="157"/>
                  </a:lnTo>
                  <a:lnTo>
                    <a:pt x="289" y="160"/>
                  </a:lnTo>
                  <a:lnTo>
                    <a:pt x="296" y="164"/>
                  </a:lnTo>
                  <a:lnTo>
                    <a:pt x="303" y="169"/>
                  </a:lnTo>
                  <a:lnTo>
                    <a:pt x="309" y="175"/>
                  </a:lnTo>
                  <a:lnTo>
                    <a:pt x="315" y="181"/>
                  </a:lnTo>
                  <a:lnTo>
                    <a:pt x="320" y="188"/>
                  </a:lnTo>
                  <a:lnTo>
                    <a:pt x="324" y="196"/>
                  </a:lnTo>
                  <a:lnTo>
                    <a:pt x="327" y="205"/>
                  </a:lnTo>
                  <a:lnTo>
                    <a:pt x="328" y="210"/>
                  </a:lnTo>
                  <a:lnTo>
                    <a:pt x="329" y="215"/>
                  </a:lnTo>
                  <a:lnTo>
                    <a:pt x="331" y="226"/>
                  </a:lnTo>
                  <a:lnTo>
                    <a:pt x="331" y="238"/>
                  </a:lnTo>
                  <a:lnTo>
                    <a:pt x="331" y="250"/>
                  </a:lnTo>
                  <a:lnTo>
                    <a:pt x="330" y="255"/>
                  </a:lnTo>
                  <a:lnTo>
                    <a:pt x="329" y="260"/>
                  </a:lnTo>
                  <a:lnTo>
                    <a:pt x="327" y="270"/>
                  </a:lnTo>
                  <a:lnTo>
                    <a:pt x="324" y="279"/>
                  </a:lnTo>
                  <a:lnTo>
                    <a:pt x="320" y="287"/>
                  </a:lnTo>
                  <a:lnTo>
                    <a:pt x="317" y="291"/>
                  </a:lnTo>
                  <a:lnTo>
                    <a:pt x="315" y="294"/>
                  </a:lnTo>
                  <a:lnTo>
                    <a:pt x="309" y="301"/>
                  </a:lnTo>
                  <a:lnTo>
                    <a:pt x="303" y="306"/>
                  </a:lnTo>
                  <a:lnTo>
                    <a:pt x="296" y="311"/>
                  </a:lnTo>
                  <a:lnTo>
                    <a:pt x="289" y="315"/>
                  </a:lnTo>
                  <a:lnTo>
                    <a:pt x="281" y="318"/>
                  </a:lnTo>
                  <a:lnTo>
                    <a:pt x="272" y="321"/>
                  </a:lnTo>
                  <a:lnTo>
                    <a:pt x="263" y="323"/>
                  </a:lnTo>
                  <a:lnTo>
                    <a:pt x="254" y="324"/>
                  </a:lnTo>
                  <a:lnTo>
                    <a:pt x="244" y="325"/>
                  </a:lnTo>
                  <a:lnTo>
                    <a:pt x="234" y="325"/>
                  </a:lnTo>
                  <a:lnTo>
                    <a:pt x="176" y="325"/>
                  </a:lnTo>
                  <a:close/>
                  <a:moveTo>
                    <a:pt x="903" y="718"/>
                  </a:moveTo>
                  <a:lnTo>
                    <a:pt x="1020" y="718"/>
                  </a:lnTo>
                  <a:lnTo>
                    <a:pt x="1024" y="718"/>
                  </a:lnTo>
                  <a:lnTo>
                    <a:pt x="1027" y="717"/>
                  </a:lnTo>
                  <a:lnTo>
                    <a:pt x="1030" y="715"/>
                  </a:lnTo>
                  <a:lnTo>
                    <a:pt x="1033" y="713"/>
                  </a:lnTo>
                  <a:lnTo>
                    <a:pt x="1035" y="711"/>
                  </a:lnTo>
                  <a:lnTo>
                    <a:pt x="1036" y="708"/>
                  </a:lnTo>
                  <a:lnTo>
                    <a:pt x="1037" y="704"/>
                  </a:lnTo>
                  <a:lnTo>
                    <a:pt x="1037" y="701"/>
                  </a:lnTo>
                  <a:lnTo>
                    <a:pt x="1037" y="450"/>
                  </a:lnTo>
                  <a:lnTo>
                    <a:pt x="1037" y="435"/>
                  </a:lnTo>
                  <a:lnTo>
                    <a:pt x="1037" y="420"/>
                  </a:lnTo>
                  <a:lnTo>
                    <a:pt x="1035" y="407"/>
                  </a:lnTo>
                  <a:lnTo>
                    <a:pt x="1034" y="394"/>
                  </a:lnTo>
                  <a:lnTo>
                    <a:pt x="1032" y="381"/>
                  </a:lnTo>
                  <a:lnTo>
                    <a:pt x="1030" y="370"/>
                  </a:lnTo>
                  <a:lnTo>
                    <a:pt x="1027" y="357"/>
                  </a:lnTo>
                  <a:lnTo>
                    <a:pt x="1024" y="347"/>
                  </a:lnTo>
                  <a:lnTo>
                    <a:pt x="1020" y="337"/>
                  </a:lnTo>
                  <a:lnTo>
                    <a:pt x="1016" y="327"/>
                  </a:lnTo>
                  <a:lnTo>
                    <a:pt x="1012" y="318"/>
                  </a:lnTo>
                  <a:lnTo>
                    <a:pt x="1007" y="310"/>
                  </a:lnTo>
                  <a:lnTo>
                    <a:pt x="1002" y="302"/>
                  </a:lnTo>
                  <a:lnTo>
                    <a:pt x="996" y="294"/>
                  </a:lnTo>
                  <a:lnTo>
                    <a:pt x="990" y="287"/>
                  </a:lnTo>
                  <a:lnTo>
                    <a:pt x="983" y="281"/>
                  </a:lnTo>
                  <a:lnTo>
                    <a:pt x="976" y="275"/>
                  </a:lnTo>
                  <a:lnTo>
                    <a:pt x="969" y="269"/>
                  </a:lnTo>
                  <a:lnTo>
                    <a:pt x="961" y="264"/>
                  </a:lnTo>
                  <a:lnTo>
                    <a:pt x="953" y="260"/>
                  </a:lnTo>
                  <a:lnTo>
                    <a:pt x="944" y="255"/>
                  </a:lnTo>
                  <a:lnTo>
                    <a:pt x="935" y="252"/>
                  </a:lnTo>
                  <a:lnTo>
                    <a:pt x="925" y="248"/>
                  </a:lnTo>
                  <a:lnTo>
                    <a:pt x="915" y="245"/>
                  </a:lnTo>
                  <a:lnTo>
                    <a:pt x="905" y="243"/>
                  </a:lnTo>
                  <a:lnTo>
                    <a:pt x="894" y="241"/>
                  </a:lnTo>
                  <a:lnTo>
                    <a:pt x="882" y="239"/>
                  </a:lnTo>
                  <a:lnTo>
                    <a:pt x="870" y="237"/>
                  </a:lnTo>
                  <a:lnTo>
                    <a:pt x="845" y="235"/>
                  </a:lnTo>
                  <a:lnTo>
                    <a:pt x="832" y="235"/>
                  </a:lnTo>
                  <a:lnTo>
                    <a:pt x="819" y="235"/>
                  </a:lnTo>
                  <a:lnTo>
                    <a:pt x="794" y="235"/>
                  </a:lnTo>
                  <a:lnTo>
                    <a:pt x="770" y="238"/>
                  </a:lnTo>
                  <a:lnTo>
                    <a:pt x="745" y="241"/>
                  </a:lnTo>
                  <a:lnTo>
                    <a:pt x="721" y="245"/>
                  </a:lnTo>
                  <a:lnTo>
                    <a:pt x="698" y="250"/>
                  </a:lnTo>
                  <a:lnTo>
                    <a:pt x="678" y="255"/>
                  </a:lnTo>
                  <a:lnTo>
                    <a:pt x="661" y="260"/>
                  </a:lnTo>
                  <a:lnTo>
                    <a:pt x="654" y="263"/>
                  </a:lnTo>
                  <a:lnTo>
                    <a:pt x="647" y="266"/>
                  </a:lnTo>
                  <a:lnTo>
                    <a:pt x="643" y="269"/>
                  </a:lnTo>
                  <a:lnTo>
                    <a:pt x="640" y="271"/>
                  </a:lnTo>
                  <a:lnTo>
                    <a:pt x="638" y="274"/>
                  </a:lnTo>
                  <a:lnTo>
                    <a:pt x="636" y="277"/>
                  </a:lnTo>
                  <a:lnTo>
                    <a:pt x="636" y="280"/>
                  </a:lnTo>
                  <a:lnTo>
                    <a:pt x="636" y="284"/>
                  </a:lnTo>
                  <a:lnTo>
                    <a:pt x="637" y="288"/>
                  </a:lnTo>
                  <a:lnTo>
                    <a:pt x="638" y="292"/>
                  </a:lnTo>
                  <a:lnTo>
                    <a:pt x="667" y="374"/>
                  </a:lnTo>
                  <a:lnTo>
                    <a:pt x="668" y="377"/>
                  </a:lnTo>
                  <a:lnTo>
                    <a:pt x="670" y="380"/>
                  </a:lnTo>
                  <a:lnTo>
                    <a:pt x="673" y="382"/>
                  </a:lnTo>
                  <a:lnTo>
                    <a:pt x="676" y="384"/>
                  </a:lnTo>
                  <a:lnTo>
                    <a:pt x="679" y="384"/>
                  </a:lnTo>
                  <a:lnTo>
                    <a:pt x="682" y="385"/>
                  </a:lnTo>
                  <a:lnTo>
                    <a:pt x="686" y="384"/>
                  </a:lnTo>
                  <a:lnTo>
                    <a:pt x="690" y="383"/>
                  </a:lnTo>
                  <a:lnTo>
                    <a:pt x="705" y="377"/>
                  </a:lnTo>
                  <a:lnTo>
                    <a:pt x="720" y="373"/>
                  </a:lnTo>
                  <a:lnTo>
                    <a:pt x="735" y="369"/>
                  </a:lnTo>
                  <a:lnTo>
                    <a:pt x="748" y="365"/>
                  </a:lnTo>
                  <a:lnTo>
                    <a:pt x="762" y="362"/>
                  </a:lnTo>
                  <a:lnTo>
                    <a:pt x="775" y="360"/>
                  </a:lnTo>
                  <a:lnTo>
                    <a:pt x="789" y="359"/>
                  </a:lnTo>
                  <a:lnTo>
                    <a:pt x="802" y="358"/>
                  </a:lnTo>
                  <a:lnTo>
                    <a:pt x="813" y="359"/>
                  </a:lnTo>
                  <a:lnTo>
                    <a:pt x="824" y="359"/>
                  </a:lnTo>
                  <a:lnTo>
                    <a:pt x="833" y="360"/>
                  </a:lnTo>
                  <a:lnTo>
                    <a:pt x="841" y="362"/>
                  </a:lnTo>
                  <a:lnTo>
                    <a:pt x="845" y="364"/>
                  </a:lnTo>
                  <a:lnTo>
                    <a:pt x="849" y="365"/>
                  </a:lnTo>
                  <a:lnTo>
                    <a:pt x="856" y="368"/>
                  </a:lnTo>
                  <a:lnTo>
                    <a:pt x="862" y="371"/>
                  </a:lnTo>
                  <a:lnTo>
                    <a:pt x="867" y="375"/>
                  </a:lnTo>
                  <a:lnTo>
                    <a:pt x="869" y="377"/>
                  </a:lnTo>
                  <a:lnTo>
                    <a:pt x="872" y="379"/>
                  </a:lnTo>
                  <a:lnTo>
                    <a:pt x="874" y="382"/>
                  </a:lnTo>
                  <a:lnTo>
                    <a:pt x="875" y="384"/>
                  </a:lnTo>
                  <a:lnTo>
                    <a:pt x="879" y="390"/>
                  </a:lnTo>
                  <a:lnTo>
                    <a:pt x="881" y="397"/>
                  </a:lnTo>
                  <a:lnTo>
                    <a:pt x="883" y="404"/>
                  </a:lnTo>
                  <a:lnTo>
                    <a:pt x="884" y="411"/>
                  </a:lnTo>
                  <a:lnTo>
                    <a:pt x="885" y="420"/>
                  </a:lnTo>
                  <a:lnTo>
                    <a:pt x="885" y="429"/>
                  </a:lnTo>
                  <a:lnTo>
                    <a:pt x="885" y="431"/>
                  </a:lnTo>
                  <a:lnTo>
                    <a:pt x="864" y="425"/>
                  </a:lnTo>
                  <a:lnTo>
                    <a:pt x="853" y="422"/>
                  </a:lnTo>
                  <a:lnTo>
                    <a:pt x="841" y="420"/>
                  </a:lnTo>
                  <a:lnTo>
                    <a:pt x="829" y="418"/>
                  </a:lnTo>
                  <a:lnTo>
                    <a:pt x="817" y="417"/>
                  </a:lnTo>
                  <a:lnTo>
                    <a:pt x="804" y="416"/>
                  </a:lnTo>
                  <a:lnTo>
                    <a:pt x="791" y="416"/>
                  </a:lnTo>
                  <a:lnTo>
                    <a:pt x="771" y="417"/>
                  </a:lnTo>
                  <a:lnTo>
                    <a:pt x="761" y="418"/>
                  </a:lnTo>
                  <a:lnTo>
                    <a:pt x="752" y="419"/>
                  </a:lnTo>
                  <a:lnTo>
                    <a:pt x="742" y="420"/>
                  </a:lnTo>
                  <a:lnTo>
                    <a:pt x="733" y="422"/>
                  </a:lnTo>
                  <a:lnTo>
                    <a:pt x="724" y="424"/>
                  </a:lnTo>
                  <a:lnTo>
                    <a:pt x="715" y="426"/>
                  </a:lnTo>
                  <a:lnTo>
                    <a:pt x="698" y="432"/>
                  </a:lnTo>
                  <a:lnTo>
                    <a:pt x="681" y="439"/>
                  </a:lnTo>
                  <a:lnTo>
                    <a:pt x="674" y="443"/>
                  </a:lnTo>
                  <a:lnTo>
                    <a:pt x="666" y="448"/>
                  </a:lnTo>
                  <a:lnTo>
                    <a:pt x="659" y="452"/>
                  </a:lnTo>
                  <a:lnTo>
                    <a:pt x="652" y="457"/>
                  </a:lnTo>
                  <a:lnTo>
                    <a:pt x="646" y="462"/>
                  </a:lnTo>
                  <a:lnTo>
                    <a:pt x="639" y="468"/>
                  </a:lnTo>
                  <a:lnTo>
                    <a:pt x="633" y="474"/>
                  </a:lnTo>
                  <a:lnTo>
                    <a:pt x="628" y="480"/>
                  </a:lnTo>
                  <a:lnTo>
                    <a:pt x="623" y="486"/>
                  </a:lnTo>
                  <a:lnTo>
                    <a:pt x="618" y="493"/>
                  </a:lnTo>
                  <a:lnTo>
                    <a:pt x="613" y="500"/>
                  </a:lnTo>
                  <a:lnTo>
                    <a:pt x="609" y="508"/>
                  </a:lnTo>
                  <a:lnTo>
                    <a:pt x="606" y="515"/>
                  </a:lnTo>
                  <a:lnTo>
                    <a:pt x="603" y="523"/>
                  </a:lnTo>
                  <a:lnTo>
                    <a:pt x="600" y="531"/>
                  </a:lnTo>
                  <a:lnTo>
                    <a:pt x="598" y="540"/>
                  </a:lnTo>
                  <a:lnTo>
                    <a:pt x="596" y="549"/>
                  </a:lnTo>
                  <a:lnTo>
                    <a:pt x="595" y="558"/>
                  </a:lnTo>
                  <a:lnTo>
                    <a:pt x="594" y="567"/>
                  </a:lnTo>
                  <a:lnTo>
                    <a:pt x="594" y="577"/>
                  </a:lnTo>
                  <a:lnTo>
                    <a:pt x="594" y="586"/>
                  </a:lnTo>
                  <a:lnTo>
                    <a:pt x="595" y="595"/>
                  </a:lnTo>
                  <a:lnTo>
                    <a:pt x="596" y="604"/>
                  </a:lnTo>
                  <a:lnTo>
                    <a:pt x="598" y="612"/>
                  </a:lnTo>
                  <a:lnTo>
                    <a:pt x="599" y="616"/>
                  </a:lnTo>
                  <a:lnTo>
                    <a:pt x="600" y="620"/>
                  </a:lnTo>
                  <a:lnTo>
                    <a:pt x="602" y="628"/>
                  </a:lnTo>
                  <a:lnTo>
                    <a:pt x="605" y="635"/>
                  </a:lnTo>
                  <a:lnTo>
                    <a:pt x="609" y="643"/>
                  </a:lnTo>
                  <a:lnTo>
                    <a:pt x="612" y="650"/>
                  </a:lnTo>
                  <a:lnTo>
                    <a:pt x="616" y="656"/>
                  </a:lnTo>
                  <a:lnTo>
                    <a:pt x="621" y="663"/>
                  </a:lnTo>
                  <a:lnTo>
                    <a:pt x="626" y="669"/>
                  </a:lnTo>
                  <a:lnTo>
                    <a:pt x="631" y="674"/>
                  </a:lnTo>
                  <a:lnTo>
                    <a:pt x="636" y="680"/>
                  </a:lnTo>
                  <a:lnTo>
                    <a:pt x="642" y="685"/>
                  </a:lnTo>
                  <a:lnTo>
                    <a:pt x="648" y="690"/>
                  </a:lnTo>
                  <a:lnTo>
                    <a:pt x="654" y="694"/>
                  </a:lnTo>
                  <a:lnTo>
                    <a:pt x="660" y="699"/>
                  </a:lnTo>
                  <a:lnTo>
                    <a:pt x="673" y="707"/>
                  </a:lnTo>
                  <a:lnTo>
                    <a:pt x="680" y="710"/>
                  </a:lnTo>
                  <a:lnTo>
                    <a:pt x="687" y="713"/>
                  </a:lnTo>
                  <a:lnTo>
                    <a:pt x="701" y="719"/>
                  </a:lnTo>
                  <a:lnTo>
                    <a:pt x="716" y="723"/>
                  </a:lnTo>
                  <a:lnTo>
                    <a:pt x="731" y="726"/>
                  </a:lnTo>
                  <a:lnTo>
                    <a:pt x="738" y="727"/>
                  </a:lnTo>
                  <a:lnTo>
                    <a:pt x="746" y="728"/>
                  </a:lnTo>
                  <a:lnTo>
                    <a:pt x="753" y="728"/>
                  </a:lnTo>
                  <a:lnTo>
                    <a:pt x="761" y="728"/>
                  </a:lnTo>
                  <a:lnTo>
                    <a:pt x="770" y="728"/>
                  </a:lnTo>
                  <a:lnTo>
                    <a:pt x="780" y="727"/>
                  </a:lnTo>
                  <a:lnTo>
                    <a:pt x="789" y="726"/>
                  </a:lnTo>
                  <a:lnTo>
                    <a:pt x="797" y="725"/>
                  </a:lnTo>
                  <a:lnTo>
                    <a:pt x="806" y="723"/>
                  </a:lnTo>
                  <a:lnTo>
                    <a:pt x="814" y="721"/>
                  </a:lnTo>
                  <a:lnTo>
                    <a:pt x="822" y="719"/>
                  </a:lnTo>
                  <a:lnTo>
                    <a:pt x="830" y="716"/>
                  </a:lnTo>
                  <a:lnTo>
                    <a:pt x="837" y="713"/>
                  </a:lnTo>
                  <a:lnTo>
                    <a:pt x="844" y="710"/>
                  </a:lnTo>
                  <a:lnTo>
                    <a:pt x="858" y="702"/>
                  </a:lnTo>
                  <a:lnTo>
                    <a:pt x="872" y="693"/>
                  </a:lnTo>
                  <a:lnTo>
                    <a:pt x="885" y="684"/>
                  </a:lnTo>
                  <a:lnTo>
                    <a:pt x="885" y="701"/>
                  </a:lnTo>
                  <a:lnTo>
                    <a:pt x="886" y="704"/>
                  </a:lnTo>
                  <a:lnTo>
                    <a:pt x="887" y="708"/>
                  </a:lnTo>
                  <a:lnTo>
                    <a:pt x="888" y="711"/>
                  </a:lnTo>
                  <a:lnTo>
                    <a:pt x="890" y="713"/>
                  </a:lnTo>
                  <a:lnTo>
                    <a:pt x="893" y="715"/>
                  </a:lnTo>
                  <a:lnTo>
                    <a:pt x="896" y="717"/>
                  </a:lnTo>
                  <a:lnTo>
                    <a:pt x="899" y="718"/>
                  </a:lnTo>
                  <a:lnTo>
                    <a:pt x="903" y="718"/>
                  </a:lnTo>
                  <a:close/>
                  <a:moveTo>
                    <a:pt x="821" y="619"/>
                  </a:moveTo>
                  <a:lnTo>
                    <a:pt x="814" y="618"/>
                  </a:lnTo>
                  <a:lnTo>
                    <a:pt x="807" y="618"/>
                  </a:lnTo>
                  <a:lnTo>
                    <a:pt x="801" y="617"/>
                  </a:lnTo>
                  <a:lnTo>
                    <a:pt x="794" y="615"/>
                  </a:lnTo>
                  <a:lnTo>
                    <a:pt x="789" y="613"/>
                  </a:lnTo>
                  <a:lnTo>
                    <a:pt x="783" y="610"/>
                  </a:lnTo>
                  <a:lnTo>
                    <a:pt x="778" y="607"/>
                  </a:lnTo>
                  <a:lnTo>
                    <a:pt x="774" y="604"/>
                  </a:lnTo>
                  <a:lnTo>
                    <a:pt x="769" y="600"/>
                  </a:lnTo>
                  <a:lnTo>
                    <a:pt x="766" y="596"/>
                  </a:lnTo>
                  <a:lnTo>
                    <a:pt x="762" y="592"/>
                  </a:lnTo>
                  <a:lnTo>
                    <a:pt x="760" y="587"/>
                  </a:lnTo>
                  <a:lnTo>
                    <a:pt x="758" y="581"/>
                  </a:lnTo>
                  <a:lnTo>
                    <a:pt x="757" y="579"/>
                  </a:lnTo>
                  <a:lnTo>
                    <a:pt x="756" y="576"/>
                  </a:lnTo>
                  <a:lnTo>
                    <a:pt x="755" y="570"/>
                  </a:lnTo>
                  <a:lnTo>
                    <a:pt x="755" y="564"/>
                  </a:lnTo>
                  <a:lnTo>
                    <a:pt x="755" y="558"/>
                  </a:lnTo>
                  <a:lnTo>
                    <a:pt x="756" y="552"/>
                  </a:lnTo>
                  <a:lnTo>
                    <a:pt x="758" y="547"/>
                  </a:lnTo>
                  <a:lnTo>
                    <a:pt x="760" y="542"/>
                  </a:lnTo>
                  <a:lnTo>
                    <a:pt x="763" y="537"/>
                  </a:lnTo>
                  <a:lnTo>
                    <a:pt x="766" y="532"/>
                  </a:lnTo>
                  <a:lnTo>
                    <a:pt x="770" y="528"/>
                  </a:lnTo>
                  <a:lnTo>
                    <a:pt x="775" y="524"/>
                  </a:lnTo>
                  <a:lnTo>
                    <a:pt x="780" y="520"/>
                  </a:lnTo>
                  <a:lnTo>
                    <a:pt x="785" y="517"/>
                  </a:lnTo>
                  <a:lnTo>
                    <a:pt x="791" y="515"/>
                  </a:lnTo>
                  <a:lnTo>
                    <a:pt x="798" y="512"/>
                  </a:lnTo>
                  <a:lnTo>
                    <a:pt x="805" y="511"/>
                  </a:lnTo>
                  <a:lnTo>
                    <a:pt x="812" y="509"/>
                  </a:lnTo>
                  <a:lnTo>
                    <a:pt x="820" y="509"/>
                  </a:lnTo>
                  <a:lnTo>
                    <a:pt x="829" y="508"/>
                  </a:lnTo>
                  <a:lnTo>
                    <a:pt x="843" y="509"/>
                  </a:lnTo>
                  <a:lnTo>
                    <a:pt x="857" y="511"/>
                  </a:lnTo>
                  <a:lnTo>
                    <a:pt x="871" y="513"/>
                  </a:lnTo>
                  <a:lnTo>
                    <a:pt x="885" y="517"/>
                  </a:lnTo>
                  <a:lnTo>
                    <a:pt x="885" y="601"/>
                  </a:lnTo>
                  <a:lnTo>
                    <a:pt x="871" y="608"/>
                  </a:lnTo>
                  <a:lnTo>
                    <a:pt x="863" y="611"/>
                  </a:lnTo>
                  <a:lnTo>
                    <a:pt x="856" y="614"/>
                  </a:lnTo>
                  <a:lnTo>
                    <a:pt x="848" y="616"/>
                  </a:lnTo>
                  <a:lnTo>
                    <a:pt x="839" y="617"/>
                  </a:lnTo>
                  <a:lnTo>
                    <a:pt x="830" y="618"/>
                  </a:lnTo>
                  <a:lnTo>
                    <a:pt x="821" y="619"/>
                  </a:lnTo>
                  <a:close/>
                  <a:moveTo>
                    <a:pt x="1573" y="251"/>
                  </a:moveTo>
                  <a:lnTo>
                    <a:pt x="1573" y="247"/>
                  </a:lnTo>
                  <a:lnTo>
                    <a:pt x="1572" y="243"/>
                  </a:lnTo>
                  <a:lnTo>
                    <a:pt x="1570" y="240"/>
                  </a:lnTo>
                  <a:lnTo>
                    <a:pt x="1567" y="238"/>
                  </a:lnTo>
                  <a:lnTo>
                    <a:pt x="1566" y="237"/>
                  </a:lnTo>
                  <a:lnTo>
                    <a:pt x="1565" y="236"/>
                  </a:lnTo>
                  <a:lnTo>
                    <a:pt x="1561" y="236"/>
                  </a:lnTo>
                  <a:lnTo>
                    <a:pt x="1557" y="235"/>
                  </a:lnTo>
                  <a:lnTo>
                    <a:pt x="1553" y="236"/>
                  </a:lnTo>
                  <a:lnTo>
                    <a:pt x="1426" y="255"/>
                  </a:lnTo>
                  <a:lnTo>
                    <a:pt x="1422" y="256"/>
                  </a:lnTo>
                  <a:lnTo>
                    <a:pt x="1418" y="258"/>
                  </a:lnTo>
                  <a:lnTo>
                    <a:pt x="1415" y="260"/>
                  </a:lnTo>
                  <a:lnTo>
                    <a:pt x="1413" y="262"/>
                  </a:lnTo>
                  <a:lnTo>
                    <a:pt x="1411" y="265"/>
                  </a:lnTo>
                  <a:lnTo>
                    <a:pt x="1410" y="269"/>
                  </a:lnTo>
                  <a:lnTo>
                    <a:pt x="1409" y="273"/>
                  </a:lnTo>
                  <a:lnTo>
                    <a:pt x="1409" y="277"/>
                  </a:lnTo>
                  <a:lnTo>
                    <a:pt x="1409" y="567"/>
                  </a:lnTo>
                  <a:lnTo>
                    <a:pt x="1402" y="572"/>
                  </a:lnTo>
                  <a:lnTo>
                    <a:pt x="1395" y="576"/>
                  </a:lnTo>
                  <a:lnTo>
                    <a:pt x="1388" y="579"/>
                  </a:lnTo>
                  <a:lnTo>
                    <a:pt x="1380" y="582"/>
                  </a:lnTo>
                  <a:lnTo>
                    <a:pt x="1372" y="584"/>
                  </a:lnTo>
                  <a:lnTo>
                    <a:pt x="1363" y="586"/>
                  </a:lnTo>
                  <a:lnTo>
                    <a:pt x="1355" y="587"/>
                  </a:lnTo>
                  <a:lnTo>
                    <a:pt x="1347" y="587"/>
                  </a:lnTo>
                  <a:lnTo>
                    <a:pt x="1340" y="587"/>
                  </a:lnTo>
                  <a:lnTo>
                    <a:pt x="1333" y="586"/>
                  </a:lnTo>
                  <a:lnTo>
                    <a:pt x="1326" y="585"/>
                  </a:lnTo>
                  <a:lnTo>
                    <a:pt x="1323" y="584"/>
                  </a:lnTo>
                  <a:lnTo>
                    <a:pt x="1320" y="582"/>
                  </a:lnTo>
                  <a:lnTo>
                    <a:pt x="1314" y="580"/>
                  </a:lnTo>
                  <a:lnTo>
                    <a:pt x="1309" y="576"/>
                  </a:lnTo>
                  <a:lnTo>
                    <a:pt x="1304" y="572"/>
                  </a:lnTo>
                  <a:lnTo>
                    <a:pt x="1300" y="567"/>
                  </a:lnTo>
                  <a:lnTo>
                    <a:pt x="1296" y="561"/>
                  </a:lnTo>
                  <a:lnTo>
                    <a:pt x="1293" y="555"/>
                  </a:lnTo>
                  <a:lnTo>
                    <a:pt x="1291" y="547"/>
                  </a:lnTo>
                  <a:lnTo>
                    <a:pt x="1288" y="539"/>
                  </a:lnTo>
                  <a:lnTo>
                    <a:pt x="1287" y="531"/>
                  </a:lnTo>
                  <a:lnTo>
                    <a:pt x="1285" y="521"/>
                  </a:lnTo>
                  <a:lnTo>
                    <a:pt x="1285" y="511"/>
                  </a:lnTo>
                  <a:lnTo>
                    <a:pt x="1284" y="499"/>
                  </a:lnTo>
                  <a:lnTo>
                    <a:pt x="1284" y="251"/>
                  </a:lnTo>
                  <a:lnTo>
                    <a:pt x="1284" y="247"/>
                  </a:lnTo>
                  <a:lnTo>
                    <a:pt x="1283" y="243"/>
                  </a:lnTo>
                  <a:lnTo>
                    <a:pt x="1281" y="240"/>
                  </a:lnTo>
                  <a:lnTo>
                    <a:pt x="1279" y="238"/>
                  </a:lnTo>
                  <a:lnTo>
                    <a:pt x="1277" y="237"/>
                  </a:lnTo>
                  <a:lnTo>
                    <a:pt x="1276" y="236"/>
                  </a:lnTo>
                  <a:lnTo>
                    <a:pt x="1272" y="236"/>
                  </a:lnTo>
                  <a:lnTo>
                    <a:pt x="1268" y="235"/>
                  </a:lnTo>
                  <a:lnTo>
                    <a:pt x="1264" y="236"/>
                  </a:lnTo>
                  <a:lnTo>
                    <a:pt x="1137" y="255"/>
                  </a:lnTo>
                  <a:lnTo>
                    <a:pt x="1133" y="256"/>
                  </a:lnTo>
                  <a:lnTo>
                    <a:pt x="1130" y="258"/>
                  </a:lnTo>
                  <a:lnTo>
                    <a:pt x="1127" y="260"/>
                  </a:lnTo>
                  <a:lnTo>
                    <a:pt x="1124" y="262"/>
                  </a:lnTo>
                  <a:lnTo>
                    <a:pt x="1122" y="265"/>
                  </a:lnTo>
                  <a:lnTo>
                    <a:pt x="1121" y="269"/>
                  </a:lnTo>
                  <a:lnTo>
                    <a:pt x="1120" y="273"/>
                  </a:lnTo>
                  <a:lnTo>
                    <a:pt x="1120" y="277"/>
                  </a:lnTo>
                  <a:lnTo>
                    <a:pt x="1120" y="539"/>
                  </a:lnTo>
                  <a:lnTo>
                    <a:pt x="1120" y="551"/>
                  </a:lnTo>
                  <a:lnTo>
                    <a:pt x="1121" y="562"/>
                  </a:lnTo>
                  <a:lnTo>
                    <a:pt x="1122" y="574"/>
                  </a:lnTo>
                  <a:lnTo>
                    <a:pt x="1124" y="584"/>
                  </a:lnTo>
                  <a:lnTo>
                    <a:pt x="1126" y="595"/>
                  </a:lnTo>
                  <a:lnTo>
                    <a:pt x="1128" y="605"/>
                  </a:lnTo>
                  <a:lnTo>
                    <a:pt x="1133" y="623"/>
                  </a:lnTo>
                  <a:lnTo>
                    <a:pt x="1137" y="632"/>
                  </a:lnTo>
                  <a:lnTo>
                    <a:pt x="1140" y="641"/>
                  </a:lnTo>
                  <a:lnTo>
                    <a:pt x="1144" y="648"/>
                  </a:lnTo>
                  <a:lnTo>
                    <a:pt x="1149" y="656"/>
                  </a:lnTo>
                  <a:lnTo>
                    <a:pt x="1153" y="663"/>
                  </a:lnTo>
                  <a:lnTo>
                    <a:pt x="1158" y="670"/>
                  </a:lnTo>
                  <a:lnTo>
                    <a:pt x="1163" y="676"/>
                  </a:lnTo>
                  <a:lnTo>
                    <a:pt x="1169" y="682"/>
                  </a:lnTo>
                  <a:lnTo>
                    <a:pt x="1174" y="688"/>
                  </a:lnTo>
                  <a:lnTo>
                    <a:pt x="1180" y="693"/>
                  </a:lnTo>
                  <a:lnTo>
                    <a:pt x="1186" y="698"/>
                  </a:lnTo>
                  <a:lnTo>
                    <a:pt x="1192" y="703"/>
                  </a:lnTo>
                  <a:lnTo>
                    <a:pt x="1199" y="707"/>
                  </a:lnTo>
                  <a:lnTo>
                    <a:pt x="1206" y="711"/>
                  </a:lnTo>
                  <a:lnTo>
                    <a:pt x="1212" y="714"/>
                  </a:lnTo>
                  <a:lnTo>
                    <a:pt x="1219" y="717"/>
                  </a:lnTo>
                  <a:lnTo>
                    <a:pt x="1226" y="720"/>
                  </a:lnTo>
                  <a:lnTo>
                    <a:pt x="1234" y="722"/>
                  </a:lnTo>
                  <a:lnTo>
                    <a:pt x="1241" y="724"/>
                  </a:lnTo>
                  <a:lnTo>
                    <a:pt x="1249" y="725"/>
                  </a:lnTo>
                  <a:lnTo>
                    <a:pt x="1256" y="727"/>
                  </a:lnTo>
                  <a:lnTo>
                    <a:pt x="1264" y="727"/>
                  </a:lnTo>
                  <a:lnTo>
                    <a:pt x="1279" y="728"/>
                  </a:lnTo>
                  <a:lnTo>
                    <a:pt x="1289" y="728"/>
                  </a:lnTo>
                  <a:lnTo>
                    <a:pt x="1299" y="727"/>
                  </a:lnTo>
                  <a:lnTo>
                    <a:pt x="1309" y="726"/>
                  </a:lnTo>
                  <a:lnTo>
                    <a:pt x="1318" y="724"/>
                  </a:lnTo>
                  <a:lnTo>
                    <a:pt x="1327" y="722"/>
                  </a:lnTo>
                  <a:lnTo>
                    <a:pt x="1336" y="720"/>
                  </a:lnTo>
                  <a:lnTo>
                    <a:pt x="1345" y="717"/>
                  </a:lnTo>
                  <a:lnTo>
                    <a:pt x="1353" y="714"/>
                  </a:lnTo>
                  <a:lnTo>
                    <a:pt x="1361" y="710"/>
                  </a:lnTo>
                  <a:lnTo>
                    <a:pt x="1369" y="706"/>
                  </a:lnTo>
                  <a:lnTo>
                    <a:pt x="1376" y="702"/>
                  </a:lnTo>
                  <a:lnTo>
                    <a:pt x="1383" y="697"/>
                  </a:lnTo>
                  <a:lnTo>
                    <a:pt x="1390" y="692"/>
                  </a:lnTo>
                  <a:lnTo>
                    <a:pt x="1397" y="687"/>
                  </a:lnTo>
                  <a:lnTo>
                    <a:pt x="1403" y="681"/>
                  </a:lnTo>
                  <a:lnTo>
                    <a:pt x="1409" y="675"/>
                  </a:lnTo>
                  <a:lnTo>
                    <a:pt x="1409" y="701"/>
                  </a:lnTo>
                  <a:lnTo>
                    <a:pt x="1409" y="704"/>
                  </a:lnTo>
                  <a:lnTo>
                    <a:pt x="1410" y="708"/>
                  </a:lnTo>
                  <a:lnTo>
                    <a:pt x="1412" y="711"/>
                  </a:lnTo>
                  <a:lnTo>
                    <a:pt x="1414" y="713"/>
                  </a:lnTo>
                  <a:lnTo>
                    <a:pt x="1416" y="715"/>
                  </a:lnTo>
                  <a:lnTo>
                    <a:pt x="1419" y="717"/>
                  </a:lnTo>
                  <a:lnTo>
                    <a:pt x="1423" y="718"/>
                  </a:lnTo>
                  <a:lnTo>
                    <a:pt x="1426" y="718"/>
                  </a:lnTo>
                  <a:lnTo>
                    <a:pt x="1556" y="718"/>
                  </a:lnTo>
                  <a:lnTo>
                    <a:pt x="1559" y="718"/>
                  </a:lnTo>
                  <a:lnTo>
                    <a:pt x="1563" y="717"/>
                  </a:lnTo>
                  <a:lnTo>
                    <a:pt x="1566" y="715"/>
                  </a:lnTo>
                  <a:lnTo>
                    <a:pt x="1568" y="713"/>
                  </a:lnTo>
                  <a:lnTo>
                    <a:pt x="1570" y="711"/>
                  </a:lnTo>
                  <a:lnTo>
                    <a:pt x="1572" y="708"/>
                  </a:lnTo>
                  <a:lnTo>
                    <a:pt x="1573" y="704"/>
                  </a:lnTo>
                  <a:lnTo>
                    <a:pt x="1573" y="701"/>
                  </a:lnTo>
                  <a:lnTo>
                    <a:pt x="1573" y="251"/>
                  </a:lnTo>
                  <a:close/>
                  <a:moveTo>
                    <a:pt x="1946" y="376"/>
                  </a:moveTo>
                  <a:lnTo>
                    <a:pt x="1951" y="375"/>
                  </a:lnTo>
                  <a:lnTo>
                    <a:pt x="1956" y="375"/>
                  </a:lnTo>
                  <a:lnTo>
                    <a:pt x="1959" y="374"/>
                  </a:lnTo>
                  <a:lnTo>
                    <a:pt x="1962" y="372"/>
                  </a:lnTo>
                  <a:lnTo>
                    <a:pt x="1965" y="369"/>
                  </a:lnTo>
                  <a:lnTo>
                    <a:pt x="1967" y="366"/>
                  </a:lnTo>
                  <a:lnTo>
                    <a:pt x="1969" y="361"/>
                  </a:lnTo>
                  <a:lnTo>
                    <a:pt x="1971" y="356"/>
                  </a:lnTo>
                  <a:lnTo>
                    <a:pt x="1995" y="265"/>
                  </a:lnTo>
                  <a:lnTo>
                    <a:pt x="1996" y="261"/>
                  </a:lnTo>
                  <a:lnTo>
                    <a:pt x="1996" y="257"/>
                  </a:lnTo>
                  <a:lnTo>
                    <a:pt x="1995" y="255"/>
                  </a:lnTo>
                  <a:lnTo>
                    <a:pt x="1995" y="253"/>
                  </a:lnTo>
                  <a:lnTo>
                    <a:pt x="1994" y="250"/>
                  </a:lnTo>
                  <a:lnTo>
                    <a:pt x="1993" y="249"/>
                  </a:lnTo>
                  <a:lnTo>
                    <a:pt x="1991" y="248"/>
                  </a:lnTo>
                  <a:lnTo>
                    <a:pt x="1989" y="246"/>
                  </a:lnTo>
                  <a:lnTo>
                    <a:pt x="1985" y="245"/>
                  </a:lnTo>
                  <a:lnTo>
                    <a:pt x="1981" y="245"/>
                  </a:lnTo>
                  <a:lnTo>
                    <a:pt x="1879" y="245"/>
                  </a:lnTo>
                  <a:lnTo>
                    <a:pt x="1879" y="83"/>
                  </a:lnTo>
                  <a:lnTo>
                    <a:pt x="1879" y="79"/>
                  </a:lnTo>
                  <a:lnTo>
                    <a:pt x="1878" y="76"/>
                  </a:lnTo>
                  <a:lnTo>
                    <a:pt x="1877" y="73"/>
                  </a:lnTo>
                  <a:lnTo>
                    <a:pt x="1875" y="70"/>
                  </a:lnTo>
                  <a:lnTo>
                    <a:pt x="1873" y="69"/>
                  </a:lnTo>
                  <a:lnTo>
                    <a:pt x="1871" y="68"/>
                  </a:lnTo>
                  <a:lnTo>
                    <a:pt x="1868" y="67"/>
                  </a:lnTo>
                  <a:lnTo>
                    <a:pt x="1865" y="67"/>
                  </a:lnTo>
                  <a:lnTo>
                    <a:pt x="1859" y="67"/>
                  </a:lnTo>
                  <a:lnTo>
                    <a:pt x="1853" y="70"/>
                  </a:lnTo>
                  <a:lnTo>
                    <a:pt x="1729" y="139"/>
                  </a:lnTo>
                  <a:lnTo>
                    <a:pt x="1726" y="141"/>
                  </a:lnTo>
                  <a:lnTo>
                    <a:pt x="1723" y="143"/>
                  </a:lnTo>
                  <a:lnTo>
                    <a:pt x="1721" y="146"/>
                  </a:lnTo>
                  <a:lnTo>
                    <a:pt x="1718" y="149"/>
                  </a:lnTo>
                  <a:lnTo>
                    <a:pt x="1717" y="153"/>
                  </a:lnTo>
                  <a:lnTo>
                    <a:pt x="1715" y="156"/>
                  </a:lnTo>
                  <a:lnTo>
                    <a:pt x="1715" y="160"/>
                  </a:lnTo>
                  <a:lnTo>
                    <a:pt x="1714" y="164"/>
                  </a:lnTo>
                  <a:lnTo>
                    <a:pt x="1714" y="245"/>
                  </a:lnTo>
                  <a:lnTo>
                    <a:pt x="1656" y="245"/>
                  </a:lnTo>
                  <a:lnTo>
                    <a:pt x="1652" y="245"/>
                  </a:lnTo>
                  <a:lnTo>
                    <a:pt x="1649" y="246"/>
                  </a:lnTo>
                  <a:lnTo>
                    <a:pt x="1646" y="248"/>
                  </a:lnTo>
                  <a:lnTo>
                    <a:pt x="1643" y="250"/>
                  </a:lnTo>
                  <a:lnTo>
                    <a:pt x="1641" y="252"/>
                  </a:lnTo>
                  <a:lnTo>
                    <a:pt x="1640" y="255"/>
                  </a:lnTo>
                  <a:lnTo>
                    <a:pt x="1639" y="258"/>
                  </a:lnTo>
                  <a:lnTo>
                    <a:pt x="1638" y="262"/>
                  </a:lnTo>
                  <a:lnTo>
                    <a:pt x="1638" y="357"/>
                  </a:lnTo>
                  <a:lnTo>
                    <a:pt x="1639" y="361"/>
                  </a:lnTo>
                  <a:lnTo>
                    <a:pt x="1640" y="365"/>
                  </a:lnTo>
                  <a:lnTo>
                    <a:pt x="1641" y="368"/>
                  </a:lnTo>
                  <a:lnTo>
                    <a:pt x="1643" y="371"/>
                  </a:lnTo>
                  <a:lnTo>
                    <a:pt x="1646" y="373"/>
                  </a:lnTo>
                  <a:lnTo>
                    <a:pt x="1649" y="374"/>
                  </a:lnTo>
                  <a:lnTo>
                    <a:pt x="1652" y="375"/>
                  </a:lnTo>
                  <a:lnTo>
                    <a:pt x="1656" y="376"/>
                  </a:lnTo>
                  <a:lnTo>
                    <a:pt x="1714" y="376"/>
                  </a:lnTo>
                  <a:lnTo>
                    <a:pt x="1714" y="569"/>
                  </a:lnTo>
                  <a:lnTo>
                    <a:pt x="1715" y="588"/>
                  </a:lnTo>
                  <a:lnTo>
                    <a:pt x="1717" y="606"/>
                  </a:lnTo>
                  <a:lnTo>
                    <a:pt x="1718" y="614"/>
                  </a:lnTo>
                  <a:lnTo>
                    <a:pt x="1720" y="622"/>
                  </a:lnTo>
                  <a:lnTo>
                    <a:pt x="1722" y="630"/>
                  </a:lnTo>
                  <a:lnTo>
                    <a:pt x="1724" y="638"/>
                  </a:lnTo>
                  <a:lnTo>
                    <a:pt x="1726" y="645"/>
                  </a:lnTo>
                  <a:lnTo>
                    <a:pt x="1729" y="652"/>
                  </a:lnTo>
                  <a:lnTo>
                    <a:pt x="1732" y="658"/>
                  </a:lnTo>
                  <a:lnTo>
                    <a:pt x="1736" y="665"/>
                  </a:lnTo>
                  <a:lnTo>
                    <a:pt x="1740" y="671"/>
                  </a:lnTo>
                  <a:lnTo>
                    <a:pt x="1744" y="677"/>
                  </a:lnTo>
                  <a:lnTo>
                    <a:pt x="1753" y="687"/>
                  </a:lnTo>
                  <a:lnTo>
                    <a:pt x="1758" y="692"/>
                  </a:lnTo>
                  <a:lnTo>
                    <a:pt x="1764" y="697"/>
                  </a:lnTo>
                  <a:lnTo>
                    <a:pt x="1770" y="701"/>
                  </a:lnTo>
                  <a:lnTo>
                    <a:pt x="1776" y="705"/>
                  </a:lnTo>
                  <a:lnTo>
                    <a:pt x="1782" y="709"/>
                  </a:lnTo>
                  <a:lnTo>
                    <a:pt x="1789" y="712"/>
                  </a:lnTo>
                  <a:lnTo>
                    <a:pt x="1796" y="715"/>
                  </a:lnTo>
                  <a:lnTo>
                    <a:pt x="1804" y="718"/>
                  </a:lnTo>
                  <a:lnTo>
                    <a:pt x="1812" y="720"/>
                  </a:lnTo>
                  <a:lnTo>
                    <a:pt x="1820" y="722"/>
                  </a:lnTo>
                  <a:lnTo>
                    <a:pt x="1838" y="726"/>
                  </a:lnTo>
                  <a:lnTo>
                    <a:pt x="1857" y="727"/>
                  </a:lnTo>
                  <a:lnTo>
                    <a:pt x="1867" y="728"/>
                  </a:lnTo>
                  <a:lnTo>
                    <a:pt x="1877" y="728"/>
                  </a:lnTo>
                  <a:lnTo>
                    <a:pt x="1892" y="728"/>
                  </a:lnTo>
                  <a:lnTo>
                    <a:pt x="1907" y="726"/>
                  </a:lnTo>
                  <a:lnTo>
                    <a:pt x="1915" y="725"/>
                  </a:lnTo>
                  <a:lnTo>
                    <a:pt x="1922" y="724"/>
                  </a:lnTo>
                  <a:lnTo>
                    <a:pt x="1936" y="721"/>
                  </a:lnTo>
                  <a:lnTo>
                    <a:pt x="1949" y="718"/>
                  </a:lnTo>
                  <a:lnTo>
                    <a:pt x="1961" y="714"/>
                  </a:lnTo>
                  <a:lnTo>
                    <a:pt x="1972" y="711"/>
                  </a:lnTo>
                  <a:lnTo>
                    <a:pt x="1980" y="707"/>
                  </a:lnTo>
                  <a:lnTo>
                    <a:pt x="1984" y="704"/>
                  </a:lnTo>
                  <a:lnTo>
                    <a:pt x="1987" y="701"/>
                  </a:lnTo>
                  <a:lnTo>
                    <a:pt x="1989" y="698"/>
                  </a:lnTo>
                  <a:lnTo>
                    <a:pt x="1990" y="695"/>
                  </a:lnTo>
                  <a:lnTo>
                    <a:pt x="1990" y="692"/>
                  </a:lnTo>
                  <a:lnTo>
                    <a:pt x="1990" y="689"/>
                  </a:lnTo>
                  <a:lnTo>
                    <a:pt x="1989" y="683"/>
                  </a:lnTo>
                  <a:lnTo>
                    <a:pt x="1967" y="593"/>
                  </a:lnTo>
                  <a:lnTo>
                    <a:pt x="1965" y="590"/>
                  </a:lnTo>
                  <a:lnTo>
                    <a:pt x="1964" y="587"/>
                  </a:lnTo>
                  <a:lnTo>
                    <a:pt x="1962" y="585"/>
                  </a:lnTo>
                  <a:lnTo>
                    <a:pt x="1960" y="584"/>
                  </a:lnTo>
                  <a:lnTo>
                    <a:pt x="1957" y="583"/>
                  </a:lnTo>
                  <a:lnTo>
                    <a:pt x="1954" y="583"/>
                  </a:lnTo>
                  <a:lnTo>
                    <a:pt x="1947" y="583"/>
                  </a:lnTo>
                  <a:lnTo>
                    <a:pt x="1934" y="586"/>
                  </a:lnTo>
                  <a:lnTo>
                    <a:pt x="1925" y="588"/>
                  </a:lnTo>
                  <a:lnTo>
                    <a:pt x="1917" y="588"/>
                  </a:lnTo>
                  <a:lnTo>
                    <a:pt x="1909" y="588"/>
                  </a:lnTo>
                  <a:lnTo>
                    <a:pt x="1905" y="587"/>
                  </a:lnTo>
                  <a:lnTo>
                    <a:pt x="1901" y="586"/>
                  </a:lnTo>
                  <a:lnTo>
                    <a:pt x="1898" y="584"/>
                  </a:lnTo>
                  <a:lnTo>
                    <a:pt x="1895" y="583"/>
                  </a:lnTo>
                  <a:lnTo>
                    <a:pt x="1892" y="581"/>
                  </a:lnTo>
                  <a:lnTo>
                    <a:pt x="1889" y="578"/>
                  </a:lnTo>
                  <a:lnTo>
                    <a:pt x="1885" y="572"/>
                  </a:lnTo>
                  <a:lnTo>
                    <a:pt x="1882" y="565"/>
                  </a:lnTo>
                  <a:lnTo>
                    <a:pt x="1880" y="557"/>
                  </a:lnTo>
                  <a:lnTo>
                    <a:pt x="1880" y="552"/>
                  </a:lnTo>
                  <a:lnTo>
                    <a:pt x="1879" y="547"/>
                  </a:lnTo>
                  <a:lnTo>
                    <a:pt x="1879" y="376"/>
                  </a:lnTo>
                  <a:lnTo>
                    <a:pt x="1946" y="376"/>
                  </a:lnTo>
                  <a:close/>
                  <a:moveTo>
                    <a:pt x="2345" y="718"/>
                  </a:moveTo>
                  <a:lnTo>
                    <a:pt x="2463" y="718"/>
                  </a:lnTo>
                  <a:lnTo>
                    <a:pt x="2467" y="718"/>
                  </a:lnTo>
                  <a:lnTo>
                    <a:pt x="2470" y="717"/>
                  </a:lnTo>
                  <a:lnTo>
                    <a:pt x="2473" y="715"/>
                  </a:lnTo>
                  <a:lnTo>
                    <a:pt x="2475" y="713"/>
                  </a:lnTo>
                  <a:lnTo>
                    <a:pt x="2477" y="711"/>
                  </a:lnTo>
                  <a:lnTo>
                    <a:pt x="2479" y="708"/>
                  </a:lnTo>
                  <a:lnTo>
                    <a:pt x="2480" y="704"/>
                  </a:lnTo>
                  <a:lnTo>
                    <a:pt x="2480" y="701"/>
                  </a:lnTo>
                  <a:lnTo>
                    <a:pt x="2480" y="450"/>
                  </a:lnTo>
                  <a:lnTo>
                    <a:pt x="2480" y="435"/>
                  </a:lnTo>
                  <a:lnTo>
                    <a:pt x="2479" y="420"/>
                  </a:lnTo>
                  <a:lnTo>
                    <a:pt x="2478" y="407"/>
                  </a:lnTo>
                  <a:lnTo>
                    <a:pt x="2477" y="394"/>
                  </a:lnTo>
                  <a:lnTo>
                    <a:pt x="2475" y="381"/>
                  </a:lnTo>
                  <a:lnTo>
                    <a:pt x="2473" y="370"/>
                  </a:lnTo>
                  <a:lnTo>
                    <a:pt x="2470" y="357"/>
                  </a:lnTo>
                  <a:lnTo>
                    <a:pt x="2467" y="347"/>
                  </a:lnTo>
                  <a:lnTo>
                    <a:pt x="2463" y="337"/>
                  </a:lnTo>
                  <a:lnTo>
                    <a:pt x="2459" y="327"/>
                  </a:lnTo>
                  <a:lnTo>
                    <a:pt x="2455" y="318"/>
                  </a:lnTo>
                  <a:lnTo>
                    <a:pt x="2450" y="310"/>
                  </a:lnTo>
                  <a:lnTo>
                    <a:pt x="2445" y="302"/>
                  </a:lnTo>
                  <a:lnTo>
                    <a:pt x="2439" y="294"/>
                  </a:lnTo>
                  <a:lnTo>
                    <a:pt x="2433" y="287"/>
                  </a:lnTo>
                  <a:lnTo>
                    <a:pt x="2426" y="281"/>
                  </a:lnTo>
                  <a:lnTo>
                    <a:pt x="2419" y="275"/>
                  </a:lnTo>
                  <a:lnTo>
                    <a:pt x="2412" y="269"/>
                  </a:lnTo>
                  <a:lnTo>
                    <a:pt x="2404" y="264"/>
                  </a:lnTo>
                  <a:lnTo>
                    <a:pt x="2396" y="260"/>
                  </a:lnTo>
                  <a:lnTo>
                    <a:pt x="2387" y="255"/>
                  </a:lnTo>
                  <a:lnTo>
                    <a:pt x="2378" y="252"/>
                  </a:lnTo>
                  <a:lnTo>
                    <a:pt x="2368" y="248"/>
                  </a:lnTo>
                  <a:lnTo>
                    <a:pt x="2358" y="245"/>
                  </a:lnTo>
                  <a:lnTo>
                    <a:pt x="2347" y="243"/>
                  </a:lnTo>
                  <a:lnTo>
                    <a:pt x="2336" y="241"/>
                  </a:lnTo>
                  <a:lnTo>
                    <a:pt x="2325" y="239"/>
                  </a:lnTo>
                  <a:lnTo>
                    <a:pt x="2313" y="237"/>
                  </a:lnTo>
                  <a:lnTo>
                    <a:pt x="2288" y="235"/>
                  </a:lnTo>
                  <a:lnTo>
                    <a:pt x="2275" y="235"/>
                  </a:lnTo>
                  <a:lnTo>
                    <a:pt x="2261" y="235"/>
                  </a:lnTo>
                  <a:lnTo>
                    <a:pt x="2237" y="235"/>
                  </a:lnTo>
                  <a:lnTo>
                    <a:pt x="2212" y="238"/>
                  </a:lnTo>
                  <a:lnTo>
                    <a:pt x="2188" y="241"/>
                  </a:lnTo>
                  <a:lnTo>
                    <a:pt x="2164" y="245"/>
                  </a:lnTo>
                  <a:lnTo>
                    <a:pt x="2141" y="250"/>
                  </a:lnTo>
                  <a:lnTo>
                    <a:pt x="2121" y="255"/>
                  </a:lnTo>
                  <a:lnTo>
                    <a:pt x="2104" y="260"/>
                  </a:lnTo>
                  <a:lnTo>
                    <a:pt x="2096" y="263"/>
                  </a:lnTo>
                  <a:lnTo>
                    <a:pt x="2090" y="266"/>
                  </a:lnTo>
                  <a:lnTo>
                    <a:pt x="2086" y="269"/>
                  </a:lnTo>
                  <a:lnTo>
                    <a:pt x="2083" y="271"/>
                  </a:lnTo>
                  <a:lnTo>
                    <a:pt x="2080" y="274"/>
                  </a:lnTo>
                  <a:lnTo>
                    <a:pt x="2079" y="277"/>
                  </a:lnTo>
                  <a:lnTo>
                    <a:pt x="2079" y="280"/>
                  </a:lnTo>
                  <a:lnTo>
                    <a:pt x="2079" y="284"/>
                  </a:lnTo>
                  <a:lnTo>
                    <a:pt x="2080" y="288"/>
                  </a:lnTo>
                  <a:lnTo>
                    <a:pt x="2081" y="292"/>
                  </a:lnTo>
                  <a:lnTo>
                    <a:pt x="2109" y="374"/>
                  </a:lnTo>
                  <a:lnTo>
                    <a:pt x="2111" y="377"/>
                  </a:lnTo>
                  <a:lnTo>
                    <a:pt x="2113" y="380"/>
                  </a:lnTo>
                  <a:lnTo>
                    <a:pt x="2116" y="382"/>
                  </a:lnTo>
                  <a:lnTo>
                    <a:pt x="2118" y="384"/>
                  </a:lnTo>
                  <a:lnTo>
                    <a:pt x="2122" y="384"/>
                  </a:lnTo>
                  <a:lnTo>
                    <a:pt x="2125" y="385"/>
                  </a:lnTo>
                  <a:lnTo>
                    <a:pt x="2129" y="384"/>
                  </a:lnTo>
                  <a:lnTo>
                    <a:pt x="2133" y="383"/>
                  </a:lnTo>
                  <a:lnTo>
                    <a:pt x="2148" y="377"/>
                  </a:lnTo>
                  <a:lnTo>
                    <a:pt x="2163" y="373"/>
                  </a:lnTo>
                  <a:lnTo>
                    <a:pt x="2177" y="369"/>
                  </a:lnTo>
                  <a:lnTo>
                    <a:pt x="2191" y="365"/>
                  </a:lnTo>
                  <a:lnTo>
                    <a:pt x="2205" y="362"/>
                  </a:lnTo>
                  <a:lnTo>
                    <a:pt x="2218" y="360"/>
                  </a:lnTo>
                  <a:lnTo>
                    <a:pt x="2232" y="359"/>
                  </a:lnTo>
                  <a:lnTo>
                    <a:pt x="2245" y="358"/>
                  </a:lnTo>
                  <a:lnTo>
                    <a:pt x="2256" y="359"/>
                  </a:lnTo>
                  <a:lnTo>
                    <a:pt x="2266" y="359"/>
                  </a:lnTo>
                  <a:lnTo>
                    <a:pt x="2276" y="360"/>
                  </a:lnTo>
                  <a:lnTo>
                    <a:pt x="2284" y="362"/>
                  </a:lnTo>
                  <a:lnTo>
                    <a:pt x="2288" y="364"/>
                  </a:lnTo>
                  <a:lnTo>
                    <a:pt x="2292" y="365"/>
                  </a:lnTo>
                  <a:lnTo>
                    <a:pt x="2299" y="368"/>
                  </a:lnTo>
                  <a:lnTo>
                    <a:pt x="2305" y="371"/>
                  </a:lnTo>
                  <a:lnTo>
                    <a:pt x="2310" y="375"/>
                  </a:lnTo>
                  <a:lnTo>
                    <a:pt x="2312" y="377"/>
                  </a:lnTo>
                  <a:lnTo>
                    <a:pt x="2314" y="379"/>
                  </a:lnTo>
                  <a:lnTo>
                    <a:pt x="2316" y="382"/>
                  </a:lnTo>
                  <a:lnTo>
                    <a:pt x="2318" y="384"/>
                  </a:lnTo>
                  <a:lnTo>
                    <a:pt x="2321" y="390"/>
                  </a:lnTo>
                  <a:lnTo>
                    <a:pt x="2324" y="397"/>
                  </a:lnTo>
                  <a:lnTo>
                    <a:pt x="2326" y="404"/>
                  </a:lnTo>
                  <a:lnTo>
                    <a:pt x="2327" y="411"/>
                  </a:lnTo>
                  <a:lnTo>
                    <a:pt x="2328" y="420"/>
                  </a:lnTo>
                  <a:lnTo>
                    <a:pt x="2328" y="429"/>
                  </a:lnTo>
                  <a:lnTo>
                    <a:pt x="2328" y="431"/>
                  </a:lnTo>
                  <a:lnTo>
                    <a:pt x="2307" y="425"/>
                  </a:lnTo>
                  <a:lnTo>
                    <a:pt x="2296" y="422"/>
                  </a:lnTo>
                  <a:lnTo>
                    <a:pt x="2284" y="420"/>
                  </a:lnTo>
                  <a:lnTo>
                    <a:pt x="2272" y="418"/>
                  </a:lnTo>
                  <a:lnTo>
                    <a:pt x="2260" y="417"/>
                  </a:lnTo>
                  <a:lnTo>
                    <a:pt x="2247" y="416"/>
                  </a:lnTo>
                  <a:lnTo>
                    <a:pt x="2234" y="416"/>
                  </a:lnTo>
                  <a:lnTo>
                    <a:pt x="2214" y="417"/>
                  </a:lnTo>
                  <a:lnTo>
                    <a:pt x="2204" y="418"/>
                  </a:lnTo>
                  <a:lnTo>
                    <a:pt x="2195" y="419"/>
                  </a:lnTo>
                  <a:lnTo>
                    <a:pt x="2185" y="420"/>
                  </a:lnTo>
                  <a:lnTo>
                    <a:pt x="2176" y="422"/>
                  </a:lnTo>
                  <a:lnTo>
                    <a:pt x="2167" y="424"/>
                  </a:lnTo>
                  <a:lnTo>
                    <a:pt x="2158" y="426"/>
                  </a:lnTo>
                  <a:lnTo>
                    <a:pt x="2141" y="432"/>
                  </a:lnTo>
                  <a:lnTo>
                    <a:pt x="2124" y="439"/>
                  </a:lnTo>
                  <a:lnTo>
                    <a:pt x="2117" y="443"/>
                  </a:lnTo>
                  <a:lnTo>
                    <a:pt x="2109" y="448"/>
                  </a:lnTo>
                  <a:lnTo>
                    <a:pt x="2102" y="452"/>
                  </a:lnTo>
                  <a:lnTo>
                    <a:pt x="2095" y="457"/>
                  </a:lnTo>
                  <a:lnTo>
                    <a:pt x="2088" y="462"/>
                  </a:lnTo>
                  <a:lnTo>
                    <a:pt x="2082" y="468"/>
                  </a:lnTo>
                  <a:lnTo>
                    <a:pt x="2076" y="474"/>
                  </a:lnTo>
                  <a:lnTo>
                    <a:pt x="2071" y="480"/>
                  </a:lnTo>
                  <a:lnTo>
                    <a:pt x="2065" y="486"/>
                  </a:lnTo>
                  <a:lnTo>
                    <a:pt x="2061" y="493"/>
                  </a:lnTo>
                  <a:lnTo>
                    <a:pt x="2056" y="500"/>
                  </a:lnTo>
                  <a:lnTo>
                    <a:pt x="2052" y="508"/>
                  </a:lnTo>
                  <a:lnTo>
                    <a:pt x="2049" y="515"/>
                  </a:lnTo>
                  <a:lnTo>
                    <a:pt x="2045" y="523"/>
                  </a:lnTo>
                  <a:lnTo>
                    <a:pt x="2043" y="531"/>
                  </a:lnTo>
                  <a:lnTo>
                    <a:pt x="2041" y="540"/>
                  </a:lnTo>
                  <a:lnTo>
                    <a:pt x="2039" y="549"/>
                  </a:lnTo>
                  <a:lnTo>
                    <a:pt x="2038" y="558"/>
                  </a:lnTo>
                  <a:lnTo>
                    <a:pt x="2037" y="567"/>
                  </a:lnTo>
                  <a:lnTo>
                    <a:pt x="2036" y="577"/>
                  </a:lnTo>
                  <a:lnTo>
                    <a:pt x="2037" y="586"/>
                  </a:lnTo>
                  <a:lnTo>
                    <a:pt x="2037" y="595"/>
                  </a:lnTo>
                  <a:lnTo>
                    <a:pt x="2039" y="604"/>
                  </a:lnTo>
                  <a:lnTo>
                    <a:pt x="2040" y="612"/>
                  </a:lnTo>
                  <a:lnTo>
                    <a:pt x="2041" y="616"/>
                  </a:lnTo>
                  <a:lnTo>
                    <a:pt x="2043" y="620"/>
                  </a:lnTo>
                  <a:lnTo>
                    <a:pt x="2045" y="628"/>
                  </a:lnTo>
                  <a:lnTo>
                    <a:pt x="2048" y="635"/>
                  </a:lnTo>
                  <a:lnTo>
                    <a:pt x="2051" y="643"/>
                  </a:lnTo>
                  <a:lnTo>
                    <a:pt x="2055" y="650"/>
                  </a:lnTo>
                  <a:lnTo>
                    <a:pt x="2059" y="656"/>
                  </a:lnTo>
                  <a:lnTo>
                    <a:pt x="2064" y="663"/>
                  </a:lnTo>
                  <a:lnTo>
                    <a:pt x="2069" y="669"/>
                  </a:lnTo>
                  <a:lnTo>
                    <a:pt x="2074" y="674"/>
                  </a:lnTo>
                  <a:lnTo>
                    <a:pt x="2079" y="680"/>
                  </a:lnTo>
                  <a:lnTo>
                    <a:pt x="2085" y="685"/>
                  </a:lnTo>
                  <a:lnTo>
                    <a:pt x="2090" y="690"/>
                  </a:lnTo>
                  <a:lnTo>
                    <a:pt x="2097" y="694"/>
                  </a:lnTo>
                  <a:lnTo>
                    <a:pt x="2103" y="699"/>
                  </a:lnTo>
                  <a:lnTo>
                    <a:pt x="2116" y="707"/>
                  </a:lnTo>
                  <a:lnTo>
                    <a:pt x="2123" y="710"/>
                  </a:lnTo>
                  <a:lnTo>
                    <a:pt x="2130" y="713"/>
                  </a:lnTo>
                  <a:lnTo>
                    <a:pt x="2144" y="719"/>
                  </a:lnTo>
                  <a:lnTo>
                    <a:pt x="2159" y="723"/>
                  </a:lnTo>
                  <a:lnTo>
                    <a:pt x="2174" y="726"/>
                  </a:lnTo>
                  <a:lnTo>
                    <a:pt x="2181" y="727"/>
                  </a:lnTo>
                  <a:lnTo>
                    <a:pt x="2189" y="728"/>
                  </a:lnTo>
                  <a:lnTo>
                    <a:pt x="2196" y="728"/>
                  </a:lnTo>
                  <a:lnTo>
                    <a:pt x="2204" y="728"/>
                  </a:lnTo>
                  <a:lnTo>
                    <a:pt x="2213" y="728"/>
                  </a:lnTo>
                  <a:lnTo>
                    <a:pt x="2223" y="727"/>
                  </a:lnTo>
                  <a:lnTo>
                    <a:pt x="2232" y="726"/>
                  </a:lnTo>
                  <a:lnTo>
                    <a:pt x="2240" y="725"/>
                  </a:lnTo>
                  <a:lnTo>
                    <a:pt x="2249" y="723"/>
                  </a:lnTo>
                  <a:lnTo>
                    <a:pt x="2257" y="721"/>
                  </a:lnTo>
                  <a:lnTo>
                    <a:pt x="2265" y="719"/>
                  </a:lnTo>
                  <a:lnTo>
                    <a:pt x="2272" y="716"/>
                  </a:lnTo>
                  <a:lnTo>
                    <a:pt x="2280" y="713"/>
                  </a:lnTo>
                  <a:lnTo>
                    <a:pt x="2287" y="710"/>
                  </a:lnTo>
                  <a:lnTo>
                    <a:pt x="2301" y="702"/>
                  </a:lnTo>
                  <a:lnTo>
                    <a:pt x="2315" y="693"/>
                  </a:lnTo>
                  <a:lnTo>
                    <a:pt x="2328" y="684"/>
                  </a:lnTo>
                  <a:lnTo>
                    <a:pt x="2328" y="701"/>
                  </a:lnTo>
                  <a:lnTo>
                    <a:pt x="2329" y="704"/>
                  </a:lnTo>
                  <a:lnTo>
                    <a:pt x="2330" y="708"/>
                  </a:lnTo>
                  <a:lnTo>
                    <a:pt x="2331" y="711"/>
                  </a:lnTo>
                  <a:lnTo>
                    <a:pt x="2333" y="713"/>
                  </a:lnTo>
                  <a:lnTo>
                    <a:pt x="2336" y="715"/>
                  </a:lnTo>
                  <a:lnTo>
                    <a:pt x="2339" y="717"/>
                  </a:lnTo>
                  <a:lnTo>
                    <a:pt x="2342" y="718"/>
                  </a:lnTo>
                  <a:lnTo>
                    <a:pt x="2345" y="718"/>
                  </a:lnTo>
                  <a:close/>
                  <a:moveTo>
                    <a:pt x="2263" y="619"/>
                  </a:moveTo>
                  <a:lnTo>
                    <a:pt x="2256" y="618"/>
                  </a:lnTo>
                  <a:lnTo>
                    <a:pt x="2250" y="618"/>
                  </a:lnTo>
                  <a:lnTo>
                    <a:pt x="2243" y="617"/>
                  </a:lnTo>
                  <a:lnTo>
                    <a:pt x="2237" y="615"/>
                  </a:lnTo>
                  <a:lnTo>
                    <a:pt x="2232" y="613"/>
                  </a:lnTo>
                  <a:lnTo>
                    <a:pt x="2226" y="610"/>
                  </a:lnTo>
                  <a:lnTo>
                    <a:pt x="2221" y="607"/>
                  </a:lnTo>
                  <a:lnTo>
                    <a:pt x="2216" y="604"/>
                  </a:lnTo>
                  <a:lnTo>
                    <a:pt x="2212" y="600"/>
                  </a:lnTo>
                  <a:lnTo>
                    <a:pt x="2209" y="596"/>
                  </a:lnTo>
                  <a:lnTo>
                    <a:pt x="2205" y="592"/>
                  </a:lnTo>
                  <a:lnTo>
                    <a:pt x="2203" y="587"/>
                  </a:lnTo>
                  <a:lnTo>
                    <a:pt x="2200" y="581"/>
                  </a:lnTo>
                  <a:lnTo>
                    <a:pt x="2200" y="579"/>
                  </a:lnTo>
                  <a:lnTo>
                    <a:pt x="2199" y="576"/>
                  </a:lnTo>
                  <a:lnTo>
                    <a:pt x="2198" y="570"/>
                  </a:lnTo>
                  <a:lnTo>
                    <a:pt x="2198" y="564"/>
                  </a:lnTo>
                  <a:lnTo>
                    <a:pt x="2198" y="558"/>
                  </a:lnTo>
                  <a:lnTo>
                    <a:pt x="2199" y="552"/>
                  </a:lnTo>
                  <a:lnTo>
                    <a:pt x="2200" y="547"/>
                  </a:lnTo>
                  <a:lnTo>
                    <a:pt x="2203" y="542"/>
                  </a:lnTo>
                  <a:lnTo>
                    <a:pt x="2206" y="537"/>
                  </a:lnTo>
                  <a:lnTo>
                    <a:pt x="2209" y="532"/>
                  </a:lnTo>
                  <a:lnTo>
                    <a:pt x="2213" y="528"/>
                  </a:lnTo>
                  <a:lnTo>
                    <a:pt x="2217" y="524"/>
                  </a:lnTo>
                  <a:lnTo>
                    <a:pt x="2222" y="520"/>
                  </a:lnTo>
                  <a:lnTo>
                    <a:pt x="2228" y="517"/>
                  </a:lnTo>
                  <a:lnTo>
                    <a:pt x="2234" y="515"/>
                  </a:lnTo>
                  <a:lnTo>
                    <a:pt x="2241" y="512"/>
                  </a:lnTo>
                  <a:lnTo>
                    <a:pt x="2248" y="511"/>
                  </a:lnTo>
                  <a:lnTo>
                    <a:pt x="2255" y="509"/>
                  </a:lnTo>
                  <a:lnTo>
                    <a:pt x="2263" y="509"/>
                  </a:lnTo>
                  <a:lnTo>
                    <a:pt x="2272" y="508"/>
                  </a:lnTo>
                  <a:lnTo>
                    <a:pt x="2285" y="509"/>
                  </a:lnTo>
                  <a:lnTo>
                    <a:pt x="2300" y="511"/>
                  </a:lnTo>
                  <a:lnTo>
                    <a:pt x="2314" y="513"/>
                  </a:lnTo>
                  <a:lnTo>
                    <a:pt x="2328" y="517"/>
                  </a:lnTo>
                  <a:lnTo>
                    <a:pt x="2328" y="601"/>
                  </a:lnTo>
                  <a:lnTo>
                    <a:pt x="2314" y="608"/>
                  </a:lnTo>
                  <a:lnTo>
                    <a:pt x="2306" y="611"/>
                  </a:lnTo>
                  <a:lnTo>
                    <a:pt x="2298" y="614"/>
                  </a:lnTo>
                  <a:lnTo>
                    <a:pt x="2290" y="616"/>
                  </a:lnTo>
                  <a:lnTo>
                    <a:pt x="2282" y="617"/>
                  </a:lnTo>
                  <a:lnTo>
                    <a:pt x="2273" y="618"/>
                  </a:lnTo>
                  <a:lnTo>
                    <a:pt x="2263" y="6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48444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5" name="Obi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rostokąt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katta Sans Bold" panose="00000800000000000000" pitchFamily="2" charset="-18"/>
              <a:ea typeface="+mn-ea"/>
              <a:cs typeface="+mn-cs"/>
              <a:sym typeface="Skatta Sans Bold" panose="00000800000000000000" pitchFamily="2" charset="-18"/>
            </a:endParaRPr>
          </a:p>
        </p:txBody>
      </p:sp>
      <p:sp>
        <p:nvSpPr>
          <p:cNvPr id="11" name="Tekstin paikkamerkki 7"/>
          <p:cNvSpPr txBox="1">
            <a:spLocks/>
          </p:cNvSpPr>
          <p:nvPr/>
        </p:nvSpPr>
        <p:spPr>
          <a:xfrm>
            <a:off x="5807968" y="2492896"/>
            <a:ext cx="5184329" cy="41052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66700" indent="-266700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Skatta Sans Regular" pitchFamily="50" charset="0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katta Sans Regular" pitchFamily="50" charset="0"/>
                <a:ea typeface="+mn-ea"/>
                <a:cs typeface="+mn-cs"/>
              </a:defRPr>
            </a:lvl2pPr>
            <a:lvl3pPr marL="539750" indent="-273050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Skatta Sans Regular" pitchFamily="50" charset="0"/>
                <a:ea typeface="+mn-ea"/>
                <a:cs typeface="+mn-cs"/>
              </a:defRPr>
            </a:lvl3pPr>
            <a:lvl4pPr marL="806450" indent="-266700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Skatta Sans Regular" pitchFamily="50" charset="0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Skatta Sans Regular" pitchFamily="50" charset="0"/>
                <a:ea typeface="+mn-ea"/>
                <a:cs typeface="+mn-cs"/>
              </a:defRPr>
            </a:lvl5pPr>
            <a:lvl6pPr marL="1346200" indent="-274638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Skatta Sans Regular" pitchFamily="50" charset="0"/>
                <a:ea typeface="+mn-ea"/>
                <a:cs typeface="+mn-cs"/>
              </a:defRPr>
            </a:lvl6pPr>
            <a:lvl7pPr marL="1612900" indent="-266700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Skatta Sans Regular" pitchFamily="50" charset="0"/>
                <a:ea typeface="+mn-ea"/>
                <a:cs typeface="+mn-cs"/>
              </a:defRPr>
            </a:lvl7pPr>
            <a:lvl8pPr marL="1878013" indent="-265113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Skatta Sans Regular" pitchFamily="50" charset="0"/>
                <a:ea typeface="+mn-ea"/>
                <a:cs typeface="+mn-cs"/>
              </a:defRPr>
            </a:lvl8pPr>
            <a:lvl9pPr marL="2152650" indent="-274638" algn="l" defTabSz="914400" rtl="0" eaLnBrk="1" latinLnBrk="0" hangingPunct="1">
              <a:lnSpc>
                <a:spcPct val="12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Skatta Sans Regular" pitchFamily="50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205B"/>
              </a:solidFill>
              <a:effectLst/>
              <a:uLnTx/>
              <a:uFillTx/>
              <a:latin typeface="Skatta Sans Regular" pitchFamily="50" charset="0"/>
              <a:ea typeface="+mn-ea"/>
              <a:cs typeface="+mn-cs"/>
            </a:endParaRPr>
          </a:p>
        </p:txBody>
      </p:sp>
      <p:cxnSp>
        <p:nvCxnSpPr>
          <p:cNvPr id="28" name="Straight Connector 27"/>
          <p:cNvCxnSpPr>
            <a:cxnSpLocks/>
          </p:cNvCxnSpPr>
          <p:nvPr/>
        </p:nvCxnSpPr>
        <p:spPr>
          <a:xfrm>
            <a:off x="982663" y="3140960"/>
            <a:ext cx="3241129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29"/>
          <p:cNvSpPr txBox="1"/>
          <p:nvPr/>
        </p:nvSpPr>
        <p:spPr>
          <a:xfrm>
            <a:off x="1559496" y="1916831"/>
            <a:ext cx="2664296" cy="10911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1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rPr>
              <a:t>Alan tunnetuin ja luotettavin bränd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1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Black"/>
                <a:ea typeface="+mn-ea"/>
                <a:cs typeface="+mn-cs"/>
              </a:rPr>
              <a:t>k-rauta.fi </a:t>
            </a:r>
            <a:r>
              <a:rPr kumimoji="0" lang="fi-FI" sz="1400" b="0" i="0" u="none" strike="noStrike" kern="1200" cap="none" spc="0" normalizeH="0" baseline="0" noProof="1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rPr>
              <a:t>alan suurin media</a:t>
            </a:r>
          </a:p>
        </p:txBody>
      </p:sp>
      <p:cxnSp>
        <p:nvCxnSpPr>
          <p:cNvPr id="44" name="Straight Connector 27"/>
          <p:cNvCxnSpPr>
            <a:cxnSpLocks/>
          </p:cNvCxnSpPr>
          <p:nvPr/>
        </p:nvCxnSpPr>
        <p:spPr>
          <a:xfrm>
            <a:off x="982663" y="4725144"/>
            <a:ext cx="6841577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uorakulmio 9"/>
          <p:cNvSpPr/>
          <p:nvPr/>
        </p:nvSpPr>
        <p:spPr>
          <a:xfrm>
            <a:off x="8112280" y="1844674"/>
            <a:ext cx="1224170" cy="864245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srgbClr val="FF6900"/>
                </a:solidFill>
                <a:effectLst/>
                <a:uLnTx/>
                <a:uFillTx/>
                <a:latin typeface="Skatta Sans Black"/>
                <a:ea typeface="+mn-ea"/>
                <a:cs typeface="+mn-cs"/>
              </a:rPr>
              <a:t>122</a:t>
            </a:r>
            <a:b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srgbClr val="FF6900"/>
                </a:solidFill>
                <a:effectLst/>
                <a:uLnTx/>
                <a:uFillTx/>
                <a:latin typeface="Skatta Sans Black"/>
                <a:ea typeface="+mn-ea"/>
                <a:cs typeface="+mn-cs"/>
              </a:rPr>
            </a:b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srgbClr val="FF6900"/>
                </a:solidFill>
                <a:effectLst/>
                <a:uLnTx/>
                <a:uFillTx/>
                <a:latin typeface="Skatta Sans Black"/>
                <a:ea typeface="+mn-ea"/>
                <a:cs typeface="+mn-cs"/>
              </a:rPr>
              <a:t>K-Rauta-kauppaa</a:t>
            </a:r>
          </a:p>
        </p:txBody>
      </p:sp>
      <p:cxnSp>
        <p:nvCxnSpPr>
          <p:cNvPr id="180" name="Straight Connector 179"/>
          <p:cNvCxnSpPr>
            <a:cxnSpLocks/>
          </p:cNvCxnSpPr>
          <p:nvPr/>
        </p:nvCxnSpPr>
        <p:spPr>
          <a:xfrm>
            <a:off x="4511824" y="3140960"/>
            <a:ext cx="330214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7" name="TextBox 29"/>
          <p:cNvSpPr txBox="1"/>
          <p:nvPr/>
        </p:nvSpPr>
        <p:spPr>
          <a:xfrm>
            <a:off x="1559496" y="4869160"/>
            <a:ext cx="6264744" cy="10801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1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Black"/>
                <a:ea typeface="+mn-ea"/>
                <a:cs typeface="+mn-cs"/>
              </a:rPr>
              <a:t>Yli 3 000 rautakaupan ammattilaista </a:t>
            </a:r>
            <a:r>
              <a:rPr kumimoji="0" lang="fi-FI" sz="1400" b="0" i="0" u="none" strike="noStrike" kern="1200" cap="none" spc="0" normalizeH="0" baseline="0" noProof="1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rPr>
              <a:t>palvelemassa asiakkait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1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rPr>
              <a:t>K-Rauta PRO yritysasiakkail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1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rPr>
              <a:t>Toimitus-, kuljetus- ja noutopalvelu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1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rPr>
              <a:t>Lisäpalvelut esim. Remonttineuvonta, Remonttimestari</a:t>
            </a:r>
          </a:p>
        </p:txBody>
      </p:sp>
      <p:sp>
        <p:nvSpPr>
          <p:cNvPr id="182" name="TextBox 29"/>
          <p:cNvSpPr txBox="1"/>
          <p:nvPr/>
        </p:nvSpPr>
        <p:spPr>
          <a:xfrm>
            <a:off x="5087888" y="1916832"/>
            <a:ext cx="2736274" cy="108010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1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rPr>
              <a:t>Alan parhaat tuotebrändi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1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rPr>
              <a:t>Kiinnostavat omat merki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1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Black"/>
                <a:ea typeface="+mn-ea"/>
                <a:cs typeface="+mn-cs"/>
              </a:rPr>
              <a:t>Yli 200 000 tuotett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1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rPr>
              <a:t>Inspiroivat ja paikalliset kaupat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54585A"/>
              </a:solidFill>
              <a:effectLst/>
              <a:uLnTx/>
              <a:uFillTx/>
              <a:latin typeface="Skatta Sans Regular"/>
              <a:ea typeface="+mn-ea"/>
              <a:cs typeface="+mn-cs"/>
            </a:endParaRPr>
          </a:p>
        </p:txBody>
      </p:sp>
      <p:sp>
        <p:nvSpPr>
          <p:cNvPr id="183" name="TextBox 29"/>
          <p:cNvSpPr txBox="1"/>
          <p:nvPr/>
        </p:nvSpPr>
        <p:spPr>
          <a:xfrm>
            <a:off x="5087890" y="3356992"/>
            <a:ext cx="2736350" cy="108051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1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rPr>
              <a:t>Kattava asiakastieto Plussan avull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1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Black"/>
                <a:ea typeface="+mn-ea"/>
                <a:cs typeface="+mn-cs"/>
              </a:rPr>
              <a:t>Ylivoimainen asiakasymmärrys</a:t>
            </a:r>
          </a:p>
        </p:txBody>
      </p:sp>
      <p:sp>
        <p:nvSpPr>
          <p:cNvPr id="185" name="Freeform 23"/>
          <p:cNvSpPr>
            <a:spLocks noChangeAspect="1" noEditPoints="1"/>
          </p:cNvSpPr>
          <p:nvPr/>
        </p:nvSpPr>
        <p:spPr bwMode="auto">
          <a:xfrm>
            <a:off x="4453947" y="3357032"/>
            <a:ext cx="489925" cy="360000"/>
          </a:xfrm>
          <a:custGeom>
            <a:avLst/>
            <a:gdLst>
              <a:gd name="T0" fmla="*/ 1934 w 2173"/>
              <a:gd name="T1" fmla="*/ 36 h 1597"/>
              <a:gd name="T2" fmla="*/ 1929 w 2173"/>
              <a:gd name="T3" fmla="*/ 13 h 1597"/>
              <a:gd name="T4" fmla="*/ 1910 w 2173"/>
              <a:gd name="T5" fmla="*/ 1 h 1597"/>
              <a:gd name="T6" fmla="*/ 1833 w 2173"/>
              <a:gd name="T7" fmla="*/ 6 h 1597"/>
              <a:gd name="T8" fmla="*/ 1118 w 2173"/>
              <a:gd name="T9" fmla="*/ 629 h 1597"/>
              <a:gd name="T10" fmla="*/ 1022 w 2173"/>
              <a:gd name="T11" fmla="*/ 616 h 1597"/>
              <a:gd name="T12" fmla="*/ 324 w 2173"/>
              <a:gd name="T13" fmla="*/ 0 h 1597"/>
              <a:gd name="T14" fmla="*/ 250 w 2173"/>
              <a:gd name="T15" fmla="*/ 7 h 1597"/>
              <a:gd name="T16" fmla="*/ 239 w 2173"/>
              <a:gd name="T17" fmla="*/ 31 h 1597"/>
              <a:gd name="T18" fmla="*/ 12 w 2173"/>
              <a:gd name="T19" fmla="*/ 668 h 1597"/>
              <a:gd name="T20" fmla="*/ 1 w 2173"/>
              <a:gd name="T21" fmla="*/ 698 h 1597"/>
              <a:gd name="T22" fmla="*/ 611 w 2173"/>
              <a:gd name="T23" fmla="*/ 1537 h 1597"/>
              <a:gd name="T24" fmla="*/ 672 w 2173"/>
              <a:gd name="T25" fmla="*/ 1578 h 1597"/>
              <a:gd name="T26" fmla="*/ 743 w 2173"/>
              <a:gd name="T27" fmla="*/ 1596 h 1597"/>
              <a:gd name="T28" fmla="*/ 1009 w 2173"/>
              <a:gd name="T29" fmla="*/ 1595 h 1597"/>
              <a:gd name="T30" fmla="*/ 1098 w 2173"/>
              <a:gd name="T31" fmla="*/ 1556 h 1597"/>
              <a:gd name="T32" fmla="*/ 1162 w 2173"/>
              <a:gd name="T33" fmla="*/ 1483 h 1597"/>
              <a:gd name="T34" fmla="*/ 1216 w 2173"/>
              <a:gd name="T35" fmla="*/ 1321 h 1597"/>
              <a:gd name="T36" fmla="*/ 1217 w 2173"/>
              <a:gd name="T37" fmla="*/ 1248 h 1597"/>
              <a:gd name="T38" fmla="*/ 1193 w 2173"/>
              <a:gd name="T39" fmla="*/ 1178 h 1597"/>
              <a:gd name="T40" fmla="*/ 1164 w 2173"/>
              <a:gd name="T41" fmla="*/ 1072 h 1597"/>
              <a:gd name="T42" fmla="*/ 1216 w 2173"/>
              <a:gd name="T43" fmla="*/ 1025 h 1597"/>
              <a:gd name="T44" fmla="*/ 1214 w 2173"/>
              <a:gd name="T45" fmla="*/ 993 h 1597"/>
              <a:gd name="T46" fmla="*/ 1157 w 2173"/>
              <a:gd name="T47" fmla="*/ 954 h 1597"/>
              <a:gd name="T48" fmla="*/ 1134 w 2173"/>
              <a:gd name="T49" fmla="*/ 963 h 1597"/>
              <a:gd name="T50" fmla="*/ 1074 w 2173"/>
              <a:gd name="T51" fmla="*/ 1006 h 1597"/>
              <a:gd name="T52" fmla="*/ 1005 w 2173"/>
              <a:gd name="T53" fmla="*/ 1024 h 1597"/>
              <a:gd name="T54" fmla="*/ 933 w 2173"/>
              <a:gd name="T55" fmla="*/ 1017 h 1597"/>
              <a:gd name="T56" fmla="*/ 1127 w 2173"/>
              <a:gd name="T57" fmla="*/ 743 h 1597"/>
              <a:gd name="T58" fmla="*/ 1899 w 2173"/>
              <a:gd name="T59" fmla="*/ 903 h 1597"/>
              <a:gd name="T60" fmla="*/ 1453 w 2173"/>
              <a:gd name="T61" fmla="*/ 1487 h 1597"/>
              <a:gd name="T62" fmla="*/ 1278 w 2173"/>
              <a:gd name="T63" fmla="*/ 1496 h 1597"/>
              <a:gd name="T64" fmla="*/ 1260 w 2173"/>
              <a:gd name="T65" fmla="*/ 1517 h 1597"/>
              <a:gd name="T66" fmla="*/ 1268 w 2173"/>
              <a:gd name="T67" fmla="*/ 1589 h 1597"/>
              <a:gd name="T68" fmla="*/ 1419 w 2173"/>
              <a:gd name="T69" fmla="*/ 1597 h 1597"/>
              <a:gd name="T70" fmla="*/ 1491 w 2173"/>
              <a:gd name="T71" fmla="*/ 1583 h 1597"/>
              <a:gd name="T72" fmla="*/ 1553 w 2173"/>
              <a:gd name="T73" fmla="*/ 1546 h 1597"/>
              <a:gd name="T74" fmla="*/ 1587 w 2173"/>
              <a:gd name="T75" fmla="*/ 1510 h 1597"/>
              <a:gd name="T76" fmla="*/ 2172 w 2173"/>
              <a:gd name="T77" fmla="*/ 682 h 1597"/>
              <a:gd name="T78" fmla="*/ 602 w 2173"/>
              <a:gd name="T79" fmla="*/ 537 h 1597"/>
              <a:gd name="T80" fmla="*/ 787 w 2173"/>
              <a:gd name="T81" fmla="*/ 1024 h 1597"/>
              <a:gd name="T82" fmla="*/ 800 w 2173"/>
              <a:gd name="T83" fmla="*/ 1063 h 1597"/>
              <a:gd name="T84" fmla="*/ 876 w 2173"/>
              <a:gd name="T85" fmla="*/ 1106 h 1597"/>
              <a:gd name="T86" fmla="*/ 988 w 2173"/>
              <a:gd name="T87" fmla="*/ 1129 h 1597"/>
              <a:gd name="T88" fmla="*/ 1110 w 2173"/>
              <a:gd name="T89" fmla="*/ 1245 h 1597"/>
              <a:gd name="T90" fmla="*/ 1116 w 2173"/>
              <a:gd name="T91" fmla="*/ 1288 h 1597"/>
              <a:gd name="T92" fmla="*/ 1073 w 2173"/>
              <a:gd name="T93" fmla="*/ 1428 h 1597"/>
              <a:gd name="T94" fmla="*/ 1044 w 2173"/>
              <a:gd name="T95" fmla="*/ 1469 h 1597"/>
              <a:gd name="T96" fmla="*/ 999 w 2173"/>
              <a:gd name="T97" fmla="*/ 1490 h 1597"/>
              <a:gd name="T98" fmla="*/ 737 w 2173"/>
              <a:gd name="T99" fmla="*/ 1492 h 1597"/>
              <a:gd name="T100" fmla="*/ 698 w 2173"/>
              <a:gd name="T101" fmla="*/ 1475 h 1597"/>
              <a:gd name="T102" fmla="*/ 682 w 2173"/>
              <a:gd name="T103" fmla="*/ 607 h 1597"/>
              <a:gd name="T104" fmla="*/ 793 w 2173"/>
              <a:gd name="T105" fmla="*/ 1011 h 15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173" h="1597">
                <a:moveTo>
                  <a:pt x="2161" y="667"/>
                </a:moveTo>
                <a:lnTo>
                  <a:pt x="1714" y="343"/>
                </a:lnTo>
                <a:lnTo>
                  <a:pt x="1929" y="47"/>
                </a:lnTo>
                <a:lnTo>
                  <a:pt x="1932" y="44"/>
                </a:lnTo>
                <a:lnTo>
                  <a:pt x="1933" y="40"/>
                </a:lnTo>
                <a:lnTo>
                  <a:pt x="1934" y="36"/>
                </a:lnTo>
                <a:lnTo>
                  <a:pt x="1934" y="31"/>
                </a:lnTo>
                <a:lnTo>
                  <a:pt x="1934" y="28"/>
                </a:lnTo>
                <a:lnTo>
                  <a:pt x="1934" y="24"/>
                </a:lnTo>
                <a:lnTo>
                  <a:pt x="1933" y="21"/>
                </a:lnTo>
                <a:lnTo>
                  <a:pt x="1932" y="17"/>
                </a:lnTo>
                <a:lnTo>
                  <a:pt x="1929" y="13"/>
                </a:lnTo>
                <a:lnTo>
                  <a:pt x="1927" y="10"/>
                </a:lnTo>
                <a:lnTo>
                  <a:pt x="1924" y="7"/>
                </a:lnTo>
                <a:lnTo>
                  <a:pt x="1921" y="5"/>
                </a:lnTo>
                <a:lnTo>
                  <a:pt x="1917" y="4"/>
                </a:lnTo>
                <a:lnTo>
                  <a:pt x="1914" y="1"/>
                </a:lnTo>
                <a:lnTo>
                  <a:pt x="1910" y="1"/>
                </a:lnTo>
                <a:lnTo>
                  <a:pt x="1905" y="0"/>
                </a:lnTo>
                <a:lnTo>
                  <a:pt x="1850" y="0"/>
                </a:lnTo>
                <a:lnTo>
                  <a:pt x="1843" y="1"/>
                </a:lnTo>
                <a:lnTo>
                  <a:pt x="1839" y="3"/>
                </a:lnTo>
                <a:lnTo>
                  <a:pt x="1837" y="4"/>
                </a:lnTo>
                <a:lnTo>
                  <a:pt x="1833" y="6"/>
                </a:lnTo>
                <a:lnTo>
                  <a:pt x="1831" y="7"/>
                </a:lnTo>
                <a:lnTo>
                  <a:pt x="1826" y="12"/>
                </a:lnTo>
                <a:lnTo>
                  <a:pt x="1468" y="505"/>
                </a:lnTo>
                <a:lnTo>
                  <a:pt x="1152" y="614"/>
                </a:lnTo>
                <a:lnTo>
                  <a:pt x="1135" y="622"/>
                </a:lnTo>
                <a:lnTo>
                  <a:pt x="1118" y="629"/>
                </a:lnTo>
                <a:lnTo>
                  <a:pt x="1103" y="637"/>
                </a:lnTo>
                <a:lnTo>
                  <a:pt x="1087" y="646"/>
                </a:lnTo>
                <a:lnTo>
                  <a:pt x="1071" y="637"/>
                </a:lnTo>
                <a:lnTo>
                  <a:pt x="1056" y="629"/>
                </a:lnTo>
                <a:lnTo>
                  <a:pt x="1039" y="622"/>
                </a:lnTo>
                <a:lnTo>
                  <a:pt x="1022" y="616"/>
                </a:lnTo>
                <a:lnTo>
                  <a:pt x="706" y="505"/>
                </a:lnTo>
                <a:lnTo>
                  <a:pt x="348" y="12"/>
                </a:lnTo>
                <a:lnTo>
                  <a:pt x="343" y="7"/>
                </a:lnTo>
                <a:lnTo>
                  <a:pt x="337" y="4"/>
                </a:lnTo>
                <a:lnTo>
                  <a:pt x="331" y="1"/>
                </a:lnTo>
                <a:lnTo>
                  <a:pt x="324" y="0"/>
                </a:lnTo>
                <a:lnTo>
                  <a:pt x="269" y="0"/>
                </a:lnTo>
                <a:lnTo>
                  <a:pt x="264" y="1"/>
                </a:lnTo>
                <a:lnTo>
                  <a:pt x="260" y="1"/>
                </a:lnTo>
                <a:lnTo>
                  <a:pt x="257" y="4"/>
                </a:lnTo>
                <a:lnTo>
                  <a:pt x="253" y="5"/>
                </a:lnTo>
                <a:lnTo>
                  <a:pt x="250" y="7"/>
                </a:lnTo>
                <a:lnTo>
                  <a:pt x="247" y="10"/>
                </a:lnTo>
                <a:lnTo>
                  <a:pt x="245" y="13"/>
                </a:lnTo>
                <a:lnTo>
                  <a:pt x="242" y="17"/>
                </a:lnTo>
                <a:lnTo>
                  <a:pt x="240" y="24"/>
                </a:lnTo>
                <a:lnTo>
                  <a:pt x="239" y="28"/>
                </a:lnTo>
                <a:lnTo>
                  <a:pt x="239" y="31"/>
                </a:lnTo>
                <a:lnTo>
                  <a:pt x="240" y="36"/>
                </a:lnTo>
                <a:lnTo>
                  <a:pt x="241" y="40"/>
                </a:lnTo>
                <a:lnTo>
                  <a:pt x="242" y="44"/>
                </a:lnTo>
                <a:lnTo>
                  <a:pt x="245" y="47"/>
                </a:lnTo>
                <a:lnTo>
                  <a:pt x="460" y="343"/>
                </a:lnTo>
                <a:lnTo>
                  <a:pt x="12" y="668"/>
                </a:lnTo>
                <a:lnTo>
                  <a:pt x="8" y="672"/>
                </a:lnTo>
                <a:lnTo>
                  <a:pt x="4" y="677"/>
                </a:lnTo>
                <a:lnTo>
                  <a:pt x="2" y="682"/>
                </a:lnTo>
                <a:lnTo>
                  <a:pt x="1" y="686"/>
                </a:lnTo>
                <a:lnTo>
                  <a:pt x="0" y="692"/>
                </a:lnTo>
                <a:lnTo>
                  <a:pt x="1" y="698"/>
                </a:lnTo>
                <a:lnTo>
                  <a:pt x="2" y="703"/>
                </a:lnTo>
                <a:lnTo>
                  <a:pt x="6" y="709"/>
                </a:lnTo>
                <a:lnTo>
                  <a:pt x="587" y="1510"/>
                </a:lnTo>
                <a:lnTo>
                  <a:pt x="594" y="1519"/>
                </a:lnTo>
                <a:lnTo>
                  <a:pt x="603" y="1529"/>
                </a:lnTo>
                <a:lnTo>
                  <a:pt x="611" y="1537"/>
                </a:lnTo>
                <a:lnTo>
                  <a:pt x="621" y="1546"/>
                </a:lnTo>
                <a:lnTo>
                  <a:pt x="630" y="1554"/>
                </a:lnTo>
                <a:lnTo>
                  <a:pt x="640" y="1561"/>
                </a:lnTo>
                <a:lnTo>
                  <a:pt x="651" y="1567"/>
                </a:lnTo>
                <a:lnTo>
                  <a:pt x="662" y="1573"/>
                </a:lnTo>
                <a:lnTo>
                  <a:pt x="672" y="1578"/>
                </a:lnTo>
                <a:lnTo>
                  <a:pt x="683" y="1583"/>
                </a:lnTo>
                <a:lnTo>
                  <a:pt x="695" y="1588"/>
                </a:lnTo>
                <a:lnTo>
                  <a:pt x="706" y="1591"/>
                </a:lnTo>
                <a:lnTo>
                  <a:pt x="718" y="1594"/>
                </a:lnTo>
                <a:lnTo>
                  <a:pt x="730" y="1595"/>
                </a:lnTo>
                <a:lnTo>
                  <a:pt x="743" y="1596"/>
                </a:lnTo>
                <a:lnTo>
                  <a:pt x="755" y="1597"/>
                </a:lnTo>
                <a:lnTo>
                  <a:pt x="974" y="1597"/>
                </a:lnTo>
                <a:lnTo>
                  <a:pt x="975" y="1597"/>
                </a:lnTo>
                <a:lnTo>
                  <a:pt x="992" y="1596"/>
                </a:lnTo>
                <a:lnTo>
                  <a:pt x="1001" y="1595"/>
                </a:lnTo>
                <a:lnTo>
                  <a:pt x="1009" y="1595"/>
                </a:lnTo>
                <a:lnTo>
                  <a:pt x="1025" y="1591"/>
                </a:lnTo>
                <a:lnTo>
                  <a:pt x="1040" y="1586"/>
                </a:lnTo>
                <a:lnTo>
                  <a:pt x="1056" y="1580"/>
                </a:lnTo>
                <a:lnTo>
                  <a:pt x="1070" y="1574"/>
                </a:lnTo>
                <a:lnTo>
                  <a:pt x="1085" y="1566"/>
                </a:lnTo>
                <a:lnTo>
                  <a:pt x="1098" y="1556"/>
                </a:lnTo>
                <a:lnTo>
                  <a:pt x="1111" y="1547"/>
                </a:lnTo>
                <a:lnTo>
                  <a:pt x="1123" y="1536"/>
                </a:lnTo>
                <a:lnTo>
                  <a:pt x="1134" y="1524"/>
                </a:lnTo>
                <a:lnTo>
                  <a:pt x="1145" y="1511"/>
                </a:lnTo>
                <a:lnTo>
                  <a:pt x="1153" y="1498"/>
                </a:lnTo>
                <a:lnTo>
                  <a:pt x="1162" y="1483"/>
                </a:lnTo>
                <a:lnTo>
                  <a:pt x="1169" y="1469"/>
                </a:lnTo>
                <a:lnTo>
                  <a:pt x="1171" y="1460"/>
                </a:lnTo>
                <a:lnTo>
                  <a:pt x="1175" y="1452"/>
                </a:lnTo>
                <a:lnTo>
                  <a:pt x="1210" y="1345"/>
                </a:lnTo>
                <a:lnTo>
                  <a:pt x="1213" y="1333"/>
                </a:lnTo>
                <a:lnTo>
                  <a:pt x="1216" y="1321"/>
                </a:lnTo>
                <a:lnTo>
                  <a:pt x="1218" y="1309"/>
                </a:lnTo>
                <a:lnTo>
                  <a:pt x="1219" y="1296"/>
                </a:lnTo>
                <a:lnTo>
                  <a:pt x="1219" y="1284"/>
                </a:lnTo>
                <a:lnTo>
                  <a:pt x="1219" y="1272"/>
                </a:lnTo>
                <a:lnTo>
                  <a:pt x="1218" y="1260"/>
                </a:lnTo>
                <a:lnTo>
                  <a:pt x="1217" y="1248"/>
                </a:lnTo>
                <a:lnTo>
                  <a:pt x="1214" y="1236"/>
                </a:lnTo>
                <a:lnTo>
                  <a:pt x="1212" y="1224"/>
                </a:lnTo>
                <a:lnTo>
                  <a:pt x="1208" y="1212"/>
                </a:lnTo>
                <a:lnTo>
                  <a:pt x="1204" y="1201"/>
                </a:lnTo>
                <a:lnTo>
                  <a:pt x="1199" y="1189"/>
                </a:lnTo>
                <a:lnTo>
                  <a:pt x="1193" y="1178"/>
                </a:lnTo>
                <a:lnTo>
                  <a:pt x="1187" y="1167"/>
                </a:lnTo>
                <a:lnTo>
                  <a:pt x="1180" y="1157"/>
                </a:lnTo>
                <a:lnTo>
                  <a:pt x="1133" y="1093"/>
                </a:lnTo>
                <a:lnTo>
                  <a:pt x="1143" y="1087"/>
                </a:lnTo>
                <a:lnTo>
                  <a:pt x="1154" y="1079"/>
                </a:lnTo>
                <a:lnTo>
                  <a:pt x="1164" y="1072"/>
                </a:lnTo>
                <a:lnTo>
                  <a:pt x="1175" y="1065"/>
                </a:lnTo>
                <a:lnTo>
                  <a:pt x="1184" y="1057"/>
                </a:lnTo>
                <a:lnTo>
                  <a:pt x="1194" y="1048"/>
                </a:lnTo>
                <a:lnTo>
                  <a:pt x="1202" y="1040"/>
                </a:lnTo>
                <a:lnTo>
                  <a:pt x="1212" y="1030"/>
                </a:lnTo>
                <a:lnTo>
                  <a:pt x="1216" y="1025"/>
                </a:lnTo>
                <a:lnTo>
                  <a:pt x="1218" y="1019"/>
                </a:lnTo>
                <a:lnTo>
                  <a:pt x="1219" y="1013"/>
                </a:lnTo>
                <a:lnTo>
                  <a:pt x="1220" y="1007"/>
                </a:lnTo>
                <a:lnTo>
                  <a:pt x="1219" y="1001"/>
                </a:lnTo>
                <a:lnTo>
                  <a:pt x="1217" y="995"/>
                </a:lnTo>
                <a:lnTo>
                  <a:pt x="1214" y="993"/>
                </a:lnTo>
                <a:lnTo>
                  <a:pt x="1213" y="990"/>
                </a:lnTo>
                <a:lnTo>
                  <a:pt x="1208" y="986"/>
                </a:lnTo>
                <a:lnTo>
                  <a:pt x="1171" y="959"/>
                </a:lnTo>
                <a:lnTo>
                  <a:pt x="1168" y="957"/>
                </a:lnTo>
                <a:lnTo>
                  <a:pt x="1163" y="954"/>
                </a:lnTo>
                <a:lnTo>
                  <a:pt x="1157" y="954"/>
                </a:lnTo>
                <a:lnTo>
                  <a:pt x="1152" y="954"/>
                </a:lnTo>
                <a:lnTo>
                  <a:pt x="1147" y="954"/>
                </a:lnTo>
                <a:lnTo>
                  <a:pt x="1142" y="957"/>
                </a:lnTo>
                <a:lnTo>
                  <a:pt x="1137" y="959"/>
                </a:lnTo>
                <a:lnTo>
                  <a:pt x="1136" y="960"/>
                </a:lnTo>
                <a:lnTo>
                  <a:pt x="1134" y="963"/>
                </a:lnTo>
                <a:lnTo>
                  <a:pt x="1129" y="968"/>
                </a:lnTo>
                <a:lnTo>
                  <a:pt x="1123" y="972"/>
                </a:lnTo>
                <a:lnTo>
                  <a:pt x="1112" y="982"/>
                </a:lnTo>
                <a:lnTo>
                  <a:pt x="1100" y="992"/>
                </a:lnTo>
                <a:lnTo>
                  <a:pt x="1087" y="999"/>
                </a:lnTo>
                <a:lnTo>
                  <a:pt x="1074" y="1006"/>
                </a:lnTo>
                <a:lnTo>
                  <a:pt x="1061" y="1011"/>
                </a:lnTo>
                <a:lnTo>
                  <a:pt x="1047" y="1016"/>
                </a:lnTo>
                <a:lnTo>
                  <a:pt x="1040" y="1018"/>
                </a:lnTo>
                <a:lnTo>
                  <a:pt x="1033" y="1020"/>
                </a:lnTo>
                <a:lnTo>
                  <a:pt x="1020" y="1023"/>
                </a:lnTo>
                <a:lnTo>
                  <a:pt x="1005" y="1024"/>
                </a:lnTo>
                <a:lnTo>
                  <a:pt x="991" y="1025"/>
                </a:lnTo>
                <a:lnTo>
                  <a:pt x="976" y="1024"/>
                </a:lnTo>
                <a:lnTo>
                  <a:pt x="961" y="1023"/>
                </a:lnTo>
                <a:lnTo>
                  <a:pt x="948" y="1020"/>
                </a:lnTo>
                <a:lnTo>
                  <a:pt x="940" y="1019"/>
                </a:lnTo>
                <a:lnTo>
                  <a:pt x="933" y="1017"/>
                </a:lnTo>
                <a:lnTo>
                  <a:pt x="919" y="1012"/>
                </a:lnTo>
                <a:lnTo>
                  <a:pt x="1081" y="789"/>
                </a:lnTo>
                <a:lnTo>
                  <a:pt x="1092" y="775"/>
                </a:lnTo>
                <a:lnTo>
                  <a:pt x="1103" y="763"/>
                </a:lnTo>
                <a:lnTo>
                  <a:pt x="1115" y="753"/>
                </a:lnTo>
                <a:lnTo>
                  <a:pt x="1127" y="743"/>
                </a:lnTo>
                <a:lnTo>
                  <a:pt x="1141" y="733"/>
                </a:lnTo>
                <a:lnTo>
                  <a:pt x="1154" y="726"/>
                </a:lnTo>
                <a:lnTo>
                  <a:pt x="1170" y="719"/>
                </a:lnTo>
                <a:lnTo>
                  <a:pt x="1186" y="713"/>
                </a:lnTo>
                <a:lnTo>
                  <a:pt x="1492" y="607"/>
                </a:lnTo>
                <a:lnTo>
                  <a:pt x="1899" y="903"/>
                </a:lnTo>
                <a:lnTo>
                  <a:pt x="1503" y="1448"/>
                </a:lnTo>
                <a:lnTo>
                  <a:pt x="1494" y="1458"/>
                </a:lnTo>
                <a:lnTo>
                  <a:pt x="1486" y="1468"/>
                </a:lnTo>
                <a:lnTo>
                  <a:pt x="1476" y="1475"/>
                </a:lnTo>
                <a:lnTo>
                  <a:pt x="1466" y="1481"/>
                </a:lnTo>
                <a:lnTo>
                  <a:pt x="1453" y="1487"/>
                </a:lnTo>
                <a:lnTo>
                  <a:pt x="1443" y="1490"/>
                </a:lnTo>
                <a:lnTo>
                  <a:pt x="1431" y="1493"/>
                </a:lnTo>
                <a:lnTo>
                  <a:pt x="1419" y="1494"/>
                </a:lnTo>
                <a:lnTo>
                  <a:pt x="1289" y="1494"/>
                </a:lnTo>
                <a:lnTo>
                  <a:pt x="1283" y="1494"/>
                </a:lnTo>
                <a:lnTo>
                  <a:pt x="1278" y="1496"/>
                </a:lnTo>
                <a:lnTo>
                  <a:pt x="1273" y="1499"/>
                </a:lnTo>
                <a:lnTo>
                  <a:pt x="1268" y="1502"/>
                </a:lnTo>
                <a:lnTo>
                  <a:pt x="1265" y="1506"/>
                </a:lnTo>
                <a:lnTo>
                  <a:pt x="1264" y="1508"/>
                </a:lnTo>
                <a:lnTo>
                  <a:pt x="1262" y="1512"/>
                </a:lnTo>
                <a:lnTo>
                  <a:pt x="1260" y="1517"/>
                </a:lnTo>
                <a:lnTo>
                  <a:pt x="1260" y="1523"/>
                </a:lnTo>
                <a:lnTo>
                  <a:pt x="1260" y="1567"/>
                </a:lnTo>
                <a:lnTo>
                  <a:pt x="1260" y="1573"/>
                </a:lnTo>
                <a:lnTo>
                  <a:pt x="1262" y="1579"/>
                </a:lnTo>
                <a:lnTo>
                  <a:pt x="1265" y="1584"/>
                </a:lnTo>
                <a:lnTo>
                  <a:pt x="1268" y="1589"/>
                </a:lnTo>
                <a:lnTo>
                  <a:pt x="1273" y="1592"/>
                </a:lnTo>
                <a:lnTo>
                  <a:pt x="1276" y="1594"/>
                </a:lnTo>
                <a:lnTo>
                  <a:pt x="1278" y="1595"/>
                </a:lnTo>
                <a:lnTo>
                  <a:pt x="1283" y="1596"/>
                </a:lnTo>
                <a:lnTo>
                  <a:pt x="1289" y="1597"/>
                </a:lnTo>
                <a:lnTo>
                  <a:pt x="1419" y="1597"/>
                </a:lnTo>
                <a:lnTo>
                  <a:pt x="1431" y="1596"/>
                </a:lnTo>
                <a:lnTo>
                  <a:pt x="1443" y="1595"/>
                </a:lnTo>
                <a:lnTo>
                  <a:pt x="1455" y="1594"/>
                </a:lnTo>
                <a:lnTo>
                  <a:pt x="1467" y="1591"/>
                </a:lnTo>
                <a:lnTo>
                  <a:pt x="1479" y="1588"/>
                </a:lnTo>
                <a:lnTo>
                  <a:pt x="1491" y="1583"/>
                </a:lnTo>
                <a:lnTo>
                  <a:pt x="1502" y="1578"/>
                </a:lnTo>
                <a:lnTo>
                  <a:pt x="1512" y="1573"/>
                </a:lnTo>
                <a:lnTo>
                  <a:pt x="1523" y="1567"/>
                </a:lnTo>
                <a:lnTo>
                  <a:pt x="1533" y="1561"/>
                </a:lnTo>
                <a:lnTo>
                  <a:pt x="1544" y="1554"/>
                </a:lnTo>
                <a:lnTo>
                  <a:pt x="1553" y="1546"/>
                </a:lnTo>
                <a:lnTo>
                  <a:pt x="1558" y="1542"/>
                </a:lnTo>
                <a:lnTo>
                  <a:pt x="1562" y="1537"/>
                </a:lnTo>
                <a:lnTo>
                  <a:pt x="1566" y="1534"/>
                </a:lnTo>
                <a:lnTo>
                  <a:pt x="1571" y="1529"/>
                </a:lnTo>
                <a:lnTo>
                  <a:pt x="1578" y="1519"/>
                </a:lnTo>
                <a:lnTo>
                  <a:pt x="1587" y="1510"/>
                </a:lnTo>
                <a:lnTo>
                  <a:pt x="2168" y="709"/>
                </a:lnTo>
                <a:lnTo>
                  <a:pt x="2171" y="703"/>
                </a:lnTo>
                <a:lnTo>
                  <a:pt x="2173" y="698"/>
                </a:lnTo>
                <a:lnTo>
                  <a:pt x="2173" y="692"/>
                </a:lnTo>
                <a:lnTo>
                  <a:pt x="2173" y="686"/>
                </a:lnTo>
                <a:lnTo>
                  <a:pt x="2172" y="682"/>
                </a:lnTo>
                <a:lnTo>
                  <a:pt x="2170" y="677"/>
                </a:lnTo>
                <a:lnTo>
                  <a:pt x="2166" y="672"/>
                </a:lnTo>
                <a:lnTo>
                  <a:pt x="2164" y="670"/>
                </a:lnTo>
                <a:lnTo>
                  <a:pt x="2161" y="667"/>
                </a:lnTo>
                <a:close/>
                <a:moveTo>
                  <a:pt x="521" y="427"/>
                </a:moveTo>
                <a:lnTo>
                  <a:pt x="602" y="537"/>
                </a:lnTo>
                <a:lnTo>
                  <a:pt x="214" y="819"/>
                </a:lnTo>
                <a:lnTo>
                  <a:pt x="133" y="708"/>
                </a:lnTo>
                <a:lnTo>
                  <a:pt x="521" y="427"/>
                </a:lnTo>
                <a:close/>
                <a:moveTo>
                  <a:pt x="793" y="1011"/>
                </a:moveTo>
                <a:lnTo>
                  <a:pt x="788" y="1017"/>
                </a:lnTo>
                <a:lnTo>
                  <a:pt x="787" y="1024"/>
                </a:lnTo>
                <a:lnTo>
                  <a:pt x="785" y="1031"/>
                </a:lnTo>
                <a:lnTo>
                  <a:pt x="785" y="1039"/>
                </a:lnTo>
                <a:lnTo>
                  <a:pt x="788" y="1046"/>
                </a:lnTo>
                <a:lnTo>
                  <a:pt x="790" y="1052"/>
                </a:lnTo>
                <a:lnTo>
                  <a:pt x="795" y="1058"/>
                </a:lnTo>
                <a:lnTo>
                  <a:pt x="800" y="1063"/>
                </a:lnTo>
                <a:lnTo>
                  <a:pt x="812" y="1071"/>
                </a:lnTo>
                <a:lnTo>
                  <a:pt x="823" y="1078"/>
                </a:lnTo>
                <a:lnTo>
                  <a:pt x="832" y="1084"/>
                </a:lnTo>
                <a:lnTo>
                  <a:pt x="843" y="1090"/>
                </a:lnTo>
                <a:lnTo>
                  <a:pt x="854" y="1096"/>
                </a:lnTo>
                <a:lnTo>
                  <a:pt x="876" y="1106"/>
                </a:lnTo>
                <a:lnTo>
                  <a:pt x="886" y="1111"/>
                </a:lnTo>
                <a:lnTo>
                  <a:pt x="897" y="1114"/>
                </a:lnTo>
                <a:lnTo>
                  <a:pt x="920" y="1120"/>
                </a:lnTo>
                <a:lnTo>
                  <a:pt x="943" y="1125"/>
                </a:lnTo>
                <a:lnTo>
                  <a:pt x="966" y="1127"/>
                </a:lnTo>
                <a:lnTo>
                  <a:pt x="988" y="1129"/>
                </a:lnTo>
                <a:lnTo>
                  <a:pt x="1009" y="1127"/>
                </a:lnTo>
                <a:lnTo>
                  <a:pt x="1028" y="1125"/>
                </a:lnTo>
                <a:lnTo>
                  <a:pt x="1095" y="1218"/>
                </a:lnTo>
                <a:lnTo>
                  <a:pt x="1103" y="1228"/>
                </a:lnTo>
                <a:lnTo>
                  <a:pt x="1107" y="1239"/>
                </a:lnTo>
                <a:lnTo>
                  <a:pt x="1110" y="1245"/>
                </a:lnTo>
                <a:lnTo>
                  <a:pt x="1112" y="1251"/>
                </a:lnTo>
                <a:lnTo>
                  <a:pt x="1115" y="1263"/>
                </a:lnTo>
                <a:lnTo>
                  <a:pt x="1116" y="1269"/>
                </a:lnTo>
                <a:lnTo>
                  <a:pt x="1116" y="1276"/>
                </a:lnTo>
                <a:lnTo>
                  <a:pt x="1116" y="1282"/>
                </a:lnTo>
                <a:lnTo>
                  <a:pt x="1116" y="1288"/>
                </a:lnTo>
                <a:lnTo>
                  <a:pt x="1115" y="1294"/>
                </a:lnTo>
                <a:lnTo>
                  <a:pt x="1113" y="1300"/>
                </a:lnTo>
                <a:lnTo>
                  <a:pt x="1112" y="1306"/>
                </a:lnTo>
                <a:lnTo>
                  <a:pt x="1111" y="1312"/>
                </a:lnTo>
                <a:lnTo>
                  <a:pt x="1076" y="1421"/>
                </a:lnTo>
                <a:lnTo>
                  <a:pt x="1073" y="1428"/>
                </a:lnTo>
                <a:lnTo>
                  <a:pt x="1069" y="1436"/>
                </a:lnTo>
                <a:lnTo>
                  <a:pt x="1065" y="1443"/>
                </a:lnTo>
                <a:lnTo>
                  <a:pt x="1061" y="1451"/>
                </a:lnTo>
                <a:lnTo>
                  <a:pt x="1056" y="1457"/>
                </a:lnTo>
                <a:lnTo>
                  <a:pt x="1050" y="1463"/>
                </a:lnTo>
                <a:lnTo>
                  <a:pt x="1044" y="1469"/>
                </a:lnTo>
                <a:lnTo>
                  <a:pt x="1038" y="1474"/>
                </a:lnTo>
                <a:lnTo>
                  <a:pt x="1031" y="1478"/>
                </a:lnTo>
                <a:lnTo>
                  <a:pt x="1023" y="1482"/>
                </a:lnTo>
                <a:lnTo>
                  <a:pt x="1016" y="1486"/>
                </a:lnTo>
                <a:lnTo>
                  <a:pt x="1008" y="1488"/>
                </a:lnTo>
                <a:lnTo>
                  <a:pt x="999" y="1490"/>
                </a:lnTo>
                <a:lnTo>
                  <a:pt x="991" y="1493"/>
                </a:lnTo>
                <a:lnTo>
                  <a:pt x="982" y="1493"/>
                </a:lnTo>
                <a:lnTo>
                  <a:pt x="974" y="1494"/>
                </a:lnTo>
                <a:lnTo>
                  <a:pt x="755" y="1494"/>
                </a:lnTo>
                <a:lnTo>
                  <a:pt x="743" y="1493"/>
                </a:lnTo>
                <a:lnTo>
                  <a:pt x="737" y="1492"/>
                </a:lnTo>
                <a:lnTo>
                  <a:pt x="731" y="1490"/>
                </a:lnTo>
                <a:lnTo>
                  <a:pt x="725" y="1489"/>
                </a:lnTo>
                <a:lnTo>
                  <a:pt x="719" y="1487"/>
                </a:lnTo>
                <a:lnTo>
                  <a:pt x="709" y="1481"/>
                </a:lnTo>
                <a:lnTo>
                  <a:pt x="703" y="1478"/>
                </a:lnTo>
                <a:lnTo>
                  <a:pt x="698" y="1475"/>
                </a:lnTo>
                <a:lnTo>
                  <a:pt x="688" y="1468"/>
                </a:lnTo>
                <a:lnTo>
                  <a:pt x="683" y="1463"/>
                </a:lnTo>
                <a:lnTo>
                  <a:pt x="678" y="1458"/>
                </a:lnTo>
                <a:lnTo>
                  <a:pt x="671" y="1448"/>
                </a:lnTo>
                <a:lnTo>
                  <a:pt x="275" y="903"/>
                </a:lnTo>
                <a:lnTo>
                  <a:pt x="682" y="607"/>
                </a:lnTo>
                <a:lnTo>
                  <a:pt x="990" y="713"/>
                </a:lnTo>
                <a:lnTo>
                  <a:pt x="1004" y="720"/>
                </a:lnTo>
                <a:lnTo>
                  <a:pt x="1001" y="724"/>
                </a:lnTo>
                <a:lnTo>
                  <a:pt x="998" y="727"/>
                </a:lnTo>
                <a:lnTo>
                  <a:pt x="898" y="863"/>
                </a:lnTo>
                <a:lnTo>
                  <a:pt x="793" y="1011"/>
                </a:lnTo>
                <a:close/>
                <a:moveTo>
                  <a:pt x="1961" y="819"/>
                </a:moveTo>
                <a:lnTo>
                  <a:pt x="1572" y="537"/>
                </a:lnTo>
                <a:lnTo>
                  <a:pt x="1653" y="427"/>
                </a:lnTo>
                <a:lnTo>
                  <a:pt x="2041" y="708"/>
                </a:lnTo>
                <a:lnTo>
                  <a:pt x="1961" y="81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srgbClr val="00205B"/>
              </a:solidFill>
              <a:effectLst/>
              <a:uLnTx/>
              <a:uFillTx/>
              <a:latin typeface="Skatta Sans Regular"/>
              <a:ea typeface="+mn-ea"/>
              <a:cs typeface="+mn-cs"/>
            </a:endParaRPr>
          </a:p>
        </p:txBody>
      </p:sp>
      <p:sp>
        <p:nvSpPr>
          <p:cNvPr id="8" name="Otsikko 7"/>
          <p:cNvSpPr>
            <a:spLocks noGrp="1"/>
          </p:cNvSpPr>
          <p:nvPr>
            <p:ph type="title"/>
          </p:nvPr>
        </p:nvSpPr>
        <p:spPr>
          <a:xfrm>
            <a:off x="623395" y="702017"/>
            <a:ext cx="11089227" cy="100806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i-FI" sz="2400" cap="all" dirty="0"/>
              <a:t>Suomalaisten arvostama, alan luotetuin rautakauppa, </a:t>
            </a:r>
            <a:br>
              <a:rPr lang="fi-FI" sz="2400" cap="all" dirty="0"/>
            </a:br>
            <a:r>
              <a:rPr lang="fi-FI" sz="2400" cap="all" dirty="0"/>
              <a:t>joka palvelee ammattitaitoisesti kaikkialla Suomessa</a:t>
            </a:r>
          </a:p>
        </p:txBody>
      </p:sp>
      <p:sp>
        <p:nvSpPr>
          <p:cNvPr id="2" name="Alatunnisteen paikkamerkki 1">
            <a:extLst>
              <a:ext uri="{FF2B5EF4-FFF2-40B4-BE49-F238E27FC236}">
                <a16:creationId xmlns:a16="http://schemas.microsoft.com/office/drawing/2014/main" id="{CA7D9BB0-FFC2-5F7C-5DF6-7ECBE8BFBA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0" i="0" u="none" strike="noStrike" kern="1200" cap="none" spc="0" normalizeH="0" baseline="0" noProof="0">
                <a:ln>
                  <a:noFill/>
                </a:ln>
                <a:solidFill>
                  <a:srgbClr val="FF6900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rPr>
              <a:t>RIA - RKL yrittäjäpäivä 1.11.2023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6900"/>
              </a:solidFill>
              <a:effectLst/>
              <a:uLnTx/>
              <a:uFillTx/>
              <a:latin typeface="Skatta Sans Regular"/>
              <a:ea typeface="+mn-ea"/>
              <a:cs typeface="+mn-cs"/>
            </a:endParaRPr>
          </a:p>
        </p:txBody>
      </p:sp>
      <p:sp>
        <p:nvSpPr>
          <p:cNvPr id="6" name="Suorakulmio 5"/>
          <p:cNvSpPr/>
          <p:nvPr/>
        </p:nvSpPr>
        <p:spPr>
          <a:xfrm>
            <a:off x="1559496" y="3356676"/>
            <a:ext cx="2664296" cy="122445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rPr>
              <a:t>Kattavin myymäläverkost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Black"/>
                <a:ea typeface="+mn-ea"/>
                <a:cs typeface="+mn-cs"/>
              </a:rPr>
              <a:t>Yli 100 kauppiasta </a:t>
            </a: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rPr>
              <a:t>ja kauppa-</a:t>
            </a:r>
            <a:b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rPr>
            </a:b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rPr>
              <a:t>kohtaiset liikeidea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srgbClr val="FF6900"/>
                </a:solidFill>
                <a:effectLst/>
                <a:uLnTx/>
                <a:uFillTx/>
                <a:latin typeface="Skatta Sans Bold" panose="00000800000000000000" pitchFamily="2" charset="0"/>
                <a:ea typeface="+mn-ea"/>
                <a:cs typeface="+mn-cs"/>
              </a:rPr>
              <a:t>Verkkokaupat k-rauta.fi ja</a:t>
            </a:r>
            <a:b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srgbClr val="FF6900"/>
                </a:solidFill>
                <a:effectLst/>
                <a:uLnTx/>
                <a:uFillTx/>
                <a:latin typeface="Skatta Sans Bold" panose="00000800000000000000" pitchFamily="2" charset="0"/>
                <a:ea typeface="+mn-ea"/>
                <a:cs typeface="+mn-cs"/>
              </a:rPr>
            </a:b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srgbClr val="FF6900"/>
                </a:solidFill>
                <a:effectLst/>
                <a:uLnTx/>
                <a:uFillTx/>
                <a:latin typeface="Skatta Sans Bold" panose="00000800000000000000" pitchFamily="2" charset="0"/>
                <a:ea typeface="+mn-ea"/>
                <a:cs typeface="+mn-cs"/>
              </a:rPr>
              <a:t>k-rautapro.fi</a:t>
            </a:r>
          </a:p>
        </p:txBody>
      </p:sp>
      <p:sp>
        <p:nvSpPr>
          <p:cNvPr id="14" name="Freeform 31"/>
          <p:cNvSpPr>
            <a:spLocks noChangeAspect="1" noEditPoints="1"/>
          </p:cNvSpPr>
          <p:nvPr/>
        </p:nvSpPr>
        <p:spPr bwMode="auto">
          <a:xfrm>
            <a:off x="997596" y="4869160"/>
            <a:ext cx="442777" cy="360000"/>
          </a:xfrm>
          <a:custGeom>
            <a:avLst/>
            <a:gdLst>
              <a:gd name="T0" fmla="*/ 3 w 1134"/>
              <a:gd name="T1" fmla="*/ 723 h 922"/>
              <a:gd name="T2" fmla="*/ 1 w 1134"/>
              <a:gd name="T3" fmla="*/ 900 h 922"/>
              <a:gd name="T4" fmla="*/ 58 w 1134"/>
              <a:gd name="T5" fmla="*/ 920 h 922"/>
              <a:gd name="T6" fmla="*/ 66 w 1134"/>
              <a:gd name="T7" fmla="*/ 722 h 922"/>
              <a:gd name="T8" fmla="*/ 249 w 1134"/>
              <a:gd name="T9" fmla="*/ 721 h 922"/>
              <a:gd name="T10" fmla="*/ 246 w 1134"/>
              <a:gd name="T11" fmla="*/ 896 h 922"/>
              <a:gd name="T12" fmla="*/ 262 w 1134"/>
              <a:gd name="T13" fmla="*/ 920 h 922"/>
              <a:gd name="T14" fmla="*/ 399 w 1134"/>
              <a:gd name="T15" fmla="*/ 812 h 922"/>
              <a:gd name="T16" fmla="*/ 497 w 1134"/>
              <a:gd name="T17" fmla="*/ 720 h 922"/>
              <a:gd name="T18" fmla="*/ 492 w 1134"/>
              <a:gd name="T19" fmla="*/ 893 h 922"/>
              <a:gd name="T20" fmla="*/ 506 w 1134"/>
              <a:gd name="T21" fmla="*/ 920 h 922"/>
              <a:gd name="T22" fmla="*/ 642 w 1134"/>
              <a:gd name="T23" fmla="*/ 812 h 922"/>
              <a:gd name="T24" fmla="*/ 739 w 1134"/>
              <a:gd name="T25" fmla="*/ 723 h 922"/>
              <a:gd name="T26" fmla="*/ 734 w 1134"/>
              <a:gd name="T27" fmla="*/ 898 h 922"/>
              <a:gd name="T28" fmla="*/ 787 w 1134"/>
              <a:gd name="T29" fmla="*/ 922 h 922"/>
              <a:gd name="T30" fmla="*/ 884 w 1134"/>
              <a:gd name="T31" fmla="*/ 809 h 922"/>
              <a:gd name="T32" fmla="*/ 980 w 1134"/>
              <a:gd name="T33" fmla="*/ 725 h 922"/>
              <a:gd name="T34" fmla="*/ 979 w 1134"/>
              <a:gd name="T35" fmla="*/ 900 h 922"/>
              <a:gd name="T36" fmla="*/ 1036 w 1134"/>
              <a:gd name="T37" fmla="*/ 920 h 922"/>
              <a:gd name="T38" fmla="*/ 1044 w 1134"/>
              <a:gd name="T39" fmla="*/ 722 h 922"/>
              <a:gd name="T40" fmla="*/ 871 w 1134"/>
              <a:gd name="T41" fmla="*/ 536 h 922"/>
              <a:gd name="T42" fmla="*/ 908 w 1134"/>
              <a:gd name="T43" fmla="*/ 490 h 922"/>
              <a:gd name="T44" fmla="*/ 954 w 1134"/>
              <a:gd name="T45" fmla="*/ 532 h 922"/>
              <a:gd name="T46" fmla="*/ 912 w 1134"/>
              <a:gd name="T47" fmla="*/ 573 h 922"/>
              <a:gd name="T48" fmla="*/ 263 w 1134"/>
              <a:gd name="T49" fmla="*/ 527 h 922"/>
              <a:gd name="T50" fmla="*/ 230 w 1134"/>
              <a:gd name="T51" fmla="*/ 573 h 922"/>
              <a:gd name="T52" fmla="*/ 180 w 1134"/>
              <a:gd name="T53" fmla="*/ 536 h 922"/>
              <a:gd name="T54" fmla="*/ 209 w 1134"/>
              <a:gd name="T55" fmla="*/ 492 h 922"/>
              <a:gd name="T56" fmla="*/ 940 w 1134"/>
              <a:gd name="T57" fmla="*/ 3 h 922"/>
              <a:gd name="T58" fmla="*/ 58 w 1134"/>
              <a:gd name="T59" fmla="*/ 13 h 922"/>
              <a:gd name="T60" fmla="*/ 2 w 1134"/>
              <a:gd name="T61" fmla="*/ 98 h 922"/>
              <a:gd name="T62" fmla="*/ 46 w 1134"/>
              <a:gd name="T63" fmla="*/ 531 h 922"/>
              <a:gd name="T64" fmla="*/ 153 w 1134"/>
              <a:gd name="T65" fmla="*/ 606 h 922"/>
              <a:gd name="T66" fmla="*/ 242 w 1134"/>
              <a:gd name="T67" fmla="*/ 632 h 922"/>
              <a:gd name="T68" fmla="*/ 320 w 1134"/>
              <a:gd name="T69" fmla="*/ 557 h 922"/>
              <a:gd name="T70" fmla="*/ 300 w 1134"/>
              <a:gd name="T71" fmla="*/ 468 h 922"/>
              <a:gd name="T72" fmla="*/ 214 w 1134"/>
              <a:gd name="T73" fmla="*/ 431 h 922"/>
              <a:gd name="T74" fmla="*/ 134 w 1134"/>
              <a:gd name="T75" fmla="*/ 483 h 922"/>
              <a:gd name="T76" fmla="*/ 63 w 1134"/>
              <a:gd name="T77" fmla="*/ 460 h 922"/>
              <a:gd name="T78" fmla="*/ 119 w 1134"/>
              <a:gd name="T79" fmla="*/ 336 h 922"/>
              <a:gd name="T80" fmla="*/ 107 w 1134"/>
              <a:gd name="T81" fmla="*/ 286 h 922"/>
              <a:gd name="T82" fmla="*/ 83 w 1134"/>
              <a:gd name="T83" fmla="*/ 67 h 922"/>
              <a:gd name="T84" fmla="*/ 635 w 1134"/>
              <a:gd name="T85" fmla="*/ 292 h 922"/>
              <a:gd name="T86" fmla="*/ 640 w 1134"/>
              <a:gd name="T87" fmla="*/ 344 h 922"/>
              <a:gd name="T88" fmla="*/ 708 w 1134"/>
              <a:gd name="T89" fmla="*/ 441 h 922"/>
              <a:gd name="T90" fmla="*/ 915 w 1134"/>
              <a:gd name="T91" fmla="*/ 59 h 922"/>
              <a:gd name="T92" fmla="*/ 1074 w 1134"/>
              <a:gd name="T93" fmla="*/ 257 h 922"/>
              <a:gd name="T94" fmla="*/ 1013 w 1134"/>
              <a:gd name="T95" fmla="*/ 305 h 922"/>
              <a:gd name="T96" fmla="*/ 1074 w 1134"/>
              <a:gd name="T97" fmla="*/ 442 h 922"/>
              <a:gd name="T98" fmla="*/ 1042 w 1134"/>
              <a:gd name="T99" fmla="*/ 488 h 922"/>
              <a:gd name="T100" fmla="*/ 950 w 1134"/>
              <a:gd name="T101" fmla="*/ 436 h 922"/>
              <a:gd name="T102" fmla="*/ 852 w 1134"/>
              <a:gd name="T103" fmla="*/ 449 h 922"/>
              <a:gd name="T104" fmla="*/ 387 w 1134"/>
              <a:gd name="T105" fmla="*/ 504 h 922"/>
              <a:gd name="T106" fmla="*/ 392 w 1134"/>
              <a:gd name="T107" fmla="*/ 559 h 922"/>
              <a:gd name="T108" fmla="*/ 865 w 1134"/>
              <a:gd name="T109" fmla="*/ 621 h 922"/>
              <a:gd name="T110" fmla="*/ 961 w 1134"/>
              <a:gd name="T111" fmla="*/ 620 h 922"/>
              <a:gd name="T112" fmla="*/ 1055 w 1134"/>
              <a:gd name="T113" fmla="*/ 546 h 922"/>
              <a:gd name="T114" fmla="*/ 1131 w 1134"/>
              <a:gd name="T115" fmla="*/ 462 h 922"/>
              <a:gd name="T116" fmla="*/ 951 w 1134"/>
              <a:gd name="T117" fmla="*/ 241 h 922"/>
              <a:gd name="T118" fmla="*/ 965 w 1134"/>
              <a:gd name="T119" fmla="*/ 190 h 922"/>
              <a:gd name="T120" fmla="*/ 811 w 1134"/>
              <a:gd name="T121" fmla="*/ 195 h 9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134" h="922">
                <a:moveTo>
                  <a:pt x="66" y="722"/>
                </a:moveTo>
                <a:lnTo>
                  <a:pt x="64" y="720"/>
                </a:lnTo>
                <a:lnTo>
                  <a:pt x="62" y="718"/>
                </a:lnTo>
                <a:lnTo>
                  <a:pt x="58" y="716"/>
                </a:lnTo>
                <a:lnTo>
                  <a:pt x="55" y="716"/>
                </a:lnTo>
                <a:lnTo>
                  <a:pt x="18" y="716"/>
                </a:lnTo>
                <a:lnTo>
                  <a:pt x="17" y="716"/>
                </a:lnTo>
                <a:lnTo>
                  <a:pt x="14" y="716"/>
                </a:lnTo>
                <a:lnTo>
                  <a:pt x="11" y="717"/>
                </a:lnTo>
                <a:lnTo>
                  <a:pt x="8" y="719"/>
                </a:lnTo>
                <a:lnTo>
                  <a:pt x="6" y="720"/>
                </a:lnTo>
                <a:lnTo>
                  <a:pt x="5" y="721"/>
                </a:lnTo>
                <a:lnTo>
                  <a:pt x="3" y="723"/>
                </a:lnTo>
                <a:lnTo>
                  <a:pt x="1" y="726"/>
                </a:lnTo>
                <a:lnTo>
                  <a:pt x="0" y="729"/>
                </a:lnTo>
                <a:lnTo>
                  <a:pt x="0" y="733"/>
                </a:lnTo>
                <a:lnTo>
                  <a:pt x="1" y="736"/>
                </a:lnTo>
                <a:lnTo>
                  <a:pt x="2" y="740"/>
                </a:lnTo>
                <a:lnTo>
                  <a:pt x="4" y="743"/>
                </a:lnTo>
                <a:lnTo>
                  <a:pt x="6" y="745"/>
                </a:lnTo>
                <a:lnTo>
                  <a:pt x="79" y="818"/>
                </a:lnTo>
                <a:lnTo>
                  <a:pt x="6" y="891"/>
                </a:lnTo>
                <a:lnTo>
                  <a:pt x="5" y="892"/>
                </a:lnTo>
                <a:lnTo>
                  <a:pt x="4" y="893"/>
                </a:lnTo>
                <a:lnTo>
                  <a:pt x="2" y="896"/>
                </a:lnTo>
                <a:lnTo>
                  <a:pt x="1" y="900"/>
                </a:lnTo>
                <a:lnTo>
                  <a:pt x="0" y="903"/>
                </a:lnTo>
                <a:lnTo>
                  <a:pt x="0" y="907"/>
                </a:lnTo>
                <a:lnTo>
                  <a:pt x="1" y="910"/>
                </a:lnTo>
                <a:lnTo>
                  <a:pt x="3" y="913"/>
                </a:lnTo>
                <a:lnTo>
                  <a:pt x="4" y="914"/>
                </a:lnTo>
                <a:lnTo>
                  <a:pt x="5" y="915"/>
                </a:lnTo>
                <a:lnTo>
                  <a:pt x="8" y="918"/>
                </a:lnTo>
                <a:lnTo>
                  <a:pt x="11" y="919"/>
                </a:lnTo>
                <a:lnTo>
                  <a:pt x="14" y="920"/>
                </a:lnTo>
                <a:lnTo>
                  <a:pt x="17" y="920"/>
                </a:lnTo>
                <a:lnTo>
                  <a:pt x="18" y="920"/>
                </a:lnTo>
                <a:lnTo>
                  <a:pt x="55" y="920"/>
                </a:lnTo>
                <a:lnTo>
                  <a:pt x="58" y="920"/>
                </a:lnTo>
                <a:lnTo>
                  <a:pt x="61" y="919"/>
                </a:lnTo>
                <a:lnTo>
                  <a:pt x="64" y="917"/>
                </a:lnTo>
                <a:lnTo>
                  <a:pt x="66" y="915"/>
                </a:lnTo>
                <a:lnTo>
                  <a:pt x="150" y="830"/>
                </a:lnTo>
                <a:lnTo>
                  <a:pt x="152" y="827"/>
                </a:lnTo>
                <a:lnTo>
                  <a:pt x="154" y="824"/>
                </a:lnTo>
                <a:lnTo>
                  <a:pt x="155" y="821"/>
                </a:lnTo>
                <a:lnTo>
                  <a:pt x="155" y="817"/>
                </a:lnTo>
                <a:lnTo>
                  <a:pt x="155" y="814"/>
                </a:lnTo>
                <a:lnTo>
                  <a:pt x="154" y="810"/>
                </a:lnTo>
                <a:lnTo>
                  <a:pt x="152" y="807"/>
                </a:lnTo>
                <a:lnTo>
                  <a:pt x="150" y="805"/>
                </a:lnTo>
                <a:lnTo>
                  <a:pt x="66" y="722"/>
                </a:lnTo>
                <a:close/>
                <a:moveTo>
                  <a:pt x="310" y="722"/>
                </a:moveTo>
                <a:lnTo>
                  <a:pt x="309" y="721"/>
                </a:lnTo>
                <a:lnTo>
                  <a:pt x="308" y="720"/>
                </a:lnTo>
                <a:lnTo>
                  <a:pt x="305" y="718"/>
                </a:lnTo>
                <a:lnTo>
                  <a:pt x="302" y="716"/>
                </a:lnTo>
                <a:lnTo>
                  <a:pt x="299" y="716"/>
                </a:lnTo>
                <a:lnTo>
                  <a:pt x="262" y="716"/>
                </a:lnTo>
                <a:lnTo>
                  <a:pt x="261" y="716"/>
                </a:lnTo>
                <a:lnTo>
                  <a:pt x="258" y="716"/>
                </a:lnTo>
                <a:lnTo>
                  <a:pt x="254" y="717"/>
                </a:lnTo>
                <a:lnTo>
                  <a:pt x="252" y="719"/>
                </a:lnTo>
                <a:lnTo>
                  <a:pt x="250" y="720"/>
                </a:lnTo>
                <a:lnTo>
                  <a:pt x="249" y="721"/>
                </a:lnTo>
                <a:lnTo>
                  <a:pt x="247" y="723"/>
                </a:lnTo>
                <a:lnTo>
                  <a:pt x="245" y="726"/>
                </a:lnTo>
                <a:lnTo>
                  <a:pt x="244" y="729"/>
                </a:lnTo>
                <a:lnTo>
                  <a:pt x="244" y="733"/>
                </a:lnTo>
                <a:lnTo>
                  <a:pt x="244" y="736"/>
                </a:lnTo>
                <a:lnTo>
                  <a:pt x="246" y="740"/>
                </a:lnTo>
                <a:lnTo>
                  <a:pt x="248" y="743"/>
                </a:lnTo>
                <a:lnTo>
                  <a:pt x="250" y="745"/>
                </a:lnTo>
                <a:lnTo>
                  <a:pt x="323" y="818"/>
                </a:lnTo>
                <a:lnTo>
                  <a:pt x="250" y="891"/>
                </a:lnTo>
                <a:lnTo>
                  <a:pt x="249" y="892"/>
                </a:lnTo>
                <a:lnTo>
                  <a:pt x="248" y="893"/>
                </a:lnTo>
                <a:lnTo>
                  <a:pt x="246" y="896"/>
                </a:lnTo>
                <a:lnTo>
                  <a:pt x="244" y="900"/>
                </a:lnTo>
                <a:lnTo>
                  <a:pt x="244" y="903"/>
                </a:lnTo>
                <a:lnTo>
                  <a:pt x="244" y="907"/>
                </a:lnTo>
                <a:lnTo>
                  <a:pt x="245" y="910"/>
                </a:lnTo>
                <a:lnTo>
                  <a:pt x="247" y="913"/>
                </a:lnTo>
                <a:lnTo>
                  <a:pt x="248" y="914"/>
                </a:lnTo>
                <a:lnTo>
                  <a:pt x="249" y="915"/>
                </a:lnTo>
                <a:lnTo>
                  <a:pt x="252" y="918"/>
                </a:lnTo>
                <a:lnTo>
                  <a:pt x="253" y="918"/>
                </a:lnTo>
                <a:lnTo>
                  <a:pt x="254" y="919"/>
                </a:lnTo>
                <a:lnTo>
                  <a:pt x="258" y="920"/>
                </a:lnTo>
                <a:lnTo>
                  <a:pt x="261" y="920"/>
                </a:lnTo>
                <a:lnTo>
                  <a:pt x="262" y="920"/>
                </a:lnTo>
                <a:lnTo>
                  <a:pt x="299" y="920"/>
                </a:lnTo>
                <a:lnTo>
                  <a:pt x="302" y="920"/>
                </a:lnTo>
                <a:lnTo>
                  <a:pt x="305" y="919"/>
                </a:lnTo>
                <a:lnTo>
                  <a:pt x="308" y="917"/>
                </a:lnTo>
                <a:lnTo>
                  <a:pt x="310" y="915"/>
                </a:lnTo>
                <a:lnTo>
                  <a:pt x="395" y="831"/>
                </a:lnTo>
                <a:lnTo>
                  <a:pt x="396" y="830"/>
                </a:lnTo>
                <a:lnTo>
                  <a:pt x="397" y="829"/>
                </a:lnTo>
                <a:lnTo>
                  <a:pt x="399" y="826"/>
                </a:lnTo>
                <a:lnTo>
                  <a:pt x="400" y="822"/>
                </a:lnTo>
                <a:lnTo>
                  <a:pt x="400" y="819"/>
                </a:lnTo>
                <a:lnTo>
                  <a:pt x="400" y="816"/>
                </a:lnTo>
                <a:lnTo>
                  <a:pt x="399" y="812"/>
                </a:lnTo>
                <a:lnTo>
                  <a:pt x="397" y="809"/>
                </a:lnTo>
                <a:lnTo>
                  <a:pt x="395" y="807"/>
                </a:lnTo>
                <a:lnTo>
                  <a:pt x="310" y="722"/>
                </a:lnTo>
                <a:close/>
                <a:moveTo>
                  <a:pt x="554" y="722"/>
                </a:moveTo>
                <a:lnTo>
                  <a:pt x="552" y="720"/>
                </a:lnTo>
                <a:lnTo>
                  <a:pt x="549" y="719"/>
                </a:lnTo>
                <a:lnTo>
                  <a:pt x="546" y="718"/>
                </a:lnTo>
                <a:lnTo>
                  <a:pt x="543" y="718"/>
                </a:lnTo>
                <a:lnTo>
                  <a:pt x="507" y="718"/>
                </a:lnTo>
                <a:lnTo>
                  <a:pt x="506" y="718"/>
                </a:lnTo>
                <a:lnTo>
                  <a:pt x="503" y="718"/>
                </a:lnTo>
                <a:lnTo>
                  <a:pt x="500" y="719"/>
                </a:lnTo>
                <a:lnTo>
                  <a:pt x="497" y="720"/>
                </a:lnTo>
                <a:lnTo>
                  <a:pt x="494" y="723"/>
                </a:lnTo>
                <a:lnTo>
                  <a:pt x="492" y="725"/>
                </a:lnTo>
                <a:lnTo>
                  <a:pt x="490" y="728"/>
                </a:lnTo>
                <a:lnTo>
                  <a:pt x="489" y="731"/>
                </a:lnTo>
                <a:lnTo>
                  <a:pt x="489" y="735"/>
                </a:lnTo>
                <a:lnTo>
                  <a:pt x="489" y="738"/>
                </a:lnTo>
                <a:lnTo>
                  <a:pt x="491" y="741"/>
                </a:lnTo>
                <a:lnTo>
                  <a:pt x="493" y="744"/>
                </a:lnTo>
                <a:lnTo>
                  <a:pt x="495" y="747"/>
                </a:lnTo>
                <a:lnTo>
                  <a:pt x="567" y="818"/>
                </a:lnTo>
                <a:lnTo>
                  <a:pt x="494" y="891"/>
                </a:lnTo>
                <a:lnTo>
                  <a:pt x="493" y="892"/>
                </a:lnTo>
                <a:lnTo>
                  <a:pt x="492" y="893"/>
                </a:lnTo>
                <a:lnTo>
                  <a:pt x="490" y="896"/>
                </a:lnTo>
                <a:lnTo>
                  <a:pt x="488" y="900"/>
                </a:lnTo>
                <a:lnTo>
                  <a:pt x="488" y="903"/>
                </a:lnTo>
                <a:lnTo>
                  <a:pt x="488" y="907"/>
                </a:lnTo>
                <a:lnTo>
                  <a:pt x="489" y="910"/>
                </a:lnTo>
                <a:lnTo>
                  <a:pt x="491" y="913"/>
                </a:lnTo>
                <a:lnTo>
                  <a:pt x="492" y="914"/>
                </a:lnTo>
                <a:lnTo>
                  <a:pt x="493" y="915"/>
                </a:lnTo>
                <a:lnTo>
                  <a:pt x="495" y="918"/>
                </a:lnTo>
                <a:lnTo>
                  <a:pt x="498" y="919"/>
                </a:lnTo>
                <a:lnTo>
                  <a:pt x="502" y="920"/>
                </a:lnTo>
                <a:lnTo>
                  <a:pt x="505" y="920"/>
                </a:lnTo>
                <a:lnTo>
                  <a:pt x="506" y="920"/>
                </a:lnTo>
                <a:lnTo>
                  <a:pt x="542" y="920"/>
                </a:lnTo>
                <a:lnTo>
                  <a:pt x="545" y="920"/>
                </a:lnTo>
                <a:lnTo>
                  <a:pt x="548" y="919"/>
                </a:lnTo>
                <a:lnTo>
                  <a:pt x="551" y="917"/>
                </a:lnTo>
                <a:lnTo>
                  <a:pt x="554" y="915"/>
                </a:lnTo>
                <a:lnTo>
                  <a:pt x="639" y="831"/>
                </a:lnTo>
                <a:lnTo>
                  <a:pt x="640" y="830"/>
                </a:lnTo>
                <a:lnTo>
                  <a:pt x="641" y="829"/>
                </a:lnTo>
                <a:lnTo>
                  <a:pt x="642" y="826"/>
                </a:lnTo>
                <a:lnTo>
                  <a:pt x="643" y="822"/>
                </a:lnTo>
                <a:lnTo>
                  <a:pt x="643" y="819"/>
                </a:lnTo>
                <a:lnTo>
                  <a:pt x="643" y="816"/>
                </a:lnTo>
                <a:lnTo>
                  <a:pt x="642" y="812"/>
                </a:lnTo>
                <a:lnTo>
                  <a:pt x="641" y="809"/>
                </a:lnTo>
                <a:lnTo>
                  <a:pt x="639" y="807"/>
                </a:lnTo>
                <a:lnTo>
                  <a:pt x="554" y="722"/>
                </a:lnTo>
                <a:close/>
                <a:moveTo>
                  <a:pt x="800" y="722"/>
                </a:moveTo>
                <a:lnTo>
                  <a:pt x="794" y="719"/>
                </a:lnTo>
                <a:lnTo>
                  <a:pt x="791" y="718"/>
                </a:lnTo>
                <a:lnTo>
                  <a:pt x="787" y="718"/>
                </a:lnTo>
                <a:lnTo>
                  <a:pt x="751" y="718"/>
                </a:lnTo>
                <a:lnTo>
                  <a:pt x="747" y="718"/>
                </a:lnTo>
                <a:lnTo>
                  <a:pt x="744" y="719"/>
                </a:lnTo>
                <a:lnTo>
                  <a:pt x="741" y="720"/>
                </a:lnTo>
                <a:lnTo>
                  <a:pt x="740" y="721"/>
                </a:lnTo>
                <a:lnTo>
                  <a:pt x="739" y="723"/>
                </a:lnTo>
                <a:lnTo>
                  <a:pt x="735" y="725"/>
                </a:lnTo>
                <a:lnTo>
                  <a:pt x="734" y="728"/>
                </a:lnTo>
                <a:lnTo>
                  <a:pt x="733" y="731"/>
                </a:lnTo>
                <a:lnTo>
                  <a:pt x="733" y="735"/>
                </a:lnTo>
                <a:lnTo>
                  <a:pt x="733" y="738"/>
                </a:lnTo>
                <a:lnTo>
                  <a:pt x="734" y="741"/>
                </a:lnTo>
                <a:lnTo>
                  <a:pt x="737" y="744"/>
                </a:lnTo>
                <a:lnTo>
                  <a:pt x="739" y="747"/>
                </a:lnTo>
                <a:lnTo>
                  <a:pt x="812" y="820"/>
                </a:lnTo>
                <a:lnTo>
                  <a:pt x="739" y="893"/>
                </a:lnTo>
                <a:lnTo>
                  <a:pt x="738" y="894"/>
                </a:lnTo>
                <a:lnTo>
                  <a:pt x="737" y="895"/>
                </a:lnTo>
                <a:lnTo>
                  <a:pt x="734" y="898"/>
                </a:lnTo>
                <a:lnTo>
                  <a:pt x="733" y="902"/>
                </a:lnTo>
                <a:lnTo>
                  <a:pt x="733" y="905"/>
                </a:lnTo>
                <a:lnTo>
                  <a:pt x="733" y="909"/>
                </a:lnTo>
                <a:lnTo>
                  <a:pt x="734" y="912"/>
                </a:lnTo>
                <a:lnTo>
                  <a:pt x="735" y="915"/>
                </a:lnTo>
                <a:lnTo>
                  <a:pt x="737" y="916"/>
                </a:lnTo>
                <a:lnTo>
                  <a:pt x="739" y="917"/>
                </a:lnTo>
                <a:lnTo>
                  <a:pt x="741" y="919"/>
                </a:lnTo>
                <a:lnTo>
                  <a:pt x="744" y="921"/>
                </a:lnTo>
                <a:lnTo>
                  <a:pt x="747" y="922"/>
                </a:lnTo>
                <a:lnTo>
                  <a:pt x="751" y="922"/>
                </a:lnTo>
                <a:lnTo>
                  <a:pt x="752" y="922"/>
                </a:lnTo>
                <a:lnTo>
                  <a:pt x="787" y="922"/>
                </a:lnTo>
                <a:lnTo>
                  <a:pt x="791" y="922"/>
                </a:lnTo>
                <a:lnTo>
                  <a:pt x="794" y="921"/>
                </a:lnTo>
                <a:lnTo>
                  <a:pt x="797" y="919"/>
                </a:lnTo>
                <a:lnTo>
                  <a:pt x="799" y="917"/>
                </a:lnTo>
                <a:lnTo>
                  <a:pt x="884" y="832"/>
                </a:lnTo>
                <a:lnTo>
                  <a:pt x="886" y="830"/>
                </a:lnTo>
                <a:lnTo>
                  <a:pt x="887" y="828"/>
                </a:lnTo>
                <a:lnTo>
                  <a:pt x="888" y="824"/>
                </a:lnTo>
                <a:lnTo>
                  <a:pt x="889" y="821"/>
                </a:lnTo>
                <a:lnTo>
                  <a:pt x="888" y="817"/>
                </a:lnTo>
                <a:lnTo>
                  <a:pt x="887" y="814"/>
                </a:lnTo>
                <a:lnTo>
                  <a:pt x="886" y="811"/>
                </a:lnTo>
                <a:lnTo>
                  <a:pt x="884" y="809"/>
                </a:lnTo>
                <a:lnTo>
                  <a:pt x="800" y="722"/>
                </a:lnTo>
                <a:close/>
                <a:moveTo>
                  <a:pt x="1044" y="722"/>
                </a:moveTo>
                <a:lnTo>
                  <a:pt x="1038" y="719"/>
                </a:lnTo>
                <a:lnTo>
                  <a:pt x="1035" y="718"/>
                </a:lnTo>
                <a:lnTo>
                  <a:pt x="1031" y="718"/>
                </a:lnTo>
                <a:lnTo>
                  <a:pt x="996" y="718"/>
                </a:lnTo>
                <a:lnTo>
                  <a:pt x="995" y="718"/>
                </a:lnTo>
                <a:lnTo>
                  <a:pt x="991" y="718"/>
                </a:lnTo>
                <a:lnTo>
                  <a:pt x="988" y="719"/>
                </a:lnTo>
                <a:lnTo>
                  <a:pt x="985" y="720"/>
                </a:lnTo>
                <a:lnTo>
                  <a:pt x="984" y="721"/>
                </a:lnTo>
                <a:lnTo>
                  <a:pt x="983" y="723"/>
                </a:lnTo>
                <a:lnTo>
                  <a:pt x="980" y="725"/>
                </a:lnTo>
                <a:lnTo>
                  <a:pt x="979" y="728"/>
                </a:lnTo>
                <a:lnTo>
                  <a:pt x="978" y="731"/>
                </a:lnTo>
                <a:lnTo>
                  <a:pt x="978" y="735"/>
                </a:lnTo>
                <a:lnTo>
                  <a:pt x="978" y="738"/>
                </a:lnTo>
                <a:lnTo>
                  <a:pt x="979" y="741"/>
                </a:lnTo>
                <a:lnTo>
                  <a:pt x="981" y="744"/>
                </a:lnTo>
                <a:lnTo>
                  <a:pt x="983" y="747"/>
                </a:lnTo>
                <a:lnTo>
                  <a:pt x="1056" y="820"/>
                </a:lnTo>
                <a:lnTo>
                  <a:pt x="984" y="891"/>
                </a:lnTo>
                <a:lnTo>
                  <a:pt x="983" y="892"/>
                </a:lnTo>
                <a:lnTo>
                  <a:pt x="982" y="893"/>
                </a:lnTo>
                <a:lnTo>
                  <a:pt x="980" y="896"/>
                </a:lnTo>
                <a:lnTo>
                  <a:pt x="979" y="900"/>
                </a:lnTo>
                <a:lnTo>
                  <a:pt x="978" y="903"/>
                </a:lnTo>
                <a:lnTo>
                  <a:pt x="979" y="907"/>
                </a:lnTo>
                <a:lnTo>
                  <a:pt x="980" y="910"/>
                </a:lnTo>
                <a:lnTo>
                  <a:pt x="981" y="913"/>
                </a:lnTo>
                <a:lnTo>
                  <a:pt x="982" y="914"/>
                </a:lnTo>
                <a:lnTo>
                  <a:pt x="983" y="915"/>
                </a:lnTo>
                <a:lnTo>
                  <a:pt x="986" y="918"/>
                </a:lnTo>
                <a:lnTo>
                  <a:pt x="987" y="918"/>
                </a:lnTo>
                <a:lnTo>
                  <a:pt x="989" y="919"/>
                </a:lnTo>
                <a:lnTo>
                  <a:pt x="992" y="920"/>
                </a:lnTo>
                <a:lnTo>
                  <a:pt x="996" y="920"/>
                </a:lnTo>
                <a:lnTo>
                  <a:pt x="1032" y="920"/>
                </a:lnTo>
                <a:lnTo>
                  <a:pt x="1036" y="920"/>
                </a:lnTo>
                <a:lnTo>
                  <a:pt x="1039" y="919"/>
                </a:lnTo>
                <a:lnTo>
                  <a:pt x="1042" y="917"/>
                </a:lnTo>
                <a:lnTo>
                  <a:pt x="1044" y="915"/>
                </a:lnTo>
                <a:lnTo>
                  <a:pt x="1129" y="831"/>
                </a:lnTo>
                <a:lnTo>
                  <a:pt x="1131" y="829"/>
                </a:lnTo>
                <a:lnTo>
                  <a:pt x="1132" y="826"/>
                </a:lnTo>
                <a:lnTo>
                  <a:pt x="1133" y="822"/>
                </a:lnTo>
                <a:lnTo>
                  <a:pt x="1134" y="819"/>
                </a:lnTo>
                <a:lnTo>
                  <a:pt x="1133" y="816"/>
                </a:lnTo>
                <a:lnTo>
                  <a:pt x="1132" y="812"/>
                </a:lnTo>
                <a:lnTo>
                  <a:pt x="1131" y="809"/>
                </a:lnTo>
                <a:lnTo>
                  <a:pt x="1129" y="807"/>
                </a:lnTo>
                <a:lnTo>
                  <a:pt x="1044" y="722"/>
                </a:lnTo>
                <a:close/>
                <a:moveTo>
                  <a:pt x="912" y="573"/>
                </a:moveTo>
                <a:lnTo>
                  <a:pt x="904" y="573"/>
                </a:lnTo>
                <a:lnTo>
                  <a:pt x="900" y="572"/>
                </a:lnTo>
                <a:lnTo>
                  <a:pt x="896" y="570"/>
                </a:lnTo>
                <a:lnTo>
                  <a:pt x="893" y="569"/>
                </a:lnTo>
                <a:lnTo>
                  <a:pt x="889" y="567"/>
                </a:lnTo>
                <a:lnTo>
                  <a:pt x="886" y="564"/>
                </a:lnTo>
                <a:lnTo>
                  <a:pt x="883" y="561"/>
                </a:lnTo>
                <a:lnTo>
                  <a:pt x="878" y="555"/>
                </a:lnTo>
                <a:lnTo>
                  <a:pt x="876" y="551"/>
                </a:lnTo>
                <a:lnTo>
                  <a:pt x="874" y="548"/>
                </a:lnTo>
                <a:lnTo>
                  <a:pt x="872" y="540"/>
                </a:lnTo>
                <a:lnTo>
                  <a:pt x="871" y="536"/>
                </a:lnTo>
                <a:lnTo>
                  <a:pt x="871" y="532"/>
                </a:lnTo>
                <a:lnTo>
                  <a:pt x="872" y="524"/>
                </a:lnTo>
                <a:lnTo>
                  <a:pt x="873" y="520"/>
                </a:lnTo>
                <a:lnTo>
                  <a:pt x="874" y="516"/>
                </a:lnTo>
                <a:lnTo>
                  <a:pt x="876" y="513"/>
                </a:lnTo>
                <a:lnTo>
                  <a:pt x="878" y="509"/>
                </a:lnTo>
                <a:lnTo>
                  <a:pt x="880" y="506"/>
                </a:lnTo>
                <a:lnTo>
                  <a:pt x="883" y="502"/>
                </a:lnTo>
                <a:lnTo>
                  <a:pt x="889" y="497"/>
                </a:lnTo>
                <a:lnTo>
                  <a:pt x="893" y="495"/>
                </a:lnTo>
                <a:lnTo>
                  <a:pt x="896" y="493"/>
                </a:lnTo>
                <a:lnTo>
                  <a:pt x="904" y="491"/>
                </a:lnTo>
                <a:lnTo>
                  <a:pt x="908" y="490"/>
                </a:lnTo>
                <a:lnTo>
                  <a:pt x="912" y="490"/>
                </a:lnTo>
                <a:lnTo>
                  <a:pt x="921" y="491"/>
                </a:lnTo>
                <a:lnTo>
                  <a:pt x="929" y="493"/>
                </a:lnTo>
                <a:lnTo>
                  <a:pt x="932" y="495"/>
                </a:lnTo>
                <a:lnTo>
                  <a:pt x="936" y="497"/>
                </a:lnTo>
                <a:lnTo>
                  <a:pt x="939" y="500"/>
                </a:lnTo>
                <a:lnTo>
                  <a:pt x="942" y="502"/>
                </a:lnTo>
                <a:lnTo>
                  <a:pt x="945" y="506"/>
                </a:lnTo>
                <a:lnTo>
                  <a:pt x="947" y="509"/>
                </a:lnTo>
                <a:lnTo>
                  <a:pt x="951" y="516"/>
                </a:lnTo>
                <a:lnTo>
                  <a:pt x="953" y="520"/>
                </a:lnTo>
                <a:lnTo>
                  <a:pt x="954" y="524"/>
                </a:lnTo>
                <a:lnTo>
                  <a:pt x="954" y="532"/>
                </a:lnTo>
                <a:lnTo>
                  <a:pt x="953" y="540"/>
                </a:lnTo>
                <a:lnTo>
                  <a:pt x="953" y="544"/>
                </a:lnTo>
                <a:lnTo>
                  <a:pt x="951" y="548"/>
                </a:lnTo>
                <a:lnTo>
                  <a:pt x="949" y="551"/>
                </a:lnTo>
                <a:lnTo>
                  <a:pt x="947" y="555"/>
                </a:lnTo>
                <a:lnTo>
                  <a:pt x="945" y="558"/>
                </a:lnTo>
                <a:lnTo>
                  <a:pt x="942" y="561"/>
                </a:lnTo>
                <a:lnTo>
                  <a:pt x="939" y="564"/>
                </a:lnTo>
                <a:lnTo>
                  <a:pt x="935" y="567"/>
                </a:lnTo>
                <a:lnTo>
                  <a:pt x="928" y="570"/>
                </a:lnTo>
                <a:lnTo>
                  <a:pt x="924" y="572"/>
                </a:lnTo>
                <a:lnTo>
                  <a:pt x="920" y="573"/>
                </a:lnTo>
                <a:lnTo>
                  <a:pt x="912" y="573"/>
                </a:lnTo>
                <a:close/>
                <a:moveTo>
                  <a:pt x="222" y="490"/>
                </a:moveTo>
                <a:lnTo>
                  <a:pt x="230" y="491"/>
                </a:lnTo>
                <a:lnTo>
                  <a:pt x="234" y="492"/>
                </a:lnTo>
                <a:lnTo>
                  <a:pt x="237" y="493"/>
                </a:lnTo>
                <a:lnTo>
                  <a:pt x="241" y="495"/>
                </a:lnTo>
                <a:lnTo>
                  <a:pt x="244" y="497"/>
                </a:lnTo>
                <a:lnTo>
                  <a:pt x="248" y="499"/>
                </a:lnTo>
                <a:lnTo>
                  <a:pt x="251" y="502"/>
                </a:lnTo>
                <a:lnTo>
                  <a:pt x="256" y="508"/>
                </a:lnTo>
                <a:lnTo>
                  <a:pt x="258" y="512"/>
                </a:lnTo>
                <a:lnTo>
                  <a:pt x="260" y="515"/>
                </a:lnTo>
                <a:lnTo>
                  <a:pt x="262" y="523"/>
                </a:lnTo>
                <a:lnTo>
                  <a:pt x="263" y="527"/>
                </a:lnTo>
                <a:lnTo>
                  <a:pt x="263" y="531"/>
                </a:lnTo>
                <a:lnTo>
                  <a:pt x="263" y="536"/>
                </a:lnTo>
                <a:lnTo>
                  <a:pt x="262" y="540"/>
                </a:lnTo>
                <a:lnTo>
                  <a:pt x="261" y="544"/>
                </a:lnTo>
                <a:lnTo>
                  <a:pt x="260" y="548"/>
                </a:lnTo>
                <a:lnTo>
                  <a:pt x="258" y="551"/>
                </a:lnTo>
                <a:lnTo>
                  <a:pt x="256" y="555"/>
                </a:lnTo>
                <a:lnTo>
                  <a:pt x="254" y="558"/>
                </a:lnTo>
                <a:lnTo>
                  <a:pt x="251" y="561"/>
                </a:lnTo>
                <a:lnTo>
                  <a:pt x="244" y="567"/>
                </a:lnTo>
                <a:lnTo>
                  <a:pt x="241" y="569"/>
                </a:lnTo>
                <a:lnTo>
                  <a:pt x="237" y="570"/>
                </a:lnTo>
                <a:lnTo>
                  <a:pt x="230" y="573"/>
                </a:lnTo>
                <a:lnTo>
                  <a:pt x="226" y="573"/>
                </a:lnTo>
                <a:lnTo>
                  <a:pt x="222" y="573"/>
                </a:lnTo>
                <a:lnTo>
                  <a:pt x="213" y="573"/>
                </a:lnTo>
                <a:lnTo>
                  <a:pt x="205" y="570"/>
                </a:lnTo>
                <a:lnTo>
                  <a:pt x="201" y="569"/>
                </a:lnTo>
                <a:lnTo>
                  <a:pt x="198" y="567"/>
                </a:lnTo>
                <a:lnTo>
                  <a:pt x="195" y="564"/>
                </a:lnTo>
                <a:lnTo>
                  <a:pt x="192" y="561"/>
                </a:lnTo>
                <a:lnTo>
                  <a:pt x="186" y="555"/>
                </a:lnTo>
                <a:lnTo>
                  <a:pt x="184" y="551"/>
                </a:lnTo>
                <a:lnTo>
                  <a:pt x="182" y="548"/>
                </a:lnTo>
                <a:lnTo>
                  <a:pt x="180" y="540"/>
                </a:lnTo>
                <a:lnTo>
                  <a:pt x="180" y="536"/>
                </a:lnTo>
                <a:lnTo>
                  <a:pt x="179" y="532"/>
                </a:lnTo>
                <a:lnTo>
                  <a:pt x="180" y="528"/>
                </a:lnTo>
                <a:lnTo>
                  <a:pt x="180" y="523"/>
                </a:lnTo>
                <a:lnTo>
                  <a:pt x="181" y="519"/>
                </a:lnTo>
                <a:lnTo>
                  <a:pt x="183" y="516"/>
                </a:lnTo>
                <a:lnTo>
                  <a:pt x="184" y="512"/>
                </a:lnTo>
                <a:lnTo>
                  <a:pt x="187" y="508"/>
                </a:lnTo>
                <a:lnTo>
                  <a:pt x="189" y="505"/>
                </a:lnTo>
                <a:lnTo>
                  <a:pt x="192" y="502"/>
                </a:lnTo>
                <a:lnTo>
                  <a:pt x="195" y="499"/>
                </a:lnTo>
                <a:lnTo>
                  <a:pt x="199" y="497"/>
                </a:lnTo>
                <a:lnTo>
                  <a:pt x="206" y="493"/>
                </a:lnTo>
                <a:lnTo>
                  <a:pt x="209" y="492"/>
                </a:lnTo>
                <a:lnTo>
                  <a:pt x="213" y="491"/>
                </a:lnTo>
                <a:lnTo>
                  <a:pt x="222" y="490"/>
                </a:lnTo>
                <a:close/>
                <a:moveTo>
                  <a:pt x="1112" y="198"/>
                </a:moveTo>
                <a:lnTo>
                  <a:pt x="1002" y="45"/>
                </a:lnTo>
                <a:lnTo>
                  <a:pt x="998" y="40"/>
                </a:lnTo>
                <a:lnTo>
                  <a:pt x="994" y="35"/>
                </a:lnTo>
                <a:lnTo>
                  <a:pt x="985" y="27"/>
                </a:lnTo>
                <a:lnTo>
                  <a:pt x="975" y="19"/>
                </a:lnTo>
                <a:lnTo>
                  <a:pt x="964" y="12"/>
                </a:lnTo>
                <a:lnTo>
                  <a:pt x="958" y="10"/>
                </a:lnTo>
                <a:lnTo>
                  <a:pt x="952" y="7"/>
                </a:lnTo>
                <a:lnTo>
                  <a:pt x="946" y="5"/>
                </a:lnTo>
                <a:lnTo>
                  <a:pt x="940" y="3"/>
                </a:lnTo>
                <a:lnTo>
                  <a:pt x="927" y="1"/>
                </a:lnTo>
                <a:lnTo>
                  <a:pt x="914" y="0"/>
                </a:lnTo>
                <a:lnTo>
                  <a:pt x="913" y="0"/>
                </a:lnTo>
                <a:lnTo>
                  <a:pt x="912" y="0"/>
                </a:lnTo>
                <a:lnTo>
                  <a:pt x="509" y="0"/>
                </a:lnTo>
                <a:lnTo>
                  <a:pt x="108" y="0"/>
                </a:lnTo>
                <a:lnTo>
                  <a:pt x="97" y="1"/>
                </a:lnTo>
                <a:lnTo>
                  <a:pt x="87" y="3"/>
                </a:lnTo>
                <a:lnTo>
                  <a:pt x="81" y="4"/>
                </a:lnTo>
                <a:lnTo>
                  <a:pt x="77" y="5"/>
                </a:lnTo>
                <a:lnTo>
                  <a:pt x="67" y="9"/>
                </a:lnTo>
                <a:lnTo>
                  <a:pt x="62" y="11"/>
                </a:lnTo>
                <a:lnTo>
                  <a:pt x="58" y="13"/>
                </a:lnTo>
                <a:lnTo>
                  <a:pt x="49" y="19"/>
                </a:lnTo>
                <a:lnTo>
                  <a:pt x="40" y="26"/>
                </a:lnTo>
                <a:lnTo>
                  <a:pt x="36" y="29"/>
                </a:lnTo>
                <a:lnTo>
                  <a:pt x="32" y="33"/>
                </a:lnTo>
                <a:lnTo>
                  <a:pt x="29" y="37"/>
                </a:lnTo>
                <a:lnTo>
                  <a:pt x="25" y="41"/>
                </a:lnTo>
                <a:lnTo>
                  <a:pt x="22" y="45"/>
                </a:lnTo>
                <a:lnTo>
                  <a:pt x="19" y="50"/>
                </a:lnTo>
                <a:lnTo>
                  <a:pt x="13" y="59"/>
                </a:lnTo>
                <a:lnTo>
                  <a:pt x="9" y="68"/>
                </a:lnTo>
                <a:lnTo>
                  <a:pt x="5" y="78"/>
                </a:lnTo>
                <a:lnTo>
                  <a:pt x="3" y="88"/>
                </a:lnTo>
                <a:lnTo>
                  <a:pt x="2" y="98"/>
                </a:lnTo>
                <a:lnTo>
                  <a:pt x="1" y="109"/>
                </a:lnTo>
                <a:lnTo>
                  <a:pt x="1" y="442"/>
                </a:lnTo>
                <a:lnTo>
                  <a:pt x="1" y="452"/>
                </a:lnTo>
                <a:lnTo>
                  <a:pt x="3" y="462"/>
                </a:lnTo>
                <a:lnTo>
                  <a:pt x="4" y="471"/>
                </a:lnTo>
                <a:lnTo>
                  <a:pt x="7" y="480"/>
                </a:lnTo>
                <a:lnTo>
                  <a:pt x="11" y="488"/>
                </a:lnTo>
                <a:lnTo>
                  <a:pt x="15" y="496"/>
                </a:lnTo>
                <a:lnTo>
                  <a:pt x="20" y="504"/>
                </a:lnTo>
                <a:lnTo>
                  <a:pt x="26" y="512"/>
                </a:lnTo>
                <a:lnTo>
                  <a:pt x="32" y="519"/>
                </a:lnTo>
                <a:lnTo>
                  <a:pt x="39" y="525"/>
                </a:lnTo>
                <a:lnTo>
                  <a:pt x="46" y="531"/>
                </a:lnTo>
                <a:lnTo>
                  <a:pt x="54" y="536"/>
                </a:lnTo>
                <a:lnTo>
                  <a:pt x="62" y="541"/>
                </a:lnTo>
                <a:lnTo>
                  <a:pt x="70" y="544"/>
                </a:lnTo>
                <a:lnTo>
                  <a:pt x="79" y="547"/>
                </a:lnTo>
                <a:lnTo>
                  <a:pt x="88" y="549"/>
                </a:lnTo>
                <a:lnTo>
                  <a:pt x="124" y="556"/>
                </a:lnTo>
                <a:lnTo>
                  <a:pt x="126" y="565"/>
                </a:lnTo>
                <a:lnTo>
                  <a:pt x="129" y="573"/>
                </a:lnTo>
                <a:lnTo>
                  <a:pt x="133" y="580"/>
                </a:lnTo>
                <a:lnTo>
                  <a:pt x="137" y="587"/>
                </a:lnTo>
                <a:lnTo>
                  <a:pt x="142" y="594"/>
                </a:lnTo>
                <a:lnTo>
                  <a:pt x="147" y="600"/>
                </a:lnTo>
                <a:lnTo>
                  <a:pt x="153" y="606"/>
                </a:lnTo>
                <a:lnTo>
                  <a:pt x="160" y="612"/>
                </a:lnTo>
                <a:lnTo>
                  <a:pt x="167" y="617"/>
                </a:lnTo>
                <a:lnTo>
                  <a:pt x="174" y="621"/>
                </a:lnTo>
                <a:lnTo>
                  <a:pt x="181" y="625"/>
                </a:lnTo>
                <a:lnTo>
                  <a:pt x="185" y="627"/>
                </a:lnTo>
                <a:lnTo>
                  <a:pt x="189" y="628"/>
                </a:lnTo>
                <a:lnTo>
                  <a:pt x="193" y="629"/>
                </a:lnTo>
                <a:lnTo>
                  <a:pt x="197" y="630"/>
                </a:lnTo>
                <a:lnTo>
                  <a:pt x="205" y="632"/>
                </a:lnTo>
                <a:lnTo>
                  <a:pt x="214" y="633"/>
                </a:lnTo>
                <a:lnTo>
                  <a:pt x="222" y="633"/>
                </a:lnTo>
                <a:lnTo>
                  <a:pt x="233" y="633"/>
                </a:lnTo>
                <a:lnTo>
                  <a:pt x="242" y="632"/>
                </a:lnTo>
                <a:lnTo>
                  <a:pt x="252" y="629"/>
                </a:lnTo>
                <a:lnTo>
                  <a:pt x="261" y="626"/>
                </a:lnTo>
                <a:lnTo>
                  <a:pt x="269" y="622"/>
                </a:lnTo>
                <a:lnTo>
                  <a:pt x="278" y="617"/>
                </a:lnTo>
                <a:lnTo>
                  <a:pt x="286" y="611"/>
                </a:lnTo>
                <a:lnTo>
                  <a:pt x="293" y="604"/>
                </a:lnTo>
                <a:lnTo>
                  <a:pt x="300" y="596"/>
                </a:lnTo>
                <a:lnTo>
                  <a:pt x="303" y="592"/>
                </a:lnTo>
                <a:lnTo>
                  <a:pt x="306" y="588"/>
                </a:lnTo>
                <a:lnTo>
                  <a:pt x="311" y="580"/>
                </a:lnTo>
                <a:lnTo>
                  <a:pt x="316" y="571"/>
                </a:lnTo>
                <a:lnTo>
                  <a:pt x="319" y="562"/>
                </a:lnTo>
                <a:lnTo>
                  <a:pt x="320" y="557"/>
                </a:lnTo>
                <a:lnTo>
                  <a:pt x="321" y="552"/>
                </a:lnTo>
                <a:lnTo>
                  <a:pt x="322" y="542"/>
                </a:lnTo>
                <a:lnTo>
                  <a:pt x="323" y="532"/>
                </a:lnTo>
                <a:lnTo>
                  <a:pt x="322" y="522"/>
                </a:lnTo>
                <a:lnTo>
                  <a:pt x="322" y="517"/>
                </a:lnTo>
                <a:lnTo>
                  <a:pt x="321" y="512"/>
                </a:lnTo>
                <a:lnTo>
                  <a:pt x="319" y="502"/>
                </a:lnTo>
                <a:lnTo>
                  <a:pt x="316" y="493"/>
                </a:lnTo>
                <a:lnTo>
                  <a:pt x="314" y="489"/>
                </a:lnTo>
                <a:lnTo>
                  <a:pt x="311" y="484"/>
                </a:lnTo>
                <a:lnTo>
                  <a:pt x="306" y="476"/>
                </a:lnTo>
                <a:lnTo>
                  <a:pt x="303" y="472"/>
                </a:lnTo>
                <a:lnTo>
                  <a:pt x="300" y="468"/>
                </a:lnTo>
                <a:lnTo>
                  <a:pt x="297" y="464"/>
                </a:lnTo>
                <a:lnTo>
                  <a:pt x="293" y="460"/>
                </a:lnTo>
                <a:lnTo>
                  <a:pt x="286" y="453"/>
                </a:lnTo>
                <a:lnTo>
                  <a:pt x="282" y="450"/>
                </a:lnTo>
                <a:lnTo>
                  <a:pt x="278" y="447"/>
                </a:lnTo>
                <a:lnTo>
                  <a:pt x="269" y="442"/>
                </a:lnTo>
                <a:lnTo>
                  <a:pt x="261" y="438"/>
                </a:lnTo>
                <a:lnTo>
                  <a:pt x="252" y="435"/>
                </a:lnTo>
                <a:lnTo>
                  <a:pt x="247" y="434"/>
                </a:lnTo>
                <a:lnTo>
                  <a:pt x="242" y="433"/>
                </a:lnTo>
                <a:lnTo>
                  <a:pt x="233" y="431"/>
                </a:lnTo>
                <a:lnTo>
                  <a:pt x="222" y="431"/>
                </a:lnTo>
                <a:lnTo>
                  <a:pt x="214" y="431"/>
                </a:lnTo>
                <a:lnTo>
                  <a:pt x="206" y="432"/>
                </a:lnTo>
                <a:lnTo>
                  <a:pt x="199" y="433"/>
                </a:lnTo>
                <a:lnTo>
                  <a:pt x="191" y="435"/>
                </a:lnTo>
                <a:lnTo>
                  <a:pt x="184" y="438"/>
                </a:lnTo>
                <a:lnTo>
                  <a:pt x="177" y="441"/>
                </a:lnTo>
                <a:lnTo>
                  <a:pt x="170" y="445"/>
                </a:lnTo>
                <a:lnTo>
                  <a:pt x="164" y="449"/>
                </a:lnTo>
                <a:lnTo>
                  <a:pt x="158" y="454"/>
                </a:lnTo>
                <a:lnTo>
                  <a:pt x="152" y="459"/>
                </a:lnTo>
                <a:lnTo>
                  <a:pt x="147" y="464"/>
                </a:lnTo>
                <a:lnTo>
                  <a:pt x="142" y="470"/>
                </a:lnTo>
                <a:lnTo>
                  <a:pt x="138" y="476"/>
                </a:lnTo>
                <a:lnTo>
                  <a:pt x="134" y="483"/>
                </a:lnTo>
                <a:lnTo>
                  <a:pt x="130" y="489"/>
                </a:lnTo>
                <a:lnTo>
                  <a:pt x="127" y="496"/>
                </a:lnTo>
                <a:lnTo>
                  <a:pt x="101" y="492"/>
                </a:lnTo>
                <a:lnTo>
                  <a:pt x="96" y="491"/>
                </a:lnTo>
                <a:lnTo>
                  <a:pt x="92" y="489"/>
                </a:lnTo>
                <a:lnTo>
                  <a:pt x="85" y="486"/>
                </a:lnTo>
                <a:lnTo>
                  <a:pt x="81" y="483"/>
                </a:lnTo>
                <a:lnTo>
                  <a:pt x="78" y="481"/>
                </a:lnTo>
                <a:lnTo>
                  <a:pt x="75" y="478"/>
                </a:lnTo>
                <a:lnTo>
                  <a:pt x="72" y="475"/>
                </a:lnTo>
                <a:lnTo>
                  <a:pt x="69" y="471"/>
                </a:lnTo>
                <a:lnTo>
                  <a:pt x="67" y="468"/>
                </a:lnTo>
                <a:lnTo>
                  <a:pt x="63" y="460"/>
                </a:lnTo>
                <a:lnTo>
                  <a:pt x="62" y="456"/>
                </a:lnTo>
                <a:lnTo>
                  <a:pt x="61" y="452"/>
                </a:lnTo>
                <a:lnTo>
                  <a:pt x="60" y="448"/>
                </a:lnTo>
                <a:lnTo>
                  <a:pt x="60" y="443"/>
                </a:lnTo>
                <a:lnTo>
                  <a:pt x="60" y="442"/>
                </a:lnTo>
                <a:lnTo>
                  <a:pt x="60" y="347"/>
                </a:lnTo>
                <a:lnTo>
                  <a:pt x="105" y="347"/>
                </a:lnTo>
                <a:lnTo>
                  <a:pt x="108" y="347"/>
                </a:lnTo>
                <a:lnTo>
                  <a:pt x="111" y="345"/>
                </a:lnTo>
                <a:lnTo>
                  <a:pt x="113" y="344"/>
                </a:lnTo>
                <a:lnTo>
                  <a:pt x="116" y="342"/>
                </a:lnTo>
                <a:lnTo>
                  <a:pt x="118" y="339"/>
                </a:lnTo>
                <a:lnTo>
                  <a:pt x="119" y="336"/>
                </a:lnTo>
                <a:lnTo>
                  <a:pt x="120" y="333"/>
                </a:lnTo>
                <a:lnTo>
                  <a:pt x="120" y="330"/>
                </a:lnTo>
                <a:lnTo>
                  <a:pt x="120" y="329"/>
                </a:lnTo>
                <a:lnTo>
                  <a:pt x="120" y="303"/>
                </a:lnTo>
                <a:lnTo>
                  <a:pt x="120" y="299"/>
                </a:lnTo>
                <a:lnTo>
                  <a:pt x="119" y="296"/>
                </a:lnTo>
                <a:lnTo>
                  <a:pt x="118" y="293"/>
                </a:lnTo>
                <a:lnTo>
                  <a:pt x="116" y="292"/>
                </a:lnTo>
                <a:lnTo>
                  <a:pt x="115" y="290"/>
                </a:lnTo>
                <a:lnTo>
                  <a:pt x="113" y="288"/>
                </a:lnTo>
                <a:lnTo>
                  <a:pt x="111" y="287"/>
                </a:lnTo>
                <a:lnTo>
                  <a:pt x="110" y="287"/>
                </a:lnTo>
                <a:lnTo>
                  <a:pt x="107" y="286"/>
                </a:lnTo>
                <a:lnTo>
                  <a:pt x="103" y="285"/>
                </a:lnTo>
                <a:lnTo>
                  <a:pt x="60" y="285"/>
                </a:lnTo>
                <a:lnTo>
                  <a:pt x="60" y="106"/>
                </a:lnTo>
                <a:lnTo>
                  <a:pt x="61" y="101"/>
                </a:lnTo>
                <a:lnTo>
                  <a:pt x="62" y="97"/>
                </a:lnTo>
                <a:lnTo>
                  <a:pt x="63" y="92"/>
                </a:lnTo>
                <a:lnTo>
                  <a:pt x="65" y="88"/>
                </a:lnTo>
                <a:lnTo>
                  <a:pt x="67" y="84"/>
                </a:lnTo>
                <a:lnTo>
                  <a:pt x="70" y="80"/>
                </a:lnTo>
                <a:lnTo>
                  <a:pt x="73" y="76"/>
                </a:lnTo>
                <a:lnTo>
                  <a:pt x="76" y="73"/>
                </a:lnTo>
                <a:lnTo>
                  <a:pt x="79" y="70"/>
                </a:lnTo>
                <a:lnTo>
                  <a:pt x="83" y="67"/>
                </a:lnTo>
                <a:lnTo>
                  <a:pt x="87" y="65"/>
                </a:lnTo>
                <a:lnTo>
                  <a:pt x="91" y="63"/>
                </a:lnTo>
                <a:lnTo>
                  <a:pt x="96" y="61"/>
                </a:lnTo>
                <a:lnTo>
                  <a:pt x="100" y="60"/>
                </a:lnTo>
                <a:lnTo>
                  <a:pt x="110" y="59"/>
                </a:lnTo>
                <a:lnTo>
                  <a:pt x="691" y="59"/>
                </a:lnTo>
                <a:lnTo>
                  <a:pt x="691" y="287"/>
                </a:lnTo>
                <a:lnTo>
                  <a:pt x="647" y="287"/>
                </a:lnTo>
                <a:lnTo>
                  <a:pt x="643" y="288"/>
                </a:lnTo>
                <a:lnTo>
                  <a:pt x="640" y="289"/>
                </a:lnTo>
                <a:lnTo>
                  <a:pt x="637" y="290"/>
                </a:lnTo>
                <a:lnTo>
                  <a:pt x="636" y="291"/>
                </a:lnTo>
                <a:lnTo>
                  <a:pt x="635" y="292"/>
                </a:lnTo>
                <a:lnTo>
                  <a:pt x="632" y="295"/>
                </a:lnTo>
                <a:lnTo>
                  <a:pt x="631" y="298"/>
                </a:lnTo>
                <a:lnTo>
                  <a:pt x="630" y="301"/>
                </a:lnTo>
                <a:lnTo>
                  <a:pt x="630" y="304"/>
                </a:lnTo>
                <a:lnTo>
                  <a:pt x="630" y="329"/>
                </a:lnTo>
                <a:lnTo>
                  <a:pt x="630" y="332"/>
                </a:lnTo>
                <a:lnTo>
                  <a:pt x="631" y="335"/>
                </a:lnTo>
                <a:lnTo>
                  <a:pt x="632" y="338"/>
                </a:lnTo>
                <a:lnTo>
                  <a:pt x="633" y="339"/>
                </a:lnTo>
                <a:lnTo>
                  <a:pt x="635" y="341"/>
                </a:lnTo>
                <a:lnTo>
                  <a:pt x="637" y="343"/>
                </a:lnTo>
                <a:lnTo>
                  <a:pt x="639" y="344"/>
                </a:lnTo>
                <a:lnTo>
                  <a:pt x="640" y="344"/>
                </a:lnTo>
                <a:lnTo>
                  <a:pt x="643" y="345"/>
                </a:lnTo>
                <a:lnTo>
                  <a:pt x="647" y="346"/>
                </a:lnTo>
                <a:lnTo>
                  <a:pt x="691" y="346"/>
                </a:lnTo>
                <a:lnTo>
                  <a:pt x="691" y="424"/>
                </a:lnTo>
                <a:lnTo>
                  <a:pt x="691" y="427"/>
                </a:lnTo>
                <a:lnTo>
                  <a:pt x="692" y="430"/>
                </a:lnTo>
                <a:lnTo>
                  <a:pt x="693" y="433"/>
                </a:lnTo>
                <a:lnTo>
                  <a:pt x="694" y="434"/>
                </a:lnTo>
                <a:lnTo>
                  <a:pt x="695" y="436"/>
                </a:lnTo>
                <a:lnTo>
                  <a:pt x="698" y="438"/>
                </a:lnTo>
                <a:lnTo>
                  <a:pt x="701" y="439"/>
                </a:lnTo>
                <a:lnTo>
                  <a:pt x="704" y="440"/>
                </a:lnTo>
                <a:lnTo>
                  <a:pt x="708" y="441"/>
                </a:lnTo>
                <a:lnTo>
                  <a:pt x="734" y="441"/>
                </a:lnTo>
                <a:lnTo>
                  <a:pt x="738" y="440"/>
                </a:lnTo>
                <a:lnTo>
                  <a:pt x="741" y="439"/>
                </a:lnTo>
                <a:lnTo>
                  <a:pt x="743" y="438"/>
                </a:lnTo>
                <a:lnTo>
                  <a:pt x="745" y="437"/>
                </a:lnTo>
                <a:lnTo>
                  <a:pt x="746" y="436"/>
                </a:lnTo>
                <a:lnTo>
                  <a:pt x="748" y="433"/>
                </a:lnTo>
                <a:lnTo>
                  <a:pt x="749" y="430"/>
                </a:lnTo>
                <a:lnTo>
                  <a:pt x="750" y="427"/>
                </a:lnTo>
                <a:lnTo>
                  <a:pt x="751" y="424"/>
                </a:lnTo>
                <a:lnTo>
                  <a:pt x="751" y="59"/>
                </a:lnTo>
                <a:lnTo>
                  <a:pt x="914" y="59"/>
                </a:lnTo>
                <a:lnTo>
                  <a:pt x="915" y="59"/>
                </a:lnTo>
                <a:lnTo>
                  <a:pt x="921" y="60"/>
                </a:lnTo>
                <a:lnTo>
                  <a:pt x="926" y="61"/>
                </a:lnTo>
                <a:lnTo>
                  <a:pt x="932" y="63"/>
                </a:lnTo>
                <a:lnTo>
                  <a:pt x="937" y="65"/>
                </a:lnTo>
                <a:lnTo>
                  <a:pt x="947" y="72"/>
                </a:lnTo>
                <a:lnTo>
                  <a:pt x="951" y="76"/>
                </a:lnTo>
                <a:lnTo>
                  <a:pt x="954" y="80"/>
                </a:lnTo>
                <a:lnTo>
                  <a:pt x="1065" y="232"/>
                </a:lnTo>
                <a:lnTo>
                  <a:pt x="1069" y="238"/>
                </a:lnTo>
                <a:lnTo>
                  <a:pt x="1072" y="245"/>
                </a:lnTo>
                <a:lnTo>
                  <a:pt x="1073" y="249"/>
                </a:lnTo>
                <a:lnTo>
                  <a:pt x="1074" y="253"/>
                </a:lnTo>
                <a:lnTo>
                  <a:pt x="1074" y="257"/>
                </a:lnTo>
                <a:lnTo>
                  <a:pt x="1074" y="262"/>
                </a:lnTo>
                <a:lnTo>
                  <a:pt x="1074" y="263"/>
                </a:lnTo>
                <a:lnTo>
                  <a:pt x="1074" y="288"/>
                </a:lnTo>
                <a:lnTo>
                  <a:pt x="1030" y="288"/>
                </a:lnTo>
                <a:lnTo>
                  <a:pt x="1026" y="288"/>
                </a:lnTo>
                <a:lnTo>
                  <a:pt x="1023" y="289"/>
                </a:lnTo>
                <a:lnTo>
                  <a:pt x="1020" y="291"/>
                </a:lnTo>
                <a:lnTo>
                  <a:pt x="1019" y="292"/>
                </a:lnTo>
                <a:lnTo>
                  <a:pt x="1018" y="293"/>
                </a:lnTo>
                <a:lnTo>
                  <a:pt x="1015" y="296"/>
                </a:lnTo>
                <a:lnTo>
                  <a:pt x="1014" y="299"/>
                </a:lnTo>
                <a:lnTo>
                  <a:pt x="1013" y="302"/>
                </a:lnTo>
                <a:lnTo>
                  <a:pt x="1013" y="305"/>
                </a:lnTo>
                <a:lnTo>
                  <a:pt x="1013" y="329"/>
                </a:lnTo>
                <a:lnTo>
                  <a:pt x="1013" y="332"/>
                </a:lnTo>
                <a:lnTo>
                  <a:pt x="1014" y="335"/>
                </a:lnTo>
                <a:lnTo>
                  <a:pt x="1015" y="338"/>
                </a:lnTo>
                <a:lnTo>
                  <a:pt x="1016" y="339"/>
                </a:lnTo>
                <a:lnTo>
                  <a:pt x="1018" y="341"/>
                </a:lnTo>
                <a:lnTo>
                  <a:pt x="1020" y="343"/>
                </a:lnTo>
                <a:lnTo>
                  <a:pt x="1022" y="344"/>
                </a:lnTo>
                <a:lnTo>
                  <a:pt x="1023" y="344"/>
                </a:lnTo>
                <a:lnTo>
                  <a:pt x="1026" y="345"/>
                </a:lnTo>
                <a:lnTo>
                  <a:pt x="1030" y="346"/>
                </a:lnTo>
                <a:lnTo>
                  <a:pt x="1074" y="346"/>
                </a:lnTo>
                <a:lnTo>
                  <a:pt x="1074" y="442"/>
                </a:lnTo>
                <a:lnTo>
                  <a:pt x="1073" y="446"/>
                </a:lnTo>
                <a:lnTo>
                  <a:pt x="1073" y="450"/>
                </a:lnTo>
                <a:lnTo>
                  <a:pt x="1071" y="458"/>
                </a:lnTo>
                <a:lnTo>
                  <a:pt x="1069" y="462"/>
                </a:lnTo>
                <a:lnTo>
                  <a:pt x="1067" y="466"/>
                </a:lnTo>
                <a:lnTo>
                  <a:pt x="1065" y="469"/>
                </a:lnTo>
                <a:lnTo>
                  <a:pt x="1062" y="473"/>
                </a:lnTo>
                <a:lnTo>
                  <a:pt x="1059" y="476"/>
                </a:lnTo>
                <a:lnTo>
                  <a:pt x="1056" y="479"/>
                </a:lnTo>
                <a:lnTo>
                  <a:pt x="1053" y="482"/>
                </a:lnTo>
                <a:lnTo>
                  <a:pt x="1050" y="484"/>
                </a:lnTo>
                <a:lnTo>
                  <a:pt x="1046" y="486"/>
                </a:lnTo>
                <a:lnTo>
                  <a:pt x="1042" y="488"/>
                </a:lnTo>
                <a:lnTo>
                  <a:pt x="1034" y="490"/>
                </a:lnTo>
                <a:lnTo>
                  <a:pt x="1007" y="495"/>
                </a:lnTo>
                <a:lnTo>
                  <a:pt x="1004" y="488"/>
                </a:lnTo>
                <a:lnTo>
                  <a:pt x="1000" y="481"/>
                </a:lnTo>
                <a:lnTo>
                  <a:pt x="996" y="475"/>
                </a:lnTo>
                <a:lnTo>
                  <a:pt x="992" y="469"/>
                </a:lnTo>
                <a:lnTo>
                  <a:pt x="987" y="463"/>
                </a:lnTo>
                <a:lnTo>
                  <a:pt x="982" y="457"/>
                </a:lnTo>
                <a:lnTo>
                  <a:pt x="976" y="452"/>
                </a:lnTo>
                <a:lnTo>
                  <a:pt x="970" y="447"/>
                </a:lnTo>
                <a:lnTo>
                  <a:pt x="963" y="443"/>
                </a:lnTo>
                <a:lnTo>
                  <a:pt x="957" y="439"/>
                </a:lnTo>
                <a:lnTo>
                  <a:pt x="950" y="436"/>
                </a:lnTo>
                <a:lnTo>
                  <a:pt x="943" y="434"/>
                </a:lnTo>
                <a:lnTo>
                  <a:pt x="935" y="432"/>
                </a:lnTo>
                <a:lnTo>
                  <a:pt x="928" y="430"/>
                </a:lnTo>
                <a:lnTo>
                  <a:pt x="920" y="429"/>
                </a:lnTo>
                <a:lnTo>
                  <a:pt x="912" y="429"/>
                </a:lnTo>
                <a:lnTo>
                  <a:pt x="904" y="429"/>
                </a:lnTo>
                <a:lnTo>
                  <a:pt x="896" y="430"/>
                </a:lnTo>
                <a:lnTo>
                  <a:pt x="888" y="432"/>
                </a:lnTo>
                <a:lnTo>
                  <a:pt x="880" y="434"/>
                </a:lnTo>
                <a:lnTo>
                  <a:pt x="873" y="437"/>
                </a:lnTo>
                <a:lnTo>
                  <a:pt x="866" y="440"/>
                </a:lnTo>
                <a:lnTo>
                  <a:pt x="859" y="444"/>
                </a:lnTo>
                <a:lnTo>
                  <a:pt x="852" y="449"/>
                </a:lnTo>
                <a:lnTo>
                  <a:pt x="846" y="454"/>
                </a:lnTo>
                <a:lnTo>
                  <a:pt x="840" y="460"/>
                </a:lnTo>
                <a:lnTo>
                  <a:pt x="835" y="466"/>
                </a:lnTo>
                <a:lnTo>
                  <a:pt x="830" y="472"/>
                </a:lnTo>
                <a:lnTo>
                  <a:pt x="826" y="478"/>
                </a:lnTo>
                <a:lnTo>
                  <a:pt x="822" y="485"/>
                </a:lnTo>
                <a:lnTo>
                  <a:pt x="819" y="492"/>
                </a:lnTo>
                <a:lnTo>
                  <a:pt x="816" y="500"/>
                </a:lnTo>
                <a:lnTo>
                  <a:pt x="398" y="501"/>
                </a:lnTo>
                <a:lnTo>
                  <a:pt x="395" y="501"/>
                </a:lnTo>
                <a:lnTo>
                  <a:pt x="392" y="502"/>
                </a:lnTo>
                <a:lnTo>
                  <a:pt x="389" y="503"/>
                </a:lnTo>
                <a:lnTo>
                  <a:pt x="387" y="504"/>
                </a:lnTo>
                <a:lnTo>
                  <a:pt x="386" y="506"/>
                </a:lnTo>
                <a:lnTo>
                  <a:pt x="384" y="508"/>
                </a:lnTo>
                <a:lnTo>
                  <a:pt x="382" y="511"/>
                </a:lnTo>
                <a:lnTo>
                  <a:pt x="382" y="514"/>
                </a:lnTo>
                <a:lnTo>
                  <a:pt x="381" y="518"/>
                </a:lnTo>
                <a:lnTo>
                  <a:pt x="381" y="543"/>
                </a:lnTo>
                <a:lnTo>
                  <a:pt x="382" y="546"/>
                </a:lnTo>
                <a:lnTo>
                  <a:pt x="382" y="549"/>
                </a:lnTo>
                <a:lnTo>
                  <a:pt x="384" y="552"/>
                </a:lnTo>
                <a:lnTo>
                  <a:pt x="385" y="554"/>
                </a:lnTo>
                <a:lnTo>
                  <a:pt x="386" y="555"/>
                </a:lnTo>
                <a:lnTo>
                  <a:pt x="389" y="557"/>
                </a:lnTo>
                <a:lnTo>
                  <a:pt x="392" y="559"/>
                </a:lnTo>
                <a:lnTo>
                  <a:pt x="395" y="560"/>
                </a:lnTo>
                <a:lnTo>
                  <a:pt x="398" y="560"/>
                </a:lnTo>
                <a:lnTo>
                  <a:pt x="816" y="560"/>
                </a:lnTo>
                <a:lnTo>
                  <a:pt x="819" y="568"/>
                </a:lnTo>
                <a:lnTo>
                  <a:pt x="822" y="575"/>
                </a:lnTo>
                <a:lnTo>
                  <a:pt x="825" y="582"/>
                </a:lnTo>
                <a:lnTo>
                  <a:pt x="830" y="589"/>
                </a:lnTo>
                <a:lnTo>
                  <a:pt x="834" y="595"/>
                </a:lnTo>
                <a:lnTo>
                  <a:pt x="839" y="601"/>
                </a:lnTo>
                <a:lnTo>
                  <a:pt x="845" y="607"/>
                </a:lnTo>
                <a:lnTo>
                  <a:pt x="852" y="612"/>
                </a:lnTo>
                <a:lnTo>
                  <a:pt x="858" y="617"/>
                </a:lnTo>
                <a:lnTo>
                  <a:pt x="865" y="621"/>
                </a:lnTo>
                <a:lnTo>
                  <a:pt x="873" y="625"/>
                </a:lnTo>
                <a:lnTo>
                  <a:pt x="880" y="627"/>
                </a:lnTo>
                <a:lnTo>
                  <a:pt x="888" y="630"/>
                </a:lnTo>
                <a:lnTo>
                  <a:pt x="896" y="631"/>
                </a:lnTo>
                <a:lnTo>
                  <a:pt x="904" y="632"/>
                </a:lnTo>
                <a:lnTo>
                  <a:pt x="913" y="633"/>
                </a:lnTo>
                <a:lnTo>
                  <a:pt x="922" y="632"/>
                </a:lnTo>
                <a:lnTo>
                  <a:pt x="930" y="631"/>
                </a:lnTo>
                <a:lnTo>
                  <a:pt x="938" y="629"/>
                </a:lnTo>
                <a:lnTo>
                  <a:pt x="946" y="627"/>
                </a:lnTo>
                <a:lnTo>
                  <a:pt x="954" y="624"/>
                </a:lnTo>
                <a:lnTo>
                  <a:pt x="957" y="622"/>
                </a:lnTo>
                <a:lnTo>
                  <a:pt x="961" y="620"/>
                </a:lnTo>
                <a:lnTo>
                  <a:pt x="968" y="616"/>
                </a:lnTo>
                <a:lnTo>
                  <a:pt x="975" y="611"/>
                </a:lnTo>
                <a:lnTo>
                  <a:pt x="981" y="605"/>
                </a:lnTo>
                <a:lnTo>
                  <a:pt x="987" y="599"/>
                </a:lnTo>
                <a:lnTo>
                  <a:pt x="992" y="593"/>
                </a:lnTo>
                <a:lnTo>
                  <a:pt x="997" y="587"/>
                </a:lnTo>
                <a:lnTo>
                  <a:pt x="1001" y="580"/>
                </a:lnTo>
                <a:lnTo>
                  <a:pt x="1005" y="572"/>
                </a:lnTo>
                <a:lnTo>
                  <a:pt x="1008" y="564"/>
                </a:lnTo>
                <a:lnTo>
                  <a:pt x="1010" y="556"/>
                </a:lnTo>
                <a:lnTo>
                  <a:pt x="1046" y="548"/>
                </a:lnTo>
                <a:lnTo>
                  <a:pt x="1050" y="547"/>
                </a:lnTo>
                <a:lnTo>
                  <a:pt x="1055" y="546"/>
                </a:lnTo>
                <a:lnTo>
                  <a:pt x="1064" y="543"/>
                </a:lnTo>
                <a:lnTo>
                  <a:pt x="1072" y="540"/>
                </a:lnTo>
                <a:lnTo>
                  <a:pt x="1080" y="535"/>
                </a:lnTo>
                <a:lnTo>
                  <a:pt x="1088" y="530"/>
                </a:lnTo>
                <a:lnTo>
                  <a:pt x="1095" y="525"/>
                </a:lnTo>
                <a:lnTo>
                  <a:pt x="1102" y="519"/>
                </a:lnTo>
                <a:lnTo>
                  <a:pt x="1108" y="511"/>
                </a:lnTo>
                <a:lnTo>
                  <a:pt x="1114" y="504"/>
                </a:lnTo>
                <a:lnTo>
                  <a:pt x="1119" y="496"/>
                </a:lnTo>
                <a:lnTo>
                  <a:pt x="1123" y="488"/>
                </a:lnTo>
                <a:lnTo>
                  <a:pt x="1127" y="479"/>
                </a:lnTo>
                <a:lnTo>
                  <a:pt x="1129" y="471"/>
                </a:lnTo>
                <a:lnTo>
                  <a:pt x="1131" y="462"/>
                </a:lnTo>
                <a:lnTo>
                  <a:pt x="1132" y="452"/>
                </a:lnTo>
                <a:lnTo>
                  <a:pt x="1133" y="442"/>
                </a:lnTo>
                <a:lnTo>
                  <a:pt x="1133" y="262"/>
                </a:lnTo>
                <a:lnTo>
                  <a:pt x="1132" y="252"/>
                </a:lnTo>
                <a:lnTo>
                  <a:pt x="1131" y="244"/>
                </a:lnTo>
                <a:lnTo>
                  <a:pt x="1130" y="235"/>
                </a:lnTo>
                <a:lnTo>
                  <a:pt x="1127" y="227"/>
                </a:lnTo>
                <a:lnTo>
                  <a:pt x="1124" y="219"/>
                </a:lnTo>
                <a:lnTo>
                  <a:pt x="1121" y="211"/>
                </a:lnTo>
                <a:lnTo>
                  <a:pt x="1117" y="204"/>
                </a:lnTo>
                <a:lnTo>
                  <a:pt x="1112" y="197"/>
                </a:lnTo>
                <a:lnTo>
                  <a:pt x="1112" y="198"/>
                </a:lnTo>
                <a:close/>
                <a:moveTo>
                  <a:pt x="951" y="241"/>
                </a:moveTo>
                <a:lnTo>
                  <a:pt x="954" y="241"/>
                </a:lnTo>
                <a:lnTo>
                  <a:pt x="957" y="240"/>
                </a:lnTo>
                <a:lnTo>
                  <a:pt x="960" y="239"/>
                </a:lnTo>
                <a:lnTo>
                  <a:pt x="962" y="238"/>
                </a:lnTo>
                <a:lnTo>
                  <a:pt x="963" y="237"/>
                </a:lnTo>
                <a:lnTo>
                  <a:pt x="965" y="234"/>
                </a:lnTo>
                <a:lnTo>
                  <a:pt x="967" y="231"/>
                </a:lnTo>
                <a:lnTo>
                  <a:pt x="967" y="228"/>
                </a:lnTo>
                <a:lnTo>
                  <a:pt x="968" y="224"/>
                </a:lnTo>
                <a:lnTo>
                  <a:pt x="968" y="198"/>
                </a:lnTo>
                <a:lnTo>
                  <a:pt x="967" y="195"/>
                </a:lnTo>
                <a:lnTo>
                  <a:pt x="967" y="192"/>
                </a:lnTo>
                <a:lnTo>
                  <a:pt x="965" y="190"/>
                </a:lnTo>
                <a:lnTo>
                  <a:pt x="963" y="187"/>
                </a:lnTo>
                <a:lnTo>
                  <a:pt x="960" y="184"/>
                </a:lnTo>
                <a:lnTo>
                  <a:pt x="957" y="183"/>
                </a:lnTo>
                <a:lnTo>
                  <a:pt x="954" y="182"/>
                </a:lnTo>
                <a:lnTo>
                  <a:pt x="951" y="181"/>
                </a:lnTo>
                <a:lnTo>
                  <a:pt x="827" y="181"/>
                </a:lnTo>
                <a:lnTo>
                  <a:pt x="824" y="182"/>
                </a:lnTo>
                <a:lnTo>
                  <a:pt x="821" y="183"/>
                </a:lnTo>
                <a:lnTo>
                  <a:pt x="818" y="184"/>
                </a:lnTo>
                <a:lnTo>
                  <a:pt x="816" y="187"/>
                </a:lnTo>
                <a:lnTo>
                  <a:pt x="814" y="190"/>
                </a:lnTo>
                <a:lnTo>
                  <a:pt x="812" y="192"/>
                </a:lnTo>
                <a:lnTo>
                  <a:pt x="811" y="195"/>
                </a:lnTo>
                <a:lnTo>
                  <a:pt x="811" y="198"/>
                </a:lnTo>
                <a:lnTo>
                  <a:pt x="811" y="224"/>
                </a:lnTo>
                <a:lnTo>
                  <a:pt x="811" y="228"/>
                </a:lnTo>
                <a:lnTo>
                  <a:pt x="812" y="231"/>
                </a:lnTo>
                <a:lnTo>
                  <a:pt x="814" y="234"/>
                </a:lnTo>
                <a:lnTo>
                  <a:pt x="815" y="235"/>
                </a:lnTo>
                <a:lnTo>
                  <a:pt x="816" y="237"/>
                </a:lnTo>
                <a:lnTo>
                  <a:pt x="818" y="239"/>
                </a:lnTo>
                <a:lnTo>
                  <a:pt x="821" y="240"/>
                </a:lnTo>
                <a:lnTo>
                  <a:pt x="824" y="241"/>
                </a:lnTo>
                <a:lnTo>
                  <a:pt x="827" y="241"/>
                </a:lnTo>
                <a:lnTo>
                  <a:pt x="951" y="24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205B"/>
              </a:solidFill>
              <a:effectLst/>
              <a:uLnTx/>
              <a:uFillTx/>
              <a:latin typeface="Skatta Sans Regular"/>
              <a:ea typeface="+mn-ea"/>
              <a:cs typeface="+mn-cs"/>
            </a:endParaRPr>
          </a:p>
        </p:txBody>
      </p:sp>
      <p:cxnSp>
        <p:nvCxnSpPr>
          <p:cNvPr id="177" name="Straight Connector 176"/>
          <p:cNvCxnSpPr/>
          <p:nvPr/>
        </p:nvCxnSpPr>
        <p:spPr>
          <a:xfrm>
            <a:off x="7968260" y="1844675"/>
            <a:ext cx="0" cy="4105275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Freeform 6"/>
          <p:cNvSpPr>
            <a:spLocks noChangeAspect="1" noEditPoints="1"/>
          </p:cNvSpPr>
          <p:nvPr/>
        </p:nvSpPr>
        <p:spPr bwMode="black">
          <a:xfrm>
            <a:off x="983432" y="1916832"/>
            <a:ext cx="387027" cy="432000"/>
          </a:xfrm>
          <a:custGeom>
            <a:avLst/>
            <a:gdLst>
              <a:gd name="T0" fmla="*/ 2964 w 3578"/>
              <a:gd name="T1" fmla="*/ 3151 h 3996"/>
              <a:gd name="T2" fmla="*/ 2988 w 3578"/>
              <a:gd name="T3" fmla="*/ 3131 h 3996"/>
              <a:gd name="T4" fmla="*/ 3002 w 3578"/>
              <a:gd name="T5" fmla="*/ 3095 h 3996"/>
              <a:gd name="T6" fmla="*/ 2998 w 3578"/>
              <a:gd name="T7" fmla="*/ 3052 h 3996"/>
              <a:gd name="T8" fmla="*/ 2570 w 3578"/>
              <a:gd name="T9" fmla="*/ 2480 h 3996"/>
              <a:gd name="T10" fmla="*/ 2976 w 3578"/>
              <a:gd name="T11" fmla="*/ 956 h 3996"/>
              <a:gd name="T12" fmla="*/ 2988 w 3578"/>
              <a:gd name="T13" fmla="*/ 917 h 3996"/>
              <a:gd name="T14" fmla="*/ 2981 w 3578"/>
              <a:gd name="T15" fmla="*/ 878 h 3996"/>
              <a:gd name="T16" fmla="*/ 2961 w 3578"/>
              <a:gd name="T17" fmla="*/ 853 h 3996"/>
              <a:gd name="T18" fmla="*/ 2936 w 3578"/>
              <a:gd name="T19" fmla="*/ 840 h 3996"/>
              <a:gd name="T20" fmla="*/ 2275 w 3578"/>
              <a:gd name="T21" fmla="*/ 835 h 3996"/>
              <a:gd name="T22" fmla="*/ 2209 w 3578"/>
              <a:gd name="T23" fmla="*/ 845 h 3996"/>
              <a:gd name="T24" fmla="*/ 2160 w 3578"/>
              <a:gd name="T25" fmla="*/ 872 h 3996"/>
              <a:gd name="T26" fmla="*/ 2119 w 3578"/>
              <a:gd name="T27" fmla="*/ 915 h 3996"/>
              <a:gd name="T28" fmla="*/ 1365 w 3578"/>
              <a:gd name="T29" fmla="*/ 931 h 3996"/>
              <a:gd name="T30" fmla="*/ 1356 w 3578"/>
              <a:gd name="T31" fmla="*/ 884 h 3996"/>
              <a:gd name="T32" fmla="*/ 1325 w 3578"/>
              <a:gd name="T33" fmla="*/ 851 h 3996"/>
              <a:gd name="T34" fmla="*/ 1280 w 3578"/>
              <a:gd name="T35" fmla="*/ 835 h 3996"/>
              <a:gd name="T36" fmla="*/ 664 w 3578"/>
              <a:gd name="T37" fmla="*/ 840 h 3996"/>
              <a:gd name="T38" fmla="*/ 625 w 3578"/>
              <a:gd name="T39" fmla="*/ 862 h 3996"/>
              <a:gd name="T40" fmla="*/ 602 w 3578"/>
              <a:gd name="T41" fmla="*/ 902 h 3996"/>
              <a:gd name="T42" fmla="*/ 598 w 3578"/>
              <a:gd name="T43" fmla="*/ 1998 h 3996"/>
              <a:gd name="T44" fmla="*/ 602 w 3578"/>
              <a:gd name="T45" fmla="*/ 3094 h 3996"/>
              <a:gd name="T46" fmla="*/ 625 w 3578"/>
              <a:gd name="T47" fmla="*/ 3133 h 3996"/>
              <a:gd name="T48" fmla="*/ 664 w 3578"/>
              <a:gd name="T49" fmla="*/ 3156 h 3996"/>
              <a:gd name="T50" fmla="*/ 1280 w 3578"/>
              <a:gd name="T51" fmla="*/ 3160 h 3996"/>
              <a:gd name="T52" fmla="*/ 1325 w 3578"/>
              <a:gd name="T53" fmla="*/ 3144 h 3996"/>
              <a:gd name="T54" fmla="*/ 1356 w 3578"/>
              <a:gd name="T55" fmla="*/ 3111 h 3996"/>
              <a:gd name="T56" fmla="*/ 1365 w 3578"/>
              <a:gd name="T57" fmla="*/ 3064 h 3996"/>
              <a:gd name="T58" fmla="*/ 2119 w 3578"/>
              <a:gd name="T59" fmla="*/ 3080 h 3996"/>
              <a:gd name="T60" fmla="*/ 2160 w 3578"/>
              <a:gd name="T61" fmla="*/ 3123 h 3996"/>
              <a:gd name="T62" fmla="*/ 2209 w 3578"/>
              <a:gd name="T63" fmla="*/ 3151 h 3996"/>
              <a:gd name="T64" fmla="*/ 2275 w 3578"/>
              <a:gd name="T65" fmla="*/ 3160 h 3996"/>
              <a:gd name="T66" fmla="*/ 4 w 3578"/>
              <a:gd name="T67" fmla="*/ 3929 h 3996"/>
              <a:gd name="T68" fmla="*/ 27 w 3578"/>
              <a:gd name="T69" fmla="*/ 3968 h 3996"/>
              <a:gd name="T70" fmla="*/ 66 w 3578"/>
              <a:gd name="T71" fmla="*/ 3991 h 3996"/>
              <a:gd name="T72" fmla="*/ 1789 w 3578"/>
              <a:gd name="T73" fmla="*/ 3996 h 3996"/>
              <a:gd name="T74" fmla="*/ 3512 w 3578"/>
              <a:gd name="T75" fmla="*/ 3991 h 3996"/>
              <a:gd name="T76" fmla="*/ 3552 w 3578"/>
              <a:gd name="T77" fmla="*/ 3968 h 3996"/>
              <a:gd name="T78" fmla="*/ 3574 w 3578"/>
              <a:gd name="T79" fmla="*/ 3929 h 3996"/>
              <a:gd name="T80" fmla="*/ 3577 w 3578"/>
              <a:gd name="T81" fmla="*/ 3624 h 3996"/>
              <a:gd name="T82" fmla="*/ 3563 w 3578"/>
              <a:gd name="T83" fmla="*/ 3579 h 3996"/>
              <a:gd name="T84" fmla="*/ 3529 w 3578"/>
              <a:gd name="T85" fmla="*/ 3549 h 3996"/>
              <a:gd name="T86" fmla="*/ 3482 w 3578"/>
              <a:gd name="T87" fmla="*/ 3538 h 3996"/>
              <a:gd name="T88" fmla="*/ 85 w 3578"/>
              <a:gd name="T89" fmla="*/ 3538 h 3996"/>
              <a:gd name="T90" fmla="*/ 41 w 3578"/>
              <a:gd name="T91" fmla="*/ 3554 h 3996"/>
              <a:gd name="T92" fmla="*/ 11 w 3578"/>
              <a:gd name="T93" fmla="*/ 3587 h 3996"/>
              <a:gd name="T94" fmla="*/ 0 w 3578"/>
              <a:gd name="T95" fmla="*/ 3634 h 3996"/>
              <a:gd name="T96" fmla="*/ 4 w 3578"/>
              <a:gd name="T97" fmla="*/ 391 h 3996"/>
              <a:gd name="T98" fmla="*/ 27 w 3578"/>
              <a:gd name="T99" fmla="*/ 430 h 3996"/>
              <a:gd name="T100" fmla="*/ 66 w 3578"/>
              <a:gd name="T101" fmla="*/ 453 h 3996"/>
              <a:gd name="T102" fmla="*/ 1789 w 3578"/>
              <a:gd name="T103" fmla="*/ 456 h 3996"/>
              <a:gd name="T104" fmla="*/ 3512 w 3578"/>
              <a:gd name="T105" fmla="*/ 453 h 3996"/>
              <a:gd name="T106" fmla="*/ 3552 w 3578"/>
              <a:gd name="T107" fmla="*/ 430 h 3996"/>
              <a:gd name="T108" fmla="*/ 3574 w 3578"/>
              <a:gd name="T109" fmla="*/ 391 h 3996"/>
              <a:gd name="T110" fmla="*/ 3577 w 3578"/>
              <a:gd name="T111" fmla="*/ 85 h 3996"/>
              <a:gd name="T112" fmla="*/ 3563 w 3578"/>
              <a:gd name="T113" fmla="*/ 41 h 3996"/>
              <a:gd name="T114" fmla="*/ 3529 w 3578"/>
              <a:gd name="T115" fmla="*/ 11 h 3996"/>
              <a:gd name="T116" fmla="*/ 3482 w 3578"/>
              <a:gd name="T117" fmla="*/ 0 h 3996"/>
              <a:gd name="T118" fmla="*/ 85 w 3578"/>
              <a:gd name="T119" fmla="*/ 0 h 3996"/>
              <a:gd name="T120" fmla="*/ 41 w 3578"/>
              <a:gd name="T121" fmla="*/ 16 h 3996"/>
              <a:gd name="T122" fmla="*/ 11 w 3578"/>
              <a:gd name="T123" fmla="*/ 49 h 3996"/>
              <a:gd name="T124" fmla="*/ 0 w 3578"/>
              <a:gd name="T125" fmla="*/ 95 h 39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578" h="3996">
                <a:moveTo>
                  <a:pt x="2924" y="3160"/>
                </a:moveTo>
                <a:lnTo>
                  <a:pt x="2936" y="3160"/>
                </a:lnTo>
                <a:lnTo>
                  <a:pt x="2947" y="3157"/>
                </a:lnTo>
                <a:lnTo>
                  <a:pt x="2958" y="3153"/>
                </a:lnTo>
                <a:lnTo>
                  <a:pt x="2964" y="3151"/>
                </a:lnTo>
                <a:lnTo>
                  <a:pt x="2968" y="3148"/>
                </a:lnTo>
                <a:lnTo>
                  <a:pt x="2977" y="3142"/>
                </a:lnTo>
                <a:lnTo>
                  <a:pt x="2981" y="3139"/>
                </a:lnTo>
                <a:lnTo>
                  <a:pt x="2985" y="3135"/>
                </a:lnTo>
                <a:lnTo>
                  <a:pt x="2988" y="3131"/>
                </a:lnTo>
                <a:lnTo>
                  <a:pt x="2991" y="3126"/>
                </a:lnTo>
                <a:lnTo>
                  <a:pt x="2996" y="3117"/>
                </a:lnTo>
                <a:lnTo>
                  <a:pt x="3000" y="3106"/>
                </a:lnTo>
                <a:lnTo>
                  <a:pt x="3001" y="3101"/>
                </a:lnTo>
                <a:lnTo>
                  <a:pt x="3002" y="3095"/>
                </a:lnTo>
                <a:lnTo>
                  <a:pt x="3003" y="3084"/>
                </a:lnTo>
                <a:lnTo>
                  <a:pt x="3002" y="3072"/>
                </a:lnTo>
                <a:lnTo>
                  <a:pt x="3001" y="3065"/>
                </a:lnTo>
                <a:lnTo>
                  <a:pt x="2999" y="3059"/>
                </a:lnTo>
                <a:lnTo>
                  <a:pt x="2998" y="3052"/>
                </a:lnTo>
                <a:lnTo>
                  <a:pt x="2995" y="3045"/>
                </a:lnTo>
                <a:lnTo>
                  <a:pt x="2988" y="3032"/>
                </a:lnTo>
                <a:lnTo>
                  <a:pt x="2985" y="3026"/>
                </a:lnTo>
                <a:lnTo>
                  <a:pt x="2980" y="3019"/>
                </a:lnTo>
                <a:lnTo>
                  <a:pt x="2570" y="2480"/>
                </a:lnTo>
                <a:lnTo>
                  <a:pt x="2162" y="1941"/>
                </a:lnTo>
                <a:lnTo>
                  <a:pt x="2562" y="1459"/>
                </a:lnTo>
                <a:lnTo>
                  <a:pt x="2962" y="976"/>
                </a:lnTo>
                <a:lnTo>
                  <a:pt x="2972" y="962"/>
                </a:lnTo>
                <a:lnTo>
                  <a:pt x="2976" y="956"/>
                </a:lnTo>
                <a:lnTo>
                  <a:pt x="2979" y="949"/>
                </a:lnTo>
                <a:lnTo>
                  <a:pt x="2985" y="936"/>
                </a:lnTo>
                <a:lnTo>
                  <a:pt x="2986" y="929"/>
                </a:lnTo>
                <a:lnTo>
                  <a:pt x="2988" y="923"/>
                </a:lnTo>
                <a:lnTo>
                  <a:pt x="2988" y="917"/>
                </a:lnTo>
                <a:lnTo>
                  <a:pt x="2989" y="910"/>
                </a:lnTo>
                <a:lnTo>
                  <a:pt x="2988" y="899"/>
                </a:lnTo>
                <a:lnTo>
                  <a:pt x="2987" y="894"/>
                </a:lnTo>
                <a:lnTo>
                  <a:pt x="2986" y="888"/>
                </a:lnTo>
                <a:lnTo>
                  <a:pt x="2981" y="878"/>
                </a:lnTo>
                <a:lnTo>
                  <a:pt x="2979" y="873"/>
                </a:lnTo>
                <a:lnTo>
                  <a:pt x="2976" y="868"/>
                </a:lnTo>
                <a:lnTo>
                  <a:pt x="2972" y="864"/>
                </a:lnTo>
                <a:lnTo>
                  <a:pt x="2969" y="861"/>
                </a:lnTo>
                <a:lnTo>
                  <a:pt x="2961" y="853"/>
                </a:lnTo>
                <a:lnTo>
                  <a:pt x="2957" y="849"/>
                </a:lnTo>
                <a:lnTo>
                  <a:pt x="2951" y="846"/>
                </a:lnTo>
                <a:lnTo>
                  <a:pt x="2947" y="844"/>
                </a:lnTo>
                <a:lnTo>
                  <a:pt x="2941" y="842"/>
                </a:lnTo>
                <a:lnTo>
                  <a:pt x="2936" y="840"/>
                </a:lnTo>
                <a:lnTo>
                  <a:pt x="2930" y="838"/>
                </a:lnTo>
                <a:lnTo>
                  <a:pt x="2925" y="836"/>
                </a:lnTo>
                <a:lnTo>
                  <a:pt x="2919" y="836"/>
                </a:lnTo>
                <a:lnTo>
                  <a:pt x="2907" y="835"/>
                </a:lnTo>
                <a:lnTo>
                  <a:pt x="2275" y="835"/>
                </a:lnTo>
                <a:lnTo>
                  <a:pt x="2260" y="835"/>
                </a:lnTo>
                <a:lnTo>
                  <a:pt x="2246" y="836"/>
                </a:lnTo>
                <a:lnTo>
                  <a:pt x="2234" y="838"/>
                </a:lnTo>
                <a:lnTo>
                  <a:pt x="2222" y="841"/>
                </a:lnTo>
                <a:lnTo>
                  <a:pt x="2209" y="845"/>
                </a:lnTo>
                <a:lnTo>
                  <a:pt x="2198" y="848"/>
                </a:lnTo>
                <a:lnTo>
                  <a:pt x="2188" y="854"/>
                </a:lnTo>
                <a:lnTo>
                  <a:pt x="2178" y="859"/>
                </a:lnTo>
                <a:lnTo>
                  <a:pt x="2168" y="865"/>
                </a:lnTo>
                <a:lnTo>
                  <a:pt x="2160" y="872"/>
                </a:lnTo>
                <a:lnTo>
                  <a:pt x="2151" y="879"/>
                </a:lnTo>
                <a:lnTo>
                  <a:pt x="2142" y="887"/>
                </a:lnTo>
                <a:lnTo>
                  <a:pt x="2134" y="896"/>
                </a:lnTo>
                <a:lnTo>
                  <a:pt x="2126" y="905"/>
                </a:lnTo>
                <a:lnTo>
                  <a:pt x="2119" y="915"/>
                </a:lnTo>
                <a:lnTo>
                  <a:pt x="2111" y="925"/>
                </a:lnTo>
                <a:lnTo>
                  <a:pt x="1738" y="1404"/>
                </a:lnTo>
                <a:lnTo>
                  <a:pt x="1365" y="1885"/>
                </a:lnTo>
                <a:lnTo>
                  <a:pt x="1365" y="1408"/>
                </a:lnTo>
                <a:lnTo>
                  <a:pt x="1365" y="931"/>
                </a:lnTo>
                <a:lnTo>
                  <a:pt x="1365" y="920"/>
                </a:lnTo>
                <a:lnTo>
                  <a:pt x="1364" y="910"/>
                </a:lnTo>
                <a:lnTo>
                  <a:pt x="1362" y="902"/>
                </a:lnTo>
                <a:lnTo>
                  <a:pt x="1359" y="892"/>
                </a:lnTo>
                <a:lnTo>
                  <a:pt x="1356" y="884"/>
                </a:lnTo>
                <a:lnTo>
                  <a:pt x="1350" y="876"/>
                </a:lnTo>
                <a:lnTo>
                  <a:pt x="1346" y="868"/>
                </a:lnTo>
                <a:lnTo>
                  <a:pt x="1339" y="862"/>
                </a:lnTo>
                <a:lnTo>
                  <a:pt x="1332" y="856"/>
                </a:lnTo>
                <a:lnTo>
                  <a:pt x="1325" y="851"/>
                </a:lnTo>
                <a:lnTo>
                  <a:pt x="1317" y="846"/>
                </a:lnTo>
                <a:lnTo>
                  <a:pt x="1309" y="842"/>
                </a:lnTo>
                <a:lnTo>
                  <a:pt x="1300" y="840"/>
                </a:lnTo>
                <a:lnTo>
                  <a:pt x="1290" y="837"/>
                </a:lnTo>
                <a:lnTo>
                  <a:pt x="1280" y="835"/>
                </a:lnTo>
                <a:lnTo>
                  <a:pt x="1270" y="835"/>
                </a:lnTo>
                <a:lnTo>
                  <a:pt x="694" y="835"/>
                </a:lnTo>
                <a:lnTo>
                  <a:pt x="684" y="835"/>
                </a:lnTo>
                <a:lnTo>
                  <a:pt x="674" y="837"/>
                </a:lnTo>
                <a:lnTo>
                  <a:pt x="664" y="840"/>
                </a:lnTo>
                <a:lnTo>
                  <a:pt x="656" y="842"/>
                </a:lnTo>
                <a:lnTo>
                  <a:pt x="647" y="846"/>
                </a:lnTo>
                <a:lnTo>
                  <a:pt x="639" y="851"/>
                </a:lnTo>
                <a:lnTo>
                  <a:pt x="632" y="856"/>
                </a:lnTo>
                <a:lnTo>
                  <a:pt x="625" y="862"/>
                </a:lnTo>
                <a:lnTo>
                  <a:pt x="619" y="868"/>
                </a:lnTo>
                <a:lnTo>
                  <a:pt x="614" y="876"/>
                </a:lnTo>
                <a:lnTo>
                  <a:pt x="609" y="884"/>
                </a:lnTo>
                <a:lnTo>
                  <a:pt x="606" y="892"/>
                </a:lnTo>
                <a:lnTo>
                  <a:pt x="602" y="902"/>
                </a:lnTo>
                <a:lnTo>
                  <a:pt x="600" y="910"/>
                </a:lnTo>
                <a:lnTo>
                  <a:pt x="599" y="920"/>
                </a:lnTo>
                <a:lnTo>
                  <a:pt x="598" y="931"/>
                </a:lnTo>
                <a:lnTo>
                  <a:pt x="598" y="1464"/>
                </a:lnTo>
                <a:lnTo>
                  <a:pt x="598" y="1998"/>
                </a:lnTo>
                <a:lnTo>
                  <a:pt x="598" y="2531"/>
                </a:lnTo>
                <a:lnTo>
                  <a:pt x="598" y="3064"/>
                </a:lnTo>
                <a:lnTo>
                  <a:pt x="599" y="3074"/>
                </a:lnTo>
                <a:lnTo>
                  <a:pt x="600" y="3084"/>
                </a:lnTo>
                <a:lnTo>
                  <a:pt x="602" y="3094"/>
                </a:lnTo>
                <a:lnTo>
                  <a:pt x="606" y="3103"/>
                </a:lnTo>
                <a:lnTo>
                  <a:pt x="609" y="3111"/>
                </a:lnTo>
                <a:lnTo>
                  <a:pt x="614" y="3120"/>
                </a:lnTo>
                <a:lnTo>
                  <a:pt x="619" y="3126"/>
                </a:lnTo>
                <a:lnTo>
                  <a:pt x="625" y="3133"/>
                </a:lnTo>
                <a:lnTo>
                  <a:pt x="632" y="3140"/>
                </a:lnTo>
                <a:lnTo>
                  <a:pt x="639" y="3144"/>
                </a:lnTo>
                <a:lnTo>
                  <a:pt x="647" y="3150"/>
                </a:lnTo>
                <a:lnTo>
                  <a:pt x="656" y="3153"/>
                </a:lnTo>
                <a:lnTo>
                  <a:pt x="664" y="3156"/>
                </a:lnTo>
                <a:lnTo>
                  <a:pt x="674" y="3158"/>
                </a:lnTo>
                <a:lnTo>
                  <a:pt x="684" y="3160"/>
                </a:lnTo>
                <a:lnTo>
                  <a:pt x="694" y="3160"/>
                </a:lnTo>
                <a:lnTo>
                  <a:pt x="1270" y="3160"/>
                </a:lnTo>
                <a:lnTo>
                  <a:pt x="1280" y="3160"/>
                </a:lnTo>
                <a:lnTo>
                  <a:pt x="1290" y="3158"/>
                </a:lnTo>
                <a:lnTo>
                  <a:pt x="1300" y="3156"/>
                </a:lnTo>
                <a:lnTo>
                  <a:pt x="1309" y="3153"/>
                </a:lnTo>
                <a:lnTo>
                  <a:pt x="1317" y="3150"/>
                </a:lnTo>
                <a:lnTo>
                  <a:pt x="1325" y="3144"/>
                </a:lnTo>
                <a:lnTo>
                  <a:pt x="1332" y="3140"/>
                </a:lnTo>
                <a:lnTo>
                  <a:pt x="1339" y="3133"/>
                </a:lnTo>
                <a:lnTo>
                  <a:pt x="1346" y="3126"/>
                </a:lnTo>
                <a:lnTo>
                  <a:pt x="1350" y="3120"/>
                </a:lnTo>
                <a:lnTo>
                  <a:pt x="1356" y="3111"/>
                </a:lnTo>
                <a:lnTo>
                  <a:pt x="1359" y="3103"/>
                </a:lnTo>
                <a:lnTo>
                  <a:pt x="1362" y="3094"/>
                </a:lnTo>
                <a:lnTo>
                  <a:pt x="1364" y="3084"/>
                </a:lnTo>
                <a:lnTo>
                  <a:pt x="1365" y="3074"/>
                </a:lnTo>
                <a:lnTo>
                  <a:pt x="1365" y="3064"/>
                </a:lnTo>
                <a:lnTo>
                  <a:pt x="1365" y="2539"/>
                </a:lnTo>
                <a:lnTo>
                  <a:pt x="1365" y="2014"/>
                </a:lnTo>
                <a:lnTo>
                  <a:pt x="1738" y="2542"/>
                </a:lnTo>
                <a:lnTo>
                  <a:pt x="2111" y="3070"/>
                </a:lnTo>
                <a:lnTo>
                  <a:pt x="2119" y="3080"/>
                </a:lnTo>
                <a:lnTo>
                  <a:pt x="2126" y="3090"/>
                </a:lnTo>
                <a:lnTo>
                  <a:pt x="2134" y="3099"/>
                </a:lnTo>
                <a:lnTo>
                  <a:pt x="2142" y="3108"/>
                </a:lnTo>
                <a:lnTo>
                  <a:pt x="2151" y="3115"/>
                </a:lnTo>
                <a:lnTo>
                  <a:pt x="2160" y="3123"/>
                </a:lnTo>
                <a:lnTo>
                  <a:pt x="2168" y="3130"/>
                </a:lnTo>
                <a:lnTo>
                  <a:pt x="2178" y="3136"/>
                </a:lnTo>
                <a:lnTo>
                  <a:pt x="2188" y="3142"/>
                </a:lnTo>
                <a:lnTo>
                  <a:pt x="2198" y="3146"/>
                </a:lnTo>
                <a:lnTo>
                  <a:pt x="2209" y="3151"/>
                </a:lnTo>
                <a:lnTo>
                  <a:pt x="2222" y="3154"/>
                </a:lnTo>
                <a:lnTo>
                  <a:pt x="2234" y="3156"/>
                </a:lnTo>
                <a:lnTo>
                  <a:pt x="2246" y="3158"/>
                </a:lnTo>
                <a:lnTo>
                  <a:pt x="2260" y="3160"/>
                </a:lnTo>
                <a:lnTo>
                  <a:pt x="2275" y="3160"/>
                </a:lnTo>
                <a:lnTo>
                  <a:pt x="2924" y="3160"/>
                </a:lnTo>
                <a:close/>
                <a:moveTo>
                  <a:pt x="0" y="3899"/>
                </a:moveTo>
                <a:lnTo>
                  <a:pt x="1" y="3909"/>
                </a:lnTo>
                <a:lnTo>
                  <a:pt x="2" y="3919"/>
                </a:lnTo>
                <a:lnTo>
                  <a:pt x="4" y="3929"/>
                </a:lnTo>
                <a:lnTo>
                  <a:pt x="8" y="3938"/>
                </a:lnTo>
                <a:lnTo>
                  <a:pt x="11" y="3947"/>
                </a:lnTo>
                <a:lnTo>
                  <a:pt x="16" y="3955"/>
                </a:lnTo>
                <a:lnTo>
                  <a:pt x="21" y="3961"/>
                </a:lnTo>
                <a:lnTo>
                  <a:pt x="27" y="3968"/>
                </a:lnTo>
                <a:lnTo>
                  <a:pt x="33" y="3975"/>
                </a:lnTo>
                <a:lnTo>
                  <a:pt x="41" y="3980"/>
                </a:lnTo>
                <a:lnTo>
                  <a:pt x="49" y="3985"/>
                </a:lnTo>
                <a:lnTo>
                  <a:pt x="58" y="3988"/>
                </a:lnTo>
                <a:lnTo>
                  <a:pt x="66" y="3991"/>
                </a:lnTo>
                <a:lnTo>
                  <a:pt x="75" y="3993"/>
                </a:lnTo>
                <a:lnTo>
                  <a:pt x="85" y="3995"/>
                </a:lnTo>
                <a:lnTo>
                  <a:pt x="96" y="3996"/>
                </a:lnTo>
                <a:lnTo>
                  <a:pt x="942" y="3996"/>
                </a:lnTo>
                <a:lnTo>
                  <a:pt x="1789" y="3996"/>
                </a:lnTo>
                <a:lnTo>
                  <a:pt x="2635" y="3996"/>
                </a:lnTo>
                <a:lnTo>
                  <a:pt x="3482" y="3996"/>
                </a:lnTo>
                <a:lnTo>
                  <a:pt x="3493" y="3995"/>
                </a:lnTo>
                <a:lnTo>
                  <a:pt x="3503" y="3993"/>
                </a:lnTo>
                <a:lnTo>
                  <a:pt x="3512" y="3991"/>
                </a:lnTo>
                <a:lnTo>
                  <a:pt x="3521" y="3988"/>
                </a:lnTo>
                <a:lnTo>
                  <a:pt x="3529" y="3985"/>
                </a:lnTo>
                <a:lnTo>
                  <a:pt x="3537" y="3980"/>
                </a:lnTo>
                <a:lnTo>
                  <a:pt x="3545" y="3975"/>
                </a:lnTo>
                <a:lnTo>
                  <a:pt x="3552" y="3968"/>
                </a:lnTo>
                <a:lnTo>
                  <a:pt x="3557" y="3961"/>
                </a:lnTo>
                <a:lnTo>
                  <a:pt x="3563" y="3955"/>
                </a:lnTo>
                <a:lnTo>
                  <a:pt x="3567" y="3947"/>
                </a:lnTo>
                <a:lnTo>
                  <a:pt x="3572" y="3938"/>
                </a:lnTo>
                <a:lnTo>
                  <a:pt x="3574" y="3929"/>
                </a:lnTo>
                <a:lnTo>
                  <a:pt x="3576" y="3919"/>
                </a:lnTo>
                <a:lnTo>
                  <a:pt x="3577" y="3909"/>
                </a:lnTo>
                <a:lnTo>
                  <a:pt x="3578" y="3899"/>
                </a:lnTo>
                <a:lnTo>
                  <a:pt x="3578" y="3634"/>
                </a:lnTo>
                <a:lnTo>
                  <a:pt x="3577" y="3624"/>
                </a:lnTo>
                <a:lnTo>
                  <a:pt x="3576" y="3614"/>
                </a:lnTo>
                <a:lnTo>
                  <a:pt x="3574" y="3605"/>
                </a:lnTo>
                <a:lnTo>
                  <a:pt x="3572" y="3595"/>
                </a:lnTo>
                <a:lnTo>
                  <a:pt x="3567" y="3587"/>
                </a:lnTo>
                <a:lnTo>
                  <a:pt x="3563" y="3579"/>
                </a:lnTo>
                <a:lnTo>
                  <a:pt x="3557" y="3572"/>
                </a:lnTo>
                <a:lnTo>
                  <a:pt x="3552" y="3565"/>
                </a:lnTo>
                <a:lnTo>
                  <a:pt x="3545" y="3559"/>
                </a:lnTo>
                <a:lnTo>
                  <a:pt x="3537" y="3554"/>
                </a:lnTo>
                <a:lnTo>
                  <a:pt x="3529" y="3549"/>
                </a:lnTo>
                <a:lnTo>
                  <a:pt x="3521" y="3545"/>
                </a:lnTo>
                <a:lnTo>
                  <a:pt x="3512" y="3542"/>
                </a:lnTo>
                <a:lnTo>
                  <a:pt x="3503" y="3539"/>
                </a:lnTo>
                <a:lnTo>
                  <a:pt x="3493" y="3538"/>
                </a:lnTo>
                <a:lnTo>
                  <a:pt x="3482" y="3538"/>
                </a:lnTo>
                <a:lnTo>
                  <a:pt x="2635" y="3538"/>
                </a:lnTo>
                <a:lnTo>
                  <a:pt x="1789" y="3538"/>
                </a:lnTo>
                <a:lnTo>
                  <a:pt x="942" y="3538"/>
                </a:lnTo>
                <a:lnTo>
                  <a:pt x="96" y="3538"/>
                </a:lnTo>
                <a:lnTo>
                  <a:pt x="85" y="3538"/>
                </a:lnTo>
                <a:lnTo>
                  <a:pt x="75" y="3539"/>
                </a:lnTo>
                <a:lnTo>
                  <a:pt x="66" y="3542"/>
                </a:lnTo>
                <a:lnTo>
                  <a:pt x="58" y="3545"/>
                </a:lnTo>
                <a:lnTo>
                  <a:pt x="49" y="3549"/>
                </a:lnTo>
                <a:lnTo>
                  <a:pt x="41" y="3554"/>
                </a:lnTo>
                <a:lnTo>
                  <a:pt x="33" y="3559"/>
                </a:lnTo>
                <a:lnTo>
                  <a:pt x="27" y="3565"/>
                </a:lnTo>
                <a:lnTo>
                  <a:pt x="21" y="3572"/>
                </a:lnTo>
                <a:lnTo>
                  <a:pt x="16" y="3579"/>
                </a:lnTo>
                <a:lnTo>
                  <a:pt x="11" y="3587"/>
                </a:lnTo>
                <a:lnTo>
                  <a:pt x="8" y="3595"/>
                </a:lnTo>
                <a:lnTo>
                  <a:pt x="4" y="3605"/>
                </a:lnTo>
                <a:lnTo>
                  <a:pt x="2" y="3614"/>
                </a:lnTo>
                <a:lnTo>
                  <a:pt x="1" y="3624"/>
                </a:lnTo>
                <a:lnTo>
                  <a:pt x="0" y="3634"/>
                </a:lnTo>
                <a:lnTo>
                  <a:pt x="0" y="3899"/>
                </a:lnTo>
                <a:close/>
                <a:moveTo>
                  <a:pt x="0" y="361"/>
                </a:moveTo>
                <a:lnTo>
                  <a:pt x="1" y="371"/>
                </a:lnTo>
                <a:lnTo>
                  <a:pt x="2" y="381"/>
                </a:lnTo>
                <a:lnTo>
                  <a:pt x="4" y="391"/>
                </a:lnTo>
                <a:lnTo>
                  <a:pt x="8" y="400"/>
                </a:lnTo>
                <a:lnTo>
                  <a:pt x="11" y="409"/>
                </a:lnTo>
                <a:lnTo>
                  <a:pt x="16" y="416"/>
                </a:lnTo>
                <a:lnTo>
                  <a:pt x="21" y="423"/>
                </a:lnTo>
                <a:lnTo>
                  <a:pt x="27" y="430"/>
                </a:lnTo>
                <a:lnTo>
                  <a:pt x="33" y="436"/>
                </a:lnTo>
                <a:lnTo>
                  <a:pt x="41" y="441"/>
                </a:lnTo>
                <a:lnTo>
                  <a:pt x="49" y="446"/>
                </a:lnTo>
                <a:lnTo>
                  <a:pt x="58" y="450"/>
                </a:lnTo>
                <a:lnTo>
                  <a:pt x="66" y="453"/>
                </a:lnTo>
                <a:lnTo>
                  <a:pt x="75" y="455"/>
                </a:lnTo>
                <a:lnTo>
                  <a:pt x="85" y="456"/>
                </a:lnTo>
                <a:lnTo>
                  <a:pt x="96" y="456"/>
                </a:lnTo>
                <a:lnTo>
                  <a:pt x="942" y="456"/>
                </a:lnTo>
                <a:lnTo>
                  <a:pt x="1789" y="456"/>
                </a:lnTo>
                <a:lnTo>
                  <a:pt x="2635" y="456"/>
                </a:lnTo>
                <a:lnTo>
                  <a:pt x="3482" y="456"/>
                </a:lnTo>
                <a:lnTo>
                  <a:pt x="3493" y="456"/>
                </a:lnTo>
                <a:lnTo>
                  <a:pt x="3503" y="455"/>
                </a:lnTo>
                <a:lnTo>
                  <a:pt x="3512" y="453"/>
                </a:lnTo>
                <a:lnTo>
                  <a:pt x="3521" y="450"/>
                </a:lnTo>
                <a:lnTo>
                  <a:pt x="3529" y="446"/>
                </a:lnTo>
                <a:lnTo>
                  <a:pt x="3537" y="441"/>
                </a:lnTo>
                <a:lnTo>
                  <a:pt x="3545" y="436"/>
                </a:lnTo>
                <a:lnTo>
                  <a:pt x="3552" y="430"/>
                </a:lnTo>
                <a:lnTo>
                  <a:pt x="3557" y="423"/>
                </a:lnTo>
                <a:lnTo>
                  <a:pt x="3563" y="416"/>
                </a:lnTo>
                <a:lnTo>
                  <a:pt x="3567" y="409"/>
                </a:lnTo>
                <a:lnTo>
                  <a:pt x="3572" y="400"/>
                </a:lnTo>
                <a:lnTo>
                  <a:pt x="3574" y="391"/>
                </a:lnTo>
                <a:lnTo>
                  <a:pt x="3576" y="381"/>
                </a:lnTo>
                <a:lnTo>
                  <a:pt x="3577" y="371"/>
                </a:lnTo>
                <a:lnTo>
                  <a:pt x="3578" y="361"/>
                </a:lnTo>
                <a:lnTo>
                  <a:pt x="3578" y="95"/>
                </a:lnTo>
                <a:lnTo>
                  <a:pt x="3577" y="85"/>
                </a:lnTo>
                <a:lnTo>
                  <a:pt x="3576" y="75"/>
                </a:lnTo>
                <a:lnTo>
                  <a:pt x="3574" y="65"/>
                </a:lnTo>
                <a:lnTo>
                  <a:pt x="3572" y="57"/>
                </a:lnTo>
                <a:lnTo>
                  <a:pt x="3567" y="49"/>
                </a:lnTo>
                <a:lnTo>
                  <a:pt x="3563" y="41"/>
                </a:lnTo>
                <a:lnTo>
                  <a:pt x="3557" y="33"/>
                </a:lnTo>
                <a:lnTo>
                  <a:pt x="3552" y="27"/>
                </a:lnTo>
                <a:lnTo>
                  <a:pt x="3545" y="20"/>
                </a:lnTo>
                <a:lnTo>
                  <a:pt x="3537" y="16"/>
                </a:lnTo>
                <a:lnTo>
                  <a:pt x="3529" y="11"/>
                </a:lnTo>
                <a:lnTo>
                  <a:pt x="3521" y="7"/>
                </a:lnTo>
                <a:lnTo>
                  <a:pt x="3512" y="3"/>
                </a:lnTo>
                <a:lnTo>
                  <a:pt x="3503" y="1"/>
                </a:lnTo>
                <a:lnTo>
                  <a:pt x="3493" y="0"/>
                </a:lnTo>
                <a:lnTo>
                  <a:pt x="3482" y="0"/>
                </a:lnTo>
                <a:lnTo>
                  <a:pt x="2635" y="0"/>
                </a:lnTo>
                <a:lnTo>
                  <a:pt x="1789" y="0"/>
                </a:lnTo>
                <a:lnTo>
                  <a:pt x="942" y="0"/>
                </a:lnTo>
                <a:lnTo>
                  <a:pt x="96" y="0"/>
                </a:lnTo>
                <a:lnTo>
                  <a:pt x="85" y="0"/>
                </a:lnTo>
                <a:lnTo>
                  <a:pt x="75" y="1"/>
                </a:lnTo>
                <a:lnTo>
                  <a:pt x="66" y="3"/>
                </a:lnTo>
                <a:lnTo>
                  <a:pt x="58" y="7"/>
                </a:lnTo>
                <a:lnTo>
                  <a:pt x="49" y="11"/>
                </a:lnTo>
                <a:lnTo>
                  <a:pt x="41" y="16"/>
                </a:lnTo>
                <a:lnTo>
                  <a:pt x="33" y="20"/>
                </a:lnTo>
                <a:lnTo>
                  <a:pt x="27" y="27"/>
                </a:lnTo>
                <a:lnTo>
                  <a:pt x="21" y="33"/>
                </a:lnTo>
                <a:lnTo>
                  <a:pt x="16" y="41"/>
                </a:lnTo>
                <a:lnTo>
                  <a:pt x="11" y="49"/>
                </a:lnTo>
                <a:lnTo>
                  <a:pt x="8" y="57"/>
                </a:lnTo>
                <a:lnTo>
                  <a:pt x="4" y="65"/>
                </a:lnTo>
                <a:lnTo>
                  <a:pt x="2" y="75"/>
                </a:lnTo>
                <a:lnTo>
                  <a:pt x="1" y="85"/>
                </a:lnTo>
                <a:lnTo>
                  <a:pt x="0" y="95"/>
                </a:lnTo>
                <a:lnTo>
                  <a:pt x="0" y="361"/>
                </a:lnTo>
                <a:close/>
              </a:path>
            </a:pathLst>
          </a:custGeom>
          <a:solidFill>
            <a:srgbClr val="FF6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205B"/>
              </a:solidFill>
              <a:effectLst/>
              <a:uLnTx/>
              <a:uFillTx/>
              <a:latin typeface="Skatta Sans Regular"/>
              <a:ea typeface="+mn-ea"/>
              <a:cs typeface="+mn-cs"/>
            </a:endParaRPr>
          </a:p>
        </p:txBody>
      </p:sp>
      <p:sp>
        <p:nvSpPr>
          <p:cNvPr id="181" name="Freeform 8"/>
          <p:cNvSpPr>
            <a:spLocks noChangeAspect="1" noEditPoints="1"/>
          </p:cNvSpPr>
          <p:nvPr/>
        </p:nvSpPr>
        <p:spPr bwMode="auto">
          <a:xfrm>
            <a:off x="982663" y="3356726"/>
            <a:ext cx="466312" cy="360000"/>
          </a:xfrm>
          <a:custGeom>
            <a:avLst/>
            <a:gdLst>
              <a:gd name="T0" fmla="*/ 557 w 1022"/>
              <a:gd name="T1" fmla="*/ 398 h 789"/>
              <a:gd name="T2" fmla="*/ 581 w 1022"/>
              <a:gd name="T3" fmla="*/ 399 h 789"/>
              <a:gd name="T4" fmla="*/ 635 w 1022"/>
              <a:gd name="T5" fmla="*/ 428 h 789"/>
              <a:gd name="T6" fmla="*/ 703 w 1022"/>
              <a:gd name="T7" fmla="*/ 397 h 789"/>
              <a:gd name="T8" fmla="*/ 734 w 1022"/>
              <a:gd name="T9" fmla="*/ 405 h 789"/>
              <a:gd name="T10" fmla="*/ 836 w 1022"/>
              <a:gd name="T11" fmla="*/ 401 h 789"/>
              <a:gd name="T12" fmla="*/ 865 w 1022"/>
              <a:gd name="T13" fmla="*/ 399 h 789"/>
              <a:gd name="T14" fmla="*/ 963 w 1022"/>
              <a:gd name="T15" fmla="*/ 410 h 789"/>
              <a:gd name="T16" fmla="*/ 905 w 1022"/>
              <a:gd name="T17" fmla="*/ 263 h 789"/>
              <a:gd name="T18" fmla="*/ 987 w 1022"/>
              <a:gd name="T19" fmla="*/ 361 h 789"/>
              <a:gd name="T20" fmla="*/ 1019 w 1022"/>
              <a:gd name="T21" fmla="*/ 406 h 789"/>
              <a:gd name="T22" fmla="*/ 1020 w 1022"/>
              <a:gd name="T23" fmla="*/ 425 h 789"/>
              <a:gd name="T24" fmla="*/ 993 w 1022"/>
              <a:gd name="T25" fmla="*/ 446 h 789"/>
              <a:gd name="T26" fmla="*/ 922 w 1022"/>
              <a:gd name="T27" fmla="*/ 475 h 789"/>
              <a:gd name="T28" fmla="*/ 877 w 1022"/>
              <a:gd name="T29" fmla="*/ 457 h 789"/>
              <a:gd name="T30" fmla="*/ 800 w 1022"/>
              <a:gd name="T31" fmla="*/ 471 h 789"/>
              <a:gd name="T32" fmla="*/ 770 w 1022"/>
              <a:gd name="T33" fmla="*/ 473 h 789"/>
              <a:gd name="T34" fmla="*/ 660 w 1022"/>
              <a:gd name="T35" fmla="*/ 467 h 789"/>
              <a:gd name="T36" fmla="*/ 630 w 1022"/>
              <a:gd name="T37" fmla="*/ 475 h 789"/>
              <a:gd name="T38" fmla="*/ 564 w 1022"/>
              <a:gd name="T39" fmla="*/ 443 h 789"/>
              <a:gd name="T40" fmla="*/ 515 w 1022"/>
              <a:gd name="T41" fmla="*/ 458 h 789"/>
              <a:gd name="T42" fmla="*/ 493 w 1022"/>
              <a:gd name="T43" fmla="*/ 451 h 789"/>
              <a:gd name="T44" fmla="*/ 489 w 1022"/>
              <a:gd name="T45" fmla="*/ 279 h 789"/>
              <a:gd name="T46" fmla="*/ 495 w 1022"/>
              <a:gd name="T47" fmla="*/ 263 h 789"/>
              <a:gd name="T48" fmla="*/ 890 w 1022"/>
              <a:gd name="T49" fmla="*/ 257 h 789"/>
              <a:gd name="T50" fmla="*/ 972 w 1022"/>
              <a:gd name="T51" fmla="*/ 777 h 789"/>
              <a:gd name="T52" fmla="*/ 956 w 1022"/>
              <a:gd name="T53" fmla="*/ 789 h 789"/>
              <a:gd name="T54" fmla="*/ 348 w 1022"/>
              <a:gd name="T55" fmla="*/ 786 h 789"/>
              <a:gd name="T56" fmla="*/ 336 w 1022"/>
              <a:gd name="T57" fmla="*/ 771 h 789"/>
              <a:gd name="T58" fmla="*/ 195 w 1022"/>
              <a:gd name="T59" fmla="*/ 766 h 789"/>
              <a:gd name="T60" fmla="*/ 188 w 1022"/>
              <a:gd name="T61" fmla="*/ 782 h 789"/>
              <a:gd name="T62" fmla="*/ 23 w 1022"/>
              <a:gd name="T63" fmla="*/ 789 h 789"/>
              <a:gd name="T64" fmla="*/ 7 w 1022"/>
              <a:gd name="T65" fmla="*/ 782 h 789"/>
              <a:gd name="T66" fmla="*/ 0 w 1022"/>
              <a:gd name="T67" fmla="*/ 163 h 789"/>
              <a:gd name="T68" fmla="*/ 9 w 1022"/>
              <a:gd name="T69" fmla="*/ 146 h 789"/>
              <a:gd name="T70" fmla="*/ 949 w 1022"/>
              <a:gd name="T71" fmla="*/ 1 h 789"/>
              <a:gd name="T72" fmla="*/ 967 w 1022"/>
              <a:gd name="T73" fmla="*/ 6 h 789"/>
              <a:gd name="T74" fmla="*/ 975 w 1022"/>
              <a:gd name="T75" fmla="*/ 23 h 789"/>
              <a:gd name="T76" fmla="*/ 972 w 1022"/>
              <a:gd name="T77" fmla="*/ 164 h 789"/>
              <a:gd name="T78" fmla="*/ 960 w 1022"/>
              <a:gd name="T79" fmla="*/ 174 h 789"/>
              <a:gd name="T80" fmla="*/ 940 w 1022"/>
              <a:gd name="T81" fmla="*/ 172 h 789"/>
              <a:gd name="T82" fmla="*/ 929 w 1022"/>
              <a:gd name="T83" fmla="*/ 152 h 789"/>
              <a:gd name="T84" fmla="*/ 149 w 1022"/>
              <a:gd name="T85" fmla="*/ 744 h 789"/>
              <a:gd name="T86" fmla="*/ 154 w 1022"/>
              <a:gd name="T87" fmla="*/ 410 h 789"/>
              <a:gd name="T88" fmla="*/ 173 w 1022"/>
              <a:gd name="T89" fmla="*/ 400 h 789"/>
              <a:gd name="T90" fmla="*/ 371 w 1022"/>
              <a:gd name="T91" fmla="*/ 404 h 789"/>
              <a:gd name="T92" fmla="*/ 381 w 1022"/>
              <a:gd name="T93" fmla="*/ 422 h 789"/>
              <a:gd name="T94" fmla="*/ 930 w 1022"/>
              <a:gd name="T95" fmla="*/ 580 h 789"/>
              <a:gd name="T96" fmla="*/ 935 w 1022"/>
              <a:gd name="T97" fmla="*/ 570 h 789"/>
              <a:gd name="T98" fmla="*/ 952 w 1022"/>
              <a:gd name="T99" fmla="*/ 563 h 789"/>
              <a:gd name="T100" fmla="*/ 971 w 1022"/>
              <a:gd name="T101" fmla="*/ 572 h 7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022" h="789">
                <a:moveTo>
                  <a:pt x="879" y="302"/>
                </a:moveTo>
                <a:lnTo>
                  <a:pt x="534" y="302"/>
                </a:lnTo>
                <a:lnTo>
                  <a:pt x="534" y="405"/>
                </a:lnTo>
                <a:lnTo>
                  <a:pt x="550" y="400"/>
                </a:lnTo>
                <a:lnTo>
                  <a:pt x="557" y="398"/>
                </a:lnTo>
                <a:lnTo>
                  <a:pt x="563" y="397"/>
                </a:lnTo>
                <a:lnTo>
                  <a:pt x="568" y="397"/>
                </a:lnTo>
                <a:lnTo>
                  <a:pt x="572" y="397"/>
                </a:lnTo>
                <a:lnTo>
                  <a:pt x="577" y="398"/>
                </a:lnTo>
                <a:lnTo>
                  <a:pt x="581" y="399"/>
                </a:lnTo>
                <a:lnTo>
                  <a:pt x="585" y="401"/>
                </a:lnTo>
                <a:lnTo>
                  <a:pt x="590" y="403"/>
                </a:lnTo>
                <a:lnTo>
                  <a:pt x="601" y="409"/>
                </a:lnTo>
                <a:lnTo>
                  <a:pt x="616" y="418"/>
                </a:lnTo>
                <a:lnTo>
                  <a:pt x="635" y="428"/>
                </a:lnTo>
                <a:lnTo>
                  <a:pt x="663" y="414"/>
                </a:lnTo>
                <a:lnTo>
                  <a:pt x="683" y="404"/>
                </a:lnTo>
                <a:lnTo>
                  <a:pt x="690" y="401"/>
                </a:lnTo>
                <a:lnTo>
                  <a:pt x="697" y="399"/>
                </a:lnTo>
                <a:lnTo>
                  <a:pt x="703" y="397"/>
                </a:lnTo>
                <a:lnTo>
                  <a:pt x="708" y="397"/>
                </a:lnTo>
                <a:lnTo>
                  <a:pt x="714" y="397"/>
                </a:lnTo>
                <a:lnTo>
                  <a:pt x="720" y="399"/>
                </a:lnTo>
                <a:lnTo>
                  <a:pt x="726" y="401"/>
                </a:lnTo>
                <a:lnTo>
                  <a:pt x="734" y="405"/>
                </a:lnTo>
                <a:lnTo>
                  <a:pt x="754" y="414"/>
                </a:lnTo>
                <a:lnTo>
                  <a:pt x="782" y="428"/>
                </a:lnTo>
                <a:lnTo>
                  <a:pt x="810" y="414"/>
                </a:lnTo>
                <a:lnTo>
                  <a:pt x="829" y="404"/>
                </a:lnTo>
                <a:lnTo>
                  <a:pt x="836" y="401"/>
                </a:lnTo>
                <a:lnTo>
                  <a:pt x="843" y="399"/>
                </a:lnTo>
                <a:lnTo>
                  <a:pt x="849" y="397"/>
                </a:lnTo>
                <a:lnTo>
                  <a:pt x="854" y="397"/>
                </a:lnTo>
                <a:lnTo>
                  <a:pt x="859" y="397"/>
                </a:lnTo>
                <a:lnTo>
                  <a:pt x="865" y="399"/>
                </a:lnTo>
                <a:lnTo>
                  <a:pt x="872" y="401"/>
                </a:lnTo>
                <a:lnTo>
                  <a:pt x="879" y="404"/>
                </a:lnTo>
                <a:lnTo>
                  <a:pt x="899" y="414"/>
                </a:lnTo>
                <a:lnTo>
                  <a:pt x="926" y="428"/>
                </a:lnTo>
                <a:lnTo>
                  <a:pt x="963" y="410"/>
                </a:lnTo>
                <a:lnTo>
                  <a:pt x="879" y="302"/>
                </a:lnTo>
                <a:close/>
                <a:moveTo>
                  <a:pt x="890" y="257"/>
                </a:moveTo>
                <a:lnTo>
                  <a:pt x="894" y="258"/>
                </a:lnTo>
                <a:lnTo>
                  <a:pt x="900" y="260"/>
                </a:lnTo>
                <a:lnTo>
                  <a:pt x="905" y="263"/>
                </a:lnTo>
                <a:lnTo>
                  <a:pt x="907" y="264"/>
                </a:lnTo>
                <a:lnTo>
                  <a:pt x="908" y="265"/>
                </a:lnTo>
                <a:lnTo>
                  <a:pt x="932" y="295"/>
                </a:lnTo>
                <a:lnTo>
                  <a:pt x="953" y="321"/>
                </a:lnTo>
                <a:lnTo>
                  <a:pt x="987" y="361"/>
                </a:lnTo>
                <a:lnTo>
                  <a:pt x="1000" y="377"/>
                </a:lnTo>
                <a:lnTo>
                  <a:pt x="1010" y="390"/>
                </a:lnTo>
                <a:lnTo>
                  <a:pt x="1014" y="396"/>
                </a:lnTo>
                <a:lnTo>
                  <a:pt x="1017" y="401"/>
                </a:lnTo>
                <a:lnTo>
                  <a:pt x="1019" y="406"/>
                </a:lnTo>
                <a:lnTo>
                  <a:pt x="1021" y="410"/>
                </a:lnTo>
                <a:lnTo>
                  <a:pt x="1022" y="414"/>
                </a:lnTo>
                <a:lnTo>
                  <a:pt x="1022" y="418"/>
                </a:lnTo>
                <a:lnTo>
                  <a:pt x="1021" y="422"/>
                </a:lnTo>
                <a:lnTo>
                  <a:pt x="1020" y="425"/>
                </a:lnTo>
                <a:lnTo>
                  <a:pt x="1017" y="429"/>
                </a:lnTo>
                <a:lnTo>
                  <a:pt x="1014" y="432"/>
                </a:lnTo>
                <a:lnTo>
                  <a:pt x="1010" y="435"/>
                </a:lnTo>
                <a:lnTo>
                  <a:pt x="1005" y="439"/>
                </a:lnTo>
                <a:lnTo>
                  <a:pt x="993" y="446"/>
                </a:lnTo>
                <a:lnTo>
                  <a:pt x="978" y="454"/>
                </a:lnTo>
                <a:lnTo>
                  <a:pt x="936" y="474"/>
                </a:lnTo>
                <a:lnTo>
                  <a:pt x="932" y="475"/>
                </a:lnTo>
                <a:lnTo>
                  <a:pt x="927" y="475"/>
                </a:lnTo>
                <a:lnTo>
                  <a:pt x="922" y="475"/>
                </a:lnTo>
                <a:lnTo>
                  <a:pt x="916" y="473"/>
                </a:lnTo>
                <a:lnTo>
                  <a:pt x="910" y="471"/>
                </a:lnTo>
                <a:lnTo>
                  <a:pt x="903" y="469"/>
                </a:lnTo>
                <a:lnTo>
                  <a:pt x="890" y="463"/>
                </a:lnTo>
                <a:lnTo>
                  <a:pt x="877" y="457"/>
                </a:lnTo>
                <a:lnTo>
                  <a:pt x="866" y="451"/>
                </a:lnTo>
                <a:lnTo>
                  <a:pt x="854" y="444"/>
                </a:lnTo>
                <a:lnTo>
                  <a:pt x="826" y="458"/>
                </a:lnTo>
                <a:lnTo>
                  <a:pt x="807" y="467"/>
                </a:lnTo>
                <a:lnTo>
                  <a:pt x="800" y="471"/>
                </a:lnTo>
                <a:lnTo>
                  <a:pt x="793" y="473"/>
                </a:lnTo>
                <a:lnTo>
                  <a:pt x="787" y="475"/>
                </a:lnTo>
                <a:lnTo>
                  <a:pt x="782" y="475"/>
                </a:lnTo>
                <a:lnTo>
                  <a:pt x="776" y="475"/>
                </a:lnTo>
                <a:lnTo>
                  <a:pt x="770" y="473"/>
                </a:lnTo>
                <a:lnTo>
                  <a:pt x="764" y="471"/>
                </a:lnTo>
                <a:lnTo>
                  <a:pt x="756" y="467"/>
                </a:lnTo>
                <a:lnTo>
                  <a:pt x="708" y="444"/>
                </a:lnTo>
                <a:lnTo>
                  <a:pt x="680" y="457"/>
                </a:lnTo>
                <a:lnTo>
                  <a:pt x="660" y="467"/>
                </a:lnTo>
                <a:lnTo>
                  <a:pt x="653" y="471"/>
                </a:lnTo>
                <a:lnTo>
                  <a:pt x="646" y="473"/>
                </a:lnTo>
                <a:lnTo>
                  <a:pt x="640" y="475"/>
                </a:lnTo>
                <a:lnTo>
                  <a:pt x="635" y="475"/>
                </a:lnTo>
                <a:lnTo>
                  <a:pt x="630" y="475"/>
                </a:lnTo>
                <a:lnTo>
                  <a:pt x="624" y="473"/>
                </a:lnTo>
                <a:lnTo>
                  <a:pt x="617" y="471"/>
                </a:lnTo>
                <a:lnTo>
                  <a:pt x="610" y="467"/>
                </a:lnTo>
                <a:lnTo>
                  <a:pt x="591" y="457"/>
                </a:lnTo>
                <a:lnTo>
                  <a:pt x="564" y="443"/>
                </a:lnTo>
                <a:lnTo>
                  <a:pt x="546" y="450"/>
                </a:lnTo>
                <a:lnTo>
                  <a:pt x="534" y="454"/>
                </a:lnTo>
                <a:lnTo>
                  <a:pt x="528" y="456"/>
                </a:lnTo>
                <a:lnTo>
                  <a:pt x="521" y="457"/>
                </a:lnTo>
                <a:lnTo>
                  <a:pt x="515" y="458"/>
                </a:lnTo>
                <a:lnTo>
                  <a:pt x="509" y="458"/>
                </a:lnTo>
                <a:lnTo>
                  <a:pt x="503" y="457"/>
                </a:lnTo>
                <a:lnTo>
                  <a:pt x="498" y="456"/>
                </a:lnTo>
                <a:lnTo>
                  <a:pt x="494" y="453"/>
                </a:lnTo>
                <a:lnTo>
                  <a:pt x="493" y="451"/>
                </a:lnTo>
                <a:lnTo>
                  <a:pt x="491" y="449"/>
                </a:lnTo>
                <a:lnTo>
                  <a:pt x="489" y="443"/>
                </a:lnTo>
                <a:lnTo>
                  <a:pt x="489" y="440"/>
                </a:lnTo>
                <a:lnTo>
                  <a:pt x="489" y="436"/>
                </a:lnTo>
                <a:lnTo>
                  <a:pt x="489" y="279"/>
                </a:lnTo>
                <a:lnTo>
                  <a:pt x="489" y="275"/>
                </a:lnTo>
                <a:lnTo>
                  <a:pt x="490" y="271"/>
                </a:lnTo>
                <a:lnTo>
                  <a:pt x="491" y="269"/>
                </a:lnTo>
                <a:lnTo>
                  <a:pt x="493" y="267"/>
                </a:lnTo>
                <a:lnTo>
                  <a:pt x="495" y="263"/>
                </a:lnTo>
                <a:lnTo>
                  <a:pt x="499" y="261"/>
                </a:lnTo>
                <a:lnTo>
                  <a:pt x="503" y="258"/>
                </a:lnTo>
                <a:lnTo>
                  <a:pt x="507" y="257"/>
                </a:lnTo>
                <a:lnTo>
                  <a:pt x="511" y="257"/>
                </a:lnTo>
                <a:lnTo>
                  <a:pt x="890" y="257"/>
                </a:lnTo>
                <a:close/>
                <a:moveTo>
                  <a:pt x="975" y="585"/>
                </a:moveTo>
                <a:lnTo>
                  <a:pt x="975" y="766"/>
                </a:lnTo>
                <a:lnTo>
                  <a:pt x="974" y="771"/>
                </a:lnTo>
                <a:lnTo>
                  <a:pt x="973" y="775"/>
                </a:lnTo>
                <a:lnTo>
                  <a:pt x="972" y="777"/>
                </a:lnTo>
                <a:lnTo>
                  <a:pt x="971" y="779"/>
                </a:lnTo>
                <a:lnTo>
                  <a:pt x="968" y="782"/>
                </a:lnTo>
                <a:lnTo>
                  <a:pt x="965" y="785"/>
                </a:lnTo>
                <a:lnTo>
                  <a:pt x="961" y="787"/>
                </a:lnTo>
                <a:lnTo>
                  <a:pt x="956" y="789"/>
                </a:lnTo>
                <a:lnTo>
                  <a:pt x="952" y="789"/>
                </a:lnTo>
                <a:lnTo>
                  <a:pt x="358" y="789"/>
                </a:lnTo>
                <a:lnTo>
                  <a:pt x="354" y="789"/>
                </a:lnTo>
                <a:lnTo>
                  <a:pt x="350" y="787"/>
                </a:lnTo>
                <a:lnTo>
                  <a:pt x="348" y="786"/>
                </a:lnTo>
                <a:lnTo>
                  <a:pt x="346" y="785"/>
                </a:lnTo>
                <a:lnTo>
                  <a:pt x="342" y="782"/>
                </a:lnTo>
                <a:lnTo>
                  <a:pt x="339" y="779"/>
                </a:lnTo>
                <a:lnTo>
                  <a:pt x="337" y="775"/>
                </a:lnTo>
                <a:lnTo>
                  <a:pt x="336" y="771"/>
                </a:lnTo>
                <a:lnTo>
                  <a:pt x="335" y="766"/>
                </a:lnTo>
                <a:lnTo>
                  <a:pt x="335" y="658"/>
                </a:lnTo>
                <a:lnTo>
                  <a:pt x="335" y="445"/>
                </a:lnTo>
                <a:lnTo>
                  <a:pt x="195" y="445"/>
                </a:lnTo>
                <a:lnTo>
                  <a:pt x="195" y="766"/>
                </a:lnTo>
                <a:lnTo>
                  <a:pt x="195" y="771"/>
                </a:lnTo>
                <a:lnTo>
                  <a:pt x="193" y="775"/>
                </a:lnTo>
                <a:lnTo>
                  <a:pt x="192" y="777"/>
                </a:lnTo>
                <a:lnTo>
                  <a:pt x="191" y="779"/>
                </a:lnTo>
                <a:lnTo>
                  <a:pt x="188" y="782"/>
                </a:lnTo>
                <a:lnTo>
                  <a:pt x="185" y="785"/>
                </a:lnTo>
                <a:lnTo>
                  <a:pt x="181" y="787"/>
                </a:lnTo>
                <a:lnTo>
                  <a:pt x="177" y="789"/>
                </a:lnTo>
                <a:lnTo>
                  <a:pt x="173" y="789"/>
                </a:lnTo>
                <a:lnTo>
                  <a:pt x="23" y="789"/>
                </a:lnTo>
                <a:lnTo>
                  <a:pt x="19" y="789"/>
                </a:lnTo>
                <a:lnTo>
                  <a:pt x="14" y="787"/>
                </a:lnTo>
                <a:lnTo>
                  <a:pt x="12" y="786"/>
                </a:lnTo>
                <a:lnTo>
                  <a:pt x="11" y="785"/>
                </a:lnTo>
                <a:lnTo>
                  <a:pt x="7" y="782"/>
                </a:lnTo>
                <a:lnTo>
                  <a:pt x="4" y="779"/>
                </a:lnTo>
                <a:lnTo>
                  <a:pt x="2" y="775"/>
                </a:lnTo>
                <a:lnTo>
                  <a:pt x="1" y="771"/>
                </a:lnTo>
                <a:lnTo>
                  <a:pt x="0" y="766"/>
                </a:lnTo>
                <a:lnTo>
                  <a:pt x="0" y="163"/>
                </a:lnTo>
                <a:lnTo>
                  <a:pt x="1" y="160"/>
                </a:lnTo>
                <a:lnTo>
                  <a:pt x="2" y="156"/>
                </a:lnTo>
                <a:lnTo>
                  <a:pt x="4" y="152"/>
                </a:lnTo>
                <a:lnTo>
                  <a:pt x="6" y="149"/>
                </a:lnTo>
                <a:lnTo>
                  <a:pt x="9" y="146"/>
                </a:lnTo>
                <a:lnTo>
                  <a:pt x="13" y="144"/>
                </a:lnTo>
                <a:lnTo>
                  <a:pt x="16" y="142"/>
                </a:lnTo>
                <a:lnTo>
                  <a:pt x="20" y="141"/>
                </a:lnTo>
                <a:lnTo>
                  <a:pt x="485" y="70"/>
                </a:lnTo>
                <a:lnTo>
                  <a:pt x="949" y="1"/>
                </a:lnTo>
                <a:lnTo>
                  <a:pt x="954" y="0"/>
                </a:lnTo>
                <a:lnTo>
                  <a:pt x="959" y="1"/>
                </a:lnTo>
                <a:lnTo>
                  <a:pt x="963" y="3"/>
                </a:lnTo>
                <a:lnTo>
                  <a:pt x="965" y="4"/>
                </a:lnTo>
                <a:lnTo>
                  <a:pt x="967" y="6"/>
                </a:lnTo>
                <a:lnTo>
                  <a:pt x="970" y="9"/>
                </a:lnTo>
                <a:lnTo>
                  <a:pt x="973" y="13"/>
                </a:lnTo>
                <a:lnTo>
                  <a:pt x="974" y="15"/>
                </a:lnTo>
                <a:lnTo>
                  <a:pt x="974" y="18"/>
                </a:lnTo>
                <a:lnTo>
                  <a:pt x="975" y="23"/>
                </a:lnTo>
                <a:lnTo>
                  <a:pt x="975" y="152"/>
                </a:lnTo>
                <a:lnTo>
                  <a:pt x="974" y="158"/>
                </a:lnTo>
                <a:lnTo>
                  <a:pt x="974" y="160"/>
                </a:lnTo>
                <a:lnTo>
                  <a:pt x="973" y="162"/>
                </a:lnTo>
                <a:lnTo>
                  <a:pt x="972" y="164"/>
                </a:lnTo>
                <a:lnTo>
                  <a:pt x="971" y="166"/>
                </a:lnTo>
                <a:lnTo>
                  <a:pt x="969" y="168"/>
                </a:lnTo>
                <a:lnTo>
                  <a:pt x="968" y="169"/>
                </a:lnTo>
                <a:lnTo>
                  <a:pt x="964" y="172"/>
                </a:lnTo>
                <a:lnTo>
                  <a:pt x="960" y="174"/>
                </a:lnTo>
                <a:lnTo>
                  <a:pt x="956" y="175"/>
                </a:lnTo>
                <a:lnTo>
                  <a:pt x="952" y="175"/>
                </a:lnTo>
                <a:lnTo>
                  <a:pt x="948" y="175"/>
                </a:lnTo>
                <a:lnTo>
                  <a:pt x="944" y="174"/>
                </a:lnTo>
                <a:lnTo>
                  <a:pt x="940" y="172"/>
                </a:lnTo>
                <a:lnTo>
                  <a:pt x="936" y="169"/>
                </a:lnTo>
                <a:lnTo>
                  <a:pt x="934" y="166"/>
                </a:lnTo>
                <a:lnTo>
                  <a:pt x="931" y="162"/>
                </a:lnTo>
                <a:lnTo>
                  <a:pt x="930" y="158"/>
                </a:lnTo>
                <a:lnTo>
                  <a:pt x="929" y="152"/>
                </a:lnTo>
                <a:lnTo>
                  <a:pt x="929" y="49"/>
                </a:lnTo>
                <a:lnTo>
                  <a:pt x="488" y="116"/>
                </a:lnTo>
                <a:lnTo>
                  <a:pt x="46" y="183"/>
                </a:lnTo>
                <a:lnTo>
                  <a:pt x="46" y="744"/>
                </a:lnTo>
                <a:lnTo>
                  <a:pt x="149" y="744"/>
                </a:lnTo>
                <a:lnTo>
                  <a:pt x="149" y="422"/>
                </a:lnTo>
                <a:lnTo>
                  <a:pt x="149" y="418"/>
                </a:lnTo>
                <a:lnTo>
                  <a:pt x="151" y="414"/>
                </a:lnTo>
                <a:lnTo>
                  <a:pt x="153" y="412"/>
                </a:lnTo>
                <a:lnTo>
                  <a:pt x="154" y="410"/>
                </a:lnTo>
                <a:lnTo>
                  <a:pt x="157" y="406"/>
                </a:lnTo>
                <a:lnTo>
                  <a:pt x="160" y="404"/>
                </a:lnTo>
                <a:lnTo>
                  <a:pt x="164" y="401"/>
                </a:lnTo>
                <a:lnTo>
                  <a:pt x="168" y="400"/>
                </a:lnTo>
                <a:lnTo>
                  <a:pt x="173" y="400"/>
                </a:lnTo>
                <a:lnTo>
                  <a:pt x="358" y="400"/>
                </a:lnTo>
                <a:lnTo>
                  <a:pt x="363" y="400"/>
                </a:lnTo>
                <a:lnTo>
                  <a:pt x="367" y="401"/>
                </a:lnTo>
                <a:lnTo>
                  <a:pt x="369" y="402"/>
                </a:lnTo>
                <a:lnTo>
                  <a:pt x="371" y="404"/>
                </a:lnTo>
                <a:lnTo>
                  <a:pt x="374" y="406"/>
                </a:lnTo>
                <a:lnTo>
                  <a:pt x="377" y="410"/>
                </a:lnTo>
                <a:lnTo>
                  <a:pt x="379" y="414"/>
                </a:lnTo>
                <a:lnTo>
                  <a:pt x="380" y="418"/>
                </a:lnTo>
                <a:lnTo>
                  <a:pt x="381" y="422"/>
                </a:lnTo>
                <a:lnTo>
                  <a:pt x="381" y="658"/>
                </a:lnTo>
                <a:lnTo>
                  <a:pt x="381" y="744"/>
                </a:lnTo>
                <a:lnTo>
                  <a:pt x="929" y="744"/>
                </a:lnTo>
                <a:lnTo>
                  <a:pt x="929" y="585"/>
                </a:lnTo>
                <a:lnTo>
                  <a:pt x="930" y="580"/>
                </a:lnTo>
                <a:lnTo>
                  <a:pt x="930" y="578"/>
                </a:lnTo>
                <a:lnTo>
                  <a:pt x="931" y="575"/>
                </a:lnTo>
                <a:lnTo>
                  <a:pt x="932" y="573"/>
                </a:lnTo>
                <a:lnTo>
                  <a:pt x="934" y="572"/>
                </a:lnTo>
                <a:lnTo>
                  <a:pt x="935" y="570"/>
                </a:lnTo>
                <a:lnTo>
                  <a:pt x="936" y="568"/>
                </a:lnTo>
                <a:lnTo>
                  <a:pt x="940" y="566"/>
                </a:lnTo>
                <a:lnTo>
                  <a:pt x="944" y="564"/>
                </a:lnTo>
                <a:lnTo>
                  <a:pt x="948" y="563"/>
                </a:lnTo>
                <a:lnTo>
                  <a:pt x="952" y="563"/>
                </a:lnTo>
                <a:lnTo>
                  <a:pt x="956" y="563"/>
                </a:lnTo>
                <a:lnTo>
                  <a:pt x="960" y="564"/>
                </a:lnTo>
                <a:lnTo>
                  <a:pt x="964" y="566"/>
                </a:lnTo>
                <a:lnTo>
                  <a:pt x="968" y="568"/>
                </a:lnTo>
                <a:lnTo>
                  <a:pt x="971" y="572"/>
                </a:lnTo>
                <a:lnTo>
                  <a:pt x="973" y="575"/>
                </a:lnTo>
                <a:lnTo>
                  <a:pt x="974" y="580"/>
                </a:lnTo>
                <a:lnTo>
                  <a:pt x="975" y="585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katta Sans Regular"/>
              <a:ea typeface="+mn-ea"/>
              <a:cs typeface="+mn-cs"/>
            </a:endParaRPr>
          </a:p>
        </p:txBody>
      </p:sp>
      <p:sp>
        <p:nvSpPr>
          <p:cNvPr id="12" name="Freeform 11"/>
          <p:cNvSpPr>
            <a:spLocks noChangeAspect="1" noEditPoints="1"/>
          </p:cNvSpPr>
          <p:nvPr/>
        </p:nvSpPr>
        <p:spPr bwMode="auto">
          <a:xfrm>
            <a:off x="4511824" y="1916832"/>
            <a:ext cx="407870" cy="360000"/>
          </a:xfrm>
          <a:custGeom>
            <a:avLst/>
            <a:gdLst>
              <a:gd name="T0" fmla="*/ 735 w 1048"/>
              <a:gd name="T1" fmla="*/ 574 h 925"/>
              <a:gd name="T2" fmla="*/ 746 w 1048"/>
              <a:gd name="T3" fmla="*/ 585 h 925"/>
              <a:gd name="T4" fmla="*/ 750 w 1048"/>
              <a:gd name="T5" fmla="*/ 605 h 925"/>
              <a:gd name="T6" fmla="*/ 743 w 1048"/>
              <a:gd name="T7" fmla="*/ 619 h 925"/>
              <a:gd name="T8" fmla="*/ 722 w 1048"/>
              <a:gd name="T9" fmla="*/ 628 h 925"/>
              <a:gd name="T10" fmla="*/ 308 w 1048"/>
              <a:gd name="T11" fmla="*/ 623 h 925"/>
              <a:gd name="T12" fmla="*/ 299 w 1048"/>
              <a:gd name="T13" fmla="*/ 610 h 925"/>
              <a:gd name="T14" fmla="*/ 299 w 1048"/>
              <a:gd name="T15" fmla="*/ 590 h 925"/>
              <a:gd name="T16" fmla="*/ 308 w 1048"/>
              <a:gd name="T17" fmla="*/ 577 h 925"/>
              <a:gd name="T18" fmla="*/ 653 w 1048"/>
              <a:gd name="T19" fmla="*/ 257 h 925"/>
              <a:gd name="T20" fmla="*/ 911 w 1048"/>
              <a:gd name="T21" fmla="*/ 3 h 925"/>
              <a:gd name="T22" fmla="*/ 927 w 1048"/>
              <a:gd name="T23" fmla="*/ 2 h 925"/>
              <a:gd name="T24" fmla="*/ 944 w 1048"/>
              <a:gd name="T25" fmla="*/ 14 h 925"/>
              <a:gd name="T26" fmla="*/ 949 w 1048"/>
              <a:gd name="T27" fmla="*/ 34 h 925"/>
              <a:gd name="T28" fmla="*/ 942 w 1048"/>
              <a:gd name="T29" fmla="*/ 47 h 925"/>
              <a:gd name="T30" fmla="*/ 1027 w 1048"/>
              <a:gd name="T31" fmla="*/ 275 h 925"/>
              <a:gd name="T32" fmla="*/ 1042 w 1048"/>
              <a:gd name="T33" fmla="*/ 284 h 925"/>
              <a:gd name="T34" fmla="*/ 1047 w 1048"/>
              <a:gd name="T35" fmla="*/ 295 h 925"/>
              <a:gd name="T36" fmla="*/ 1047 w 1048"/>
              <a:gd name="T37" fmla="*/ 309 h 925"/>
              <a:gd name="T38" fmla="*/ 900 w 1048"/>
              <a:gd name="T39" fmla="*/ 885 h 925"/>
              <a:gd name="T40" fmla="*/ 885 w 1048"/>
              <a:gd name="T41" fmla="*/ 905 h 925"/>
              <a:gd name="T42" fmla="*/ 864 w 1048"/>
              <a:gd name="T43" fmla="*/ 918 h 925"/>
              <a:gd name="T44" fmla="*/ 839 w 1048"/>
              <a:gd name="T45" fmla="*/ 925 h 925"/>
              <a:gd name="T46" fmla="*/ 202 w 1048"/>
              <a:gd name="T47" fmla="*/ 924 h 925"/>
              <a:gd name="T48" fmla="*/ 178 w 1048"/>
              <a:gd name="T49" fmla="*/ 916 h 925"/>
              <a:gd name="T50" fmla="*/ 158 w 1048"/>
              <a:gd name="T51" fmla="*/ 900 h 925"/>
              <a:gd name="T52" fmla="*/ 144 w 1048"/>
              <a:gd name="T53" fmla="*/ 879 h 925"/>
              <a:gd name="T54" fmla="*/ 47 w 1048"/>
              <a:gd name="T55" fmla="*/ 495 h 925"/>
              <a:gd name="T56" fmla="*/ 49 w 1048"/>
              <a:gd name="T57" fmla="*/ 480 h 925"/>
              <a:gd name="T58" fmla="*/ 64 w 1048"/>
              <a:gd name="T59" fmla="*/ 466 h 925"/>
              <a:gd name="T60" fmla="*/ 84 w 1048"/>
              <a:gd name="T61" fmla="*/ 463 h 925"/>
              <a:gd name="T62" fmla="*/ 97 w 1048"/>
              <a:gd name="T63" fmla="*/ 473 h 925"/>
              <a:gd name="T64" fmla="*/ 103 w 1048"/>
              <a:gd name="T65" fmla="*/ 485 h 925"/>
              <a:gd name="T66" fmla="*/ 199 w 1048"/>
              <a:gd name="T67" fmla="*/ 861 h 925"/>
              <a:gd name="T68" fmla="*/ 208 w 1048"/>
              <a:gd name="T69" fmla="*/ 868 h 925"/>
              <a:gd name="T70" fmla="*/ 836 w 1048"/>
              <a:gd name="T71" fmla="*/ 869 h 925"/>
              <a:gd name="T72" fmla="*/ 848 w 1048"/>
              <a:gd name="T73" fmla="*/ 862 h 925"/>
              <a:gd name="T74" fmla="*/ 983 w 1048"/>
              <a:gd name="T75" fmla="*/ 330 h 925"/>
              <a:gd name="T76" fmla="*/ 16 w 1048"/>
              <a:gd name="T77" fmla="*/ 328 h 925"/>
              <a:gd name="T78" fmla="*/ 4 w 1048"/>
              <a:gd name="T79" fmla="*/ 317 h 925"/>
              <a:gd name="T80" fmla="*/ 1 w 1048"/>
              <a:gd name="T81" fmla="*/ 297 h 925"/>
              <a:gd name="T82" fmla="*/ 7 w 1048"/>
              <a:gd name="T83" fmla="*/ 283 h 925"/>
              <a:gd name="T84" fmla="*/ 28 w 1048"/>
              <a:gd name="T85" fmla="*/ 274 h 925"/>
              <a:gd name="T86" fmla="*/ 102 w 1048"/>
              <a:gd name="T87" fmla="*/ 42 h 925"/>
              <a:gd name="T88" fmla="*/ 99 w 1048"/>
              <a:gd name="T89" fmla="*/ 23 h 925"/>
              <a:gd name="T90" fmla="*/ 110 w 1048"/>
              <a:gd name="T91" fmla="*/ 6 h 925"/>
              <a:gd name="T92" fmla="*/ 125 w 1048"/>
              <a:gd name="T93" fmla="*/ 0 h 925"/>
              <a:gd name="T94" fmla="*/ 144 w 1048"/>
              <a:gd name="T95" fmla="*/ 7 h 925"/>
              <a:gd name="T96" fmla="*/ 413 w 1048"/>
              <a:gd name="T97" fmla="*/ 265 h 925"/>
              <a:gd name="T98" fmla="*/ 645 w 1048"/>
              <a:gd name="T99" fmla="*/ 270 h 9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048" h="925">
                <a:moveTo>
                  <a:pt x="325" y="572"/>
                </a:moveTo>
                <a:lnTo>
                  <a:pt x="722" y="572"/>
                </a:lnTo>
                <a:lnTo>
                  <a:pt x="729" y="572"/>
                </a:lnTo>
                <a:lnTo>
                  <a:pt x="735" y="574"/>
                </a:lnTo>
                <a:lnTo>
                  <a:pt x="739" y="577"/>
                </a:lnTo>
                <a:lnTo>
                  <a:pt x="743" y="581"/>
                </a:lnTo>
                <a:lnTo>
                  <a:pt x="745" y="583"/>
                </a:lnTo>
                <a:lnTo>
                  <a:pt x="746" y="585"/>
                </a:lnTo>
                <a:lnTo>
                  <a:pt x="749" y="590"/>
                </a:lnTo>
                <a:lnTo>
                  <a:pt x="750" y="595"/>
                </a:lnTo>
                <a:lnTo>
                  <a:pt x="750" y="600"/>
                </a:lnTo>
                <a:lnTo>
                  <a:pt x="750" y="605"/>
                </a:lnTo>
                <a:lnTo>
                  <a:pt x="749" y="610"/>
                </a:lnTo>
                <a:lnTo>
                  <a:pt x="748" y="613"/>
                </a:lnTo>
                <a:lnTo>
                  <a:pt x="746" y="615"/>
                </a:lnTo>
                <a:lnTo>
                  <a:pt x="743" y="619"/>
                </a:lnTo>
                <a:lnTo>
                  <a:pt x="739" y="623"/>
                </a:lnTo>
                <a:lnTo>
                  <a:pt x="735" y="626"/>
                </a:lnTo>
                <a:lnTo>
                  <a:pt x="729" y="627"/>
                </a:lnTo>
                <a:lnTo>
                  <a:pt x="722" y="628"/>
                </a:lnTo>
                <a:lnTo>
                  <a:pt x="325" y="628"/>
                </a:lnTo>
                <a:lnTo>
                  <a:pt x="319" y="627"/>
                </a:lnTo>
                <a:lnTo>
                  <a:pt x="313" y="626"/>
                </a:lnTo>
                <a:lnTo>
                  <a:pt x="308" y="623"/>
                </a:lnTo>
                <a:lnTo>
                  <a:pt x="304" y="619"/>
                </a:lnTo>
                <a:lnTo>
                  <a:pt x="303" y="617"/>
                </a:lnTo>
                <a:lnTo>
                  <a:pt x="301" y="615"/>
                </a:lnTo>
                <a:lnTo>
                  <a:pt x="299" y="610"/>
                </a:lnTo>
                <a:lnTo>
                  <a:pt x="298" y="605"/>
                </a:lnTo>
                <a:lnTo>
                  <a:pt x="297" y="600"/>
                </a:lnTo>
                <a:lnTo>
                  <a:pt x="298" y="595"/>
                </a:lnTo>
                <a:lnTo>
                  <a:pt x="299" y="590"/>
                </a:lnTo>
                <a:lnTo>
                  <a:pt x="300" y="587"/>
                </a:lnTo>
                <a:lnTo>
                  <a:pt x="301" y="585"/>
                </a:lnTo>
                <a:lnTo>
                  <a:pt x="304" y="581"/>
                </a:lnTo>
                <a:lnTo>
                  <a:pt x="308" y="577"/>
                </a:lnTo>
                <a:lnTo>
                  <a:pt x="313" y="574"/>
                </a:lnTo>
                <a:lnTo>
                  <a:pt x="319" y="572"/>
                </a:lnTo>
                <a:lnTo>
                  <a:pt x="325" y="572"/>
                </a:lnTo>
                <a:close/>
                <a:moveTo>
                  <a:pt x="653" y="257"/>
                </a:moveTo>
                <a:lnTo>
                  <a:pt x="900" y="10"/>
                </a:lnTo>
                <a:lnTo>
                  <a:pt x="906" y="6"/>
                </a:lnTo>
                <a:lnTo>
                  <a:pt x="908" y="4"/>
                </a:lnTo>
                <a:lnTo>
                  <a:pt x="911" y="3"/>
                </a:lnTo>
                <a:lnTo>
                  <a:pt x="914" y="2"/>
                </a:lnTo>
                <a:lnTo>
                  <a:pt x="916" y="1"/>
                </a:lnTo>
                <a:lnTo>
                  <a:pt x="922" y="1"/>
                </a:lnTo>
                <a:lnTo>
                  <a:pt x="927" y="2"/>
                </a:lnTo>
                <a:lnTo>
                  <a:pt x="932" y="4"/>
                </a:lnTo>
                <a:lnTo>
                  <a:pt x="936" y="6"/>
                </a:lnTo>
                <a:lnTo>
                  <a:pt x="940" y="10"/>
                </a:lnTo>
                <a:lnTo>
                  <a:pt x="944" y="14"/>
                </a:lnTo>
                <a:lnTo>
                  <a:pt x="946" y="18"/>
                </a:lnTo>
                <a:lnTo>
                  <a:pt x="948" y="23"/>
                </a:lnTo>
                <a:lnTo>
                  <a:pt x="949" y="28"/>
                </a:lnTo>
                <a:lnTo>
                  <a:pt x="949" y="34"/>
                </a:lnTo>
                <a:lnTo>
                  <a:pt x="947" y="39"/>
                </a:lnTo>
                <a:lnTo>
                  <a:pt x="946" y="42"/>
                </a:lnTo>
                <a:lnTo>
                  <a:pt x="944" y="44"/>
                </a:lnTo>
                <a:lnTo>
                  <a:pt x="942" y="47"/>
                </a:lnTo>
                <a:lnTo>
                  <a:pt x="940" y="50"/>
                </a:lnTo>
                <a:lnTo>
                  <a:pt x="716" y="274"/>
                </a:lnTo>
                <a:lnTo>
                  <a:pt x="1019" y="274"/>
                </a:lnTo>
                <a:lnTo>
                  <a:pt x="1027" y="275"/>
                </a:lnTo>
                <a:lnTo>
                  <a:pt x="1033" y="277"/>
                </a:lnTo>
                <a:lnTo>
                  <a:pt x="1036" y="278"/>
                </a:lnTo>
                <a:lnTo>
                  <a:pt x="1038" y="280"/>
                </a:lnTo>
                <a:lnTo>
                  <a:pt x="1042" y="284"/>
                </a:lnTo>
                <a:lnTo>
                  <a:pt x="1044" y="286"/>
                </a:lnTo>
                <a:lnTo>
                  <a:pt x="1046" y="289"/>
                </a:lnTo>
                <a:lnTo>
                  <a:pt x="1047" y="292"/>
                </a:lnTo>
                <a:lnTo>
                  <a:pt x="1047" y="295"/>
                </a:lnTo>
                <a:lnTo>
                  <a:pt x="1048" y="298"/>
                </a:lnTo>
                <a:lnTo>
                  <a:pt x="1048" y="302"/>
                </a:lnTo>
                <a:lnTo>
                  <a:pt x="1047" y="305"/>
                </a:lnTo>
                <a:lnTo>
                  <a:pt x="1047" y="309"/>
                </a:lnTo>
                <a:lnTo>
                  <a:pt x="907" y="866"/>
                </a:lnTo>
                <a:lnTo>
                  <a:pt x="906" y="873"/>
                </a:lnTo>
                <a:lnTo>
                  <a:pt x="903" y="879"/>
                </a:lnTo>
                <a:lnTo>
                  <a:pt x="900" y="885"/>
                </a:lnTo>
                <a:lnTo>
                  <a:pt x="897" y="890"/>
                </a:lnTo>
                <a:lnTo>
                  <a:pt x="893" y="895"/>
                </a:lnTo>
                <a:lnTo>
                  <a:pt x="889" y="900"/>
                </a:lnTo>
                <a:lnTo>
                  <a:pt x="885" y="905"/>
                </a:lnTo>
                <a:lnTo>
                  <a:pt x="880" y="909"/>
                </a:lnTo>
                <a:lnTo>
                  <a:pt x="875" y="912"/>
                </a:lnTo>
                <a:lnTo>
                  <a:pt x="869" y="916"/>
                </a:lnTo>
                <a:lnTo>
                  <a:pt x="864" y="918"/>
                </a:lnTo>
                <a:lnTo>
                  <a:pt x="858" y="921"/>
                </a:lnTo>
                <a:lnTo>
                  <a:pt x="852" y="923"/>
                </a:lnTo>
                <a:lnTo>
                  <a:pt x="845" y="924"/>
                </a:lnTo>
                <a:lnTo>
                  <a:pt x="839" y="925"/>
                </a:lnTo>
                <a:lnTo>
                  <a:pt x="832" y="925"/>
                </a:lnTo>
                <a:lnTo>
                  <a:pt x="215" y="925"/>
                </a:lnTo>
                <a:lnTo>
                  <a:pt x="209" y="925"/>
                </a:lnTo>
                <a:lnTo>
                  <a:pt x="202" y="924"/>
                </a:lnTo>
                <a:lnTo>
                  <a:pt x="196" y="923"/>
                </a:lnTo>
                <a:lnTo>
                  <a:pt x="190" y="921"/>
                </a:lnTo>
                <a:lnTo>
                  <a:pt x="184" y="918"/>
                </a:lnTo>
                <a:lnTo>
                  <a:pt x="178" y="916"/>
                </a:lnTo>
                <a:lnTo>
                  <a:pt x="173" y="912"/>
                </a:lnTo>
                <a:lnTo>
                  <a:pt x="168" y="909"/>
                </a:lnTo>
                <a:lnTo>
                  <a:pt x="163" y="905"/>
                </a:lnTo>
                <a:lnTo>
                  <a:pt x="158" y="900"/>
                </a:lnTo>
                <a:lnTo>
                  <a:pt x="154" y="895"/>
                </a:lnTo>
                <a:lnTo>
                  <a:pt x="150" y="890"/>
                </a:lnTo>
                <a:lnTo>
                  <a:pt x="147" y="885"/>
                </a:lnTo>
                <a:lnTo>
                  <a:pt x="144" y="879"/>
                </a:lnTo>
                <a:lnTo>
                  <a:pt x="142" y="873"/>
                </a:lnTo>
                <a:lnTo>
                  <a:pt x="140" y="866"/>
                </a:lnTo>
                <a:lnTo>
                  <a:pt x="48" y="498"/>
                </a:lnTo>
                <a:lnTo>
                  <a:pt x="47" y="495"/>
                </a:lnTo>
                <a:lnTo>
                  <a:pt x="47" y="492"/>
                </a:lnTo>
                <a:lnTo>
                  <a:pt x="47" y="486"/>
                </a:lnTo>
                <a:lnTo>
                  <a:pt x="48" y="483"/>
                </a:lnTo>
                <a:lnTo>
                  <a:pt x="49" y="480"/>
                </a:lnTo>
                <a:lnTo>
                  <a:pt x="51" y="476"/>
                </a:lnTo>
                <a:lnTo>
                  <a:pt x="55" y="472"/>
                </a:lnTo>
                <a:lnTo>
                  <a:pt x="59" y="468"/>
                </a:lnTo>
                <a:lnTo>
                  <a:pt x="64" y="466"/>
                </a:lnTo>
                <a:lnTo>
                  <a:pt x="69" y="463"/>
                </a:lnTo>
                <a:lnTo>
                  <a:pt x="74" y="462"/>
                </a:lnTo>
                <a:lnTo>
                  <a:pt x="79" y="462"/>
                </a:lnTo>
                <a:lnTo>
                  <a:pt x="84" y="463"/>
                </a:lnTo>
                <a:lnTo>
                  <a:pt x="89" y="466"/>
                </a:lnTo>
                <a:lnTo>
                  <a:pt x="93" y="469"/>
                </a:lnTo>
                <a:lnTo>
                  <a:pt x="95" y="471"/>
                </a:lnTo>
                <a:lnTo>
                  <a:pt x="97" y="473"/>
                </a:lnTo>
                <a:lnTo>
                  <a:pt x="99" y="476"/>
                </a:lnTo>
                <a:lnTo>
                  <a:pt x="100" y="478"/>
                </a:lnTo>
                <a:lnTo>
                  <a:pt x="102" y="481"/>
                </a:lnTo>
                <a:lnTo>
                  <a:pt x="103" y="485"/>
                </a:lnTo>
                <a:lnTo>
                  <a:pt x="195" y="853"/>
                </a:lnTo>
                <a:lnTo>
                  <a:pt x="196" y="856"/>
                </a:lnTo>
                <a:lnTo>
                  <a:pt x="197" y="859"/>
                </a:lnTo>
                <a:lnTo>
                  <a:pt x="199" y="861"/>
                </a:lnTo>
                <a:lnTo>
                  <a:pt x="200" y="862"/>
                </a:lnTo>
                <a:lnTo>
                  <a:pt x="202" y="864"/>
                </a:lnTo>
                <a:lnTo>
                  <a:pt x="205" y="866"/>
                </a:lnTo>
                <a:lnTo>
                  <a:pt x="208" y="868"/>
                </a:lnTo>
                <a:lnTo>
                  <a:pt x="212" y="869"/>
                </a:lnTo>
                <a:lnTo>
                  <a:pt x="215" y="869"/>
                </a:lnTo>
                <a:lnTo>
                  <a:pt x="832" y="869"/>
                </a:lnTo>
                <a:lnTo>
                  <a:pt x="836" y="869"/>
                </a:lnTo>
                <a:lnTo>
                  <a:pt x="839" y="868"/>
                </a:lnTo>
                <a:lnTo>
                  <a:pt x="842" y="866"/>
                </a:lnTo>
                <a:lnTo>
                  <a:pt x="845" y="864"/>
                </a:lnTo>
                <a:lnTo>
                  <a:pt x="848" y="862"/>
                </a:lnTo>
                <a:lnTo>
                  <a:pt x="850" y="859"/>
                </a:lnTo>
                <a:lnTo>
                  <a:pt x="852" y="856"/>
                </a:lnTo>
                <a:lnTo>
                  <a:pt x="853" y="853"/>
                </a:lnTo>
                <a:lnTo>
                  <a:pt x="983" y="330"/>
                </a:lnTo>
                <a:lnTo>
                  <a:pt x="505" y="330"/>
                </a:lnTo>
                <a:lnTo>
                  <a:pt x="28" y="330"/>
                </a:lnTo>
                <a:lnTo>
                  <a:pt x="22" y="329"/>
                </a:lnTo>
                <a:lnTo>
                  <a:pt x="16" y="328"/>
                </a:lnTo>
                <a:lnTo>
                  <a:pt x="11" y="325"/>
                </a:lnTo>
                <a:lnTo>
                  <a:pt x="7" y="321"/>
                </a:lnTo>
                <a:lnTo>
                  <a:pt x="6" y="319"/>
                </a:lnTo>
                <a:lnTo>
                  <a:pt x="4" y="317"/>
                </a:lnTo>
                <a:lnTo>
                  <a:pt x="2" y="312"/>
                </a:lnTo>
                <a:lnTo>
                  <a:pt x="1" y="307"/>
                </a:lnTo>
                <a:lnTo>
                  <a:pt x="0" y="302"/>
                </a:lnTo>
                <a:lnTo>
                  <a:pt x="1" y="297"/>
                </a:lnTo>
                <a:lnTo>
                  <a:pt x="2" y="292"/>
                </a:lnTo>
                <a:lnTo>
                  <a:pt x="3" y="289"/>
                </a:lnTo>
                <a:lnTo>
                  <a:pt x="4" y="287"/>
                </a:lnTo>
                <a:lnTo>
                  <a:pt x="7" y="283"/>
                </a:lnTo>
                <a:lnTo>
                  <a:pt x="11" y="279"/>
                </a:lnTo>
                <a:lnTo>
                  <a:pt x="16" y="276"/>
                </a:lnTo>
                <a:lnTo>
                  <a:pt x="22" y="274"/>
                </a:lnTo>
                <a:lnTo>
                  <a:pt x="28" y="274"/>
                </a:lnTo>
                <a:lnTo>
                  <a:pt x="343" y="274"/>
                </a:lnTo>
                <a:lnTo>
                  <a:pt x="108" y="50"/>
                </a:lnTo>
                <a:lnTo>
                  <a:pt x="103" y="45"/>
                </a:lnTo>
                <a:lnTo>
                  <a:pt x="102" y="42"/>
                </a:lnTo>
                <a:lnTo>
                  <a:pt x="100" y="39"/>
                </a:lnTo>
                <a:lnTo>
                  <a:pt x="99" y="34"/>
                </a:lnTo>
                <a:lnTo>
                  <a:pt x="98" y="28"/>
                </a:lnTo>
                <a:lnTo>
                  <a:pt x="99" y="23"/>
                </a:lnTo>
                <a:lnTo>
                  <a:pt x="100" y="18"/>
                </a:lnTo>
                <a:lnTo>
                  <a:pt x="103" y="14"/>
                </a:lnTo>
                <a:lnTo>
                  <a:pt x="106" y="9"/>
                </a:lnTo>
                <a:lnTo>
                  <a:pt x="110" y="6"/>
                </a:lnTo>
                <a:lnTo>
                  <a:pt x="114" y="3"/>
                </a:lnTo>
                <a:lnTo>
                  <a:pt x="117" y="2"/>
                </a:lnTo>
                <a:lnTo>
                  <a:pt x="119" y="1"/>
                </a:lnTo>
                <a:lnTo>
                  <a:pt x="125" y="0"/>
                </a:lnTo>
                <a:lnTo>
                  <a:pt x="130" y="1"/>
                </a:lnTo>
                <a:lnTo>
                  <a:pt x="136" y="2"/>
                </a:lnTo>
                <a:lnTo>
                  <a:pt x="141" y="5"/>
                </a:lnTo>
                <a:lnTo>
                  <a:pt x="144" y="7"/>
                </a:lnTo>
                <a:lnTo>
                  <a:pt x="147" y="9"/>
                </a:lnTo>
                <a:lnTo>
                  <a:pt x="407" y="257"/>
                </a:lnTo>
                <a:lnTo>
                  <a:pt x="411" y="261"/>
                </a:lnTo>
                <a:lnTo>
                  <a:pt x="413" y="265"/>
                </a:lnTo>
                <a:lnTo>
                  <a:pt x="415" y="269"/>
                </a:lnTo>
                <a:lnTo>
                  <a:pt x="416" y="274"/>
                </a:lnTo>
                <a:lnTo>
                  <a:pt x="644" y="274"/>
                </a:lnTo>
                <a:lnTo>
                  <a:pt x="645" y="270"/>
                </a:lnTo>
                <a:lnTo>
                  <a:pt x="647" y="265"/>
                </a:lnTo>
                <a:lnTo>
                  <a:pt x="649" y="261"/>
                </a:lnTo>
                <a:lnTo>
                  <a:pt x="653" y="257"/>
                </a:lnTo>
                <a:close/>
              </a:path>
            </a:pathLst>
          </a:custGeom>
          <a:solidFill>
            <a:srgbClr val="FF660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katta Sans Regular"/>
              <a:ea typeface="+mn-ea"/>
              <a:cs typeface="+mn-cs"/>
            </a:endParaRPr>
          </a:p>
        </p:txBody>
      </p:sp>
      <p:cxnSp>
        <p:nvCxnSpPr>
          <p:cNvPr id="189" name="Straight Connector 188">
            <a:extLst>
              <a:ext uri="{FF2B5EF4-FFF2-40B4-BE49-F238E27FC236}">
                <a16:creationId xmlns:a16="http://schemas.microsoft.com/office/drawing/2014/main" id="{E5F2CCE3-57B9-4BD1-9BAB-43E515B67A33}"/>
              </a:ext>
            </a:extLst>
          </p:cNvPr>
          <p:cNvCxnSpPr/>
          <p:nvPr/>
        </p:nvCxnSpPr>
        <p:spPr>
          <a:xfrm>
            <a:off x="4367808" y="1844675"/>
            <a:ext cx="0" cy="273685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6" name="Group 3">
            <a:extLst>
              <a:ext uri="{FF2B5EF4-FFF2-40B4-BE49-F238E27FC236}">
                <a16:creationId xmlns:a16="http://schemas.microsoft.com/office/drawing/2014/main" id="{3870D404-D2C4-4209-856F-4CBAEF9E116D}"/>
              </a:ext>
            </a:extLst>
          </p:cNvPr>
          <p:cNvGrpSpPr>
            <a:grpSpLocks noChangeAspect="1"/>
          </p:cNvGrpSpPr>
          <p:nvPr/>
        </p:nvGrpSpPr>
        <p:grpSpPr>
          <a:xfrm>
            <a:off x="8377027" y="1665344"/>
            <a:ext cx="2769600" cy="4860000"/>
            <a:chOff x="8559432" y="1046394"/>
            <a:chExt cx="3081338" cy="5407026"/>
          </a:xfrm>
        </p:grpSpPr>
        <p:grpSp>
          <p:nvGrpSpPr>
            <p:cNvPr id="169" name="Group 183">
              <a:extLst>
                <a:ext uri="{FF2B5EF4-FFF2-40B4-BE49-F238E27FC236}">
                  <a16:creationId xmlns:a16="http://schemas.microsoft.com/office/drawing/2014/main" id="{B4E6AA4D-4F84-4131-9799-8104402850B7}"/>
                </a:ext>
              </a:extLst>
            </p:cNvPr>
            <p:cNvGrpSpPr/>
            <p:nvPr/>
          </p:nvGrpSpPr>
          <p:grpSpPr>
            <a:xfrm>
              <a:off x="8559432" y="1046394"/>
              <a:ext cx="3081338" cy="5407026"/>
              <a:chOff x="4554538" y="685800"/>
              <a:chExt cx="3081338" cy="5407026"/>
            </a:xfrm>
            <a:noFill/>
          </p:grpSpPr>
          <p:sp>
            <p:nvSpPr>
              <p:cNvPr id="307" name="Freeform 6">
                <a:extLst>
                  <a:ext uri="{FF2B5EF4-FFF2-40B4-BE49-F238E27FC236}">
                    <a16:creationId xmlns:a16="http://schemas.microsoft.com/office/drawing/2014/main" id="{5E7638C5-94FC-4E38-93AC-735D331257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1138" y="685800"/>
                <a:ext cx="1843088" cy="2376488"/>
              </a:xfrm>
              <a:custGeom>
                <a:avLst/>
                <a:gdLst>
                  <a:gd name="T0" fmla="*/ 1053 w 2323"/>
                  <a:gd name="T1" fmla="*/ 2961 h 2994"/>
                  <a:gd name="T2" fmla="*/ 1219 w 2323"/>
                  <a:gd name="T3" fmla="*/ 2912 h 2994"/>
                  <a:gd name="T4" fmla="*/ 1519 w 2323"/>
                  <a:gd name="T5" fmla="*/ 2931 h 2994"/>
                  <a:gd name="T6" fmla="*/ 1704 w 2323"/>
                  <a:gd name="T7" fmla="*/ 2775 h 2994"/>
                  <a:gd name="T8" fmla="*/ 1900 w 2323"/>
                  <a:gd name="T9" fmla="*/ 2860 h 2994"/>
                  <a:gd name="T10" fmla="*/ 1934 w 2323"/>
                  <a:gd name="T11" fmla="*/ 2745 h 2994"/>
                  <a:gd name="T12" fmla="*/ 2023 w 2323"/>
                  <a:gd name="T13" fmla="*/ 2728 h 2994"/>
                  <a:gd name="T14" fmla="*/ 1995 w 2323"/>
                  <a:gd name="T15" fmla="*/ 2635 h 2994"/>
                  <a:gd name="T16" fmla="*/ 1986 w 2323"/>
                  <a:gd name="T17" fmla="*/ 2550 h 2994"/>
                  <a:gd name="T18" fmla="*/ 2001 w 2323"/>
                  <a:gd name="T19" fmla="*/ 2440 h 2994"/>
                  <a:gd name="T20" fmla="*/ 2254 w 2323"/>
                  <a:gd name="T21" fmla="*/ 2429 h 2994"/>
                  <a:gd name="T22" fmla="*/ 2108 w 2323"/>
                  <a:gd name="T23" fmla="*/ 2079 h 2994"/>
                  <a:gd name="T24" fmla="*/ 2226 w 2323"/>
                  <a:gd name="T25" fmla="*/ 1518 h 2994"/>
                  <a:gd name="T26" fmla="*/ 1920 w 2323"/>
                  <a:gd name="T27" fmla="*/ 1034 h 2994"/>
                  <a:gd name="T28" fmla="*/ 1978 w 2323"/>
                  <a:gd name="T29" fmla="*/ 796 h 2994"/>
                  <a:gd name="T30" fmla="*/ 2000 w 2323"/>
                  <a:gd name="T31" fmla="*/ 623 h 2994"/>
                  <a:gd name="T32" fmla="*/ 2056 w 2323"/>
                  <a:gd name="T33" fmla="*/ 248 h 2994"/>
                  <a:gd name="T34" fmla="*/ 1810 w 2323"/>
                  <a:gd name="T35" fmla="*/ 81 h 2994"/>
                  <a:gd name="T36" fmla="*/ 1685 w 2323"/>
                  <a:gd name="T37" fmla="*/ 10 h 2994"/>
                  <a:gd name="T38" fmla="*/ 1466 w 2323"/>
                  <a:gd name="T39" fmla="*/ 87 h 2994"/>
                  <a:gd name="T40" fmla="*/ 1307 w 2323"/>
                  <a:gd name="T41" fmla="*/ 252 h 2994"/>
                  <a:gd name="T42" fmla="*/ 1268 w 2323"/>
                  <a:gd name="T43" fmla="*/ 370 h 2994"/>
                  <a:gd name="T44" fmla="*/ 1216 w 2323"/>
                  <a:gd name="T45" fmla="*/ 799 h 2994"/>
                  <a:gd name="T46" fmla="*/ 1080 w 2323"/>
                  <a:gd name="T47" fmla="*/ 890 h 2994"/>
                  <a:gd name="T48" fmla="*/ 1036 w 2323"/>
                  <a:gd name="T49" fmla="*/ 994 h 2994"/>
                  <a:gd name="T50" fmla="*/ 805 w 2323"/>
                  <a:gd name="T51" fmla="*/ 825 h 2994"/>
                  <a:gd name="T52" fmla="*/ 679 w 2323"/>
                  <a:gd name="T53" fmla="*/ 911 h 2994"/>
                  <a:gd name="T54" fmla="*/ 534 w 2323"/>
                  <a:gd name="T55" fmla="*/ 900 h 2994"/>
                  <a:gd name="T56" fmla="*/ 436 w 2323"/>
                  <a:gd name="T57" fmla="*/ 796 h 2994"/>
                  <a:gd name="T58" fmla="*/ 145 w 2323"/>
                  <a:gd name="T59" fmla="*/ 491 h 2994"/>
                  <a:gd name="T60" fmla="*/ 119 w 2323"/>
                  <a:gd name="T61" fmla="*/ 630 h 2994"/>
                  <a:gd name="T62" fmla="*/ 63 w 2323"/>
                  <a:gd name="T63" fmla="*/ 706 h 2994"/>
                  <a:gd name="T64" fmla="*/ 184 w 2323"/>
                  <a:gd name="T65" fmla="*/ 919 h 2994"/>
                  <a:gd name="T66" fmla="*/ 300 w 2323"/>
                  <a:gd name="T67" fmla="*/ 1004 h 2994"/>
                  <a:gd name="T68" fmla="*/ 481 w 2323"/>
                  <a:gd name="T69" fmla="*/ 1117 h 2994"/>
                  <a:gd name="T70" fmla="*/ 593 w 2323"/>
                  <a:gd name="T71" fmla="*/ 1307 h 2994"/>
                  <a:gd name="T72" fmla="*/ 693 w 2323"/>
                  <a:gd name="T73" fmla="*/ 1421 h 2994"/>
                  <a:gd name="T74" fmla="*/ 650 w 2323"/>
                  <a:gd name="T75" fmla="*/ 1519 h 2994"/>
                  <a:gd name="T76" fmla="*/ 646 w 2323"/>
                  <a:gd name="T77" fmla="*/ 1767 h 2994"/>
                  <a:gd name="T78" fmla="*/ 700 w 2323"/>
                  <a:gd name="T79" fmla="*/ 1850 h 2994"/>
                  <a:gd name="T80" fmla="*/ 749 w 2323"/>
                  <a:gd name="T81" fmla="*/ 2176 h 2994"/>
                  <a:gd name="T82" fmla="*/ 667 w 2323"/>
                  <a:gd name="T83" fmla="*/ 2369 h 2994"/>
                  <a:gd name="T84" fmla="*/ 653 w 2323"/>
                  <a:gd name="T85" fmla="*/ 2477 h 2994"/>
                  <a:gd name="T86" fmla="*/ 702 w 2323"/>
                  <a:gd name="T87" fmla="*/ 2627 h 2994"/>
                  <a:gd name="T88" fmla="*/ 744 w 2323"/>
                  <a:gd name="T89" fmla="*/ 2770 h 2994"/>
                  <a:gd name="T90" fmla="*/ 789 w 2323"/>
                  <a:gd name="T91" fmla="*/ 2872 h 2994"/>
                  <a:gd name="T92" fmla="*/ 871 w 2323"/>
                  <a:gd name="T93" fmla="*/ 2888 h 2994"/>
                  <a:gd name="T94" fmla="*/ 880 w 2323"/>
                  <a:gd name="T95" fmla="*/ 2954 h 2994"/>
                  <a:gd name="T96" fmla="*/ 927 w 2323"/>
                  <a:gd name="T97" fmla="*/ 2965 h 2994"/>
                  <a:gd name="T98" fmla="*/ 990 w 2323"/>
                  <a:gd name="T99" fmla="*/ 2980 h 29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323" h="2994">
                    <a:moveTo>
                      <a:pt x="1022" y="2993"/>
                    </a:moveTo>
                    <a:lnTo>
                      <a:pt x="1021" y="2994"/>
                    </a:lnTo>
                    <a:lnTo>
                      <a:pt x="1053" y="2961"/>
                    </a:lnTo>
                    <a:lnTo>
                      <a:pt x="1098" y="2937"/>
                    </a:lnTo>
                    <a:lnTo>
                      <a:pt x="1105" y="2907"/>
                    </a:lnTo>
                    <a:lnTo>
                      <a:pt x="1219" y="2912"/>
                    </a:lnTo>
                    <a:lnTo>
                      <a:pt x="1317" y="2851"/>
                    </a:lnTo>
                    <a:lnTo>
                      <a:pt x="1324" y="2915"/>
                    </a:lnTo>
                    <a:lnTo>
                      <a:pt x="1519" y="2931"/>
                    </a:lnTo>
                    <a:lnTo>
                      <a:pt x="1586" y="2909"/>
                    </a:lnTo>
                    <a:lnTo>
                      <a:pt x="1676" y="2762"/>
                    </a:lnTo>
                    <a:lnTo>
                      <a:pt x="1704" y="2775"/>
                    </a:lnTo>
                    <a:lnTo>
                      <a:pt x="1727" y="2764"/>
                    </a:lnTo>
                    <a:lnTo>
                      <a:pt x="1756" y="2838"/>
                    </a:lnTo>
                    <a:lnTo>
                      <a:pt x="1900" y="2860"/>
                    </a:lnTo>
                    <a:lnTo>
                      <a:pt x="1962" y="2833"/>
                    </a:lnTo>
                    <a:lnTo>
                      <a:pt x="1965" y="2792"/>
                    </a:lnTo>
                    <a:lnTo>
                      <a:pt x="1934" y="2745"/>
                    </a:lnTo>
                    <a:lnTo>
                      <a:pt x="1972" y="2727"/>
                    </a:lnTo>
                    <a:lnTo>
                      <a:pt x="2011" y="2737"/>
                    </a:lnTo>
                    <a:lnTo>
                      <a:pt x="2023" y="2728"/>
                    </a:lnTo>
                    <a:lnTo>
                      <a:pt x="2022" y="2692"/>
                    </a:lnTo>
                    <a:lnTo>
                      <a:pt x="1995" y="2672"/>
                    </a:lnTo>
                    <a:lnTo>
                      <a:pt x="1995" y="2635"/>
                    </a:lnTo>
                    <a:lnTo>
                      <a:pt x="2016" y="2633"/>
                    </a:lnTo>
                    <a:lnTo>
                      <a:pt x="2025" y="2567"/>
                    </a:lnTo>
                    <a:lnTo>
                      <a:pt x="1986" y="2550"/>
                    </a:lnTo>
                    <a:lnTo>
                      <a:pt x="1959" y="2492"/>
                    </a:lnTo>
                    <a:lnTo>
                      <a:pt x="1969" y="2453"/>
                    </a:lnTo>
                    <a:lnTo>
                      <a:pt x="2001" y="2440"/>
                    </a:lnTo>
                    <a:lnTo>
                      <a:pt x="2000" y="2406"/>
                    </a:lnTo>
                    <a:lnTo>
                      <a:pt x="2158" y="2442"/>
                    </a:lnTo>
                    <a:lnTo>
                      <a:pt x="2254" y="2429"/>
                    </a:lnTo>
                    <a:lnTo>
                      <a:pt x="2229" y="2362"/>
                    </a:lnTo>
                    <a:lnTo>
                      <a:pt x="2091" y="2131"/>
                    </a:lnTo>
                    <a:lnTo>
                      <a:pt x="2108" y="2079"/>
                    </a:lnTo>
                    <a:lnTo>
                      <a:pt x="2316" y="1686"/>
                    </a:lnTo>
                    <a:lnTo>
                      <a:pt x="2323" y="1592"/>
                    </a:lnTo>
                    <a:lnTo>
                      <a:pt x="2226" y="1518"/>
                    </a:lnTo>
                    <a:lnTo>
                      <a:pt x="2126" y="1313"/>
                    </a:lnTo>
                    <a:lnTo>
                      <a:pt x="1972" y="1251"/>
                    </a:lnTo>
                    <a:lnTo>
                      <a:pt x="1920" y="1034"/>
                    </a:lnTo>
                    <a:lnTo>
                      <a:pt x="1981" y="924"/>
                    </a:lnTo>
                    <a:lnTo>
                      <a:pt x="1995" y="824"/>
                    </a:lnTo>
                    <a:lnTo>
                      <a:pt x="1978" y="796"/>
                    </a:lnTo>
                    <a:lnTo>
                      <a:pt x="1908" y="796"/>
                    </a:lnTo>
                    <a:lnTo>
                      <a:pt x="2023" y="700"/>
                    </a:lnTo>
                    <a:lnTo>
                      <a:pt x="2000" y="623"/>
                    </a:lnTo>
                    <a:lnTo>
                      <a:pt x="2008" y="551"/>
                    </a:lnTo>
                    <a:lnTo>
                      <a:pt x="2119" y="407"/>
                    </a:lnTo>
                    <a:lnTo>
                      <a:pt x="2056" y="248"/>
                    </a:lnTo>
                    <a:lnTo>
                      <a:pt x="1871" y="157"/>
                    </a:lnTo>
                    <a:lnTo>
                      <a:pt x="1866" y="117"/>
                    </a:lnTo>
                    <a:lnTo>
                      <a:pt x="1810" y="81"/>
                    </a:lnTo>
                    <a:lnTo>
                      <a:pt x="1750" y="0"/>
                    </a:lnTo>
                    <a:lnTo>
                      <a:pt x="1717" y="21"/>
                    </a:lnTo>
                    <a:lnTo>
                      <a:pt x="1685" y="10"/>
                    </a:lnTo>
                    <a:lnTo>
                      <a:pt x="1663" y="44"/>
                    </a:lnTo>
                    <a:lnTo>
                      <a:pt x="1572" y="115"/>
                    </a:lnTo>
                    <a:lnTo>
                      <a:pt x="1466" y="87"/>
                    </a:lnTo>
                    <a:lnTo>
                      <a:pt x="1406" y="109"/>
                    </a:lnTo>
                    <a:lnTo>
                      <a:pt x="1369" y="196"/>
                    </a:lnTo>
                    <a:lnTo>
                      <a:pt x="1307" y="252"/>
                    </a:lnTo>
                    <a:lnTo>
                      <a:pt x="1277" y="301"/>
                    </a:lnTo>
                    <a:lnTo>
                      <a:pt x="1289" y="335"/>
                    </a:lnTo>
                    <a:lnTo>
                      <a:pt x="1268" y="370"/>
                    </a:lnTo>
                    <a:lnTo>
                      <a:pt x="1229" y="593"/>
                    </a:lnTo>
                    <a:lnTo>
                      <a:pt x="1238" y="726"/>
                    </a:lnTo>
                    <a:lnTo>
                      <a:pt x="1216" y="799"/>
                    </a:lnTo>
                    <a:lnTo>
                      <a:pt x="1174" y="789"/>
                    </a:lnTo>
                    <a:lnTo>
                      <a:pt x="1135" y="812"/>
                    </a:lnTo>
                    <a:lnTo>
                      <a:pt x="1080" y="890"/>
                    </a:lnTo>
                    <a:lnTo>
                      <a:pt x="1087" y="966"/>
                    </a:lnTo>
                    <a:lnTo>
                      <a:pt x="1051" y="966"/>
                    </a:lnTo>
                    <a:lnTo>
                      <a:pt x="1036" y="994"/>
                    </a:lnTo>
                    <a:lnTo>
                      <a:pt x="985" y="931"/>
                    </a:lnTo>
                    <a:lnTo>
                      <a:pt x="893" y="889"/>
                    </a:lnTo>
                    <a:lnTo>
                      <a:pt x="805" y="825"/>
                    </a:lnTo>
                    <a:lnTo>
                      <a:pt x="762" y="848"/>
                    </a:lnTo>
                    <a:lnTo>
                      <a:pt x="738" y="889"/>
                    </a:lnTo>
                    <a:lnTo>
                      <a:pt x="679" y="911"/>
                    </a:lnTo>
                    <a:lnTo>
                      <a:pt x="617" y="938"/>
                    </a:lnTo>
                    <a:lnTo>
                      <a:pt x="603" y="907"/>
                    </a:lnTo>
                    <a:lnTo>
                      <a:pt x="534" y="900"/>
                    </a:lnTo>
                    <a:lnTo>
                      <a:pt x="469" y="854"/>
                    </a:lnTo>
                    <a:lnTo>
                      <a:pt x="431" y="869"/>
                    </a:lnTo>
                    <a:lnTo>
                      <a:pt x="436" y="796"/>
                    </a:lnTo>
                    <a:lnTo>
                      <a:pt x="287" y="495"/>
                    </a:lnTo>
                    <a:lnTo>
                      <a:pt x="199" y="464"/>
                    </a:lnTo>
                    <a:lnTo>
                      <a:pt x="145" y="491"/>
                    </a:lnTo>
                    <a:lnTo>
                      <a:pt x="108" y="535"/>
                    </a:lnTo>
                    <a:lnTo>
                      <a:pt x="129" y="592"/>
                    </a:lnTo>
                    <a:lnTo>
                      <a:pt x="119" y="630"/>
                    </a:lnTo>
                    <a:lnTo>
                      <a:pt x="49" y="577"/>
                    </a:lnTo>
                    <a:lnTo>
                      <a:pt x="0" y="624"/>
                    </a:lnTo>
                    <a:lnTo>
                      <a:pt x="63" y="706"/>
                    </a:lnTo>
                    <a:lnTo>
                      <a:pt x="66" y="761"/>
                    </a:lnTo>
                    <a:lnTo>
                      <a:pt x="115" y="774"/>
                    </a:lnTo>
                    <a:lnTo>
                      <a:pt x="184" y="919"/>
                    </a:lnTo>
                    <a:lnTo>
                      <a:pt x="235" y="934"/>
                    </a:lnTo>
                    <a:lnTo>
                      <a:pt x="254" y="981"/>
                    </a:lnTo>
                    <a:lnTo>
                      <a:pt x="300" y="1004"/>
                    </a:lnTo>
                    <a:lnTo>
                      <a:pt x="320" y="1059"/>
                    </a:lnTo>
                    <a:lnTo>
                      <a:pt x="389" y="1075"/>
                    </a:lnTo>
                    <a:lnTo>
                      <a:pt x="481" y="1117"/>
                    </a:lnTo>
                    <a:lnTo>
                      <a:pt x="580" y="1209"/>
                    </a:lnTo>
                    <a:lnTo>
                      <a:pt x="580" y="1271"/>
                    </a:lnTo>
                    <a:lnTo>
                      <a:pt x="593" y="1307"/>
                    </a:lnTo>
                    <a:lnTo>
                      <a:pt x="624" y="1303"/>
                    </a:lnTo>
                    <a:lnTo>
                      <a:pt x="637" y="1363"/>
                    </a:lnTo>
                    <a:lnTo>
                      <a:pt x="693" y="1421"/>
                    </a:lnTo>
                    <a:lnTo>
                      <a:pt x="669" y="1450"/>
                    </a:lnTo>
                    <a:lnTo>
                      <a:pt x="651" y="1480"/>
                    </a:lnTo>
                    <a:lnTo>
                      <a:pt x="650" y="1519"/>
                    </a:lnTo>
                    <a:lnTo>
                      <a:pt x="653" y="1640"/>
                    </a:lnTo>
                    <a:lnTo>
                      <a:pt x="621" y="1722"/>
                    </a:lnTo>
                    <a:lnTo>
                      <a:pt x="646" y="1767"/>
                    </a:lnTo>
                    <a:lnTo>
                      <a:pt x="704" y="1778"/>
                    </a:lnTo>
                    <a:lnTo>
                      <a:pt x="689" y="1811"/>
                    </a:lnTo>
                    <a:lnTo>
                      <a:pt x="700" y="1850"/>
                    </a:lnTo>
                    <a:lnTo>
                      <a:pt x="650" y="1876"/>
                    </a:lnTo>
                    <a:lnTo>
                      <a:pt x="648" y="1942"/>
                    </a:lnTo>
                    <a:lnTo>
                      <a:pt x="749" y="2176"/>
                    </a:lnTo>
                    <a:lnTo>
                      <a:pt x="712" y="2217"/>
                    </a:lnTo>
                    <a:lnTo>
                      <a:pt x="705" y="2337"/>
                    </a:lnTo>
                    <a:lnTo>
                      <a:pt x="667" y="2369"/>
                    </a:lnTo>
                    <a:lnTo>
                      <a:pt x="656" y="2402"/>
                    </a:lnTo>
                    <a:lnTo>
                      <a:pt x="644" y="2441"/>
                    </a:lnTo>
                    <a:lnTo>
                      <a:pt x="653" y="2477"/>
                    </a:lnTo>
                    <a:lnTo>
                      <a:pt x="643" y="2503"/>
                    </a:lnTo>
                    <a:lnTo>
                      <a:pt x="660" y="2586"/>
                    </a:lnTo>
                    <a:lnTo>
                      <a:pt x="702" y="2627"/>
                    </a:lnTo>
                    <a:lnTo>
                      <a:pt x="705" y="2671"/>
                    </a:lnTo>
                    <a:lnTo>
                      <a:pt x="740" y="2729"/>
                    </a:lnTo>
                    <a:lnTo>
                      <a:pt x="744" y="2770"/>
                    </a:lnTo>
                    <a:lnTo>
                      <a:pt x="765" y="2828"/>
                    </a:lnTo>
                    <a:lnTo>
                      <a:pt x="765" y="2876"/>
                    </a:lnTo>
                    <a:lnTo>
                      <a:pt x="789" y="2872"/>
                    </a:lnTo>
                    <a:lnTo>
                      <a:pt x="805" y="2846"/>
                    </a:lnTo>
                    <a:lnTo>
                      <a:pt x="827" y="2871"/>
                    </a:lnTo>
                    <a:lnTo>
                      <a:pt x="871" y="2888"/>
                    </a:lnTo>
                    <a:lnTo>
                      <a:pt x="885" y="2908"/>
                    </a:lnTo>
                    <a:lnTo>
                      <a:pt x="869" y="2941"/>
                    </a:lnTo>
                    <a:lnTo>
                      <a:pt x="880" y="2954"/>
                    </a:lnTo>
                    <a:lnTo>
                      <a:pt x="901" y="2940"/>
                    </a:lnTo>
                    <a:lnTo>
                      <a:pt x="910" y="2967"/>
                    </a:lnTo>
                    <a:lnTo>
                      <a:pt x="927" y="2965"/>
                    </a:lnTo>
                    <a:lnTo>
                      <a:pt x="943" y="2953"/>
                    </a:lnTo>
                    <a:lnTo>
                      <a:pt x="972" y="2958"/>
                    </a:lnTo>
                    <a:lnTo>
                      <a:pt x="990" y="2980"/>
                    </a:lnTo>
                    <a:lnTo>
                      <a:pt x="1008" y="2979"/>
                    </a:lnTo>
                    <a:lnTo>
                      <a:pt x="1022" y="2993"/>
                    </a:lnTo>
                    <a:close/>
                  </a:path>
                </a:pathLst>
              </a:custGeom>
              <a:grpFill/>
              <a:ln w="635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katta Sans Regular"/>
                  <a:ea typeface="+mn-ea"/>
                  <a:cs typeface="+mn-cs"/>
                </a:endParaRPr>
              </a:p>
            </p:txBody>
          </p:sp>
          <p:sp>
            <p:nvSpPr>
              <p:cNvPr id="308" name="Freeform 7">
                <a:extLst>
                  <a:ext uri="{FF2B5EF4-FFF2-40B4-BE49-F238E27FC236}">
                    <a16:creationId xmlns:a16="http://schemas.microsoft.com/office/drawing/2014/main" id="{39E6C356-253F-4BCF-8B8F-B74AB1E6F3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35638" y="2595563"/>
                <a:ext cx="1481138" cy="1614488"/>
              </a:xfrm>
              <a:custGeom>
                <a:avLst/>
                <a:gdLst>
                  <a:gd name="T0" fmla="*/ 1767 w 1868"/>
                  <a:gd name="T1" fmla="*/ 561 h 2033"/>
                  <a:gd name="T2" fmla="*/ 1850 w 1868"/>
                  <a:gd name="T3" fmla="*/ 387 h 2033"/>
                  <a:gd name="T4" fmla="*/ 1695 w 1868"/>
                  <a:gd name="T5" fmla="*/ 23 h 2033"/>
                  <a:gd name="T6" fmla="*/ 1441 w 1868"/>
                  <a:gd name="T7" fmla="*/ 35 h 2033"/>
                  <a:gd name="T8" fmla="*/ 1426 w 1868"/>
                  <a:gd name="T9" fmla="*/ 144 h 2033"/>
                  <a:gd name="T10" fmla="*/ 1435 w 1868"/>
                  <a:gd name="T11" fmla="*/ 229 h 2033"/>
                  <a:gd name="T12" fmla="*/ 1463 w 1868"/>
                  <a:gd name="T13" fmla="*/ 322 h 2033"/>
                  <a:gd name="T14" fmla="*/ 1374 w 1868"/>
                  <a:gd name="T15" fmla="*/ 339 h 2033"/>
                  <a:gd name="T16" fmla="*/ 1340 w 1868"/>
                  <a:gd name="T17" fmla="*/ 454 h 2033"/>
                  <a:gd name="T18" fmla="*/ 1144 w 1868"/>
                  <a:gd name="T19" fmla="*/ 369 h 2033"/>
                  <a:gd name="T20" fmla="*/ 959 w 1868"/>
                  <a:gd name="T21" fmla="*/ 525 h 2033"/>
                  <a:gd name="T22" fmla="*/ 659 w 1868"/>
                  <a:gd name="T23" fmla="*/ 508 h 2033"/>
                  <a:gd name="T24" fmla="*/ 493 w 1868"/>
                  <a:gd name="T25" fmla="*/ 555 h 2033"/>
                  <a:gd name="T26" fmla="*/ 468 w 1868"/>
                  <a:gd name="T27" fmla="*/ 618 h 2033"/>
                  <a:gd name="T28" fmla="*/ 532 w 1868"/>
                  <a:gd name="T29" fmla="*/ 679 h 2033"/>
                  <a:gd name="T30" fmla="*/ 513 w 1868"/>
                  <a:gd name="T31" fmla="*/ 756 h 2033"/>
                  <a:gd name="T32" fmla="*/ 511 w 1868"/>
                  <a:gd name="T33" fmla="*/ 859 h 2033"/>
                  <a:gd name="T34" fmla="*/ 527 w 1868"/>
                  <a:gd name="T35" fmla="*/ 920 h 2033"/>
                  <a:gd name="T36" fmla="*/ 565 w 1868"/>
                  <a:gd name="T37" fmla="*/ 1005 h 2033"/>
                  <a:gd name="T38" fmla="*/ 520 w 1868"/>
                  <a:gd name="T39" fmla="*/ 992 h 2033"/>
                  <a:gd name="T40" fmla="*/ 488 w 1868"/>
                  <a:gd name="T41" fmla="*/ 1022 h 2033"/>
                  <a:gd name="T42" fmla="*/ 527 w 1868"/>
                  <a:gd name="T43" fmla="*/ 1098 h 2033"/>
                  <a:gd name="T44" fmla="*/ 463 w 1868"/>
                  <a:gd name="T45" fmla="*/ 1050 h 2033"/>
                  <a:gd name="T46" fmla="*/ 359 w 1868"/>
                  <a:gd name="T47" fmla="*/ 1066 h 2033"/>
                  <a:gd name="T48" fmla="*/ 308 w 1868"/>
                  <a:gd name="T49" fmla="*/ 1099 h 2033"/>
                  <a:gd name="T50" fmla="*/ 235 w 1868"/>
                  <a:gd name="T51" fmla="*/ 1274 h 2033"/>
                  <a:gd name="T52" fmla="*/ 170 w 1868"/>
                  <a:gd name="T53" fmla="*/ 1334 h 2033"/>
                  <a:gd name="T54" fmla="*/ 103 w 1868"/>
                  <a:gd name="T55" fmla="*/ 1423 h 2033"/>
                  <a:gd name="T56" fmla="*/ 75 w 1868"/>
                  <a:gd name="T57" fmla="*/ 1451 h 2033"/>
                  <a:gd name="T58" fmla="*/ 24 w 1868"/>
                  <a:gd name="T59" fmla="*/ 1516 h 2033"/>
                  <a:gd name="T60" fmla="*/ 43 w 1868"/>
                  <a:gd name="T61" fmla="*/ 1655 h 2033"/>
                  <a:gd name="T62" fmla="*/ 104 w 1868"/>
                  <a:gd name="T63" fmla="*/ 1664 h 2033"/>
                  <a:gd name="T64" fmla="*/ 147 w 1868"/>
                  <a:gd name="T65" fmla="*/ 1597 h 2033"/>
                  <a:gd name="T66" fmla="*/ 200 w 1868"/>
                  <a:gd name="T67" fmla="*/ 1734 h 2033"/>
                  <a:gd name="T68" fmla="*/ 398 w 1868"/>
                  <a:gd name="T69" fmla="*/ 2012 h 2033"/>
                  <a:gd name="T70" fmla="*/ 480 w 1868"/>
                  <a:gd name="T71" fmla="*/ 1908 h 2033"/>
                  <a:gd name="T72" fmla="*/ 649 w 1868"/>
                  <a:gd name="T73" fmla="*/ 1993 h 2033"/>
                  <a:gd name="T74" fmla="*/ 769 w 1868"/>
                  <a:gd name="T75" fmla="*/ 1936 h 2033"/>
                  <a:gd name="T76" fmla="*/ 875 w 1868"/>
                  <a:gd name="T77" fmla="*/ 1667 h 2033"/>
                  <a:gd name="T78" fmla="*/ 926 w 1868"/>
                  <a:gd name="T79" fmla="*/ 1465 h 2033"/>
                  <a:gd name="T80" fmla="*/ 837 w 1868"/>
                  <a:gd name="T81" fmla="*/ 1419 h 2033"/>
                  <a:gd name="T82" fmla="*/ 798 w 1868"/>
                  <a:gd name="T83" fmla="*/ 1336 h 2033"/>
                  <a:gd name="T84" fmla="*/ 890 w 1868"/>
                  <a:gd name="T85" fmla="*/ 1240 h 2033"/>
                  <a:gd name="T86" fmla="*/ 1026 w 1868"/>
                  <a:gd name="T87" fmla="*/ 1122 h 2033"/>
                  <a:gd name="T88" fmla="*/ 1105 w 1868"/>
                  <a:gd name="T89" fmla="*/ 1088 h 2033"/>
                  <a:gd name="T90" fmla="*/ 1090 w 1868"/>
                  <a:gd name="T91" fmla="*/ 927 h 2033"/>
                  <a:gd name="T92" fmla="*/ 1214 w 1868"/>
                  <a:gd name="T93" fmla="*/ 908 h 2033"/>
                  <a:gd name="T94" fmla="*/ 1290 w 1868"/>
                  <a:gd name="T95" fmla="*/ 830 h 2033"/>
                  <a:gd name="T96" fmla="*/ 1537 w 1868"/>
                  <a:gd name="T97" fmla="*/ 690 h 2033"/>
                  <a:gd name="T98" fmla="*/ 1613 w 1868"/>
                  <a:gd name="T99" fmla="*/ 639 h 2033"/>
                  <a:gd name="T100" fmla="*/ 1778 w 1868"/>
                  <a:gd name="T101" fmla="*/ 638 h 20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868" h="2033">
                    <a:moveTo>
                      <a:pt x="1778" y="638"/>
                    </a:moveTo>
                    <a:lnTo>
                      <a:pt x="1790" y="599"/>
                    </a:lnTo>
                    <a:lnTo>
                      <a:pt x="1767" y="561"/>
                    </a:lnTo>
                    <a:lnTo>
                      <a:pt x="1827" y="521"/>
                    </a:lnTo>
                    <a:lnTo>
                      <a:pt x="1868" y="517"/>
                    </a:lnTo>
                    <a:lnTo>
                      <a:pt x="1850" y="387"/>
                    </a:lnTo>
                    <a:lnTo>
                      <a:pt x="1787" y="208"/>
                    </a:lnTo>
                    <a:lnTo>
                      <a:pt x="1734" y="131"/>
                    </a:lnTo>
                    <a:lnTo>
                      <a:pt x="1695" y="23"/>
                    </a:lnTo>
                    <a:lnTo>
                      <a:pt x="1598" y="36"/>
                    </a:lnTo>
                    <a:lnTo>
                      <a:pt x="1440" y="0"/>
                    </a:lnTo>
                    <a:lnTo>
                      <a:pt x="1441" y="35"/>
                    </a:lnTo>
                    <a:lnTo>
                      <a:pt x="1409" y="47"/>
                    </a:lnTo>
                    <a:lnTo>
                      <a:pt x="1400" y="86"/>
                    </a:lnTo>
                    <a:lnTo>
                      <a:pt x="1426" y="144"/>
                    </a:lnTo>
                    <a:lnTo>
                      <a:pt x="1465" y="161"/>
                    </a:lnTo>
                    <a:lnTo>
                      <a:pt x="1456" y="227"/>
                    </a:lnTo>
                    <a:lnTo>
                      <a:pt x="1435" y="229"/>
                    </a:lnTo>
                    <a:lnTo>
                      <a:pt x="1435" y="267"/>
                    </a:lnTo>
                    <a:lnTo>
                      <a:pt x="1462" y="286"/>
                    </a:lnTo>
                    <a:lnTo>
                      <a:pt x="1463" y="322"/>
                    </a:lnTo>
                    <a:lnTo>
                      <a:pt x="1451" y="331"/>
                    </a:lnTo>
                    <a:lnTo>
                      <a:pt x="1413" y="321"/>
                    </a:lnTo>
                    <a:lnTo>
                      <a:pt x="1374" y="339"/>
                    </a:lnTo>
                    <a:lnTo>
                      <a:pt x="1405" y="387"/>
                    </a:lnTo>
                    <a:lnTo>
                      <a:pt x="1402" y="427"/>
                    </a:lnTo>
                    <a:lnTo>
                      <a:pt x="1340" y="454"/>
                    </a:lnTo>
                    <a:lnTo>
                      <a:pt x="1196" y="432"/>
                    </a:lnTo>
                    <a:lnTo>
                      <a:pt x="1167" y="358"/>
                    </a:lnTo>
                    <a:lnTo>
                      <a:pt x="1144" y="369"/>
                    </a:lnTo>
                    <a:lnTo>
                      <a:pt x="1116" y="356"/>
                    </a:lnTo>
                    <a:lnTo>
                      <a:pt x="1026" y="503"/>
                    </a:lnTo>
                    <a:lnTo>
                      <a:pt x="959" y="525"/>
                    </a:lnTo>
                    <a:lnTo>
                      <a:pt x="764" y="509"/>
                    </a:lnTo>
                    <a:lnTo>
                      <a:pt x="757" y="445"/>
                    </a:lnTo>
                    <a:lnTo>
                      <a:pt x="659" y="508"/>
                    </a:lnTo>
                    <a:lnTo>
                      <a:pt x="545" y="501"/>
                    </a:lnTo>
                    <a:lnTo>
                      <a:pt x="538" y="533"/>
                    </a:lnTo>
                    <a:lnTo>
                      <a:pt x="493" y="555"/>
                    </a:lnTo>
                    <a:lnTo>
                      <a:pt x="462" y="587"/>
                    </a:lnTo>
                    <a:lnTo>
                      <a:pt x="467" y="591"/>
                    </a:lnTo>
                    <a:lnTo>
                      <a:pt x="468" y="618"/>
                    </a:lnTo>
                    <a:lnTo>
                      <a:pt x="482" y="619"/>
                    </a:lnTo>
                    <a:lnTo>
                      <a:pt x="492" y="610"/>
                    </a:lnTo>
                    <a:lnTo>
                      <a:pt x="532" y="679"/>
                    </a:lnTo>
                    <a:lnTo>
                      <a:pt x="530" y="707"/>
                    </a:lnTo>
                    <a:lnTo>
                      <a:pt x="512" y="724"/>
                    </a:lnTo>
                    <a:lnTo>
                      <a:pt x="513" y="756"/>
                    </a:lnTo>
                    <a:lnTo>
                      <a:pt x="499" y="772"/>
                    </a:lnTo>
                    <a:lnTo>
                      <a:pt x="511" y="793"/>
                    </a:lnTo>
                    <a:lnTo>
                      <a:pt x="511" y="859"/>
                    </a:lnTo>
                    <a:lnTo>
                      <a:pt x="492" y="884"/>
                    </a:lnTo>
                    <a:lnTo>
                      <a:pt x="501" y="904"/>
                    </a:lnTo>
                    <a:lnTo>
                      <a:pt x="527" y="920"/>
                    </a:lnTo>
                    <a:lnTo>
                      <a:pt x="539" y="940"/>
                    </a:lnTo>
                    <a:lnTo>
                      <a:pt x="545" y="985"/>
                    </a:lnTo>
                    <a:lnTo>
                      <a:pt x="565" y="1005"/>
                    </a:lnTo>
                    <a:lnTo>
                      <a:pt x="564" y="1017"/>
                    </a:lnTo>
                    <a:lnTo>
                      <a:pt x="550" y="1016"/>
                    </a:lnTo>
                    <a:lnTo>
                      <a:pt x="520" y="992"/>
                    </a:lnTo>
                    <a:lnTo>
                      <a:pt x="492" y="990"/>
                    </a:lnTo>
                    <a:lnTo>
                      <a:pt x="486" y="1003"/>
                    </a:lnTo>
                    <a:lnTo>
                      <a:pt x="488" y="1022"/>
                    </a:lnTo>
                    <a:lnTo>
                      <a:pt x="531" y="1063"/>
                    </a:lnTo>
                    <a:lnTo>
                      <a:pt x="539" y="1088"/>
                    </a:lnTo>
                    <a:lnTo>
                      <a:pt x="527" y="1098"/>
                    </a:lnTo>
                    <a:lnTo>
                      <a:pt x="508" y="1096"/>
                    </a:lnTo>
                    <a:lnTo>
                      <a:pt x="505" y="1074"/>
                    </a:lnTo>
                    <a:lnTo>
                      <a:pt x="463" y="1050"/>
                    </a:lnTo>
                    <a:lnTo>
                      <a:pt x="424" y="1050"/>
                    </a:lnTo>
                    <a:lnTo>
                      <a:pt x="404" y="1066"/>
                    </a:lnTo>
                    <a:lnTo>
                      <a:pt x="359" y="1066"/>
                    </a:lnTo>
                    <a:lnTo>
                      <a:pt x="344" y="1080"/>
                    </a:lnTo>
                    <a:lnTo>
                      <a:pt x="334" y="1095"/>
                    </a:lnTo>
                    <a:lnTo>
                      <a:pt x="308" y="1099"/>
                    </a:lnTo>
                    <a:lnTo>
                      <a:pt x="298" y="1154"/>
                    </a:lnTo>
                    <a:lnTo>
                      <a:pt x="257" y="1183"/>
                    </a:lnTo>
                    <a:lnTo>
                      <a:pt x="235" y="1274"/>
                    </a:lnTo>
                    <a:lnTo>
                      <a:pt x="209" y="1295"/>
                    </a:lnTo>
                    <a:lnTo>
                      <a:pt x="206" y="1310"/>
                    </a:lnTo>
                    <a:lnTo>
                      <a:pt x="170" y="1334"/>
                    </a:lnTo>
                    <a:lnTo>
                      <a:pt x="127" y="1381"/>
                    </a:lnTo>
                    <a:lnTo>
                      <a:pt x="120" y="1396"/>
                    </a:lnTo>
                    <a:lnTo>
                      <a:pt x="103" y="1423"/>
                    </a:lnTo>
                    <a:lnTo>
                      <a:pt x="103" y="1454"/>
                    </a:lnTo>
                    <a:lnTo>
                      <a:pt x="90" y="1461"/>
                    </a:lnTo>
                    <a:lnTo>
                      <a:pt x="75" y="1451"/>
                    </a:lnTo>
                    <a:lnTo>
                      <a:pt x="55" y="1479"/>
                    </a:lnTo>
                    <a:lnTo>
                      <a:pt x="39" y="1492"/>
                    </a:lnTo>
                    <a:lnTo>
                      <a:pt x="24" y="1516"/>
                    </a:lnTo>
                    <a:lnTo>
                      <a:pt x="3" y="1548"/>
                    </a:lnTo>
                    <a:lnTo>
                      <a:pt x="0" y="1597"/>
                    </a:lnTo>
                    <a:lnTo>
                      <a:pt x="43" y="1655"/>
                    </a:lnTo>
                    <a:lnTo>
                      <a:pt x="69" y="1655"/>
                    </a:lnTo>
                    <a:lnTo>
                      <a:pt x="89" y="1673"/>
                    </a:lnTo>
                    <a:lnTo>
                      <a:pt x="104" y="1664"/>
                    </a:lnTo>
                    <a:lnTo>
                      <a:pt x="86" y="1639"/>
                    </a:lnTo>
                    <a:lnTo>
                      <a:pt x="103" y="1606"/>
                    </a:lnTo>
                    <a:lnTo>
                      <a:pt x="147" y="1597"/>
                    </a:lnTo>
                    <a:lnTo>
                      <a:pt x="167" y="1678"/>
                    </a:lnTo>
                    <a:lnTo>
                      <a:pt x="190" y="1690"/>
                    </a:lnTo>
                    <a:lnTo>
                      <a:pt x="200" y="1734"/>
                    </a:lnTo>
                    <a:lnTo>
                      <a:pt x="231" y="1747"/>
                    </a:lnTo>
                    <a:lnTo>
                      <a:pt x="267" y="1852"/>
                    </a:lnTo>
                    <a:lnTo>
                      <a:pt x="398" y="2012"/>
                    </a:lnTo>
                    <a:lnTo>
                      <a:pt x="435" y="2007"/>
                    </a:lnTo>
                    <a:lnTo>
                      <a:pt x="449" y="1921"/>
                    </a:lnTo>
                    <a:lnTo>
                      <a:pt x="480" y="1908"/>
                    </a:lnTo>
                    <a:lnTo>
                      <a:pt x="579" y="1977"/>
                    </a:lnTo>
                    <a:lnTo>
                      <a:pt x="629" y="1977"/>
                    </a:lnTo>
                    <a:lnTo>
                      <a:pt x="649" y="1993"/>
                    </a:lnTo>
                    <a:lnTo>
                      <a:pt x="668" y="2033"/>
                    </a:lnTo>
                    <a:lnTo>
                      <a:pt x="734" y="2033"/>
                    </a:lnTo>
                    <a:lnTo>
                      <a:pt x="769" y="1936"/>
                    </a:lnTo>
                    <a:lnTo>
                      <a:pt x="785" y="1926"/>
                    </a:lnTo>
                    <a:lnTo>
                      <a:pt x="770" y="1764"/>
                    </a:lnTo>
                    <a:lnTo>
                      <a:pt x="875" y="1667"/>
                    </a:lnTo>
                    <a:lnTo>
                      <a:pt x="949" y="1642"/>
                    </a:lnTo>
                    <a:lnTo>
                      <a:pt x="926" y="1613"/>
                    </a:lnTo>
                    <a:lnTo>
                      <a:pt x="926" y="1465"/>
                    </a:lnTo>
                    <a:lnTo>
                      <a:pt x="893" y="1442"/>
                    </a:lnTo>
                    <a:lnTo>
                      <a:pt x="868" y="1446"/>
                    </a:lnTo>
                    <a:lnTo>
                      <a:pt x="837" y="1419"/>
                    </a:lnTo>
                    <a:lnTo>
                      <a:pt x="842" y="1389"/>
                    </a:lnTo>
                    <a:lnTo>
                      <a:pt x="826" y="1355"/>
                    </a:lnTo>
                    <a:lnTo>
                      <a:pt x="798" y="1336"/>
                    </a:lnTo>
                    <a:lnTo>
                      <a:pt x="852" y="1281"/>
                    </a:lnTo>
                    <a:lnTo>
                      <a:pt x="879" y="1273"/>
                    </a:lnTo>
                    <a:lnTo>
                      <a:pt x="890" y="1240"/>
                    </a:lnTo>
                    <a:lnTo>
                      <a:pt x="950" y="1210"/>
                    </a:lnTo>
                    <a:lnTo>
                      <a:pt x="971" y="1149"/>
                    </a:lnTo>
                    <a:lnTo>
                      <a:pt x="1026" y="1122"/>
                    </a:lnTo>
                    <a:lnTo>
                      <a:pt x="1028" y="1106"/>
                    </a:lnTo>
                    <a:lnTo>
                      <a:pt x="1093" y="1121"/>
                    </a:lnTo>
                    <a:lnTo>
                      <a:pt x="1105" y="1088"/>
                    </a:lnTo>
                    <a:lnTo>
                      <a:pt x="1099" y="1002"/>
                    </a:lnTo>
                    <a:lnTo>
                      <a:pt x="1064" y="971"/>
                    </a:lnTo>
                    <a:lnTo>
                      <a:pt x="1090" y="927"/>
                    </a:lnTo>
                    <a:lnTo>
                      <a:pt x="1149" y="927"/>
                    </a:lnTo>
                    <a:lnTo>
                      <a:pt x="1180" y="904"/>
                    </a:lnTo>
                    <a:lnTo>
                      <a:pt x="1214" y="908"/>
                    </a:lnTo>
                    <a:lnTo>
                      <a:pt x="1245" y="929"/>
                    </a:lnTo>
                    <a:lnTo>
                      <a:pt x="1258" y="850"/>
                    </a:lnTo>
                    <a:lnTo>
                      <a:pt x="1290" y="830"/>
                    </a:lnTo>
                    <a:lnTo>
                      <a:pt x="1443" y="803"/>
                    </a:lnTo>
                    <a:lnTo>
                      <a:pt x="1450" y="732"/>
                    </a:lnTo>
                    <a:lnTo>
                      <a:pt x="1537" y="690"/>
                    </a:lnTo>
                    <a:lnTo>
                      <a:pt x="1555" y="705"/>
                    </a:lnTo>
                    <a:lnTo>
                      <a:pt x="1587" y="696"/>
                    </a:lnTo>
                    <a:lnTo>
                      <a:pt x="1613" y="639"/>
                    </a:lnTo>
                    <a:lnTo>
                      <a:pt x="1626" y="650"/>
                    </a:lnTo>
                    <a:lnTo>
                      <a:pt x="1700" y="653"/>
                    </a:lnTo>
                    <a:lnTo>
                      <a:pt x="1778" y="638"/>
                    </a:lnTo>
                    <a:close/>
                  </a:path>
                </a:pathLst>
              </a:custGeom>
              <a:grpFill/>
              <a:ln w="635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katta Sans Regular"/>
                  <a:ea typeface="+mn-ea"/>
                  <a:cs typeface="+mn-cs"/>
                </a:endParaRPr>
              </a:p>
            </p:txBody>
          </p:sp>
          <p:sp>
            <p:nvSpPr>
              <p:cNvPr id="309" name="Freeform 8">
                <a:extLst>
                  <a:ext uri="{FF2B5EF4-FFF2-40B4-BE49-F238E27FC236}">
                    <a16:creationId xmlns:a16="http://schemas.microsoft.com/office/drawing/2014/main" id="{BB2F0947-B12C-4AF3-BB5D-7346EAFD59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9051" y="3100388"/>
                <a:ext cx="985838" cy="977900"/>
              </a:xfrm>
              <a:custGeom>
                <a:avLst/>
                <a:gdLst>
                  <a:gd name="T0" fmla="*/ 242 w 1244"/>
                  <a:gd name="T1" fmla="*/ 1040 h 1231"/>
                  <a:gd name="T2" fmla="*/ 482 w 1244"/>
                  <a:gd name="T3" fmla="*/ 1132 h 1231"/>
                  <a:gd name="T4" fmla="*/ 624 w 1244"/>
                  <a:gd name="T5" fmla="*/ 1100 h 1231"/>
                  <a:gd name="T6" fmla="*/ 980 w 1244"/>
                  <a:gd name="T7" fmla="*/ 1088 h 1231"/>
                  <a:gd name="T8" fmla="*/ 1053 w 1244"/>
                  <a:gd name="T9" fmla="*/ 1169 h 1231"/>
                  <a:gd name="T10" fmla="*/ 1103 w 1244"/>
                  <a:gd name="T11" fmla="*/ 1170 h 1231"/>
                  <a:gd name="T12" fmla="*/ 1244 w 1244"/>
                  <a:gd name="T13" fmla="*/ 932 h 1231"/>
                  <a:gd name="T14" fmla="*/ 1106 w 1244"/>
                  <a:gd name="T15" fmla="*/ 748 h 1231"/>
                  <a:gd name="T16" fmla="*/ 1073 w 1244"/>
                  <a:gd name="T17" fmla="*/ 612 h 1231"/>
                  <a:gd name="T18" fmla="*/ 1098 w 1244"/>
                  <a:gd name="T19" fmla="*/ 549 h 1231"/>
                  <a:gd name="T20" fmla="*/ 1085 w 1244"/>
                  <a:gd name="T21" fmla="*/ 487 h 1231"/>
                  <a:gd name="T22" fmla="*/ 947 w 1244"/>
                  <a:gd name="T23" fmla="*/ 344 h 1231"/>
                  <a:gd name="T24" fmla="*/ 999 w 1244"/>
                  <a:gd name="T25" fmla="*/ 288 h 1231"/>
                  <a:gd name="T26" fmla="*/ 1000 w 1244"/>
                  <a:gd name="T27" fmla="*/ 234 h 1231"/>
                  <a:gd name="T28" fmla="*/ 1001 w 1244"/>
                  <a:gd name="T29" fmla="*/ 177 h 1231"/>
                  <a:gd name="T30" fmla="*/ 968 w 1244"/>
                  <a:gd name="T31" fmla="*/ 93 h 1231"/>
                  <a:gd name="T32" fmla="*/ 980 w 1244"/>
                  <a:gd name="T33" fmla="*/ 0 h 1231"/>
                  <a:gd name="T34" fmla="*/ 828 w 1244"/>
                  <a:gd name="T35" fmla="*/ 13 h 1231"/>
                  <a:gd name="T36" fmla="*/ 788 w 1244"/>
                  <a:gd name="T37" fmla="*/ 59 h 1231"/>
                  <a:gd name="T38" fmla="*/ 738 w 1244"/>
                  <a:gd name="T39" fmla="*/ 53 h 1231"/>
                  <a:gd name="T40" fmla="*/ 645 w 1244"/>
                  <a:gd name="T41" fmla="*/ 166 h 1231"/>
                  <a:gd name="T42" fmla="*/ 460 w 1244"/>
                  <a:gd name="T43" fmla="*/ 213 h 1231"/>
                  <a:gd name="T44" fmla="*/ 416 w 1244"/>
                  <a:gd name="T45" fmla="*/ 271 h 1231"/>
                  <a:gd name="T46" fmla="*/ 351 w 1244"/>
                  <a:gd name="T47" fmla="*/ 290 h 1231"/>
                  <a:gd name="T48" fmla="*/ 266 w 1244"/>
                  <a:gd name="T49" fmla="*/ 334 h 1231"/>
                  <a:gd name="T50" fmla="*/ 307 w 1244"/>
                  <a:gd name="T51" fmla="*/ 451 h 1231"/>
                  <a:gd name="T52" fmla="*/ 230 w 1244"/>
                  <a:gd name="T53" fmla="*/ 469 h 1231"/>
                  <a:gd name="T54" fmla="*/ 173 w 1244"/>
                  <a:gd name="T55" fmla="*/ 512 h 1231"/>
                  <a:gd name="T56" fmla="*/ 92 w 1244"/>
                  <a:gd name="T57" fmla="*/ 602 h 1231"/>
                  <a:gd name="T58" fmla="*/ 54 w 1244"/>
                  <a:gd name="T59" fmla="*/ 644 h 1231"/>
                  <a:gd name="T60" fmla="*/ 28 w 1244"/>
                  <a:gd name="T61" fmla="*/ 716 h 1231"/>
                  <a:gd name="T62" fmla="*/ 38 w 1244"/>
                  <a:gd name="T63" fmla="*/ 782 h 1231"/>
                  <a:gd name="T64" fmla="*/ 94 w 1244"/>
                  <a:gd name="T65" fmla="*/ 805 h 1231"/>
                  <a:gd name="T66" fmla="*/ 127 w 1244"/>
                  <a:gd name="T67" fmla="*/ 976 h 1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244" h="1231">
                    <a:moveTo>
                      <a:pt x="151" y="1005"/>
                    </a:moveTo>
                    <a:lnTo>
                      <a:pt x="242" y="1040"/>
                    </a:lnTo>
                    <a:lnTo>
                      <a:pt x="351" y="1048"/>
                    </a:lnTo>
                    <a:lnTo>
                      <a:pt x="482" y="1132"/>
                    </a:lnTo>
                    <a:lnTo>
                      <a:pt x="568" y="1231"/>
                    </a:lnTo>
                    <a:lnTo>
                      <a:pt x="624" y="1100"/>
                    </a:lnTo>
                    <a:lnTo>
                      <a:pt x="767" y="1126"/>
                    </a:lnTo>
                    <a:lnTo>
                      <a:pt x="980" y="1088"/>
                    </a:lnTo>
                    <a:lnTo>
                      <a:pt x="1025" y="1201"/>
                    </a:lnTo>
                    <a:lnTo>
                      <a:pt x="1053" y="1169"/>
                    </a:lnTo>
                    <a:lnTo>
                      <a:pt x="1106" y="1174"/>
                    </a:lnTo>
                    <a:lnTo>
                      <a:pt x="1103" y="1170"/>
                    </a:lnTo>
                    <a:lnTo>
                      <a:pt x="1172" y="1122"/>
                    </a:lnTo>
                    <a:lnTo>
                      <a:pt x="1244" y="932"/>
                    </a:lnTo>
                    <a:lnTo>
                      <a:pt x="1221" y="828"/>
                    </a:lnTo>
                    <a:lnTo>
                      <a:pt x="1106" y="748"/>
                    </a:lnTo>
                    <a:lnTo>
                      <a:pt x="1073" y="661"/>
                    </a:lnTo>
                    <a:lnTo>
                      <a:pt x="1073" y="612"/>
                    </a:lnTo>
                    <a:lnTo>
                      <a:pt x="1097" y="592"/>
                    </a:lnTo>
                    <a:lnTo>
                      <a:pt x="1098" y="549"/>
                    </a:lnTo>
                    <a:lnTo>
                      <a:pt x="1076" y="521"/>
                    </a:lnTo>
                    <a:lnTo>
                      <a:pt x="1085" y="487"/>
                    </a:lnTo>
                    <a:lnTo>
                      <a:pt x="977" y="465"/>
                    </a:lnTo>
                    <a:lnTo>
                      <a:pt x="947" y="344"/>
                    </a:lnTo>
                    <a:lnTo>
                      <a:pt x="957" y="302"/>
                    </a:lnTo>
                    <a:lnTo>
                      <a:pt x="999" y="288"/>
                    </a:lnTo>
                    <a:lnTo>
                      <a:pt x="1015" y="254"/>
                    </a:lnTo>
                    <a:lnTo>
                      <a:pt x="1000" y="234"/>
                    </a:lnTo>
                    <a:lnTo>
                      <a:pt x="1018" y="198"/>
                    </a:lnTo>
                    <a:lnTo>
                      <a:pt x="1001" y="177"/>
                    </a:lnTo>
                    <a:lnTo>
                      <a:pt x="945" y="173"/>
                    </a:lnTo>
                    <a:lnTo>
                      <a:pt x="968" y="93"/>
                    </a:lnTo>
                    <a:lnTo>
                      <a:pt x="973" y="25"/>
                    </a:lnTo>
                    <a:lnTo>
                      <a:pt x="980" y="0"/>
                    </a:lnTo>
                    <a:lnTo>
                      <a:pt x="902" y="16"/>
                    </a:lnTo>
                    <a:lnTo>
                      <a:pt x="828" y="13"/>
                    </a:lnTo>
                    <a:lnTo>
                      <a:pt x="815" y="2"/>
                    </a:lnTo>
                    <a:lnTo>
                      <a:pt x="788" y="59"/>
                    </a:lnTo>
                    <a:lnTo>
                      <a:pt x="757" y="68"/>
                    </a:lnTo>
                    <a:lnTo>
                      <a:pt x="738" y="53"/>
                    </a:lnTo>
                    <a:lnTo>
                      <a:pt x="652" y="95"/>
                    </a:lnTo>
                    <a:lnTo>
                      <a:pt x="645" y="166"/>
                    </a:lnTo>
                    <a:lnTo>
                      <a:pt x="491" y="193"/>
                    </a:lnTo>
                    <a:lnTo>
                      <a:pt x="460" y="213"/>
                    </a:lnTo>
                    <a:lnTo>
                      <a:pt x="447" y="292"/>
                    </a:lnTo>
                    <a:lnTo>
                      <a:pt x="416" y="271"/>
                    </a:lnTo>
                    <a:lnTo>
                      <a:pt x="382" y="267"/>
                    </a:lnTo>
                    <a:lnTo>
                      <a:pt x="351" y="290"/>
                    </a:lnTo>
                    <a:lnTo>
                      <a:pt x="292" y="290"/>
                    </a:lnTo>
                    <a:lnTo>
                      <a:pt x="266" y="334"/>
                    </a:lnTo>
                    <a:lnTo>
                      <a:pt x="301" y="365"/>
                    </a:lnTo>
                    <a:lnTo>
                      <a:pt x="307" y="451"/>
                    </a:lnTo>
                    <a:lnTo>
                      <a:pt x="294" y="484"/>
                    </a:lnTo>
                    <a:lnTo>
                      <a:pt x="230" y="469"/>
                    </a:lnTo>
                    <a:lnTo>
                      <a:pt x="228" y="484"/>
                    </a:lnTo>
                    <a:lnTo>
                      <a:pt x="173" y="512"/>
                    </a:lnTo>
                    <a:lnTo>
                      <a:pt x="152" y="573"/>
                    </a:lnTo>
                    <a:lnTo>
                      <a:pt x="92" y="602"/>
                    </a:lnTo>
                    <a:lnTo>
                      <a:pt x="81" y="636"/>
                    </a:lnTo>
                    <a:lnTo>
                      <a:pt x="54" y="644"/>
                    </a:lnTo>
                    <a:lnTo>
                      <a:pt x="0" y="699"/>
                    </a:lnTo>
                    <a:lnTo>
                      <a:pt x="28" y="716"/>
                    </a:lnTo>
                    <a:lnTo>
                      <a:pt x="44" y="752"/>
                    </a:lnTo>
                    <a:lnTo>
                      <a:pt x="38" y="782"/>
                    </a:lnTo>
                    <a:lnTo>
                      <a:pt x="69" y="809"/>
                    </a:lnTo>
                    <a:lnTo>
                      <a:pt x="94" y="805"/>
                    </a:lnTo>
                    <a:lnTo>
                      <a:pt x="127" y="828"/>
                    </a:lnTo>
                    <a:lnTo>
                      <a:pt x="127" y="976"/>
                    </a:lnTo>
                    <a:lnTo>
                      <a:pt x="151" y="1005"/>
                    </a:lnTo>
                    <a:close/>
                  </a:path>
                </a:pathLst>
              </a:custGeom>
              <a:grpFill/>
              <a:ln w="635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katta Sans Regular"/>
                  <a:ea typeface="+mn-ea"/>
                  <a:cs typeface="+mn-cs"/>
                </a:endParaRPr>
              </a:p>
            </p:txBody>
          </p:sp>
          <p:sp>
            <p:nvSpPr>
              <p:cNvPr id="310" name="Freeform 9">
                <a:extLst>
                  <a:ext uri="{FF2B5EF4-FFF2-40B4-BE49-F238E27FC236}">
                    <a16:creationId xmlns:a16="http://schemas.microsoft.com/office/drawing/2014/main" id="{EC9F99EA-BCC8-452B-B12C-D458F8D884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37363" y="3965575"/>
                <a:ext cx="798513" cy="1127125"/>
              </a:xfrm>
              <a:custGeom>
                <a:avLst/>
                <a:gdLst>
                  <a:gd name="T0" fmla="*/ 0 w 1007"/>
                  <a:gd name="T1" fmla="*/ 88 h 1422"/>
                  <a:gd name="T2" fmla="*/ 42 w 1007"/>
                  <a:gd name="T3" fmla="*/ 135 h 1422"/>
                  <a:gd name="T4" fmla="*/ 75 w 1007"/>
                  <a:gd name="T5" fmla="*/ 138 h 1422"/>
                  <a:gd name="T6" fmla="*/ 83 w 1007"/>
                  <a:gd name="T7" fmla="*/ 205 h 1422"/>
                  <a:gd name="T8" fmla="*/ 102 w 1007"/>
                  <a:gd name="T9" fmla="*/ 220 h 1422"/>
                  <a:gd name="T10" fmla="*/ 88 w 1007"/>
                  <a:gd name="T11" fmla="*/ 241 h 1422"/>
                  <a:gd name="T12" fmla="*/ 96 w 1007"/>
                  <a:gd name="T13" fmla="*/ 319 h 1422"/>
                  <a:gd name="T14" fmla="*/ 128 w 1007"/>
                  <a:gd name="T15" fmla="*/ 338 h 1422"/>
                  <a:gd name="T16" fmla="*/ 129 w 1007"/>
                  <a:gd name="T17" fmla="*/ 383 h 1422"/>
                  <a:gd name="T18" fmla="*/ 100 w 1007"/>
                  <a:gd name="T19" fmla="*/ 436 h 1422"/>
                  <a:gd name="T20" fmla="*/ 123 w 1007"/>
                  <a:gd name="T21" fmla="*/ 458 h 1422"/>
                  <a:gd name="T22" fmla="*/ 172 w 1007"/>
                  <a:gd name="T23" fmla="*/ 561 h 1422"/>
                  <a:gd name="T24" fmla="*/ 242 w 1007"/>
                  <a:gd name="T25" fmla="*/ 596 h 1422"/>
                  <a:gd name="T26" fmla="*/ 195 w 1007"/>
                  <a:gd name="T27" fmla="*/ 629 h 1422"/>
                  <a:gd name="T28" fmla="*/ 232 w 1007"/>
                  <a:gd name="T29" fmla="*/ 680 h 1422"/>
                  <a:gd name="T30" fmla="*/ 193 w 1007"/>
                  <a:gd name="T31" fmla="*/ 734 h 1422"/>
                  <a:gd name="T32" fmla="*/ 140 w 1007"/>
                  <a:gd name="T33" fmla="*/ 711 h 1422"/>
                  <a:gd name="T34" fmla="*/ 132 w 1007"/>
                  <a:gd name="T35" fmla="*/ 737 h 1422"/>
                  <a:gd name="T36" fmla="*/ 104 w 1007"/>
                  <a:gd name="T37" fmla="*/ 744 h 1422"/>
                  <a:gd name="T38" fmla="*/ 142 w 1007"/>
                  <a:gd name="T39" fmla="*/ 827 h 1422"/>
                  <a:gd name="T40" fmla="*/ 168 w 1007"/>
                  <a:gd name="T41" fmla="*/ 835 h 1422"/>
                  <a:gd name="T42" fmla="*/ 227 w 1007"/>
                  <a:gd name="T43" fmla="*/ 890 h 1422"/>
                  <a:gd name="T44" fmla="*/ 231 w 1007"/>
                  <a:gd name="T45" fmla="*/ 912 h 1422"/>
                  <a:gd name="T46" fmla="*/ 262 w 1007"/>
                  <a:gd name="T47" fmla="*/ 937 h 1422"/>
                  <a:gd name="T48" fmla="*/ 249 w 1007"/>
                  <a:gd name="T49" fmla="*/ 968 h 1422"/>
                  <a:gd name="T50" fmla="*/ 278 w 1007"/>
                  <a:gd name="T51" fmla="*/ 989 h 1422"/>
                  <a:gd name="T52" fmla="*/ 308 w 1007"/>
                  <a:gd name="T53" fmla="*/ 972 h 1422"/>
                  <a:gd name="T54" fmla="*/ 326 w 1007"/>
                  <a:gd name="T55" fmla="*/ 993 h 1422"/>
                  <a:gd name="T56" fmla="*/ 326 w 1007"/>
                  <a:gd name="T57" fmla="*/ 1029 h 1422"/>
                  <a:gd name="T58" fmla="*/ 366 w 1007"/>
                  <a:gd name="T59" fmla="*/ 1094 h 1422"/>
                  <a:gd name="T60" fmla="*/ 390 w 1007"/>
                  <a:gd name="T61" fmla="*/ 1223 h 1422"/>
                  <a:gd name="T62" fmla="*/ 430 w 1007"/>
                  <a:gd name="T63" fmla="*/ 1241 h 1422"/>
                  <a:gd name="T64" fmla="*/ 447 w 1007"/>
                  <a:gd name="T65" fmla="*/ 1277 h 1422"/>
                  <a:gd name="T66" fmla="*/ 434 w 1007"/>
                  <a:gd name="T67" fmla="*/ 1295 h 1422"/>
                  <a:gd name="T68" fmla="*/ 457 w 1007"/>
                  <a:gd name="T69" fmla="*/ 1344 h 1422"/>
                  <a:gd name="T70" fmla="*/ 430 w 1007"/>
                  <a:gd name="T71" fmla="*/ 1422 h 1422"/>
                  <a:gd name="T72" fmla="*/ 621 w 1007"/>
                  <a:gd name="T73" fmla="*/ 1319 h 1422"/>
                  <a:gd name="T74" fmla="*/ 657 w 1007"/>
                  <a:gd name="T75" fmla="*/ 1280 h 1422"/>
                  <a:gd name="T76" fmla="*/ 743 w 1007"/>
                  <a:gd name="T77" fmla="*/ 1132 h 1422"/>
                  <a:gd name="T78" fmla="*/ 804 w 1007"/>
                  <a:gd name="T79" fmla="*/ 1038 h 1422"/>
                  <a:gd name="T80" fmla="*/ 843 w 1007"/>
                  <a:gd name="T81" fmla="*/ 1021 h 1422"/>
                  <a:gd name="T82" fmla="*/ 918 w 1007"/>
                  <a:gd name="T83" fmla="*/ 883 h 1422"/>
                  <a:gd name="T84" fmla="*/ 1007 w 1007"/>
                  <a:gd name="T85" fmla="*/ 603 h 1422"/>
                  <a:gd name="T86" fmla="*/ 981 w 1007"/>
                  <a:gd name="T87" fmla="*/ 538 h 1422"/>
                  <a:gd name="T88" fmla="*/ 906 w 1007"/>
                  <a:gd name="T89" fmla="*/ 478 h 1422"/>
                  <a:gd name="T90" fmla="*/ 882 w 1007"/>
                  <a:gd name="T91" fmla="*/ 394 h 1422"/>
                  <a:gd name="T92" fmla="*/ 829 w 1007"/>
                  <a:gd name="T93" fmla="*/ 357 h 1422"/>
                  <a:gd name="T94" fmla="*/ 762 w 1007"/>
                  <a:gd name="T95" fmla="*/ 304 h 1422"/>
                  <a:gd name="T96" fmla="*/ 667 w 1007"/>
                  <a:gd name="T97" fmla="*/ 261 h 1422"/>
                  <a:gd name="T98" fmla="*/ 628 w 1007"/>
                  <a:gd name="T99" fmla="*/ 206 h 1422"/>
                  <a:gd name="T100" fmla="*/ 515 w 1007"/>
                  <a:gd name="T101" fmla="*/ 87 h 1422"/>
                  <a:gd name="T102" fmla="*/ 463 w 1007"/>
                  <a:gd name="T103" fmla="*/ 82 h 1422"/>
                  <a:gd name="T104" fmla="*/ 434 w 1007"/>
                  <a:gd name="T105" fmla="*/ 113 h 1422"/>
                  <a:gd name="T106" fmla="*/ 390 w 1007"/>
                  <a:gd name="T107" fmla="*/ 0 h 1422"/>
                  <a:gd name="T108" fmla="*/ 177 w 1007"/>
                  <a:gd name="T109" fmla="*/ 38 h 1422"/>
                  <a:gd name="T110" fmla="*/ 33 w 1007"/>
                  <a:gd name="T111" fmla="*/ 12 h 1422"/>
                  <a:gd name="T112" fmla="*/ 0 w 1007"/>
                  <a:gd name="T113" fmla="*/ 88 h 1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007" h="1422">
                    <a:moveTo>
                      <a:pt x="0" y="88"/>
                    </a:moveTo>
                    <a:lnTo>
                      <a:pt x="42" y="135"/>
                    </a:lnTo>
                    <a:lnTo>
                      <a:pt x="75" y="138"/>
                    </a:lnTo>
                    <a:lnTo>
                      <a:pt x="83" y="205"/>
                    </a:lnTo>
                    <a:lnTo>
                      <a:pt x="102" y="220"/>
                    </a:lnTo>
                    <a:lnTo>
                      <a:pt x="88" y="241"/>
                    </a:lnTo>
                    <a:lnTo>
                      <a:pt x="96" y="319"/>
                    </a:lnTo>
                    <a:lnTo>
                      <a:pt x="128" y="338"/>
                    </a:lnTo>
                    <a:lnTo>
                      <a:pt x="129" y="383"/>
                    </a:lnTo>
                    <a:lnTo>
                      <a:pt x="100" y="436"/>
                    </a:lnTo>
                    <a:lnTo>
                      <a:pt x="123" y="458"/>
                    </a:lnTo>
                    <a:lnTo>
                      <a:pt x="172" y="561"/>
                    </a:lnTo>
                    <a:lnTo>
                      <a:pt x="242" y="596"/>
                    </a:lnTo>
                    <a:lnTo>
                      <a:pt x="195" y="629"/>
                    </a:lnTo>
                    <a:lnTo>
                      <a:pt x="232" y="680"/>
                    </a:lnTo>
                    <a:lnTo>
                      <a:pt x="193" y="734"/>
                    </a:lnTo>
                    <a:lnTo>
                      <a:pt x="140" y="711"/>
                    </a:lnTo>
                    <a:lnTo>
                      <a:pt x="132" y="737"/>
                    </a:lnTo>
                    <a:lnTo>
                      <a:pt x="104" y="744"/>
                    </a:lnTo>
                    <a:lnTo>
                      <a:pt x="142" y="827"/>
                    </a:lnTo>
                    <a:lnTo>
                      <a:pt x="168" y="835"/>
                    </a:lnTo>
                    <a:lnTo>
                      <a:pt x="227" y="890"/>
                    </a:lnTo>
                    <a:lnTo>
                      <a:pt x="231" y="912"/>
                    </a:lnTo>
                    <a:lnTo>
                      <a:pt x="262" y="937"/>
                    </a:lnTo>
                    <a:lnTo>
                      <a:pt x="249" y="968"/>
                    </a:lnTo>
                    <a:lnTo>
                      <a:pt x="278" y="989"/>
                    </a:lnTo>
                    <a:lnTo>
                      <a:pt x="308" y="972"/>
                    </a:lnTo>
                    <a:lnTo>
                      <a:pt x="326" y="993"/>
                    </a:lnTo>
                    <a:lnTo>
                      <a:pt x="326" y="1029"/>
                    </a:lnTo>
                    <a:lnTo>
                      <a:pt x="366" y="1094"/>
                    </a:lnTo>
                    <a:lnTo>
                      <a:pt x="390" y="1223"/>
                    </a:lnTo>
                    <a:lnTo>
                      <a:pt x="430" y="1241"/>
                    </a:lnTo>
                    <a:lnTo>
                      <a:pt x="447" y="1277"/>
                    </a:lnTo>
                    <a:lnTo>
                      <a:pt x="434" y="1295"/>
                    </a:lnTo>
                    <a:lnTo>
                      <a:pt x="457" y="1344"/>
                    </a:lnTo>
                    <a:lnTo>
                      <a:pt x="430" y="1422"/>
                    </a:lnTo>
                    <a:lnTo>
                      <a:pt x="621" y="1319"/>
                    </a:lnTo>
                    <a:lnTo>
                      <a:pt x="657" y="1280"/>
                    </a:lnTo>
                    <a:lnTo>
                      <a:pt x="743" y="1132"/>
                    </a:lnTo>
                    <a:lnTo>
                      <a:pt x="804" y="1038"/>
                    </a:lnTo>
                    <a:lnTo>
                      <a:pt x="843" y="1021"/>
                    </a:lnTo>
                    <a:lnTo>
                      <a:pt x="918" y="883"/>
                    </a:lnTo>
                    <a:lnTo>
                      <a:pt x="1007" y="603"/>
                    </a:lnTo>
                    <a:lnTo>
                      <a:pt x="981" y="538"/>
                    </a:lnTo>
                    <a:lnTo>
                      <a:pt x="906" y="478"/>
                    </a:lnTo>
                    <a:lnTo>
                      <a:pt x="882" y="394"/>
                    </a:lnTo>
                    <a:lnTo>
                      <a:pt x="829" y="357"/>
                    </a:lnTo>
                    <a:lnTo>
                      <a:pt x="762" y="304"/>
                    </a:lnTo>
                    <a:lnTo>
                      <a:pt x="667" y="261"/>
                    </a:lnTo>
                    <a:lnTo>
                      <a:pt x="628" y="206"/>
                    </a:lnTo>
                    <a:lnTo>
                      <a:pt x="515" y="87"/>
                    </a:lnTo>
                    <a:lnTo>
                      <a:pt x="463" y="82"/>
                    </a:lnTo>
                    <a:lnTo>
                      <a:pt x="434" y="113"/>
                    </a:lnTo>
                    <a:lnTo>
                      <a:pt x="390" y="0"/>
                    </a:lnTo>
                    <a:lnTo>
                      <a:pt x="177" y="38"/>
                    </a:lnTo>
                    <a:lnTo>
                      <a:pt x="33" y="12"/>
                    </a:lnTo>
                    <a:lnTo>
                      <a:pt x="0" y="88"/>
                    </a:lnTo>
                    <a:close/>
                  </a:path>
                </a:pathLst>
              </a:custGeom>
              <a:grpFill/>
              <a:ln w="635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katta Sans Regular"/>
                  <a:ea typeface="+mn-ea"/>
                  <a:cs typeface="+mn-cs"/>
                </a:endParaRPr>
              </a:p>
            </p:txBody>
          </p:sp>
          <p:sp>
            <p:nvSpPr>
              <p:cNvPr id="311" name="Freeform 10">
                <a:extLst>
                  <a:ext uri="{FF2B5EF4-FFF2-40B4-BE49-F238E27FC236}">
                    <a16:creationId xmlns:a16="http://schemas.microsoft.com/office/drawing/2014/main" id="{CDA2BF7C-E30A-45EA-92D4-D04F482DA2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6026" y="3898900"/>
                <a:ext cx="731838" cy="974725"/>
              </a:xfrm>
              <a:custGeom>
                <a:avLst/>
                <a:gdLst>
                  <a:gd name="T0" fmla="*/ 746 w 923"/>
                  <a:gd name="T1" fmla="*/ 972 h 1228"/>
                  <a:gd name="T2" fmla="*/ 823 w 923"/>
                  <a:gd name="T3" fmla="*/ 910 h 1228"/>
                  <a:gd name="T4" fmla="*/ 813 w 923"/>
                  <a:gd name="T5" fmla="*/ 820 h 1228"/>
                  <a:gd name="T6" fmla="*/ 874 w 923"/>
                  <a:gd name="T7" fmla="*/ 817 h 1228"/>
                  <a:gd name="T8" fmla="*/ 876 w 923"/>
                  <a:gd name="T9" fmla="*/ 712 h 1228"/>
                  <a:gd name="T10" fmla="*/ 853 w 923"/>
                  <a:gd name="T11" fmla="*/ 644 h 1228"/>
                  <a:gd name="T12" fmla="*/ 781 w 923"/>
                  <a:gd name="T13" fmla="*/ 519 h 1228"/>
                  <a:gd name="T14" fmla="*/ 809 w 923"/>
                  <a:gd name="T15" fmla="*/ 421 h 1228"/>
                  <a:gd name="T16" fmla="*/ 769 w 923"/>
                  <a:gd name="T17" fmla="*/ 324 h 1228"/>
                  <a:gd name="T18" fmla="*/ 764 w 923"/>
                  <a:gd name="T19" fmla="*/ 288 h 1228"/>
                  <a:gd name="T20" fmla="*/ 723 w 923"/>
                  <a:gd name="T21" fmla="*/ 218 h 1228"/>
                  <a:gd name="T22" fmla="*/ 659 w 923"/>
                  <a:gd name="T23" fmla="*/ 226 h 1228"/>
                  <a:gd name="T24" fmla="*/ 442 w 923"/>
                  <a:gd name="T25" fmla="*/ 43 h 1228"/>
                  <a:gd name="T26" fmla="*/ 242 w 923"/>
                  <a:gd name="T27" fmla="*/ 0 h 1228"/>
                  <a:gd name="T28" fmla="*/ 63 w 923"/>
                  <a:gd name="T29" fmla="*/ 122 h 1228"/>
                  <a:gd name="T30" fmla="*/ 61 w 923"/>
                  <a:gd name="T31" fmla="*/ 294 h 1228"/>
                  <a:gd name="T32" fmla="*/ 12 w 923"/>
                  <a:gd name="T33" fmla="*/ 446 h 1228"/>
                  <a:gd name="T34" fmla="*/ 42 w 923"/>
                  <a:gd name="T35" fmla="*/ 589 h 1228"/>
                  <a:gd name="T36" fmla="*/ 59 w 923"/>
                  <a:gd name="T37" fmla="*/ 666 h 1228"/>
                  <a:gd name="T38" fmla="*/ 63 w 923"/>
                  <a:gd name="T39" fmla="*/ 715 h 1228"/>
                  <a:gd name="T40" fmla="*/ 89 w 923"/>
                  <a:gd name="T41" fmla="*/ 834 h 1228"/>
                  <a:gd name="T42" fmla="*/ 153 w 923"/>
                  <a:gd name="T43" fmla="*/ 885 h 1228"/>
                  <a:gd name="T44" fmla="*/ 121 w 923"/>
                  <a:gd name="T45" fmla="*/ 991 h 1228"/>
                  <a:gd name="T46" fmla="*/ 170 w 923"/>
                  <a:gd name="T47" fmla="*/ 1039 h 1228"/>
                  <a:gd name="T48" fmla="*/ 206 w 923"/>
                  <a:gd name="T49" fmla="*/ 1052 h 1228"/>
                  <a:gd name="T50" fmla="*/ 271 w 923"/>
                  <a:gd name="T51" fmla="*/ 1049 h 1228"/>
                  <a:gd name="T52" fmla="*/ 328 w 923"/>
                  <a:gd name="T53" fmla="*/ 1019 h 1228"/>
                  <a:gd name="T54" fmla="*/ 403 w 923"/>
                  <a:gd name="T55" fmla="*/ 1012 h 1228"/>
                  <a:gd name="T56" fmla="*/ 543 w 923"/>
                  <a:gd name="T57" fmla="*/ 1161 h 1228"/>
                  <a:gd name="T58" fmla="*/ 634 w 923"/>
                  <a:gd name="T59" fmla="*/ 1197 h 1228"/>
                  <a:gd name="T60" fmla="*/ 791 w 923"/>
                  <a:gd name="T61" fmla="*/ 1228 h 1228"/>
                  <a:gd name="T62" fmla="*/ 758 w 923"/>
                  <a:gd name="T63" fmla="*/ 1129 h 1228"/>
                  <a:gd name="T64" fmla="*/ 720 w 923"/>
                  <a:gd name="T65" fmla="*/ 1107 h 1228"/>
                  <a:gd name="T66" fmla="*/ 695 w 923"/>
                  <a:gd name="T67" fmla="*/ 1081 h 1228"/>
                  <a:gd name="T68" fmla="*/ 693 w 923"/>
                  <a:gd name="T69" fmla="*/ 1031 h 1228"/>
                  <a:gd name="T70" fmla="*/ 718 w 923"/>
                  <a:gd name="T71" fmla="*/ 972 h 1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923" h="1228">
                    <a:moveTo>
                      <a:pt x="718" y="972"/>
                    </a:moveTo>
                    <a:lnTo>
                      <a:pt x="746" y="972"/>
                    </a:lnTo>
                    <a:lnTo>
                      <a:pt x="802" y="917"/>
                    </a:lnTo>
                    <a:lnTo>
                      <a:pt x="823" y="910"/>
                    </a:lnTo>
                    <a:lnTo>
                      <a:pt x="785" y="827"/>
                    </a:lnTo>
                    <a:lnTo>
                      <a:pt x="813" y="820"/>
                    </a:lnTo>
                    <a:lnTo>
                      <a:pt x="821" y="794"/>
                    </a:lnTo>
                    <a:lnTo>
                      <a:pt x="874" y="817"/>
                    </a:lnTo>
                    <a:lnTo>
                      <a:pt x="913" y="763"/>
                    </a:lnTo>
                    <a:lnTo>
                      <a:pt x="876" y="712"/>
                    </a:lnTo>
                    <a:lnTo>
                      <a:pt x="923" y="679"/>
                    </a:lnTo>
                    <a:lnTo>
                      <a:pt x="853" y="644"/>
                    </a:lnTo>
                    <a:lnTo>
                      <a:pt x="804" y="541"/>
                    </a:lnTo>
                    <a:lnTo>
                      <a:pt x="781" y="519"/>
                    </a:lnTo>
                    <a:lnTo>
                      <a:pt x="810" y="466"/>
                    </a:lnTo>
                    <a:lnTo>
                      <a:pt x="809" y="421"/>
                    </a:lnTo>
                    <a:lnTo>
                      <a:pt x="777" y="402"/>
                    </a:lnTo>
                    <a:lnTo>
                      <a:pt x="769" y="324"/>
                    </a:lnTo>
                    <a:lnTo>
                      <a:pt x="783" y="303"/>
                    </a:lnTo>
                    <a:lnTo>
                      <a:pt x="764" y="288"/>
                    </a:lnTo>
                    <a:lnTo>
                      <a:pt x="756" y="221"/>
                    </a:lnTo>
                    <a:lnTo>
                      <a:pt x="723" y="218"/>
                    </a:lnTo>
                    <a:lnTo>
                      <a:pt x="681" y="171"/>
                    </a:lnTo>
                    <a:lnTo>
                      <a:pt x="659" y="226"/>
                    </a:lnTo>
                    <a:lnTo>
                      <a:pt x="573" y="127"/>
                    </a:lnTo>
                    <a:lnTo>
                      <a:pt x="442" y="43"/>
                    </a:lnTo>
                    <a:lnTo>
                      <a:pt x="333" y="35"/>
                    </a:lnTo>
                    <a:lnTo>
                      <a:pt x="242" y="0"/>
                    </a:lnTo>
                    <a:lnTo>
                      <a:pt x="168" y="25"/>
                    </a:lnTo>
                    <a:lnTo>
                      <a:pt x="63" y="122"/>
                    </a:lnTo>
                    <a:lnTo>
                      <a:pt x="78" y="284"/>
                    </a:lnTo>
                    <a:lnTo>
                      <a:pt x="61" y="294"/>
                    </a:lnTo>
                    <a:lnTo>
                      <a:pt x="27" y="390"/>
                    </a:lnTo>
                    <a:lnTo>
                      <a:pt x="12" y="446"/>
                    </a:lnTo>
                    <a:lnTo>
                      <a:pt x="35" y="477"/>
                    </a:lnTo>
                    <a:lnTo>
                      <a:pt x="42" y="589"/>
                    </a:lnTo>
                    <a:lnTo>
                      <a:pt x="85" y="650"/>
                    </a:lnTo>
                    <a:lnTo>
                      <a:pt x="59" y="666"/>
                    </a:lnTo>
                    <a:lnTo>
                      <a:pt x="80" y="686"/>
                    </a:lnTo>
                    <a:lnTo>
                      <a:pt x="63" y="715"/>
                    </a:lnTo>
                    <a:lnTo>
                      <a:pt x="0" y="723"/>
                    </a:lnTo>
                    <a:lnTo>
                      <a:pt x="89" y="834"/>
                    </a:lnTo>
                    <a:lnTo>
                      <a:pt x="115" y="827"/>
                    </a:lnTo>
                    <a:lnTo>
                      <a:pt x="153" y="885"/>
                    </a:lnTo>
                    <a:lnTo>
                      <a:pt x="164" y="947"/>
                    </a:lnTo>
                    <a:lnTo>
                      <a:pt x="121" y="991"/>
                    </a:lnTo>
                    <a:lnTo>
                      <a:pt x="122" y="1009"/>
                    </a:lnTo>
                    <a:lnTo>
                      <a:pt x="170" y="1039"/>
                    </a:lnTo>
                    <a:lnTo>
                      <a:pt x="192" y="1036"/>
                    </a:lnTo>
                    <a:lnTo>
                      <a:pt x="206" y="1052"/>
                    </a:lnTo>
                    <a:lnTo>
                      <a:pt x="239" y="1035"/>
                    </a:lnTo>
                    <a:lnTo>
                      <a:pt x="271" y="1049"/>
                    </a:lnTo>
                    <a:lnTo>
                      <a:pt x="283" y="1031"/>
                    </a:lnTo>
                    <a:lnTo>
                      <a:pt x="328" y="1019"/>
                    </a:lnTo>
                    <a:lnTo>
                      <a:pt x="351" y="1048"/>
                    </a:lnTo>
                    <a:lnTo>
                      <a:pt x="403" y="1012"/>
                    </a:lnTo>
                    <a:lnTo>
                      <a:pt x="511" y="1107"/>
                    </a:lnTo>
                    <a:lnTo>
                      <a:pt x="543" y="1161"/>
                    </a:lnTo>
                    <a:lnTo>
                      <a:pt x="596" y="1165"/>
                    </a:lnTo>
                    <a:lnTo>
                      <a:pt x="634" y="1197"/>
                    </a:lnTo>
                    <a:lnTo>
                      <a:pt x="694" y="1190"/>
                    </a:lnTo>
                    <a:lnTo>
                      <a:pt x="791" y="1228"/>
                    </a:lnTo>
                    <a:lnTo>
                      <a:pt x="807" y="1191"/>
                    </a:lnTo>
                    <a:lnTo>
                      <a:pt x="758" y="1129"/>
                    </a:lnTo>
                    <a:lnTo>
                      <a:pt x="723" y="1139"/>
                    </a:lnTo>
                    <a:lnTo>
                      <a:pt x="720" y="1107"/>
                    </a:lnTo>
                    <a:lnTo>
                      <a:pt x="682" y="1108"/>
                    </a:lnTo>
                    <a:lnTo>
                      <a:pt x="695" y="1081"/>
                    </a:lnTo>
                    <a:lnTo>
                      <a:pt x="673" y="1063"/>
                    </a:lnTo>
                    <a:lnTo>
                      <a:pt x="693" y="1031"/>
                    </a:lnTo>
                    <a:lnTo>
                      <a:pt x="718" y="1033"/>
                    </a:lnTo>
                    <a:lnTo>
                      <a:pt x="718" y="972"/>
                    </a:lnTo>
                    <a:close/>
                  </a:path>
                </a:pathLst>
              </a:custGeom>
              <a:grpFill/>
              <a:ln w="635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katta Sans Regular"/>
                  <a:ea typeface="+mn-ea"/>
                  <a:cs typeface="+mn-cs"/>
                </a:endParaRPr>
              </a:p>
            </p:txBody>
          </p:sp>
          <p:sp>
            <p:nvSpPr>
              <p:cNvPr id="312" name="Freeform 11">
                <a:extLst>
                  <a:ext uri="{FF2B5EF4-FFF2-40B4-BE49-F238E27FC236}">
                    <a16:creationId xmlns:a16="http://schemas.microsoft.com/office/drawing/2014/main" id="{B1E92C5F-BA1C-423B-849F-472DB355C6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76976" y="5345113"/>
                <a:ext cx="512763" cy="534988"/>
              </a:xfrm>
              <a:custGeom>
                <a:avLst/>
                <a:gdLst>
                  <a:gd name="T0" fmla="*/ 336 w 645"/>
                  <a:gd name="T1" fmla="*/ 555 h 674"/>
                  <a:gd name="T2" fmla="*/ 323 w 645"/>
                  <a:gd name="T3" fmla="*/ 604 h 674"/>
                  <a:gd name="T4" fmla="*/ 320 w 645"/>
                  <a:gd name="T5" fmla="*/ 550 h 674"/>
                  <a:gd name="T6" fmla="*/ 131 w 645"/>
                  <a:gd name="T7" fmla="*/ 537 h 674"/>
                  <a:gd name="T8" fmla="*/ 164 w 645"/>
                  <a:gd name="T9" fmla="*/ 458 h 674"/>
                  <a:gd name="T10" fmla="*/ 132 w 645"/>
                  <a:gd name="T11" fmla="*/ 416 h 674"/>
                  <a:gd name="T12" fmla="*/ 95 w 645"/>
                  <a:gd name="T13" fmla="*/ 372 h 674"/>
                  <a:gd name="T14" fmla="*/ 53 w 645"/>
                  <a:gd name="T15" fmla="*/ 352 h 674"/>
                  <a:gd name="T16" fmla="*/ 18 w 645"/>
                  <a:gd name="T17" fmla="*/ 300 h 674"/>
                  <a:gd name="T18" fmla="*/ 34 w 645"/>
                  <a:gd name="T19" fmla="*/ 232 h 674"/>
                  <a:gd name="T20" fmla="*/ 11 w 645"/>
                  <a:gd name="T21" fmla="*/ 196 h 674"/>
                  <a:gd name="T22" fmla="*/ 28 w 645"/>
                  <a:gd name="T23" fmla="*/ 150 h 674"/>
                  <a:gd name="T24" fmla="*/ 24 w 645"/>
                  <a:gd name="T25" fmla="*/ 95 h 674"/>
                  <a:gd name="T26" fmla="*/ 114 w 645"/>
                  <a:gd name="T27" fmla="*/ 64 h 674"/>
                  <a:gd name="T28" fmla="*/ 151 w 645"/>
                  <a:gd name="T29" fmla="*/ 10 h 674"/>
                  <a:gd name="T30" fmla="*/ 209 w 645"/>
                  <a:gd name="T31" fmla="*/ 55 h 674"/>
                  <a:gd name="T32" fmla="*/ 241 w 645"/>
                  <a:gd name="T33" fmla="*/ 5 h 674"/>
                  <a:gd name="T34" fmla="*/ 284 w 645"/>
                  <a:gd name="T35" fmla="*/ 63 h 674"/>
                  <a:gd name="T36" fmla="*/ 377 w 645"/>
                  <a:gd name="T37" fmla="*/ 81 h 674"/>
                  <a:gd name="T38" fmla="*/ 365 w 645"/>
                  <a:gd name="T39" fmla="*/ 142 h 674"/>
                  <a:gd name="T40" fmla="*/ 386 w 645"/>
                  <a:gd name="T41" fmla="*/ 216 h 674"/>
                  <a:gd name="T42" fmla="*/ 384 w 645"/>
                  <a:gd name="T43" fmla="*/ 254 h 674"/>
                  <a:gd name="T44" fmla="*/ 453 w 645"/>
                  <a:gd name="T45" fmla="*/ 295 h 674"/>
                  <a:gd name="T46" fmla="*/ 541 w 645"/>
                  <a:gd name="T47" fmla="*/ 317 h 674"/>
                  <a:gd name="T48" fmla="*/ 590 w 645"/>
                  <a:gd name="T49" fmla="*/ 352 h 674"/>
                  <a:gd name="T50" fmla="*/ 645 w 645"/>
                  <a:gd name="T51" fmla="*/ 413 h 674"/>
                  <a:gd name="T52" fmla="*/ 611 w 645"/>
                  <a:gd name="T53" fmla="*/ 467 h 674"/>
                  <a:gd name="T54" fmla="*/ 563 w 645"/>
                  <a:gd name="T55" fmla="*/ 465 h 674"/>
                  <a:gd name="T56" fmla="*/ 544 w 645"/>
                  <a:gd name="T57" fmla="*/ 508 h 674"/>
                  <a:gd name="T58" fmla="*/ 516 w 645"/>
                  <a:gd name="T59" fmla="*/ 527 h 674"/>
                  <a:gd name="T60" fmla="*/ 481 w 645"/>
                  <a:gd name="T61" fmla="*/ 523 h 674"/>
                  <a:gd name="T62" fmla="*/ 454 w 645"/>
                  <a:gd name="T63" fmla="*/ 545 h 674"/>
                  <a:gd name="T64" fmla="*/ 386 w 645"/>
                  <a:gd name="T65" fmla="*/ 511 h 674"/>
                  <a:gd name="T66" fmla="*/ 300 w 645"/>
                  <a:gd name="T67" fmla="*/ 516 h 674"/>
                  <a:gd name="T68" fmla="*/ 292 w 645"/>
                  <a:gd name="T69" fmla="*/ 571 h 674"/>
                  <a:gd name="T70" fmla="*/ 239 w 645"/>
                  <a:gd name="T71" fmla="*/ 542 h 674"/>
                  <a:gd name="T72" fmla="*/ 201 w 645"/>
                  <a:gd name="T73" fmla="*/ 558 h 674"/>
                  <a:gd name="T74" fmla="*/ 174 w 645"/>
                  <a:gd name="T75" fmla="*/ 553 h 674"/>
                  <a:gd name="T76" fmla="*/ 219 w 645"/>
                  <a:gd name="T77" fmla="*/ 615 h 674"/>
                  <a:gd name="T78" fmla="*/ 251 w 645"/>
                  <a:gd name="T79" fmla="*/ 620 h 674"/>
                  <a:gd name="T80" fmla="*/ 229 w 645"/>
                  <a:gd name="T81" fmla="*/ 623 h 674"/>
                  <a:gd name="T82" fmla="*/ 156 w 645"/>
                  <a:gd name="T83" fmla="*/ 587 h 674"/>
                  <a:gd name="T84" fmla="*/ 195 w 645"/>
                  <a:gd name="T85" fmla="*/ 562 h 674"/>
                  <a:gd name="T86" fmla="*/ 172 w 645"/>
                  <a:gd name="T87" fmla="*/ 601 h 674"/>
                  <a:gd name="T88" fmla="*/ 352 w 645"/>
                  <a:gd name="T89" fmla="*/ 657 h 674"/>
                  <a:gd name="T90" fmla="*/ 368 w 645"/>
                  <a:gd name="T91" fmla="*/ 647 h 674"/>
                  <a:gd name="T92" fmla="*/ 387 w 645"/>
                  <a:gd name="T93" fmla="*/ 664 h 674"/>
                  <a:gd name="T94" fmla="*/ 352 w 645"/>
                  <a:gd name="T95" fmla="*/ 673 h 6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645" h="674">
                    <a:moveTo>
                      <a:pt x="320" y="550"/>
                    </a:moveTo>
                    <a:lnTo>
                      <a:pt x="336" y="555"/>
                    </a:lnTo>
                    <a:lnTo>
                      <a:pt x="336" y="604"/>
                    </a:lnTo>
                    <a:lnTo>
                      <a:pt x="323" y="604"/>
                    </a:lnTo>
                    <a:lnTo>
                      <a:pt x="311" y="578"/>
                    </a:lnTo>
                    <a:lnTo>
                      <a:pt x="320" y="550"/>
                    </a:lnTo>
                    <a:close/>
                    <a:moveTo>
                      <a:pt x="139" y="561"/>
                    </a:moveTo>
                    <a:lnTo>
                      <a:pt x="131" y="537"/>
                    </a:lnTo>
                    <a:lnTo>
                      <a:pt x="169" y="465"/>
                    </a:lnTo>
                    <a:lnTo>
                      <a:pt x="164" y="458"/>
                    </a:lnTo>
                    <a:lnTo>
                      <a:pt x="144" y="454"/>
                    </a:lnTo>
                    <a:lnTo>
                      <a:pt x="132" y="416"/>
                    </a:lnTo>
                    <a:lnTo>
                      <a:pt x="104" y="411"/>
                    </a:lnTo>
                    <a:lnTo>
                      <a:pt x="95" y="372"/>
                    </a:lnTo>
                    <a:lnTo>
                      <a:pt x="61" y="356"/>
                    </a:lnTo>
                    <a:lnTo>
                      <a:pt x="53" y="352"/>
                    </a:lnTo>
                    <a:lnTo>
                      <a:pt x="48" y="319"/>
                    </a:lnTo>
                    <a:lnTo>
                      <a:pt x="18" y="300"/>
                    </a:lnTo>
                    <a:lnTo>
                      <a:pt x="17" y="263"/>
                    </a:lnTo>
                    <a:lnTo>
                      <a:pt x="34" y="232"/>
                    </a:lnTo>
                    <a:lnTo>
                      <a:pt x="0" y="218"/>
                    </a:lnTo>
                    <a:lnTo>
                      <a:pt x="11" y="196"/>
                    </a:lnTo>
                    <a:lnTo>
                      <a:pt x="37" y="198"/>
                    </a:lnTo>
                    <a:lnTo>
                      <a:pt x="28" y="150"/>
                    </a:lnTo>
                    <a:lnTo>
                      <a:pt x="16" y="123"/>
                    </a:lnTo>
                    <a:lnTo>
                      <a:pt x="24" y="95"/>
                    </a:lnTo>
                    <a:lnTo>
                      <a:pt x="71" y="95"/>
                    </a:lnTo>
                    <a:lnTo>
                      <a:pt x="114" y="64"/>
                    </a:lnTo>
                    <a:lnTo>
                      <a:pt x="132" y="20"/>
                    </a:lnTo>
                    <a:lnTo>
                      <a:pt x="151" y="10"/>
                    </a:lnTo>
                    <a:lnTo>
                      <a:pt x="175" y="0"/>
                    </a:lnTo>
                    <a:lnTo>
                      <a:pt x="209" y="55"/>
                    </a:lnTo>
                    <a:lnTo>
                      <a:pt x="241" y="38"/>
                    </a:lnTo>
                    <a:lnTo>
                      <a:pt x="241" y="5"/>
                    </a:lnTo>
                    <a:lnTo>
                      <a:pt x="284" y="6"/>
                    </a:lnTo>
                    <a:lnTo>
                      <a:pt x="284" y="63"/>
                    </a:lnTo>
                    <a:lnTo>
                      <a:pt x="343" y="93"/>
                    </a:lnTo>
                    <a:lnTo>
                      <a:pt x="377" y="81"/>
                    </a:lnTo>
                    <a:lnTo>
                      <a:pt x="400" y="129"/>
                    </a:lnTo>
                    <a:lnTo>
                      <a:pt x="365" y="142"/>
                    </a:lnTo>
                    <a:lnTo>
                      <a:pt x="355" y="179"/>
                    </a:lnTo>
                    <a:lnTo>
                      <a:pt x="386" y="216"/>
                    </a:lnTo>
                    <a:lnTo>
                      <a:pt x="368" y="227"/>
                    </a:lnTo>
                    <a:lnTo>
                      <a:pt x="384" y="254"/>
                    </a:lnTo>
                    <a:lnTo>
                      <a:pt x="439" y="269"/>
                    </a:lnTo>
                    <a:lnTo>
                      <a:pt x="453" y="295"/>
                    </a:lnTo>
                    <a:lnTo>
                      <a:pt x="495" y="317"/>
                    </a:lnTo>
                    <a:lnTo>
                      <a:pt x="541" y="317"/>
                    </a:lnTo>
                    <a:lnTo>
                      <a:pt x="556" y="347"/>
                    </a:lnTo>
                    <a:lnTo>
                      <a:pt x="590" y="352"/>
                    </a:lnTo>
                    <a:lnTo>
                      <a:pt x="607" y="394"/>
                    </a:lnTo>
                    <a:lnTo>
                      <a:pt x="645" y="413"/>
                    </a:lnTo>
                    <a:lnTo>
                      <a:pt x="612" y="446"/>
                    </a:lnTo>
                    <a:lnTo>
                      <a:pt x="611" y="467"/>
                    </a:lnTo>
                    <a:lnTo>
                      <a:pt x="588" y="481"/>
                    </a:lnTo>
                    <a:lnTo>
                      <a:pt x="563" y="465"/>
                    </a:lnTo>
                    <a:lnTo>
                      <a:pt x="553" y="473"/>
                    </a:lnTo>
                    <a:lnTo>
                      <a:pt x="544" y="508"/>
                    </a:lnTo>
                    <a:lnTo>
                      <a:pt x="534" y="526"/>
                    </a:lnTo>
                    <a:lnTo>
                      <a:pt x="516" y="527"/>
                    </a:lnTo>
                    <a:lnTo>
                      <a:pt x="496" y="530"/>
                    </a:lnTo>
                    <a:lnTo>
                      <a:pt x="481" y="523"/>
                    </a:lnTo>
                    <a:lnTo>
                      <a:pt x="470" y="531"/>
                    </a:lnTo>
                    <a:lnTo>
                      <a:pt x="454" y="545"/>
                    </a:lnTo>
                    <a:lnTo>
                      <a:pt x="435" y="517"/>
                    </a:lnTo>
                    <a:lnTo>
                      <a:pt x="386" y="511"/>
                    </a:lnTo>
                    <a:lnTo>
                      <a:pt x="325" y="491"/>
                    </a:lnTo>
                    <a:lnTo>
                      <a:pt x="300" y="516"/>
                    </a:lnTo>
                    <a:lnTo>
                      <a:pt x="301" y="555"/>
                    </a:lnTo>
                    <a:lnTo>
                      <a:pt x="292" y="571"/>
                    </a:lnTo>
                    <a:lnTo>
                      <a:pt x="267" y="570"/>
                    </a:lnTo>
                    <a:lnTo>
                      <a:pt x="239" y="542"/>
                    </a:lnTo>
                    <a:lnTo>
                      <a:pt x="222" y="557"/>
                    </a:lnTo>
                    <a:lnTo>
                      <a:pt x="201" y="558"/>
                    </a:lnTo>
                    <a:lnTo>
                      <a:pt x="188" y="544"/>
                    </a:lnTo>
                    <a:lnTo>
                      <a:pt x="174" y="553"/>
                    </a:lnTo>
                    <a:lnTo>
                      <a:pt x="139" y="561"/>
                    </a:lnTo>
                    <a:close/>
                    <a:moveTo>
                      <a:pt x="219" y="615"/>
                    </a:moveTo>
                    <a:lnTo>
                      <a:pt x="238" y="598"/>
                    </a:lnTo>
                    <a:lnTo>
                      <a:pt x="251" y="620"/>
                    </a:lnTo>
                    <a:lnTo>
                      <a:pt x="243" y="632"/>
                    </a:lnTo>
                    <a:lnTo>
                      <a:pt x="229" y="623"/>
                    </a:lnTo>
                    <a:lnTo>
                      <a:pt x="219" y="615"/>
                    </a:lnTo>
                    <a:close/>
                    <a:moveTo>
                      <a:pt x="156" y="587"/>
                    </a:moveTo>
                    <a:lnTo>
                      <a:pt x="178" y="562"/>
                    </a:lnTo>
                    <a:lnTo>
                      <a:pt x="195" y="562"/>
                    </a:lnTo>
                    <a:lnTo>
                      <a:pt x="200" y="580"/>
                    </a:lnTo>
                    <a:lnTo>
                      <a:pt x="172" y="601"/>
                    </a:lnTo>
                    <a:lnTo>
                      <a:pt x="156" y="587"/>
                    </a:lnTo>
                    <a:close/>
                    <a:moveTo>
                      <a:pt x="352" y="657"/>
                    </a:moveTo>
                    <a:lnTo>
                      <a:pt x="363" y="647"/>
                    </a:lnTo>
                    <a:lnTo>
                      <a:pt x="368" y="647"/>
                    </a:lnTo>
                    <a:lnTo>
                      <a:pt x="380" y="659"/>
                    </a:lnTo>
                    <a:lnTo>
                      <a:pt x="387" y="664"/>
                    </a:lnTo>
                    <a:lnTo>
                      <a:pt x="371" y="674"/>
                    </a:lnTo>
                    <a:lnTo>
                      <a:pt x="352" y="673"/>
                    </a:lnTo>
                    <a:lnTo>
                      <a:pt x="352" y="657"/>
                    </a:lnTo>
                    <a:close/>
                  </a:path>
                </a:pathLst>
              </a:custGeom>
              <a:grpFill/>
              <a:ln w="635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katta Sans Regular"/>
                  <a:ea typeface="+mn-ea"/>
                  <a:cs typeface="+mn-cs"/>
                </a:endParaRPr>
              </a:p>
            </p:txBody>
          </p:sp>
          <p:sp>
            <p:nvSpPr>
              <p:cNvPr id="313" name="Freeform 12">
                <a:extLst>
                  <a:ext uri="{FF2B5EF4-FFF2-40B4-BE49-F238E27FC236}">
                    <a16:creationId xmlns:a16="http://schemas.microsoft.com/office/drawing/2014/main" id="{48E0AA7D-36E4-4510-AA64-BAE216FE23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89638" y="5081588"/>
                <a:ext cx="407988" cy="582613"/>
              </a:xfrm>
              <a:custGeom>
                <a:avLst/>
                <a:gdLst>
                  <a:gd name="T0" fmla="*/ 66 w 515"/>
                  <a:gd name="T1" fmla="*/ 637 h 735"/>
                  <a:gd name="T2" fmla="*/ 53 w 515"/>
                  <a:gd name="T3" fmla="*/ 607 h 735"/>
                  <a:gd name="T4" fmla="*/ 75 w 515"/>
                  <a:gd name="T5" fmla="*/ 589 h 735"/>
                  <a:gd name="T6" fmla="*/ 37 w 515"/>
                  <a:gd name="T7" fmla="*/ 543 h 735"/>
                  <a:gd name="T8" fmla="*/ 53 w 515"/>
                  <a:gd name="T9" fmla="*/ 479 h 735"/>
                  <a:gd name="T10" fmla="*/ 111 w 515"/>
                  <a:gd name="T11" fmla="*/ 445 h 735"/>
                  <a:gd name="T12" fmla="*/ 107 w 515"/>
                  <a:gd name="T13" fmla="*/ 365 h 735"/>
                  <a:gd name="T14" fmla="*/ 76 w 515"/>
                  <a:gd name="T15" fmla="*/ 340 h 735"/>
                  <a:gd name="T16" fmla="*/ 51 w 515"/>
                  <a:gd name="T17" fmla="*/ 352 h 735"/>
                  <a:gd name="T18" fmla="*/ 58 w 515"/>
                  <a:gd name="T19" fmla="*/ 327 h 735"/>
                  <a:gd name="T20" fmla="*/ 5 w 515"/>
                  <a:gd name="T21" fmla="*/ 306 h 735"/>
                  <a:gd name="T22" fmla="*/ 0 w 515"/>
                  <a:gd name="T23" fmla="*/ 194 h 735"/>
                  <a:gd name="T24" fmla="*/ 19 w 515"/>
                  <a:gd name="T25" fmla="*/ 204 h 735"/>
                  <a:gd name="T26" fmla="*/ 182 w 515"/>
                  <a:gd name="T27" fmla="*/ 189 h 735"/>
                  <a:gd name="T28" fmla="*/ 216 w 515"/>
                  <a:gd name="T29" fmla="*/ 70 h 735"/>
                  <a:gd name="T30" fmla="*/ 265 w 515"/>
                  <a:gd name="T31" fmla="*/ 48 h 735"/>
                  <a:gd name="T32" fmla="*/ 291 w 515"/>
                  <a:gd name="T33" fmla="*/ 60 h 735"/>
                  <a:gd name="T34" fmla="*/ 326 w 515"/>
                  <a:gd name="T35" fmla="*/ 0 h 735"/>
                  <a:gd name="T36" fmla="*/ 365 w 515"/>
                  <a:gd name="T37" fmla="*/ 19 h 735"/>
                  <a:gd name="T38" fmla="*/ 409 w 515"/>
                  <a:gd name="T39" fmla="*/ 87 h 735"/>
                  <a:gd name="T40" fmla="*/ 471 w 515"/>
                  <a:gd name="T41" fmla="*/ 112 h 735"/>
                  <a:gd name="T42" fmla="*/ 450 w 515"/>
                  <a:gd name="T43" fmla="*/ 169 h 735"/>
                  <a:gd name="T44" fmla="*/ 443 w 515"/>
                  <a:gd name="T45" fmla="*/ 237 h 735"/>
                  <a:gd name="T46" fmla="*/ 463 w 515"/>
                  <a:gd name="T47" fmla="*/ 252 h 735"/>
                  <a:gd name="T48" fmla="*/ 464 w 515"/>
                  <a:gd name="T49" fmla="*/ 278 h 735"/>
                  <a:gd name="T50" fmla="*/ 495 w 515"/>
                  <a:gd name="T51" fmla="*/ 307 h 735"/>
                  <a:gd name="T52" fmla="*/ 513 w 515"/>
                  <a:gd name="T53" fmla="*/ 310 h 735"/>
                  <a:gd name="T54" fmla="*/ 515 w 515"/>
                  <a:gd name="T55" fmla="*/ 343 h 735"/>
                  <a:gd name="T56" fmla="*/ 496 w 515"/>
                  <a:gd name="T57" fmla="*/ 353 h 735"/>
                  <a:gd name="T58" fmla="*/ 478 w 515"/>
                  <a:gd name="T59" fmla="*/ 397 h 735"/>
                  <a:gd name="T60" fmla="*/ 435 w 515"/>
                  <a:gd name="T61" fmla="*/ 428 h 735"/>
                  <a:gd name="T62" fmla="*/ 388 w 515"/>
                  <a:gd name="T63" fmla="*/ 428 h 735"/>
                  <a:gd name="T64" fmla="*/ 380 w 515"/>
                  <a:gd name="T65" fmla="*/ 456 h 735"/>
                  <a:gd name="T66" fmla="*/ 392 w 515"/>
                  <a:gd name="T67" fmla="*/ 483 h 735"/>
                  <a:gd name="T68" fmla="*/ 401 w 515"/>
                  <a:gd name="T69" fmla="*/ 531 h 735"/>
                  <a:gd name="T70" fmla="*/ 375 w 515"/>
                  <a:gd name="T71" fmla="*/ 529 h 735"/>
                  <a:gd name="T72" fmla="*/ 364 w 515"/>
                  <a:gd name="T73" fmla="*/ 551 h 735"/>
                  <a:gd name="T74" fmla="*/ 398 w 515"/>
                  <a:gd name="T75" fmla="*/ 565 h 735"/>
                  <a:gd name="T76" fmla="*/ 381 w 515"/>
                  <a:gd name="T77" fmla="*/ 596 h 735"/>
                  <a:gd name="T78" fmla="*/ 382 w 515"/>
                  <a:gd name="T79" fmla="*/ 633 h 735"/>
                  <a:gd name="T80" fmla="*/ 412 w 515"/>
                  <a:gd name="T81" fmla="*/ 652 h 735"/>
                  <a:gd name="T82" fmla="*/ 417 w 515"/>
                  <a:gd name="T83" fmla="*/ 685 h 735"/>
                  <a:gd name="T84" fmla="*/ 425 w 515"/>
                  <a:gd name="T85" fmla="*/ 690 h 735"/>
                  <a:gd name="T86" fmla="*/ 422 w 515"/>
                  <a:gd name="T87" fmla="*/ 719 h 735"/>
                  <a:gd name="T88" fmla="*/ 394 w 515"/>
                  <a:gd name="T89" fmla="*/ 735 h 735"/>
                  <a:gd name="T90" fmla="*/ 367 w 515"/>
                  <a:gd name="T91" fmla="*/ 710 h 735"/>
                  <a:gd name="T92" fmla="*/ 324 w 515"/>
                  <a:gd name="T93" fmla="*/ 719 h 735"/>
                  <a:gd name="T94" fmla="*/ 323 w 515"/>
                  <a:gd name="T95" fmla="*/ 690 h 735"/>
                  <a:gd name="T96" fmla="*/ 295 w 515"/>
                  <a:gd name="T97" fmla="*/ 710 h 735"/>
                  <a:gd name="T98" fmla="*/ 277 w 515"/>
                  <a:gd name="T99" fmla="*/ 708 h 735"/>
                  <a:gd name="T100" fmla="*/ 217 w 515"/>
                  <a:gd name="T101" fmla="*/ 725 h 735"/>
                  <a:gd name="T102" fmla="*/ 201 w 515"/>
                  <a:gd name="T103" fmla="*/ 708 h 735"/>
                  <a:gd name="T104" fmla="*/ 199 w 515"/>
                  <a:gd name="T105" fmla="*/ 709 h 735"/>
                  <a:gd name="T106" fmla="*/ 184 w 515"/>
                  <a:gd name="T107" fmla="*/ 655 h 735"/>
                  <a:gd name="T108" fmla="*/ 174 w 515"/>
                  <a:gd name="T109" fmla="*/ 646 h 735"/>
                  <a:gd name="T110" fmla="*/ 140 w 515"/>
                  <a:gd name="T111" fmla="*/ 682 h 735"/>
                  <a:gd name="T112" fmla="*/ 97 w 515"/>
                  <a:gd name="T113" fmla="*/ 628 h 735"/>
                  <a:gd name="T114" fmla="*/ 66 w 515"/>
                  <a:gd name="T115" fmla="*/ 637 h 7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15" h="735">
                    <a:moveTo>
                      <a:pt x="66" y="637"/>
                    </a:moveTo>
                    <a:lnTo>
                      <a:pt x="53" y="607"/>
                    </a:lnTo>
                    <a:lnTo>
                      <a:pt x="75" y="589"/>
                    </a:lnTo>
                    <a:lnTo>
                      <a:pt x="37" y="543"/>
                    </a:lnTo>
                    <a:lnTo>
                      <a:pt x="53" y="479"/>
                    </a:lnTo>
                    <a:lnTo>
                      <a:pt x="111" y="445"/>
                    </a:lnTo>
                    <a:lnTo>
                      <a:pt x="107" y="365"/>
                    </a:lnTo>
                    <a:lnTo>
                      <a:pt x="76" y="340"/>
                    </a:lnTo>
                    <a:lnTo>
                      <a:pt x="51" y="352"/>
                    </a:lnTo>
                    <a:lnTo>
                      <a:pt x="58" y="327"/>
                    </a:lnTo>
                    <a:lnTo>
                      <a:pt x="5" y="306"/>
                    </a:lnTo>
                    <a:lnTo>
                      <a:pt x="0" y="194"/>
                    </a:lnTo>
                    <a:lnTo>
                      <a:pt x="19" y="204"/>
                    </a:lnTo>
                    <a:lnTo>
                      <a:pt x="182" y="189"/>
                    </a:lnTo>
                    <a:lnTo>
                      <a:pt x="216" y="70"/>
                    </a:lnTo>
                    <a:lnTo>
                      <a:pt x="265" y="48"/>
                    </a:lnTo>
                    <a:lnTo>
                      <a:pt x="291" y="60"/>
                    </a:lnTo>
                    <a:lnTo>
                      <a:pt x="326" y="0"/>
                    </a:lnTo>
                    <a:lnTo>
                      <a:pt x="365" y="19"/>
                    </a:lnTo>
                    <a:lnTo>
                      <a:pt x="409" y="87"/>
                    </a:lnTo>
                    <a:lnTo>
                      <a:pt x="471" y="112"/>
                    </a:lnTo>
                    <a:lnTo>
                      <a:pt x="450" y="169"/>
                    </a:lnTo>
                    <a:lnTo>
                      <a:pt x="443" y="237"/>
                    </a:lnTo>
                    <a:lnTo>
                      <a:pt x="463" y="252"/>
                    </a:lnTo>
                    <a:lnTo>
                      <a:pt x="464" y="278"/>
                    </a:lnTo>
                    <a:lnTo>
                      <a:pt x="495" y="307"/>
                    </a:lnTo>
                    <a:lnTo>
                      <a:pt x="513" y="310"/>
                    </a:lnTo>
                    <a:lnTo>
                      <a:pt x="515" y="343"/>
                    </a:lnTo>
                    <a:lnTo>
                      <a:pt x="496" y="353"/>
                    </a:lnTo>
                    <a:lnTo>
                      <a:pt x="478" y="397"/>
                    </a:lnTo>
                    <a:lnTo>
                      <a:pt x="435" y="428"/>
                    </a:lnTo>
                    <a:lnTo>
                      <a:pt x="388" y="428"/>
                    </a:lnTo>
                    <a:lnTo>
                      <a:pt x="380" y="456"/>
                    </a:lnTo>
                    <a:lnTo>
                      <a:pt x="392" y="483"/>
                    </a:lnTo>
                    <a:lnTo>
                      <a:pt x="401" y="531"/>
                    </a:lnTo>
                    <a:lnTo>
                      <a:pt x="375" y="529"/>
                    </a:lnTo>
                    <a:lnTo>
                      <a:pt x="364" y="551"/>
                    </a:lnTo>
                    <a:lnTo>
                      <a:pt x="398" y="565"/>
                    </a:lnTo>
                    <a:lnTo>
                      <a:pt x="381" y="596"/>
                    </a:lnTo>
                    <a:lnTo>
                      <a:pt x="382" y="633"/>
                    </a:lnTo>
                    <a:lnTo>
                      <a:pt x="412" y="652"/>
                    </a:lnTo>
                    <a:lnTo>
                      <a:pt x="417" y="685"/>
                    </a:lnTo>
                    <a:lnTo>
                      <a:pt x="425" y="690"/>
                    </a:lnTo>
                    <a:lnTo>
                      <a:pt x="422" y="719"/>
                    </a:lnTo>
                    <a:lnTo>
                      <a:pt x="394" y="735"/>
                    </a:lnTo>
                    <a:lnTo>
                      <a:pt x="367" y="710"/>
                    </a:lnTo>
                    <a:lnTo>
                      <a:pt x="324" y="719"/>
                    </a:lnTo>
                    <a:lnTo>
                      <a:pt x="323" y="690"/>
                    </a:lnTo>
                    <a:lnTo>
                      <a:pt x="295" y="710"/>
                    </a:lnTo>
                    <a:lnTo>
                      <a:pt x="277" y="708"/>
                    </a:lnTo>
                    <a:lnTo>
                      <a:pt x="217" y="725"/>
                    </a:lnTo>
                    <a:lnTo>
                      <a:pt x="201" y="708"/>
                    </a:lnTo>
                    <a:lnTo>
                      <a:pt x="199" y="709"/>
                    </a:lnTo>
                    <a:lnTo>
                      <a:pt x="184" y="655"/>
                    </a:lnTo>
                    <a:lnTo>
                      <a:pt x="174" y="646"/>
                    </a:lnTo>
                    <a:lnTo>
                      <a:pt x="140" y="682"/>
                    </a:lnTo>
                    <a:lnTo>
                      <a:pt x="97" y="628"/>
                    </a:lnTo>
                    <a:lnTo>
                      <a:pt x="66" y="637"/>
                    </a:lnTo>
                    <a:close/>
                  </a:path>
                </a:pathLst>
              </a:custGeom>
              <a:grpFill/>
              <a:ln w="635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katta Sans Regular"/>
                  <a:ea typeface="+mn-ea"/>
                  <a:cs typeface="+mn-cs"/>
                </a:endParaRPr>
              </a:p>
            </p:txBody>
          </p:sp>
          <p:sp>
            <p:nvSpPr>
              <p:cNvPr id="314" name="Freeform 13">
                <a:extLst>
                  <a:ext uri="{FF2B5EF4-FFF2-40B4-BE49-F238E27FC236}">
                    <a16:creationId xmlns:a16="http://schemas.microsoft.com/office/drawing/2014/main" id="{DAA6637E-0276-4E0F-ABC8-1F245BFDFA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94376" y="4110038"/>
                <a:ext cx="676275" cy="1133475"/>
              </a:xfrm>
              <a:custGeom>
                <a:avLst/>
                <a:gdLst>
                  <a:gd name="T0" fmla="*/ 0 w 851"/>
                  <a:gd name="T1" fmla="*/ 868 h 1427"/>
                  <a:gd name="T2" fmla="*/ 69 w 851"/>
                  <a:gd name="T3" fmla="*/ 891 h 1427"/>
                  <a:gd name="T4" fmla="*/ 129 w 851"/>
                  <a:gd name="T5" fmla="*/ 946 h 1427"/>
                  <a:gd name="T6" fmla="*/ 204 w 851"/>
                  <a:gd name="T7" fmla="*/ 987 h 1427"/>
                  <a:gd name="T8" fmla="*/ 188 w 851"/>
                  <a:gd name="T9" fmla="*/ 1091 h 1427"/>
                  <a:gd name="T10" fmla="*/ 151 w 851"/>
                  <a:gd name="T11" fmla="*/ 1116 h 1427"/>
                  <a:gd name="T12" fmla="*/ 238 w 851"/>
                  <a:gd name="T13" fmla="*/ 1209 h 1427"/>
                  <a:gd name="T14" fmla="*/ 223 w 851"/>
                  <a:gd name="T15" fmla="*/ 1223 h 1427"/>
                  <a:gd name="T16" fmla="*/ 206 w 851"/>
                  <a:gd name="T17" fmla="*/ 1219 h 1427"/>
                  <a:gd name="T18" fmla="*/ 211 w 851"/>
                  <a:gd name="T19" fmla="*/ 1265 h 1427"/>
                  <a:gd name="T20" fmla="*/ 231 w 851"/>
                  <a:gd name="T21" fmla="*/ 1272 h 1427"/>
                  <a:gd name="T22" fmla="*/ 232 w 851"/>
                  <a:gd name="T23" fmla="*/ 1298 h 1427"/>
                  <a:gd name="T24" fmla="*/ 227 w 851"/>
                  <a:gd name="T25" fmla="*/ 1345 h 1427"/>
                  <a:gd name="T26" fmla="*/ 264 w 851"/>
                  <a:gd name="T27" fmla="*/ 1427 h 1427"/>
                  <a:gd name="T28" fmla="*/ 461 w 851"/>
                  <a:gd name="T29" fmla="*/ 1293 h 1427"/>
                  <a:gd name="T30" fmla="*/ 536 w 851"/>
                  <a:gd name="T31" fmla="*/ 1283 h 1427"/>
                  <a:gd name="T32" fmla="*/ 610 w 851"/>
                  <a:gd name="T33" fmla="*/ 1242 h 1427"/>
                  <a:gd name="T34" fmla="*/ 716 w 851"/>
                  <a:gd name="T35" fmla="*/ 1336 h 1427"/>
                  <a:gd name="T36" fmla="*/ 761 w 851"/>
                  <a:gd name="T37" fmla="*/ 1334 h 1427"/>
                  <a:gd name="T38" fmla="*/ 727 w 851"/>
                  <a:gd name="T39" fmla="*/ 1226 h 1427"/>
                  <a:gd name="T40" fmla="*/ 731 w 851"/>
                  <a:gd name="T41" fmla="*/ 1090 h 1427"/>
                  <a:gd name="T42" fmla="*/ 713 w 851"/>
                  <a:gd name="T43" fmla="*/ 944 h 1427"/>
                  <a:gd name="T44" fmla="*/ 802 w 851"/>
                  <a:gd name="T45" fmla="*/ 931 h 1427"/>
                  <a:gd name="T46" fmla="*/ 851 w 851"/>
                  <a:gd name="T47" fmla="*/ 841 h 1427"/>
                  <a:gd name="T48" fmla="*/ 838 w 851"/>
                  <a:gd name="T49" fmla="*/ 786 h 1427"/>
                  <a:gd name="T50" fmla="*/ 802 w 851"/>
                  <a:gd name="T51" fmla="*/ 773 h 1427"/>
                  <a:gd name="T52" fmla="*/ 754 w 851"/>
                  <a:gd name="T53" fmla="*/ 725 h 1427"/>
                  <a:gd name="T54" fmla="*/ 785 w 851"/>
                  <a:gd name="T55" fmla="*/ 619 h 1427"/>
                  <a:gd name="T56" fmla="*/ 721 w 851"/>
                  <a:gd name="T57" fmla="*/ 568 h 1427"/>
                  <a:gd name="T58" fmla="*/ 695 w 851"/>
                  <a:gd name="T59" fmla="*/ 449 h 1427"/>
                  <a:gd name="T60" fmla="*/ 691 w 851"/>
                  <a:gd name="T61" fmla="*/ 400 h 1427"/>
                  <a:gd name="T62" fmla="*/ 674 w 851"/>
                  <a:gd name="T63" fmla="*/ 323 h 1427"/>
                  <a:gd name="T64" fmla="*/ 644 w 851"/>
                  <a:gd name="T65" fmla="*/ 180 h 1427"/>
                  <a:gd name="T66" fmla="*/ 593 w 851"/>
                  <a:gd name="T67" fmla="*/ 125 h 1427"/>
                  <a:gd name="T68" fmla="*/ 554 w 851"/>
                  <a:gd name="T69" fmla="*/ 69 h 1427"/>
                  <a:gd name="T70" fmla="*/ 405 w 851"/>
                  <a:gd name="T71" fmla="*/ 0 h 1427"/>
                  <a:gd name="T72" fmla="*/ 360 w 851"/>
                  <a:gd name="T73" fmla="*/ 98 h 1427"/>
                  <a:gd name="T74" fmla="*/ 296 w 851"/>
                  <a:gd name="T75" fmla="*/ 108 h 1427"/>
                  <a:gd name="T76" fmla="*/ 239 w 851"/>
                  <a:gd name="T77" fmla="*/ 309 h 1427"/>
                  <a:gd name="T78" fmla="*/ 135 w 851"/>
                  <a:gd name="T79" fmla="*/ 320 h 1427"/>
                  <a:gd name="T80" fmla="*/ 101 w 851"/>
                  <a:gd name="T81" fmla="*/ 358 h 1427"/>
                  <a:gd name="T82" fmla="*/ 138 w 851"/>
                  <a:gd name="T83" fmla="*/ 477 h 1427"/>
                  <a:gd name="T84" fmla="*/ 156 w 851"/>
                  <a:gd name="T85" fmla="*/ 590 h 1427"/>
                  <a:gd name="T86" fmla="*/ 155 w 851"/>
                  <a:gd name="T87" fmla="*/ 638 h 1427"/>
                  <a:gd name="T88" fmla="*/ 159 w 851"/>
                  <a:gd name="T89" fmla="*/ 743 h 1427"/>
                  <a:gd name="T90" fmla="*/ 99 w 851"/>
                  <a:gd name="T91" fmla="*/ 766 h 1427"/>
                  <a:gd name="T92" fmla="*/ 0 w 851"/>
                  <a:gd name="T93" fmla="*/ 808 h 14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851" h="1427">
                    <a:moveTo>
                      <a:pt x="0" y="808"/>
                    </a:moveTo>
                    <a:lnTo>
                      <a:pt x="0" y="868"/>
                    </a:lnTo>
                    <a:lnTo>
                      <a:pt x="45" y="895"/>
                    </a:lnTo>
                    <a:lnTo>
                      <a:pt x="69" y="891"/>
                    </a:lnTo>
                    <a:lnTo>
                      <a:pt x="85" y="937"/>
                    </a:lnTo>
                    <a:lnTo>
                      <a:pt x="129" y="946"/>
                    </a:lnTo>
                    <a:lnTo>
                      <a:pt x="156" y="936"/>
                    </a:lnTo>
                    <a:lnTo>
                      <a:pt x="204" y="987"/>
                    </a:lnTo>
                    <a:lnTo>
                      <a:pt x="219" y="1042"/>
                    </a:lnTo>
                    <a:lnTo>
                      <a:pt x="188" y="1091"/>
                    </a:lnTo>
                    <a:lnTo>
                      <a:pt x="180" y="1075"/>
                    </a:lnTo>
                    <a:lnTo>
                      <a:pt x="151" y="1116"/>
                    </a:lnTo>
                    <a:lnTo>
                      <a:pt x="224" y="1207"/>
                    </a:lnTo>
                    <a:lnTo>
                      <a:pt x="238" y="1209"/>
                    </a:lnTo>
                    <a:lnTo>
                      <a:pt x="238" y="1222"/>
                    </a:lnTo>
                    <a:lnTo>
                      <a:pt x="223" y="1223"/>
                    </a:lnTo>
                    <a:lnTo>
                      <a:pt x="218" y="1210"/>
                    </a:lnTo>
                    <a:lnTo>
                      <a:pt x="206" y="1219"/>
                    </a:lnTo>
                    <a:lnTo>
                      <a:pt x="213" y="1239"/>
                    </a:lnTo>
                    <a:lnTo>
                      <a:pt x="211" y="1265"/>
                    </a:lnTo>
                    <a:lnTo>
                      <a:pt x="226" y="1274"/>
                    </a:lnTo>
                    <a:lnTo>
                      <a:pt x="231" y="1272"/>
                    </a:lnTo>
                    <a:lnTo>
                      <a:pt x="252" y="1284"/>
                    </a:lnTo>
                    <a:lnTo>
                      <a:pt x="232" y="1298"/>
                    </a:lnTo>
                    <a:lnTo>
                      <a:pt x="223" y="1318"/>
                    </a:lnTo>
                    <a:lnTo>
                      <a:pt x="227" y="1345"/>
                    </a:lnTo>
                    <a:lnTo>
                      <a:pt x="266" y="1377"/>
                    </a:lnTo>
                    <a:lnTo>
                      <a:pt x="264" y="1427"/>
                    </a:lnTo>
                    <a:lnTo>
                      <a:pt x="427" y="1412"/>
                    </a:lnTo>
                    <a:lnTo>
                      <a:pt x="461" y="1293"/>
                    </a:lnTo>
                    <a:lnTo>
                      <a:pt x="510" y="1271"/>
                    </a:lnTo>
                    <a:lnTo>
                      <a:pt x="536" y="1283"/>
                    </a:lnTo>
                    <a:lnTo>
                      <a:pt x="571" y="1223"/>
                    </a:lnTo>
                    <a:lnTo>
                      <a:pt x="610" y="1242"/>
                    </a:lnTo>
                    <a:lnTo>
                      <a:pt x="654" y="1310"/>
                    </a:lnTo>
                    <a:lnTo>
                      <a:pt x="716" y="1336"/>
                    </a:lnTo>
                    <a:lnTo>
                      <a:pt x="721" y="1321"/>
                    </a:lnTo>
                    <a:lnTo>
                      <a:pt x="761" y="1334"/>
                    </a:lnTo>
                    <a:lnTo>
                      <a:pt x="772" y="1292"/>
                    </a:lnTo>
                    <a:lnTo>
                      <a:pt x="727" y="1226"/>
                    </a:lnTo>
                    <a:lnTo>
                      <a:pt x="716" y="1111"/>
                    </a:lnTo>
                    <a:lnTo>
                      <a:pt x="731" y="1090"/>
                    </a:lnTo>
                    <a:lnTo>
                      <a:pt x="683" y="1003"/>
                    </a:lnTo>
                    <a:lnTo>
                      <a:pt x="713" y="944"/>
                    </a:lnTo>
                    <a:lnTo>
                      <a:pt x="765" y="912"/>
                    </a:lnTo>
                    <a:lnTo>
                      <a:pt x="802" y="931"/>
                    </a:lnTo>
                    <a:lnTo>
                      <a:pt x="821" y="853"/>
                    </a:lnTo>
                    <a:lnTo>
                      <a:pt x="851" y="841"/>
                    </a:lnTo>
                    <a:lnTo>
                      <a:pt x="816" y="803"/>
                    </a:lnTo>
                    <a:lnTo>
                      <a:pt x="838" y="786"/>
                    </a:lnTo>
                    <a:lnTo>
                      <a:pt x="824" y="771"/>
                    </a:lnTo>
                    <a:lnTo>
                      <a:pt x="802" y="773"/>
                    </a:lnTo>
                    <a:lnTo>
                      <a:pt x="754" y="744"/>
                    </a:lnTo>
                    <a:lnTo>
                      <a:pt x="754" y="725"/>
                    </a:lnTo>
                    <a:lnTo>
                      <a:pt x="796" y="681"/>
                    </a:lnTo>
                    <a:lnTo>
                      <a:pt x="785" y="619"/>
                    </a:lnTo>
                    <a:lnTo>
                      <a:pt x="747" y="562"/>
                    </a:lnTo>
                    <a:lnTo>
                      <a:pt x="721" y="568"/>
                    </a:lnTo>
                    <a:lnTo>
                      <a:pt x="632" y="457"/>
                    </a:lnTo>
                    <a:lnTo>
                      <a:pt x="695" y="449"/>
                    </a:lnTo>
                    <a:lnTo>
                      <a:pt x="712" y="420"/>
                    </a:lnTo>
                    <a:lnTo>
                      <a:pt x="691" y="400"/>
                    </a:lnTo>
                    <a:lnTo>
                      <a:pt x="717" y="384"/>
                    </a:lnTo>
                    <a:lnTo>
                      <a:pt x="674" y="323"/>
                    </a:lnTo>
                    <a:lnTo>
                      <a:pt x="667" y="211"/>
                    </a:lnTo>
                    <a:lnTo>
                      <a:pt x="644" y="180"/>
                    </a:lnTo>
                    <a:lnTo>
                      <a:pt x="659" y="124"/>
                    </a:lnTo>
                    <a:lnTo>
                      <a:pt x="593" y="125"/>
                    </a:lnTo>
                    <a:lnTo>
                      <a:pt x="574" y="85"/>
                    </a:lnTo>
                    <a:lnTo>
                      <a:pt x="554" y="69"/>
                    </a:lnTo>
                    <a:lnTo>
                      <a:pt x="504" y="69"/>
                    </a:lnTo>
                    <a:lnTo>
                      <a:pt x="405" y="0"/>
                    </a:lnTo>
                    <a:lnTo>
                      <a:pt x="374" y="13"/>
                    </a:lnTo>
                    <a:lnTo>
                      <a:pt x="360" y="98"/>
                    </a:lnTo>
                    <a:lnTo>
                      <a:pt x="322" y="103"/>
                    </a:lnTo>
                    <a:lnTo>
                      <a:pt x="296" y="108"/>
                    </a:lnTo>
                    <a:lnTo>
                      <a:pt x="245" y="162"/>
                    </a:lnTo>
                    <a:lnTo>
                      <a:pt x="239" y="309"/>
                    </a:lnTo>
                    <a:lnTo>
                      <a:pt x="191" y="298"/>
                    </a:lnTo>
                    <a:lnTo>
                      <a:pt x="135" y="320"/>
                    </a:lnTo>
                    <a:lnTo>
                      <a:pt x="122" y="328"/>
                    </a:lnTo>
                    <a:lnTo>
                      <a:pt x="101" y="358"/>
                    </a:lnTo>
                    <a:lnTo>
                      <a:pt x="110" y="439"/>
                    </a:lnTo>
                    <a:lnTo>
                      <a:pt x="138" y="477"/>
                    </a:lnTo>
                    <a:lnTo>
                      <a:pt x="119" y="491"/>
                    </a:lnTo>
                    <a:lnTo>
                      <a:pt x="156" y="590"/>
                    </a:lnTo>
                    <a:lnTo>
                      <a:pt x="167" y="622"/>
                    </a:lnTo>
                    <a:lnTo>
                      <a:pt x="155" y="638"/>
                    </a:lnTo>
                    <a:lnTo>
                      <a:pt x="172" y="660"/>
                    </a:lnTo>
                    <a:lnTo>
                      <a:pt x="159" y="743"/>
                    </a:lnTo>
                    <a:lnTo>
                      <a:pt x="112" y="743"/>
                    </a:lnTo>
                    <a:lnTo>
                      <a:pt x="99" y="766"/>
                    </a:lnTo>
                    <a:lnTo>
                      <a:pt x="44" y="759"/>
                    </a:lnTo>
                    <a:lnTo>
                      <a:pt x="0" y="808"/>
                    </a:lnTo>
                    <a:close/>
                  </a:path>
                </a:pathLst>
              </a:custGeom>
              <a:grpFill/>
              <a:ln w="635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katta Sans Regular"/>
                  <a:ea typeface="+mn-ea"/>
                  <a:cs typeface="+mn-cs"/>
                </a:endParaRPr>
              </a:p>
            </p:txBody>
          </p:sp>
          <p:sp>
            <p:nvSpPr>
              <p:cNvPr id="315" name="Freeform 14">
                <a:extLst>
                  <a:ext uri="{FF2B5EF4-FFF2-40B4-BE49-F238E27FC236}">
                    <a16:creationId xmlns:a16="http://schemas.microsoft.com/office/drawing/2014/main" id="{7E0B7719-FC79-4276-8D2F-D65D393E30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59551" y="5013325"/>
                <a:ext cx="768350" cy="658813"/>
              </a:xfrm>
              <a:custGeom>
                <a:avLst/>
                <a:gdLst>
                  <a:gd name="T0" fmla="*/ 290 w 968"/>
                  <a:gd name="T1" fmla="*/ 831 h 831"/>
                  <a:gd name="T2" fmla="*/ 252 w 968"/>
                  <a:gd name="T3" fmla="*/ 812 h 831"/>
                  <a:gd name="T4" fmla="*/ 235 w 968"/>
                  <a:gd name="T5" fmla="*/ 770 h 831"/>
                  <a:gd name="T6" fmla="*/ 201 w 968"/>
                  <a:gd name="T7" fmla="*/ 765 h 831"/>
                  <a:gd name="T8" fmla="*/ 186 w 968"/>
                  <a:gd name="T9" fmla="*/ 735 h 831"/>
                  <a:gd name="T10" fmla="*/ 140 w 968"/>
                  <a:gd name="T11" fmla="*/ 735 h 831"/>
                  <a:gd name="T12" fmla="*/ 98 w 968"/>
                  <a:gd name="T13" fmla="*/ 713 h 831"/>
                  <a:gd name="T14" fmla="*/ 84 w 968"/>
                  <a:gd name="T15" fmla="*/ 687 h 831"/>
                  <a:gd name="T16" fmla="*/ 29 w 968"/>
                  <a:gd name="T17" fmla="*/ 672 h 831"/>
                  <a:gd name="T18" fmla="*/ 13 w 968"/>
                  <a:gd name="T19" fmla="*/ 645 h 831"/>
                  <a:gd name="T20" fmla="*/ 31 w 968"/>
                  <a:gd name="T21" fmla="*/ 634 h 831"/>
                  <a:gd name="T22" fmla="*/ 0 w 968"/>
                  <a:gd name="T23" fmla="*/ 597 h 831"/>
                  <a:gd name="T24" fmla="*/ 10 w 968"/>
                  <a:gd name="T25" fmla="*/ 560 h 831"/>
                  <a:gd name="T26" fmla="*/ 45 w 968"/>
                  <a:gd name="T27" fmla="*/ 547 h 831"/>
                  <a:gd name="T28" fmla="*/ 22 w 968"/>
                  <a:gd name="T29" fmla="*/ 499 h 831"/>
                  <a:gd name="T30" fmla="*/ 68 w 968"/>
                  <a:gd name="T31" fmla="*/ 487 h 831"/>
                  <a:gd name="T32" fmla="*/ 102 w 968"/>
                  <a:gd name="T33" fmla="*/ 428 h 831"/>
                  <a:gd name="T34" fmla="*/ 135 w 968"/>
                  <a:gd name="T35" fmla="*/ 425 h 831"/>
                  <a:gd name="T36" fmla="*/ 155 w 968"/>
                  <a:gd name="T37" fmla="*/ 385 h 831"/>
                  <a:gd name="T38" fmla="*/ 193 w 968"/>
                  <a:gd name="T39" fmla="*/ 386 h 831"/>
                  <a:gd name="T40" fmla="*/ 214 w 968"/>
                  <a:gd name="T41" fmla="*/ 359 h 831"/>
                  <a:gd name="T42" fmla="*/ 250 w 968"/>
                  <a:gd name="T43" fmla="*/ 367 h 831"/>
                  <a:gd name="T44" fmla="*/ 355 w 968"/>
                  <a:gd name="T45" fmla="*/ 358 h 831"/>
                  <a:gd name="T46" fmla="*/ 409 w 968"/>
                  <a:gd name="T47" fmla="*/ 292 h 831"/>
                  <a:gd name="T48" fmla="*/ 425 w 968"/>
                  <a:gd name="T49" fmla="*/ 251 h 831"/>
                  <a:gd name="T50" fmla="*/ 456 w 968"/>
                  <a:gd name="T51" fmla="*/ 275 h 831"/>
                  <a:gd name="T52" fmla="*/ 535 w 968"/>
                  <a:gd name="T53" fmla="*/ 274 h 831"/>
                  <a:gd name="T54" fmla="*/ 544 w 968"/>
                  <a:gd name="T55" fmla="*/ 238 h 831"/>
                  <a:gd name="T56" fmla="*/ 610 w 968"/>
                  <a:gd name="T57" fmla="*/ 241 h 831"/>
                  <a:gd name="T58" fmla="*/ 675 w 968"/>
                  <a:gd name="T59" fmla="*/ 220 h 831"/>
                  <a:gd name="T60" fmla="*/ 715 w 968"/>
                  <a:gd name="T61" fmla="*/ 153 h 831"/>
                  <a:gd name="T62" fmla="*/ 766 w 968"/>
                  <a:gd name="T63" fmla="*/ 135 h 831"/>
                  <a:gd name="T64" fmla="*/ 778 w 968"/>
                  <a:gd name="T65" fmla="*/ 102 h 831"/>
                  <a:gd name="T66" fmla="*/ 968 w 968"/>
                  <a:gd name="T67" fmla="*/ 0 h 831"/>
                  <a:gd name="T68" fmla="*/ 961 w 968"/>
                  <a:gd name="T69" fmla="*/ 6 h 831"/>
                  <a:gd name="T70" fmla="*/ 936 w 968"/>
                  <a:gd name="T71" fmla="*/ 78 h 831"/>
                  <a:gd name="T72" fmla="*/ 873 w 968"/>
                  <a:gd name="T73" fmla="*/ 136 h 831"/>
                  <a:gd name="T74" fmla="*/ 830 w 968"/>
                  <a:gd name="T75" fmla="*/ 226 h 831"/>
                  <a:gd name="T76" fmla="*/ 775 w 968"/>
                  <a:gd name="T77" fmla="*/ 264 h 831"/>
                  <a:gd name="T78" fmla="*/ 764 w 968"/>
                  <a:gd name="T79" fmla="*/ 302 h 831"/>
                  <a:gd name="T80" fmla="*/ 683 w 968"/>
                  <a:gd name="T81" fmla="*/ 437 h 831"/>
                  <a:gd name="T82" fmla="*/ 589 w 968"/>
                  <a:gd name="T83" fmla="*/ 502 h 831"/>
                  <a:gd name="T84" fmla="*/ 556 w 968"/>
                  <a:gd name="T85" fmla="*/ 517 h 831"/>
                  <a:gd name="T86" fmla="*/ 516 w 968"/>
                  <a:gd name="T87" fmla="*/ 585 h 831"/>
                  <a:gd name="T88" fmla="*/ 511 w 968"/>
                  <a:gd name="T89" fmla="*/ 630 h 831"/>
                  <a:gd name="T90" fmla="*/ 468 w 968"/>
                  <a:gd name="T91" fmla="*/ 641 h 831"/>
                  <a:gd name="T92" fmla="*/ 386 w 968"/>
                  <a:gd name="T93" fmla="*/ 712 h 831"/>
                  <a:gd name="T94" fmla="*/ 370 w 968"/>
                  <a:gd name="T95" fmla="*/ 754 h 831"/>
                  <a:gd name="T96" fmla="*/ 290 w 968"/>
                  <a:gd name="T97" fmla="*/ 831 h 8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968" h="831">
                    <a:moveTo>
                      <a:pt x="290" y="831"/>
                    </a:moveTo>
                    <a:lnTo>
                      <a:pt x="252" y="812"/>
                    </a:lnTo>
                    <a:lnTo>
                      <a:pt x="235" y="770"/>
                    </a:lnTo>
                    <a:lnTo>
                      <a:pt x="201" y="765"/>
                    </a:lnTo>
                    <a:lnTo>
                      <a:pt x="186" y="735"/>
                    </a:lnTo>
                    <a:lnTo>
                      <a:pt x="140" y="735"/>
                    </a:lnTo>
                    <a:lnTo>
                      <a:pt x="98" y="713"/>
                    </a:lnTo>
                    <a:lnTo>
                      <a:pt x="84" y="687"/>
                    </a:lnTo>
                    <a:lnTo>
                      <a:pt x="29" y="672"/>
                    </a:lnTo>
                    <a:lnTo>
                      <a:pt x="13" y="645"/>
                    </a:lnTo>
                    <a:lnTo>
                      <a:pt x="31" y="634"/>
                    </a:lnTo>
                    <a:lnTo>
                      <a:pt x="0" y="597"/>
                    </a:lnTo>
                    <a:lnTo>
                      <a:pt x="10" y="560"/>
                    </a:lnTo>
                    <a:lnTo>
                      <a:pt x="45" y="547"/>
                    </a:lnTo>
                    <a:lnTo>
                      <a:pt x="22" y="499"/>
                    </a:lnTo>
                    <a:lnTo>
                      <a:pt x="68" y="487"/>
                    </a:lnTo>
                    <a:lnTo>
                      <a:pt x="102" y="428"/>
                    </a:lnTo>
                    <a:lnTo>
                      <a:pt x="135" y="425"/>
                    </a:lnTo>
                    <a:lnTo>
                      <a:pt x="155" y="385"/>
                    </a:lnTo>
                    <a:lnTo>
                      <a:pt x="193" y="386"/>
                    </a:lnTo>
                    <a:lnTo>
                      <a:pt x="214" y="359"/>
                    </a:lnTo>
                    <a:lnTo>
                      <a:pt x="250" y="367"/>
                    </a:lnTo>
                    <a:lnTo>
                      <a:pt x="355" y="358"/>
                    </a:lnTo>
                    <a:lnTo>
                      <a:pt x="409" y="292"/>
                    </a:lnTo>
                    <a:lnTo>
                      <a:pt x="425" y="251"/>
                    </a:lnTo>
                    <a:lnTo>
                      <a:pt x="456" y="275"/>
                    </a:lnTo>
                    <a:lnTo>
                      <a:pt x="535" y="274"/>
                    </a:lnTo>
                    <a:lnTo>
                      <a:pt x="544" y="238"/>
                    </a:lnTo>
                    <a:lnTo>
                      <a:pt x="610" y="241"/>
                    </a:lnTo>
                    <a:lnTo>
                      <a:pt x="675" y="220"/>
                    </a:lnTo>
                    <a:lnTo>
                      <a:pt x="715" y="153"/>
                    </a:lnTo>
                    <a:lnTo>
                      <a:pt x="766" y="135"/>
                    </a:lnTo>
                    <a:lnTo>
                      <a:pt x="778" y="102"/>
                    </a:lnTo>
                    <a:lnTo>
                      <a:pt x="968" y="0"/>
                    </a:lnTo>
                    <a:lnTo>
                      <a:pt x="961" y="6"/>
                    </a:lnTo>
                    <a:lnTo>
                      <a:pt x="936" y="78"/>
                    </a:lnTo>
                    <a:lnTo>
                      <a:pt x="873" y="136"/>
                    </a:lnTo>
                    <a:lnTo>
                      <a:pt x="830" y="226"/>
                    </a:lnTo>
                    <a:lnTo>
                      <a:pt x="775" y="264"/>
                    </a:lnTo>
                    <a:lnTo>
                      <a:pt x="764" y="302"/>
                    </a:lnTo>
                    <a:lnTo>
                      <a:pt x="683" y="437"/>
                    </a:lnTo>
                    <a:lnTo>
                      <a:pt x="589" y="502"/>
                    </a:lnTo>
                    <a:lnTo>
                      <a:pt x="556" y="517"/>
                    </a:lnTo>
                    <a:lnTo>
                      <a:pt x="516" y="585"/>
                    </a:lnTo>
                    <a:lnTo>
                      <a:pt x="511" y="630"/>
                    </a:lnTo>
                    <a:lnTo>
                      <a:pt x="468" y="641"/>
                    </a:lnTo>
                    <a:lnTo>
                      <a:pt x="386" y="712"/>
                    </a:lnTo>
                    <a:lnTo>
                      <a:pt x="370" y="754"/>
                    </a:lnTo>
                    <a:lnTo>
                      <a:pt x="290" y="831"/>
                    </a:lnTo>
                    <a:close/>
                  </a:path>
                </a:pathLst>
              </a:custGeom>
              <a:grpFill/>
              <a:ln w="635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katta Sans Regular"/>
                  <a:ea typeface="+mn-ea"/>
                  <a:cs typeface="+mn-cs"/>
                </a:endParaRPr>
              </a:p>
            </p:txBody>
          </p:sp>
          <p:sp>
            <p:nvSpPr>
              <p:cNvPr id="316" name="Freeform 15">
                <a:extLst>
                  <a:ext uri="{FF2B5EF4-FFF2-40B4-BE49-F238E27FC236}">
                    <a16:creationId xmlns:a16="http://schemas.microsoft.com/office/drawing/2014/main" id="{C695F7CD-67E6-417C-8508-AE6331AAF3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7301" y="4621213"/>
                <a:ext cx="862013" cy="796925"/>
              </a:xfrm>
              <a:custGeom>
                <a:avLst/>
                <a:gdLst>
                  <a:gd name="T0" fmla="*/ 133 w 1087"/>
                  <a:gd name="T1" fmla="*/ 158 h 1004"/>
                  <a:gd name="T2" fmla="*/ 136 w 1087"/>
                  <a:gd name="T3" fmla="*/ 207 h 1004"/>
                  <a:gd name="T4" fmla="*/ 81 w 1087"/>
                  <a:gd name="T5" fmla="*/ 267 h 1004"/>
                  <a:gd name="T6" fmla="*/ 0 w 1087"/>
                  <a:gd name="T7" fmla="*/ 359 h 1004"/>
                  <a:gd name="T8" fmla="*/ 33 w 1087"/>
                  <a:gd name="T9" fmla="*/ 467 h 1004"/>
                  <a:gd name="T10" fmla="*/ 89 w 1087"/>
                  <a:gd name="T11" fmla="*/ 647 h 1004"/>
                  <a:gd name="T12" fmla="*/ 38 w 1087"/>
                  <a:gd name="T13" fmla="*/ 675 h 1004"/>
                  <a:gd name="T14" fmla="*/ 12 w 1087"/>
                  <a:gd name="T15" fmla="*/ 748 h 1004"/>
                  <a:gd name="T16" fmla="*/ 24 w 1087"/>
                  <a:gd name="T17" fmla="*/ 829 h 1004"/>
                  <a:gd name="T18" fmla="*/ 56 w 1087"/>
                  <a:gd name="T19" fmla="*/ 885 h 1004"/>
                  <a:gd name="T20" fmla="*/ 77 w 1087"/>
                  <a:gd name="T21" fmla="*/ 921 h 1004"/>
                  <a:gd name="T22" fmla="*/ 134 w 1087"/>
                  <a:gd name="T23" fmla="*/ 966 h 1004"/>
                  <a:gd name="T24" fmla="*/ 167 w 1087"/>
                  <a:gd name="T25" fmla="*/ 916 h 1004"/>
                  <a:gd name="T26" fmla="*/ 210 w 1087"/>
                  <a:gd name="T27" fmla="*/ 974 h 1004"/>
                  <a:gd name="T28" fmla="*/ 303 w 1087"/>
                  <a:gd name="T29" fmla="*/ 992 h 1004"/>
                  <a:gd name="T30" fmla="*/ 383 w 1087"/>
                  <a:gd name="T31" fmla="*/ 922 h 1004"/>
                  <a:gd name="T32" fmla="*/ 436 w 1087"/>
                  <a:gd name="T33" fmla="*/ 879 h 1004"/>
                  <a:gd name="T34" fmla="*/ 495 w 1087"/>
                  <a:gd name="T35" fmla="*/ 853 h 1004"/>
                  <a:gd name="T36" fmla="*/ 636 w 1087"/>
                  <a:gd name="T37" fmla="*/ 851 h 1004"/>
                  <a:gd name="T38" fmla="*/ 706 w 1087"/>
                  <a:gd name="T39" fmla="*/ 745 h 1004"/>
                  <a:gd name="T40" fmla="*/ 815 w 1087"/>
                  <a:gd name="T41" fmla="*/ 768 h 1004"/>
                  <a:gd name="T42" fmla="*/ 891 w 1087"/>
                  <a:gd name="T43" fmla="*/ 735 h 1004"/>
                  <a:gd name="T44" fmla="*/ 996 w 1087"/>
                  <a:gd name="T45" fmla="*/ 647 h 1004"/>
                  <a:gd name="T46" fmla="*/ 1059 w 1087"/>
                  <a:gd name="T47" fmla="*/ 595 h 1004"/>
                  <a:gd name="T48" fmla="*/ 1087 w 1087"/>
                  <a:gd name="T49" fmla="*/ 517 h 1004"/>
                  <a:gd name="T50" fmla="*/ 1077 w 1087"/>
                  <a:gd name="T51" fmla="*/ 450 h 1004"/>
                  <a:gd name="T52" fmla="*/ 1020 w 1087"/>
                  <a:gd name="T53" fmla="*/ 396 h 1004"/>
                  <a:gd name="T54" fmla="*/ 956 w 1087"/>
                  <a:gd name="T55" fmla="*/ 202 h 1004"/>
                  <a:gd name="T56" fmla="*/ 938 w 1087"/>
                  <a:gd name="T57" fmla="*/ 145 h 1004"/>
                  <a:gd name="T58" fmla="*/ 879 w 1087"/>
                  <a:gd name="T59" fmla="*/ 141 h 1004"/>
                  <a:gd name="T60" fmla="*/ 861 w 1087"/>
                  <a:gd name="T61" fmla="*/ 85 h 1004"/>
                  <a:gd name="T62" fmla="*/ 798 w 1087"/>
                  <a:gd name="T63" fmla="*/ 8 h 1004"/>
                  <a:gd name="T64" fmla="*/ 751 w 1087"/>
                  <a:gd name="T65" fmla="*/ 7 h 1004"/>
                  <a:gd name="T66" fmla="*/ 667 w 1087"/>
                  <a:gd name="T67" fmla="*/ 62 h 1004"/>
                  <a:gd name="T68" fmla="*/ 642 w 1087"/>
                  <a:gd name="T69" fmla="*/ 121 h 1004"/>
                  <a:gd name="T70" fmla="*/ 644 w 1087"/>
                  <a:gd name="T71" fmla="*/ 171 h 1004"/>
                  <a:gd name="T72" fmla="*/ 669 w 1087"/>
                  <a:gd name="T73" fmla="*/ 197 h 1004"/>
                  <a:gd name="T74" fmla="*/ 707 w 1087"/>
                  <a:gd name="T75" fmla="*/ 219 h 1004"/>
                  <a:gd name="T76" fmla="*/ 740 w 1087"/>
                  <a:gd name="T77" fmla="*/ 318 h 1004"/>
                  <a:gd name="T78" fmla="*/ 583 w 1087"/>
                  <a:gd name="T79" fmla="*/ 287 h 1004"/>
                  <a:gd name="T80" fmla="*/ 492 w 1087"/>
                  <a:gd name="T81" fmla="*/ 251 h 1004"/>
                  <a:gd name="T82" fmla="*/ 352 w 1087"/>
                  <a:gd name="T83" fmla="*/ 102 h 1004"/>
                  <a:gd name="T84" fmla="*/ 277 w 1087"/>
                  <a:gd name="T85" fmla="*/ 109 h 1004"/>
                  <a:gd name="T86" fmla="*/ 220 w 1087"/>
                  <a:gd name="T87" fmla="*/ 139 h 1004"/>
                  <a:gd name="T88" fmla="*/ 155 w 1087"/>
                  <a:gd name="T89" fmla="*/ 142 h 10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087" h="1004">
                    <a:moveTo>
                      <a:pt x="155" y="142"/>
                    </a:moveTo>
                    <a:lnTo>
                      <a:pt x="133" y="158"/>
                    </a:lnTo>
                    <a:lnTo>
                      <a:pt x="168" y="197"/>
                    </a:lnTo>
                    <a:lnTo>
                      <a:pt x="136" y="207"/>
                    </a:lnTo>
                    <a:lnTo>
                      <a:pt x="119" y="286"/>
                    </a:lnTo>
                    <a:lnTo>
                      <a:pt x="81" y="267"/>
                    </a:lnTo>
                    <a:lnTo>
                      <a:pt x="29" y="300"/>
                    </a:lnTo>
                    <a:lnTo>
                      <a:pt x="0" y="359"/>
                    </a:lnTo>
                    <a:lnTo>
                      <a:pt x="46" y="446"/>
                    </a:lnTo>
                    <a:lnTo>
                      <a:pt x="33" y="467"/>
                    </a:lnTo>
                    <a:lnTo>
                      <a:pt x="44" y="581"/>
                    </a:lnTo>
                    <a:lnTo>
                      <a:pt x="89" y="647"/>
                    </a:lnTo>
                    <a:lnTo>
                      <a:pt x="78" y="688"/>
                    </a:lnTo>
                    <a:lnTo>
                      <a:pt x="38" y="675"/>
                    </a:lnTo>
                    <a:lnTo>
                      <a:pt x="32" y="691"/>
                    </a:lnTo>
                    <a:lnTo>
                      <a:pt x="12" y="748"/>
                    </a:lnTo>
                    <a:lnTo>
                      <a:pt x="4" y="815"/>
                    </a:lnTo>
                    <a:lnTo>
                      <a:pt x="24" y="829"/>
                    </a:lnTo>
                    <a:lnTo>
                      <a:pt x="26" y="857"/>
                    </a:lnTo>
                    <a:lnTo>
                      <a:pt x="56" y="885"/>
                    </a:lnTo>
                    <a:lnTo>
                      <a:pt x="75" y="887"/>
                    </a:lnTo>
                    <a:lnTo>
                      <a:pt x="77" y="921"/>
                    </a:lnTo>
                    <a:lnTo>
                      <a:pt x="100" y="911"/>
                    </a:lnTo>
                    <a:lnTo>
                      <a:pt x="134" y="966"/>
                    </a:lnTo>
                    <a:lnTo>
                      <a:pt x="166" y="949"/>
                    </a:lnTo>
                    <a:lnTo>
                      <a:pt x="167" y="916"/>
                    </a:lnTo>
                    <a:lnTo>
                      <a:pt x="210" y="917"/>
                    </a:lnTo>
                    <a:lnTo>
                      <a:pt x="210" y="974"/>
                    </a:lnTo>
                    <a:lnTo>
                      <a:pt x="269" y="1004"/>
                    </a:lnTo>
                    <a:lnTo>
                      <a:pt x="303" y="992"/>
                    </a:lnTo>
                    <a:lnTo>
                      <a:pt x="349" y="981"/>
                    </a:lnTo>
                    <a:lnTo>
                      <a:pt x="383" y="922"/>
                    </a:lnTo>
                    <a:lnTo>
                      <a:pt x="416" y="919"/>
                    </a:lnTo>
                    <a:lnTo>
                      <a:pt x="436" y="879"/>
                    </a:lnTo>
                    <a:lnTo>
                      <a:pt x="474" y="880"/>
                    </a:lnTo>
                    <a:lnTo>
                      <a:pt x="495" y="853"/>
                    </a:lnTo>
                    <a:lnTo>
                      <a:pt x="531" y="860"/>
                    </a:lnTo>
                    <a:lnTo>
                      <a:pt x="636" y="851"/>
                    </a:lnTo>
                    <a:lnTo>
                      <a:pt x="689" y="784"/>
                    </a:lnTo>
                    <a:lnTo>
                      <a:pt x="706" y="745"/>
                    </a:lnTo>
                    <a:lnTo>
                      <a:pt x="735" y="768"/>
                    </a:lnTo>
                    <a:lnTo>
                      <a:pt x="815" y="768"/>
                    </a:lnTo>
                    <a:lnTo>
                      <a:pt x="825" y="731"/>
                    </a:lnTo>
                    <a:lnTo>
                      <a:pt x="891" y="735"/>
                    </a:lnTo>
                    <a:lnTo>
                      <a:pt x="956" y="713"/>
                    </a:lnTo>
                    <a:lnTo>
                      <a:pt x="996" y="647"/>
                    </a:lnTo>
                    <a:lnTo>
                      <a:pt x="1047" y="629"/>
                    </a:lnTo>
                    <a:lnTo>
                      <a:pt x="1059" y="595"/>
                    </a:lnTo>
                    <a:lnTo>
                      <a:pt x="1060" y="595"/>
                    </a:lnTo>
                    <a:lnTo>
                      <a:pt x="1087" y="517"/>
                    </a:lnTo>
                    <a:lnTo>
                      <a:pt x="1064" y="468"/>
                    </a:lnTo>
                    <a:lnTo>
                      <a:pt x="1077" y="450"/>
                    </a:lnTo>
                    <a:lnTo>
                      <a:pt x="1060" y="414"/>
                    </a:lnTo>
                    <a:lnTo>
                      <a:pt x="1020" y="396"/>
                    </a:lnTo>
                    <a:lnTo>
                      <a:pt x="996" y="267"/>
                    </a:lnTo>
                    <a:lnTo>
                      <a:pt x="956" y="202"/>
                    </a:lnTo>
                    <a:lnTo>
                      <a:pt x="956" y="166"/>
                    </a:lnTo>
                    <a:lnTo>
                      <a:pt x="938" y="145"/>
                    </a:lnTo>
                    <a:lnTo>
                      <a:pt x="908" y="162"/>
                    </a:lnTo>
                    <a:lnTo>
                      <a:pt x="879" y="141"/>
                    </a:lnTo>
                    <a:lnTo>
                      <a:pt x="892" y="110"/>
                    </a:lnTo>
                    <a:lnTo>
                      <a:pt x="861" y="85"/>
                    </a:lnTo>
                    <a:lnTo>
                      <a:pt x="857" y="63"/>
                    </a:lnTo>
                    <a:lnTo>
                      <a:pt x="798" y="8"/>
                    </a:lnTo>
                    <a:lnTo>
                      <a:pt x="772" y="0"/>
                    </a:lnTo>
                    <a:lnTo>
                      <a:pt x="751" y="7"/>
                    </a:lnTo>
                    <a:lnTo>
                      <a:pt x="695" y="62"/>
                    </a:lnTo>
                    <a:lnTo>
                      <a:pt x="667" y="62"/>
                    </a:lnTo>
                    <a:lnTo>
                      <a:pt x="667" y="123"/>
                    </a:lnTo>
                    <a:lnTo>
                      <a:pt x="642" y="121"/>
                    </a:lnTo>
                    <a:lnTo>
                      <a:pt x="622" y="153"/>
                    </a:lnTo>
                    <a:lnTo>
                      <a:pt x="644" y="171"/>
                    </a:lnTo>
                    <a:lnTo>
                      <a:pt x="631" y="198"/>
                    </a:lnTo>
                    <a:lnTo>
                      <a:pt x="669" y="197"/>
                    </a:lnTo>
                    <a:lnTo>
                      <a:pt x="672" y="229"/>
                    </a:lnTo>
                    <a:lnTo>
                      <a:pt x="707" y="219"/>
                    </a:lnTo>
                    <a:lnTo>
                      <a:pt x="756" y="281"/>
                    </a:lnTo>
                    <a:lnTo>
                      <a:pt x="740" y="318"/>
                    </a:lnTo>
                    <a:lnTo>
                      <a:pt x="643" y="280"/>
                    </a:lnTo>
                    <a:lnTo>
                      <a:pt x="583" y="287"/>
                    </a:lnTo>
                    <a:lnTo>
                      <a:pt x="545" y="255"/>
                    </a:lnTo>
                    <a:lnTo>
                      <a:pt x="492" y="251"/>
                    </a:lnTo>
                    <a:lnTo>
                      <a:pt x="460" y="197"/>
                    </a:lnTo>
                    <a:lnTo>
                      <a:pt x="352" y="102"/>
                    </a:lnTo>
                    <a:lnTo>
                      <a:pt x="300" y="138"/>
                    </a:lnTo>
                    <a:lnTo>
                      <a:pt x="277" y="109"/>
                    </a:lnTo>
                    <a:lnTo>
                      <a:pt x="232" y="121"/>
                    </a:lnTo>
                    <a:lnTo>
                      <a:pt x="220" y="139"/>
                    </a:lnTo>
                    <a:lnTo>
                      <a:pt x="188" y="125"/>
                    </a:lnTo>
                    <a:lnTo>
                      <a:pt x="155" y="142"/>
                    </a:lnTo>
                    <a:close/>
                  </a:path>
                </a:pathLst>
              </a:custGeom>
              <a:grpFill/>
              <a:ln w="635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katta Sans Regular"/>
                  <a:ea typeface="+mn-ea"/>
                  <a:cs typeface="+mn-cs"/>
                </a:endParaRPr>
              </a:p>
            </p:txBody>
          </p:sp>
          <p:sp>
            <p:nvSpPr>
              <p:cNvPr id="317" name="Freeform 16">
                <a:extLst>
                  <a:ext uri="{FF2B5EF4-FFF2-40B4-BE49-F238E27FC236}">
                    <a16:creationId xmlns:a16="http://schemas.microsoft.com/office/drawing/2014/main" id="{10C0B5A3-54B2-4B14-BCA4-B584EF35E0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9251" y="5580063"/>
                <a:ext cx="982663" cy="512763"/>
              </a:xfrm>
              <a:custGeom>
                <a:avLst/>
                <a:gdLst>
                  <a:gd name="T0" fmla="*/ 360 w 1238"/>
                  <a:gd name="T1" fmla="*/ 532 h 647"/>
                  <a:gd name="T2" fmla="*/ 370 w 1238"/>
                  <a:gd name="T3" fmla="*/ 555 h 647"/>
                  <a:gd name="T4" fmla="*/ 820 w 1238"/>
                  <a:gd name="T5" fmla="*/ 395 h 647"/>
                  <a:gd name="T6" fmla="*/ 862 w 1238"/>
                  <a:gd name="T7" fmla="*/ 390 h 647"/>
                  <a:gd name="T8" fmla="*/ 883 w 1238"/>
                  <a:gd name="T9" fmla="*/ 422 h 647"/>
                  <a:gd name="T10" fmla="*/ 886 w 1238"/>
                  <a:gd name="T11" fmla="*/ 430 h 647"/>
                  <a:gd name="T12" fmla="*/ 925 w 1238"/>
                  <a:gd name="T13" fmla="*/ 350 h 647"/>
                  <a:gd name="T14" fmla="*/ 938 w 1238"/>
                  <a:gd name="T15" fmla="*/ 408 h 647"/>
                  <a:gd name="T16" fmla="*/ 917 w 1238"/>
                  <a:gd name="T17" fmla="*/ 390 h 647"/>
                  <a:gd name="T18" fmla="*/ 1012 w 1238"/>
                  <a:gd name="T19" fmla="*/ 391 h 647"/>
                  <a:gd name="T20" fmla="*/ 992 w 1238"/>
                  <a:gd name="T21" fmla="*/ 423 h 647"/>
                  <a:gd name="T22" fmla="*/ 1102 w 1238"/>
                  <a:gd name="T23" fmla="*/ 378 h 647"/>
                  <a:gd name="T24" fmla="*/ 1112 w 1238"/>
                  <a:gd name="T25" fmla="*/ 327 h 647"/>
                  <a:gd name="T26" fmla="*/ 1110 w 1238"/>
                  <a:gd name="T27" fmla="*/ 348 h 647"/>
                  <a:gd name="T28" fmla="*/ 1226 w 1238"/>
                  <a:gd name="T29" fmla="*/ 315 h 647"/>
                  <a:gd name="T30" fmla="*/ 906 w 1238"/>
                  <a:gd name="T31" fmla="*/ 80 h 647"/>
                  <a:gd name="T32" fmla="*/ 1028 w 1238"/>
                  <a:gd name="T33" fmla="*/ 62 h 647"/>
                  <a:gd name="T34" fmla="*/ 1127 w 1238"/>
                  <a:gd name="T35" fmla="*/ 91 h 647"/>
                  <a:gd name="T36" fmla="*/ 1201 w 1238"/>
                  <a:gd name="T37" fmla="*/ 121 h 647"/>
                  <a:gd name="T38" fmla="*/ 1200 w 1238"/>
                  <a:gd name="T39" fmla="*/ 242 h 647"/>
                  <a:gd name="T40" fmla="*/ 1162 w 1238"/>
                  <a:gd name="T41" fmla="*/ 314 h 647"/>
                  <a:gd name="T42" fmla="*/ 1109 w 1238"/>
                  <a:gd name="T43" fmla="*/ 319 h 647"/>
                  <a:gd name="T44" fmla="*/ 1039 w 1238"/>
                  <a:gd name="T45" fmla="*/ 256 h 647"/>
                  <a:gd name="T46" fmla="*/ 1073 w 1238"/>
                  <a:gd name="T47" fmla="*/ 346 h 647"/>
                  <a:gd name="T48" fmla="*/ 1038 w 1238"/>
                  <a:gd name="T49" fmla="*/ 373 h 647"/>
                  <a:gd name="T50" fmla="*/ 1012 w 1238"/>
                  <a:gd name="T51" fmla="*/ 388 h 647"/>
                  <a:gd name="T52" fmla="*/ 942 w 1238"/>
                  <a:gd name="T53" fmla="*/ 358 h 647"/>
                  <a:gd name="T54" fmla="*/ 885 w 1238"/>
                  <a:gd name="T55" fmla="*/ 375 h 647"/>
                  <a:gd name="T56" fmla="*/ 788 w 1238"/>
                  <a:gd name="T57" fmla="*/ 402 h 647"/>
                  <a:gd name="T58" fmla="*/ 730 w 1238"/>
                  <a:gd name="T59" fmla="*/ 463 h 647"/>
                  <a:gd name="T60" fmla="*/ 664 w 1238"/>
                  <a:gd name="T61" fmla="*/ 440 h 647"/>
                  <a:gd name="T62" fmla="*/ 591 w 1238"/>
                  <a:gd name="T63" fmla="*/ 481 h 647"/>
                  <a:gd name="T64" fmla="*/ 523 w 1238"/>
                  <a:gd name="T65" fmla="*/ 514 h 647"/>
                  <a:gd name="T66" fmla="*/ 454 w 1238"/>
                  <a:gd name="T67" fmla="*/ 512 h 647"/>
                  <a:gd name="T68" fmla="*/ 279 w 1238"/>
                  <a:gd name="T69" fmla="*/ 570 h 647"/>
                  <a:gd name="T70" fmla="*/ 188 w 1238"/>
                  <a:gd name="T71" fmla="*/ 570 h 647"/>
                  <a:gd name="T72" fmla="*/ 113 w 1238"/>
                  <a:gd name="T73" fmla="*/ 629 h 647"/>
                  <a:gd name="T74" fmla="*/ 15 w 1238"/>
                  <a:gd name="T75" fmla="*/ 613 h 647"/>
                  <a:gd name="T76" fmla="*/ 81 w 1238"/>
                  <a:gd name="T77" fmla="*/ 521 h 647"/>
                  <a:gd name="T78" fmla="*/ 21 w 1238"/>
                  <a:gd name="T79" fmla="*/ 568 h 647"/>
                  <a:gd name="T80" fmla="*/ 48 w 1238"/>
                  <a:gd name="T81" fmla="*/ 524 h 647"/>
                  <a:gd name="T82" fmla="*/ 171 w 1238"/>
                  <a:gd name="T83" fmla="*/ 422 h 647"/>
                  <a:gd name="T84" fmla="*/ 294 w 1238"/>
                  <a:gd name="T85" fmla="*/ 325 h 647"/>
                  <a:gd name="T86" fmla="*/ 293 w 1238"/>
                  <a:gd name="T87" fmla="*/ 231 h 647"/>
                  <a:gd name="T88" fmla="*/ 357 w 1238"/>
                  <a:gd name="T89" fmla="*/ 122 h 647"/>
                  <a:gd name="T90" fmla="*/ 499 w 1238"/>
                  <a:gd name="T91" fmla="*/ 133 h 647"/>
                  <a:gd name="T92" fmla="*/ 585 w 1238"/>
                  <a:gd name="T93" fmla="*/ 125 h 647"/>
                  <a:gd name="T94" fmla="*/ 724 w 1238"/>
                  <a:gd name="T95" fmla="*/ 90 h 647"/>
                  <a:gd name="T96" fmla="*/ 773 w 1238"/>
                  <a:gd name="T97" fmla="*/ 49 h 647"/>
                  <a:gd name="T98" fmla="*/ 771 w 1238"/>
                  <a:gd name="T99" fmla="*/ 9 h 647"/>
                  <a:gd name="T100" fmla="*/ 889 w 1238"/>
                  <a:gd name="T101" fmla="*/ 27 h 647"/>
                  <a:gd name="T102" fmla="*/ 172 w 1238"/>
                  <a:gd name="T103" fmla="*/ 619 h 647"/>
                  <a:gd name="T104" fmla="*/ 211 w 1238"/>
                  <a:gd name="T105" fmla="*/ 597 h 6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238" h="647">
                    <a:moveTo>
                      <a:pt x="351" y="571"/>
                    </a:moveTo>
                    <a:lnTo>
                      <a:pt x="333" y="562"/>
                    </a:lnTo>
                    <a:lnTo>
                      <a:pt x="345" y="542"/>
                    </a:lnTo>
                    <a:lnTo>
                      <a:pt x="360" y="532"/>
                    </a:lnTo>
                    <a:lnTo>
                      <a:pt x="373" y="532"/>
                    </a:lnTo>
                    <a:lnTo>
                      <a:pt x="381" y="536"/>
                    </a:lnTo>
                    <a:lnTo>
                      <a:pt x="392" y="536"/>
                    </a:lnTo>
                    <a:lnTo>
                      <a:pt x="370" y="555"/>
                    </a:lnTo>
                    <a:lnTo>
                      <a:pt x="351" y="571"/>
                    </a:lnTo>
                    <a:close/>
                    <a:moveTo>
                      <a:pt x="829" y="409"/>
                    </a:moveTo>
                    <a:lnTo>
                      <a:pt x="825" y="401"/>
                    </a:lnTo>
                    <a:lnTo>
                      <a:pt x="820" y="395"/>
                    </a:lnTo>
                    <a:lnTo>
                      <a:pt x="829" y="386"/>
                    </a:lnTo>
                    <a:lnTo>
                      <a:pt x="844" y="386"/>
                    </a:lnTo>
                    <a:lnTo>
                      <a:pt x="851" y="389"/>
                    </a:lnTo>
                    <a:lnTo>
                      <a:pt x="862" y="390"/>
                    </a:lnTo>
                    <a:lnTo>
                      <a:pt x="858" y="399"/>
                    </a:lnTo>
                    <a:lnTo>
                      <a:pt x="851" y="408"/>
                    </a:lnTo>
                    <a:lnTo>
                      <a:pt x="829" y="409"/>
                    </a:lnTo>
                    <a:close/>
                    <a:moveTo>
                      <a:pt x="883" y="422"/>
                    </a:moveTo>
                    <a:lnTo>
                      <a:pt x="883" y="403"/>
                    </a:lnTo>
                    <a:lnTo>
                      <a:pt x="896" y="391"/>
                    </a:lnTo>
                    <a:lnTo>
                      <a:pt x="899" y="428"/>
                    </a:lnTo>
                    <a:lnTo>
                      <a:pt x="886" y="430"/>
                    </a:lnTo>
                    <a:lnTo>
                      <a:pt x="883" y="422"/>
                    </a:lnTo>
                    <a:close/>
                    <a:moveTo>
                      <a:pt x="917" y="390"/>
                    </a:moveTo>
                    <a:lnTo>
                      <a:pt x="916" y="353"/>
                    </a:lnTo>
                    <a:lnTo>
                      <a:pt x="925" y="350"/>
                    </a:lnTo>
                    <a:lnTo>
                      <a:pt x="930" y="373"/>
                    </a:lnTo>
                    <a:lnTo>
                      <a:pt x="942" y="388"/>
                    </a:lnTo>
                    <a:lnTo>
                      <a:pt x="942" y="404"/>
                    </a:lnTo>
                    <a:lnTo>
                      <a:pt x="938" y="408"/>
                    </a:lnTo>
                    <a:lnTo>
                      <a:pt x="938" y="415"/>
                    </a:lnTo>
                    <a:lnTo>
                      <a:pt x="928" y="427"/>
                    </a:lnTo>
                    <a:lnTo>
                      <a:pt x="918" y="418"/>
                    </a:lnTo>
                    <a:lnTo>
                      <a:pt x="917" y="390"/>
                    </a:lnTo>
                    <a:close/>
                    <a:moveTo>
                      <a:pt x="990" y="414"/>
                    </a:moveTo>
                    <a:lnTo>
                      <a:pt x="993" y="401"/>
                    </a:lnTo>
                    <a:lnTo>
                      <a:pt x="1005" y="397"/>
                    </a:lnTo>
                    <a:lnTo>
                      <a:pt x="1012" y="391"/>
                    </a:lnTo>
                    <a:lnTo>
                      <a:pt x="1026" y="402"/>
                    </a:lnTo>
                    <a:lnTo>
                      <a:pt x="1032" y="414"/>
                    </a:lnTo>
                    <a:lnTo>
                      <a:pt x="1019" y="428"/>
                    </a:lnTo>
                    <a:lnTo>
                      <a:pt x="992" y="423"/>
                    </a:lnTo>
                    <a:lnTo>
                      <a:pt x="990" y="414"/>
                    </a:lnTo>
                    <a:close/>
                    <a:moveTo>
                      <a:pt x="1069" y="369"/>
                    </a:moveTo>
                    <a:lnTo>
                      <a:pt x="1097" y="356"/>
                    </a:lnTo>
                    <a:lnTo>
                      <a:pt x="1102" y="378"/>
                    </a:lnTo>
                    <a:lnTo>
                      <a:pt x="1083" y="383"/>
                    </a:lnTo>
                    <a:lnTo>
                      <a:pt x="1069" y="369"/>
                    </a:lnTo>
                    <a:close/>
                    <a:moveTo>
                      <a:pt x="1108" y="343"/>
                    </a:moveTo>
                    <a:lnTo>
                      <a:pt x="1112" y="327"/>
                    </a:lnTo>
                    <a:lnTo>
                      <a:pt x="1127" y="327"/>
                    </a:lnTo>
                    <a:lnTo>
                      <a:pt x="1136" y="350"/>
                    </a:lnTo>
                    <a:lnTo>
                      <a:pt x="1124" y="357"/>
                    </a:lnTo>
                    <a:lnTo>
                      <a:pt x="1110" y="348"/>
                    </a:lnTo>
                    <a:lnTo>
                      <a:pt x="1108" y="343"/>
                    </a:lnTo>
                    <a:close/>
                    <a:moveTo>
                      <a:pt x="1185" y="311"/>
                    </a:moveTo>
                    <a:lnTo>
                      <a:pt x="1193" y="299"/>
                    </a:lnTo>
                    <a:lnTo>
                      <a:pt x="1226" y="315"/>
                    </a:lnTo>
                    <a:lnTo>
                      <a:pt x="1226" y="330"/>
                    </a:lnTo>
                    <a:lnTo>
                      <a:pt x="1193" y="325"/>
                    </a:lnTo>
                    <a:lnTo>
                      <a:pt x="1185" y="311"/>
                    </a:lnTo>
                    <a:close/>
                    <a:moveTo>
                      <a:pt x="906" y="80"/>
                    </a:moveTo>
                    <a:lnTo>
                      <a:pt x="922" y="97"/>
                    </a:lnTo>
                    <a:lnTo>
                      <a:pt x="982" y="80"/>
                    </a:lnTo>
                    <a:lnTo>
                      <a:pt x="1000" y="82"/>
                    </a:lnTo>
                    <a:lnTo>
                      <a:pt x="1028" y="62"/>
                    </a:lnTo>
                    <a:lnTo>
                      <a:pt x="1029" y="91"/>
                    </a:lnTo>
                    <a:lnTo>
                      <a:pt x="1072" y="82"/>
                    </a:lnTo>
                    <a:lnTo>
                      <a:pt x="1099" y="107"/>
                    </a:lnTo>
                    <a:lnTo>
                      <a:pt x="1127" y="91"/>
                    </a:lnTo>
                    <a:lnTo>
                      <a:pt x="1130" y="62"/>
                    </a:lnTo>
                    <a:lnTo>
                      <a:pt x="1164" y="77"/>
                    </a:lnTo>
                    <a:lnTo>
                      <a:pt x="1173" y="116"/>
                    </a:lnTo>
                    <a:lnTo>
                      <a:pt x="1201" y="121"/>
                    </a:lnTo>
                    <a:lnTo>
                      <a:pt x="1213" y="159"/>
                    </a:lnTo>
                    <a:lnTo>
                      <a:pt x="1233" y="163"/>
                    </a:lnTo>
                    <a:lnTo>
                      <a:pt x="1238" y="170"/>
                    </a:lnTo>
                    <a:lnTo>
                      <a:pt x="1200" y="242"/>
                    </a:lnTo>
                    <a:lnTo>
                      <a:pt x="1207" y="267"/>
                    </a:lnTo>
                    <a:lnTo>
                      <a:pt x="1179" y="292"/>
                    </a:lnTo>
                    <a:lnTo>
                      <a:pt x="1163" y="292"/>
                    </a:lnTo>
                    <a:lnTo>
                      <a:pt x="1162" y="314"/>
                    </a:lnTo>
                    <a:lnTo>
                      <a:pt x="1143" y="290"/>
                    </a:lnTo>
                    <a:lnTo>
                      <a:pt x="1114" y="290"/>
                    </a:lnTo>
                    <a:lnTo>
                      <a:pt x="1122" y="318"/>
                    </a:lnTo>
                    <a:lnTo>
                      <a:pt x="1109" y="319"/>
                    </a:lnTo>
                    <a:lnTo>
                      <a:pt x="1098" y="294"/>
                    </a:lnTo>
                    <a:lnTo>
                      <a:pt x="1076" y="270"/>
                    </a:lnTo>
                    <a:lnTo>
                      <a:pt x="1042" y="240"/>
                    </a:lnTo>
                    <a:lnTo>
                      <a:pt x="1039" y="256"/>
                    </a:lnTo>
                    <a:lnTo>
                      <a:pt x="1059" y="283"/>
                    </a:lnTo>
                    <a:lnTo>
                      <a:pt x="1065" y="306"/>
                    </a:lnTo>
                    <a:lnTo>
                      <a:pt x="1085" y="341"/>
                    </a:lnTo>
                    <a:lnTo>
                      <a:pt x="1073" y="346"/>
                    </a:lnTo>
                    <a:lnTo>
                      <a:pt x="1057" y="339"/>
                    </a:lnTo>
                    <a:lnTo>
                      <a:pt x="1046" y="343"/>
                    </a:lnTo>
                    <a:lnTo>
                      <a:pt x="1048" y="369"/>
                    </a:lnTo>
                    <a:lnTo>
                      <a:pt x="1038" y="373"/>
                    </a:lnTo>
                    <a:lnTo>
                      <a:pt x="1020" y="337"/>
                    </a:lnTo>
                    <a:lnTo>
                      <a:pt x="1012" y="344"/>
                    </a:lnTo>
                    <a:lnTo>
                      <a:pt x="1021" y="376"/>
                    </a:lnTo>
                    <a:lnTo>
                      <a:pt x="1012" y="388"/>
                    </a:lnTo>
                    <a:lnTo>
                      <a:pt x="995" y="376"/>
                    </a:lnTo>
                    <a:lnTo>
                      <a:pt x="979" y="394"/>
                    </a:lnTo>
                    <a:lnTo>
                      <a:pt x="968" y="391"/>
                    </a:lnTo>
                    <a:lnTo>
                      <a:pt x="942" y="358"/>
                    </a:lnTo>
                    <a:lnTo>
                      <a:pt x="934" y="327"/>
                    </a:lnTo>
                    <a:lnTo>
                      <a:pt x="899" y="331"/>
                    </a:lnTo>
                    <a:lnTo>
                      <a:pt x="898" y="359"/>
                    </a:lnTo>
                    <a:lnTo>
                      <a:pt x="885" y="375"/>
                    </a:lnTo>
                    <a:lnTo>
                      <a:pt x="834" y="376"/>
                    </a:lnTo>
                    <a:lnTo>
                      <a:pt x="804" y="384"/>
                    </a:lnTo>
                    <a:lnTo>
                      <a:pt x="793" y="388"/>
                    </a:lnTo>
                    <a:lnTo>
                      <a:pt x="788" y="402"/>
                    </a:lnTo>
                    <a:lnTo>
                      <a:pt x="771" y="424"/>
                    </a:lnTo>
                    <a:lnTo>
                      <a:pt x="749" y="417"/>
                    </a:lnTo>
                    <a:lnTo>
                      <a:pt x="752" y="444"/>
                    </a:lnTo>
                    <a:lnTo>
                      <a:pt x="730" y="463"/>
                    </a:lnTo>
                    <a:lnTo>
                      <a:pt x="725" y="439"/>
                    </a:lnTo>
                    <a:lnTo>
                      <a:pt x="714" y="455"/>
                    </a:lnTo>
                    <a:lnTo>
                      <a:pt x="685" y="454"/>
                    </a:lnTo>
                    <a:lnTo>
                      <a:pt x="664" y="440"/>
                    </a:lnTo>
                    <a:lnTo>
                      <a:pt x="607" y="460"/>
                    </a:lnTo>
                    <a:lnTo>
                      <a:pt x="595" y="449"/>
                    </a:lnTo>
                    <a:lnTo>
                      <a:pt x="591" y="460"/>
                    </a:lnTo>
                    <a:lnTo>
                      <a:pt x="591" y="481"/>
                    </a:lnTo>
                    <a:lnTo>
                      <a:pt x="529" y="559"/>
                    </a:lnTo>
                    <a:lnTo>
                      <a:pt x="508" y="557"/>
                    </a:lnTo>
                    <a:lnTo>
                      <a:pt x="536" y="521"/>
                    </a:lnTo>
                    <a:lnTo>
                      <a:pt x="523" y="514"/>
                    </a:lnTo>
                    <a:lnTo>
                      <a:pt x="508" y="527"/>
                    </a:lnTo>
                    <a:lnTo>
                      <a:pt x="498" y="527"/>
                    </a:lnTo>
                    <a:lnTo>
                      <a:pt x="500" y="486"/>
                    </a:lnTo>
                    <a:lnTo>
                      <a:pt x="454" y="512"/>
                    </a:lnTo>
                    <a:lnTo>
                      <a:pt x="389" y="513"/>
                    </a:lnTo>
                    <a:lnTo>
                      <a:pt x="311" y="546"/>
                    </a:lnTo>
                    <a:lnTo>
                      <a:pt x="273" y="550"/>
                    </a:lnTo>
                    <a:lnTo>
                      <a:pt x="279" y="570"/>
                    </a:lnTo>
                    <a:lnTo>
                      <a:pt x="265" y="581"/>
                    </a:lnTo>
                    <a:lnTo>
                      <a:pt x="238" y="575"/>
                    </a:lnTo>
                    <a:lnTo>
                      <a:pt x="204" y="582"/>
                    </a:lnTo>
                    <a:lnTo>
                      <a:pt x="188" y="570"/>
                    </a:lnTo>
                    <a:lnTo>
                      <a:pt x="161" y="566"/>
                    </a:lnTo>
                    <a:lnTo>
                      <a:pt x="140" y="590"/>
                    </a:lnTo>
                    <a:lnTo>
                      <a:pt x="140" y="606"/>
                    </a:lnTo>
                    <a:lnTo>
                      <a:pt x="113" y="629"/>
                    </a:lnTo>
                    <a:lnTo>
                      <a:pt x="60" y="629"/>
                    </a:lnTo>
                    <a:lnTo>
                      <a:pt x="16" y="647"/>
                    </a:lnTo>
                    <a:lnTo>
                      <a:pt x="2" y="628"/>
                    </a:lnTo>
                    <a:lnTo>
                      <a:pt x="15" y="613"/>
                    </a:lnTo>
                    <a:lnTo>
                      <a:pt x="74" y="593"/>
                    </a:lnTo>
                    <a:lnTo>
                      <a:pt x="86" y="578"/>
                    </a:lnTo>
                    <a:lnTo>
                      <a:pt x="92" y="537"/>
                    </a:lnTo>
                    <a:lnTo>
                      <a:pt x="81" y="521"/>
                    </a:lnTo>
                    <a:lnTo>
                      <a:pt x="69" y="531"/>
                    </a:lnTo>
                    <a:lnTo>
                      <a:pt x="68" y="564"/>
                    </a:lnTo>
                    <a:lnTo>
                      <a:pt x="58" y="575"/>
                    </a:lnTo>
                    <a:lnTo>
                      <a:pt x="21" y="568"/>
                    </a:lnTo>
                    <a:lnTo>
                      <a:pt x="0" y="540"/>
                    </a:lnTo>
                    <a:lnTo>
                      <a:pt x="5" y="516"/>
                    </a:lnTo>
                    <a:lnTo>
                      <a:pt x="29" y="514"/>
                    </a:lnTo>
                    <a:lnTo>
                      <a:pt x="48" y="524"/>
                    </a:lnTo>
                    <a:lnTo>
                      <a:pt x="57" y="449"/>
                    </a:lnTo>
                    <a:lnTo>
                      <a:pt x="111" y="448"/>
                    </a:lnTo>
                    <a:lnTo>
                      <a:pt x="150" y="407"/>
                    </a:lnTo>
                    <a:lnTo>
                      <a:pt x="171" y="422"/>
                    </a:lnTo>
                    <a:lnTo>
                      <a:pt x="231" y="392"/>
                    </a:lnTo>
                    <a:lnTo>
                      <a:pt x="266" y="408"/>
                    </a:lnTo>
                    <a:lnTo>
                      <a:pt x="263" y="335"/>
                    </a:lnTo>
                    <a:lnTo>
                      <a:pt x="294" y="325"/>
                    </a:lnTo>
                    <a:lnTo>
                      <a:pt x="301" y="282"/>
                    </a:lnTo>
                    <a:lnTo>
                      <a:pt x="321" y="281"/>
                    </a:lnTo>
                    <a:lnTo>
                      <a:pt x="315" y="240"/>
                    </a:lnTo>
                    <a:lnTo>
                      <a:pt x="293" y="231"/>
                    </a:lnTo>
                    <a:lnTo>
                      <a:pt x="296" y="202"/>
                    </a:lnTo>
                    <a:lnTo>
                      <a:pt x="345" y="195"/>
                    </a:lnTo>
                    <a:lnTo>
                      <a:pt x="369" y="142"/>
                    </a:lnTo>
                    <a:lnTo>
                      <a:pt x="357" y="122"/>
                    </a:lnTo>
                    <a:lnTo>
                      <a:pt x="368" y="107"/>
                    </a:lnTo>
                    <a:lnTo>
                      <a:pt x="465" y="125"/>
                    </a:lnTo>
                    <a:lnTo>
                      <a:pt x="476" y="151"/>
                    </a:lnTo>
                    <a:lnTo>
                      <a:pt x="499" y="133"/>
                    </a:lnTo>
                    <a:lnTo>
                      <a:pt x="523" y="145"/>
                    </a:lnTo>
                    <a:lnTo>
                      <a:pt x="529" y="166"/>
                    </a:lnTo>
                    <a:lnTo>
                      <a:pt x="588" y="154"/>
                    </a:lnTo>
                    <a:lnTo>
                      <a:pt x="585" y="125"/>
                    </a:lnTo>
                    <a:lnTo>
                      <a:pt x="602" y="102"/>
                    </a:lnTo>
                    <a:lnTo>
                      <a:pt x="640" y="107"/>
                    </a:lnTo>
                    <a:lnTo>
                      <a:pt x="703" y="99"/>
                    </a:lnTo>
                    <a:lnTo>
                      <a:pt x="724" y="90"/>
                    </a:lnTo>
                    <a:lnTo>
                      <a:pt x="767" y="102"/>
                    </a:lnTo>
                    <a:lnTo>
                      <a:pt x="763" y="83"/>
                    </a:lnTo>
                    <a:lnTo>
                      <a:pt x="791" y="63"/>
                    </a:lnTo>
                    <a:lnTo>
                      <a:pt x="773" y="49"/>
                    </a:lnTo>
                    <a:lnTo>
                      <a:pt x="754" y="65"/>
                    </a:lnTo>
                    <a:lnTo>
                      <a:pt x="758" y="38"/>
                    </a:lnTo>
                    <a:lnTo>
                      <a:pt x="781" y="31"/>
                    </a:lnTo>
                    <a:lnTo>
                      <a:pt x="771" y="9"/>
                    </a:lnTo>
                    <a:lnTo>
                      <a:pt x="802" y="0"/>
                    </a:lnTo>
                    <a:lnTo>
                      <a:pt x="845" y="54"/>
                    </a:lnTo>
                    <a:lnTo>
                      <a:pt x="879" y="18"/>
                    </a:lnTo>
                    <a:lnTo>
                      <a:pt x="889" y="27"/>
                    </a:lnTo>
                    <a:lnTo>
                      <a:pt x="904" y="81"/>
                    </a:lnTo>
                    <a:lnTo>
                      <a:pt x="906" y="80"/>
                    </a:lnTo>
                    <a:close/>
                    <a:moveTo>
                      <a:pt x="184" y="621"/>
                    </a:moveTo>
                    <a:lnTo>
                      <a:pt x="172" y="619"/>
                    </a:lnTo>
                    <a:lnTo>
                      <a:pt x="164" y="613"/>
                    </a:lnTo>
                    <a:lnTo>
                      <a:pt x="176" y="598"/>
                    </a:lnTo>
                    <a:lnTo>
                      <a:pt x="191" y="602"/>
                    </a:lnTo>
                    <a:lnTo>
                      <a:pt x="211" y="597"/>
                    </a:lnTo>
                    <a:lnTo>
                      <a:pt x="204" y="613"/>
                    </a:lnTo>
                    <a:lnTo>
                      <a:pt x="195" y="615"/>
                    </a:lnTo>
                    <a:lnTo>
                      <a:pt x="184" y="621"/>
                    </a:lnTo>
                    <a:close/>
                  </a:path>
                </a:pathLst>
              </a:custGeom>
              <a:grpFill/>
              <a:ln w="635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katta Sans Regular"/>
                  <a:ea typeface="+mn-ea"/>
                  <a:cs typeface="+mn-cs"/>
                </a:endParaRPr>
              </a:p>
            </p:txBody>
          </p:sp>
          <p:sp>
            <p:nvSpPr>
              <p:cNvPr id="318" name="Freeform 17">
                <a:extLst>
                  <a:ext uri="{FF2B5EF4-FFF2-40B4-BE49-F238E27FC236}">
                    <a16:creationId xmlns:a16="http://schemas.microsoft.com/office/drawing/2014/main" id="{76F8BE9A-0290-4BCF-9792-8541193AEC0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05388" y="5384800"/>
                <a:ext cx="715963" cy="682625"/>
              </a:xfrm>
              <a:custGeom>
                <a:avLst/>
                <a:gdLst>
                  <a:gd name="T0" fmla="*/ 518 w 904"/>
                  <a:gd name="T1" fmla="*/ 723 h 860"/>
                  <a:gd name="T2" fmla="*/ 392 w 904"/>
                  <a:gd name="T3" fmla="*/ 749 h 860"/>
                  <a:gd name="T4" fmla="*/ 415 w 904"/>
                  <a:gd name="T5" fmla="*/ 623 h 860"/>
                  <a:gd name="T6" fmla="*/ 687 w 904"/>
                  <a:gd name="T7" fmla="*/ 115 h 860"/>
                  <a:gd name="T8" fmla="*/ 665 w 904"/>
                  <a:gd name="T9" fmla="*/ 239 h 860"/>
                  <a:gd name="T10" fmla="*/ 892 w 904"/>
                  <a:gd name="T11" fmla="*/ 367 h 860"/>
                  <a:gd name="T12" fmla="*/ 856 w 904"/>
                  <a:gd name="T13" fmla="*/ 526 h 860"/>
                  <a:gd name="T14" fmla="*/ 706 w 904"/>
                  <a:gd name="T15" fmla="*/ 667 h 860"/>
                  <a:gd name="T16" fmla="*/ 559 w 904"/>
                  <a:gd name="T17" fmla="*/ 665 h 860"/>
                  <a:gd name="T18" fmla="*/ 477 w 904"/>
                  <a:gd name="T19" fmla="*/ 596 h 860"/>
                  <a:gd name="T20" fmla="*/ 424 w 904"/>
                  <a:gd name="T21" fmla="*/ 503 h 860"/>
                  <a:gd name="T22" fmla="*/ 283 w 904"/>
                  <a:gd name="T23" fmla="*/ 460 h 860"/>
                  <a:gd name="T24" fmla="*/ 220 w 904"/>
                  <a:gd name="T25" fmla="*/ 399 h 860"/>
                  <a:gd name="T26" fmla="*/ 219 w 904"/>
                  <a:gd name="T27" fmla="*/ 326 h 860"/>
                  <a:gd name="T28" fmla="*/ 80 w 904"/>
                  <a:gd name="T29" fmla="*/ 269 h 860"/>
                  <a:gd name="T30" fmla="*/ 74 w 904"/>
                  <a:gd name="T31" fmla="*/ 150 h 860"/>
                  <a:gd name="T32" fmla="*/ 58 w 904"/>
                  <a:gd name="T33" fmla="*/ 71 h 860"/>
                  <a:gd name="T34" fmla="*/ 93 w 904"/>
                  <a:gd name="T35" fmla="*/ 60 h 860"/>
                  <a:gd name="T36" fmla="*/ 185 w 904"/>
                  <a:gd name="T37" fmla="*/ 25 h 860"/>
                  <a:gd name="T38" fmla="*/ 347 w 904"/>
                  <a:gd name="T39" fmla="*/ 155 h 860"/>
                  <a:gd name="T40" fmla="*/ 570 w 904"/>
                  <a:gd name="T41" fmla="*/ 103 h 860"/>
                  <a:gd name="T42" fmla="*/ 687 w 904"/>
                  <a:gd name="T43" fmla="*/ 98 h 860"/>
                  <a:gd name="T44" fmla="*/ 35 w 904"/>
                  <a:gd name="T45" fmla="*/ 385 h 860"/>
                  <a:gd name="T46" fmla="*/ 104 w 904"/>
                  <a:gd name="T47" fmla="*/ 366 h 860"/>
                  <a:gd name="T48" fmla="*/ 71 w 904"/>
                  <a:gd name="T49" fmla="*/ 347 h 860"/>
                  <a:gd name="T50" fmla="*/ 52 w 904"/>
                  <a:gd name="T51" fmla="*/ 338 h 860"/>
                  <a:gd name="T52" fmla="*/ 132 w 904"/>
                  <a:gd name="T53" fmla="*/ 829 h 860"/>
                  <a:gd name="T54" fmla="*/ 89 w 904"/>
                  <a:gd name="T55" fmla="*/ 852 h 860"/>
                  <a:gd name="T56" fmla="*/ 183 w 904"/>
                  <a:gd name="T57" fmla="*/ 797 h 860"/>
                  <a:gd name="T58" fmla="*/ 14 w 904"/>
                  <a:gd name="T59" fmla="*/ 423 h 860"/>
                  <a:gd name="T60" fmla="*/ 4 w 904"/>
                  <a:gd name="T61" fmla="*/ 430 h 860"/>
                  <a:gd name="T62" fmla="*/ 38 w 904"/>
                  <a:gd name="T63" fmla="*/ 494 h 860"/>
                  <a:gd name="T64" fmla="*/ 89 w 904"/>
                  <a:gd name="T65" fmla="*/ 467 h 860"/>
                  <a:gd name="T66" fmla="*/ 70 w 904"/>
                  <a:gd name="T67" fmla="*/ 438 h 860"/>
                  <a:gd name="T68" fmla="*/ 145 w 904"/>
                  <a:gd name="T69" fmla="*/ 466 h 860"/>
                  <a:gd name="T70" fmla="*/ 40 w 904"/>
                  <a:gd name="T71" fmla="*/ 558 h 860"/>
                  <a:gd name="T72" fmla="*/ 88 w 904"/>
                  <a:gd name="T73" fmla="*/ 603 h 860"/>
                  <a:gd name="T74" fmla="*/ 153 w 904"/>
                  <a:gd name="T75" fmla="*/ 596 h 860"/>
                  <a:gd name="T76" fmla="*/ 143 w 904"/>
                  <a:gd name="T77" fmla="*/ 649 h 860"/>
                  <a:gd name="T78" fmla="*/ 132 w 904"/>
                  <a:gd name="T79" fmla="*/ 598 h 860"/>
                  <a:gd name="T80" fmla="*/ 63 w 904"/>
                  <a:gd name="T81" fmla="*/ 564 h 860"/>
                  <a:gd name="T82" fmla="*/ 90 w 904"/>
                  <a:gd name="T83" fmla="*/ 531 h 860"/>
                  <a:gd name="T84" fmla="*/ 114 w 904"/>
                  <a:gd name="T85" fmla="*/ 552 h 860"/>
                  <a:gd name="T86" fmla="*/ 278 w 904"/>
                  <a:gd name="T87" fmla="*/ 493 h 860"/>
                  <a:gd name="T88" fmla="*/ 238 w 904"/>
                  <a:gd name="T89" fmla="*/ 528 h 860"/>
                  <a:gd name="T90" fmla="*/ 241 w 904"/>
                  <a:gd name="T91" fmla="*/ 429 h 860"/>
                  <a:gd name="T92" fmla="*/ 193 w 904"/>
                  <a:gd name="T93" fmla="*/ 649 h 860"/>
                  <a:gd name="T94" fmla="*/ 197 w 904"/>
                  <a:gd name="T95" fmla="*/ 488 h 860"/>
                  <a:gd name="T96" fmla="*/ 159 w 904"/>
                  <a:gd name="T97" fmla="*/ 500 h 860"/>
                  <a:gd name="T98" fmla="*/ 231 w 904"/>
                  <a:gd name="T99" fmla="*/ 668 h 860"/>
                  <a:gd name="T100" fmla="*/ 299 w 904"/>
                  <a:gd name="T101" fmla="*/ 604 h 860"/>
                  <a:gd name="T102" fmla="*/ 287 w 904"/>
                  <a:gd name="T103" fmla="*/ 597 h 860"/>
                  <a:gd name="T104" fmla="*/ 339 w 904"/>
                  <a:gd name="T105" fmla="*/ 617 h 860"/>
                  <a:gd name="T106" fmla="*/ 315 w 904"/>
                  <a:gd name="T107" fmla="*/ 525 h 860"/>
                  <a:gd name="T108" fmla="*/ 382 w 904"/>
                  <a:gd name="T109" fmla="*/ 646 h 860"/>
                  <a:gd name="T110" fmla="*/ 389 w 904"/>
                  <a:gd name="T111" fmla="*/ 614 h 860"/>
                  <a:gd name="T112" fmla="*/ 419 w 904"/>
                  <a:gd name="T113" fmla="*/ 770 h 860"/>
                  <a:gd name="T114" fmla="*/ 391 w 904"/>
                  <a:gd name="T115" fmla="*/ 792 h 860"/>
                  <a:gd name="T116" fmla="*/ 373 w 904"/>
                  <a:gd name="T117" fmla="*/ 761 h 860"/>
                  <a:gd name="T118" fmla="*/ 383 w 904"/>
                  <a:gd name="T119" fmla="*/ 852 h 860"/>
                  <a:gd name="T120" fmla="*/ 569 w 904"/>
                  <a:gd name="T121" fmla="*/ 702 h 860"/>
                  <a:gd name="T122" fmla="*/ 577 w 904"/>
                  <a:gd name="T123" fmla="*/ 685 h 860"/>
                  <a:gd name="T124" fmla="*/ 561 w 904"/>
                  <a:gd name="T125" fmla="*/ 740 h 8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04" h="860">
                    <a:moveTo>
                      <a:pt x="564" y="586"/>
                    </a:moveTo>
                    <a:lnTo>
                      <a:pt x="532" y="631"/>
                    </a:lnTo>
                    <a:lnTo>
                      <a:pt x="543" y="655"/>
                    </a:lnTo>
                    <a:lnTo>
                      <a:pt x="550" y="673"/>
                    </a:lnTo>
                    <a:lnTo>
                      <a:pt x="518" y="707"/>
                    </a:lnTo>
                    <a:lnTo>
                      <a:pt x="518" y="723"/>
                    </a:lnTo>
                    <a:lnTo>
                      <a:pt x="518" y="729"/>
                    </a:lnTo>
                    <a:lnTo>
                      <a:pt x="505" y="746"/>
                    </a:lnTo>
                    <a:lnTo>
                      <a:pt x="479" y="750"/>
                    </a:lnTo>
                    <a:lnTo>
                      <a:pt x="445" y="737"/>
                    </a:lnTo>
                    <a:lnTo>
                      <a:pt x="424" y="750"/>
                    </a:lnTo>
                    <a:lnTo>
                      <a:pt x="392" y="749"/>
                    </a:lnTo>
                    <a:lnTo>
                      <a:pt x="374" y="723"/>
                    </a:lnTo>
                    <a:lnTo>
                      <a:pt x="380" y="692"/>
                    </a:lnTo>
                    <a:lnTo>
                      <a:pt x="417" y="665"/>
                    </a:lnTo>
                    <a:lnTo>
                      <a:pt x="415" y="650"/>
                    </a:lnTo>
                    <a:lnTo>
                      <a:pt x="402" y="635"/>
                    </a:lnTo>
                    <a:lnTo>
                      <a:pt x="415" y="623"/>
                    </a:lnTo>
                    <a:lnTo>
                      <a:pt x="415" y="611"/>
                    </a:lnTo>
                    <a:lnTo>
                      <a:pt x="423" y="602"/>
                    </a:lnTo>
                    <a:lnTo>
                      <a:pt x="443" y="615"/>
                    </a:lnTo>
                    <a:lnTo>
                      <a:pt x="564" y="586"/>
                    </a:lnTo>
                    <a:close/>
                    <a:moveTo>
                      <a:pt x="687" y="98"/>
                    </a:moveTo>
                    <a:lnTo>
                      <a:pt x="687" y="115"/>
                    </a:lnTo>
                    <a:lnTo>
                      <a:pt x="712" y="130"/>
                    </a:lnTo>
                    <a:lnTo>
                      <a:pt x="695" y="171"/>
                    </a:lnTo>
                    <a:lnTo>
                      <a:pt x="665" y="177"/>
                    </a:lnTo>
                    <a:lnTo>
                      <a:pt x="661" y="206"/>
                    </a:lnTo>
                    <a:lnTo>
                      <a:pt x="679" y="227"/>
                    </a:lnTo>
                    <a:lnTo>
                      <a:pt x="665" y="239"/>
                    </a:lnTo>
                    <a:lnTo>
                      <a:pt x="666" y="265"/>
                    </a:lnTo>
                    <a:lnTo>
                      <a:pt x="720" y="293"/>
                    </a:lnTo>
                    <a:lnTo>
                      <a:pt x="760" y="272"/>
                    </a:lnTo>
                    <a:lnTo>
                      <a:pt x="836" y="331"/>
                    </a:lnTo>
                    <a:lnTo>
                      <a:pt x="903" y="352"/>
                    </a:lnTo>
                    <a:lnTo>
                      <a:pt x="892" y="367"/>
                    </a:lnTo>
                    <a:lnTo>
                      <a:pt x="904" y="387"/>
                    </a:lnTo>
                    <a:lnTo>
                      <a:pt x="880" y="440"/>
                    </a:lnTo>
                    <a:lnTo>
                      <a:pt x="831" y="447"/>
                    </a:lnTo>
                    <a:lnTo>
                      <a:pt x="828" y="476"/>
                    </a:lnTo>
                    <a:lnTo>
                      <a:pt x="850" y="485"/>
                    </a:lnTo>
                    <a:lnTo>
                      <a:pt x="856" y="526"/>
                    </a:lnTo>
                    <a:lnTo>
                      <a:pt x="836" y="527"/>
                    </a:lnTo>
                    <a:lnTo>
                      <a:pt x="829" y="570"/>
                    </a:lnTo>
                    <a:lnTo>
                      <a:pt x="798" y="580"/>
                    </a:lnTo>
                    <a:lnTo>
                      <a:pt x="801" y="653"/>
                    </a:lnTo>
                    <a:lnTo>
                      <a:pt x="766" y="637"/>
                    </a:lnTo>
                    <a:lnTo>
                      <a:pt x="706" y="667"/>
                    </a:lnTo>
                    <a:lnTo>
                      <a:pt x="685" y="652"/>
                    </a:lnTo>
                    <a:lnTo>
                      <a:pt x="646" y="693"/>
                    </a:lnTo>
                    <a:lnTo>
                      <a:pt x="592" y="694"/>
                    </a:lnTo>
                    <a:lnTo>
                      <a:pt x="593" y="685"/>
                    </a:lnTo>
                    <a:lnTo>
                      <a:pt x="573" y="673"/>
                    </a:lnTo>
                    <a:lnTo>
                      <a:pt x="559" y="665"/>
                    </a:lnTo>
                    <a:lnTo>
                      <a:pt x="551" y="620"/>
                    </a:lnTo>
                    <a:lnTo>
                      <a:pt x="596" y="565"/>
                    </a:lnTo>
                    <a:lnTo>
                      <a:pt x="614" y="544"/>
                    </a:lnTo>
                    <a:lnTo>
                      <a:pt x="602" y="524"/>
                    </a:lnTo>
                    <a:lnTo>
                      <a:pt x="526" y="582"/>
                    </a:lnTo>
                    <a:lnTo>
                      <a:pt x="477" y="596"/>
                    </a:lnTo>
                    <a:lnTo>
                      <a:pt x="456" y="577"/>
                    </a:lnTo>
                    <a:lnTo>
                      <a:pt x="423" y="578"/>
                    </a:lnTo>
                    <a:lnTo>
                      <a:pt x="423" y="558"/>
                    </a:lnTo>
                    <a:lnTo>
                      <a:pt x="455" y="507"/>
                    </a:lnTo>
                    <a:lnTo>
                      <a:pt x="436" y="493"/>
                    </a:lnTo>
                    <a:lnTo>
                      <a:pt x="424" y="503"/>
                    </a:lnTo>
                    <a:lnTo>
                      <a:pt x="344" y="519"/>
                    </a:lnTo>
                    <a:lnTo>
                      <a:pt x="322" y="499"/>
                    </a:lnTo>
                    <a:lnTo>
                      <a:pt x="306" y="498"/>
                    </a:lnTo>
                    <a:lnTo>
                      <a:pt x="309" y="453"/>
                    </a:lnTo>
                    <a:lnTo>
                      <a:pt x="302" y="448"/>
                    </a:lnTo>
                    <a:lnTo>
                      <a:pt x="283" y="460"/>
                    </a:lnTo>
                    <a:lnTo>
                      <a:pt x="260" y="438"/>
                    </a:lnTo>
                    <a:lnTo>
                      <a:pt x="267" y="430"/>
                    </a:lnTo>
                    <a:lnTo>
                      <a:pt x="282" y="430"/>
                    </a:lnTo>
                    <a:lnTo>
                      <a:pt x="283" y="413"/>
                    </a:lnTo>
                    <a:lnTo>
                      <a:pt x="267" y="397"/>
                    </a:lnTo>
                    <a:lnTo>
                      <a:pt x="220" y="399"/>
                    </a:lnTo>
                    <a:lnTo>
                      <a:pt x="186" y="408"/>
                    </a:lnTo>
                    <a:lnTo>
                      <a:pt x="187" y="391"/>
                    </a:lnTo>
                    <a:lnTo>
                      <a:pt x="203" y="368"/>
                    </a:lnTo>
                    <a:lnTo>
                      <a:pt x="219" y="371"/>
                    </a:lnTo>
                    <a:lnTo>
                      <a:pt x="233" y="333"/>
                    </a:lnTo>
                    <a:lnTo>
                      <a:pt x="219" y="326"/>
                    </a:lnTo>
                    <a:lnTo>
                      <a:pt x="177" y="349"/>
                    </a:lnTo>
                    <a:lnTo>
                      <a:pt x="166" y="394"/>
                    </a:lnTo>
                    <a:lnTo>
                      <a:pt x="142" y="397"/>
                    </a:lnTo>
                    <a:lnTo>
                      <a:pt x="133" y="358"/>
                    </a:lnTo>
                    <a:lnTo>
                      <a:pt x="103" y="331"/>
                    </a:lnTo>
                    <a:lnTo>
                      <a:pt x="80" y="269"/>
                    </a:lnTo>
                    <a:lnTo>
                      <a:pt x="81" y="231"/>
                    </a:lnTo>
                    <a:lnTo>
                      <a:pt x="70" y="214"/>
                    </a:lnTo>
                    <a:lnTo>
                      <a:pt x="69" y="186"/>
                    </a:lnTo>
                    <a:lnTo>
                      <a:pt x="63" y="167"/>
                    </a:lnTo>
                    <a:lnTo>
                      <a:pt x="68" y="155"/>
                    </a:lnTo>
                    <a:lnTo>
                      <a:pt x="74" y="150"/>
                    </a:lnTo>
                    <a:lnTo>
                      <a:pt x="77" y="140"/>
                    </a:lnTo>
                    <a:lnTo>
                      <a:pt x="45" y="120"/>
                    </a:lnTo>
                    <a:lnTo>
                      <a:pt x="43" y="108"/>
                    </a:lnTo>
                    <a:lnTo>
                      <a:pt x="71" y="103"/>
                    </a:lnTo>
                    <a:lnTo>
                      <a:pt x="72" y="87"/>
                    </a:lnTo>
                    <a:lnTo>
                      <a:pt x="58" y="71"/>
                    </a:lnTo>
                    <a:lnTo>
                      <a:pt x="67" y="63"/>
                    </a:lnTo>
                    <a:lnTo>
                      <a:pt x="82" y="62"/>
                    </a:lnTo>
                    <a:lnTo>
                      <a:pt x="96" y="89"/>
                    </a:lnTo>
                    <a:lnTo>
                      <a:pt x="110" y="101"/>
                    </a:lnTo>
                    <a:lnTo>
                      <a:pt x="115" y="84"/>
                    </a:lnTo>
                    <a:lnTo>
                      <a:pt x="93" y="60"/>
                    </a:lnTo>
                    <a:lnTo>
                      <a:pt x="83" y="10"/>
                    </a:lnTo>
                    <a:lnTo>
                      <a:pt x="101" y="0"/>
                    </a:lnTo>
                    <a:lnTo>
                      <a:pt x="110" y="14"/>
                    </a:lnTo>
                    <a:lnTo>
                      <a:pt x="134" y="47"/>
                    </a:lnTo>
                    <a:lnTo>
                      <a:pt x="158" y="46"/>
                    </a:lnTo>
                    <a:lnTo>
                      <a:pt x="185" y="25"/>
                    </a:lnTo>
                    <a:lnTo>
                      <a:pt x="187" y="79"/>
                    </a:lnTo>
                    <a:lnTo>
                      <a:pt x="232" y="47"/>
                    </a:lnTo>
                    <a:lnTo>
                      <a:pt x="256" y="70"/>
                    </a:lnTo>
                    <a:lnTo>
                      <a:pt x="278" y="133"/>
                    </a:lnTo>
                    <a:lnTo>
                      <a:pt x="335" y="137"/>
                    </a:lnTo>
                    <a:lnTo>
                      <a:pt x="347" y="155"/>
                    </a:lnTo>
                    <a:lnTo>
                      <a:pt x="382" y="124"/>
                    </a:lnTo>
                    <a:lnTo>
                      <a:pt x="422" y="133"/>
                    </a:lnTo>
                    <a:lnTo>
                      <a:pt x="477" y="117"/>
                    </a:lnTo>
                    <a:lnTo>
                      <a:pt x="467" y="103"/>
                    </a:lnTo>
                    <a:lnTo>
                      <a:pt x="516" y="89"/>
                    </a:lnTo>
                    <a:lnTo>
                      <a:pt x="570" y="103"/>
                    </a:lnTo>
                    <a:lnTo>
                      <a:pt x="573" y="46"/>
                    </a:lnTo>
                    <a:lnTo>
                      <a:pt x="606" y="57"/>
                    </a:lnTo>
                    <a:lnTo>
                      <a:pt x="631" y="87"/>
                    </a:lnTo>
                    <a:lnTo>
                      <a:pt x="673" y="78"/>
                    </a:lnTo>
                    <a:lnTo>
                      <a:pt x="670" y="101"/>
                    </a:lnTo>
                    <a:lnTo>
                      <a:pt x="687" y="98"/>
                    </a:lnTo>
                    <a:close/>
                    <a:moveTo>
                      <a:pt x="35" y="334"/>
                    </a:moveTo>
                    <a:lnTo>
                      <a:pt x="62" y="374"/>
                    </a:lnTo>
                    <a:lnTo>
                      <a:pt x="62" y="386"/>
                    </a:lnTo>
                    <a:lnTo>
                      <a:pt x="62" y="396"/>
                    </a:lnTo>
                    <a:lnTo>
                      <a:pt x="43" y="396"/>
                    </a:lnTo>
                    <a:lnTo>
                      <a:pt x="35" y="385"/>
                    </a:lnTo>
                    <a:lnTo>
                      <a:pt x="32" y="381"/>
                    </a:lnTo>
                    <a:lnTo>
                      <a:pt x="26" y="340"/>
                    </a:lnTo>
                    <a:lnTo>
                      <a:pt x="35" y="334"/>
                    </a:lnTo>
                    <a:close/>
                    <a:moveTo>
                      <a:pt x="81" y="339"/>
                    </a:moveTo>
                    <a:lnTo>
                      <a:pt x="104" y="364"/>
                    </a:lnTo>
                    <a:lnTo>
                      <a:pt x="104" y="366"/>
                    </a:lnTo>
                    <a:lnTo>
                      <a:pt x="120" y="381"/>
                    </a:lnTo>
                    <a:lnTo>
                      <a:pt x="114" y="400"/>
                    </a:lnTo>
                    <a:lnTo>
                      <a:pt x="110" y="409"/>
                    </a:lnTo>
                    <a:lnTo>
                      <a:pt x="96" y="405"/>
                    </a:lnTo>
                    <a:lnTo>
                      <a:pt x="71" y="373"/>
                    </a:lnTo>
                    <a:lnTo>
                      <a:pt x="71" y="347"/>
                    </a:lnTo>
                    <a:lnTo>
                      <a:pt x="81" y="339"/>
                    </a:lnTo>
                    <a:close/>
                    <a:moveTo>
                      <a:pt x="51" y="281"/>
                    </a:moveTo>
                    <a:lnTo>
                      <a:pt x="65" y="291"/>
                    </a:lnTo>
                    <a:lnTo>
                      <a:pt x="67" y="309"/>
                    </a:lnTo>
                    <a:lnTo>
                      <a:pt x="67" y="323"/>
                    </a:lnTo>
                    <a:lnTo>
                      <a:pt x="52" y="338"/>
                    </a:lnTo>
                    <a:lnTo>
                      <a:pt x="38" y="323"/>
                    </a:lnTo>
                    <a:lnTo>
                      <a:pt x="32" y="317"/>
                    </a:lnTo>
                    <a:lnTo>
                      <a:pt x="30" y="295"/>
                    </a:lnTo>
                    <a:lnTo>
                      <a:pt x="51" y="281"/>
                    </a:lnTo>
                    <a:close/>
                    <a:moveTo>
                      <a:pt x="110" y="828"/>
                    </a:moveTo>
                    <a:lnTo>
                      <a:pt x="132" y="829"/>
                    </a:lnTo>
                    <a:lnTo>
                      <a:pt x="133" y="835"/>
                    </a:lnTo>
                    <a:lnTo>
                      <a:pt x="134" y="839"/>
                    </a:lnTo>
                    <a:lnTo>
                      <a:pt x="119" y="849"/>
                    </a:lnTo>
                    <a:lnTo>
                      <a:pt x="109" y="858"/>
                    </a:lnTo>
                    <a:lnTo>
                      <a:pt x="106" y="860"/>
                    </a:lnTo>
                    <a:lnTo>
                      <a:pt x="89" y="852"/>
                    </a:lnTo>
                    <a:lnTo>
                      <a:pt x="110" y="828"/>
                    </a:lnTo>
                    <a:close/>
                    <a:moveTo>
                      <a:pt x="175" y="749"/>
                    </a:moveTo>
                    <a:lnTo>
                      <a:pt x="188" y="761"/>
                    </a:lnTo>
                    <a:lnTo>
                      <a:pt x="188" y="777"/>
                    </a:lnTo>
                    <a:lnTo>
                      <a:pt x="188" y="789"/>
                    </a:lnTo>
                    <a:lnTo>
                      <a:pt x="183" y="797"/>
                    </a:lnTo>
                    <a:lnTo>
                      <a:pt x="170" y="796"/>
                    </a:lnTo>
                    <a:lnTo>
                      <a:pt x="164" y="796"/>
                    </a:lnTo>
                    <a:lnTo>
                      <a:pt x="157" y="775"/>
                    </a:lnTo>
                    <a:lnTo>
                      <a:pt x="167" y="763"/>
                    </a:lnTo>
                    <a:lnTo>
                      <a:pt x="175" y="749"/>
                    </a:lnTo>
                    <a:close/>
                    <a:moveTo>
                      <a:pt x="14" y="423"/>
                    </a:moveTo>
                    <a:lnTo>
                      <a:pt x="25" y="443"/>
                    </a:lnTo>
                    <a:lnTo>
                      <a:pt x="20" y="455"/>
                    </a:lnTo>
                    <a:lnTo>
                      <a:pt x="17" y="463"/>
                    </a:lnTo>
                    <a:lnTo>
                      <a:pt x="0" y="451"/>
                    </a:lnTo>
                    <a:lnTo>
                      <a:pt x="3" y="436"/>
                    </a:lnTo>
                    <a:lnTo>
                      <a:pt x="4" y="430"/>
                    </a:lnTo>
                    <a:lnTo>
                      <a:pt x="14" y="423"/>
                    </a:lnTo>
                    <a:close/>
                    <a:moveTo>
                      <a:pt x="49" y="466"/>
                    </a:moveTo>
                    <a:lnTo>
                      <a:pt x="62" y="485"/>
                    </a:lnTo>
                    <a:lnTo>
                      <a:pt x="59" y="488"/>
                    </a:lnTo>
                    <a:lnTo>
                      <a:pt x="57" y="492"/>
                    </a:lnTo>
                    <a:lnTo>
                      <a:pt x="38" y="494"/>
                    </a:lnTo>
                    <a:lnTo>
                      <a:pt x="32" y="486"/>
                    </a:lnTo>
                    <a:lnTo>
                      <a:pt x="29" y="482"/>
                    </a:lnTo>
                    <a:lnTo>
                      <a:pt x="35" y="467"/>
                    </a:lnTo>
                    <a:lnTo>
                      <a:pt x="49" y="466"/>
                    </a:lnTo>
                    <a:close/>
                    <a:moveTo>
                      <a:pt x="84" y="437"/>
                    </a:moveTo>
                    <a:lnTo>
                      <a:pt x="89" y="467"/>
                    </a:lnTo>
                    <a:lnTo>
                      <a:pt x="84" y="468"/>
                    </a:lnTo>
                    <a:lnTo>
                      <a:pt x="82" y="469"/>
                    </a:lnTo>
                    <a:lnTo>
                      <a:pt x="76" y="479"/>
                    </a:lnTo>
                    <a:lnTo>
                      <a:pt x="69" y="469"/>
                    </a:lnTo>
                    <a:lnTo>
                      <a:pt x="67" y="466"/>
                    </a:lnTo>
                    <a:lnTo>
                      <a:pt x="70" y="438"/>
                    </a:lnTo>
                    <a:lnTo>
                      <a:pt x="84" y="437"/>
                    </a:lnTo>
                    <a:close/>
                    <a:moveTo>
                      <a:pt x="159" y="424"/>
                    </a:moveTo>
                    <a:lnTo>
                      <a:pt x="164" y="438"/>
                    </a:lnTo>
                    <a:lnTo>
                      <a:pt x="155" y="448"/>
                    </a:lnTo>
                    <a:lnTo>
                      <a:pt x="151" y="455"/>
                    </a:lnTo>
                    <a:lnTo>
                      <a:pt x="145" y="466"/>
                    </a:lnTo>
                    <a:lnTo>
                      <a:pt x="135" y="466"/>
                    </a:lnTo>
                    <a:lnTo>
                      <a:pt x="130" y="466"/>
                    </a:lnTo>
                    <a:lnTo>
                      <a:pt x="127" y="461"/>
                    </a:lnTo>
                    <a:lnTo>
                      <a:pt x="127" y="444"/>
                    </a:lnTo>
                    <a:lnTo>
                      <a:pt x="159" y="424"/>
                    </a:lnTo>
                    <a:close/>
                    <a:moveTo>
                      <a:pt x="40" y="558"/>
                    </a:moveTo>
                    <a:lnTo>
                      <a:pt x="52" y="572"/>
                    </a:lnTo>
                    <a:lnTo>
                      <a:pt x="75" y="571"/>
                    </a:lnTo>
                    <a:lnTo>
                      <a:pt x="90" y="571"/>
                    </a:lnTo>
                    <a:lnTo>
                      <a:pt x="90" y="586"/>
                    </a:lnTo>
                    <a:lnTo>
                      <a:pt x="88" y="598"/>
                    </a:lnTo>
                    <a:lnTo>
                      <a:pt x="88" y="603"/>
                    </a:lnTo>
                    <a:lnTo>
                      <a:pt x="75" y="607"/>
                    </a:lnTo>
                    <a:lnTo>
                      <a:pt x="62" y="612"/>
                    </a:lnTo>
                    <a:lnTo>
                      <a:pt x="20" y="598"/>
                    </a:lnTo>
                    <a:lnTo>
                      <a:pt x="26" y="559"/>
                    </a:lnTo>
                    <a:lnTo>
                      <a:pt x="40" y="558"/>
                    </a:lnTo>
                    <a:close/>
                    <a:moveTo>
                      <a:pt x="153" y="596"/>
                    </a:moveTo>
                    <a:lnTo>
                      <a:pt x="154" y="611"/>
                    </a:lnTo>
                    <a:lnTo>
                      <a:pt x="152" y="621"/>
                    </a:lnTo>
                    <a:lnTo>
                      <a:pt x="149" y="628"/>
                    </a:lnTo>
                    <a:lnTo>
                      <a:pt x="148" y="641"/>
                    </a:lnTo>
                    <a:lnTo>
                      <a:pt x="145" y="647"/>
                    </a:lnTo>
                    <a:lnTo>
                      <a:pt x="143" y="649"/>
                    </a:lnTo>
                    <a:lnTo>
                      <a:pt x="130" y="657"/>
                    </a:lnTo>
                    <a:lnTo>
                      <a:pt x="103" y="659"/>
                    </a:lnTo>
                    <a:lnTo>
                      <a:pt x="90" y="643"/>
                    </a:lnTo>
                    <a:lnTo>
                      <a:pt x="107" y="627"/>
                    </a:lnTo>
                    <a:lnTo>
                      <a:pt x="109" y="623"/>
                    </a:lnTo>
                    <a:lnTo>
                      <a:pt x="132" y="598"/>
                    </a:lnTo>
                    <a:lnTo>
                      <a:pt x="153" y="596"/>
                    </a:lnTo>
                    <a:close/>
                    <a:moveTo>
                      <a:pt x="90" y="531"/>
                    </a:moveTo>
                    <a:lnTo>
                      <a:pt x="88" y="552"/>
                    </a:lnTo>
                    <a:lnTo>
                      <a:pt x="81" y="560"/>
                    </a:lnTo>
                    <a:lnTo>
                      <a:pt x="75" y="566"/>
                    </a:lnTo>
                    <a:lnTo>
                      <a:pt x="63" y="564"/>
                    </a:lnTo>
                    <a:lnTo>
                      <a:pt x="57" y="559"/>
                    </a:lnTo>
                    <a:lnTo>
                      <a:pt x="53" y="557"/>
                    </a:lnTo>
                    <a:lnTo>
                      <a:pt x="61" y="551"/>
                    </a:lnTo>
                    <a:lnTo>
                      <a:pt x="62" y="545"/>
                    </a:lnTo>
                    <a:lnTo>
                      <a:pt x="75" y="533"/>
                    </a:lnTo>
                    <a:lnTo>
                      <a:pt x="90" y="531"/>
                    </a:lnTo>
                    <a:close/>
                    <a:moveTo>
                      <a:pt x="127" y="532"/>
                    </a:moveTo>
                    <a:lnTo>
                      <a:pt x="149" y="579"/>
                    </a:lnTo>
                    <a:lnTo>
                      <a:pt x="135" y="586"/>
                    </a:lnTo>
                    <a:lnTo>
                      <a:pt x="126" y="592"/>
                    </a:lnTo>
                    <a:lnTo>
                      <a:pt x="114" y="583"/>
                    </a:lnTo>
                    <a:lnTo>
                      <a:pt x="114" y="552"/>
                    </a:lnTo>
                    <a:lnTo>
                      <a:pt x="115" y="539"/>
                    </a:lnTo>
                    <a:lnTo>
                      <a:pt x="127" y="532"/>
                    </a:lnTo>
                    <a:close/>
                    <a:moveTo>
                      <a:pt x="241" y="429"/>
                    </a:moveTo>
                    <a:lnTo>
                      <a:pt x="243" y="441"/>
                    </a:lnTo>
                    <a:lnTo>
                      <a:pt x="264" y="470"/>
                    </a:lnTo>
                    <a:lnTo>
                      <a:pt x="278" y="493"/>
                    </a:lnTo>
                    <a:lnTo>
                      <a:pt x="275" y="512"/>
                    </a:lnTo>
                    <a:lnTo>
                      <a:pt x="274" y="525"/>
                    </a:lnTo>
                    <a:lnTo>
                      <a:pt x="274" y="530"/>
                    </a:lnTo>
                    <a:lnTo>
                      <a:pt x="258" y="545"/>
                    </a:lnTo>
                    <a:lnTo>
                      <a:pt x="237" y="541"/>
                    </a:lnTo>
                    <a:lnTo>
                      <a:pt x="238" y="528"/>
                    </a:lnTo>
                    <a:lnTo>
                      <a:pt x="243" y="506"/>
                    </a:lnTo>
                    <a:lnTo>
                      <a:pt x="223" y="489"/>
                    </a:lnTo>
                    <a:lnTo>
                      <a:pt x="206" y="450"/>
                    </a:lnTo>
                    <a:lnTo>
                      <a:pt x="210" y="424"/>
                    </a:lnTo>
                    <a:lnTo>
                      <a:pt x="219" y="416"/>
                    </a:lnTo>
                    <a:lnTo>
                      <a:pt x="241" y="429"/>
                    </a:lnTo>
                    <a:close/>
                    <a:moveTo>
                      <a:pt x="219" y="593"/>
                    </a:moveTo>
                    <a:lnTo>
                      <a:pt x="241" y="609"/>
                    </a:lnTo>
                    <a:lnTo>
                      <a:pt x="236" y="617"/>
                    </a:lnTo>
                    <a:lnTo>
                      <a:pt x="231" y="622"/>
                    </a:lnTo>
                    <a:lnTo>
                      <a:pt x="207" y="629"/>
                    </a:lnTo>
                    <a:lnTo>
                      <a:pt x="193" y="649"/>
                    </a:lnTo>
                    <a:lnTo>
                      <a:pt x="187" y="657"/>
                    </a:lnTo>
                    <a:lnTo>
                      <a:pt x="171" y="652"/>
                    </a:lnTo>
                    <a:lnTo>
                      <a:pt x="175" y="616"/>
                    </a:lnTo>
                    <a:lnTo>
                      <a:pt x="181" y="593"/>
                    </a:lnTo>
                    <a:lnTo>
                      <a:pt x="219" y="593"/>
                    </a:lnTo>
                    <a:close/>
                    <a:moveTo>
                      <a:pt x="197" y="488"/>
                    </a:moveTo>
                    <a:lnTo>
                      <a:pt x="199" y="501"/>
                    </a:lnTo>
                    <a:lnTo>
                      <a:pt x="199" y="508"/>
                    </a:lnTo>
                    <a:lnTo>
                      <a:pt x="200" y="513"/>
                    </a:lnTo>
                    <a:lnTo>
                      <a:pt x="179" y="518"/>
                    </a:lnTo>
                    <a:lnTo>
                      <a:pt x="165" y="506"/>
                    </a:lnTo>
                    <a:lnTo>
                      <a:pt x="159" y="500"/>
                    </a:lnTo>
                    <a:lnTo>
                      <a:pt x="161" y="488"/>
                    </a:lnTo>
                    <a:lnTo>
                      <a:pt x="168" y="479"/>
                    </a:lnTo>
                    <a:lnTo>
                      <a:pt x="197" y="488"/>
                    </a:lnTo>
                    <a:close/>
                    <a:moveTo>
                      <a:pt x="264" y="656"/>
                    </a:moveTo>
                    <a:lnTo>
                      <a:pt x="261" y="668"/>
                    </a:lnTo>
                    <a:lnTo>
                      <a:pt x="231" y="668"/>
                    </a:lnTo>
                    <a:lnTo>
                      <a:pt x="210" y="667"/>
                    </a:lnTo>
                    <a:lnTo>
                      <a:pt x="203" y="655"/>
                    </a:lnTo>
                    <a:lnTo>
                      <a:pt x="217" y="642"/>
                    </a:lnTo>
                    <a:lnTo>
                      <a:pt x="223" y="636"/>
                    </a:lnTo>
                    <a:lnTo>
                      <a:pt x="264" y="656"/>
                    </a:lnTo>
                    <a:close/>
                    <a:moveTo>
                      <a:pt x="299" y="604"/>
                    </a:moveTo>
                    <a:lnTo>
                      <a:pt x="287" y="633"/>
                    </a:lnTo>
                    <a:lnTo>
                      <a:pt x="269" y="635"/>
                    </a:lnTo>
                    <a:lnTo>
                      <a:pt x="255" y="636"/>
                    </a:lnTo>
                    <a:lnTo>
                      <a:pt x="255" y="615"/>
                    </a:lnTo>
                    <a:lnTo>
                      <a:pt x="277" y="602"/>
                    </a:lnTo>
                    <a:lnTo>
                      <a:pt x="287" y="597"/>
                    </a:lnTo>
                    <a:lnTo>
                      <a:pt x="299" y="604"/>
                    </a:lnTo>
                    <a:close/>
                    <a:moveTo>
                      <a:pt x="422" y="514"/>
                    </a:moveTo>
                    <a:lnTo>
                      <a:pt x="432" y="532"/>
                    </a:lnTo>
                    <a:lnTo>
                      <a:pt x="390" y="580"/>
                    </a:lnTo>
                    <a:lnTo>
                      <a:pt x="359" y="616"/>
                    </a:lnTo>
                    <a:lnTo>
                      <a:pt x="339" y="617"/>
                    </a:lnTo>
                    <a:lnTo>
                      <a:pt x="329" y="605"/>
                    </a:lnTo>
                    <a:lnTo>
                      <a:pt x="325" y="601"/>
                    </a:lnTo>
                    <a:lnTo>
                      <a:pt x="328" y="582"/>
                    </a:lnTo>
                    <a:lnTo>
                      <a:pt x="305" y="575"/>
                    </a:lnTo>
                    <a:lnTo>
                      <a:pt x="300" y="556"/>
                    </a:lnTo>
                    <a:lnTo>
                      <a:pt x="315" y="525"/>
                    </a:lnTo>
                    <a:lnTo>
                      <a:pt x="341" y="532"/>
                    </a:lnTo>
                    <a:lnTo>
                      <a:pt x="363" y="530"/>
                    </a:lnTo>
                    <a:lnTo>
                      <a:pt x="422" y="514"/>
                    </a:lnTo>
                    <a:close/>
                    <a:moveTo>
                      <a:pt x="400" y="621"/>
                    </a:moveTo>
                    <a:lnTo>
                      <a:pt x="383" y="646"/>
                    </a:lnTo>
                    <a:lnTo>
                      <a:pt x="382" y="646"/>
                    </a:lnTo>
                    <a:lnTo>
                      <a:pt x="367" y="659"/>
                    </a:lnTo>
                    <a:lnTo>
                      <a:pt x="357" y="659"/>
                    </a:lnTo>
                    <a:lnTo>
                      <a:pt x="352" y="659"/>
                    </a:lnTo>
                    <a:lnTo>
                      <a:pt x="341" y="648"/>
                    </a:lnTo>
                    <a:lnTo>
                      <a:pt x="370" y="615"/>
                    </a:lnTo>
                    <a:lnTo>
                      <a:pt x="389" y="614"/>
                    </a:lnTo>
                    <a:lnTo>
                      <a:pt x="400" y="621"/>
                    </a:lnTo>
                    <a:close/>
                    <a:moveTo>
                      <a:pt x="468" y="789"/>
                    </a:moveTo>
                    <a:lnTo>
                      <a:pt x="461" y="800"/>
                    </a:lnTo>
                    <a:lnTo>
                      <a:pt x="443" y="796"/>
                    </a:lnTo>
                    <a:lnTo>
                      <a:pt x="430" y="794"/>
                    </a:lnTo>
                    <a:lnTo>
                      <a:pt x="419" y="770"/>
                    </a:lnTo>
                    <a:lnTo>
                      <a:pt x="426" y="764"/>
                    </a:lnTo>
                    <a:lnTo>
                      <a:pt x="429" y="762"/>
                    </a:lnTo>
                    <a:lnTo>
                      <a:pt x="451" y="765"/>
                    </a:lnTo>
                    <a:lnTo>
                      <a:pt x="468" y="789"/>
                    </a:lnTo>
                    <a:close/>
                    <a:moveTo>
                      <a:pt x="393" y="779"/>
                    </a:moveTo>
                    <a:lnTo>
                      <a:pt x="391" y="792"/>
                    </a:lnTo>
                    <a:lnTo>
                      <a:pt x="377" y="792"/>
                    </a:lnTo>
                    <a:lnTo>
                      <a:pt x="367" y="792"/>
                    </a:lnTo>
                    <a:lnTo>
                      <a:pt x="363" y="769"/>
                    </a:lnTo>
                    <a:lnTo>
                      <a:pt x="368" y="764"/>
                    </a:lnTo>
                    <a:lnTo>
                      <a:pt x="371" y="762"/>
                    </a:lnTo>
                    <a:lnTo>
                      <a:pt x="373" y="761"/>
                    </a:lnTo>
                    <a:lnTo>
                      <a:pt x="380" y="753"/>
                    </a:lnTo>
                    <a:lnTo>
                      <a:pt x="395" y="763"/>
                    </a:lnTo>
                    <a:lnTo>
                      <a:pt x="393" y="779"/>
                    </a:lnTo>
                    <a:close/>
                    <a:moveTo>
                      <a:pt x="423" y="840"/>
                    </a:moveTo>
                    <a:lnTo>
                      <a:pt x="397" y="858"/>
                    </a:lnTo>
                    <a:lnTo>
                      <a:pt x="383" y="852"/>
                    </a:lnTo>
                    <a:lnTo>
                      <a:pt x="372" y="847"/>
                    </a:lnTo>
                    <a:lnTo>
                      <a:pt x="399" y="819"/>
                    </a:lnTo>
                    <a:lnTo>
                      <a:pt x="417" y="820"/>
                    </a:lnTo>
                    <a:lnTo>
                      <a:pt x="424" y="821"/>
                    </a:lnTo>
                    <a:lnTo>
                      <a:pt x="423" y="840"/>
                    </a:lnTo>
                    <a:close/>
                    <a:moveTo>
                      <a:pt x="569" y="702"/>
                    </a:moveTo>
                    <a:lnTo>
                      <a:pt x="551" y="705"/>
                    </a:lnTo>
                    <a:lnTo>
                      <a:pt x="547" y="700"/>
                    </a:lnTo>
                    <a:lnTo>
                      <a:pt x="546" y="695"/>
                    </a:lnTo>
                    <a:lnTo>
                      <a:pt x="561" y="680"/>
                    </a:lnTo>
                    <a:lnTo>
                      <a:pt x="572" y="684"/>
                    </a:lnTo>
                    <a:lnTo>
                      <a:pt x="577" y="685"/>
                    </a:lnTo>
                    <a:lnTo>
                      <a:pt x="569" y="702"/>
                    </a:lnTo>
                    <a:close/>
                    <a:moveTo>
                      <a:pt x="532" y="756"/>
                    </a:moveTo>
                    <a:lnTo>
                      <a:pt x="524" y="731"/>
                    </a:lnTo>
                    <a:lnTo>
                      <a:pt x="535" y="720"/>
                    </a:lnTo>
                    <a:lnTo>
                      <a:pt x="545" y="713"/>
                    </a:lnTo>
                    <a:lnTo>
                      <a:pt x="561" y="740"/>
                    </a:lnTo>
                    <a:lnTo>
                      <a:pt x="552" y="745"/>
                    </a:lnTo>
                    <a:lnTo>
                      <a:pt x="548" y="747"/>
                    </a:lnTo>
                    <a:lnTo>
                      <a:pt x="532" y="756"/>
                    </a:lnTo>
                    <a:close/>
                  </a:path>
                </a:pathLst>
              </a:custGeom>
              <a:grpFill/>
              <a:ln w="635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katta Sans Regular"/>
                  <a:ea typeface="+mn-ea"/>
                  <a:cs typeface="+mn-cs"/>
                </a:endParaRPr>
              </a:p>
            </p:txBody>
          </p:sp>
          <p:sp>
            <p:nvSpPr>
              <p:cNvPr id="319" name="Freeform 18">
                <a:extLst>
                  <a:ext uri="{FF2B5EF4-FFF2-40B4-BE49-F238E27FC236}">
                    <a16:creationId xmlns:a16="http://schemas.microsoft.com/office/drawing/2014/main" id="{A3CD53C8-F4F2-4AC1-98BA-47B016FA24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54538" y="5661025"/>
                <a:ext cx="450850" cy="344488"/>
              </a:xfrm>
              <a:custGeom>
                <a:avLst/>
                <a:gdLst>
                  <a:gd name="T0" fmla="*/ 489 w 567"/>
                  <a:gd name="T1" fmla="*/ 399 h 435"/>
                  <a:gd name="T2" fmla="*/ 469 w 567"/>
                  <a:gd name="T3" fmla="*/ 418 h 435"/>
                  <a:gd name="T4" fmla="*/ 436 w 567"/>
                  <a:gd name="T5" fmla="*/ 399 h 435"/>
                  <a:gd name="T6" fmla="*/ 567 w 567"/>
                  <a:gd name="T7" fmla="*/ 34 h 435"/>
                  <a:gd name="T8" fmla="*/ 532 w 567"/>
                  <a:gd name="T9" fmla="*/ 1 h 435"/>
                  <a:gd name="T10" fmla="*/ 516 w 567"/>
                  <a:gd name="T11" fmla="*/ 61 h 435"/>
                  <a:gd name="T12" fmla="*/ 481 w 567"/>
                  <a:gd name="T13" fmla="*/ 63 h 435"/>
                  <a:gd name="T14" fmla="*/ 536 w 567"/>
                  <a:gd name="T15" fmla="*/ 82 h 435"/>
                  <a:gd name="T16" fmla="*/ 534 w 567"/>
                  <a:gd name="T17" fmla="*/ 141 h 435"/>
                  <a:gd name="T18" fmla="*/ 536 w 567"/>
                  <a:gd name="T19" fmla="*/ 82 h 435"/>
                  <a:gd name="T20" fmla="*/ 486 w 567"/>
                  <a:gd name="T21" fmla="*/ 145 h 435"/>
                  <a:gd name="T22" fmla="*/ 464 w 567"/>
                  <a:gd name="T23" fmla="*/ 115 h 435"/>
                  <a:gd name="T24" fmla="*/ 444 w 567"/>
                  <a:gd name="T25" fmla="*/ 126 h 435"/>
                  <a:gd name="T26" fmla="*/ 414 w 567"/>
                  <a:gd name="T27" fmla="*/ 143 h 435"/>
                  <a:gd name="T28" fmla="*/ 439 w 567"/>
                  <a:gd name="T29" fmla="*/ 167 h 435"/>
                  <a:gd name="T30" fmla="*/ 433 w 567"/>
                  <a:gd name="T31" fmla="*/ 211 h 435"/>
                  <a:gd name="T32" fmla="*/ 420 w 567"/>
                  <a:gd name="T33" fmla="*/ 175 h 435"/>
                  <a:gd name="T34" fmla="*/ 409 w 567"/>
                  <a:gd name="T35" fmla="*/ 210 h 435"/>
                  <a:gd name="T36" fmla="*/ 391 w 567"/>
                  <a:gd name="T37" fmla="*/ 233 h 435"/>
                  <a:gd name="T38" fmla="*/ 369 w 567"/>
                  <a:gd name="T39" fmla="*/ 232 h 435"/>
                  <a:gd name="T40" fmla="*/ 400 w 567"/>
                  <a:gd name="T41" fmla="*/ 280 h 435"/>
                  <a:gd name="T42" fmla="*/ 369 w 567"/>
                  <a:gd name="T43" fmla="*/ 263 h 435"/>
                  <a:gd name="T44" fmla="*/ 288 w 567"/>
                  <a:gd name="T45" fmla="*/ 102 h 435"/>
                  <a:gd name="T46" fmla="*/ 275 w 567"/>
                  <a:gd name="T47" fmla="*/ 127 h 435"/>
                  <a:gd name="T48" fmla="*/ 308 w 567"/>
                  <a:gd name="T49" fmla="*/ 147 h 435"/>
                  <a:gd name="T50" fmla="*/ 320 w 567"/>
                  <a:gd name="T51" fmla="*/ 192 h 435"/>
                  <a:gd name="T52" fmla="*/ 294 w 567"/>
                  <a:gd name="T53" fmla="*/ 184 h 435"/>
                  <a:gd name="T54" fmla="*/ 308 w 567"/>
                  <a:gd name="T55" fmla="*/ 147 h 435"/>
                  <a:gd name="T56" fmla="*/ 355 w 567"/>
                  <a:gd name="T57" fmla="*/ 328 h 435"/>
                  <a:gd name="T58" fmla="*/ 265 w 567"/>
                  <a:gd name="T59" fmla="*/ 357 h 435"/>
                  <a:gd name="T60" fmla="*/ 304 w 567"/>
                  <a:gd name="T61" fmla="*/ 310 h 435"/>
                  <a:gd name="T62" fmla="*/ 354 w 567"/>
                  <a:gd name="T63" fmla="*/ 289 h 435"/>
                  <a:gd name="T64" fmla="*/ 319 w 567"/>
                  <a:gd name="T65" fmla="*/ 284 h 435"/>
                  <a:gd name="T66" fmla="*/ 263 w 567"/>
                  <a:gd name="T67" fmla="*/ 235 h 435"/>
                  <a:gd name="T68" fmla="*/ 261 w 567"/>
                  <a:gd name="T69" fmla="*/ 290 h 435"/>
                  <a:gd name="T70" fmla="*/ 255 w 567"/>
                  <a:gd name="T71" fmla="*/ 232 h 435"/>
                  <a:gd name="T72" fmla="*/ 212 w 567"/>
                  <a:gd name="T73" fmla="*/ 88 h 435"/>
                  <a:gd name="T74" fmla="*/ 246 w 567"/>
                  <a:gd name="T75" fmla="*/ 140 h 435"/>
                  <a:gd name="T76" fmla="*/ 214 w 567"/>
                  <a:gd name="T77" fmla="*/ 217 h 435"/>
                  <a:gd name="T78" fmla="*/ 165 w 567"/>
                  <a:gd name="T79" fmla="*/ 211 h 435"/>
                  <a:gd name="T80" fmla="*/ 172 w 567"/>
                  <a:gd name="T81" fmla="*/ 277 h 435"/>
                  <a:gd name="T82" fmla="*/ 234 w 567"/>
                  <a:gd name="T83" fmla="*/ 289 h 435"/>
                  <a:gd name="T84" fmla="*/ 240 w 567"/>
                  <a:gd name="T85" fmla="*/ 332 h 435"/>
                  <a:gd name="T86" fmla="*/ 212 w 567"/>
                  <a:gd name="T87" fmla="*/ 340 h 435"/>
                  <a:gd name="T88" fmla="*/ 159 w 567"/>
                  <a:gd name="T89" fmla="*/ 300 h 435"/>
                  <a:gd name="T90" fmla="*/ 120 w 567"/>
                  <a:gd name="T91" fmla="*/ 270 h 435"/>
                  <a:gd name="T92" fmla="*/ 84 w 567"/>
                  <a:gd name="T93" fmla="*/ 229 h 435"/>
                  <a:gd name="T94" fmla="*/ 38 w 567"/>
                  <a:gd name="T95" fmla="*/ 203 h 435"/>
                  <a:gd name="T96" fmla="*/ 5 w 567"/>
                  <a:gd name="T97" fmla="*/ 198 h 435"/>
                  <a:gd name="T98" fmla="*/ 7 w 567"/>
                  <a:gd name="T99" fmla="*/ 140 h 435"/>
                  <a:gd name="T100" fmla="*/ 86 w 567"/>
                  <a:gd name="T101" fmla="*/ 126 h 435"/>
                  <a:gd name="T102" fmla="*/ 115 w 567"/>
                  <a:gd name="T103" fmla="*/ 148 h 435"/>
                  <a:gd name="T104" fmla="*/ 135 w 567"/>
                  <a:gd name="T105" fmla="*/ 129 h 435"/>
                  <a:gd name="T106" fmla="*/ 95 w 567"/>
                  <a:gd name="T107" fmla="*/ 96 h 4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67" h="435">
                    <a:moveTo>
                      <a:pt x="464" y="385"/>
                    </a:moveTo>
                    <a:lnTo>
                      <a:pt x="472" y="391"/>
                    </a:lnTo>
                    <a:lnTo>
                      <a:pt x="489" y="399"/>
                    </a:lnTo>
                    <a:lnTo>
                      <a:pt x="486" y="406"/>
                    </a:lnTo>
                    <a:lnTo>
                      <a:pt x="481" y="418"/>
                    </a:lnTo>
                    <a:lnTo>
                      <a:pt x="469" y="418"/>
                    </a:lnTo>
                    <a:lnTo>
                      <a:pt x="457" y="435"/>
                    </a:lnTo>
                    <a:lnTo>
                      <a:pt x="430" y="415"/>
                    </a:lnTo>
                    <a:lnTo>
                      <a:pt x="436" y="399"/>
                    </a:lnTo>
                    <a:lnTo>
                      <a:pt x="464" y="385"/>
                    </a:lnTo>
                    <a:close/>
                    <a:moveTo>
                      <a:pt x="545" y="0"/>
                    </a:moveTo>
                    <a:lnTo>
                      <a:pt x="567" y="34"/>
                    </a:lnTo>
                    <a:lnTo>
                      <a:pt x="553" y="72"/>
                    </a:lnTo>
                    <a:lnTo>
                      <a:pt x="535" y="69"/>
                    </a:lnTo>
                    <a:lnTo>
                      <a:pt x="532" y="1"/>
                    </a:lnTo>
                    <a:lnTo>
                      <a:pt x="545" y="0"/>
                    </a:lnTo>
                    <a:close/>
                    <a:moveTo>
                      <a:pt x="500" y="36"/>
                    </a:moveTo>
                    <a:lnTo>
                      <a:pt x="516" y="61"/>
                    </a:lnTo>
                    <a:lnTo>
                      <a:pt x="510" y="85"/>
                    </a:lnTo>
                    <a:lnTo>
                      <a:pt x="494" y="95"/>
                    </a:lnTo>
                    <a:lnTo>
                      <a:pt x="481" y="63"/>
                    </a:lnTo>
                    <a:lnTo>
                      <a:pt x="483" y="46"/>
                    </a:lnTo>
                    <a:lnTo>
                      <a:pt x="500" y="36"/>
                    </a:lnTo>
                    <a:close/>
                    <a:moveTo>
                      <a:pt x="536" y="82"/>
                    </a:moveTo>
                    <a:lnTo>
                      <a:pt x="551" y="100"/>
                    </a:lnTo>
                    <a:lnTo>
                      <a:pt x="545" y="130"/>
                    </a:lnTo>
                    <a:lnTo>
                      <a:pt x="534" y="141"/>
                    </a:lnTo>
                    <a:lnTo>
                      <a:pt x="520" y="133"/>
                    </a:lnTo>
                    <a:lnTo>
                      <a:pt x="514" y="102"/>
                    </a:lnTo>
                    <a:lnTo>
                      <a:pt x="536" y="82"/>
                    </a:lnTo>
                    <a:close/>
                    <a:moveTo>
                      <a:pt x="464" y="115"/>
                    </a:moveTo>
                    <a:lnTo>
                      <a:pt x="486" y="124"/>
                    </a:lnTo>
                    <a:lnTo>
                      <a:pt x="486" y="145"/>
                    </a:lnTo>
                    <a:lnTo>
                      <a:pt x="469" y="148"/>
                    </a:lnTo>
                    <a:lnTo>
                      <a:pt x="458" y="136"/>
                    </a:lnTo>
                    <a:lnTo>
                      <a:pt x="464" y="115"/>
                    </a:lnTo>
                    <a:close/>
                    <a:moveTo>
                      <a:pt x="420" y="123"/>
                    </a:moveTo>
                    <a:lnTo>
                      <a:pt x="432" y="115"/>
                    </a:lnTo>
                    <a:lnTo>
                      <a:pt x="444" y="126"/>
                    </a:lnTo>
                    <a:lnTo>
                      <a:pt x="436" y="147"/>
                    </a:lnTo>
                    <a:lnTo>
                      <a:pt x="420" y="151"/>
                    </a:lnTo>
                    <a:lnTo>
                      <a:pt x="414" y="143"/>
                    </a:lnTo>
                    <a:lnTo>
                      <a:pt x="420" y="123"/>
                    </a:lnTo>
                    <a:close/>
                    <a:moveTo>
                      <a:pt x="420" y="175"/>
                    </a:moveTo>
                    <a:lnTo>
                      <a:pt x="439" y="167"/>
                    </a:lnTo>
                    <a:lnTo>
                      <a:pt x="450" y="183"/>
                    </a:lnTo>
                    <a:lnTo>
                      <a:pt x="454" y="192"/>
                    </a:lnTo>
                    <a:lnTo>
                      <a:pt x="433" y="211"/>
                    </a:lnTo>
                    <a:lnTo>
                      <a:pt x="423" y="204"/>
                    </a:lnTo>
                    <a:lnTo>
                      <a:pt x="422" y="194"/>
                    </a:lnTo>
                    <a:lnTo>
                      <a:pt x="420" y="175"/>
                    </a:lnTo>
                    <a:close/>
                    <a:moveTo>
                      <a:pt x="391" y="196"/>
                    </a:moveTo>
                    <a:lnTo>
                      <a:pt x="404" y="198"/>
                    </a:lnTo>
                    <a:lnTo>
                      <a:pt x="409" y="210"/>
                    </a:lnTo>
                    <a:lnTo>
                      <a:pt x="409" y="219"/>
                    </a:lnTo>
                    <a:lnTo>
                      <a:pt x="412" y="233"/>
                    </a:lnTo>
                    <a:lnTo>
                      <a:pt x="391" y="233"/>
                    </a:lnTo>
                    <a:lnTo>
                      <a:pt x="385" y="207"/>
                    </a:lnTo>
                    <a:lnTo>
                      <a:pt x="391" y="196"/>
                    </a:lnTo>
                    <a:close/>
                    <a:moveTo>
                      <a:pt x="369" y="232"/>
                    </a:moveTo>
                    <a:lnTo>
                      <a:pt x="391" y="245"/>
                    </a:lnTo>
                    <a:lnTo>
                      <a:pt x="404" y="274"/>
                    </a:lnTo>
                    <a:lnTo>
                      <a:pt x="400" y="280"/>
                    </a:lnTo>
                    <a:lnTo>
                      <a:pt x="400" y="290"/>
                    </a:lnTo>
                    <a:lnTo>
                      <a:pt x="375" y="289"/>
                    </a:lnTo>
                    <a:lnTo>
                      <a:pt x="369" y="263"/>
                    </a:lnTo>
                    <a:lnTo>
                      <a:pt x="358" y="251"/>
                    </a:lnTo>
                    <a:lnTo>
                      <a:pt x="369" y="232"/>
                    </a:lnTo>
                    <a:close/>
                    <a:moveTo>
                      <a:pt x="288" y="102"/>
                    </a:moveTo>
                    <a:lnTo>
                      <a:pt x="322" y="120"/>
                    </a:lnTo>
                    <a:lnTo>
                      <a:pt x="322" y="130"/>
                    </a:lnTo>
                    <a:lnTo>
                      <a:pt x="275" y="127"/>
                    </a:lnTo>
                    <a:lnTo>
                      <a:pt x="275" y="111"/>
                    </a:lnTo>
                    <a:lnTo>
                      <a:pt x="288" y="102"/>
                    </a:lnTo>
                    <a:close/>
                    <a:moveTo>
                      <a:pt x="308" y="147"/>
                    </a:moveTo>
                    <a:lnTo>
                      <a:pt x="316" y="160"/>
                    </a:lnTo>
                    <a:lnTo>
                      <a:pt x="309" y="175"/>
                    </a:lnTo>
                    <a:lnTo>
                      <a:pt x="320" y="192"/>
                    </a:lnTo>
                    <a:lnTo>
                      <a:pt x="303" y="216"/>
                    </a:lnTo>
                    <a:lnTo>
                      <a:pt x="291" y="216"/>
                    </a:lnTo>
                    <a:lnTo>
                      <a:pt x="294" y="184"/>
                    </a:lnTo>
                    <a:lnTo>
                      <a:pt x="281" y="171"/>
                    </a:lnTo>
                    <a:lnTo>
                      <a:pt x="295" y="156"/>
                    </a:lnTo>
                    <a:lnTo>
                      <a:pt x="308" y="147"/>
                    </a:lnTo>
                    <a:close/>
                    <a:moveTo>
                      <a:pt x="304" y="310"/>
                    </a:moveTo>
                    <a:lnTo>
                      <a:pt x="345" y="315"/>
                    </a:lnTo>
                    <a:lnTo>
                      <a:pt x="355" y="328"/>
                    </a:lnTo>
                    <a:lnTo>
                      <a:pt x="341" y="345"/>
                    </a:lnTo>
                    <a:lnTo>
                      <a:pt x="297" y="358"/>
                    </a:lnTo>
                    <a:lnTo>
                      <a:pt x="265" y="357"/>
                    </a:lnTo>
                    <a:lnTo>
                      <a:pt x="258" y="346"/>
                    </a:lnTo>
                    <a:lnTo>
                      <a:pt x="288" y="322"/>
                    </a:lnTo>
                    <a:lnTo>
                      <a:pt x="304" y="310"/>
                    </a:lnTo>
                    <a:close/>
                    <a:moveTo>
                      <a:pt x="328" y="274"/>
                    </a:moveTo>
                    <a:lnTo>
                      <a:pt x="340" y="275"/>
                    </a:lnTo>
                    <a:lnTo>
                      <a:pt x="354" y="289"/>
                    </a:lnTo>
                    <a:lnTo>
                      <a:pt x="355" y="300"/>
                    </a:lnTo>
                    <a:lnTo>
                      <a:pt x="329" y="296"/>
                    </a:lnTo>
                    <a:lnTo>
                      <a:pt x="319" y="284"/>
                    </a:lnTo>
                    <a:lnTo>
                      <a:pt x="328" y="274"/>
                    </a:lnTo>
                    <a:close/>
                    <a:moveTo>
                      <a:pt x="255" y="232"/>
                    </a:moveTo>
                    <a:lnTo>
                      <a:pt x="263" y="235"/>
                    </a:lnTo>
                    <a:lnTo>
                      <a:pt x="265" y="251"/>
                    </a:lnTo>
                    <a:lnTo>
                      <a:pt x="253" y="275"/>
                    </a:lnTo>
                    <a:lnTo>
                      <a:pt x="261" y="290"/>
                    </a:lnTo>
                    <a:lnTo>
                      <a:pt x="238" y="290"/>
                    </a:lnTo>
                    <a:lnTo>
                      <a:pt x="234" y="257"/>
                    </a:lnTo>
                    <a:lnTo>
                      <a:pt x="255" y="232"/>
                    </a:lnTo>
                    <a:close/>
                    <a:moveTo>
                      <a:pt x="147" y="49"/>
                    </a:moveTo>
                    <a:lnTo>
                      <a:pt x="181" y="82"/>
                    </a:lnTo>
                    <a:lnTo>
                      <a:pt x="212" y="88"/>
                    </a:lnTo>
                    <a:lnTo>
                      <a:pt x="225" y="110"/>
                    </a:lnTo>
                    <a:lnTo>
                      <a:pt x="243" y="117"/>
                    </a:lnTo>
                    <a:lnTo>
                      <a:pt x="246" y="140"/>
                    </a:lnTo>
                    <a:lnTo>
                      <a:pt x="266" y="166"/>
                    </a:lnTo>
                    <a:lnTo>
                      <a:pt x="251" y="211"/>
                    </a:lnTo>
                    <a:lnTo>
                      <a:pt x="214" y="217"/>
                    </a:lnTo>
                    <a:lnTo>
                      <a:pt x="191" y="192"/>
                    </a:lnTo>
                    <a:lnTo>
                      <a:pt x="176" y="190"/>
                    </a:lnTo>
                    <a:lnTo>
                      <a:pt x="165" y="211"/>
                    </a:lnTo>
                    <a:lnTo>
                      <a:pt x="186" y="228"/>
                    </a:lnTo>
                    <a:lnTo>
                      <a:pt x="168" y="269"/>
                    </a:lnTo>
                    <a:lnTo>
                      <a:pt x="172" y="277"/>
                    </a:lnTo>
                    <a:lnTo>
                      <a:pt x="189" y="277"/>
                    </a:lnTo>
                    <a:lnTo>
                      <a:pt x="200" y="270"/>
                    </a:lnTo>
                    <a:lnTo>
                      <a:pt x="234" y="289"/>
                    </a:lnTo>
                    <a:lnTo>
                      <a:pt x="234" y="303"/>
                    </a:lnTo>
                    <a:lnTo>
                      <a:pt x="227" y="319"/>
                    </a:lnTo>
                    <a:lnTo>
                      <a:pt x="240" y="332"/>
                    </a:lnTo>
                    <a:lnTo>
                      <a:pt x="238" y="348"/>
                    </a:lnTo>
                    <a:lnTo>
                      <a:pt x="218" y="363"/>
                    </a:lnTo>
                    <a:lnTo>
                      <a:pt x="212" y="340"/>
                    </a:lnTo>
                    <a:lnTo>
                      <a:pt x="199" y="344"/>
                    </a:lnTo>
                    <a:lnTo>
                      <a:pt x="188" y="321"/>
                    </a:lnTo>
                    <a:lnTo>
                      <a:pt x="159" y="300"/>
                    </a:lnTo>
                    <a:lnTo>
                      <a:pt x="134" y="306"/>
                    </a:lnTo>
                    <a:lnTo>
                      <a:pt x="130" y="283"/>
                    </a:lnTo>
                    <a:lnTo>
                      <a:pt x="120" y="270"/>
                    </a:lnTo>
                    <a:lnTo>
                      <a:pt x="99" y="269"/>
                    </a:lnTo>
                    <a:lnTo>
                      <a:pt x="88" y="255"/>
                    </a:lnTo>
                    <a:lnTo>
                      <a:pt x="84" y="229"/>
                    </a:lnTo>
                    <a:lnTo>
                      <a:pt x="64" y="205"/>
                    </a:lnTo>
                    <a:lnTo>
                      <a:pt x="50" y="206"/>
                    </a:lnTo>
                    <a:lnTo>
                      <a:pt x="38" y="203"/>
                    </a:lnTo>
                    <a:lnTo>
                      <a:pt x="32" y="224"/>
                    </a:lnTo>
                    <a:lnTo>
                      <a:pt x="17" y="224"/>
                    </a:lnTo>
                    <a:lnTo>
                      <a:pt x="5" y="198"/>
                    </a:lnTo>
                    <a:lnTo>
                      <a:pt x="11" y="171"/>
                    </a:lnTo>
                    <a:lnTo>
                      <a:pt x="0" y="159"/>
                    </a:lnTo>
                    <a:lnTo>
                      <a:pt x="7" y="140"/>
                    </a:lnTo>
                    <a:lnTo>
                      <a:pt x="47" y="123"/>
                    </a:lnTo>
                    <a:lnTo>
                      <a:pt x="66" y="129"/>
                    </a:lnTo>
                    <a:lnTo>
                      <a:pt x="86" y="126"/>
                    </a:lnTo>
                    <a:lnTo>
                      <a:pt x="102" y="106"/>
                    </a:lnTo>
                    <a:lnTo>
                      <a:pt x="120" y="116"/>
                    </a:lnTo>
                    <a:lnTo>
                      <a:pt x="115" y="148"/>
                    </a:lnTo>
                    <a:lnTo>
                      <a:pt x="128" y="152"/>
                    </a:lnTo>
                    <a:lnTo>
                      <a:pt x="139" y="139"/>
                    </a:lnTo>
                    <a:lnTo>
                      <a:pt x="135" y="129"/>
                    </a:lnTo>
                    <a:lnTo>
                      <a:pt x="135" y="116"/>
                    </a:lnTo>
                    <a:lnTo>
                      <a:pt x="124" y="100"/>
                    </a:lnTo>
                    <a:lnTo>
                      <a:pt x="95" y="96"/>
                    </a:lnTo>
                    <a:lnTo>
                      <a:pt x="121" y="61"/>
                    </a:lnTo>
                    <a:lnTo>
                      <a:pt x="147" y="49"/>
                    </a:lnTo>
                    <a:close/>
                  </a:path>
                </a:pathLst>
              </a:custGeom>
              <a:grpFill/>
              <a:ln w="635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katta Sans Regular"/>
                  <a:ea typeface="+mn-ea"/>
                  <a:cs typeface="+mn-cs"/>
                </a:endParaRPr>
              </a:p>
            </p:txBody>
          </p:sp>
          <p:sp>
            <p:nvSpPr>
              <p:cNvPr id="320" name="Freeform 19">
                <a:extLst>
                  <a:ext uri="{FF2B5EF4-FFF2-40B4-BE49-F238E27FC236}">
                    <a16:creationId xmlns:a16="http://schemas.microsoft.com/office/drawing/2014/main" id="{C2621747-E771-49F7-B8FE-20E4A1A5D1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37138" y="3941763"/>
                <a:ext cx="730250" cy="987425"/>
              </a:xfrm>
              <a:custGeom>
                <a:avLst/>
                <a:gdLst>
                  <a:gd name="T0" fmla="*/ 740 w 920"/>
                  <a:gd name="T1" fmla="*/ 340 h 1245"/>
                  <a:gd name="T2" fmla="*/ 541 w 920"/>
                  <a:gd name="T3" fmla="*/ 448 h 1245"/>
                  <a:gd name="T4" fmla="*/ 469 w 920"/>
                  <a:gd name="T5" fmla="*/ 669 h 1245"/>
                  <a:gd name="T6" fmla="*/ 257 w 920"/>
                  <a:gd name="T7" fmla="*/ 751 h 1245"/>
                  <a:gd name="T8" fmla="*/ 220 w 920"/>
                  <a:gd name="T9" fmla="*/ 994 h 1245"/>
                  <a:gd name="T10" fmla="*/ 225 w 920"/>
                  <a:gd name="T11" fmla="*/ 1132 h 1245"/>
                  <a:gd name="T12" fmla="*/ 101 w 920"/>
                  <a:gd name="T13" fmla="*/ 1239 h 1245"/>
                  <a:gd name="T14" fmla="*/ 141 w 920"/>
                  <a:gd name="T15" fmla="*/ 1075 h 1245"/>
                  <a:gd name="T16" fmla="*/ 129 w 920"/>
                  <a:gd name="T17" fmla="*/ 978 h 1245"/>
                  <a:gd name="T18" fmla="*/ 77 w 920"/>
                  <a:gd name="T19" fmla="*/ 854 h 1245"/>
                  <a:gd name="T20" fmla="*/ 61 w 920"/>
                  <a:gd name="T21" fmla="*/ 801 h 1245"/>
                  <a:gd name="T22" fmla="*/ 80 w 920"/>
                  <a:gd name="T23" fmla="*/ 697 h 1245"/>
                  <a:gd name="T24" fmla="*/ 149 w 920"/>
                  <a:gd name="T25" fmla="*/ 629 h 1245"/>
                  <a:gd name="T26" fmla="*/ 202 w 920"/>
                  <a:gd name="T27" fmla="*/ 586 h 1245"/>
                  <a:gd name="T28" fmla="*/ 205 w 920"/>
                  <a:gd name="T29" fmla="*/ 521 h 1245"/>
                  <a:gd name="T30" fmla="*/ 220 w 920"/>
                  <a:gd name="T31" fmla="*/ 483 h 1245"/>
                  <a:gd name="T32" fmla="*/ 265 w 920"/>
                  <a:gd name="T33" fmla="*/ 412 h 1245"/>
                  <a:gd name="T34" fmla="*/ 459 w 920"/>
                  <a:gd name="T35" fmla="*/ 376 h 1245"/>
                  <a:gd name="T36" fmla="*/ 450 w 920"/>
                  <a:gd name="T37" fmla="*/ 267 h 1245"/>
                  <a:gd name="T38" fmla="*/ 514 w 920"/>
                  <a:gd name="T39" fmla="*/ 220 h 1245"/>
                  <a:gd name="T40" fmla="*/ 576 w 920"/>
                  <a:gd name="T41" fmla="*/ 137 h 1245"/>
                  <a:gd name="T42" fmla="*/ 625 w 920"/>
                  <a:gd name="T43" fmla="*/ 29 h 1245"/>
                  <a:gd name="T44" fmla="*/ 806 w 920"/>
                  <a:gd name="T45" fmla="*/ 92 h 1245"/>
                  <a:gd name="T46" fmla="*/ 865 w 920"/>
                  <a:gd name="T47" fmla="*/ 177 h 1245"/>
                  <a:gd name="T48" fmla="*/ 894 w 920"/>
                  <a:gd name="T49" fmla="*/ 285 h 1245"/>
                  <a:gd name="T50" fmla="*/ 573 w 920"/>
                  <a:gd name="T51" fmla="*/ 90 h 1245"/>
                  <a:gd name="T52" fmla="*/ 342 w 920"/>
                  <a:gd name="T53" fmla="*/ 269 h 1245"/>
                  <a:gd name="T54" fmla="*/ 329 w 920"/>
                  <a:gd name="T55" fmla="*/ 262 h 1245"/>
                  <a:gd name="T56" fmla="*/ 408 w 920"/>
                  <a:gd name="T57" fmla="*/ 335 h 1245"/>
                  <a:gd name="T58" fmla="*/ 361 w 920"/>
                  <a:gd name="T59" fmla="*/ 350 h 1245"/>
                  <a:gd name="T60" fmla="*/ 437 w 920"/>
                  <a:gd name="T61" fmla="*/ 393 h 1245"/>
                  <a:gd name="T62" fmla="*/ 371 w 920"/>
                  <a:gd name="T63" fmla="*/ 371 h 1245"/>
                  <a:gd name="T64" fmla="*/ 311 w 920"/>
                  <a:gd name="T65" fmla="*/ 374 h 1245"/>
                  <a:gd name="T66" fmla="*/ 280 w 920"/>
                  <a:gd name="T67" fmla="*/ 395 h 1245"/>
                  <a:gd name="T68" fmla="*/ 158 w 920"/>
                  <a:gd name="T69" fmla="*/ 294 h 1245"/>
                  <a:gd name="T70" fmla="*/ 129 w 920"/>
                  <a:gd name="T71" fmla="*/ 334 h 1245"/>
                  <a:gd name="T72" fmla="*/ 201 w 920"/>
                  <a:gd name="T73" fmla="*/ 322 h 1245"/>
                  <a:gd name="T74" fmla="*/ 160 w 920"/>
                  <a:gd name="T75" fmla="*/ 329 h 1245"/>
                  <a:gd name="T76" fmla="*/ 144 w 920"/>
                  <a:gd name="T77" fmla="*/ 384 h 1245"/>
                  <a:gd name="T78" fmla="*/ 199 w 920"/>
                  <a:gd name="T79" fmla="*/ 384 h 1245"/>
                  <a:gd name="T80" fmla="*/ 148 w 920"/>
                  <a:gd name="T81" fmla="*/ 446 h 1245"/>
                  <a:gd name="T82" fmla="*/ 125 w 920"/>
                  <a:gd name="T83" fmla="*/ 365 h 1245"/>
                  <a:gd name="T84" fmla="*/ 26 w 920"/>
                  <a:gd name="T85" fmla="*/ 552 h 1245"/>
                  <a:gd name="T86" fmla="*/ 0 w 920"/>
                  <a:gd name="T87" fmla="*/ 557 h 1245"/>
                  <a:gd name="T88" fmla="*/ 129 w 920"/>
                  <a:gd name="T89" fmla="*/ 567 h 1245"/>
                  <a:gd name="T90" fmla="*/ 100 w 920"/>
                  <a:gd name="T91" fmla="*/ 546 h 1245"/>
                  <a:gd name="T92" fmla="*/ 115 w 920"/>
                  <a:gd name="T93" fmla="*/ 656 h 1245"/>
                  <a:gd name="T94" fmla="*/ 87 w 920"/>
                  <a:gd name="T95" fmla="*/ 647 h 1245"/>
                  <a:gd name="T96" fmla="*/ 74 w 920"/>
                  <a:gd name="T97" fmla="*/ 742 h 1245"/>
                  <a:gd name="T98" fmla="*/ 54 w 920"/>
                  <a:gd name="T99" fmla="*/ 831 h 1245"/>
                  <a:gd name="T100" fmla="*/ 46 w 920"/>
                  <a:gd name="T101" fmla="*/ 856 h 1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920" h="1245">
                    <a:moveTo>
                      <a:pt x="877" y="339"/>
                    </a:moveTo>
                    <a:lnTo>
                      <a:pt x="846" y="302"/>
                    </a:lnTo>
                    <a:lnTo>
                      <a:pt x="810" y="284"/>
                    </a:lnTo>
                    <a:lnTo>
                      <a:pt x="759" y="283"/>
                    </a:lnTo>
                    <a:lnTo>
                      <a:pt x="740" y="340"/>
                    </a:lnTo>
                    <a:lnTo>
                      <a:pt x="714" y="362"/>
                    </a:lnTo>
                    <a:lnTo>
                      <a:pt x="677" y="352"/>
                    </a:lnTo>
                    <a:lnTo>
                      <a:pt x="607" y="363"/>
                    </a:lnTo>
                    <a:lnTo>
                      <a:pt x="541" y="397"/>
                    </a:lnTo>
                    <a:lnTo>
                      <a:pt x="541" y="448"/>
                    </a:lnTo>
                    <a:lnTo>
                      <a:pt x="557" y="449"/>
                    </a:lnTo>
                    <a:lnTo>
                      <a:pt x="570" y="508"/>
                    </a:lnTo>
                    <a:lnTo>
                      <a:pt x="536" y="508"/>
                    </a:lnTo>
                    <a:lnTo>
                      <a:pt x="464" y="634"/>
                    </a:lnTo>
                    <a:lnTo>
                      <a:pt x="469" y="669"/>
                    </a:lnTo>
                    <a:lnTo>
                      <a:pt x="407" y="735"/>
                    </a:lnTo>
                    <a:lnTo>
                      <a:pt x="329" y="709"/>
                    </a:lnTo>
                    <a:lnTo>
                      <a:pt x="279" y="657"/>
                    </a:lnTo>
                    <a:lnTo>
                      <a:pt x="265" y="674"/>
                    </a:lnTo>
                    <a:lnTo>
                      <a:pt x="257" y="751"/>
                    </a:lnTo>
                    <a:lnTo>
                      <a:pt x="273" y="767"/>
                    </a:lnTo>
                    <a:lnTo>
                      <a:pt x="221" y="823"/>
                    </a:lnTo>
                    <a:lnTo>
                      <a:pt x="180" y="945"/>
                    </a:lnTo>
                    <a:lnTo>
                      <a:pt x="196" y="985"/>
                    </a:lnTo>
                    <a:lnTo>
                      <a:pt x="220" y="994"/>
                    </a:lnTo>
                    <a:lnTo>
                      <a:pt x="221" y="1053"/>
                    </a:lnTo>
                    <a:lnTo>
                      <a:pt x="235" y="1059"/>
                    </a:lnTo>
                    <a:lnTo>
                      <a:pt x="251" y="1081"/>
                    </a:lnTo>
                    <a:lnTo>
                      <a:pt x="219" y="1101"/>
                    </a:lnTo>
                    <a:lnTo>
                      <a:pt x="225" y="1132"/>
                    </a:lnTo>
                    <a:lnTo>
                      <a:pt x="207" y="1146"/>
                    </a:lnTo>
                    <a:lnTo>
                      <a:pt x="200" y="1207"/>
                    </a:lnTo>
                    <a:lnTo>
                      <a:pt x="135" y="1215"/>
                    </a:lnTo>
                    <a:lnTo>
                      <a:pt x="103" y="1245"/>
                    </a:lnTo>
                    <a:lnTo>
                      <a:pt x="101" y="1239"/>
                    </a:lnTo>
                    <a:lnTo>
                      <a:pt x="85" y="1212"/>
                    </a:lnTo>
                    <a:lnTo>
                      <a:pt x="100" y="1154"/>
                    </a:lnTo>
                    <a:lnTo>
                      <a:pt x="117" y="1126"/>
                    </a:lnTo>
                    <a:lnTo>
                      <a:pt x="116" y="1103"/>
                    </a:lnTo>
                    <a:lnTo>
                      <a:pt x="141" y="1075"/>
                    </a:lnTo>
                    <a:lnTo>
                      <a:pt x="137" y="1059"/>
                    </a:lnTo>
                    <a:lnTo>
                      <a:pt x="106" y="1046"/>
                    </a:lnTo>
                    <a:lnTo>
                      <a:pt x="105" y="1022"/>
                    </a:lnTo>
                    <a:lnTo>
                      <a:pt x="128" y="994"/>
                    </a:lnTo>
                    <a:lnTo>
                      <a:pt x="129" y="978"/>
                    </a:lnTo>
                    <a:lnTo>
                      <a:pt x="83" y="976"/>
                    </a:lnTo>
                    <a:lnTo>
                      <a:pt x="68" y="955"/>
                    </a:lnTo>
                    <a:lnTo>
                      <a:pt x="81" y="905"/>
                    </a:lnTo>
                    <a:lnTo>
                      <a:pt x="72" y="894"/>
                    </a:lnTo>
                    <a:lnTo>
                      <a:pt x="77" y="854"/>
                    </a:lnTo>
                    <a:lnTo>
                      <a:pt x="98" y="819"/>
                    </a:lnTo>
                    <a:lnTo>
                      <a:pt x="96" y="806"/>
                    </a:lnTo>
                    <a:lnTo>
                      <a:pt x="84" y="798"/>
                    </a:lnTo>
                    <a:lnTo>
                      <a:pt x="70" y="810"/>
                    </a:lnTo>
                    <a:lnTo>
                      <a:pt x="61" y="801"/>
                    </a:lnTo>
                    <a:lnTo>
                      <a:pt x="68" y="757"/>
                    </a:lnTo>
                    <a:lnTo>
                      <a:pt x="79" y="745"/>
                    </a:lnTo>
                    <a:lnTo>
                      <a:pt x="92" y="732"/>
                    </a:lnTo>
                    <a:lnTo>
                      <a:pt x="94" y="714"/>
                    </a:lnTo>
                    <a:lnTo>
                      <a:pt x="80" y="697"/>
                    </a:lnTo>
                    <a:lnTo>
                      <a:pt x="83" y="687"/>
                    </a:lnTo>
                    <a:lnTo>
                      <a:pt x="107" y="688"/>
                    </a:lnTo>
                    <a:lnTo>
                      <a:pt x="119" y="675"/>
                    </a:lnTo>
                    <a:lnTo>
                      <a:pt x="125" y="637"/>
                    </a:lnTo>
                    <a:lnTo>
                      <a:pt x="149" y="629"/>
                    </a:lnTo>
                    <a:lnTo>
                      <a:pt x="150" y="641"/>
                    </a:lnTo>
                    <a:lnTo>
                      <a:pt x="174" y="638"/>
                    </a:lnTo>
                    <a:lnTo>
                      <a:pt x="183" y="629"/>
                    </a:lnTo>
                    <a:lnTo>
                      <a:pt x="181" y="606"/>
                    </a:lnTo>
                    <a:lnTo>
                      <a:pt x="202" y="586"/>
                    </a:lnTo>
                    <a:lnTo>
                      <a:pt x="205" y="560"/>
                    </a:lnTo>
                    <a:lnTo>
                      <a:pt x="195" y="540"/>
                    </a:lnTo>
                    <a:lnTo>
                      <a:pt x="173" y="523"/>
                    </a:lnTo>
                    <a:lnTo>
                      <a:pt x="183" y="507"/>
                    </a:lnTo>
                    <a:lnTo>
                      <a:pt x="205" y="521"/>
                    </a:lnTo>
                    <a:lnTo>
                      <a:pt x="218" y="517"/>
                    </a:lnTo>
                    <a:lnTo>
                      <a:pt x="236" y="522"/>
                    </a:lnTo>
                    <a:lnTo>
                      <a:pt x="248" y="517"/>
                    </a:lnTo>
                    <a:lnTo>
                      <a:pt x="241" y="501"/>
                    </a:lnTo>
                    <a:lnTo>
                      <a:pt x="220" y="483"/>
                    </a:lnTo>
                    <a:lnTo>
                      <a:pt x="218" y="466"/>
                    </a:lnTo>
                    <a:lnTo>
                      <a:pt x="235" y="444"/>
                    </a:lnTo>
                    <a:lnTo>
                      <a:pt x="236" y="398"/>
                    </a:lnTo>
                    <a:lnTo>
                      <a:pt x="254" y="381"/>
                    </a:lnTo>
                    <a:lnTo>
                      <a:pt x="265" y="412"/>
                    </a:lnTo>
                    <a:lnTo>
                      <a:pt x="289" y="411"/>
                    </a:lnTo>
                    <a:lnTo>
                      <a:pt x="341" y="389"/>
                    </a:lnTo>
                    <a:lnTo>
                      <a:pt x="414" y="416"/>
                    </a:lnTo>
                    <a:lnTo>
                      <a:pt x="441" y="408"/>
                    </a:lnTo>
                    <a:lnTo>
                      <a:pt x="459" y="376"/>
                    </a:lnTo>
                    <a:lnTo>
                      <a:pt x="483" y="375"/>
                    </a:lnTo>
                    <a:lnTo>
                      <a:pt x="492" y="353"/>
                    </a:lnTo>
                    <a:lnTo>
                      <a:pt x="466" y="296"/>
                    </a:lnTo>
                    <a:lnTo>
                      <a:pt x="454" y="284"/>
                    </a:lnTo>
                    <a:lnTo>
                      <a:pt x="450" y="267"/>
                    </a:lnTo>
                    <a:lnTo>
                      <a:pt x="458" y="256"/>
                    </a:lnTo>
                    <a:lnTo>
                      <a:pt x="474" y="256"/>
                    </a:lnTo>
                    <a:lnTo>
                      <a:pt x="485" y="209"/>
                    </a:lnTo>
                    <a:lnTo>
                      <a:pt x="499" y="201"/>
                    </a:lnTo>
                    <a:lnTo>
                      <a:pt x="514" y="220"/>
                    </a:lnTo>
                    <a:lnTo>
                      <a:pt x="521" y="185"/>
                    </a:lnTo>
                    <a:lnTo>
                      <a:pt x="540" y="170"/>
                    </a:lnTo>
                    <a:lnTo>
                      <a:pt x="542" y="161"/>
                    </a:lnTo>
                    <a:lnTo>
                      <a:pt x="562" y="143"/>
                    </a:lnTo>
                    <a:lnTo>
                      <a:pt x="576" y="137"/>
                    </a:lnTo>
                    <a:lnTo>
                      <a:pt x="581" y="118"/>
                    </a:lnTo>
                    <a:lnTo>
                      <a:pt x="606" y="102"/>
                    </a:lnTo>
                    <a:lnTo>
                      <a:pt x="609" y="77"/>
                    </a:lnTo>
                    <a:lnTo>
                      <a:pt x="604" y="42"/>
                    </a:lnTo>
                    <a:lnTo>
                      <a:pt x="625" y="29"/>
                    </a:lnTo>
                    <a:lnTo>
                      <a:pt x="644" y="0"/>
                    </a:lnTo>
                    <a:lnTo>
                      <a:pt x="675" y="83"/>
                    </a:lnTo>
                    <a:lnTo>
                      <a:pt x="688" y="65"/>
                    </a:lnTo>
                    <a:lnTo>
                      <a:pt x="756" y="117"/>
                    </a:lnTo>
                    <a:lnTo>
                      <a:pt x="806" y="92"/>
                    </a:lnTo>
                    <a:lnTo>
                      <a:pt x="819" y="112"/>
                    </a:lnTo>
                    <a:lnTo>
                      <a:pt x="842" y="95"/>
                    </a:lnTo>
                    <a:lnTo>
                      <a:pt x="920" y="157"/>
                    </a:lnTo>
                    <a:lnTo>
                      <a:pt x="902" y="176"/>
                    </a:lnTo>
                    <a:lnTo>
                      <a:pt x="865" y="177"/>
                    </a:lnTo>
                    <a:lnTo>
                      <a:pt x="842" y="159"/>
                    </a:lnTo>
                    <a:lnTo>
                      <a:pt x="813" y="177"/>
                    </a:lnTo>
                    <a:lnTo>
                      <a:pt x="832" y="212"/>
                    </a:lnTo>
                    <a:lnTo>
                      <a:pt x="850" y="206"/>
                    </a:lnTo>
                    <a:lnTo>
                      <a:pt x="894" y="285"/>
                    </a:lnTo>
                    <a:lnTo>
                      <a:pt x="877" y="339"/>
                    </a:lnTo>
                    <a:close/>
                    <a:moveTo>
                      <a:pt x="589" y="47"/>
                    </a:moveTo>
                    <a:lnTo>
                      <a:pt x="586" y="77"/>
                    </a:lnTo>
                    <a:lnTo>
                      <a:pt x="579" y="84"/>
                    </a:lnTo>
                    <a:lnTo>
                      <a:pt x="573" y="90"/>
                    </a:lnTo>
                    <a:lnTo>
                      <a:pt x="563" y="70"/>
                    </a:lnTo>
                    <a:lnTo>
                      <a:pt x="570" y="45"/>
                    </a:lnTo>
                    <a:lnTo>
                      <a:pt x="574" y="34"/>
                    </a:lnTo>
                    <a:lnTo>
                      <a:pt x="589" y="47"/>
                    </a:lnTo>
                    <a:close/>
                    <a:moveTo>
                      <a:pt x="342" y="269"/>
                    </a:moveTo>
                    <a:lnTo>
                      <a:pt x="342" y="286"/>
                    </a:lnTo>
                    <a:lnTo>
                      <a:pt x="331" y="289"/>
                    </a:lnTo>
                    <a:lnTo>
                      <a:pt x="324" y="290"/>
                    </a:lnTo>
                    <a:lnTo>
                      <a:pt x="315" y="265"/>
                    </a:lnTo>
                    <a:lnTo>
                      <a:pt x="329" y="262"/>
                    </a:lnTo>
                    <a:lnTo>
                      <a:pt x="334" y="260"/>
                    </a:lnTo>
                    <a:lnTo>
                      <a:pt x="342" y="269"/>
                    </a:lnTo>
                    <a:close/>
                    <a:moveTo>
                      <a:pt x="401" y="317"/>
                    </a:moveTo>
                    <a:lnTo>
                      <a:pt x="413" y="328"/>
                    </a:lnTo>
                    <a:lnTo>
                      <a:pt x="408" y="335"/>
                    </a:lnTo>
                    <a:lnTo>
                      <a:pt x="406" y="340"/>
                    </a:lnTo>
                    <a:lnTo>
                      <a:pt x="384" y="341"/>
                    </a:lnTo>
                    <a:lnTo>
                      <a:pt x="375" y="348"/>
                    </a:lnTo>
                    <a:lnTo>
                      <a:pt x="370" y="352"/>
                    </a:lnTo>
                    <a:lnTo>
                      <a:pt x="361" y="350"/>
                    </a:lnTo>
                    <a:lnTo>
                      <a:pt x="381" y="317"/>
                    </a:lnTo>
                    <a:lnTo>
                      <a:pt x="401" y="317"/>
                    </a:lnTo>
                    <a:close/>
                    <a:moveTo>
                      <a:pt x="443" y="359"/>
                    </a:moveTo>
                    <a:lnTo>
                      <a:pt x="444" y="380"/>
                    </a:lnTo>
                    <a:lnTo>
                      <a:pt x="437" y="393"/>
                    </a:lnTo>
                    <a:lnTo>
                      <a:pt x="432" y="403"/>
                    </a:lnTo>
                    <a:lnTo>
                      <a:pt x="403" y="388"/>
                    </a:lnTo>
                    <a:lnTo>
                      <a:pt x="387" y="389"/>
                    </a:lnTo>
                    <a:lnTo>
                      <a:pt x="380" y="389"/>
                    </a:lnTo>
                    <a:lnTo>
                      <a:pt x="371" y="371"/>
                    </a:lnTo>
                    <a:lnTo>
                      <a:pt x="399" y="354"/>
                    </a:lnTo>
                    <a:lnTo>
                      <a:pt x="428" y="366"/>
                    </a:lnTo>
                    <a:lnTo>
                      <a:pt x="443" y="359"/>
                    </a:lnTo>
                    <a:close/>
                    <a:moveTo>
                      <a:pt x="285" y="352"/>
                    </a:moveTo>
                    <a:lnTo>
                      <a:pt x="311" y="374"/>
                    </a:lnTo>
                    <a:lnTo>
                      <a:pt x="309" y="382"/>
                    </a:lnTo>
                    <a:lnTo>
                      <a:pt x="306" y="387"/>
                    </a:lnTo>
                    <a:lnTo>
                      <a:pt x="291" y="373"/>
                    </a:lnTo>
                    <a:lnTo>
                      <a:pt x="284" y="389"/>
                    </a:lnTo>
                    <a:lnTo>
                      <a:pt x="280" y="395"/>
                    </a:lnTo>
                    <a:lnTo>
                      <a:pt x="268" y="393"/>
                    </a:lnTo>
                    <a:lnTo>
                      <a:pt x="268" y="371"/>
                    </a:lnTo>
                    <a:lnTo>
                      <a:pt x="285" y="352"/>
                    </a:lnTo>
                    <a:close/>
                    <a:moveTo>
                      <a:pt x="146" y="294"/>
                    </a:moveTo>
                    <a:lnTo>
                      <a:pt x="158" y="294"/>
                    </a:lnTo>
                    <a:lnTo>
                      <a:pt x="158" y="305"/>
                    </a:lnTo>
                    <a:lnTo>
                      <a:pt x="158" y="314"/>
                    </a:lnTo>
                    <a:lnTo>
                      <a:pt x="145" y="334"/>
                    </a:lnTo>
                    <a:lnTo>
                      <a:pt x="133" y="334"/>
                    </a:lnTo>
                    <a:lnTo>
                      <a:pt x="129" y="334"/>
                    </a:lnTo>
                    <a:lnTo>
                      <a:pt x="136" y="314"/>
                    </a:lnTo>
                    <a:lnTo>
                      <a:pt x="146" y="294"/>
                    </a:lnTo>
                    <a:close/>
                    <a:moveTo>
                      <a:pt x="182" y="311"/>
                    </a:moveTo>
                    <a:lnTo>
                      <a:pt x="197" y="311"/>
                    </a:lnTo>
                    <a:lnTo>
                      <a:pt x="201" y="322"/>
                    </a:lnTo>
                    <a:lnTo>
                      <a:pt x="205" y="329"/>
                    </a:lnTo>
                    <a:lnTo>
                      <a:pt x="191" y="346"/>
                    </a:lnTo>
                    <a:lnTo>
                      <a:pt x="176" y="346"/>
                    </a:lnTo>
                    <a:lnTo>
                      <a:pt x="170" y="346"/>
                    </a:lnTo>
                    <a:lnTo>
                      <a:pt x="160" y="329"/>
                    </a:lnTo>
                    <a:lnTo>
                      <a:pt x="182" y="311"/>
                    </a:lnTo>
                    <a:close/>
                    <a:moveTo>
                      <a:pt x="157" y="356"/>
                    </a:moveTo>
                    <a:lnTo>
                      <a:pt x="157" y="372"/>
                    </a:lnTo>
                    <a:lnTo>
                      <a:pt x="150" y="379"/>
                    </a:lnTo>
                    <a:lnTo>
                      <a:pt x="144" y="384"/>
                    </a:lnTo>
                    <a:lnTo>
                      <a:pt x="151" y="395"/>
                    </a:lnTo>
                    <a:lnTo>
                      <a:pt x="167" y="397"/>
                    </a:lnTo>
                    <a:lnTo>
                      <a:pt x="173" y="397"/>
                    </a:lnTo>
                    <a:lnTo>
                      <a:pt x="181" y="379"/>
                    </a:lnTo>
                    <a:lnTo>
                      <a:pt x="199" y="384"/>
                    </a:lnTo>
                    <a:lnTo>
                      <a:pt x="213" y="416"/>
                    </a:lnTo>
                    <a:lnTo>
                      <a:pt x="205" y="438"/>
                    </a:lnTo>
                    <a:lnTo>
                      <a:pt x="181" y="430"/>
                    </a:lnTo>
                    <a:lnTo>
                      <a:pt x="167" y="451"/>
                    </a:lnTo>
                    <a:lnTo>
                      <a:pt x="148" y="446"/>
                    </a:lnTo>
                    <a:lnTo>
                      <a:pt x="135" y="434"/>
                    </a:lnTo>
                    <a:lnTo>
                      <a:pt x="120" y="433"/>
                    </a:lnTo>
                    <a:lnTo>
                      <a:pt x="100" y="356"/>
                    </a:lnTo>
                    <a:lnTo>
                      <a:pt x="113" y="352"/>
                    </a:lnTo>
                    <a:lnTo>
                      <a:pt x="125" y="365"/>
                    </a:lnTo>
                    <a:lnTo>
                      <a:pt x="144" y="344"/>
                    </a:lnTo>
                    <a:lnTo>
                      <a:pt x="157" y="356"/>
                    </a:lnTo>
                    <a:close/>
                    <a:moveTo>
                      <a:pt x="13" y="538"/>
                    </a:moveTo>
                    <a:lnTo>
                      <a:pt x="27" y="542"/>
                    </a:lnTo>
                    <a:lnTo>
                      <a:pt x="26" y="552"/>
                    </a:lnTo>
                    <a:lnTo>
                      <a:pt x="26" y="559"/>
                    </a:lnTo>
                    <a:lnTo>
                      <a:pt x="20" y="571"/>
                    </a:lnTo>
                    <a:lnTo>
                      <a:pt x="11" y="571"/>
                    </a:lnTo>
                    <a:lnTo>
                      <a:pt x="7" y="571"/>
                    </a:lnTo>
                    <a:lnTo>
                      <a:pt x="0" y="557"/>
                    </a:lnTo>
                    <a:lnTo>
                      <a:pt x="13" y="538"/>
                    </a:lnTo>
                    <a:close/>
                    <a:moveTo>
                      <a:pt x="112" y="539"/>
                    </a:moveTo>
                    <a:lnTo>
                      <a:pt x="126" y="551"/>
                    </a:lnTo>
                    <a:lnTo>
                      <a:pt x="128" y="560"/>
                    </a:lnTo>
                    <a:lnTo>
                      <a:pt x="129" y="567"/>
                    </a:lnTo>
                    <a:lnTo>
                      <a:pt x="124" y="586"/>
                    </a:lnTo>
                    <a:lnTo>
                      <a:pt x="116" y="586"/>
                    </a:lnTo>
                    <a:lnTo>
                      <a:pt x="112" y="586"/>
                    </a:lnTo>
                    <a:lnTo>
                      <a:pt x="100" y="575"/>
                    </a:lnTo>
                    <a:lnTo>
                      <a:pt x="100" y="546"/>
                    </a:lnTo>
                    <a:lnTo>
                      <a:pt x="112" y="539"/>
                    </a:lnTo>
                    <a:close/>
                    <a:moveTo>
                      <a:pt x="87" y="647"/>
                    </a:moveTo>
                    <a:lnTo>
                      <a:pt x="106" y="637"/>
                    </a:lnTo>
                    <a:lnTo>
                      <a:pt x="111" y="648"/>
                    </a:lnTo>
                    <a:lnTo>
                      <a:pt x="115" y="656"/>
                    </a:lnTo>
                    <a:lnTo>
                      <a:pt x="103" y="664"/>
                    </a:lnTo>
                    <a:lnTo>
                      <a:pt x="94" y="671"/>
                    </a:lnTo>
                    <a:lnTo>
                      <a:pt x="92" y="674"/>
                    </a:lnTo>
                    <a:lnTo>
                      <a:pt x="77" y="664"/>
                    </a:lnTo>
                    <a:lnTo>
                      <a:pt x="87" y="647"/>
                    </a:lnTo>
                    <a:close/>
                    <a:moveTo>
                      <a:pt x="58" y="714"/>
                    </a:moveTo>
                    <a:lnTo>
                      <a:pt x="66" y="712"/>
                    </a:lnTo>
                    <a:lnTo>
                      <a:pt x="73" y="726"/>
                    </a:lnTo>
                    <a:lnTo>
                      <a:pt x="78" y="737"/>
                    </a:lnTo>
                    <a:lnTo>
                      <a:pt x="74" y="742"/>
                    </a:lnTo>
                    <a:lnTo>
                      <a:pt x="65" y="744"/>
                    </a:lnTo>
                    <a:lnTo>
                      <a:pt x="60" y="744"/>
                    </a:lnTo>
                    <a:lnTo>
                      <a:pt x="56" y="734"/>
                    </a:lnTo>
                    <a:lnTo>
                      <a:pt x="58" y="714"/>
                    </a:lnTo>
                    <a:close/>
                    <a:moveTo>
                      <a:pt x="54" y="831"/>
                    </a:moveTo>
                    <a:lnTo>
                      <a:pt x="68" y="847"/>
                    </a:lnTo>
                    <a:lnTo>
                      <a:pt x="68" y="851"/>
                    </a:lnTo>
                    <a:lnTo>
                      <a:pt x="68" y="856"/>
                    </a:lnTo>
                    <a:lnTo>
                      <a:pt x="54" y="864"/>
                    </a:lnTo>
                    <a:lnTo>
                      <a:pt x="46" y="856"/>
                    </a:lnTo>
                    <a:lnTo>
                      <a:pt x="43" y="853"/>
                    </a:lnTo>
                    <a:lnTo>
                      <a:pt x="47" y="840"/>
                    </a:lnTo>
                    <a:lnTo>
                      <a:pt x="54" y="831"/>
                    </a:lnTo>
                    <a:close/>
                  </a:path>
                </a:pathLst>
              </a:custGeom>
              <a:grpFill/>
              <a:ln w="635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katta Sans Regular"/>
                  <a:ea typeface="+mn-ea"/>
                  <a:cs typeface="+mn-cs"/>
                </a:endParaRPr>
              </a:p>
            </p:txBody>
          </p:sp>
          <p:sp>
            <p:nvSpPr>
              <p:cNvPr id="321" name="Freeform 20">
                <a:extLst>
                  <a:ext uri="{FF2B5EF4-FFF2-40B4-BE49-F238E27FC236}">
                    <a16:creationId xmlns:a16="http://schemas.microsoft.com/office/drawing/2014/main" id="{E02B8D8C-84B8-49DB-A35D-68A9ACED4B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81588" y="4775200"/>
                <a:ext cx="422275" cy="733425"/>
              </a:xfrm>
              <a:custGeom>
                <a:avLst/>
                <a:gdLst>
                  <a:gd name="T0" fmla="*/ 23 w 532"/>
                  <a:gd name="T1" fmla="*/ 690 h 923"/>
                  <a:gd name="T2" fmla="*/ 25 w 532"/>
                  <a:gd name="T3" fmla="*/ 705 h 923"/>
                  <a:gd name="T4" fmla="*/ 9 w 532"/>
                  <a:gd name="T5" fmla="*/ 717 h 923"/>
                  <a:gd name="T6" fmla="*/ 0 w 532"/>
                  <a:gd name="T7" fmla="*/ 696 h 923"/>
                  <a:gd name="T8" fmla="*/ 10 w 532"/>
                  <a:gd name="T9" fmla="*/ 683 h 923"/>
                  <a:gd name="T10" fmla="*/ 65 w 532"/>
                  <a:gd name="T11" fmla="*/ 387 h 923"/>
                  <a:gd name="T12" fmla="*/ 87 w 532"/>
                  <a:gd name="T13" fmla="*/ 425 h 923"/>
                  <a:gd name="T14" fmla="*/ 61 w 532"/>
                  <a:gd name="T15" fmla="*/ 435 h 923"/>
                  <a:gd name="T16" fmla="*/ 41 w 532"/>
                  <a:gd name="T17" fmla="*/ 420 h 923"/>
                  <a:gd name="T18" fmla="*/ 55 w 532"/>
                  <a:gd name="T19" fmla="*/ 383 h 923"/>
                  <a:gd name="T20" fmla="*/ 28 w 532"/>
                  <a:gd name="T21" fmla="*/ 753 h 923"/>
                  <a:gd name="T22" fmla="*/ 60 w 532"/>
                  <a:gd name="T23" fmla="*/ 674 h 923"/>
                  <a:gd name="T24" fmla="*/ 65 w 532"/>
                  <a:gd name="T25" fmla="*/ 651 h 923"/>
                  <a:gd name="T26" fmla="*/ 55 w 532"/>
                  <a:gd name="T27" fmla="*/ 548 h 923"/>
                  <a:gd name="T28" fmla="*/ 68 w 532"/>
                  <a:gd name="T29" fmla="*/ 538 h 923"/>
                  <a:gd name="T30" fmla="*/ 95 w 532"/>
                  <a:gd name="T31" fmla="*/ 542 h 923"/>
                  <a:gd name="T32" fmla="*/ 63 w 532"/>
                  <a:gd name="T33" fmla="*/ 510 h 923"/>
                  <a:gd name="T34" fmla="*/ 77 w 532"/>
                  <a:gd name="T35" fmla="*/ 493 h 923"/>
                  <a:gd name="T36" fmla="*/ 102 w 532"/>
                  <a:gd name="T37" fmla="*/ 492 h 923"/>
                  <a:gd name="T38" fmla="*/ 73 w 532"/>
                  <a:gd name="T39" fmla="*/ 449 h 923"/>
                  <a:gd name="T40" fmla="*/ 91 w 532"/>
                  <a:gd name="T41" fmla="*/ 439 h 923"/>
                  <a:gd name="T42" fmla="*/ 125 w 532"/>
                  <a:gd name="T43" fmla="*/ 461 h 923"/>
                  <a:gd name="T44" fmla="*/ 96 w 532"/>
                  <a:gd name="T45" fmla="*/ 343 h 923"/>
                  <a:gd name="T46" fmla="*/ 74 w 532"/>
                  <a:gd name="T47" fmla="*/ 294 h 923"/>
                  <a:gd name="T48" fmla="*/ 91 w 532"/>
                  <a:gd name="T49" fmla="*/ 282 h 923"/>
                  <a:gd name="T50" fmla="*/ 71 w 532"/>
                  <a:gd name="T51" fmla="*/ 222 h 923"/>
                  <a:gd name="T52" fmla="*/ 48 w 532"/>
                  <a:gd name="T53" fmla="*/ 195 h 923"/>
                  <a:gd name="T54" fmla="*/ 145 w 532"/>
                  <a:gd name="T55" fmla="*/ 157 h 923"/>
                  <a:gd name="T56" fmla="*/ 244 w 532"/>
                  <a:gd name="T57" fmla="*/ 196 h 923"/>
                  <a:gd name="T58" fmla="*/ 351 w 532"/>
                  <a:gd name="T59" fmla="*/ 126 h 923"/>
                  <a:gd name="T60" fmla="*/ 428 w 532"/>
                  <a:gd name="T61" fmla="*/ 57 h 923"/>
                  <a:gd name="T62" fmla="*/ 495 w 532"/>
                  <a:gd name="T63" fmla="*/ 19 h 923"/>
                  <a:gd name="T64" fmla="*/ 519 w 532"/>
                  <a:gd name="T65" fmla="*/ 83 h 923"/>
                  <a:gd name="T66" fmla="*/ 485 w 532"/>
                  <a:gd name="T67" fmla="*/ 156 h 923"/>
                  <a:gd name="T68" fmla="*/ 427 w 532"/>
                  <a:gd name="T69" fmla="*/ 191 h 923"/>
                  <a:gd name="T70" fmla="*/ 456 w 532"/>
                  <a:gd name="T71" fmla="*/ 235 h 923"/>
                  <a:gd name="T72" fmla="*/ 501 w 532"/>
                  <a:gd name="T73" fmla="*/ 306 h 923"/>
                  <a:gd name="T74" fmla="*/ 455 w 532"/>
                  <a:gd name="T75" fmla="*/ 361 h 923"/>
                  <a:gd name="T76" fmla="*/ 469 w 532"/>
                  <a:gd name="T77" fmla="*/ 433 h 923"/>
                  <a:gd name="T78" fmla="*/ 424 w 532"/>
                  <a:gd name="T79" fmla="*/ 509 h 923"/>
                  <a:gd name="T80" fmla="*/ 404 w 532"/>
                  <a:gd name="T81" fmla="*/ 583 h 923"/>
                  <a:gd name="T82" fmla="*/ 386 w 532"/>
                  <a:gd name="T83" fmla="*/ 626 h 923"/>
                  <a:gd name="T84" fmla="*/ 470 w 532"/>
                  <a:gd name="T85" fmla="*/ 712 h 923"/>
                  <a:gd name="T86" fmla="*/ 520 w 532"/>
                  <a:gd name="T87" fmla="*/ 725 h 923"/>
                  <a:gd name="T88" fmla="*/ 532 w 532"/>
                  <a:gd name="T89" fmla="*/ 821 h 923"/>
                  <a:gd name="T90" fmla="*/ 476 w 532"/>
                  <a:gd name="T91" fmla="*/ 814 h 923"/>
                  <a:gd name="T92" fmla="*/ 419 w 532"/>
                  <a:gd name="T93" fmla="*/ 857 h 923"/>
                  <a:gd name="T94" fmla="*/ 380 w 532"/>
                  <a:gd name="T95" fmla="*/ 885 h 923"/>
                  <a:gd name="T96" fmla="*/ 285 w 532"/>
                  <a:gd name="T97" fmla="*/ 892 h 923"/>
                  <a:gd name="T98" fmla="*/ 238 w 532"/>
                  <a:gd name="T99" fmla="*/ 905 h 923"/>
                  <a:gd name="T100" fmla="*/ 159 w 532"/>
                  <a:gd name="T101" fmla="*/ 838 h 923"/>
                  <a:gd name="T102" fmla="*/ 90 w 532"/>
                  <a:gd name="T103" fmla="*/ 847 h 923"/>
                  <a:gd name="T104" fmla="*/ 61 w 532"/>
                  <a:gd name="T105" fmla="*/ 814 h 923"/>
                  <a:gd name="T106" fmla="*/ 13 w 532"/>
                  <a:gd name="T107" fmla="*/ 782 h 9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32" h="923">
                    <a:moveTo>
                      <a:pt x="10" y="683"/>
                    </a:moveTo>
                    <a:lnTo>
                      <a:pt x="23" y="690"/>
                    </a:lnTo>
                    <a:lnTo>
                      <a:pt x="24" y="699"/>
                    </a:lnTo>
                    <a:lnTo>
                      <a:pt x="25" y="705"/>
                    </a:lnTo>
                    <a:lnTo>
                      <a:pt x="17" y="717"/>
                    </a:lnTo>
                    <a:lnTo>
                      <a:pt x="9" y="717"/>
                    </a:lnTo>
                    <a:lnTo>
                      <a:pt x="5" y="717"/>
                    </a:lnTo>
                    <a:lnTo>
                      <a:pt x="0" y="696"/>
                    </a:lnTo>
                    <a:lnTo>
                      <a:pt x="3" y="690"/>
                    </a:lnTo>
                    <a:lnTo>
                      <a:pt x="10" y="683"/>
                    </a:lnTo>
                    <a:close/>
                    <a:moveTo>
                      <a:pt x="55" y="383"/>
                    </a:moveTo>
                    <a:lnTo>
                      <a:pt x="65" y="387"/>
                    </a:lnTo>
                    <a:lnTo>
                      <a:pt x="77" y="408"/>
                    </a:lnTo>
                    <a:lnTo>
                      <a:pt x="87" y="425"/>
                    </a:lnTo>
                    <a:lnTo>
                      <a:pt x="76" y="435"/>
                    </a:lnTo>
                    <a:lnTo>
                      <a:pt x="61" y="435"/>
                    </a:lnTo>
                    <a:lnTo>
                      <a:pt x="55" y="435"/>
                    </a:lnTo>
                    <a:lnTo>
                      <a:pt x="41" y="420"/>
                    </a:lnTo>
                    <a:lnTo>
                      <a:pt x="51" y="409"/>
                    </a:lnTo>
                    <a:lnTo>
                      <a:pt x="55" y="383"/>
                    </a:lnTo>
                    <a:close/>
                    <a:moveTo>
                      <a:pt x="13" y="782"/>
                    </a:moveTo>
                    <a:lnTo>
                      <a:pt x="28" y="753"/>
                    </a:lnTo>
                    <a:lnTo>
                      <a:pt x="44" y="664"/>
                    </a:lnTo>
                    <a:lnTo>
                      <a:pt x="60" y="674"/>
                    </a:lnTo>
                    <a:lnTo>
                      <a:pt x="68" y="664"/>
                    </a:lnTo>
                    <a:lnTo>
                      <a:pt x="65" y="651"/>
                    </a:lnTo>
                    <a:lnTo>
                      <a:pt x="76" y="599"/>
                    </a:lnTo>
                    <a:lnTo>
                      <a:pt x="55" y="548"/>
                    </a:lnTo>
                    <a:lnTo>
                      <a:pt x="58" y="541"/>
                    </a:lnTo>
                    <a:lnTo>
                      <a:pt x="68" y="538"/>
                    </a:lnTo>
                    <a:lnTo>
                      <a:pt x="83" y="543"/>
                    </a:lnTo>
                    <a:lnTo>
                      <a:pt x="95" y="542"/>
                    </a:lnTo>
                    <a:lnTo>
                      <a:pt x="87" y="523"/>
                    </a:lnTo>
                    <a:lnTo>
                      <a:pt x="63" y="510"/>
                    </a:lnTo>
                    <a:lnTo>
                      <a:pt x="61" y="493"/>
                    </a:lnTo>
                    <a:lnTo>
                      <a:pt x="77" y="493"/>
                    </a:lnTo>
                    <a:lnTo>
                      <a:pt x="102" y="502"/>
                    </a:lnTo>
                    <a:lnTo>
                      <a:pt x="102" y="492"/>
                    </a:lnTo>
                    <a:lnTo>
                      <a:pt x="88" y="480"/>
                    </a:lnTo>
                    <a:lnTo>
                      <a:pt x="73" y="449"/>
                    </a:lnTo>
                    <a:lnTo>
                      <a:pt x="80" y="438"/>
                    </a:lnTo>
                    <a:lnTo>
                      <a:pt x="91" y="439"/>
                    </a:lnTo>
                    <a:lnTo>
                      <a:pt x="110" y="460"/>
                    </a:lnTo>
                    <a:lnTo>
                      <a:pt x="125" y="461"/>
                    </a:lnTo>
                    <a:lnTo>
                      <a:pt x="96" y="400"/>
                    </a:lnTo>
                    <a:lnTo>
                      <a:pt x="96" y="343"/>
                    </a:lnTo>
                    <a:lnTo>
                      <a:pt x="68" y="306"/>
                    </a:lnTo>
                    <a:lnTo>
                      <a:pt x="74" y="294"/>
                    </a:lnTo>
                    <a:lnTo>
                      <a:pt x="90" y="292"/>
                    </a:lnTo>
                    <a:lnTo>
                      <a:pt x="91" y="282"/>
                    </a:lnTo>
                    <a:lnTo>
                      <a:pt x="78" y="272"/>
                    </a:lnTo>
                    <a:lnTo>
                      <a:pt x="71" y="222"/>
                    </a:lnTo>
                    <a:lnTo>
                      <a:pt x="52" y="210"/>
                    </a:lnTo>
                    <a:lnTo>
                      <a:pt x="48" y="195"/>
                    </a:lnTo>
                    <a:lnTo>
                      <a:pt x="80" y="165"/>
                    </a:lnTo>
                    <a:lnTo>
                      <a:pt x="145" y="157"/>
                    </a:lnTo>
                    <a:lnTo>
                      <a:pt x="173" y="183"/>
                    </a:lnTo>
                    <a:lnTo>
                      <a:pt x="244" y="196"/>
                    </a:lnTo>
                    <a:lnTo>
                      <a:pt x="326" y="126"/>
                    </a:lnTo>
                    <a:lnTo>
                      <a:pt x="351" y="126"/>
                    </a:lnTo>
                    <a:lnTo>
                      <a:pt x="395" y="59"/>
                    </a:lnTo>
                    <a:lnTo>
                      <a:pt x="428" y="57"/>
                    </a:lnTo>
                    <a:lnTo>
                      <a:pt x="456" y="0"/>
                    </a:lnTo>
                    <a:lnTo>
                      <a:pt x="495" y="19"/>
                    </a:lnTo>
                    <a:lnTo>
                      <a:pt x="519" y="19"/>
                    </a:lnTo>
                    <a:lnTo>
                      <a:pt x="519" y="83"/>
                    </a:lnTo>
                    <a:lnTo>
                      <a:pt x="486" y="100"/>
                    </a:lnTo>
                    <a:lnTo>
                      <a:pt x="485" y="156"/>
                    </a:lnTo>
                    <a:lnTo>
                      <a:pt x="446" y="159"/>
                    </a:lnTo>
                    <a:lnTo>
                      <a:pt x="427" y="191"/>
                    </a:lnTo>
                    <a:lnTo>
                      <a:pt x="456" y="205"/>
                    </a:lnTo>
                    <a:lnTo>
                      <a:pt x="456" y="235"/>
                    </a:lnTo>
                    <a:lnTo>
                      <a:pt x="488" y="260"/>
                    </a:lnTo>
                    <a:lnTo>
                      <a:pt x="501" y="306"/>
                    </a:lnTo>
                    <a:lnTo>
                      <a:pt x="483" y="370"/>
                    </a:lnTo>
                    <a:lnTo>
                      <a:pt x="455" y="361"/>
                    </a:lnTo>
                    <a:lnTo>
                      <a:pt x="446" y="410"/>
                    </a:lnTo>
                    <a:lnTo>
                      <a:pt x="469" y="433"/>
                    </a:lnTo>
                    <a:lnTo>
                      <a:pt x="440" y="458"/>
                    </a:lnTo>
                    <a:lnTo>
                      <a:pt x="424" y="509"/>
                    </a:lnTo>
                    <a:lnTo>
                      <a:pt x="370" y="531"/>
                    </a:lnTo>
                    <a:lnTo>
                      <a:pt x="404" y="583"/>
                    </a:lnTo>
                    <a:lnTo>
                      <a:pt x="385" y="597"/>
                    </a:lnTo>
                    <a:lnTo>
                      <a:pt x="386" y="626"/>
                    </a:lnTo>
                    <a:lnTo>
                      <a:pt x="415" y="695"/>
                    </a:lnTo>
                    <a:lnTo>
                      <a:pt x="470" y="712"/>
                    </a:lnTo>
                    <a:lnTo>
                      <a:pt x="488" y="693"/>
                    </a:lnTo>
                    <a:lnTo>
                      <a:pt x="520" y="725"/>
                    </a:lnTo>
                    <a:lnTo>
                      <a:pt x="505" y="776"/>
                    </a:lnTo>
                    <a:lnTo>
                      <a:pt x="532" y="821"/>
                    </a:lnTo>
                    <a:lnTo>
                      <a:pt x="509" y="825"/>
                    </a:lnTo>
                    <a:lnTo>
                      <a:pt x="476" y="814"/>
                    </a:lnTo>
                    <a:lnTo>
                      <a:pt x="473" y="871"/>
                    </a:lnTo>
                    <a:lnTo>
                      <a:pt x="419" y="857"/>
                    </a:lnTo>
                    <a:lnTo>
                      <a:pt x="370" y="872"/>
                    </a:lnTo>
                    <a:lnTo>
                      <a:pt x="380" y="885"/>
                    </a:lnTo>
                    <a:lnTo>
                      <a:pt x="325" y="901"/>
                    </a:lnTo>
                    <a:lnTo>
                      <a:pt x="285" y="892"/>
                    </a:lnTo>
                    <a:lnTo>
                      <a:pt x="250" y="923"/>
                    </a:lnTo>
                    <a:lnTo>
                      <a:pt x="238" y="905"/>
                    </a:lnTo>
                    <a:lnTo>
                      <a:pt x="181" y="901"/>
                    </a:lnTo>
                    <a:lnTo>
                      <a:pt x="159" y="838"/>
                    </a:lnTo>
                    <a:lnTo>
                      <a:pt x="135" y="815"/>
                    </a:lnTo>
                    <a:lnTo>
                      <a:pt x="90" y="847"/>
                    </a:lnTo>
                    <a:lnTo>
                      <a:pt x="88" y="793"/>
                    </a:lnTo>
                    <a:lnTo>
                      <a:pt x="61" y="814"/>
                    </a:lnTo>
                    <a:lnTo>
                      <a:pt x="37" y="815"/>
                    </a:lnTo>
                    <a:lnTo>
                      <a:pt x="13" y="782"/>
                    </a:lnTo>
                    <a:close/>
                  </a:path>
                </a:pathLst>
              </a:custGeom>
              <a:grpFill/>
              <a:ln w="635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katta Sans Regular"/>
                  <a:ea typeface="+mn-ea"/>
                  <a:cs typeface="+mn-cs"/>
                </a:endParaRPr>
              </a:p>
            </p:txBody>
          </p:sp>
          <p:sp>
            <p:nvSpPr>
              <p:cNvPr id="322" name="Freeform 21">
                <a:extLst>
                  <a:ext uri="{FF2B5EF4-FFF2-40B4-BE49-F238E27FC236}">
                    <a16:creationId xmlns:a16="http://schemas.microsoft.com/office/drawing/2014/main" id="{83E2DC67-D775-4368-BB49-17E58D51C4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8313" y="3848100"/>
                <a:ext cx="501650" cy="522288"/>
              </a:xfrm>
              <a:custGeom>
                <a:avLst/>
                <a:gdLst>
                  <a:gd name="T0" fmla="*/ 631 w 631"/>
                  <a:gd name="T1" fmla="*/ 434 h 659"/>
                  <a:gd name="T2" fmla="*/ 501 w 631"/>
                  <a:gd name="T3" fmla="*/ 275 h 659"/>
                  <a:gd name="T4" fmla="*/ 465 w 631"/>
                  <a:gd name="T5" fmla="*/ 170 h 659"/>
                  <a:gd name="T6" fmla="*/ 434 w 631"/>
                  <a:gd name="T7" fmla="*/ 157 h 659"/>
                  <a:gd name="T8" fmla="*/ 424 w 631"/>
                  <a:gd name="T9" fmla="*/ 113 h 659"/>
                  <a:gd name="T10" fmla="*/ 401 w 631"/>
                  <a:gd name="T11" fmla="*/ 101 h 659"/>
                  <a:gd name="T12" fmla="*/ 381 w 631"/>
                  <a:gd name="T13" fmla="*/ 20 h 659"/>
                  <a:gd name="T14" fmla="*/ 337 w 631"/>
                  <a:gd name="T15" fmla="*/ 29 h 659"/>
                  <a:gd name="T16" fmla="*/ 320 w 631"/>
                  <a:gd name="T17" fmla="*/ 62 h 659"/>
                  <a:gd name="T18" fmla="*/ 338 w 631"/>
                  <a:gd name="T19" fmla="*/ 87 h 659"/>
                  <a:gd name="T20" fmla="*/ 323 w 631"/>
                  <a:gd name="T21" fmla="*/ 96 h 659"/>
                  <a:gd name="T22" fmla="*/ 303 w 631"/>
                  <a:gd name="T23" fmla="*/ 78 h 659"/>
                  <a:gd name="T24" fmla="*/ 277 w 631"/>
                  <a:gd name="T25" fmla="*/ 78 h 659"/>
                  <a:gd name="T26" fmla="*/ 234 w 631"/>
                  <a:gd name="T27" fmla="*/ 20 h 659"/>
                  <a:gd name="T28" fmla="*/ 214 w 631"/>
                  <a:gd name="T29" fmla="*/ 24 h 659"/>
                  <a:gd name="T30" fmla="*/ 189 w 631"/>
                  <a:gd name="T31" fmla="*/ 0 h 659"/>
                  <a:gd name="T32" fmla="*/ 173 w 631"/>
                  <a:gd name="T33" fmla="*/ 12 h 659"/>
                  <a:gd name="T34" fmla="*/ 170 w 631"/>
                  <a:gd name="T35" fmla="*/ 109 h 659"/>
                  <a:gd name="T36" fmla="*/ 69 w 631"/>
                  <a:gd name="T37" fmla="*/ 114 h 659"/>
                  <a:gd name="T38" fmla="*/ 55 w 631"/>
                  <a:gd name="T39" fmla="*/ 132 h 659"/>
                  <a:gd name="T40" fmla="*/ 42 w 631"/>
                  <a:gd name="T41" fmla="*/ 133 h 659"/>
                  <a:gd name="T42" fmla="*/ 29 w 631"/>
                  <a:gd name="T43" fmla="*/ 118 h 659"/>
                  <a:gd name="T44" fmla="*/ 1 w 631"/>
                  <a:gd name="T45" fmla="*/ 118 h 659"/>
                  <a:gd name="T46" fmla="*/ 0 w 631"/>
                  <a:gd name="T47" fmla="*/ 119 h 659"/>
                  <a:gd name="T48" fmla="*/ 31 w 631"/>
                  <a:gd name="T49" fmla="*/ 202 h 659"/>
                  <a:gd name="T50" fmla="*/ 44 w 631"/>
                  <a:gd name="T51" fmla="*/ 184 h 659"/>
                  <a:gd name="T52" fmla="*/ 114 w 631"/>
                  <a:gd name="T53" fmla="*/ 236 h 659"/>
                  <a:gd name="T54" fmla="*/ 162 w 631"/>
                  <a:gd name="T55" fmla="*/ 212 h 659"/>
                  <a:gd name="T56" fmla="*/ 175 w 631"/>
                  <a:gd name="T57" fmla="*/ 231 h 659"/>
                  <a:gd name="T58" fmla="*/ 198 w 631"/>
                  <a:gd name="T59" fmla="*/ 214 h 659"/>
                  <a:gd name="T60" fmla="*/ 276 w 631"/>
                  <a:gd name="T61" fmla="*/ 276 h 659"/>
                  <a:gd name="T62" fmla="*/ 258 w 631"/>
                  <a:gd name="T63" fmla="*/ 295 h 659"/>
                  <a:gd name="T64" fmla="*/ 221 w 631"/>
                  <a:gd name="T65" fmla="*/ 296 h 659"/>
                  <a:gd name="T66" fmla="*/ 199 w 631"/>
                  <a:gd name="T67" fmla="*/ 278 h 659"/>
                  <a:gd name="T68" fmla="*/ 169 w 631"/>
                  <a:gd name="T69" fmla="*/ 296 h 659"/>
                  <a:gd name="T70" fmla="*/ 188 w 631"/>
                  <a:gd name="T71" fmla="*/ 331 h 659"/>
                  <a:gd name="T72" fmla="*/ 206 w 631"/>
                  <a:gd name="T73" fmla="*/ 325 h 659"/>
                  <a:gd name="T74" fmla="*/ 250 w 631"/>
                  <a:gd name="T75" fmla="*/ 404 h 659"/>
                  <a:gd name="T76" fmla="*/ 233 w 631"/>
                  <a:gd name="T77" fmla="*/ 460 h 659"/>
                  <a:gd name="T78" fmla="*/ 291 w 631"/>
                  <a:gd name="T79" fmla="*/ 535 h 659"/>
                  <a:gd name="T80" fmla="*/ 343 w 631"/>
                  <a:gd name="T81" fmla="*/ 550 h 659"/>
                  <a:gd name="T82" fmla="*/ 397 w 631"/>
                  <a:gd name="T83" fmla="*/ 617 h 659"/>
                  <a:gd name="T84" fmla="*/ 369 w 631"/>
                  <a:gd name="T85" fmla="*/ 629 h 659"/>
                  <a:gd name="T86" fmla="*/ 432 w 631"/>
                  <a:gd name="T87" fmla="*/ 659 h 659"/>
                  <a:gd name="T88" fmla="*/ 444 w 631"/>
                  <a:gd name="T89" fmla="*/ 651 h 659"/>
                  <a:gd name="T90" fmla="*/ 500 w 631"/>
                  <a:gd name="T91" fmla="*/ 630 h 659"/>
                  <a:gd name="T92" fmla="*/ 548 w 631"/>
                  <a:gd name="T93" fmla="*/ 640 h 659"/>
                  <a:gd name="T94" fmla="*/ 554 w 631"/>
                  <a:gd name="T95" fmla="*/ 493 h 659"/>
                  <a:gd name="T96" fmla="*/ 605 w 631"/>
                  <a:gd name="T97" fmla="*/ 439 h 659"/>
                  <a:gd name="T98" fmla="*/ 631 w 631"/>
                  <a:gd name="T99" fmla="*/ 434 h 6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31" h="659">
                    <a:moveTo>
                      <a:pt x="631" y="434"/>
                    </a:moveTo>
                    <a:lnTo>
                      <a:pt x="501" y="275"/>
                    </a:lnTo>
                    <a:lnTo>
                      <a:pt x="465" y="170"/>
                    </a:lnTo>
                    <a:lnTo>
                      <a:pt x="434" y="157"/>
                    </a:lnTo>
                    <a:lnTo>
                      <a:pt x="424" y="113"/>
                    </a:lnTo>
                    <a:lnTo>
                      <a:pt x="401" y="101"/>
                    </a:lnTo>
                    <a:lnTo>
                      <a:pt x="381" y="20"/>
                    </a:lnTo>
                    <a:lnTo>
                      <a:pt x="337" y="29"/>
                    </a:lnTo>
                    <a:lnTo>
                      <a:pt x="320" y="62"/>
                    </a:lnTo>
                    <a:lnTo>
                      <a:pt x="338" y="87"/>
                    </a:lnTo>
                    <a:lnTo>
                      <a:pt x="323" y="96"/>
                    </a:lnTo>
                    <a:lnTo>
                      <a:pt x="303" y="78"/>
                    </a:lnTo>
                    <a:lnTo>
                      <a:pt x="277" y="78"/>
                    </a:lnTo>
                    <a:lnTo>
                      <a:pt x="234" y="20"/>
                    </a:lnTo>
                    <a:lnTo>
                      <a:pt x="214" y="24"/>
                    </a:lnTo>
                    <a:lnTo>
                      <a:pt x="189" y="0"/>
                    </a:lnTo>
                    <a:lnTo>
                      <a:pt x="173" y="12"/>
                    </a:lnTo>
                    <a:lnTo>
                      <a:pt x="170" y="109"/>
                    </a:lnTo>
                    <a:lnTo>
                      <a:pt x="69" y="114"/>
                    </a:lnTo>
                    <a:lnTo>
                      <a:pt x="55" y="132"/>
                    </a:lnTo>
                    <a:lnTo>
                      <a:pt x="42" y="133"/>
                    </a:lnTo>
                    <a:lnTo>
                      <a:pt x="29" y="118"/>
                    </a:lnTo>
                    <a:lnTo>
                      <a:pt x="1" y="118"/>
                    </a:lnTo>
                    <a:lnTo>
                      <a:pt x="0" y="119"/>
                    </a:lnTo>
                    <a:lnTo>
                      <a:pt x="31" y="202"/>
                    </a:lnTo>
                    <a:lnTo>
                      <a:pt x="44" y="184"/>
                    </a:lnTo>
                    <a:lnTo>
                      <a:pt x="114" y="236"/>
                    </a:lnTo>
                    <a:lnTo>
                      <a:pt x="162" y="212"/>
                    </a:lnTo>
                    <a:lnTo>
                      <a:pt x="175" y="231"/>
                    </a:lnTo>
                    <a:lnTo>
                      <a:pt x="198" y="214"/>
                    </a:lnTo>
                    <a:lnTo>
                      <a:pt x="276" y="276"/>
                    </a:lnTo>
                    <a:lnTo>
                      <a:pt x="258" y="295"/>
                    </a:lnTo>
                    <a:lnTo>
                      <a:pt x="221" y="296"/>
                    </a:lnTo>
                    <a:lnTo>
                      <a:pt x="199" y="278"/>
                    </a:lnTo>
                    <a:lnTo>
                      <a:pt x="169" y="296"/>
                    </a:lnTo>
                    <a:lnTo>
                      <a:pt x="188" y="331"/>
                    </a:lnTo>
                    <a:lnTo>
                      <a:pt x="206" y="325"/>
                    </a:lnTo>
                    <a:lnTo>
                      <a:pt x="250" y="404"/>
                    </a:lnTo>
                    <a:lnTo>
                      <a:pt x="233" y="460"/>
                    </a:lnTo>
                    <a:lnTo>
                      <a:pt x="291" y="535"/>
                    </a:lnTo>
                    <a:lnTo>
                      <a:pt x="343" y="550"/>
                    </a:lnTo>
                    <a:lnTo>
                      <a:pt x="397" y="617"/>
                    </a:lnTo>
                    <a:lnTo>
                      <a:pt x="369" y="629"/>
                    </a:lnTo>
                    <a:lnTo>
                      <a:pt x="432" y="659"/>
                    </a:lnTo>
                    <a:lnTo>
                      <a:pt x="444" y="651"/>
                    </a:lnTo>
                    <a:lnTo>
                      <a:pt x="500" y="630"/>
                    </a:lnTo>
                    <a:lnTo>
                      <a:pt x="548" y="640"/>
                    </a:lnTo>
                    <a:lnTo>
                      <a:pt x="554" y="493"/>
                    </a:lnTo>
                    <a:lnTo>
                      <a:pt x="605" y="439"/>
                    </a:lnTo>
                    <a:lnTo>
                      <a:pt x="631" y="434"/>
                    </a:lnTo>
                    <a:close/>
                  </a:path>
                </a:pathLst>
              </a:custGeom>
              <a:grpFill/>
              <a:ln w="635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katta Sans Regular"/>
                  <a:ea typeface="+mn-ea"/>
                  <a:cs typeface="+mn-cs"/>
                </a:endParaRPr>
              </a:p>
            </p:txBody>
          </p:sp>
          <p:sp>
            <p:nvSpPr>
              <p:cNvPr id="323" name="Freeform 22">
                <a:extLst>
                  <a:ext uri="{FF2B5EF4-FFF2-40B4-BE49-F238E27FC236}">
                    <a16:creationId xmlns:a16="http://schemas.microsoft.com/office/drawing/2014/main" id="{5C3769D2-DCA0-46EB-AFDA-C9987AEBF6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0013" y="4165600"/>
                <a:ext cx="750888" cy="765175"/>
              </a:xfrm>
              <a:custGeom>
                <a:avLst/>
                <a:gdLst>
                  <a:gd name="T0" fmla="*/ 48 w 945"/>
                  <a:gd name="T1" fmla="*/ 950 h 963"/>
                  <a:gd name="T2" fmla="*/ 201 w 945"/>
                  <a:gd name="T3" fmla="*/ 893 h 963"/>
                  <a:gd name="T4" fmla="*/ 270 w 945"/>
                  <a:gd name="T5" fmla="*/ 826 h 963"/>
                  <a:gd name="T6" fmla="*/ 331 w 945"/>
                  <a:gd name="T7" fmla="*/ 767 h 963"/>
                  <a:gd name="T8" fmla="*/ 394 w 945"/>
                  <a:gd name="T9" fmla="*/ 786 h 963"/>
                  <a:gd name="T10" fmla="*/ 522 w 945"/>
                  <a:gd name="T11" fmla="*/ 751 h 963"/>
                  <a:gd name="T12" fmla="*/ 611 w 945"/>
                  <a:gd name="T13" fmla="*/ 720 h 963"/>
                  <a:gd name="T14" fmla="*/ 664 w 945"/>
                  <a:gd name="T15" fmla="*/ 705 h 963"/>
                  <a:gd name="T16" fmla="*/ 743 w 945"/>
                  <a:gd name="T17" fmla="*/ 675 h 963"/>
                  <a:gd name="T18" fmla="*/ 773 w 945"/>
                  <a:gd name="T19" fmla="*/ 737 h 963"/>
                  <a:gd name="T20" fmla="*/ 872 w 945"/>
                  <a:gd name="T21" fmla="*/ 695 h 963"/>
                  <a:gd name="T22" fmla="*/ 932 w 945"/>
                  <a:gd name="T23" fmla="*/ 672 h 963"/>
                  <a:gd name="T24" fmla="*/ 928 w 945"/>
                  <a:gd name="T25" fmla="*/ 567 h 963"/>
                  <a:gd name="T26" fmla="*/ 929 w 945"/>
                  <a:gd name="T27" fmla="*/ 516 h 963"/>
                  <a:gd name="T28" fmla="*/ 911 w 945"/>
                  <a:gd name="T29" fmla="*/ 406 h 963"/>
                  <a:gd name="T30" fmla="*/ 874 w 945"/>
                  <a:gd name="T31" fmla="*/ 287 h 963"/>
                  <a:gd name="T32" fmla="*/ 833 w 945"/>
                  <a:gd name="T33" fmla="*/ 227 h 963"/>
                  <a:gd name="T34" fmla="*/ 807 w 945"/>
                  <a:gd name="T35" fmla="*/ 148 h 963"/>
                  <a:gd name="T36" fmla="*/ 697 w 945"/>
                  <a:gd name="T37" fmla="*/ 56 h 963"/>
                  <a:gd name="T38" fmla="*/ 630 w 945"/>
                  <a:gd name="T39" fmla="*/ 1 h 963"/>
                  <a:gd name="T40" fmla="*/ 560 w 945"/>
                  <a:gd name="T41" fmla="*/ 57 h 963"/>
                  <a:gd name="T42" fmla="*/ 497 w 945"/>
                  <a:gd name="T43" fmla="*/ 69 h 963"/>
                  <a:gd name="T44" fmla="*/ 361 w 945"/>
                  <a:gd name="T45" fmla="*/ 114 h 963"/>
                  <a:gd name="T46" fmla="*/ 377 w 945"/>
                  <a:gd name="T47" fmla="*/ 166 h 963"/>
                  <a:gd name="T48" fmla="*/ 356 w 945"/>
                  <a:gd name="T49" fmla="*/ 225 h 963"/>
                  <a:gd name="T50" fmla="*/ 289 w 945"/>
                  <a:gd name="T51" fmla="*/ 386 h 963"/>
                  <a:gd name="T52" fmla="*/ 149 w 945"/>
                  <a:gd name="T53" fmla="*/ 426 h 963"/>
                  <a:gd name="T54" fmla="*/ 85 w 945"/>
                  <a:gd name="T55" fmla="*/ 391 h 963"/>
                  <a:gd name="T56" fmla="*/ 93 w 945"/>
                  <a:gd name="T57" fmla="*/ 484 h 963"/>
                  <a:gd name="T58" fmla="*/ 0 w 945"/>
                  <a:gd name="T59" fmla="*/ 662 h 963"/>
                  <a:gd name="T60" fmla="*/ 40 w 945"/>
                  <a:gd name="T61" fmla="*/ 711 h 963"/>
                  <a:gd name="T62" fmla="*/ 55 w 945"/>
                  <a:gd name="T63" fmla="*/ 776 h 963"/>
                  <a:gd name="T64" fmla="*/ 39 w 945"/>
                  <a:gd name="T65" fmla="*/ 818 h 963"/>
                  <a:gd name="T66" fmla="*/ 27 w 945"/>
                  <a:gd name="T67" fmla="*/ 863 h 9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945" h="963">
                    <a:moveTo>
                      <a:pt x="20" y="924"/>
                    </a:moveTo>
                    <a:lnTo>
                      <a:pt x="48" y="950"/>
                    </a:lnTo>
                    <a:lnTo>
                      <a:pt x="119" y="963"/>
                    </a:lnTo>
                    <a:lnTo>
                      <a:pt x="201" y="893"/>
                    </a:lnTo>
                    <a:lnTo>
                      <a:pt x="226" y="893"/>
                    </a:lnTo>
                    <a:lnTo>
                      <a:pt x="270" y="826"/>
                    </a:lnTo>
                    <a:lnTo>
                      <a:pt x="303" y="824"/>
                    </a:lnTo>
                    <a:lnTo>
                      <a:pt x="331" y="767"/>
                    </a:lnTo>
                    <a:lnTo>
                      <a:pt x="370" y="786"/>
                    </a:lnTo>
                    <a:lnTo>
                      <a:pt x="394" y="786"/>
                    </a:lnTo>
                    <a:lnTo>
                      <a:pt x="454" y="786"/>
                    </a:lnTo>
                    <a:lnTo>
                      <a:pt x="522" y="751"/>
                    </a:lnTo>
                    <a:lnTo>
                      <a:pt x="553" y="696"/>
                    </a:lnTo>
                    <a:lnTo>
                      <a:pt x="611" y="720"/>
                    </a:lnTo>
                    <a:lnTo>
                      <a:pt x="619" y="699"/>
                    </a:lnTo>
                    <a:lnTo>
                      <a:pt x="664" y="705"/>
                    </a:lnTo>
                    <a:lnTo>
                      <a:pt x="718" y="660"/>
                    </a:lnTo>
                    <a:lnTo>
                      <a:pt x="743" y="675"/>
                    </a:lnTo>
                    <a:lnTo>
                      <a:pt x="749" y="727"/>
                    </a:lnTo>
                    <a:lnTo>
                      <a:pt x="773" y="737"/>
                    </a:lnTo>
                    <a:lnTo>
                      <a:pt x="817" y="688"/>
                    </a:lnTo>
                    <a:lnTo>
                      <a:pt x="872" y="695"/>
                    </a:lnTo>
                    <a:lnTo>
                      <a:pt x="885" y="672"/>
                    </a:lnTo>
                    <a:lnTo>
                      <a:pt x="932" y="672"/>
                    </a:lnTo>
                    <a:lnTo>
                      <a:pt x="945" y="589"/>
                    </a:lnTo>
                    <a:lnTo>
                      <a:pt x="928" y="567"/>
                    </a:lnTo>
                    <a:lnTo>
                      <a:pt x="940" y="551"/>
                    </a:lnTo>
                    <a:lnTo>
                      <a:pt x="929" y="516"/>
                    </a:lnTo>
                    <a:lnTo>
                      <a:pt x="892" y="420"/>
                    </a:lnTo>
                    <a:lnTo>
                      <a:pt x="911" y="406"/>
                    </a:lnTo>
                    <a:lnTo>
                      <a:pt x="883" y="368"/>
                    </a:lnTo>
                    <a:lnTo>
                      <a:pt x="874" y="287"/>
                    </a:lnTo>
                    <a:lnTo>
                      <a:pt x="895" y="257"/>
                    </a:lnTo>
                    <a:lnTo>
                      <a:pt x="833" y="227"/>
                    </a:lnTo>
                    <a:lnTo>
                      <a:pt x="861" y="215"/>
                    </a:lnTo>
                    <a:lnTo>
                      <a:pt x="807" y="148"/>
                    </a:lnTo>
                    <a:lnTo>
                      <a:pt x="755" y="131"/>
                    </a:lnTo>
                    <a:lnTo>
                      <a:pt x="697" y="56"/>
                    </a:lnTo>
                    <a:lnTo>
                      <a:pt x="666" y="19"/>
                    </a:lnTo>
                    <a:lnTo>
                      <a:pt x="630" y="1"/>
                    </a:lnTo>
                    <a:lnTo>
                      <a:pt x="579" y="0"/>
                    </a:lnTo>
                    <a:lnTo>
                      <a:pt x="560" y="57"/>
                    </a:lnTo>
                    <a:lnTo>
                      <a:pt x="534" y="79"/>
                    </a:lnTo>
                    <a:lnTo>
                      <a:pt x="497" y="69"/>
                    </a:lnTo>
                    <a:lnTo>
                      <a:pt x="427" y="80"/>
                    </a:lnTo>
                    <a:lnTo>
                      <a:pt x="361" y="114"/>
                    </a:lnTo>
                    <a:lnTo>
                      <a:pt x="361" y="165"/>
                    </a:lnTo>
                    <a:lnTo>
                      <a:pt x="377" y="166"/>
                    </a:lnTo>
                    <a:lnTo>
                      <a:pt x="390" y="225"/>
                    </a:lnTo>
                    <a:lnTo>
                      <a:pt x="356" y="225"/>
                    </a:lnTo>
                    <a:lnTo>
                      <a:pt x="284" y="351"/>
                    </a:lnTo>
                    <a:lnTo>
                      <a:pt x="289" y="386"/>
                    </a:lnTo>
                    <a:lnTo>
                      <a:pt x="227" y="452"/>
                    </a:lnTo>
                    <a:lnTo>
                      <a:pt x="149" y="426"/>
                    </a:lnTo>
                    <a:lnTo>
                      <a:pt x="99" y="374"/>
                    </a:lnTo>
                    <a:lnTo>
                      <a:pt x="85" y="391"/>
                    </a:lnTo>
                    <a:lnTo>
                      <a:pt x="77" y="468"/>
                    </a:lnTo>
                    <a:lnTo>
                      <a:pt x="93" y="484"/>
                    </a:lnTo>
                    <a:lnTo>
                      <a:pt x="41" y="540"/>
                    </a:lnTo>
                    <a:lnTo>
                      <a:pt x="0" y="662"/>
                    </a:lnTo>
                    <a:lnTo>
                      <a:pt x="16" y="702"/>
                    </a:lnTo>
                    <a:lnTo>
                      <a:pt x="40" y="711"/>
                    </a:lnTo>
                    <a:lnTo>
                      <a:pt x="41" y="770"/>
                    </a:lnTo>
                    <a:lnTo>
                      <a:pt x="55" y="776"/>
                    </a:lnTo>
                    <a:lnTo>
                      <a:pt x="71" y="798"/>
                    </a:lnTo>
                    <a:lnTo>
                      <a:pt x="39" y="818"/>
                    </a:lnTo>
                    <a:lnTo>
                      <a:pt x="45" y="849"/>
                    </a:lnTo>
                    <a:lnTo>
                      <a:pt x="27" y="863"/>
                    </a:lnTo>
                    <a:lnTo>
                      <a:pt x="20" y="924"/>
                    </a:lnTo>
                    <a:close/>
                  </a:path>
                </a:pathLst>
              </a:custGeom>
              <a:grpFill/>
              <a:ln w="635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katta Sans Regular"/>
                  <a:ea typeface="+mn-ea"/>
                  <a:cs typeface="+mn-cs"/>
                </a:endParaRPr>
              </a:p>
            </p:txBody>
          </p:sp>
          <p:sp>
            <p:nvSpPr>
              <p:cNvPr id="324" name="Freeform 23">
                <a:extLst>
                  <a:ext uri="{FF2B5EF4-FFF2-40B4-BE49-F238E27FC236}">
                    <a16:creationId xmlns:a16="http://schemas.microsoft.com/office/drawing/2014/main" id="{F0E0BDD9-7249-497F-985C-60E8001648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5276" y="4689475"/>
                <a:ext cx="630238" cy="814388"/>
              </a:xfrm>
              <a:custGeom>
                <a:avLst/>
                <a:gdLst>
                  <a:gd name="T0" fmla="*/ 504 w 794"/>
                  <a:gd name="T1" fmla="*/ 67 h 1025"/>
                  <a:gd name="T2" fmla="*/ 473 w 794"/>
                  <a:gd name="T3" fmla="*/ 0 h 1025"/>
                  <a:gd name="T4" fmla="*/ 374 w 794"/>
                  <a:gd name="T5" fmla="*/ 39 h 1025"/>
                  <a:gd name="T6" fmla="*/ 308 w 794"/>
                  <a:gd name="T7" fmla="*/ 36 h 1025"/>
                  <a:gd name="T8" fmla="*/ 209 w 794"/>
                  <a:gd name="T9" fmla="*/ 126 h 1025"/>
                  <a:gd name="T10" fmla="*/ 149 w 794"/>
                  <a:gd name="T11" fmla="*/ 190 h 1025"/>
                  <a:gd name="T12" fmla="*/ 115 w 794"/>
                  <a:gd name="T13" fmla="*/ 263 h 1025"/>
                  <a:gd name="T14" fmla="*/ 57 w 794"/>
                  <a:gd name="T15" fmla="*/ 298 h 1025"/>
                  <a:gd name="T16" fmla="*/ 86 w 794"/>
                  <a:gd name="T17" fmla="*/ 342 h 1025"/>
                  <a:gd name="T18" fmla="*/ 131 w 794"/>
                  <a:gd name="T19" fmla="*/ 413 h 1025"/>
                  <a:gd name="T20" fmla="*/ 85 w 794"/>
                  <a:gd name="T21" fmla="*/ 468 h 1025"/>
                  <a:gd name="T22" fmla="*/ 99 w 794"/>
                  <a:gd name="T23" fmla="*/ 540 h 1025"/>
                  <a:gd name="T24" fmla="*/ 54 w 794"/>
                  <a:gd name="T25" fmla="*/ 616 h 1025"/>
                  <a:gd name="T26" fmla="*/ 34 w 794"/>
                  <a:gd name="T27" fmla="*/ 690 h 1025"/>
                  <a:gd name="T28" fmla="*/ 16 w 794"/>
                  <a:gd name="T29" fmla="*/ 733 h 1025"/>
                  <a:gd name="T30" fmla="*/ 100 w 794"/>
                  <a:gd name="T31" fmla="*/ 819 h 1025"/>
                  <a:gd name="T32" fmla="*/ 150 w 794"/>
                  <a:gd name="T33" fmla="*/ 832 h 1025"/>
                  <a:gd name="T34" fmla="*/ 162 w 794"/>
                  <a:gd name="T35" fmla="*/ 928 h 1025"/>
                  <a:gd name="T36" fmla="*/ 164 w 794"/>
                  <a:gd name="T37" fmla="*/ 962 h 1025"/>
                  <a:gd name="T38" fmla="*/ 203 w 794"/>
                  <a:gd name="T39" fmla="*/ 976 h 1025"/>
                  <a:gd name="T40" fmla="*/ 241 w 794"/>
                  <a:gd name="T41" fmla="*/ 959 h 1025"/>
                  <a:gd name="T42" fmla="*/ 277 w 794"/>
                  <a:gd name="T43" fmla="*/ 1003 h 1025"/>
                  <a:gd name="T44" fmla="*/ 372 w 794"/>
                  <a:gd name="T45" fmla="*/ 978 h 1025"/>
                  <a:gd name="T46" fmla="*/ 426 w 794"/>
                  <a:gd name="T47" fmla="*/ 1015 h 1025"/>
                  <a:gd name="T48" fmla="*/ 562 w 794"/>
                  <a:gd name="T49" fmla="*/ 890 h 1025"/>
                  <a:gd name="T50" fmla="*/ 574 w 794"/>
                  <a:gd name="T51" fmla="*/ 861 h 1025"/>
                  <a:gd name="T52" fmla="*/ 581 w 794"/>
                  <a:gd name="T53" fmla="*/ 835 h 1025"/>
                  <a:gd name="T54" fmla="*/ 652 w 794"/>
                  <a:gd name="T55" fmla="*/ 796 h 1025"/>
                  <a:gd name="T56" fmla="*/ 716 w 794"/>
                  <a:gd name="T57" fmla="*/ 790 h 1025"/>
                  <a:gd name="T58" fmla="*/ 778 w 794"/>
                  <a:gd name="T59" fmla="*/ 798 h 1025"/>
                  <a:gd name="T60" fmla="*/ 792 w 794"/>
                  <a:gd name="T61" fmla="*/ 696 h 1025"/>
                  <a:gd name="T62" fmla="*/ 755 w 794"/>
                  <a:gd name="T63" fmla="*/ 614 h 1025"/>
                  <a:gd name="T64" fmla="*/ 760 w 794"/>
                  <a:gd name="T65" fmla="*/ 567 h 1025"/>
                  <a:gd name="T66" fmla="*/ 759 w 794"/>
                  <a:gd name="T67" fmla="*/ 541 h 1025"/>
                  <a:gd name="T68" fmla="*/ 739 w 794"/>
                  <a:gd name="T69" fmla="*/ 534 h 1025"/>
                  <a:gd name="T70" fmla="*/ 734 w 794"/>
                  <a:gd name="T71" fmla="*/ 488 h 1025"/>
                  <a:gd name="T72" fmla="*/ 751 w 794"/>
                  <a:gd name="T73" fmla="*/ 492 h 1025"/>
                  <a:gd name="T74" fmla="*/ 766 w 794"/>
                  <a:gd name="T75" fmla="*/ 478 h 1025"/>
                  <a:gd name="T76" fmla="*/ 679 w 794"/>
                  <a:gd name="T77" fmla="*/ 385 h 1025"/>
                  <a:gd name="T78" fmla="*/ 716 w 794"/>
                  <a:gd name="T79" fmla="*/ 360 h 1025"/>
                  <a:gd name="T80" fmla="*/ 732 w 794"/>
                  <a:gd name="T81" fmla="*/ 256 h 1025"/>
                  <a:gd name="T82" fmla="*/ 657 w 794"/>
                  <a:gd name="T83" fmla="*/ 215 h 1025"/>
                  <a:gd name="T84" fmla="*/ 597 w 794"/>
                  <a:gd name="T85" fmla="*/ 160 h 1025"/>
                  <a:gd name="T86" fmla="*/ 528 w 794"/>
                  <a:gd name="T87" fmla="*/ 137 h 10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794" h="1025">
                    <a:moveTo>
                      <a:pt x="528" y="77"/>
                    </a:moveTo>
                    <a:lnTo>
                      <a:pt x="504" y="67"/>
                    </a:lnTo>
                    <a:lnTo>
                      <a:pt x="498" y="15"/>
                    </a:lnTo>
                    <a:lnTo>
                      <a:pt x="473" y="0"/>
                    </a:lnTo>
                    <a:lnTo>
                      <a:pt x="419" y="45"/>
                    </a:lnTo>
                    <a:lnTo>
                      <a:pt x="374" y="39"/>
                    </a:lnTo>
                    <a:lnTo>
                      <a:pt x="366" y="60"/>
                    </a:lnTo>
                    <a:lnTo>
                      <a:pt x="308" y="36"/>
                    </a:lnTo>
                    <a:lnTo>
                      <a:pt x="277" y="91"/>
                    </a:lnTo>
                    <a:lnTo>
                      <a:pt x="209" y="126"/>
                    </a:lnTo>
                    <a:lnTo>
                      <a:pt x="149" y="126"/>
                    </a:lnTo>
                    <a:lnTo>
                      <a:pt x="149" y="190"/>
                    </a:lnTo>
                    <a:lnTo>
                      <a:pt x="116" y="207"/>
                    </a:lnTo>
                    <a:lnTo>
                      <a:pt x="115" y="263"/>
                    </a:lnTo>
                    <a:lnTo>
                      <a:pt x="76" y="266"/>
                    </a:lnTo>
                    <a:lnTo>
                      <a:pt x="57" y="298"/>
                    </a:lnTo>
                    <a:lnTo>
                      <a:pt x="86" y="312"/>
                    </a:lnTo>
                    <a:lnTo>
                      <a:pt x="86" y="342"/>
                    </a:lnTo>
                    <a:lnTo>
                      <a:pt x="118" y="367"/>
                    </a:lnTo>
                    <a:lnTo>
                      <a:pt x="131" y="413"/>
                    </a:lnTo>
                    <a:lnTo>
                      <a:pt x="113" y="477"/>
                    </a:lnTo>
                    <a:lnTo>
                      <a:pt x="85" y="468"/>
                    </a:lnTo>
                    <a:lnTo>
                      <a:pt x="76" y="517"/>
                    </a:lnTo>
                    <a:lnTo>
                      <a:pt x="99" y="540"/>
                    </a:lnTo>
                    <a:lnTo>
                      <a:pt x="70" y="565"/>
                    </a:lnTo>
                    <a:lnTo>
                      <a:pt x="54" y="616"/>
                    </a:lnTo>
                    <a:lnTo>
                      <a:pt x="0" y="638"/>
                    </a:lnTo>
                    <a:lnTo>
                      <a:pt x="34" y="690"/>
                    </a:lnTo>
                    <a:lnTo>
                      <a:pt x="15" y="704"/>
                    </a:lnTo>
                    <a:lnTo>
                      <a:pt x="16" y="733"/>
                    </a:lnTo>
                    <a:lnTo>
                      <a:pt x="45" y="802"/>
                    </a:lnTo>
                    <a:lnTo>
                      <a:pt x="100" y="819"/>
                    </a:lnTo>
                    <a:lnTo>
                      <a:pt x="118" y="800"/>
                    </a:lnTo>
                    <a:lnTo>
                      <a:pt x="150" y="832"/>
                    </a:lnTo>
                    <a:lnTo>
                      <a:pt x="135" y="883"/>
                    </a:lnTo>
                    <a:lnTo>
                      <a:pt x="162" y="928"/>
                    </a:lnTo>
                    <a:lnTo>
                      <a:pt x="139" y="932"/>
                    </a:lnTo>
                    <a:lnTo>
                      <a:pt x="164" y="962"/>
                    </a:lnTo>
                    <a:lnTo>
                      <a:pt x="206" y="953"/>
                    </a:lnTo>
                    <a:lnTo>
                      <a:pt x="203" y="976"/>
                    </a:lnTo>
                    <a:lnTo>
                      <a:pt x="220" y="972"/>
                    </a:lnTo>
                    <a:lnTo>
                      <a:pt x="241" y="959"/>
                    </a:lnTo>
                    <a:lnTo>
                      <a:pt x="272" y="982"/>
                    </a:lnTo>
                    <a:lnTo>
                      <a:pt x="277" y="1003"/>
                    </a:lnTo>
                    <a:lnTo>
                      <a:pt x="308" y="1003"/>
                    </a:lnTo>
                    <a:lnTo>
                      <a:pt x="372" y="978"/>
                    </a:lnTo>
                    <a:lnTo>
                      <a:pt x="414" y="1025"/>
                    </a:lnTo>
                    <a:lnTo>
                      <a:pt x="426" y="1015"/>
                    </a:lnTo>
                    <a:lnTo>
                      <a:pt x="417" y="946"/>
                    </a:lnTo>
                    <a:lnTo>
                      <a:pt x="562" y="890"/>
                    </a:lnTo>
                    <a:lnTo>
                      <a:pt x="581" y="869"/>
                    </a:lnTo>
                    <a:lnTo>
                      <a:pt x="574" y="861"/>
                    </a:lnTo>
                    <a:lnTo>
                      <a:pt x="574" y="847"/>
                    </a:lnTo>
                    <a:lnTo>
                      <a:pt x="581" y="835"/>
                    </a:lnTo>
                    <a:lnTo>
                      <a:pt x="591" y="843"/>
                    </a:lnTo>
                    <a:lnTo>
                      <a:pt x="652" y="796"/>
                    </a:lnTo>
                    <a:lnTo>
                      <a:pt x="704" y="816"/>
                    </a:lnTo>
                    <a:lnTo>
                      <a:pt x="716" y="790"/>
                    </a:lnTo>
                    <a:lnTo>
                      <a:pt x="741" y="815"/>
                    </a:lnTo>
                    <a:lnTo>
                      <a:pt x="778" y="798"/>
                    </a:lnTo>
                    <a:lnTo>
                      <a:pt x="773" y="686"/>
                    </a:lnTo>
                    <a:lnTo>
                      <a:pt x="792" y="696"/>
                    </a:lnTo>
                    <a:lnTo>
                      <a:pt x="794" y="646"/>
                    </a:lnTo>
                    <a:lnTo>
                      <a:pt x="755" y="614"/>
                    </a:lnTo>
                    <a:lnTo>
                      <a:pt x="751" y="587"/>
                    </a:lnTo>
                    <a:lnTo>
                      <a:pt x="760" y="567"/>
                    </a:lnTo>
                    <a:lnTo>
                      <a:pt x="780" y="553"/>
                    </a:lnTo>
                    <a:lnTo>
                      <a:pt x="759" y="541"/>
                    </a:lnTo>
                    <a:lnTo>
                      <a:pt x="754" y="543"/>
                    </a:lnTo>
                    <a:lnTo>
                      <a:pt x="739" y="534"/>
                    </a:lnTo>
                    <a:lnTo>
                      <a:pt x="741" y="508"/>
                    </a:lnTo>
                    <a:lnTo>
                      <a:pt x="734" y="488"/>
                    </a:lnTo>
                    <a:lnTo>
                      <a:pt x="746" y="479"/>
                    </a:lnTo>
                    <a:lnTo>
                      <a:pt x="751" y="492"/>
                    </a:lnTo>
                    <a:lnTo>
                      <a:pt x="766" y="491"/>
                    </a:lnTo>
                    <a:lnTo>
                      <a:pt x="766" y="478"/>
                    </a:lnTo>
                    <a:lnTo>
                      <a:pt x="752" y="476"/>
                    </a:lnTo>
                    <a:lnTo>
                      <a:pt x="679" y="385"/>
                    </a:lnTo>
                    <a:lnTo>
                      <a:pt x="708" y="344"/>
                    </a:lnTo>
                    <a:lnTo>
                      <a:pt x="716" y="360"/>
                    </a:lnTo>
                    <a:lnTo>
                      <a:pt x="747" y="311"/>
                    </a:lnTo>
                    <a:lnTo>
                      <a:pt x="732" y="256"/>
                    </a:lnTo>
                    <a:lnTo>
                      <a:pt x="684" y="205"/>
                    </a:lnTo>
                    <a:lnTo>
                      <a:pt x="657" y="215"/>
                    </a:lnTo>
                    <a:lnTo>
                      <a:pt x="613" y="206"/>
                    </a:lnTo>
                    <a:lnTo>
                      <a:pt x="597" y="160"/>
                    </a:lnTo>
                    <a:lnTo>
                      <a:pt x="573" y="164"/>
                    </a:lnTo>
                    <a:lnTo>
                      <a:pt x="528" y="137"/>
                    </a:lnTo>
                    <a:lnTo>
                      <a:pt x="528" y="77"/>
                    </a:lnTo>
                    <a:close/>
                  </a:path>
                </a:pathLst>
              </a:custGeom>
              <a:grpFill/>
              <a:ln w="635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katta Sans Regular"/>
                  <a:ea typeface="+mn-ea"/>
                  <a:cs typeface="+mn-cs"/>
                </a:endParaRPr>
              </a:p>
            </p:txBody>
          </p:sp>
          <p:sp>
            <p:nvSpPr>
              <p:cNvPr id="325" name="Freeform 24">
                <a:extLst>
                  <a:ext uri="{FF2B5EF4-FFF2-40B4-BE49-F238E27FC236}">
                    <a16:creationId xmlns:a16="http://schemas.microsoft.com/office/drawing/2014/main" id="{D411BFD6-0C48-4D23-B875-01D1A9A50C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29263" y="5316538"/>
                <a:ext cx="547688" cy="395288"/>
              </a:xfrm>
              <a:custGeom>
                <a:avLst/>
                <a:gdLst>
                  <a:gd name="T0" fmla="*/ 584 w 690"/>
                  <a:gd name="T1" fmla="*/ 8 h 496"/>
                  <a:gd name="T2" fmla="*/ 547 w 690"/>
                  <a:gd name="T3" fmla="*/ 25 h 496"/>
                  <a:gd name="T4" fmla="*/ 522 w 690"/>
                  <a:gd name="T5" fmla="*/ 0 h 496"/>
                  <a:gd name="T6" fmla="*/ 510 w 690"/>
                  <a:gd name="T7" fmla="*/ 26 h 496"/>
                  <a:gd name="T8" fmla="*/ 458 w 690"/>
                  <a:gd name="T9" fmla="*/ 6 h 496"/>
                  <a:gd name="T10" fmla="*/ 397 w 690"/>
                  <a:gd name="T11" fmla="*/ 53 h 496"/>
                  <a:gd name="T12" fmla="*/ 387 w 690"/>
                  <a:gd name="T13" fmla="*/ 45 h 496"/>
                  <a:gd name="T14" fmla="*/ 380 w 690"/>
                  <a:gd name="T15" fmla="*/ 57 h 496"/>
                  <a:gd name="T16" fmla="*/ 380 w 690"/>
                  <a:gd name="T17" fmla="*/ 71 h 496"/>
                  <a:gd name="T18" fmla="*/ 387 w 690"/>
                  <a:gd name="T19" fmla="*/ 79 h 496"/>
                  <a:gd name="T20" fmla="*/ 368 w 690"/>
                  <a:gd name="T21" fmla="*/ 100 h 496"/>
                  <a:gd name="T22" fmla="*/ 223 w 690"/>
                  <a:gd name="T23" fmla="*/ 156 h 496"/>
                  <a:gd name="T24" fmla="*/ 232 w 690"/>
                  <a:gd name="T25" fmla="*/ 225 h 496"/>
                  <a:gd name="T26" fmla="*/ 220 w 690"/>
                  <a:gd name="T27" fmla="*/ 235 h 496"/>
                  <a:gd name="T28" fmla="*/ 178 w 690"/>
                  <a:gd name="T29" fmla="*/ 188 h 496"/>
                  <a:gd name="T30" fmla="*/ 114 w 690"/>
                  <a:gd name="T31" fmla="*/ 213 h 496"/>
                  <a:gd name="T32" fmla="*/ 83 w 690"/>
                  <a:gd name="T33" fmla="*/ 213 h 496"/>
                  <a:gd name="T34" fmla="*/ 78 w 690"/>
                  <a:gd name="T35" fmla="*/ 192 h 496"/>
                  <a:gd name="T36" fmla="*/ 47 w 690"/>
                  <a:gd name="T37" fmla="*/ 169 h 496"/>
                  <a:gd name="T38" fmla="*/ 26 w 690"/>
                  <a:gd name="T39" fmla="*/ 182 h 496"/>
                  <a:gd name="T40" fmla="*/ 26 w 690"/>
                  <a:gd name="T41" fmla="*/ 200 h 496"/>
                  <a:gd name="T42" fmla="*/ 51 w 690"/>
                  <a:gd name="T43" fmla="*/ 215 h 496"/>
                  <a:gd name="T44" fmla="*/ 34 w 690"/>
                  <a:gd name="T45" fmla="*/ 256 h 496"/>
                  <a:gd name="T46" fmla="*/ 4 w 690"/>
                  <a:gd name="T47" fmla="*/ 262 h 496"/>
                  <a:gd name="T48" fmla="*/ 0 w 690"/>
                  <a:gd name="T49" fmla="*/ 291 h 496"/>
                  <a:gd name="T50" fmla="*/ 18 w 690"/>
                  <a:gd name="T51" fmla="*/ 312 h 496"/>
                  <a:gd name="T52" fmla="*/ 4 w 690"/>
                  <a:gd name="T53" fmla="*/ 324 h 496"/>
                  <a:gd name="T54" fmla="*/ 5 w 690"/>
                  <a:gd name="T55" fmla="*/ 350 h 496"/>
                  <a:gd name="T56" fmla="*/ 59 w 690"/>
                  <a:gd name="T57" fmla="*/ 378 h 496"/>
                  <a:gd name="T58" fmla="*/ 99 w 690"/>
                  <a:gd name="T59" fmla="*/ 357 h 496"/>
                  <a:gd name="T60" fmla="*/ 175 w 690"/>
                  <a:gd name="T61" fmla="*/ 416 h 496"/>
                  <a:gd name="T62" fmla="*/ 242 w 690"/>
                  <a:gd name="T63" fmla="*/ 437 h 496"/>
                  <a:gd name="T64" fmla="*/ 339 w 690"/>
                  <a:gd name="T65" fmla="*/ 455 h 496"/>
                  <a:gd name="T66" fmla="*/ 350 w 690"/>
                  <a:gd name="T67" fmla="*/ 481 h 496"/>
                  <a:gd name="T68" fmla="*/ 373 w 690"/>
                  <a:gd name="T69" fmla="*/ 463 h 496"/>
                  <a:gd name="T70" fmla="*/ 397 w 690"/>
                  <a:gd name="T71" fmla="*/ 475 h 496"/>
                  <a:gd name="T72" fmla="*/ 403 w 690"/>
                  <a:gd name="T73" fmla="*/ 496 h 496"/>
                  <a:gd name="T74" fmla="*/ 462 w 690"/>
                  <a:gd name="T75" fmla="*/ 484 h 496"/>
                  <a:gd name="T76" fmla="*/ 459 w 690"/>
                  <a:gd name="T77" fmla="*/ 455 h 496"/>
                  <a:gd name="T78" fmla="*/ 476 w 690"/>
                  <a:gd name="T79" fmla="*/ 432 h 496"/>
                  <a:gd name="T80" fmla="*/ 514 w 690"/>
                  <a:gd name="T81" fmla="*/ 437 h 496"/>
                  <a:gd name="T82" fmla="*/ 577 w 690"/>
                  <a:gd name="T83" fmla="*/ 429 h 496"/>
                  <a:gd name="T84" fmla="*/ 598 w 690"/>
                  <a:gd name="T85" fmla="*/ 420 h 496"/>
                  <a:gd name="T86" fmla="*/ 641 w 690"/>
                  <a:gd name="T87" fmla="*/ 432 h 496"/>
                  <a:gd name="T88" fmla="*/ 637 w 690"/>
                  <a:gd name="T89" fmla="*/ 413 h 496"/>
                  <a:gd name="T90" fmla="*/ 665 w 690"/>
                  <a:gd name="T91" fmla="*/ 393 h 496"/>
                  <a:gd name="T92" fmla="*/ 647 w 690"/>
                  <a:gd name="T93" fmla="*/ 379 h 496"/>
                  <a:gd name="T94" fmla="*/ 628 w 690"/>
                  <a:gd name="T95" fmla="*/ 395 h 496"/>
                  <a:gd name="T96" fmla="*/ 633 w 690"/>
                  <a:gd name="T97" fmla="*/ 368 h 496"/>
                  <a:gd name="T98" fmla="*/ 655 w 690"/>
                  <a:gd name="T99" fmla="*/ 361 h 496"/>
                  <a:gd name="T100" fmla="*/ 645 w 690"/>
                  <a:gd name="T101" fmla="*/ 339 h 496"/>
                  <a:gd name="T102" fmla="*/ 632 w 690"/>
                  <a:gd name="T103" fmla="*/ 309 h 496"/>
                  <a:gd name="T104" fmla="*/ 654 w 690"/>
                  <a:gd name="T105" fmla="*/ 291 h 496"/>
                  <a:gd name="T106" fmla="*/ 616 w 690"/>
                  <a:gd name="T107" fmla="*/ 245 h 496"/>
                  <a:gd name="T108" fmla="*/ 632 w 690"/>
                  <a:gd name="T109" fmla="*/ 181 h 496"/>
                  <a:gd name="T110" fmla="*/ 690 w 690"/>
                  <a:gd name="T111" fmla="*/ 147 h 496"/>
                  <a:gd name="T112" fmla="*/ 686 w 690"/>
                  <a:gd name="T113" fmla="*/ 67 h 496"/>
                  <a:gd name="T114" fmla="*/ 655 w 690"/>
                  <a:gd name="T115" fmla="*/ 42 h 496"/>
                  <a:gd name="T116" fmla="*/ 630 w 690"/>
                  <a:gd name="T117" fmla="*/ 54 h 496"/>
                  <a:gd name="T118" fmla="*/ 637 w 690"/>
                  <a:gd name="T119" fmla="*/ 29 h 496"/>
                  <a:gd name="T120" fmla="*/ 584 w 690"/>
                  <a:gd name="T121" fmla="*/ 8 h 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0" h="496">
                    <a:moveTo>
                      <a:pt x="584" y="8"/>
                    </a:moveTo>
                    <a:lnTo>
                      <a:pt x="547" y="25"/>
                    </a:lnTo>
                    <a:lnTo>
                      <a:pt x="522" y="0"/>
                    </a:lnTo>
                    <a:lnTo>
                      <a:pt x="510" y="26"/>
                    </a:lnTo>
                    <a:lnTo>
                      <a:pt x="458" y="6"/>
                    </a:lnTo>
                    <a:lnTo>
                      <a:pt x="397" y="53"/>
                    </a:lnTo>
                    <a:lnTo>
                      <a:pt x="387" y="45"/>
                    </a:lnTo>
                    <a:lnTo>
                      <a:pt x="380" y="57"/>
                    </a:lnTo>
                    <a:lnTo>
                      <a:pt x="380" y="71"/>
                    </a:lnTo>
                    <a:lnTo>
                      <a:pt x="387" y="79"/>
                    </a:lnTo>
                    <a:lnTo>
                      <a:pt x="368" y="100"/>
                    </a:lnTo>
                    <a:lnTo>
                      <a:pt x="223" y="156"/>
                    </a:lnTo>
                    <a:lnTo>
                      <a:pt x="232" y="225"/>
                    </a:lnTo>
                    <a:lnTo>
                      <a:pt x="220" y="235"/>
                    </a:lnTo>
                    <a:lnTo>
                      <a:pt x="178" y="188"/>
                    </a:lnTo>
                    <a:lnTo>
                      <a:pt x="114" y="213"/>
                    </a:lnTo>
                    <a:lnTo>
                      <a:pt x="83" y="213"/>
                    </a:lnTo>
                    <a:lnTo>
                      <a:pt x="78" y="192"/>
                    </a:lnTo>
                    <a:lnTo>
                      <a:pt x="47" y="169"/>
                    </a:lnTo>
                    <a:lnTo>
                      <a:pt x="26" y="182"/>
                    </a:lnTo>
                    <a:lnTo>
                      <a:pt x="26" y="200"/>
                    </a:lnTo>
                    <a:lnTo>
                      <a:pt x="51" y="215"/>
                    </a:lnTo>
                    <a:lnTo>
                      <a:pt x="34" y="256"/>
                    </a:lnTo>
                    <a:lnTo>
                      <a:pt x="4" y="262"/>
                    </a:lnTo>
                    <a:lnTo>
                      <a:pt x="0" y="291"/>
                    </a:lnTo>
                    <a:lnTo>
                      <a:pt x="18" y="312"/>
                    </a:lnTo>
                    <a:lnTo>
                      <a:pt x="4" y="324"/>
                    </a:lnTo>
                    <a:lnTo>
                      <a:pt x="5" y="350"/>
                    </a:lnTo>
                    <a:lnTo>
                      <a:pt x="59" y="378"/>
                    </a:lnTo>
                    <a:lnTo>
                      <a:pt x="99" y="357"/>
                    </a:lnTo>
                    <a:lnTo>
                      <a:pt x="175" y="416"/>
                    </a:lnTo>
                    <a:lnTo>
                      <a:pt x="242" y="437"/>
                    </a:lnTo>
                    <a:lnTo>
                      <a:pt x="339" y="455"/>
                    </a:lnTo>
                    <a:lnTo>
                      <a:pt x="350" y="481"/>
                    </a:lnTo>
                    <a:lnTo>
                      <a:pt x="373" y="463"/>
                    </a:lnTo>
                    <a:lnTo>
                      <a:pt x="397" y="475"/>
                    </a:lnTo>
                    <a:lnTo>
                      <a:pt x="403" y="496"/>
                    </a:lnTo>
                    <a:lnTo>
                      <a:pt x="462" y="484"/>
                    </a:lnTo>
                    <a:lnTo>
                      <a:pt x="459" y="455"/>
                    </a:lnTo>
                    <a:lnTo>
                      <a:pt x="476" y="432"/>
                    </a:lnTo>
                    <a:lnTo>
                      <a:pt x="514" y="437"/>
                    </a:lnTo>
                    <a:lnTo>
                      <a:pt x="577" y="429"/>
                    </a:lnTo>
                    <a:lnTo>
                      <a:pt x="598" y="420"/>
                    </a:lnTo>
                    <a:lnTo>
                      <a:pt x="641" y="432"/>
                    </a:lnTo>
                    <a:lnTo>
                      <a:pt x="637" y="413"/>
                    </a:lnTo>
                    <a:lnTo>
                      <a:pt x="665" y="393"/>
                    </a:lnTo>
                    <a:lnTo>
                      <a:pt x="647" y="379"/>
                    </a:lnTo>
                    <a:lnTo>
                      <a:pt x="628" y="395"/>
                    </a:lnTo>
                    <a:lnTo>
                      <a:pt x="633" y="368"/>
                    </a:lnTo>
                    <a:lnTo>
                      <a:pt x="655" y="361"/>
                    </a:lnTo>
                    <a:lnTo>
                      <a:pt x="645" y="339"/>
                    </a:lnTo>
                    <a:lnTo>
                      <a:pt x="632" y="309"/>
                    </a:lnTo>
                    <a:lnTo>
                      <a:pt x="654" y="291"/>
                    </a:lnTo>
                    <a:lnTo>
                      <a:pt x="616" y="245"/>
                    </a:lnTo>
                    <a:lnTo>
                      <a:pt x="632" y="181"/>
                    </a:lnTo>
                    <a:lnTo>
                      <a:pt x="690" y="147"/>
                    </a:lnTo>
                    <a:lnTo>
                      <a:pt x="686" y="67"/>
                    </a:lnTo>
                    <a:lnTo>
                      <a:pt x="655" y="42"/>
                    </a:lnTo>
                    <a:lnTo>
                      <a:pt x="630" y="54"/>
                    </a:lnTo>
                    <a:lnTo>
                      <a:pt x="637" y="29"/>
                    </a:lnTo>
                    <a:lnTo>
                      <a:pt x="584" y="8"/>
                    </a:lnTo>
                    <a:close/>
                  </a:path>
                </a:pathLst>
              </a:custGeom>
              <a:grpFill/>
              <a:ln w="6350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katta Sans Regular"/>
                  <a:ea typeface="+mn-ea"/>
                  <a:cs typeface="+mn-cs"/>
                </a:endParaRPr>
              </a:p>
            </p:txBody>
          </p:sp>
        </p:grpSp>
        <p:sp>
          <p:nvSpPr>
            <p:cNvPr id="170" name="Oval 357">
              <a:extLst>
                <a:ext uri="{FF2B5EF4-FFF2-40B4-BE49-F238E27FC236}">
                  <a16:creationId xmlns:a16="http://schemas.microsoft.com/office/drawing/2014/main" id="{CB8E77A8-8C18-4232-9F74-F7AF2EEC7BB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021325" y="2238679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171" name="Oval 358">
              <a:extLst>
                <a:ext uri="{FF2B5EF4-FFF2-40B4-BE49-F238E27FC236}">
                  <a16:creationId xmlns:a16="http://schemas.microsoft.com/office/drawing/2014/main" id="{538F8202-416D-494A-A21F-97C442CF98D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562890" y="1767872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172" name="Oval 359">
              <a:extLst>
                <a:ext uri="{FF2B5EF4-FFF2-40B4-BE49-F238E27FC236}">
                  <a16:creationId xmlns:a16="http://schemas.microsoft.com/office/drawing/2014/main" id="{30224F35-78EC-48B8-B6CF-5C9FDF47104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390" y="2418293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173" name="Oval 360">
              <a:extLst>
                <a:ext uri="{FF2B5EF4-FFF2-40B4-BE49-F238E27FC236}">
                  <a16:creationId xmlns:a16="http://schemas.microsoft.com/office/drawing/2014/main" id="{1A669C25-2510-4303-B681-EBCDFE71D59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874368" y="3242886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174" name="Oval 361">
              <a:extLst>
                <a:ext uri="{FF2B5EF4-FFF2-40B4-BE49-F238E27FC236}">
                  <a16:creationId xmlns:a16="http://schemas.microsoft.com/office/drawing/2014/main" id="{DEB23DED-B808-4F76-8761-F450FB206B2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936961" y="3294593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175" name="Oval 362">
              <a:extLst>
                <a:ext uri="{FF2B5EF4-FFF2-40B4-BE49-F238E27FC236}">
                  <a16:creationId xmlns:a16="http://schemas.microsoft.com/office/drawing/2014/main" id="{87716AB0-67B0-4D5F-8C62-3B6FD218DE0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192776" y="2894543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176" name="Oval 363">
              <a:extLst>
                <a:ext uri="{FF2B5EF4-FFF2-40B4-BE49-F238E27FC236}">
                  <a16:creationId xmlns:a16="http://schemas.microsoft.com/office/drawing/2014/main" id="{0ACCEE18-CEB8-45F0-8D60-80FBFBE254B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557447" y="2804735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179" name="Oval 364">
              <a:extLst>
                <a:ext uri="{FF2B5EF4-FFF2-40B4-BE49-F238E27FC236}">
                  <a16:creationId xmlns:a16="http://schemas.microsoft.com/office/drawing/2014/main" id="{26EC9ECD-55F4-464A-861F-CFD05B5EDDB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938447" y="3169407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195" name="Oval 365">
              <a:extLst>
                <a:ext uri="{FF2B5EF4-FFF2-40B4-BE49-F238E27FC236}">
                  <a16:creationId xmlns:a16="http://schemas.microsoft.com/office/drawing/2014/main" id="{F72EB0AB-80C9-4F45-B58C-1250EE347C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483968" y="3520471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196" name="Oval 366">
              <a:extLst>
                <a:ext uri="{FF2B5EF4-FFF2-40B4-BE49-F238E27FC236}">
                  <a16:creationId xmlns:a16="http://schemas.microsoft.com/office/drawing/2014/main" id="{A8617824-F145-4286-885A-834CA916E12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157397" y="3645657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197" name="Oval 367">
              <a:extLst>
                <a:ext uri="{FF2B5EF4-FFF2-40B4-BE49-F238E27FC236}">
                  <a16:creationId xmlns:a16="http://schemas.microsoft.com/office/drawing/2014/main" id="{EFE17BA3-A02F-4BAD-85FE-CE8289AEC93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165562" y="3672871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198" name="Oval 368">
              <a:extLst>
                <a:ext uri="{FF2B5EF4-FFF2-40B4-BE49-F238E27FC236}">
                  <a16:creationId xmlns:a16="http://schemas.microsoft.com/office/drawing/2014/main" id="{F497FE7E-F257-4D36-8D1B-D47EE86BD7C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130183" y="3697363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199" name="Oval 369">
              <a:extLst>
                <a:ext uri="{FF2B5EF4-FFF2-40B4-BE49-F238E27FC236}">
                  <a16:creationId xmlns:a16="http://schemas.microsoft.com/office/drawing/2014/main" id="{6DB30F80-CBAC-4C3F-A469-6B1F77505AF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926076" y="3847042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00" name="Oval 370">
              <a:extLst>
                <a:ext uri="{FF2B5EF4-FFF2-40B4-BE49-F238E27FC236}">
                  <a16:creationId xmlns:a16="http://schemas.microsoft.com/office/drawing/2014/main" id="{A95D236B-A590-4D45-A008-090FD3DFA11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249926" y="3803499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01" name="Oval 371">
              <a:extLst>
                <a:ext uri="{FF2B5EF4-FFF2-40B4-BE49-F238E27FC236}">
                  <a16:creationId xmlns:a16="http://schemas.microsoft.com/office/drawing/2014/main" id="{5F2851AE-1F5A-4574-AE11-F81E0B0E36B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434983" y="3923242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02" name="Oval 372">
              <a:extLst>
                <a:ext uri="{FF2B5EF4-FFF2-40B4-BE49-F238E27FC236}">
                  <a16:creationId xmlns:a16="http://schemas.microsoft.com/office/drawing/2014/main" id="{A52E6A38-DA56-4D6C-A627-455971C8124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927562" y="3732742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03" name="Oval 373">
              <a:extLst>
                <a:ext uri="{FF2B5EF4-FFF2-40B4-BE49-F238E27FC236}">
                  <a16:creationId xmlns:a16="http://schemas.microsoft.com/office/drawing/2014/main" id="{6D24BED7-776F-496B-B0F6-FCF38A192ED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641812" y="4111021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04" name="Oval 374">
              <a:extLst>
                <a:ext uri="{FF2B5EF4-FFF2-40B4-BE49-F238E27FC236}">
                  <a16:creationId xmlns:a16="http://schemas.microsoft.com/office/drawing/2014/main" id="{256DC7CC-BD77-4B46-AC05-8BE35A0C5D5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988670" y="4091971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05" name="Oval 375">
              <a:extLst>
                <a:ext uri="{FF2B5EF4-FFF2-40B4-BE49-F238E27FC236}">
                  <a16:creationId xmlns:a16="http://schemas.microsoft.com/office/drawing/2014/main" id="{4AC27514-7280-4650-AC7F-CE325671795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770956" y="4086528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06" name="Oval 376">
              <a:extLst>
                <a:ext uri="{FF2B5EF4-FFF2-40B4-BE49-F238E27FC236}">
                  <a16:creationId xmlns:a16="http://schemas.microsoft.com/office/drawing/2014/main" id="{C82712A6-09FF-40B9-B43A-6592ABEFBCD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594063" y="4285192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07" name="Oval 377">
              <a:extLst>
                <a:ext uri="{FF2B5EF4-FFF2-40B4-BE49-F238E27FC236}">
                  <a16:creationId xmlns:a16="http://schemas.microsoft.com/office/drawing/2014/main" id="{B510CF17-DA9D-48F1-B813-DC56E3CC05C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490649" y="4388606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08" name="Oval 378">
              <a:extLst>
                <a:ext uri="{FF2B5EF4-FFF2-40B4-BE49-F238E27FC236}">
                  <a16:creationId xmlns:a16="http://schemas.microsoft.com/office/drawing/2014/main" id="{5E2ABAAF-D6FA-4616-9A4C-09A979C9C9F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716527" y="4459364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09" name="Oval 379">
              <a:extLst>
                <a:ext uri="{FF2B5EF4-FFF2-40B4-BE49-F238E27FC236}">
                  <a16:creationId xmlns:a16="http://schemas.microsoft.com/office/drawing/2014/main" id="{865DC721-1C7C-4870-840F-61474EF535D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909749" y="4189942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10" name="Oval 380">
              <a:extLst>
                <a:ext uri="{FF2B5EF4-FFF2-40B4-BE49-F238E27FC236}">
                  <a16:creationId xmlns:a16="http://schemas.microsoft.com/office/drawing/2014/main" id="{8D6EEEE7-6CC2-423E-A1B0-73F683D0392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999556" y="4268864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11" name="Oval 381">
              <a:extLst>
                <a:ext uri="{FF2B5EF4-FFF2-40B4-BE49-F238E27FC236}">
                  <a16:creationId xmlns:a16="http://schemas.microsoft.com/office/drawing/2014/main" id="{8C089963-840B-49A4-A7D2-DC7CD710308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089363" y="4358671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12" name="Oval 382">
              <a:extLst>
                <a:ext uri="{FF2B5EF4-FFF2-40B4-BE49-F238E27FC236}">
                  <a16:creationId xmlns:a16="http://schemas.microsoft.com/office/drawing/2014/main" id="{15825CC5-28CA-4E6F-A903-D1CDD450A94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473085" y="4347785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13" name="Oval 383">
              <a:extLst>
                <a:ext uri="{FF2B5EF4-FFF2-40B4-BE49-F238E27FC236}">
                  <a16:creationId xmlns:a16="http://schemas.microsoft.com/office/drawing/2014/main" id="{058490AC-27DE-4809-A5B6-129673156E4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69671" y="4410378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14" name="Oval 384">
              <a:extLst>
                <a:ext uri="{FF2B5EF4-FFF2-40B4-BE49-F238E27FC236}">
                  <a16:creationId xmlns:a16="http://schemas.microsoft.com/office/drawing/2014/main" id="{828C5DD5-3C58-455C-B16F-77F8D93F382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541121" y="4462085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15" name="Oval 385">
              <a:extLst>
                <a:ext uri="{FF2B5EF4-FFF2-40B4-BE49-F238E27FC236}">
                  <a16:creationId xmlns:a16="http://schemas.microsoft.com/office/drawing/2014/main" id="{E445D428-0EB1-49CB-8AE0-54801BB7F02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573778" y="4562778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16" name="Oval 386">
              <a:extLst>
                <a:ext uri="{FF2B5EF4-FFF2-40B4-BE49-F238E27FC236}">
                  <a16:creationId xmlns:a16="http://schemas.microsoft.com/office/drawing/2014/main" id="{2026C9DF-7EAA-401A-8725-AC3F115517E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415935" y="4628092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17" name="Oval 387">
              <a:extLst>
                <a:ext uri="{FF2B5EF4-FFF2-40B4-BE49-F238E27FC236}">
                  <a16:creationId xmlns:a16="http://schemas.microsoft.com/office/drawing/2014/main" id="{9DEC0D5F-31B5-43BD-A12E-50067FF9821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26128" y="4682521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18" name="Oval 388">
              <a:extLst>
                <a:ext uri="{FF2B5EF4-FFF2-40B4-BE49-F238E27FC236}">
                  <a16:creationId xmlns:a16="http://schemas.microsoft.com/office/drawing/2014/main" id="{1BEF048B-3F3D-4105-AEBE-5F25EDF9B21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206385" y="4712456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19" name="Oval 389">
              <a:extLst>
                <a:ext uri="{FF2B5EF4-FFF2-40B4-BE49-F238E27FC236}">
                  <a16:creationId xmlns:a16="http://schemas.microsoft.com/office/drawing/2014/main" id="{5FDD284F-73FC-4A9F-90DB-811B08F3B54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663585" y="4717899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20" name="Oval 390">
              <a:extLst>
                <a:ext uri="{FF2B5EF4-FFF2-40B4-BE49-F238E27FC236}">
                  <a16:creationId xmlns:a16="http://schemas.microsoft.com/office/drawing/2014/main" id="{91081333-E0D5-43D1-A14A-62445D77F01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745228" y="4630813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21" name="Oval 391">
              <a:extLst>
                <a:ext uri="{FF2B5EF4-FFF2-40B4-BE49-F238E27FC236}">
                  <a16:creationId xmlns:a16="http://schemas.microsoft.com/office/drawing/2014/main" id="{C50E1C36-17F8-4201-A3FF-137CC185F16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205150" y="4554613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22" name="Oval 393">
              <a:extLst>
                <a:ext uri="{FF2B5EF4-FFF2-40B4-BE49-F238E27FC236}">
                  <a16:creationId xmlns:a16="http://schemas.microsoft.com/office/drawing/2014/main" id="{F485F5B3-DBEA-4BE1-A941-7C939BE58DA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663586" y="4807705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23" name="Oval 394">
              <a:extLst>
                <a:ext uri="{FF2B5EF4-FFF2-40B4-BE49-F238E27FC236}">
                  <a16:creationId xmlns:a16="http://schemas.microsoft.com/office/drawing/2014/main" id="{79023518-4BC0-4204-AD72-378155393F2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177936" y="4932890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24" name="Oval 395">
              <a:extLst>
                <a:ext uri="{FF2B5EF4-FFF2-40B4-BE49-F238E27FC236}">
                  <a16:creationId xmlns:a16="http://schemas.microsoft.com/office/drawing/2014/main" id="{9F142C0A-1A50-4478-8ABC-D7C0668E6A0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273186" y="5207755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25" name="Oval 396">
              <a:extLst>
                <a:ext uri="{FF2B5EF4-FFF2-40B4-BE49-F238E27FC236}">
                  <a16:creationId xmlns:a16="http://schemas.microsoft.com/office/drawing/2014/main" id="{751D6F9D-9ABC-43E5-AFE5-0BF369A485E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712572" y="5126112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26" name="Oval 397">
              <a:extLst>
                <a:ext uri="{FF2B5EF4-FFF2-40B4-BE49-F238E27FC236}">
                  <a16:creationId xmlns:a16="http://schemas.microsoft.com/office/drawing/2014/main" id="{8EBC329F-2C89-4B34-89DB-DAF4CEFC6E8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674472" y="5022698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27" name="Oval 398">
              <a:extLst>
                <a:ext uri="{FF2B5EF4-FFF2-40B4-BE49-F238E27FC236}">
                  <a16:creationId xmlns:a16="http://schemas.microsoft.com/office/drawing/2014/main" id="{F64D58F6-7D22-42CB-A644-3E3757C58BC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532957" y="4962826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28" name="Oval 399">
              <a:extLst>
                <a:ext uri="{FF2B5EF4-FFF2-40B4-BE49-F238E27FC236}">
                  <a16:creationId xmlns:a16="http://schemas.microsoft.com/office/drawing/2014/main" id="{9A344336-1F4B-4447-89E8-44FDD717822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187336" y="4968269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29" name="Oval 400">
              <a:extLst>
                <a:ext uri="{FF2B5EF4-FFF2-40B4-BE49-F238E27FC236}">
                  <a16:creationId xmlns:a16="http://schemas.microsoft.com/office/drawing/2014/main" id="{D4D6F136-903E-4EF9-9122-17FCAF0E53A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056707" y="4908398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30" name="Oval 401">
              <a:extLst>
                <a:ext uri="{FF2B5EF4-FFF2-40B4-BE49-F238E27FC236}">
                  <a16:creationId xmlns:a16="http://schemas.microsoft.com/office/drawing/2014/main" id="{34B04E69-BC81-412A-828A-58BF096F67A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64822" y="4960104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31" name="Oval 402">
              <a:extLst>
                <a:ext uri="{FF2B5EF4-FFF2-40B4-BE49-F238E27FC236}">
                  <a16:creationId xmlns:a16="http://schemas.microsoft.com/office/drawing/2014/main" id="{275F2E1B-1B85-435B-9EB6-3043679395E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466157" y="5022697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32" name="Oval 403">
              <a:extLst>
                <a:ext uri="{FF2B5EF4-FFF2-40B4-BE49-F238E27FC236}">
                  <a16:creationId xmlns:a16="http://schemas.microsoft.com/office/drawing/2014/main" id="{92DCF1E4-FB02-43C7-885C-D15C384F403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311036" y="5033582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33" name="Oval 404">
              <a:extLst>
                <a:ext uri="{FF2B5EF4-FFF2-40B4-BE49-F238E27FC236}">
                  <a16:creationId xmlns:a16="http://schemas.microsoft.com/office/drawing/2014/main" id="{0E039EED-21A3-4FF3-8062-7F247DB5B2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460714" y="4851247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34" name="Oval 405">
              <a:extLst>
                <a:ext uri="{FF2B5EF4-FFF2-40B4-BE49-F238E27FC236}">
                  <a16:creationId xmlns:a16="http://schemas.microsoft.com/office/drawing/2014/main" id="{FDA48C56-A23D-4875-8D9E-590B5744E7A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215786" y="4677076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35" name="Oval 406">
              <a:extLst>
                <a:ext uri="{FF2B5EF4-FFF2-40B4-BE49-F238E27FC236}">
                  <a16:creationId xmlns:a16="http://schemas.microsoft.com/office/drawing/2014/main" id="{14484CE5-D591-47E0-B5DD-1DB08F980B3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360022" y="4647140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36" name="Oval 407">
              <a:extLst>
                <a:ext uri="{FF2B5EF4-FFF2-40B4-BE49-F238E27FC236}">
                  <a16:creationId xmlns:a16="http://schemas.microsoft.com/office/drawing/2014/main" id="{FC825171-EC98-4740-8C82-219E8CAF55D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542358" y="4753276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37" name="Oval 410">
              <a:extLst>
                <a:ext uri="{FF2B5EF4-FFF2-40B4-BE49-F238E27FC236}">
                  <a16:creationId xmlns:a16="http://schemas.microsoft.com/office/drawing/2014/main" id="{EE1E0496-2130-461C-AB5B-E4AE632CCBB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92037" y="4625368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38" name="Oval 412">
              <a:extLst>
                <a:ext uri="{FF2B5EF4-FFF2-40B4-BE49-F238E27FC236}">
                  <a16:creationId xmlns:a16="http://schemas.microsoft.com/office/drawing/2014/main" id="{6AF45FCD-79A9-40E2-BC9D-6C4CEA4864E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795451" y="4976433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39" name="Oval 413">
              <a:extLst>
                <a:ext uri="{FF2B5EF4-FFF2-40B4-BE49-F238E27FC236}">
                  <a16:creationId xmlns:a16="http://schemas.microsoft.com/office/drawing/2014/main" id="{3410CC50-446E-4443-A62A-4FCEF64ECD5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931522" y="5131554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40" name="Oval 414">
              <a:extLst>
                <a:ext uri="{FF2B5EF4-FFF2-40B4-BE49-F238E27FC236}">
                  <a16:creationId xmlns:a16="http://schemas.microsoft.com/office/drawing/2014/main" id="{7545033A-A90D-4504-95E4-8B105CBEAAB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171008" y="5126111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41" name="Oval 415">
              <a:extLst>
                <a:ext uri="{FF2B5EF4-FFF2-40B4-BE49-F238E27FC236}">
                  <a16:creationId xmlns:a16="http://schemas.microsoft.com/office/drawing/2014/main" id="{96CE2225-B216-4EF2-A921-A0FD5ABF1A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225436" y="5147883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42" name="Oval 416">
              <a:extLst>
                <a:ext uri="{FF2B5EF4-FFF2-40B4-BE49-F238E27FC236}">
                  <a16:creationId xmlns:a16="http://schemas.microsoft.com/office/drawing/2014/main" id="{4891352F-13C7-4B2E-88C6-67CD18EBA9F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179172" y="5180540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43" name="Oval 417">
              <a:extLst>
                <a:ext uri="{FF2B5EF4-FFF2-40B4-BE49-F238E27FC236}">
                  <a16:creationId xmlns:a16="http://schemas.microsoft.com/office/drawing/2014/main" id="{E9584CD4-566C-4281-9AE1-CE4A7C8F2A5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66950" y="5074404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44" name="Oval 418">
              <a:extLst>
                <a:ext uri="{FF2B5EF4-FFF2-40B4-BE49-F238E27FC236}">
                  <a16:creationId xmlns:a16="http://schemas.microsoft.com/office/drawing/2014/main" id="{6B542788-1B08-4D92-AA29-7D50929BC24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546565" y="5131554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45" name="Oval 419">
              <a:extLst>
                <a:ext uri="{FF2B5EF4-FFF2-40B4-BE49-F238E27FC236}">
                  <a16:creationId xmlns:a16="http://schemas.microsoft.com/office/drawing/2014/main" id="{FA433EF6-8910-423D-972A-018FEE77204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413215" y="5289397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46" name="Oval 420">
              <a:extLst>
                <a:ext uri="{FF2B5EF4-FFF2-40B4-BE49-F238E27FC236}">
                  <a16:creationId xmlns:a16="http://schemas.microsoft.com/office/drawing/2014/main" id="{8D3645E6-5E07-403D-B468-53AC9053E95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984715" y="5348928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47" name="Oval 421">
              <a:extLst>
                <a:ext uri="{FF2B5EF4-FFF2-40B4-BE49-F238E27FC236}">
                  <a16:creationId xmlns:a16="http://schemas.microsoft.com/office/drawing/2014/main" id="{04B234B9-75E1-40B1-81DE-9A8B18EF870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584665" y="5458466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48" name="Oval 422">
              <a:extLst>
                <a:ext uri="{FF2B5EF4-FFF2-40B4-BE49-F238E27FC236}">
                  <a16:creationId xmlns:a16="http://schemas.microsoft.com/office/drawing/2014/main" id="{A1DC682A-4F31-4F6A-938C-92978FE16D1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575140" y="5546572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49" name="Oval 423">
              <a:extLst>
                <a:ext uri="{FF2B5EF4-FFF2-40B4-BE49-F238E27FC236}">
                  <a16:creationId xmlns:a16="http://schemas.microsoft.com/office/drawing/2014/main" id="{796FEA4B-3409-4C2E-B0EC-796B901CE5E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477509" y="5594197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50" name="Oval 424">
              <a:extLst>
                <a:ext uri="{FF2B5EF4-FFF2-40B4-BE49-F238E27FC236}">
                  <a16:creationId xmlns:a16="http://schemas.microsoft.com/office/drawing/2014/main" id="{AA0E3BDE-3BB9-408C-A5F1-9005687CDF2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287009" y="5434654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51" name="Oval 425">
              <a:extLst>
                <a:ext uri="{FF2B5EF4-FFF2-40B4-BE49-F238E27FC236}">
                  <a16:creationId xmlns:a16="http://schemas.microsoft.com/office/drawing/2014/main" id="{6383BF69-6A92-4CD4-91D6-F96D1082EC2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051265" y="5365597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52" name="Oval 426">
              <a:extLst>
                <a:ext uri="{FF2B5EF4-FFF2-40B4-BE49-F238E27FC236}">
                  <a16:creationId xmlns:a16="http://schemas.microsoft.com/office/drawing/2014/main" id="{0D495837-34B3-4765-8AF2-496259E5DDA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920296" y="5275110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53" name="Oval 427">
              <a:extLst>
                <a:ext uri="{FF2B5EF4-FFF2-40B4-BE49-F238E27FC236}">
                  <a16:creationId xmlns:a16="http://schemas.microsoft.com/office/drawing/2014/main" id="{3319C0A3-68C0-4BEC-9E60-F2D12E65EB6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96459" y="5153666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54" name="Oval 428">
              <a:extLst>
                <a:ext uri="{FF2B5EF4-FFF2-40B4-BE49-F238E27FC236}">
                  <a16:creationId xmlns:a16="http://schemas.microsoft.com/office/drawing/2014/main" id="{01F85DC5-9879-4378-A6E7-8B65CF26B42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529771" y="5256060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55" name="Oval 429">
              <a:extLst>
                <a:ext uri="{FF2B5EF4-FFF2-40B4-BE49-F238E27FC236}">
                  <a16:creationId xmlns:a16="http://schemas.microsoft.com/office/drawing/2014/main" id="{BC354B75-7FEB-4DBB-AFD3-702BC5E1FC4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60678" y="5117947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56" name="Oval 430">
              <a:extLst>
                <a:ext uri="{FF2B5EF4-FFF2-40B4-BE49-F238E27FC236}">
                  <a16:creationId xmlns:a16="http://schemas.microsoft.com/office/drawing/2014/main" id="{BB605371-6BA4-4F5E-8CAA-540C9B717C7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82109" y="5529903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57" name="Oval 431">
              <a:extLst>
                <a:ext uri="{FF2B5EF4-FFF2-40B4-BE49-F238E27FC236}">
                  <a16:creationId xmlns:a16="http://schemas.microsoft.com/office/drawing/2014/main" id="{CC9B6D5F-7A59-46E0-A96C-E2FF8524582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346415" y="5360834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58" name="Oval 432">
              <a:extLst>
                <a:ext uri="{FF2B5EF4-FFF2-40B4-BE49-F238E27FC236}">
                  <a16:creationId xmlns:a16="http://schemas.microsoft.com/office/drawing/2014/main" id="{8F173C6A-6E57-4F15-B1F6-61207D00CDE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10672" y="5701353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59" name="Oval 433">
              <a:extLst>
                <a:ext uri="{FF2B5EF4-FFF2-40B4-BE49-F238E27FC236}">
                  <a16:creationId xmlns:a16="http://schemas.microsoft.com/office/drawing/2014/main" id="{0B4A585D-9884-4023-A5EC-84E7920AE61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063047" y="5882328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60" name="Oval 434">
              <a:extLst>
                <a:ext uri="{FF2B5EF4-FFF2-40B4-BE49-F238E27FC236}">
                  <a16:creationId xmlns:a16="http://schemas.microsoft.com/office/drawing/2014/main" id="{045A083D-AF03-4704-BE0E-E06BBBA8AF0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222590" y="6051397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61" name="Oval 435">
              <a:extLst>
                <a:ext uri="{FF2B5EF4-FFF2-40B4-BE49-F238E27FC236}">
                  <a16:creationId xmlns:a16="http://schemas.microsoft.com/office/drawing/2014/main" id="{A82ED149-07EC-4D48-A51C-871A42B1E80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282121" y="6046634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62" name="Oval 436">
              <a:extLst>
                <a:ext uri="{FF2B5EF4-FFF2-40B4-BE49-F238E27FC236}">
                  <a16:creationId xmlns:a16="http://schemas.microsoft.com/office/drawing/2014/main" id="{FC1C9EC6-0138-40A5-ABBB-1BE126087A2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382133" y="6084734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63" name="Oval 437">
              <a:extLst>
                <a:ext uri="{FF2B5EF4-FFF2-40B4-BE49-F238E27FC236}">
                  <a16:creationId xmlns:a16="http://schemas.microsoft.com/office/drawing/2014/main" id="{1A75AE3A-C167-4117-BA9F-6403D40E612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520246" y="6127597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64" name="Oval 438">
              <a:extLst>
                <a:ext uri="{FF2B5EF4-FFF2-40B4-BE49-F238E27FC236}">
                  <a16:creationId xmlns:a16="http://schemas.microsoft.com/office/drawing/2014/main" id="{247C22BF-97C5-4282-A9E9-485D239D515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08352" y="6003772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65" name="Oval 439">
              <a:extLst>
                <a:ext uri="{FF2B5EF4-FFF2-40B4-BE49-F238E27FC236}">
                  <a16:creationId xmlns:a16="http://schemas.microsoft.com/office/drawing/2014/main" id="{E202AB1A-F5EB-4686-A41F-A874E638B86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501196" y="5879947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66" name="Oval 440">
              <a:extLst>
                <a:ext uri="{FF2B5EF4-FFF2-40B4-BE49-F238E27FC236}">
                  <a16:creationId xmlns:a16="http://schemas.microsoft.com/office/drawing/2014/main" id="{9F935882-3B0E-4666-AF66-0446E951672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415471" y="5713259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67" name="Oval 441">
              <a:extLst>
                <a:ext uri="{FF2B5EF4-FFF2-40B4-BE49-F238E27FC236}">
                  <a16:creationId xmlns:a16="http://schemas.microsoft.com/office/drawing/2014/main" id="{8050267C-E704-43BC-A058-737B08B925A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472621" y="5618009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68" name="Oval 442">
              <a:extLst>
                <a:ext uri="{FF2B5EF4-FFF2-40B4-BE49-F238E27FC236}">
                  <a16:creationId xmlns:a16="http://schemas.microsoft.com/office/drawing/2014/main" id="{C888D8EC-73E6-4A3A-B756-1E0BC008CE6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10734" y="5544191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69" name="Oval 443">
              <a:extLst>
                <a:ext uri="{FF2B5EF4-FFF2-40B4-BE49-F238E27FC236}">
                  <a16:creationId xmlns:a16="http://schemas.microsoft.com/office/drawing/2014/main" id="{4C9AF5ED-3323-46EC-97B1-7263B681126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27403" y="5498947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70" name="Oval 444">
              <a:extLst>
                <a:ext uri="{FF2B5EF4-FFF2-40B4-BE49-F238E27FC236}">
                  <a16:creationId xmlns:a16="http://schemas.microsoft.com/office/drawing/2014/main" id="{92787CD8-0F72-4475-B7CB-CF7FFDC46CB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67885" y="5522760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71" name="Oval 445">
              <a:extLst>
                <a:ext uri="{FF2B5EF4-FFF2-40B4-BE49-F238E27FC236}">
                  <a16:creationId xmlns:a16="http://schemas.microsoft.com/office/drawing/2014/main" id="{0BDDB6B7-E162-4CC8-B2C3-9728231F2FC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75028" y="5546572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72" name="Oval 446">
              <a:extLst>
                <a:ext uri="{FF2B5EF4-FFF2-40B4-BE49-F238E27FC236}">
                  <a16:creationId xmlns:a16="http://schemas.microsoft.com/office/drawing/2014/main" id="{A895313D-1F69-481F-A638-0089123D524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86935" y="5579910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73" name="Oval 447">
              <a:extLst>
                <a:ext uri="{FF2B5EF4-FFF2-40B4-BE49-F238E27FC236}">
                  <a16:creationId xmlns:a16="http://schemas.microsoft.com/office/drawing/2014/main" id="{7033046C-7FE2-4135-B618-ACB759319F4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729797" y="5541810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74" name="Oval 448">
              <a:extLst>
                <a:ext uri="{FF2B5EF4-FFF2-40B4-BE49-F238E27FC236}">
                  <a16:creationId xmlns:a16="http://schemas.microsoft.com/office/drawing/2014/main" id="{6446D53A-D7C4-42CA-BCE6-D33F453C247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817903" y="5625154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75" name="Oval 449">
              <a:extLst>
                <a:ext uri="{FF2B5EF4-FFF2-40B4-BE49-F238E27FC236}">
                  <a16:creationId xmlns:a16="http://schemas.microsoft.com/office/drawing/2014/main" id="{DE0AEBC1-9419-4ED2-AEDB-2CCB334D3AA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755990" y="5665635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76" name="Oval 450">
              <a:extLst>
                <a:ext uri="{FF2B5EF4-FFF2-40B4-BE49-F238E27FC236}">
                  <a16:creationId xmlns:a16="http://schemas.microsoft.com/office/drawing/2014/main" id="{123F15F7-9007-43E2-8522-E6ED76607F3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34547" y="5763266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77" name="Oval 451">
              <a:extLst>
                <a:ext uri="{FF2B5EF4-FFF2-40B4-BE49-F238E27FC236}">
                  <a16:creationId xmlns:a16="http://schemas.microsoft.com/office/drawing/2014/main" id="{8E9FA743-1982-42A9-B35A-311DEBD5C06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48834" y="5884709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78" name="Oval 452">
              <a:extLst>
                <a:ext uri="{FF2B5EF4-FFF2-40B4-BE49-F238E27FC236}">
                  <a16:creationId xmlns:a16="http://schemas.microsoft.com/office/drawing/2014/main" id="{27EE4D57-D898-4ECD-BD64-B9A8410EDC5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867909" y="5820415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79" name="Oval 453">
              <a:extLst>
                <a:ext uri="{FF2B5EF4-FFF2-40B4-BE49-F238E27FC236}">
                  <a16:creationId xmlns:a16="http://schemas.microsoft.com/office/drawing/2014/main" id="{87D70A5C-2AAA-4747-9D22-BBA7BFDC9FA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934584" y="5937096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80" name="Oval 455">
              <a:extLst>
                <a:ext uri="{FF2B5EF4-FFF2-40B4-BE49-F238E27FC236}">
                  <a16:creationId xmlns:a16="http://schemas.microsoft.com/office/drawing/2014/main" id="{627D7D24-8341-48BE-A1DA-267A616C8F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170328" y="5837084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81" name="Oval 456">
              <a:extLst>
                <a:ext uri="{FF2B5EF4-FFF2-40B4-BE49-F238E27FC236}">
                  <a16:creationId xmlns:a16="http://schemas.microsoft.com/office/drawing/2014/main" id="{39FDCAFE-812C-4F11-8DC7-B6143665929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170328" y="5810890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82" name="Oval 457">
              <a:extLst>
                <a:ext uri="{FF2B5EF4-FFF2-40B4-BE49-F238E27FC236}">
                  <a16:creationId xmlns:a16="http://schemas.microsoft.com/office/drawing/2014/main" id="{0A95CCA8-6FB7-4B31-B80D-F2224B79B9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258435" y="5710877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83" name="Oval 458">
              <a:extLst>
                <a:ext uri="{FF2B5EF4-FFF2-40B4-BE49-F238E27FC236}">
                  <a16:creationId xmlns:a16="http://schemas.microsoft.com/office/drawing/2014/main" id="{E501A147-3B19-4C68-893D-4D9895D83F9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184616" y="5539427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84" name="Oval 459">
              <a:extLst>
                <a:ext uri="{FF2B5EF4-FFF2-40B4-BE49-F238E27FC236}">
                  <a16:creationId xmlns:a16="http://schemas.microsoft.com/office/drawing/2014/main" id="{7F5FE356-A907-4932-B4F6-A4454FDA75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420360" y="5858515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85" name="Oval 460">
              <a:extLst>
                <a:ext uri="{FF2B5EF4-FFF2-40B4-BE49-F238E27FC236}">
                  <a16:creationId xmlns:a16="http://schemas.microsoft.com/office/drawing/2014/main" id="{A7FAA40C-D8F0-40C1-BCA7-8EC9186EBFC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15647" y="5779934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86" name="Oval 461">
              <a:extLst>
                <a:ext uri="{FF2B5EF4-FFF2-40B4-BE49-F238E27FC236}">
                  <a16:creationId xmlns:a16="http://schemas.microsoft.com/office/drawing/2014/main" id="{9EB2A565-EFB0-4AC2-95F4-22C250C006D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960904" y="5698971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87" name="Oval 462">
              <a:extLst>
                <a:ext uri="{FF2B5EF4-FFF2-40B4-BE49-F238E27FC236}">
                  <a16:creationId xmlns:a16="http://schemas.microsoft.com/office/drawing/2014/main" id="{2B91C8F5-2B67-49C5-BAA6-7EFBC35517B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479892" y="6087115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88" name="Oval 464">
              <a:extLst>
                <a:ext uri="{FF2B5EF4-FFF2-40B4-BE49-F238E27FC236}">
                  <a16:creationId xmlns:a16="http://schemas.microsoft.com/office/drawing/2014/main" id="{116B63C8-9248-4B74-9C55-631B7DABB40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165567" y="6137121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89" name="Oval 465">
              <a:extLst>
                <a:ext uri="{FF2B5EF4-FFF2-40B4-BE49-F238E27FC236}">
                  <a16:creationId xmlns:a16="http://schemas.microsoft.com/office/drawing/2014/main" id="{5D9D9852-6E42-4926-94C9-78C1AFE51AE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082223" y="6010914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90" name="Oval 466">
              <a:extLst>
                <a:ext uri="{FF2B5EF4-FFF2-40B4-BE49-F238E27FC236}">
                  <a16:creationId xmlns:a16="http://schemas.microsoft.com/office/drawing/2014/main" id="{2EE725C6-0978-412B-BF62-37DB7AD6930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960779" y="6001389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91" name="Oval 467">
              <a:extLst>
                <a:ext uri="{FF2B5EF4-FFF2-40B4-BE49-F238E27FC236}">
                  <a16:creationId xmlns:a16="http://schemas.microsoft.com/office/drawing/2014/main" id="{2A6710D9-AEA5-41E2-ADC1-38E96F1ED82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846479" y="5999008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92" name="Oval 468">
              <a:extLst>
                <a:ext uri="{FF2B5EF4-FFF2-40B4-BE49-F238E27FC236}">
                  <a16:creationId xmlns:a16="http://schemas.microsoft.com/office/drawing/2014/main" id="{FDB8C39B-2527-4424-BDAB-08CD249B4CA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796473" y="6056158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93" name="Oval 469">
              <a:extLst>
                <a:ext uri="{FF2B5EF4-FFF2-40B4-BE49-F238E27FC236}">
                  <a16:creationId xmlns:a16="http://schemas.microsoft.com/office/drawing/2014/main" id="{10DF8BDC-9DCC-448F-A07E-1152B4644BD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751229" y="6118071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94" name="Oval 470">
              <a:extLst>
                <a:ext uri="{FF2B5EF4-FFF2-40B4-BE49-F238E27FC236}">
                  <a16:creationId xmlns:a16="http://schemas.microsoft.com/office/drawing/2014/main" id="{0CB9D039-40C6-4F2A-A7C1-50FF2CABA19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753610" y="6199033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95" name="Oval 471">
              <a:extLst>
                <a:ext uri="{FF2B5EF4-FFF2-40B4-BE49-F238E27FC236}">
                  <a16:creationId xmlns:a16="http://schemas.microsoft.com/office/drawing/2014/main" id="{2389797B-43B6-428A-AE6D-F73A4715A00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27404" y="6291902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96" name="Oval 472">
              <a:extLst>
                <a:ext uri="{FF2B5EF4-FFF2-40B4-BE49-F238E27FC236}">
                  <a16:creationId xmlns:a16="http://schemas.microsoft.com/office/drawing/2014/main" id="{70967C52-0287-41B9-8C90-3D30868B572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563111" y="6346671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97" name="Oval 473">
              <a:extLst>
                <a:ext uri="{FF2B5EF4-FFF2-40B4-BE49-F238E27FC236}">
                  <a16:creationId xmlns:a16="http://schemas.microsoft.com/office/drawing/2014/main" id="{92209F24-5EEF-4BF8-9503-A15F5846A97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827430" y="6296665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98" name="Oval 474">
              <a:extLst>
                <a:ext uri="{FF2B5EF4-FFF2-40B4-BE49-F238E27FC236}">
                  <a16:creationId xmlns:a16="http://schemas.microsoft.com/office/drawing/2014/main" id="{36C8C137-9A4D-4EB7-B916-B7AAD050518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920299" y="6258565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99" name="Oval 475">
              <a:extLst>
                <a:ext uri="{FF2B5EF4-FFF2-40B4-BE49-F238E27FC236}">
                  <a16:creationId xmlns:a16="http://schemas.microsoft.com/office/drawing/2014/main" id="{34393C6E-CCE3-4FCB-844F-F98FC1BB514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920299" y="6210940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300" name="Oval 476">
              <a:extLst>
                <a:ext uri="{FF2B5EF4-FFF2-40B4-BE49-F238E27FC236}">
                  <a16:creationId xmlns:a16="http://schemas.microsoft.com/office/drawing/2014/main" id="{4C59E9DC-A95D-40B5-B38A-B1268CC56B9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960781" y="6232371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301" name="Oval 477">
              <a:extLst>
                <a:ext uri="{FF2B5EF4-FFF2-40B4-BE49-F238E27FC236}">
                  <a16:creationId xmlns:a16="http://schemas.microsoft.com/office/drawing/2014/main" id="{C1080E33-3045-4E3C-A6EE-F231EA25CBA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960781" y="6189508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302" name="Oval 478">
              <a:extLst>
                <a:ext uri="{FF2B5EF4-FFF2-40B4-BE49-F238E27FC236}">
                  <a16:creationId xmlns:a16="http://schemas.microsoft.com/office/drawing/2014/main" id="{FCFC0B1E-EBF0-453C-B252-CE480377C54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991737" y="6220464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303" name="Oval 479">
              <a:extLst>
                <a:ext uri="{FF2B5EF4-FFF2-40B4-BE49-F238E27FC236}">
                  <a16:creationId xmlns:a16="http://schemas.microsoft.com/office/drawing/2014/main" id="{30389D9F-D403-480E-883F-7211253D20C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008406" y="6194270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304" name="Oval 480">
              <a:extLst>
                <a:ext uri="{FF2B5EF4-FFF2-40B4-BE49-F238E27FC236}">
                  <a16:creationId xmlns:a16="http://schemas.microsoft.com/office/drawing/2014/main" id="{B5074709-BE1C-49DA-B601-892E6796F8B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917918" y="6146645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305" name="Oval 481">
              <a:extLst>
                <a:ext uri="{FF2B5EF4-FFF2-40B4-BE49-F238E27FC236}">
                  <a16:creationId xmlns:a16="http://schemas.microsoft.com/office/drawing/2014/main" id="{A754A838-CF4E-46BC-8424-7F065E2867C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015548" y="6127595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306" name="Oval 482">
              <a:extLst>
                <a:ext uri="{FF2B5EF4-FFF2-40B4-BE49-F238E27FC236}">
                  <a16:creationId xmlns:a16="http://schemas.microsoft.com/office/drawing/2014/main" id="{B552A741-26FF-45A7-B828-1204CD677E1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001261" y="6084732"/>
              <a:ext cx="90000" cy="9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</p:grpSp>
      <p:pic>
        <p:nvPicPr>
          <p:cNvPr id="9" name="Kuva 8" descr="Kuva, joka sisältää kohteen Fontti, Grafiikka, logo, graafinen suunnittelu&#10;&#10;Kuvaus luotu automaattisesti">
            <a:extLst>
              <a:ext uri="{FF2B5EF4-FFF2-40B4-BE49-F238E27FC236}">
                <a16:creationId xmlns:a16="http://schemas.microsoft.com/office/drawing/2014/main" id="{FE160BAC-EC35-A406-EA4E-6EF75FCBD9F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9693" y="-1670"/>
            <a:ext cx="2100321" cy="838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4327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tsikko 3"/>
          <p:cNvSpPr>
            <a:spLocks noGrp="1"/>
          </p:cNvSpPr>
          <p:nvPr>
            <p:ph type="title"/>
          </p:nvPr>
        </p:nvSpPr>
        <p:spPr>
          <a:xfrm>
            <a:off x="0" y="764704"/>
            <a:ext cx="12192000" cy="1008063"/>
          </a:xfrm>
        </p:spPr>
        <p:txBody>
          <a:bodyPr/>
          <a:lstStyle/>
          <a:p>
            <a:r>
              <a:rPr lang="fi-FI" sz="2800" dirty="0"/>
              <a:t>Sujuvampien työmaiden puolesta </a:t>
            </a:r>
          </a:p>
        </p:txBody>
      </p:sp>
      <p:sp>
        <p:nvSpPr>
          <p:cNvPr id="5" name="Sisällön paikkamerkki 4"/>
          <p:cNvSpPr>
            <a:spLocks noGrp="1"/>
          </p:cNvSpPr>
          <p:nvPr>
            <p:ph sz="half" idx="1"/>
          </p:nvPr>
        </p:nvSpPr>
        <p:spPr>
          <a:xfrm>
            <a:off x="767408" y="1988021"/>
            <a:ext cx="3672592" cy="4105275"/>
          </a:xfrm>
        </p:spPr>
        <p:txBody>
          <a:bodyPr/>
          <a:lstStyle/>
          <a:p>
            <a:pPr lvl="1">
              <a:spcBef>
                <a:spcPts val="0"/>
              </a:spcBef>
            </a:pPr>
            <a:r>
              <a:rPr lang="fi-FI" sz="1600" dirty="0"/>
              <a:t>K-Raudat palvelevat yritysasiakkaita </a:t>
            </a:r>
            <a:br>
              <a:rPr lang="fi-FI" sz="1600" dirty="0"/>
            </a:br>
            <a:r>
              <a:rPr lang="fi-FI" sz="1600" dirty="0"/>
              <a:t>eri toteutusmuodoilla</a:t>
            </a:r>
          </a:p>
          <a:p>
            <a:pPr lvl="2">
              <a:spcBef>
                <a:spcPts val="0"/>
              </a:spcBef>
            </a:pPr>
            <a:r>
              <a:rPr lang="fi-FI" dirty="0"/>
              <a:t>PRO-palvelupiste</a:t>
            </a:r>
          </a:p>
          <a:p>
            <a:pPr lvl="2">
              <a:spcBef>
                <a:spcPts val="0"/>
              </a:spcBef>
            </a:pPr>
            <a:r>
              <a:rPr lang="fi-FI" dirty="0"/>
              <a:t>PRO Center -osasto</a:t>
            </a:r>
          </a:p>
          <a:p>
            <a:pPr lvl="2">
              <a:spcBef>
                <a:spcPts val="0"/>
              </a:spcBef>
            </a:pPr>
            <a:r>
              <a:rPr lang="fi-FI" dirty="0"/>
              <a:t>PRO Center -kauppa</a:t>
            </a:r>
          </a:p>
          <a:p>
            <a:pPr lvl="2"/>
            <a:endParaRPr lang="fi-FI" dirty="0"/>
          </a:p>
          <a:p>
            <a:pPr lvl="1"/>
            <a:r>
              <a:rPr lang="fi-FI" sz="1600" dirty="0"/>
              <a:t>K-Rauta PRO -palveluvalikoimasta löydät jokaisen ammattilaisen arkea helpottavat palvelut, joiden avulla säästät arvokasta työaikaasi. Teemme töitä sujuvampien työmaiden puolesta, jotta sinä voisit palvella omia asiakkaitasi paremmin.</a:t>
            </a:r>
          </a:p>
          <a:p>
            <a:pPr lvl="1"/>
            <a:endParaRPr lang="fi-FI" sz="1600" dirty="0"/>
          </a:p>
        </p:txBody>
      </p:sp>
      <p:pic>
        <p:nvPicPr>
          <p:cNvPr id="11" name="Picture Placeholder 10" descr="A picture containing building, outdoor, orange&#10;&#10;Description automatically generated">
            <a:extLst>
              <a:ext uri="{FF2B5EF4-FFF2-40B4-BE49-F238E27FC236}">
                <a16:creationId xmlns:a16="http://schemas.microsoft.com/office/drawing/2014/main" id="{AC58A25F-421C-D070-20CA-F5CBCD7F3F8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27" b="13327"/>
          <a:stretch>
            <a:fillRect/>
          </a:stretch>
        </p:blipFill>
        <p:spPr>
          <a:xfrm>
            <a:off x="3740747" y="1557000"/>
            <a:ext cx="4587501" cy="4271756"/>
          </a:xfrm>
          <a:prstGeom prst="diamond">
            <a:avLst/>
          </a:prstGeom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4C245598-2686-6A29-DDB8-4579E5F35EF5}"/>
              </a:ext>
            </a:extLst>
          </p:cNvPr>
          <p:cNvGrpSpPr>
            <a:grpSpLocks noChangeAspect="1"/>
          </p:cNvGrpSpPr>
          <p:nvPr/>
        </p:nvGrpSpPr>
        <p:grpSpPr>
          <a:xfrm>
            <a:off x="4653349" y="210456"/>
            <a:ext cx="2892176" cy="410544"/>
            <a:chOff x="-649288" y="2474913"/>
            <a:chExt cx="13498513" cy="1916112"/>
          </a:xfrm>
        </p:grpSpPr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31FEA3DA-91F8-403D-8B65-62C5E38063E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95400" y="2506663"/>
              <a:ext cx="6400800" cy="1879600"/>
            </a:xfrm>
            <a:custGeom>
              <a:avLst/>
              <a:gdLst>
                <a:gd name="T0" fmla="*/ 3575 w 4032"/>
                <a:gd name="T1" fmla="*/ 937 h 1184"/>
                <a:gd name="T2" fmla="*/ 3654 w 4032"/>
                <a:gd name="T3" fmla="*/ 830 h 1184"/>
                <a:gd name="T4" fmla="*/ 3723 w 4032"/>
                <a:gd name="T5" fmla="*/ 1002 h 1184"/>
                <a:gd name="T6" fmla="*/ 4032 w 4032"/>
                <a:gd name="T7" fmla="*/ 731 h 1184"/>
                <a:gd name="T8" fmla="*/ 3960 w 4032"/>
                <a:gd name="T9" fmla="*/ 473 h 1184"/>
                <a:gd name="T10" fmla="*/ 3741 w 4032"/>
                <a:gd name="T11" fmla="*/ 385 h 1184"/>
                <a:gd name="T12" fmla="*/ 3408 w 4032"/>
                <a:gd name="T13" fmla="*/ 429 h 1184"/>
                <a:gd name="T14" fmla="*/ 3435 w 4032"/>
                <a:gd name="T15" fmla="*/ 618 h 1184"/>
                <a:gd name="T16" fmla="*/ 3650 w 4032"/>
                <a:gd name="T17" fmla="*/ 584 h 1184"/>
                <a:gd name="T18" fmla="*/ 3778 w 4032"/>
                <a:gd name="T19" fmla="*/ 645 h 1184"/>
                <a:gd name="T20" fmla="*/ 3599 w 4032"/>
                <a:gd name="T21" fmla="*/ 678 h 1184"/>
                <a:gd name="T22" fmla="*/ 3375 w 4032"/>
                <a:gd name="T23" fmla="*/ 770 h 1184"/>
                <a:gd name="T24" fmla="*/ 3314 w 4032"/>
                <a:gd name="T25" fmla="*/ 982 h 1184"/>
                <a:gd name="T26" fmla="*/ 3429 w 4032"/>
                <a:gd name="T27" fmla="*/ 1143 h 1184"/>
                <a:gd name="T28" fmla="*/ 3642 w 4032"/>
                <a:gd name="T29" fmla="*/ 1179 h 1184"/>
                <a:gd name="T30" fmla="*/ 3789 w 4032"/>
                <a:gd name="T31" fmla="*/ 1156 h 1184"/>
                <a:gd name="T32" fmla="*/ 3203 w 4032"/>
                <a:gd name="T33" fmla="*/ 580 h 1184"/>
                <a:gd name="T34" fmla="*/ 3053 w 4032"/>
                <a:gd name="T35" fmla="*/ 124 h 1184"/>
                <a:gd name="T36" fmla="*/ 2787 w 4032"/>
                <a:gd name="T37" fmla="*/ 255 h 1184"/>
                <a:gd name="T38" fmla="*/ 2665 w 4032"/>
                <a:gd name="T39" fmla="*/ 591 h 1184"/>
                <a:gd name="T40" fmla="*/ 2797 w 4032"/>
                <a:gd name="T41" fmla="*/ 1024 h 1184"/>
                <a:gd name="T42" fmla="*/ 2932 w 4032"/>
                <a:gd name="T43" fmla="*/ 1167 h 1184"/>
                <a:gd name="T44" fmla="*/ 3197 w 4032"/>
                <a:gd name="T45" fmla="*/ 1159 h 1184"/>
                <a:gd name="T46" fmla="*/ 3181 w 4032"/>
                <a:gd name="T47" fmla="*/ 948 h 1184"/>
                <a:gd name="T48" fmla="*/ 3064 w 4032"/>
                <a:gd name="T49" fmla="*/ 931 h 1184"/>
                <a:gd name="T50" fmla="*/ 2541 w 4032"/>
                <a:gd name="T51" fmla="*/ 384 h 1184"/>
                <a:gd name="T52" fmla="*/ 2280 w 4032"/>
                <a:gd name="T53" fmla="*/ 930 h 1184"/>
                <a:gd name="T54" fmla="*/ 2121 w 4032"/>
                <a:gd name="T55" fmla="*/ 930 h 1184"/>
                <a:gd name="T56" fmla="*/ 2079 w 4032"/>
                <a:gd name="T57" fmla="*/ 388 h 1184"/>
                <a:gd name="T58" fmla="*/ 1821 w 4032"/>
                <a:gd name="T59" fmla="*/ 452 h 1184"/>
                <a:gd name="T60" fmla="*/ 1891 w 4032"/>
                <a:gd name="T61" fmla="*/ 1100 h 1184"/>
                <a:gd name="T62" fmla="*/ 2080 w 4032"/>
                <a:gd name="T63" fmla="*/ 1184 h 1184"/>
                <a:gd name="T64" fmla="*/ 2291 w 4032"/>
                <a:gd name="T65" fmla="*/ 1140 h 1184"/>
                <a:gd name="T66" fmla="*/ 2553 w 4032"/>
                <a:gd name="T67" fmla="*/ 1156 h 1184"/>
                <a:gd name="T68" fmla="*/ 1244 w 4032"/>
                <a:gd name="T69" fmla="*/ 969 h 1184"/>
                <a:gd name="T70" fmla="*/ 1258 w 4032"/>
                <a:gd name="T71" fmla="*/ 852 h 1184"/>
                <a:gd name="T72" fmla="*/ 1439 w 4032"/>
                <a:gd name="T73" fmla="*/ 978 h 1184"/>
                <a:gd name="T74" fmla="*/ 1682 w 4032"/>
                <a:gd name="T75" fmla="*/ 1156 h 1184"/>
                <a:gd name="T76" fmla="*/ 1645 w 4032"/>
                <a:gd name="T77" fmla="*/ 518 h 1184"/>
                <a:gd name="T78" fmla="*/ 1488 w 4032"/>
                <a:gd name="T79" fmla="*/ 400 h 1184"/>
                <a:gd name="T80" fmla="*/ 1134 w 4032"/>
                <a:gd name="T81" fmla="*/ 406 h 1184"/>
                <a:gd name="T82" fmla="*/ 1033 w 4032"/>
                <a:gd name="T83" fmla="*/ 463 h 1184"/>
                <a:gd name="T84" fmla="*/ 1238 w 4032"/>
                <a:gd name="T85" fmla="*/ 590 h 1184"/>
                <a:gd name="T86" fmla="*/ 1417 w 4032"/>
                <a:gd name="T87" fmla="*/ 617 h 1184"/>
                <a:gd name="T88" fmla="*/ 1348 w 4032"/>
                <a:gd name="T89" fmla="*/ 681 h 1184"/>
                <a:gd name="T90" fmla="*/ 1082 w 4032"/>
                <a:gd name="T91" fmla="*/ 728 h 1184"/>
                <a:gd name="T92" fmla="*/ 966 w 4032"/>
                <a:gd name="T93" fmla="*/ 907 h 1184"/>
                <a:gd name="T94" fmla="*/ 1033 w 4032"/>
                <a:gd name="T95" fmla="*/ 1105 h 1184"/>
                <a:gd name="T96" fmla="*/ 1236 w 4032"/>
                <a:gd name="T97" fmla="*/ 1184 h 1184"/>
                <a:gd name="T98" fmla="*/ 1439 w 4032"/>
                <a:gd name="T99" fmla="*/ 1112 h 1184"/>
                <a:gd name="T100" fmla="*/ 419 w 4032"/>
                <a:gd name="T101" fmla="*/ 247 h 1184"/>
                <a:gd name="T102" fmla="*/ 532 w 4032"/>
                <a:gd name="T103" fmla="*/ 342 h 1184"/>
                <a:gd name="T104" fmla="*/ 506 w 4032"/>
                <a:gd name="T105" fmla="*/ 484 h 1184"/>
                <a:gd name="T106" fmla="*/ 606 w 4032"/>
                <a:gd name="T107" fmla="*/ 1153 h 1184"/>
                <a:gd name="T108" fmla="*/ 919 w 4032"/>
                <a:gd name="T109" fmla="*/ 1148 h 1184"/>
                <a:gd name="T110" fmla="*/ 784 w 4032"/>
                <a:gd name="T111" fmla="*/ 552 h 1184"/>
                <a:gd name="T112" fmla="*/ 827 w 4032"/>
                <a:gd name="T113" fmla="*/ 314 h 1184"/>
                <a:gd name="T114" fmla="*/ 723 w 4032"/>
                <a:gd name="T115" fmla="*/ 109 h 1184"/>
                <a:gd name="T116" fmla="*/ 441 w 4032"/>
                <a:gd name="T117" fmla="*/ 2 h 1184"/>
                <a:gd name="T118" fmla="*/ 1 w 4032"/>
                <a:gd name="T119" fmla="*/ 1148 h 1184"/>
                <a:gd name="T120" fmla="*/ 284 w 4032"/>
                <a:gd name="T121" fmla="*/ 1148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32" h="1184">
                  <a:moveTo>
                    <a:pt x="3680" y="1006"/>
                  </a:moveTo>
                  <a:lnTo>
                    <a:pt x="3668" y="1006"/>
                  </a:lnTo>
                  <a:lnTo>
                    <a:pt x="3657" y="1005"/>
                  </a:lnTo>
                  <a:lnTo>
                    <a:pt x="3647" y="1003"/>
                  </a:lnTo>
                  <a:lnTo>
                    <a:pt x="3637" y="1000"/>
                  </a:lnTo>
                  <a:lnTo>
                    <a:pt x="3628" y="996"/>
                  </a:lnTo>
                  <a:lnTo>
                    <a:pt x="3619" y="992"/>
                  </a:lnTo>
                  <a:lnTo>
                    <a:pt x="3611" y="987"/>
                  </a:lnTo>
                  <a:lnTo>
                    <a:pt x="3607" y="985"/>
                  </a:lnTo>
                  <a:lnTo>
                    <a:pt x="3603" y="982"/>
                  </a:lnTo>
                  <a:lnTo>
                    <a:pt x="3596" y="976"/>
                  </a:lnTo>
                  <a:lnTo>
                    <a:pt x="3590" y="969"/>
                  </a:lnTo>
                  <a:lnTo>
                    <a:pt x="3588" y="966"/>
                  </a:lnTo>
                  <a:lnTo>
                    <a:pt x="3585" y="962"/>
                  </a:lnTo>
                  <a:lnTo>
                    <a:pt x="3581" y="954"/>
                  </a:lnTo>
                  <a:lnTo>
                    <a:pt x="3577" y="946"/>
                  </a:lnTo>
                  <a:lnTo>
                    <a:pt x="3575" y="937"/>
                  </a:lnTo>
                  <a:lnTo>
                    <a:pt x="3574" y="932"/>
                  </a:lnTo>
                  <a:lnTo>
                    <a:pt x="3573" y="927"/>
                  </a:lnTo>
                  <a:lnTo>
                    <a:pt x="3572" y="917"/>
                  </a:lnTo>
                  <a:lnTo>
                    <a:pt x="3573" y="907"/>
                  </a:lnTo>
                  <a:lnTo>
                    <a:pt x="3574" y="903"/>
                  </a:lnTo>
                  <a:lnTo>
                    <a:pt x="3575" y="898"/>
                  </a:lnTo>
                  <a:lnTo>
                    <a:pt x="3577" y="889"/>
                  </a:lnTo>
                  <a:lnTo>
                    <a:pt x="3581" y="881"/>
                  </a:lnTo>
                  <a:lnTo>
                    <a:pt x="3585" y="873"/>
                  </a:lnTo>
                  <a:lnTo>
                    <a:pt x="3591" y="865"/>
                  </a:lnTo>
                  <a:lnTo>
                    <a:pt x="3597" y="858"/>
                  </a:lnTo>
                  <a:lnTo>
                    <a:pt x="3605" y="852"/>
                  </a:lnTo>
                  <a:lnTo>
                    <a:pt x="3613" y="846"/>
                  </a:lnTo>
                  <a:lnTo>
                    <a:pt x="3622" y="841"/>
                  </a:lnTo>
                  <a:lnTo>
                    <a:pt x="3632" y="837"/>
                  </a:lnTo>
                  <a:lnTo>
                    <a:pt x="3643" y="833"/>
                  </a:lnTo>
                  <a:lnTo>
                    <a:pt x="3654" y="830"/>
                  </a:lnTo>
                  <a:lnTo>
                    <a:pt x="3666" y="828"/>
                  </a:lnTo>
                  <a:lnTo>
                    <a:pt x="3679" y="827"/>
                  </a:lnTo>
                  <a:lnTo>
                    <a:pt x="3693" y="827"/>
                  </a:lnTo>
                  <a:lnTo>
                    <a:pt x="3704" y="827"/>
                  </a:lnTo>
                  <a:lnTo>
                    <a:pt x="3715" y="827"/>
                  </a:lnTo>
                  <a:lnTo>
                    <a:pt x="3727" y="829"/>
                  </a:lnTo>
                  <a:lnTo>
                    <a:pt x="3739" y="830"/>
                  </a:lnTo>
                  <a:lnTo>
                    <a:pt x="3751" y="832"/>
                  </a:lnTo>
                  <a:lnTo>
                    <a:pt x="3762" y="835"/>
                  </a:lnTo>
                  <a:lnTo>
                    <a:pt x="3774" y="838"/>
                  </a:lnTo>
                  <a:lnTo>
                    <a:pt x="3785" y="841"/>
                  </a:lnTo>
                  <a:lnTo>
                    <a:pt x="3785" y="978"/>
                  </a:lnTo>
                  <a:lnTo>
                    <a:pt x="3773" y="984"/>
                  </a:lnTo>
                  <a:lnTo>
                    <a:pt x="3761" y="989"/>
                  </a:lnTo>
                  <a:lnTo>
                    <a:pt x="3749" y="994"/>
                  </a:lnTo>
                  <a:lnTo>
                    <a:pt x="3737" y="998"/>
                  </a:lnTo>
                  <a:lnTo>
                    <a:pt x="3723" y="1002"/>
                  </a:lnTo>
                  <a:lnTo>
                    <a:pt x="3710" y="1004"/>
                  </a:lnTo>
                  <a:lnTo>
                    <a:pt x="3702" y="1005"/>
                  </a:lnTo>
                  <a:lnTo>
                    <a:pt x="3695" y="1006"/>
                  </a:lnTo>
                  <a:lnTo>
                    <a:pt x="3680" y="1006"/>
                  </a:lnTo>
                  <a:close/>
                  <a:moveTo>
                    <a:pt x="3813" y="1168"/>
                  </a:moveTo>
                  <a:lnTo>
                    <a:pt x="4004" y="1168"/>
                  </a:lnTo>
                  <a:lnTo>
                    <a:pt x="4010" y="1167"/>
                  </a:lnTo>
                  <a:lnTo>
                    <a:pt x="4013" y="1166"/>
                  </a:lnTo>
                  <a:lnTo>
                    <a:pt x="4015" y="1165"/>
                  </a:lnTo>
                  <a:lnTo>
                    <a:pt x="4020" y="1163"/>
                  </a:lnTo>
                  <a:lnTo>
                    <a:pt x="4024" y="1160"/>
                  </a:lnTo>
                  <a:lnTo>
                    <a:pt x="4028" y="1156"/>
                  </a:lnTo>
                  <a:lnTo>
                    <a:pt x="4030" y="1151"/>
                  </a:lnTo>
                  <a:lnTo>
                    <a:pt x="4031" y="1148"/>
                  </a:lnTo>
                  <a:lnTo>
                    <a:pt x="4032" y="1145"/>
                  </a:lnTo>
                  <a:lnTo>
                    <a:pt x="4032" y="1140"/>
                  </a:lnTo>
                  <a:lnTo>
                    <a:pt x="4032" y="731"/>
                  </a:lnTo>
                  <a:lnTo>
                    <a:pt x="4032" y="707"/>
                  </a:lnTo>
                  <a:lnTo>
                    <a:pt x="4031" y="684"/>
                  </a:lnTo>
                  <a:lnTo>
                    <a:pt x="4029" y="662"/>
                  </a:lnTo>
                  <a:lnTo>
                    <a:pt x="4027" y="640"/>
                  </a:lnTo>
                  <a:lnTo>
                    <a:pt x="4024" y="620"/>
                  </a:lnTo>
                  <a:lnTo>
                    <a:pt x="4020" y="601"/>
                  </a:lnTo>
                  <a:lnTo>
                    <a:pt x="4018" y="592"/>
                  </a:lnTo>
                  <a:lnTo>
                    <a:pt x="4015" y="583"/>
                  </a:lnTo>
                  <a:lnTo>
                    <a:pt x="4010" y="564"/>
                  </a:lnTo>
                  <a:lnTo>
                    <a:pt x="4004" y="548"/>
                  </a:lnTo>
                  <a:lnTo>
                    <a:pt x="3998" y="533"/>
                  </a:lnTo>
                  <a:lnTo>
                    <a:pt x="3991" y="518"/>
                  </a:lnTo>
                  <a:lnTo>
                    <a:pt x="3983" y="504"/>
                  </a:lnTo>
                  <a:lnTo>
                    <a:pt x="3974" y="491"/>
                  </a:lnTo>
                  <a:lnTo>
                    <a:pt x="3970" y="485"/>
                  </a:lnTo>
                  <a:lnTo>
                    <a:pt x="3965" y="479"/>
                  </a:lnTo>
                  <a:lnTo>
                    <a:pt x="3960" y="473"/>
                  </a:lnTo>
                  <a:lnTo>
                    <a:pt x="3955" y="468"/>
                  </a:lnTo>
                  <a:lnTo>
                    <a:pt x="3950" y="463"/>
                  </a:lnTo>
                  <a:lnTo>
                    <a:pt x="3944" y="457"/>
                  </a:lnTo>
                  <a:lnTo>
                    <a:pt x="3933" y="448"/>
                  </a:lnTo>
                  <a:lnTo>
                    <a:pt x="3921" y="439"/>
                  </a:lnTo>
                  <a:lnTo>
                    <a:pt x="3908" y="430"/>
                  </a:lnTo>
                  <a:lnTo>
                    <a:pt x="3895" y="423"/>
                  </a:lnTo>
                  <a:lnTo>
                    <a:pt x="3888" y="419"/>
                  </a:lnTo>
                  <a:lnTo>
                    <a:pt x="3880" y="416"/>
                  </a:lnTo>
                  <a:lnTo>
                    <a:pt x="3865" y="410"/>
                  </a:lnTo>
                  <a:lnTo>
                    <a:pt x="3850" y="404"/>
                  </a:lnTo>
                  <a:lnTo>
                    <a:pt x="3833" y="400"/>
                  </a:lnTo>
                  <a:lnTo>
                    <a:pt x="3816" y="395"/>
                  </a:lnTo>
                  <a:lnTo>
                    <a:pt x="3798" y="392"/>
                  </a:lnTo>
                  <a:lnTo>
                    <a:pt x="3780" y="389"/>
                  </a:lnTo>
                  <a:lnTo>
                    <a:pt x="3761" y="387"/>
                  </a:lnTo>
                  <a:lnTo>
                    <a:pt x="3741" y="385"/>
                  </a:lnTo>
                  <a:lnTo>
                    <a:pt x="3720" y="383"/>
                  </a:lnTo>
                  <a:lnTo>
                    <a:pt x="3698" y="383"/>
                  </a:lnTo>
                  <a:lnTo>
                    <a:pt x="3676" y="382"/>
                  </a:lnTo>
                  <a:lnTo>
                    <a:pt x="3657" y="383"/>
                  </a:lnTo>
                  <a:lnTo>
                    <a:pt x="3637" y="384"/>
                  </a:lnTo>
                  <a:lnTo>
                    <a:pt x="3617" y="385"/>
                  </a:lnTo>
                  <a:lnTo>
                    <a:pt x="3597" y="387"/>
                  </a:lnTo>
                  <a:lnTo>
                    <a:pt x="3576" y="389"/>
                  </a:lnTo>
                  <a:lnTo>
                    <a:pt x="3556" y="392"/>
                  </a:lnTo>
                  <a:lnTo>
                    <a:pt x="3517" y="399"/>
                  </a:lnTo>
                  <a:lnTo>
                    <a:pt x="3499" y="402"/>
                  </a:lnTo>
                  <a:lnTo>
                    <a:pt x="3481" y="406"/>
                  </a:lnTo>
                  <a:lnTo>
                    <a:pt x="3448" y="415"/>
                  </a:lnTo>
                  <a:lnTo>
                    <a:pt x="3433" y="420"/>
                  </a:lnTo>
                  <a:lnTo>
                    <a:pt x="3420" y="424"/>
                  </a:lnTo>
                  <a:lnTo>
                    <a:pt x="3414" y="427"/>
                  </a:lnTo>
                  <a:lnTo>
                    <a:pt x="3408" y="429"/>
                  </a:lnTo>
                  <a:lnTo>
                    <a:pt x="3398" y="433"/>
                  </a:lnTo>
                  <a:lnTo>
                    <a:pt x="3391" y="437"/>
                  </a:lnTo>
                  <a:lnTo>
                    <a:pt x="3388" y="439"/>
                  </a:lnTo>
                  <a:lnTo>
                    <a:pt x="3386" y="442"/>
                  </a:lnTo>
                  <a:lnTo>
                    <a:pt x="3384" y="444"/>
                  </a:lnTo>
                  <a:lnTo>
                    <a:pt x="3382" y="446"/>
                  </a:lnTo>
                  <a:lnTo>
                    <a:pt x="3381" y="449"/>
                  </a:lnTo>
                  <a:lnTo>
                    <a:pt x="3380" y="451"/>
                  </a:lnTo>
                  <a:lnTo>
                    <a:pt x="3379" y="454"/>
                  </a:lnTo>
                  <a:lnTo>
                    <a:pt x="3379" y="457"/>
                  </a:lnTo>
                  <a:lnTo>
                    <a:pt x="3379" y="460"/>
                  </a:lnTo>
                  <a:lnTo>
                    <a:pt x="3380" y="463"/>
                  </a:lnTo>
                  <a:lnTo>
                    <a:pt x="3381" y="469"/>
                  </a:lnTo>
                  <a:lnTo>
                    <a:pt x="3383" y="476"/>
                  </a:lnTo>
                  <a:lnTo>
                    <a:pt x="3429" y="607"/>
                  </a:lnTo>
                  <a:lnTo>
                    <a:pt x="3432" y="614"/>
                  </a:lnTo>
                  <a:lnTo>
                    <a:pt x="3435" y="618"/>
                  </a:lnTo>
                  <a:lnTo>
                    <a:pt x="3437" y="620"/>
                  </a:lnTo>
                  <a:lnTo>
                    <a:pt x="3439" y="622"/>
                  </a:lnTo>
                  <a:lnTo>
                    <a:pt x="3444" y="624"/>
                  </a:lnTo>
                  <a:lnTo>
                    <a:pt x="3449" y="625"/>
                  </a:lnTo>
                  <a:lnTo>
                    <a:pt x="3454" y="625"/>
                  </a:lnTo>
                  <a:lnTo>
                    <a:pt x="3460" y="624"/>
                  </a:lnTo>
                  <a:lnTo>
                    <a:pt x="3467" y="622"/>
                  </a:lnTo>
                  <a:lnTo>
                    <a:pt x="3492" y="614"/>
                  </a:lnTo>
                  <a:lnTo>
                    <a:pt x="3516" y="606"/>
                  </a:lnTo>
                  <a:lnTo>
                    <a:pt x="3540" y="599"/>
                  </a:lnTo>
                  <a:lnTo>
                    <a:pt x="3562" y="594"/>
                  </a:lnTo>
                  <a:lnTo>
                    <a:pt x="3584" y="590"/>
                  </a:lnTo>
                  <a:lnTo>
                    <a:pt x="3606" y="587"/>
                  </a:lnTo>
                  <a:lnTo>
                    <a:pt x="3617" y="586"/>
                  </a:lnTo>
                  <a:lnTo>
                    <a:pt x="3628" y="585"/>
                  </a:lnTo>
                  <a:lnTo>
                    <a:pt x="3639" y="585"/>
                  </a:lnTo>
                  <a:lnTo>
                    <a:pt x="3650" y="584"/>
                  </a:lnTo>
                  <a:lnTo>
                    <a:pt x="3668" y="585"/>
                  </a:lnTo>
                  <a:lnTo>
                    <a:pt x="3685" y="586"/>
                  </a:lnTo>
                  <a:lnTo>
                    <a:pt x="3700" y="588"/>
                  </a:lnTo>
                  <a:lnTo>
                    <a:pt x="3713" y="590"/>
                  </a:lnTo>
                  <a:lnTo>
                    <a:pt x="3726" y="594"/>
                  </a:lnTo>
                  <a:lnTo>
                    <a:pt x="3737" y="598"/>
                  </a:lnTo>
                  <a:lnTo>
                    <a:pt x="3742" y="601"/>
                  </a:lnTo>
                  <a:lnTo>
                    <a:pt x="3747" y="603"/>
                  </a:lnTo>
                  <a:lnTo>
                    <a:pt x="3751" y="606"/>
                  </a:lnTo>
                  <a:lnTo>
                    <a:pt x="3755" y="610"/>
                  </a:lnTo>
                  <a:lnTo>
                    <a:pt x="3759" y="613"/>
                  </a:lnTo>
                  <a:lnTo>
                    <a:pt x="3762" y="617"/>
                  </a:lnTo>
                  <a:lnTo>
                    <a:pt x="3766" y="621"/>
                  </a:lnTo>
                  <a:lnTo>
                    <a:pt x="3769" y="625"/>
                  </a:lnTo>
                  <a:lnTo>
                    <a:pt x="3774" y="634"/>
                  </a:lnTo>
                  <a:lnTo>
                    <a:pt x="3776" y="640"/>
                  </a:lnTo>
                  <a:lnTo>
                    <a:pt x="3778" y="645"/>
                  </a:lnTo>
                  <a:lnTo>
                    <a:pt x="3780" y="650"/>
                  </a:lnTo>
                  <a:lnTo>
                    <a:pt x="3781" y="656"/>
                  </a:lnTo>
                  <a:lnTo>
                    <a:pt x="3782" y="663"/>
                  </a:lnTo>
                  <a:lnTo>
                    <a:pt x="3783" y="669"/>
                  </a:lnTo>
                  <a:lnTo>
                    <a:pt x="3785" y="683"/>
                  </a:lnTo>
                  <a:lnTo>
                    <a:pt x="3785" y="698"/>
                  </a:lnTo>
                  <a:lnTo>
                    <a:pt x="3785" y="701"/>
                  </a:lnTo>
                  <a:lnTo>
                    <a:pt x="3768" y="696"/>
                  </a:lnTo>
                  <a:lnTo>
                    <a:pt x="3750" y="691"/>
                  </a:lnTo>
                  <a:lnTo>
                    <a:pt x="3732" y="687"/>
                  </a:lnTo>
                  <a:lnTo>
                    <a:pt x="3713" y="683"/>
                  </a:lnTo>
                  <a:lnTo>
                    <a:pt x="3694" y="681"/>
                  </a:lnTo>
                  <a:lnTo>
                    <a:pt x="3674" y="678"/>
                  </a:lnTo>
                  <a:lnTo>
                    <a:pt x="3653" y="677"/>
                  </a:lnTo>
                  <a:lnTo>
                    <a:pt x="3632" y="677"/>
                  </a:lnTo>
                  <a:lnTo>
                    <a:pt x="3615" y="677"/>
                  </a:lnTo>
                  <a:lnTo>
                    <a:pt x="3599" y="678"/>
                  </a:lnTo>
                  <a:lnTo>
                    <a:pt x="3583" y="679"/>
                  </a:lnTo>
                  <a:lnTo>
                    <a:pt x="3568" y="681"/>
                  </a:lnTo>
                  <a:lnTo>
                    <a:pt x="3552" y="683"/>
                  </a:lnTo>
                  <a:lnTo>
                    <a:pt x="3537" y="686"/>
                  </a:lnTo>
                  <a:lnTo>
                    <a:pt x="3522" y="690"/>
                  </a:lnTo>
                  <a:lnTo>
                    <a:pt x="3508" y="693"/>
                  </a:lnTo>
                  <a:lnTo>
                    <a:pt x="3494" y="698"/>
                  </a:lnTo>
                  <a:lnTo>
                    <a:pt x="3480" y="703"/>
                  </a:lnTo>
                  <a:lnTo>
                    <a:pt x="3466" y="708"/>
                  </a:lnTo>
                  <a:lnTo>
                    <a:pt x="3453" y="714"/>
                  </a:lnTo>
                  <a:lnTo>
                    <a:pt x="3441" y="721"/>
                  </a:lnTo>
                  <a:lnTo>
                    <a:pt x="3429" y="728"/>
                  </a:lnTo>
                  <a:lnTo>
                    <a:pt x="3417" y="735"/>
                  </a:lnTo>
                  <a:lnTo>
                    <a:pt x="3406" y="743"/>
                  </a:lnTo>
                  <a:lnTo>
                    <a:pt x="3395" y="752"/>
                  </a:lnTo>
                  <a:lnTo>
                    <a:pt x="3385" y="761"/>
                  </a:lnTo>
                  <a:lnTo>
                    <a:pt x="3375" y="770"/>
                  </a:lnTo>
                  <a:lnTo>
                    <a:pt x="3371" y="775"/>
                  </a:lnTo>
                  <a:lnTo>
                    <a:pt x="3366" y="780"/>
                  </a:lnTo>
                  <a:lnTo>
                    <a:pt x="3358" y="791"/>
                  </a:lnTo>
                  <a:lnTo>
                    <a:pt x="3350" y="802"/>
                  </a:lnTo>
                  <a:lnTo>
                    <a:pt x="3343" y="813"/>
                  </a:lnTo>
                  <a:lnTo>
                    <a:pt x="3336" y="825"/>
                  </a:lnTo>
                  <a:lnTo>
                    <a:pt x="3330" y="838"/>
                  </a:lnTo>
                  <a:lnTo>
                    <a:pt x="3325" y="851"/>
                  </a:lnTo>
                  <a:lnTo>
                    <a:pt x="3321" y="864"/>
                  </a:lnTo>
                  <a:lnTo>
                    <a:pt x="3317" y="878"/>
                  </a:lnTo>
                  <a:lnTo>
                    <a:pt x="3314" y="893"/>
                  </a:lnTo>
                  <a:lnTo>
                    <a:pt x="3312" y="907"/>
                  </a:lnTo>
                  <a:lnTo>
                    <a:pt x="3311" y="923"/>
                  </a:lnTo>
                  <a:lnTo>
                    <a:pt x="3311" y="939"/>
                  </a:lnTo>
                  <a:lnTo>
                    <a:pt x="3311" y="953"/>
                  </a:lnTo>
                  <a:lnTo>
                    <a:pt x="3312" y="968"/>
                  </a:lnTo>
                  <a:lnTo>
                    <a:pt x="3314" y="982"/>
                  </a:lnTo>
                  <a:lnTo>
                    <a:pt x="3317" y="995"/>
                  </a:lnTo>
                  <a:lnTo>
                    <a:pt x="3320" y="1009"/>
                  </a:lnTo>
                  <a:lnTo>
                    <a:pt x="3325" y="1021"/>
                  </a:lnTo>
                  <a:lnTo>
                    <a:pt x="3329" y="1033"/>
                  </a:lnTo>
                  <a:lnTo>
                    <a:pt x="3335" y="1045"/>
                  </a:lnTo>
                  <a:lnTo>
                    <a:pt x="3341" y="1056"/>
                  </a:lnTo>
                  <a:lnTo>
                    <a:pt x="3348" y="1067"/>
                  </a:lnTo>
                  <a:lnTo>
                    <a:pt x="3355" y="1077"/>
                  </a:lnTo>
                  <a:lnTo>
                    <a:pt x="3359" y="1082"/>
                  </a:lnTo>
                  <a:lnTo>
                    <a:pt x="3363" y="1087"/>
                  </a:lnTo>
                  <a:lnTo>
                    <a:pt x="3371" y="1097"/>
                  </a:lnTo>
                  <a:lnTo>
                    <a:pt x="3380" y="1105"/>
                  </a:lnTo>
                  <a:lnTo>
                    <a:pt x="3389" y="1114"/>
                  </a:lnTo>
                  <a:lnTo>
                    <a:pt x="3398" y="1122"/>
                  </a:lnTo>
                  <a:lnTo>
                    <a:pt x="3408" y="1129"/>
                  </a:lnTo>
                  <a:lnTo>
                    <a:pt x="3418" y="1136"/>
                  </a:lnTo>
                  <a:lnTo>
                    <a:pt x="3429" y="1143"/>
                  </a:lnTo>
                  <a:lnTo>
                    <a:pt x="3440" y="1149"/>
                  </a:lnTo>
                  <a:lnTo>
                    <a:pt x="3451" y="1155"/>
                  </a:lnTo>
                  <a:lnTo>
                    <a:pt x="3462" y="1160"/>
                  </a:lnTo>
                  <a:lnTo>
                    <a:pt x="3474" y="1164"/>
                  </a:lnTo>
                  <a:lnTo>
                    <a:pt x="3486" y="1168"/>
                  </a:lnTo>
                  <a:lnTo>
                    <a:pt x="3498" y="1172"/>
                  </a:lnTo>
                  <a:lnTo>
                    <a:pt x="3510" y="1175"/>
                  </a:lnTo>
                  <a:lnTo>
                    <a:pt x="3522" y="1178"/>
                  </a:lnTo>
                  <a:lnTo>
                    <a:pt x="3534" y="1180"/>
                  </a:lnTo>
                  <a:lnTo>
                    <a:pt x="3558" y="1183"/>
                  </a:lnTo>
                  <a:lnTo>
                    <a:pt x="3570" y="1184"/>
                  </a:lnTo>
                  <a:lnTo>
                    <a:pt x="3582" y="1184"/>
                  </a:lnTo>
                  <a:lnTo>
                    <a:pt x="3598" y="1184"/>
                  </a:lnTo>
                  <a:lnTo>
                    <a:pt x="3613" y="1183"/>
                  </a:lnTo>
                  <a:lnTo>
                    <a:pt x="3628" y="1181"/>
                  </a:lnTo>
                  <a:lnTo>
                    <a:pt x="3635" y="1180"/>
                  </a:lnTo>
                  <a:lnTo>
                    <a:pt x="3642" y="1179"/>
                  </a:lnTo>
                  <a:lnTo>
                    <a:pt x="3656" y="1176"/>
                  </a:lnTo>
                  <a:lnTo>
                    <a:pt x="3669" y="1173"/>
                  </a:lnTo>
                  <a:lnTo>
                    <a:pt x="3682" y="1169"/>
                  </a:lnTo>
                  <a:lnTo>
                    <a:pt x="3694" y="1164"/>
                  </a:lnTo>
                  <a:lnTo>
                    <a:pt x="3706" y="1160"/>
                  </a:lnTo>
                  <a:lnTo>
                    <a:pt x="3718" y="1154"/>
                  </a:lnTo>
                  <a:lnTo>
                    <a:pt x="3730" y="1148"/>
                  </a:lnTo>
                  <a:lnTo>
                    <a:pt x="3741" y="1142"/>
                  </a:lnTo>
                  <a:lnTo>
                    <a:pt x="3752" y="1135"/>
                  </a:lnTo>
                  <a:lnTo>
                    <a:pt x="3763" y="1127"/>
                  </a:lnTo>
                  <a:lnTo>
                    <a:pt x="3774" y="1120"/>
                  </a:lnTo>
                  <a:lnTo>
                    <a:pt x="3785" y="1112"/>
                  </a:lnTo>
                  <a:lnTo>
                    <a:pt x="3785" y="1140"/>
                  </a:lnTo>
                  <a:lnTo>
                    <a:pt x="3786" y="1145"/>
                  </a:lnTo>
                  <a:lnTo>
                    <a:pt x="3786" y="1148"/>
                  </a:lnTo>
                  <a:lnTo>
                    <a:pt x="3787" y="1151"/>
                  </a:lnTo>
                  <a:lnTo>
                    <a:pt x="3789" y="1156"/>
                  </a:lnTo>
                  <a:lnTo>
                    <a:pt x="3793" y="1160"/>
                  </a:lnTo>
                  <a:lnTo>
                    <a:pt x="3797" y="1163"/>
                  </a:lnTo>
                  <a:lnTo>
                    <a:pt x="3802" y="1165"/>
                  </a:lnTo>
                  <a:lnTo>
                    <a:pt x="3804" y="1166"/>
                  </a:lnTo>
                  <a:lnTo>
                    <a:pt x="3807" y="1167"/>
                  </a:lnTo>
                  <a:lnTo>
                    <a:pt x="3813" y="1168"/>
                  </a:lnTo>
                  <a:close/>
                  <a:moveTo>
                    <a:pt x="3164" y="611"/>
                  </a:moveTo>
                  <a:lnTo>
                    <a:pt x="3172" y="610"/>
                  </a:lnTo>
                  <a:lnTo>
                    <a:pt x="3179" y="609"/>
                  </a:lnTo>
                  <a:lnTo>
                    <a:pt x="3182" y="609"/>
                  </a:lnTo>
                  <a:lnTo>
                    <a:pt x="3185" y="607"/>
                  </a:lnTo>
                  <a:lnTo>
                    <a:pt x="3190" y="605"/>
                  </a:lnTo>
                  <a:lnTo>
                    <a:pt x="3194" y="601"/>
                  </a:lnTo>
                  <a:lnTo>
                    <a:pt x="3198" y="595"/>
                  </a:lnTo>
                  <a:lnTo>
                    <a:pt x="3199" y="592"/>
                  </a:lnTo>
                  <a:lnTo>
                    <a:pt x="3201" y="589"/>
                  </a:lnTo>
                  <a:lnTo>
                    <a:pt x="3203" y="580"/>
                  </a:lnTo>
                  <a:lnTo>
                    <a:pt x="3243" y="432"/>
                  </a:lnTo>
                  <a:lnTo>
                    <a:pt x="3244" y="425"/>
                  </a:lnTo>
                  <a:lnTo>
                    <a:pt x="3244" y="418"/>
                  </a:lnTo>
                  <a:lnTo>
                    <a:pt x="3244" y="415"/>
                  </a:lnTo>
                  <a:lnTo>
                    <a:pt x="3243" y="413"/>
                  </a:lnTo>
                  <a:lnTo>
                    <a:pt x="3242" y="410"/>
                  </a:lnTo>
                  <a:lnTo>
                    <a:pt x="3241" y="408"/>
                  </a:lnTo>
                  <a:lnTo>
                    <a:pt x="3239" y="406"/>
                  </a:lnTo>
                  <a:lnTo>
                    <a:pt x="3237" y="404"/>
                  </a:lnTo>
                  <a:lnTo>
                    <a:pt x="3233" y="401"/>
                  </a:lnTo>
                  <a:lnTo>
                    <a:pt x="3227" y="399"/>
                  </a:lnTo>
                  <a:lnTo>
                    <a:pt x="3223" y="399"/>
                  </a:lnTo>
                  <a:lnTo>
                    <a:pt x="3220" y="399"/>
                  </a:lnTo>
                  <a:lnTo>
                    <a:pt x="3055" y="399"/>
                  </a:lnTo>
                  <a:lnTo>
                    <a:pt x="3055" y="135"/>
                  </a:lnTo>
                  <a:lnTo>
                    <a:pt x="3055" y="129"/>
                  </a:lnTo>
                  <a:lnTo>
                    <a:pt x="3053" y="124"/>
                  </a:lnTo>
                  <a:lnTo>
                    <a:pt x="3051" y="119"/>
                  </a:lnTo>
                  <a:lnTo>
                    <a:pt x="3049" y="115"/>
                  </a:lnTo>
                  <a:lnTo>
                    <a:pt x="3045" y="112"/>
                  </a:lnTo>
                  <a:lnTo>
                    <a:pt x="3041" y="110"/>
                  </a:lnTo>
                  <a:lnTo>
                    <a:pt x="3037" y="109"/>
                  </a:lnTo>
                  <a:lnTo>
                    <a:pt x="3032" y="109"/>
                  </a:lnTo>
                  <a:lnTo>
                    <a:pt x="3027" y="109"/>
                  </a:lnTo>
                  <a:lnTo>
                    <a:pt x="3021" y="110"/>
                  </a:lnTo>
                  <a:lnTo>
                    <a:pt x="3016" y="112"/>
                  </a:lnTo>
                  <a:lnTo>
                    <a:pt x="3011" y="114"/>
                  </a:lnTo>
                  <a:lnTo>
                    <a:pt x="2810" y="226"/>
                  </a:lnTo>
                  <a:lnTo>
                    <a:pt x="2805" y="229"/>
                  </a:lnTo>
                  <a:lnTo>
                    <a:pt x="2800" y="233"/>
                  </a:lnTo>
                  <a:lnTo>
                    <a:pt x="2796" y="238"/>
                  </a:lnTo>
                  <a:lnTo>
                    <a:pt x="2792" y="243"/>
                  </a:lnTo>
                  <a:lnTo>
                    <a:pt x="2790" y="249"/>
                  </a:lnTo>
                  <a:lnTo>
                    <a:pt x="2787" y="255"/>
                  </a:lnTo>
                  <a:lnTo>
                    <a:pt x="2786" y="261"/>
                  </a:lnTo>
                  <a:lnTo>
                    <a:pt x="2786" y="267"/>
                  </a:lnTo>
                  <a:lnTo>
                    <a:pt x="2786" y="399"/>
                  </a:lnTo>
                  <a:lnTo>
                    <a:pt x="2692" y="399"/>
                  </a:lnTo>
                  <a:lnTo>
                    <a:pt x="2686" y="399"/>
                  </a:lnTo>
                  <a:lnTo>
                    <a:pt x="2683" y="400"/>
                  </a:lnTo>
                  <a:lnTo>
                    <a:pt x="2680" y="401"/>
                  </a:lnTo>
                  <a:lnTo>
                    <a:pt x="2676" y="403"/>
                  </a:lnTo>
                  <a:lnTo>
                    <a:pt x="2672" y="407"/>
                  </a:lnTo>
                  <a:lnTo>
                    <a:pt x="2668" y="411"/>
                  </a:lnTo>
                  <a:lnTo>
                    <a:pt x="2666" y="416"/>
                  </a:lnTo>
                  <a:lnTo>
                    <a:pt x="2665" y="418"/>
                  </a:lnTo>
                  <a:lnTo>
                    <a:pt x="2664" y="421"/>
                  </a:lnTo>
                  <a:lnTo>
                    <a:pt x="2664" y="427"/>
                  </a:lnTo>
                  <a:lnTo>
                    <a:pt x="2664" y="583"/>
                  </a:lnTo>
                  <a:lnTo>
                    <a:pt x="2664" y="589"/>
                  </a:lnTo>
                  <a:lnTo>
                    <a:pt x="2665" y="591"/>
                  </a:lnTo>
                  <a:lnTo>
                    <a:pt x="2666" y="594"/>
                  </a:lnTo>
                  <a:lnTo>
                    <a:pt x="2668" y="599"/>
                  </a:lnTo>
                  <a:lnTo>
                    <a:pt x="2672" y="603"/>
                  </a:lnTo>
                  <a:lnTo>
                    <a:pt x="2676" y="606"/>
                  </a:lnTo>
                  <a:lnTo>
                    <a:pt x="2680" y="609"/>
                  </a:lnTo>
                  <a:lnTo>
                    <a:pt x="2683" y="610"/>
                  </a:lnTo>
                  <a:lnTo>
                    <a:pt x="2686" y="610"/>
                  </a:lnTo>
                  <a:lnTo>
                    <a:pt x="2692" y="611"/>
                  </a:lnTo>
                  <a:lnTo>
                    <a:pt x="2786" y="611"/>
                  </a:lnTo>
                  <a:lnTo>
                    <a:pt x="2786" y="925"/>
                  </a:lnTo>
                  <a:lnTo>
                    <a:pt x="2786" y="941"/>
                  </a:lnTo>
                  <a:lnTo>
                    <a:pt x="2787" y="956"/>
                  </a:lnTo>
                  <a:lnTo>
                    <a:pt x="2788" y="971"/>
                  </a:lnTo>
                  <a:lnTo>
                    <a:pt x="2789" y="985"/>
                  </a:lnTo>
                  <a:lnTo>
                    <a:pt x="2792" y="998"/>
                  </a:lnTo>
                  <a:lnTo>
                    <a:pt x="2794" y="1012"/>
                  </a:lnTo>
                  <a:lnTo>
                    <a:pt x="2797" y="1024"/>
                  </a:lnTo>
                  <a:lnTo>
                    <a:pt x="2801" y="1037"/>
                  </a:lnTo>
                  <a:lnTo>
                    <a:pt x="2805" y="1049"/>
                  </a:lnTo>
                  <a:lnTo>
                    <a:pt x="2810" y="1060"/>
                  </a:lnTo>
                  <a:lnTo>
                    <a:pt x="2815" y="1071"/>
                  </a:lnTo>
                  <a:lnTo>
                    <a:pt x="2821" y="1081"/>
                  </a:lnTo>
                  <a:lnTo>
                    <a:pt x="2827" y="1091"/>
                  </a:lnTo>
                  <a:lnTo>
                    <a:pt x="2834" y="1100"/>
                  </a:lnTo>
                  <a:lnTo>
                    <a:pt x="2841" y="1109"/>
                  </a:lnTo>
                  <a:lnTo>
                    <a:pt x="2849" y="1118"/>
                  </a:lnTo>
                  <a:lnTo>
                    <a:pt x="2857" y="1126"/>
                  </a:lnTo>
                  <a:lnTo>
                    <a:pt x="2866" y="1133"/>
                  </a:lnTo>
                  <a:lnTo>
                    <a:pt x="2876" y="1140"/>
                  </a:lnTo>
                  <a:lnTo>
                    <a:pt x="2886" y="1147"/>
                  </a:lnTo>
                  <a:lnTo>
                    <a:pt x="2896" y="1152"/>
                  </a:lnTo>
                  <a:lnTo>
                    <a:pt x="2908" y="1158"/>
                  </a:lnTo>
                  <a:lnTo>
                    <a:pt x="2919" y="1163"/>
                  </a:lnTo>
                  <a:lnTo>
                    <a:pt x="2932" y="1167"/>
                  </a:lnTo>
                  <a:lnTo>
                    <a:pt x="2944" y="1171"/>
                  </a:lnTo>
                  <a:lnTo>
                    <a:pt x="2958" y="1175"/>
                  </a:lnTo>
                  <a:lnTo>
                    <a:pt x="2972" y="1177"/>
                  </a:lnTo>
                  <a:lnTo>
                    <a:pt x="2987" y="1180"/>
                  </a:lnTo>
                  <a:lnTo>
                    <a:pt x="3002" y="1182"/>
                  </a:lnTo>
                  <a:lnTo>
                    <a:pt x="3017" y="1183"/>
                  </a:lnTo>
                  <a:lnTo>
                    <a:pt x="3035" y="1184"/>
                  </a:lnTo>
                  <a:lnTo>
                    <a:pt x="3052" y="1184"/>
                  </a:lnTo>
                  <a:lnTo>
                    <a:pt x="3076" y="1183"/>
                  </a:lnTo>
                  <a:lnTo>
                    <a:pt x="3100" y="1181"/>
                  </a:lnTo>
                  <a:lnTo>
                    <a:pt x="3124" y="1177"/>
                  </a:lnTo>
                  <a:lnTo>
                    <a:pt x="3136" y="1175"/>
                  </a:lnTo>
                  <a:lnTo>
                    <a:pt x="3147" y="1173"/>
                  </a:lnTo>
                  <a:lnTo>
                    <a:pt x="3169" y="1168"/>
                  </a:lnTo>
                  <a:lnTo>
                    <a:pt x="3179" y="1165"/>
                  </a:lnTo>
                  <a:lnTo>
                    <a:pt x="3189" y="1162"/>
                  </a:lnTo>
                  <a:lnTo>
                    <a:pt x="3197" y="1159"/>
                  </a:lnTo>
                  <a:lnTo>
                    <a:pt x="3205" y="1156"/>
                  </a:lnTo>
                  <a:lnTo>
                    <a:pt x="3212" y="1153"/>
                  </a:lnTo>
                  <a:lnTo>
                    <a:pt x="3218" y="1149"/>
                  </a:lnTo>
                  <a:lnTo>
                    <a:pt x="3225" y="1145"/>
                  </a:lnTo>
                  <a:lnTo>
                    <a:pt x="3230" y="1140"/>
                  </a:lnTo>
                  <a:lnTo>
                    <a:pt x="3233" y="1136"/>
                  </a:lnTo>
                  <a:lnTo>
                    <a:pt x="3235" y="1131"/>
                  </a:lnTo>
                  <a:lnTo>
                    <a:pt x="3236" y="1126"/>
                  </a:lnTo>
                  <a:lnTo>
                    <a:pt x="3235" y="1121"/>
                  </a:lnTo>
                  <a:lnTo>
                    <a:pt x="3233" y="1110"/>
                  </a:lnTo>
                  <a:lnTo>
                    <a:pt x="3197" y="965"/>
                  </a:lnTo>
                  <a:lnTo>
                    <a:pt x="3195" y="959"/>
                  </a:lnTo>
                  <a:lnTo>
                    <a:pt x="3192" y="955"/>
                  </a:lnTo>
                  <a:lnTo>
                    <a:pt x="3189" y="952"/>
                  </a:lnTo>
                  <a:lnTo>
                    <a:pt x="3187" y="950"/>
                  </a:lnTo>
                  <a:lnTo>
                    <a:pt x="3186" y="949"/>
                  </a:lnTo>
                  <a:lnTo>
                    <a:pt x="3181" y="948"/>
                  </a:lnTo>
                  <a:lnTo>
                    <a:pt x="3177" y="947"/>
                  </a:lnTo>
                  <a:lnTo>
                    <a:pt x="3171" y="948"/>
                  </a:lnTo>
                  <a:lnTo>
                    <a:pt x="3166" y="948"/>
                  </a:lnTo>
                  <a:lnTo>
                    <a:pt x="3144" y="953"/>
                  </a:lnTo>
                  <a:lnTo>
                    <a:pt x="3130" y="956"/>
                  </a:lnTo>
                  <a:lnTo>
                    <a:pt x="3123" y="956"/>
                  </a:lnTo>
                  <a:lnTo>
                    <a:pt x="3116" y="957"/>
                  </a:lnTo>
                  <a:lnTo>
                    <a:pt x="3109" y="956"/>
                  </a:lnTo>
                  <a:lnTo>
                    <a:pt x="3103" y="956"/>
                  </a:lnTo>
                  <a:lnTo>
                    <a:pt x="3096" y="954"/>
                  </a:lnTo>
                  <a:lnTo>
                    <a:pt x="3091" y="953"/>
                  </a:lnTo>
                  <a:lnTo>
                    <a:pt x="3085" y="950"/>
                  </a:lnTo>
                  <a:lnTo>
                    <a:pt x="3080" y="947"/>
                  </a:lnTo>
                  <a:lnTo>
                    <a:pt x="3076" y="944"/>
                  </a:lnTo>
                  <a:lnTo>
                    <a:pt x="3071" y="940"/>
                  </a:lnTo>
                  <a:lnTo>
                    <a:pt x="3068" y="936"/>
                  </a:lnTo>
                  <a:lnTo>
                    <a:pt x="3064" y="931"/>
                  </a:lnTo>
                  <a:lnTo>
                    <a:pt x="3062" y="925"/>
                  </a:lnTo>
                  <a:lnTo>
                    <a:pt x="3059" y="919"/>
                  </a:lnTo>
                  <a:lnTo>
                    <a:pt x="3058" y="913"/>
                  </a:lnTo>
                  <a:lnTo>
                    <a:pt x="3056" y="905"/>
                  </a:lnTo>
                  <a:lnTo>
                    <a:pt x="3055" y="898"/>
                  </a:lnTo>
                  <a:lnTo>
                    <a:pt x="3055" y="889"/>
                  </a:lnTo>
                  <a:lnTo>
                    <a:pt x="3055" y="611"/>
                  </a:lnTo>
                  <a:lnTo>
                    <a:pt x="3164" y="611"/>
                  </a:lnTo>
                  <a:close/>
                  <a:moveTo>
                    <a:pt x="2558" y="409"/>
                  </a:moveTo>
                  <a:lnTo>
                    <a:pt x="2557" y="402"/>
                  </a:lnTo>
                  <a:lnTo>
                    <a:pt x="2555" y="396"/>
                  </a:lnTo>
                  <a:lnTo>
                    <a:pt x="2552" y="391"/>
                  </a:lnTo>
                  <a:lnTo>
                    <a:pt x="2551" y="389"/>
                  </a:lnTo>
                  <a:lnTo>
                    <a:pt x="2549" y="388"/>
                  </a:lnTo>
                  <a:lnTo>
                    <a:pt x="2546" y="386"/>
                  </a:lnTo>
                  <a:lnTo>
                    <a:pt x="2544" y="385"/>
                  </a:lnTo>
                  <a:lnTo>
                    <a:pt x="2541" y="384"/>
                  </a:lnTo>
                  <a:lnTo>
                    <a:pt x="2538" y="384"/>
                  </a:lnTo>
                  <a:lnTo>
                    <a:pt x="2532" y="383"/>
                  </a:lnTo>
                  <a:lnTo>
                    <a:pt x="2525" y="384"/>
                  </a:lnTo>
                  <a:lnTo>
                    <a:pt x="2319" y="415"/>
                  </a:lnTo>
                  <a:lnTo>
                    <a:pt x="2312" y="417"/>
                  </a:lnTo>
                  <a:lnTo>
                    <a:pt x="2306" y="420"/>
                  </a:lnTo>
                  <a:lnTo>
                    <a:pt x="2301" y="423"/>
                  </a:lnTo>
                  <a:lnTo>
                    <a:pt x="2299" y="425"/>
                  </a:lnTo>
                  <a:lnTo>
                    <a:pt x="2297" y="427"/>
                  </a:lnTo>
                  <a:lnTo>
                    <a:pt x="2296" y="430"/>
                  </a:lnTo>
                  <a:lnTo>
                    <a:pt x="2294" y="432"/>
                  </a:lnTo>
                  <a:lnTo>
                    <a:pt x="2292" y="438"/>
                  </a:lnTo>
                  <a:lnTo>
                    <a:pt x="2291" y="444"/>
                  </a:lnTo>
                  <a:lnTo>
                    <a:pt x="2291" y="452"/>
                  </a:lnTo>
                  <a:lnTo>
                    <a:pt x="2291" y="922"/>
                  </a:lnTo>
                  <a:lnTo>
                    <a:pt x="2286" y="926"/>
                  </a:lnTo>
                  <a:lnTo>
                    <a:pt x="2280" y="930"/>
                  </a:lnTo>
                  <a:lnTo>
                    <a:pt x="2269" y="936"/>
                  </a:lnTo>
                  <a:lnTo>
                    <a:pt x="2256" y="942"/>
                  </a:lnTo>
                  <a:lnTo>
                    <a:pt x="2244" y="947"/>
                  </a:lnTo>
                  <a:lnTo>
                    <a:pt x="2230" y="950"/>
                  </a:lnTo>
                  <a:lnTo>
                    <a:pt x="2217" y="953"/>
                  </a:lnTo>
                  <a:lnTo>
                    <a:pt x="2203" y="955"/>
                  </a:lnTo>
                  <a:lnTo>
                    <a:pt x="2190" y="955"/>
                  </a:lnTo>
                  <a:lnTo>
                    <a:pt x="2178" y="955"/>
                  </a:lnTo>
                  <a:lnTo>
                    <a:pt x="2172" y="954"/>
                  </a:lnTo>
                  <a:lnTo>
                    <a:pt x="2166" y="953"/>
                  </a:lnTo>
                  <a:lnTo>
                    <a:pt x="2156" y="951"/>
                  </a:lnTo>
                  <a:lnTo>
                    <a:pt x="2146" y="947"/>
                  </a:lnTo>
                  <a:lnTo>
                    <a:pt x="2141" y="945"/>
                  </a:lnTo>
                  <a:lnTo>
                    <a:pt x="2137" y="942"/>
                  </a:lnTo>
                  <a:lnTo>
                    <a:pt x="2128" y="937"/>
                  </a:lnTo>
                  <a:lnTo>
                    <a:pt x="2124" y="933"/>
                  </a:lnTo>
                  <a:lnTo>
                    <a:pt x="2121" y="930"/>
                  </a:lnTo>
                  <a:lnTo>
                    <a:pt x="2117" y="926"/>
                  </a:lnTo>
                  <a:lnTo>
                    <a:pt x="2114" y="922"/>
                  </a:lnTo>
                  <a:lnTo>
                    <a:pt x="2111" y="917"/>
                  </a:lnTo>
                  <a:lnTo>
                    <a:pt x="2108" y="912"/>
                  </a:lnTo>
                  <a:lnTo>
                    <a:pt x="2103" y="902"/>
                  </a:lnTo>
                  <a:lnTo>
                    <a:pt x="2098" y="890"/>
                  </a:lnTo>
                  <a:lnTo>
                    <a:pt x="2095" y="877"/>
                  </a:lnTo>
                  <a:lnTo>
                    <a:pt x="2092" y="863"/>
                  </a:lnTo>
                  <a:lnTo>
                    <a:pt x="2090" y="847"/>
                  </a:lnTo>
                  <a:lnTo>
                    <a:pt x="2089" y="830"/>
                  </a:lnTo>
                  <a:lnTo>
                    <a:pt x="2088" y="812"/>
                  </a:lnTo>
                  <a:lnTo>
                    <a:pt x="2088" y="409"/>
                  </a:lnTo>
                  <a:lnTo>
                    <a:pt x="2088" y="402"/>
                  </a:lnTo>
                  <a:lnTo>
                    <a:pt x="2086" y="396"/>
                  </a:lnTo>
                  <a:lnTo>
                    <a:pt x="2083" y="391"/>
                  </a:lnTo>
                  <a:lnTo>
                    <a:pt x="2081" y="389"/>
                  </a:lnTo>
                  <a:lnTo>
                    <a:pt x="2079" y="388"/>
                  </a:lnTo>
                  <a:lnTo>
                    <a:pt x="2077" y="386"/>
                  </a:lnTo>
                  <a:lnTo>
                    <a:pt x="2074" y="385"/>
                  </a:lnTo>
                  <a:lnTo>
                    <a:pt x="2072" y="384"/>
                  </a:lnTo>
                  <a:lnTo>
                    <a:pt x="2069" y="384"/>
                  </a:lnTo>
                  <a:lnTo>
                    <a:pt x="2062" y="383"/>
                  </a:lnTo>
                  <a:lnTo>
                    <a:pt x="2055" y="384"/>
                  </a:lnTo>
                  <a:lnTo>
                    <a:pt x="1849" y="415"/>
                  </a:lnTo>
                  <a:lnTo>
                    <a:pt x="1842" y="417"/>
                  </a:lnTo>
                  <a:lnTo>
                    <a:pt x="1837" y="420"/>
                  </a:lnTo>
                  <a:lnTo>
                    <a:pt x="1832" y="423"/>
                  </a:lnTo>
                  <a:lnTo>
                    <a:pt x="1830" y="425"/>
                  </a:lnTo>
                  <a:lnTo>
                    <a:pt x="1828" y="427"/>
                  </a:lnTo>
                  <a:lnTo>
                    <a:pt x="1826" y="430"/>
                  </a:lnTo>
                  <a:lnTo>
                    <a:pt x="1825" y="432"/>
                  </a:lnTo>
                  <a:lnTo>
                    <a:pt x="1823" y="438"/>
                  </a:lnTo>
                  <a:lnTo>
                    <a:pt x="1822" y="444"/>
                  </a:lnTo>
                  <a:lnTo>
                    <a:pt x="1821" y="452"/>
                  </a:lnTo>
                  <a:lnTo>
                    <a:pt x="1821" y="876"/>
                  </a:lnTo>
                  <a:lnTo>
                    <a:pt x="1822" y="896"/>
                  </a:lnTo>
                  <a:lnTo>
                    <a:pt x="1823" y="914"/>
                  </a:lnTo>
                  <a:lnTo>
                    <a:pt x="1824" y="933"/>
                  </a:lnTo>
                  <a:lnTo>
                    <a:pt x="1827" y="950"/>
                  </a:lnTo>
                  <a:lnTo>
                    <a:pt x="1830" y="967"/>
                  </a:lnTo>
                  <a:lnTo>
                    <a:pt x="1832" y="975"/>
                  </a:lnTo>
                  <a:lnTo>
                    <a:pt x="1834" y="983"/>
                  </a:lnTo>
                  <a:lnTo>
                    <a:pt x="1838" y="999"/>
                  </a:lnTo>
                  <a:lnTo>
                    <a:pt x="1843" y="1014"/>
                  </a:lnTo>
                  <a:lnTo>
                    <a:pt x="1848" y="1028"/>
                  </a:lnTo>
                  <a:lnTo>
                    <a:pt x="1854" y="1042"/>
                  </a:lnTo>
                  <a:lnTo>
                    <a:pt x="1860" y="1055"/>
                  </a:lnTo>
                  <a:lnTo>
                    <a:pt x="1867" y="1067"/>
                  </a:lnTo>
                  <a:lnTo>
                    <a:pt x="1875" y="1078"/>
                  </a:lnTo>
                  <a:lnTo>
                    <a:pt x="1883" y="1090"/>
                  </a:lnTo>
                  <a:lnTo>
                    <a:pt x="1891" y="1100"/>
                  </a:lnTo>
                  <a:lnTo>
                    <a:pt x="1900" y="1110"/>
                  </a:lnTo>
                  <a:lnTo>
                    <a:pt x="1909" y="1119"/>
                  </a:lnTo>
                  <a:lnTo>
                    <a:pt x="1919" y="1127"/>
                  </a:lnTo>
                  <a:lnTo>
                    <a:pt x="1928" y="1135"/>
                  </a:lnTo>
                  <a:lnTo>
                    <a:pt x="1939" y="1143"/>
                  </a:lnTo>
                  <a:lnTo>
                    <a:pt x="1949" y="1149"/>
                  </a:lnTo>
                  <a:lnTo>
                    <a:pt x="1960" y="1155"/>
                  </a:lnTo>
                  <a:lnTo>
                    <a:pt x="1971" y="1161"/>
                  </a:lnTo>
                  <a:lnTo>
                    <a:pt x="1982" y="1166"/>
                  </a:lnTo>
                  <a:lnTo>
                    <a:pt x="1994" y="1170"/>
                  </a:lnTo>
                  <a:lnTo>
                    <a:pt x="2006" y="1174"/>
                  </a:lnTo>
                  <a:lnTo>
                    <a:pt x="2018" y="1177"/>
                  </a:lnTo>
                  <a:lnTo>
                    <a:pt x="2030" y="1180"/>
                  </a:lnTo>
                  <a:lnTo>
                    <a:pt x="2042" y="1182"/>
                  </a:lnTo>
                  <a:lnTo>
                    <a:pt x="2055" y="1183"/>
                  </a:lnTo>
                  <a:lnTo>
                    <a:pt x="2067" y="1184"/>
                  </a:lnTo>
                  <a:lnTo>
                    <a:pt x="2080" y="1184"/>
                  </a:lnTo>
                  <a:lnTo>
                    <a:pt x="2096" y="1184"/>
                  </a:lnTo>
                  <a:lnTo>
                    <a:pt x="2112" y="1182"/>
                  </a:lnTo>
                  <a:lnTo>
                    <a:pt x="2128" y="1181"/>
                  </a:lnTo>
                  <a:lnTo>
                    <a:pt x="2143" y="1178"/>
                  </a:lnTo>
                  <a:lnTo>
                    <a:pt x="2158" y="1174"/>
                  </a:lnTo>
                  <a:lnTo>
                    <a:pt x="2172" y="1170"/>
                  </a:lnTo>
                  <a:lnTo>
                    <a:pt x="2186" y="1166"/>
                  </a:lnTo>
                  <a:lnTo>
                    <a:pt x="2200" y="1160"/>
                  </a:lnTo>
                  <a:lnTo>
                    <a:pt x="2212" y="1154"/>
                  </a:lnTo>
                  <a:lnTo>
                    <a:pt x="2225" y="1148"/>
                  </a:lnTo>
                  <a:lnTo>
                    <a:pt x="2237" y="1141"/>
                  </a:lnTo>
                  <a:lnTo>
                    <a:pt x="2249" y="1133"/>
                  </a:lnTo>
                  <a:lnTo>
                    <a:pt x="2260" y="1125"/>
                  </a:lnTo>
                  <a:lnTo>
                    <a:pt x="2271" y="1117"/>
                  </a:lnTo>
                  <a:lnTo>
                    <a:pt x="2281" y="1108"/>
                  </a:lnTo>
                  <a:lnTo>
                    <a:pt x="2291" y="1098"/>
                  </a:lnTo>
                  <a:lnTo>
                    <a:pt x="2291" y="1140"/>
                  </a:lnTo>
                  <a:lnTo>
                    <a:pt x="2291" y="1145"/>
                  </a:lnTo>
                  <a:lnTo>
                    <a:pt x="2292" y="1148"/>
                  </a:lnTo>
                  <a:lnTo>
                    <a:pt x="2293" y="1151"/>
                  </a:lnTo>
                  <a:lnTo>
                    <a:pt x="2295" y="1156"/>
                  </a:lnTo>
                  <a:lnTo>
                    <a:pt x="2299" y="1160"/>
                  </a:lnTo>
                  <a:lnTo>
                    <a:pt x="2303" y="1163"/>
                  </a:lnTo>
                  <a:lnTo>
                    <a:pt x="2307" y="1165"/>
                  </a:lnTo>
                  <a:lnTo>
                    <a:pt x="2310" y="1166"/>
                  </a:lnTo>
                  <a:lnTo>
                    <a:pt x="2313" y="1167"/>
                  </a:lnTo>
                  <a:lnTo>
                    <a:pt x="2319" y="1168"/>
                  </a:lnTo>
                  <a:lnTo>
                    <a:pt x="2530" y="1168"/>
                  </a:lnTo>
                  <a:lnTo>
                    <a:pt x="2536" y="1167"/>
                  </a:lnTo>
                  <a:lnTo>
                    <a:pt x="2538" y="1166"/>
                  </a:lnTo>
                  <a:lnTo>
                    <a:pt x="2541" y="1165"/>
                  </a:lnTo>
                  <a:lnTo>
                    <a:pt x="2546" y="1163"/>
                  </a:lnTo>
                  <a:lnTo>
                    <a:pt x="2550" y="1160"/>
                  </a:lnTo>
                  <a:lnTo>
                    <a:pt x="2553" y="1156"/>
                  </a:lnTo>
                  <a:lnTo>
                    <a:pt x="2556" y="1151"/>
                  </a:lnTo>
                  <a:lnTo>
                    <a:pt x="2556" y="1148"/>
                  </a:lnTo>
                  <a:lnTo>
                    <a:pt x="2557" y="1145"/>
                  </a:lnTo>
                  <a:lnTo>
                    <a:pt x="2558" y="1140"/>
                  </a:lnTo>
                  <a:lnTo>
                    <a:pt x="2558" y="409"/>
                  </a:lnTo>
                  <a:close/>
                  <a:moveTo>
                    <a:pt x="1334" y="1006"/>
                  </a:moveTo>
                  <a:lnTo>
                    <a:pt x="1322" y="1006"/>
                  </a:lnTo>
                  <a:lnTo>
                    <a:pt x="1311" y="1005"/>
                  </a:lnTo>
                  <a:lnTo>
                    <a:pt x="1300" y="1003"/>
                  </a:lnTo>
                  <a:lnTo>
                    <a:pt x="1291" y="1000"/>
                  </a:lnTo>
                  <a:lnTo>
                    <a:pt x="1281" y="996"/>
                  </a:lnTo>
                  <a:lnTo>
                    <a:pt x="1272" y="992"/>
                  </a:lnTo>
                  <a:lnTo>
                    <a:pt x="1264" y="987"/>
                  </a:lnTo>
                  <a:lnTo>
                    <a:pt x="1260" y="985"/>
                  </a:lnTo>
                  <a:lnTo>
                    <a:pt x="1257" y="982"/>
                  </a:lnTo>
                  <a:lnTo>
                    <a:pt x="1250" y="976"/>
                  </a:lnTo>
                  <a:lnTo>
                    <a:pt x="1244" y="969"/>
                  </a:lnTo>
                  <a:lnTo>
                    <a:pt x="1241" y="966"/>
                  </a:lnTo>
                  <a:lnTo>
                    <a:pt x="1238" y="962"/>
                  </a:lnTo>
                  <a:lnTo>
                    <a:pt x="1234" y="954"/>
                  </a:lnTo>
                  <a:lnTo>
                    <a:pt x="1231" y="946"/>
                  </a:lnTo>
                  <a:lnTo>
                    <a:pt x="1228" y="937"/>
                  </a:lnTo>
                  <a:lnTo>
                    <a:pt x="1227" y="932"/>
                  </a:lnTo>
                  <a:lnTo>
                    <a:pt x="1226" y="927"/>
                  </a:lnTo>
                  <a:lnTo>
                    <a:pt x="1226" y="917"/>
                  </a:lnTo>
                  <a:lnTo>
                    <a:pt x="1226" y="907"/>
                  </a:lnTo>
                  <a:lnTo>
                    <a:pt x="1227" y="903"/>
                  </a:lnTo>
                  <a:lnTo>
                    <a:pt x="1228" y="898"/>
                  </a:lnTo>
                  <a:lnTo>
                    <a:pt x="1231" y="889"/>
                  </a:lnTo>
                  <a:lnTo>
                    <a:pt x="1234" y="881"/>
                  </a:lnTo>
                  <a:lnTo>
                    <a:pt x="1239" y="873"/>
                  </a:lnTo>
                  <a:lnTo>
                    <a:pt x="1244" y="865"/>
                  </a:lnTo>
                  <a:lnTo>
                    <a:pt x="1251" y="858"/>
                  </a:lnTo>
                  <a:lnTo>
                    <a:pt x="1258" y="852"/>
                  </a:lnTo>
                  <a:lnTo>
                    <a:pt x="1266" y="846"/>
                  </a:lnTo>
                  <a:lnTo>
                    <a:pt x="1276" y="841"/>
                  </a:lnTo>
                  <a:lnTo>
                    <a:pt x="1285" y="837"/>
                  </a:lnTo>
                  <a:lnTo>
                    <a:pt x="1296" y="833"/>
                  </a:lnTo>
                  <a:lnTo>
                    <a:pt x="1308" y="830"/>
                  </a:lnTo>
                  <a:lnTo>
                    <a:pt x="1320" y="828"/>
                  </a:lnTo>
                  <a:lnTo>
                    <a:pt x="1334" y="827"/>
                  </a:lnTo>
                  <a:lnTo>
                    <a:pt x="1347" y="827"/>
                  </a:lnTo>
                  <a:lnTo>
                    <a:pt x="1358" y="827"/>
                  </a:lnTo>
                  <a:lnTo>
                    <a:pt x="1370" y="827"/>
                  </a:lnTo>
                  <a:lnTo>
                    <a:pt x="1382" y="829"/>
                  </a:lnTo>
                  <a:lnTo>
                    <a:pt x="1393" y="830"/>
                  </a:lnTo>
                  <a:lnTo>
                    <a:pt x="1405" y="832"/>
                  </a:lnTo>
                  <a:lnTo>
                    <a:pt x="1417" y="835"/>
                  </a:lnTo>
                  <a:lnTo>
                    <a:pt x="1428" y="838"/>
                  </a:lnTo>
                  <a:lnTo>
                    <a:pt x="1439" y="841"/>
                  </a:lnTo>
                  <a:lnTo>
                    <a:pt x="1439" y="978"/>
                  </a:lnTo>
                  <a:lnTo>
                    <a:pt x="1428" y="984"/>
                  </a:lnTo>
                  <a:lnTo>
                    <a:pt x="1416" y="989"/>
                  </a:lnTo>
                  <a:lnTo>
                    <a:pt x="1404" y="994"/>
                  </a:lnTo>
                  <a:lnTo>
                    <a:pt x="1391" y="998"/>
                  </a:lnTo>
                  <a:lnTo>
                    <a:pt x="1378" y="1002"/>
                  </a:lnTo>
                  <a:lnTo>
                    <a:pt x="1364" y="1004"/>
                  </a:lnTo>
                  <a:lnTo>
                    <a:pt x="1357" y="1005"/>
                  </a:lnTo>
                  <a:lnTo>
                    <a:pt x="1350" y="1006"/>
                  </a:lnTo>
                  <a:lnTo>
                    <a:pt x="1334" y="1006"/>
                  </a:lnTo>
                  <a:close/>
                  <a:moveTo>
                    <a:pt x="1467" y="1168"/>
                  </a:moveTo>
                  <a:lnTo>
                    <a:pt x="1659" y="1168"/>
                  </a:lnTo>
                  <a:lnTo>
                    <a:pt x="1664" y="1167"/>
                  </a:lnTo>
                  <a:lnTo>
                    <a:pt x="1667" y="1166"/>
                  </a:lnTo>
                  <a:lnTo>
                    <a:pt x="1670" y="1165"/>
                  </a:lnTo>
                  <a:lnTo>
                    <a:pt x="1675" y="1163"/>
                  </a:lnTo>
                  <a:lnTo>
                    <a:pt x="1679" y="1160"/>
                  </a:lnTo>
                  <a:lnTo>
                    <a:pt x="1682" y="1156"/>
                  </a:lnTo>
                  <a:lnTo>
                    <a:pt x="1684" y="1151"/>
                  </a:lnTo>
                  <a:lnTo>
                    <a:pt x="1685" y="1148"/>
                  </a:lnTo>
                  <a:lnTo>
                    <a:pt x="1686" y="1145"/>
                  </a:lnTo>
                  <a:lnTo>
                    <a:pt x="1687" y="1140"/>
                  </a:lnTo>
                  <a:lnTo>
                    <a:pt x="1687" y="731"/>
                  </a:lnTo>
                  <a:lnTo>
                    <a:pt x="1686" y="707"/>
                  </a:lnTo>
                  <a:lnTo>
                    <a:pt x="1685" y="684"/>
                  </a:lnTo>
                  <a:lnTo>
                    <a:pt x="1683" y="662"/>
                  </a:lnTo>
                  <a:lnTo>
                    <a:pt x="1681" y="640"/>
                  </a:lnTo>
                  <a:lnTo>
                    <a:pt x="1678" y="620"/>
                  </a:lnTo>
                  <a:lnTo>
                    <a:pt x="1674" y="601"/>
                  </a:lnTo>
                  <a:lnTo>
                    <a:pt x="1672" y="592"/>
                  </a:lnTo>
                  <a:lnTo>
                    <a:pt x="1670" y="583"/>
                  </a:lnTo>
                  <a:lnTo>
                    <a:pt x="1665" y="564"/>
                  </a:lnTo>
                  <a:lnTo>
                    <a:pt x="1659" y="548"/>
                  </a:lnTo>
                  <a:lnTo>
                    <a:pt x="1652" y="533"/>
                  </a:lnTo>
                  <a:lnTo>
                    <a:pt x="1645" y="518"/>
                  </a:lnTo>
                  <a:lnTo>
                    <a:pt x="1637" y="504"/>
                  </a:lnTo>
                  <a:lnTo>
                    <a:pt x="1629" y="491"/>
                  </a:lnTo>
                  <a:lnTo>
                    <a:pt x="1624" y="485"/>
                  </a:lnTo>
                  <a:lnTo>
                    <a:pt x="1619" y="479"/>
                  </a:lnTo>
                  <a:lnTo>
                    <a:pt x="1615" y="473"/>
                  </a:lnTo>
                  <a:lnTo>
                    <a:pt x="1609" y="468"/>
                  </a:lnTo>
                  <a:lnTo>
                    <a:pt x="1604" y="463"/>
                  </a:lnTo>
                  <a:lnTo>
                    <a:pt x="1599" y="457"/>
                  </a:lnTo>
                  <a:lnTo>
                    <a:pt x="1587" y="448"/>
                  </a:lnTo>
                  <a:lnTo>
                    <a:pt x="1575" y="439"/>
                  </a:lnTo>
                  <a:lnTo>
                    <a:pt x="1562" y="430"/>
                  </a:lnTo>
                  <a:lnTo>
                    <a:pt x="1549" y="423"/>
                  </a:lnTo>
                  <a:lnTo>
                    <a:pt x="1542" y="419"/>
                  </a:lnTo>
                  <a:lnTo>
                    <a:pt x="1535" y="416"/>
                  </a:lnTo>
                  <a:lnTo>
                    <a:pt x="1520" y="410"/>
                  </a:lnTo>
                  <a:lnTo>
                    <a:pt x="1504" y="404"/>
                  </a:lnTo>
                  <a:lnTo>
                    <a:pt x="1488" y="400"/>
                  </a:lnTo>
                  <a:lnTo>
                    <a:pt x="1471" y="395"/>
                  </a:lnTo>
                  <a:lnTo>
                    <a:pt x="1453" y="392"/>
                  </a:lnTo>
                  <a:lnTo>
                    <a:pt x="1434" y="389"/>
                  </a:lnTo>
                  <a:lnTo>
                    <a:pt x="1415" y="387"/>
                  </a:lnTo>
                  <a:lnTo>
                    <a:pt x="1395" y="385"/>
                  </a:lnTo>
                  <a:lnTo>
                    <a:pt x="1374" y="383"/>
                  </a:lnTo>
                  <a:lnTo>
                    <a:pt x="1353" y="383"/>
                  </a:lnTo>
                  <a:lnTo>
                    <a:pt x="1331" y="382"/>
                  </a:lnTo>
                  <a:lnTo>
                    <a:pt x="1310" y="383"/>
                  </a:lnTo>
                  <a:lnTo>
                    <a:pt x="1290" y="384"/>
                  </a:lnTo>
                  <a:lnTo>
                    <a:pt x="1270" y="385"/>
                  </a:lnTo>
                  <a:lnTo>
                    <a:pt x="1250" y="387"/>
                  </a:lnTo>
                  <a:lnTo>
                    <a:pt x="1230" y="389"/>
                  </a:lnTo>
                  <a:lnTo>
                    <a:pt x="1210" y="392"/>
                  </a:lnTo>
                  <a:lnTo>
                    <a:pt x="1171" y="399"/>
                  </a:lnTo>
                  <a:lnTo>
                    <a:pt x="1152" y="402"/>
                  </a:lnTo>
                  <a:lnTo>
                    <a:pt x="1134" y="406"/>
                  </a:lnTo>
                  <a:lnTo>
                    <a:pt x="1101" y="415"/>
                  </a:lnTo>
                  <a:lnTo>
                    <a:pt x="1087" y="420"/>
                  </a:lnTo>
                  <a:lnTo>
                    <a:pt x="1073" y="424"/>
                  </a:lnTo>
                  <a:lnTo>
                    <a:pt x="1067" y="427"/>
                  </a:lnTo>
                  <a:lnTo>
                    <a:pt x="1061" y="429"/>
                  </a:lnTo>
                  <a:lnTo>
                    <a:pt x="1051" y="433"/>
                  </a:lnTo>
                  <a:lnTo>
                    <a:pt x="1044" y="437"/>
                  </a:lnTo>
                  <a:lnTo>
                    <a:pt x="1041" y="439"/>
                  </a:lnTo>
                  <a:lnTo>
                    <a:pt x="1039" y="442"/>
                  </a:lnTo>
                  <a:lnTo>
                    <a:pt x="1037" y="444"/>
                  </a:lnTo>
                  <a:lnTo>
                    <a:pt x="1035" y="446"/>
                  </a:lnTo>
                  <a:lnTo>
                    <a:pt x="1034" y="449"/>
                  </a:lnTo>
                  <a:lnTo>
                    <a:pt x="1033" y="451"/>
                  </a:lnTo>
                  <a:lnTo>
                    <a:pt x="1033" y="454"/>
                  </a:lnTo>
                  <a:lnTo>
                    <a:pt x="1033" y="457"/>
                  </a:lnTo>
                  <a:lnTo>
                    <a:pt x="1033" y="460"/>
                  </a:lnTo>
                  <a:lnTo>
                    <a:pt x="1033" y="463"/>
                  </a:lnTo>
                  <a:lnTo>
                    <a:pt x="1034" y="469"/>
                  </a:lnTo>
                  <a:lnTo>
                    <a:pt x="1036" y="476"/>
                  </a:lnTo>
                  <a:lnTo>
                    <a:pt x="1083" y="607"/>
                  </a:lnTo>
                  <a:lnTo>
                    <a:pt x="1085" y="614"/>
                  </a:lnTo>
                  <a:lnTo>
                    <a:pt x="1089" y="618"/>
                  </a:lnTo>
                  <a:lnTo>
                    <a:pt x="1091" y="620"/>
                  </a:lnTo>
                  <a:lnTo>
                    <a:pt x="1093" y="622"/>
                  </a:lnTo>
                  <a:lnTo>
                    <a:pt x="1097" y="624"/>
                  </a:lnTo>
                  <a:lnTo>
                    <a:pt x="1102" y="625"/>
                  </a:lnTo>
                  <a:lnTo>
                    <a:pt x="1108" y="625"/>
                  </a:lnTo>
                  <a:lnTo>
                    <a:pt x="1114" y="624"/>
                  </a:lnTo>
                  <a:lnTo>
                    <a:pt x="1120" y="622"/>
                  </a:lnTo>
                  <a:lnTo>
                    <a:pt x="1146" y="614"/>
                  </a:lnTo>
                  <a:lnTo>
                    <a:pt x="1170" y="606"/>
                  </a:lnTo>
                  <a:lnTo>
                    <a:pt x="1193" y="599"/>
                  </a:lnTo>
                  <a:lnTo>
                    <a:pt x="1216" y="594"/>
                  </a:lnTo>
                  <a:lnTo>
                    <a:pt x="1238" y="590"/>
                  </a:lnTo>
                  <a:lnTo>
                    <a:pt x="1259" y="587"/>
                  </a:lnTo>
                  <a:lnTo>
                    <a:pt x="1270" y="586"/>
                  </a:lnTo>
                  <a:lnTo>
                    <a:pt x="1281" y="585"/>
                  </a:lnTo>
                  <a:lnTo>
                    <a:pt x="1292" y="585"/>
                  </a:lnTo>
                  <a:lnTo>
                    <a:pt x="1303" y="584"/>
                  </a:lnTo>
                  <a:lnTo>
                    <a:pt x="1321" y="585"/>
                  </a:lnTo>
                  <a:lnTo>
                    <a:pt x="1339" y="586"/>
                  </a:lnTo>
                  <a:lnTo>
                    <a:pt x="1354" y="588"/>
                  </a:lnTo>
                  <a:lnTo>
                    <a:pt x="1368" y="590"/>
                  </a:lnTo>
                  <a:lnTo>
                    <a:pt x="1380" y="594"/>
                  </a:lnTo>
                  <a:lnTo>
                    <a:pt x="1391" y="598"/>
                  </a:lnTo>
                  <a:lnTo>
                    <a:pt x="1396" y="601"/>
                  </a:lnTo>
                  <a:lnTo>
                    <a:pt x="1401" y="603"/>
                  </a:lnTo>
                  <a:lnTo>
                    <a:pt x="1405" y="606"/>
                  </a:lnTo>
                  <a:lnTo>
                    <a:pt x="1410" y="610"/>
                  </a:lnTo>
                  <a:lnTo>
                    <a:pt x="1413" y="613"/>
                  </a:lnTo>
                  <a:lnTo>
                    <a:pt x="1417" y="617"/>
                  </a:lnTo>
                  <a:lnTo>
                    <a:pt x="1420" y="621"/>
                  </a:lnTo>
                  <a:lnTo>
                    <a:pt x="1423" y="625"/>
                  </a:lnTo>
                  <a:lnTo>
                    <a:pt x="1428" y="634"/>
                  </a:lnTo>
                  <a:lnTo>
                    <a:pt x="1430" y="640"/>
                  </a:lnTo>
                  <a:lnTo>
                    <a:pt x="1432" y="645"/>
                  </a:lnTo>
                  <a:lnTo>
                    <a:pt x="1434" y="650"/>
                  </a:lnTo>
                  <a:lnTo>
                    <a:pt x="1436" y="656"/>
                  </a:lnTo>
                  <a:lnTo>
                    <a:pt x="1437" y="663"/>
                  </a:lnTo>
                  <a:lnTo>
                    <a:pt x="1438" y="669"/>
                  </a:lnTo>
                  <a:lnTo>
                    <a:pt x="1439" y="683"/>
                  </a:lnTo>
                  <a:lnTo>
                    <a:pt x="1439" y="698"/>
                  </a:lnTo>
                  <a:lnTo>
                    <a:pt x="1439" y="701"/>
                  </a:lnTo>
                  <a:lnTo>
                    <a:pt x="1422" y="696"/>
                  </a:lnTo>
                  <a:lnTo>
                    <a:pt x="1405" y="691"/>
                  </a:lnTo>
                  <a:lnTo>
                    <a:pt x="1387" y="687"/>
                  </a:lnTo>
                  <a:lnTo>
                    <a:pt x="1368" y="683"/>
                  </a:lnTo>
                  <a:lnTo>
                    <a:pt x="1348" y="681"/>
                  </a:lnTo>
                  <a:lnTo>
                    <a:pt x="1328" y="678"/>
                  </a:lnTo>
                  <a:lnTo>
                    <a:pt x="1307" y="677"/>
                  </a:lnTo>
                  <a:lnTo>
                    <a:pt x="1285" y="677"/>
                  </a:lnTo>
                  <a:lnTo>
                    <a:pt x="1269" y="677"/>
                  </a:lnTo>
                  <a:lnTo>
                    <a:pt x="1253" y="678"/>
                  </a:lnTo>
                  <a:lnTo>
                    <a:pt x="1237" y="679"/>
                  </a:lnTo>
                  <a:lnTo>
                    <a:pt x="1221" y="681"/>
                  </a:lnTo>
                  <a:lnTo>
                    <a:pt x="1206" y="683"/>
                  </a:lnTo>
                  <a:lnTo>
                    <a:pt x="1191" y="686"/>
                  </a:lnTo>
                  <a:lnTo>
                    <a:pt x="1176" y="690"/>
                  </a:lnTo>
                  <a:lnTo>
                    <a:pt x="1161" y="693"/>
                  </a:lnTo>
                  <a:lnTo>
                    <a:pt x="1147" y="698"/>
                  </a:lnTo>
                  <a:lnTo>
                    <a:pt x="1133" y="703"/>
                  </a:lnTo>
                  <a:lnTo>
                    <a:pt x="1120" y="708"/>
                  </a:lnTo>
                  <a:lnTo>
                    <a:pt x="1107" y="714"/>
                  </a:lnTo>
                  <a:lnTo>
                    <a:pt x="1094" y="721"/>
                  </a:lnTo>
                  <a:lnTo>
                    <a:pt x="1082" y="728"/>
                  </a:lnTo>
                  <a:lnTo>
                    <a:pt x="1070" y="735"/>
                  </a:lnTo>
                  <a:lnTo>
                    <a:pt x="1059" y="743"/>
                  </a:lnTo>
                  <a:lnTo>
                    <a:pt x="1048" y="752"/>
                  </a:lnTo>
                  <a:lnTo>
                    <a:pt x="1038" y="761"/>
                  </a:lnTo>
                  <a:lnTo>
                    <a:pt x="1029" y="770"/>
                  </a:lnTo>
                  <a:lnTo>
                    <a:pt x="1024" y="775"/>
                  </a:lnTo>
                  <a:lnTo>
                    <a:pt x="1020" y="780"/>
                  </a:lnTo>
                  <a:lnTo>
                    <a:pt x="1011" y="791"/>
                  </a:lnTo>
                  <a:lnTo>
                    <a:pt x="1003" y="802"/>
                  </a:lnTo>
                  <a:lnTo>
                    <a:pt x="996" y="813"/>
                  </a:lnTo>
                  <a:lnTo>
                    <a:pt x="990" y="825"/>
                  </a:lnTo>
                  <a:lnTo>
                    <a:pt x="984" y="838"/>
                  </a:lnTo>
                  <a:lnTo>
                    <a:pt x="979" y="851"/>
                  </a:lnTo>
                  <a:lnTo>
                    <a:pt x="974" y="864"/>
                  </a:lnTo>
                  <a:lnTo>
                    <a:pt x="971" y="878"/>
                  </a:lnTo>
                  <a:lnTo>
                    <a:pt x="968" y="893"/>
                  </a:lnTo>
                  <a:lnTo>
                    <a:pt x="966" y="907"/>
                  </a:lnTo>
                  <a:lnTo>
                    <a:pt x="964" y="923"/>
                  </a:lnTo>
                  <a:lnTo>
                    <a:pt x="964" y="939"/>
                  </a:lnTo>
                  <a:lnTo>
                    <a:pt x="964" y="953"/>
                  </a:lnTo>
                  <a:lnTo>
                    <a:pt x="966" y="968"/>
                  </a:lnTo>
                  <a:lnTo>
                    <a:pt x="968" y="982"/>
                  </a:lnTo>
                  <a:lnTo>
                    <a:pt x="970" y="995"/>
                  </a:lnTo>
                  <a:lnTo>
                    <a:pt x="974" y="1009"/>
                  </a:lnTo>
                  <a:lnTo>
                    <a:pt x="978" y="1021"/>
                  </a:lnTo>
                  <a:lnTo>
                    <a:pt x="983" y="1033"/>
                  </a:lnTo>
                  <a:lnTo>
                    <a:pt x="988" y="1045"/>
                  </a:lnTo>
                  <a:lnTo>
                    <a:pt x="994" y="1056"/>
                  </a:lnTo>
                  <a:lnTo>
                    <a:pt x="1001" y="1067"/>
                  </a:lnTo>
                  <a:lnTo>
                    <a:pt x="1008" y="1077"/>
                  </a:lnTo>
                  <a:lnTo>
                    <a:pt x="1012" y="1082"/>
                  </a:lnTo>
                  <a:lnTo>
                    <a:pt x="1016" y="1087"/>
                  </a:lnTo>
                  <a:lnTo>
                    <a:pt x="1024" y="1097"/>
                  </a:lnTo>
                  <a:lnTo>
                    <a:pt x="1033" y="1105"/>
                  </a:lnTo>
                  <a:lnTo>
                    <a:pt x="1042" y="1114"/>
                  </a:lnTo>
                  <a:lnTo>
                    <a:pt x="1052" y="1122"/>
                  </a:lnTo>
                  <a:lnTo>
                    <a:pt x="1062" y="1129"/>
                  </a:lnTo>
                  <a:lnTo>
                    <a:pt x="1072" y="1136"/>
                  </a:lnTo>
                  <a:lnTo>
                    <a:pt x="1082" y="1143"/>
                  </a:lnTo>
                  <a:lnTo>
                    <a:pt x="1093" y="1149"/>
                  </a:lnTo>
                  <a:lnTo>
                    <a:pt x="1104" y="1155"/>
                  </a:lnTo>
                  <a:lnTo>
                    <a:pt x="1116" y="1160"/>
                  </a:lnTo>
                  <a:lnTo>
                    <a:pt x="1127" y="1164"/>
                  </a:lnTo>
                  <a:lnTo>
                    <a:pt x="1139" y="1168"/>
                  </a:lnTo>
                  <a:lnTo>
                    <a:pt x="1151" y="1172"/>
                  </a:lnTo>
                  <a:lnTo>
                    <a:pt x="1163" y="1175"/>
                  </a:lnTo>
                  <a:lnTo>
                    <a:pt x="1175" y="1178"/>
                  </a:lnTo>
                  <a:lnTo>
                    <a:pt x="1187" y="1180"/>
                  </a:lnTo>
                  <a:lnTo>
                    <a:pt x="1212" y="1183"/>
                  </a:lnTo>
                  <a:lnTo>
                    <a:pt x="1224" y="1184"/>
                  </a:lnTo>
                  <a:lnTo>
                    <a:pt x="1236" y="1184"/>
                  </a:lnTo>
                  <a:lnTo>
                    <a:pt x="1252" y="1184"/>
                  </a:lnTo>
                  <a:lnTo>
                    <a:pt x="1267" y="1183"/>
                  </a:lnTo>
                  <a:lnTo>
                    <a:pt x="1281" y="1181"/>
                  </a:lnTo>
                  <a:lnTo>
                    <a:pt x="1288" y="1180"/>
                  </a:lnTo>
                  <a:lnTo>
                    <a:pt x="1295" y="1179"/>
                  </a:lnTo>
                  <a:lnTo>
                    <a:pt x="1309" y="1176"/>
                  </a:lnTo>
                  <a:lnTo>
                    <a:pt x="1322" y="1173"/>
                  </a:lnTo>
                  <a:lnTo>
                    <a:pt x="1336" y="1169"/>
                  </a:lnTo>
                  <a:lnTo>
                    <a:pt x="1349" y="1164"/>
                  </a:lnTo>
                  <a:lnTo>
                    <a:pt x="1361" y="1160"/>
                  </a:lnTo>
                  <a:lnTo>
                    <a:pt x="1373" y="1154"/>
                  </a:lnTo>
                  <a:lnTo>
                    <a:pt x="1384" y="1148"/>
                  </a:lnTo>
                  <a:lnTo>
                    <a:pt x="1395" y="1142"/>
                  </a:lnTo>
                  <a:lnTo>
                    <a:pt x="1407" y="1135"/>
                  </a:lnTo>
                  <a:lnTo>
                    <a:pt x="1418" y="1127"/>
                  </a:lnTo>
                  <a:lnTo>
                    <a:pt x="1429" y="1120"/>
                  </a:lnTo>
                  <a:lnTo>
                    <a:pt x="1439" y="1112"/>
                  </a:lnTo>
                  <a:lnTo>
                    <a:pt x="1439" y="1140"/>
                  </a:lnTo>
                  <a:lnTo>
                    <a:pt x="1440" y="1145"/>
                  </a:lnTo>
                  <a:lnTo>
                    <a:pt x="1441" y="1148"/>
                  </a:lnTo>
                  <a:lnTo>
                    <a:pt x="1441" y="1151"/>
                  </a:lnTo>
                  <a:lnTo>
                    <a:pt x="1444" y="1156"/>
                  </a:lnTo>
                  <a:lnTo>
                    <a:pt x="1447" y="1160"/>
                  </a:lnTo>
                  <a:lnTo>
                    <a:pt x="1451" y="1163"/>
                  </a:lnTo>
                  <a:lnTo>
                    <a:pt x="1456" y="1165"/>
                  </a:lnTo>
                  <a:lnTo>
                    <a:pt x="1459" y="1166"/>
                  </a:lnTo>
                  <a:lnTo>
                    <a:pt x="1461" y="1167"/>
                  </a:lnTo>
                  <a:lnTo>
                    <a:pt x="1467" y="1168"/>
                  </a:lnTo>
                  <a:close/>
                  <a:moveTo>
                    <a:pt x="285" y="529"/>
                  </a:moveTo>
                  <a:lnTo>
                    <a:pt x="285" y="244"/>
                  </a:lnTo>
                  <a:lnTo>
                    <a:pt x="379" y="244"/>
                  </a:lnTo>
                  <a:lnTo>
                    <a:pt x="396" y="244"/>
                  </a:lnTo>
                  <a:lnTo>
                    <a:pt x="411" y="246"/>
                  </a:lnTo>
                  <a:lnTo>
                    <a:pt x="419" y="247"/>
                  </a:lnTo>
                  <a:lnTo>
                    <a:pt x="427" y="248"/>
                  </a:lnTo>
                  <a:lnTo>
                    <a:pt x="441" y="251"/>
                  </a:lnTo>
                  <a:lnTo>
                    <a:pt x="455" y="256"/>
                  </a:lnTo>
                  <a:lnTo>
                    <a:pt x="468" y="261"/>
                  </a:lnTo>
                  <a:lnTo>
                    <a:pt x="480" y="268"/>
                  </a:lnTo>
                  <a:lnTo>
                    <a:pt x="492" y="276"/>
                  </a:lnTo>
                  <a:lnTo>
                    <a:pt x="497" y="280"/>
                  </a:lnTo>
                  <a:lnTo>
                    <a:pt x="502" y="285"/>
                  </a:lnTo>
                  <a:lnTo>
                    <a:pt x="506" y="290"/>
                  </a:lnTo>
                  <a:lnTo>
                    <a:pt x="511" y="295"/>
                  </a:lnTo>
                  <a:lnTo>
                    <a:pt x="515" y="301"/>
                  </a:lnTo>
                  <a:lnTo>
                    <a:pt x="519" y="307"/>
                  </a:lnTo>
                  <a:lnTo>
                    <a:pt x="522" y="313"/>
                  </a:lnTo>
                  <a:lnTo>
                    <a:pt x="525" y="320"/>
                  </a:lnTo>
                  <a:lnTo>
                    <a:pt x="528" y="327"/>
                  </a:lnTo>
                  <a:lnTo>
                    <a:pt x="530" y="334"/>
                  </a:lnTo>
                  <a:lnTo>
                    <a:pt x="532" y="342"/>
                  </a:lnTo>
                  <a:lnTo>
                    <a:pt x="534" y="350"/>
                  </a:lnTo>
                  <a:lnTo>
                    <a:pt x="536" y="359"/>
                  </a:lnTo>
                  <a:lnTo>
                    <a:pt x="537" y="368"/>
                  </a:lnTo>
                  <a:lnTo>
                    <a:pt x="537" y="378"/>
                  </a:lnTo>
                  <a:lnTo>
                    <a:pt x="537" y="387"/>
                  </a:lnTo>
                  <a:lnTo>
                    <a:pt x="537" y="397"/>
                  </a:lnTo>
                  <a:lnTo>
                    <a:pt x="537" y="407"/>
                  </a:lnTo>
                  <a:lnTo>
                    <a:pt x="536" y="416"/>
                  </a:lnTo>
                  <a:lnTo>
                    <a:pt x="534" y="424"/>
                  </a:lnTo>
                  <a:lnTo>
                    <a:pt x="532" y="432"/>
                  </a:lnTo>
                  <a:lnTo>
                    <a:pt x="530" y="440"/>
                  </a:lnTo>
                  <a:lnTo>
                    <a:pt x="528" y="448"/>
                  </a:lnTo>
                  <a:lnTo>
                    <a:pt x="525" y="455"/>
                  </a:lnTo>
                  <a:lnTo>
                    <a:pt x="519" y="468"/>
                  </a:lnTo>
                  <a:lnTo>
                    <a:pt x="515" y="474"/>
                  </a:lnTo>
                  <a:lnTo>
                    <a:pt x="511" y="479"/>
                  </a:lnTo>
                  <a:lnTo>
                    <a:pt x="506" y="484"/>
                  </a:lnTo>
                  <a:lnTo>
                    <a:pt x="502" y="489"/>
                  </a:lnTo>
                  <a:lnTo>
                    <a:pt x="497" y="494"/>
                  </a:lnTo>
                  <a:lnTo>
                    <a:pt x="492" y="498"/>
                  </a:lnTo>
                  <a:lnTo>
                    <a:pt x="480" y="506"/>
                  </a:lnTo>
                  <a:lnTo>
                    <a:pt x="468" y="512"/>
                  </a:lnTo>
                  <a:lnTo>
                    <a:pt x="462" y="515"/>
                  </a:lnTo>
                  <a:lnTo>
                    <a:pt x="455" y="518"/>
                  </a:lnTo>
                  <a:lnTo>
                    <a:pt x="441" y="522"/>
                  </a:lnTo>
                  <a:lnTo>
                    <a:pt x="427" y="525"/>
                  </a:lnTo>
                  <a:lnTo>
                    <a:pt x="419" y="526"/>
                  </a:lnTo>
                  <a:lnTo>
                    <a:pt x="411" y="527"/>
                  </a:lnTo>
                  <a:lnTo>
                    <a:pt x="396" y="529"/>
                  </a:lnTo>
                  <a:lnTo>
                    <a:pt x="379" y="529"/>
                  </a:lnTo>
                  <a:lnTo>
                    <a:pt x="285" y="529"/>
                  </a:lnTo>
                  <a:close/>
                  <a:moveTo>
                    <a:pt x="598" y="1141"/>
                  </a:moveTo>
                  <a:lnTo>
                    <a:pt x="602" y="1148"/>
                  </a:lnTo>
                  <a:lnTo>
                    <a:pt x="606" y="1153"/>
                  </a:lnTo>
                  <a:lnTo>
                    <a:pt x="610" y="1158"/>
                  </a:lnTo>
                  <a:lnTo>
                    <a:pt x="615" y="1161"/>
                  </a:lnTo>
                  <a:lnTo>
                    <a:pt x="620" y="1164"/>
                  </a:lnTo>
                  <a:lnTo>
                    <a:pt x="626" y="1166"/>
                  </a:lnTo>
                  <a:lnTo>
                    <a:pt x="632" y="1167"/>
                  </a:lnTo>
                  <a:lnTo>
                    <a:pt x="639" y="1168"/>
                  </a:lnTo>
                  <a:lnTo>
                    <a:pt x="895" y="1168"/>
                  </a:lnTo>
                  <a:lnTo>
                    <a:pt x="899" y="1167"/>
                  </a:lnTo>
                  <a:lnTo>
                    <a:pt x="902" y="1167"/>
                  </a:lnTo>
                  <a:lnTo>
                    <a:pt x="905" y="1166"/>
                  </a:lnTo>
                  <a:lnTo>
                    <a:pt x="908" y="1164"/>
                  </a:lnTo>
                  <a:lnTo>
                    <a:pt x="913" y="1161"/>
                  </a:lnTo>
                  <a:lnTo>
                    <a:pt x="915" y="1159"/>
                  </a:lnTo>
                  <a:lnTo>
                    <a:pt x="916" y="1156"/>
                  </a:lnTo>
                  <a:lnTo>
                    <a:pt x="918" y="1154"/>
                  </a:lnTo>
                  <a:lnTo>
                    <a:pt x="918" y="1151"/>
                  </a:lnTo>
                  <a:lnTo>
                    <a:pt x="919" y="1148"/>
                  </a:lnTo>
                  <a:lnTo>
                    <a:pt x="919" y="1145"/>
                  </a:lnTo>
                  <a:lnTo>
                    <a:pt x="918" y="1141"/>
                  </a:lnTo>
                  <a:lnTo>
                    <a:pt x="917" y="1138"/>
                  </a:lnTo>
                  <a:lnTo>
                    <a:pt x="915" y="1131"/>
                  </a:lnTo>
                  <a:lnTo>
                    <a:pt x="662" y="677"/>
                  </a:lnTo>
                  <a:lnTo>
                    <a:pt x="680" y="664"/>
                  </a:lnTo>
                  <a:lnTo>
                    <a:pt x="689" y="658"/>
                  </a:lnTo>
                  <a:lnTo>
                    <a:pt x="698" y="651"/>
                  </a:lnTo>
                  <a:lnTo>
                    <a:pt x="706" y="644"/>
                  </a:lnTo>
                  <a:lnTo>
                    <a:pt x="714" y="636"/>
                  </a:lnTo>
                  <a:lnTo>
                    <a:pt x="722" y="629"/>
                  </a:lnTo>
                  <a:lnTo>
                    <a:pt x="730" y="621"/>
                  </a:lnTo>
                  <a:lnTo>
                    <a:pt x="745" y="605"/>
                  </a:lnTo>
                  <a:lnTo>
                    <a:pt x="759" y="589"/>
                  </a:lnTo>
                  <a:lnTo>
                    <a:pt x="772" y="570"/>
                  </a:lnTo>
                  <a:lnTo>
                    <a:pt x="778" y="561"/>
                  </a:lnTo>
                  <a:lnTo>
                    <a:pt x="784" y="552"/>
                  </a:lnTo>
                  <a:lnTo>
                    <a:pt x="789" y="542"/>
                  </a:lnTo>
                  <a:lnTo>
                    <a:pt x="795" y="533"/>
                  </a:lnTo>
                  <a:lnTo>
                    <a:pt x="800" y="523"/>
                  </a:lnTo>
                  <a:lnTo>
                    <a:pt x="804" y="513"/>
                  </a:lnTo>
                  <a:lnTo>
                    <a:pt x="812" y="493"/>
                  </a:lnTo>
                  <a:lnTo>
                    <a:pt x="819" y="472"/>
                  </a:lnTo>
                  <a:lnTo>
                    <a:pt x="822" y="461"/>
                  </a:lnTo>
                  <a:lnTo>
                    <a:pt x="825" y="450"/>
                  </a:lnTo>
                  <a:lnTo>
                    <a:pt x="827" y="439"/>
                  </a:lnTo>
                  <a:lnTo>
                    <a:pt x="829" y="428"/>
                  </a:lnTo>
                  <a:lnTo>
                    <a:pt x="830" y="417"/>
                  </a:lnTo>
                  <a:lnTo>
                    <a:pt x="831" y="406"/>
                  </a:lnTo>
                  <a:lnTo>
                    <a:pt x="832" y="382"/>
                  </a:lnTo>
                  <a:lnTo>
                    <a:pt x="832" y="359"/>
                  </a:lnTo>
                  <a:lnTo>
                    <a:pt x="831" y="348"/>
                  </a:lnTo>
                  <a:lnTo>
                    <a:pt x="830" y="336"/>
                  </a:lnTo>
                  <a:lnTo>
                    <a:pt x="827" y="314"/>
                  </a:lnTo>
                  <a:lnTo>
                    <a:pt x="826" y="304"/>
                  </a:lnTo>
                  <a:lnTo>
                    <a:pt x="824" y="293"/>
                  </a:lnTo>
                  <a:lnTo>
                    <a:pt x="822" y="283"/>
                  </a:lnTo>
                  <a:lnTo>
                    <a:pt x="819" y="273"/>
                  </a:lnTo>
                  <a:lnTo>
                    <a:pt x="814" y="253"/>
                  </a:lnTo>
                  <a:lnTo>
                    <a:pt x="807" y="234"/>
                  </a:lnTo>
                  <a:lnTo>
                    <a:pt x="803" y="225"/>
                  </a:lnTo>
                  <a:lnTo>
                    <a:pt x="800" y="216"/>
                  </a:lnTo>
                  <a:lnTo>
                    <a:pt x="791" y="198"/>
                  </a:lnTo>
                  <a:lnTo>
                    <a:pt x="782" y="181"/>
                  </a:lnTo>
                  <a:lnTo>
                    <a:pt x="777" y="173"/>
                  </a:lnTo>
                  <a:lnTo>
                    <a:pt x="772" y="165"/>
                  </a:lnTo>
                  <a:lnTo>
                    <a:pt x="761" y="150"/>
                  </a:lnTo>
                  <a:lnTo>
                    <a:pt x="749" y="135"/>
                  </a:lnTo>
                  <a:lnTo>
                    <a:pt x="736" y="122"/>
                  </a:lnTo>
                  <a:lnTo>
                    <a:pt x="730" y="115"/>
                  </a:lnTo>
                  <a:lnTo>
                    <a:pt x="723" y="109"/>
                  </a:lnTo>
                  <a:lnTo>
                    <a:pt x="716" y="102"/>
                  </a:lnTo>
                  <a:lnTo>
                    <a:pt x="709" y="96"/>
                  </a:lnTo>
                  <a:lnTo>
                    <a:pt x="701" y="90"/>
                  </a:lnTo>
                  <a:lnTo>
                    <a:pt x="694" y="85"/>
                  </a:lnTo>
                  <a:lnTo>
                    <a:pt x="678" y="74"/>
                  </a:lnTo>
                  <a:lnTo>
                    <a:pt x="662" y="64"/>
                  </a:lnTo>
                  <a:lnTo>
                    <a:pt x="645" y="54"/>
                  </a:lnTo>
                  <a:lnTo>
                    <a:pt x="627" y="46"/>
                  </a:lnTo>
                  <a:lnTo>
                    <a:pt x="609" y="38"/>
                  </a:lnTo>
                  <a:lnTo>
                    <a:pt x="590" y="31"/>
                  </a:lnTo>
                  <a:lnTo>
                    <a:pt x="570" y="24"/>
                  </a:lnTo>
                  <a:lnTo>
                    <a:pt x="550" y="19"/>
                  </a:lnTo>
                  <a:lnTo>
                    <a:pt x="529" y="14"/>
                  </a:lnTo>
                  <a:lnTo>
                    <a:pt x="508" y="10"/>
                  </a:lnTo>
                  <a:lnTo>
                    <a:pt x="486" y="6"/>
                  </a:lnTo>
                  <a:lnTo>
                    <a:pt x="464" y="4"/>
                  </a:lnTo>
                  <a:lnTo>
                    <a:pt x="441" y="2"/>
                  </a:lnTo>
                  <a:lnTo>
                    <a:pt x="418" y="1"/>
                  </a:lnTo>
                  <a:lnTo>
                    <a:pt x="394" y="0"/>
                  </a:lnTo>
                  <a:lnTo>
                    <a:pt x="28" y="0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7" y="2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2" y="17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0" y="28"/>
                  </a:lnTo>
                  <a:lnTo>
                    <a:pt x="0" y="584"/>
                  </a:lnTo>
                  <a:lnTo>
                    <a:pt x="0" y="1140"/>
                  </a:lnTo>
                  <a:lnTo>
                    <a:pt x="1" y="1145"/>
                  </a:lnTo>
                  <a:lnTo>
                    <a:pt x="1" y="1148"/>
                  </a:lnTo>
                  <a:lnTo>
                    <a:pt x="2" y="1151"/>
                  </a:lnTo>
                  <a:lnTo>
                    <a:pt x="5" y="1156"/>
                  </a:lnTo>
                  <a:lnTo>
                    <a:pt x="8" y="1160"/>
                  </a:lnTo>
                  <a:lnTo>
                    <a:pt x="12" y="1163"/>
                  </a:lnTo>
                  <a:lnTo>
                    <a:pt x="17" y="1165"/>
                  </a:lnTo>
                  <a:lnTo>
                    <a:pt x="20" y="1166"/>
                  </a:lnTo>
                  <a:lnTo>
                    <a:pt x="22" y="1167"/>
                  </a:lnTo>
                  <a:lnTo>
                    <a:pt x="28" y="1168"/>
                  </a:lnTo>
                  <a:lnTo>
                    <a:pt x="257" y="1168"/>
                  </a:lnTo>
                  <a:lnTo>
                    <a:pt x="263" y="1167"/>
                  </a:lnTo>
                  <a:lnTo>
                    <a:pt x="266" y="1166"/>
                  </a:lnTo>
                  <a:lnTo>
                    <a:pt x="269" y="1165"/>
                  </a:lnTo>
                  <a:lnTo>
                    <a:pt x="273" y="1163"/>
                  </a:lnTo>
                  <a:lnTo>
                    <a:pt x="277" y="1160"/>
                  </a:lnTo>
                  <a:lnTo>
                    <a:pt x="281" y="1156"/>
                  </a:lnTo>
                  <a:lnTo>
                    <a:pt x="283" y="1151"/>
                  </a:lnTo>
                  <a:lnTo>
                    <a:pt x="284" y="1148"/>
                  </a:lnTo>
                  <a:lnTo>
                    <a:pt x="285" y="1145"/>
                  </a:lnTo>
                  <a:lnTo>
                    <a:pt x="285" y="1140"/>
                  </a:lnTo>
                  <a:lnTo>
                    <a:pt x="285" y="744"/>
                  </a:lnTo>
                  <a:lnTo>
                    <a:pt x="396" y="744"/>
                  </a:lnTo>
                  <a:lnTo>
                    <a:pt x="598" y="1141"/>
                  </a:lnTo>
                  <a:close/>
                </a:path>
              </a:pathLst>
            </a:custGeom>
            <a:solidFill>
              <a:srgbClr val="5458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990284F9-FF0A-C257-031A-7A91DE17DF6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649288" y="2474913"/>
              <a:ext cx="13498513" cy="1916112"/>
            </a:xfrm>
            <a:custGeom>
              <a:avLst/>
              <a:gdLst>
                <a:gd name="T0" fmla="*/ 6081 w 8503"/>
                <a:gd name="T1" fmla="*/ 77 h 1207"/>
                <a:gd name="T2" fmla="*/ 6199 w 8503"/>
                <a:gd name="T3" fmla="*/ 178 h 1207"/>
                <a:gd name="T4" fmla="*/ 6270 w 8503"/>
                <a:gd name="T5" fmla="*/ 417 h 1207"/>
                <a:gd name="T6" fmla="*/ 6174 w 8503"/>
                <a:gd name="T7" fmla="*/ 687 h 1207"/>
                <a:gd name="T8" fmla="*/ 5867 w 8503"/>
                <a:gd name="T9" fmla="*/ 813 h 1207"/>
                <a:gd name="T10" fmla="*/ 5465 w 8503"/>
                <a:gd name="T11" fmla="*/ 1187 h 1207"/>
                <a:gd name="T12" fmla="*/ 5445 w 8503"/>
                <a:gd name="T13" fmla="*/ 28 h 1207"/>
                <a:gd name="T14" fmla="*/ 5868 w 8503"/>
                <a:gd name="T15" fmla="*/ 564 h 1207"/>
                <a:gd name="T16" fmla="*/ 5972 w 8503"/>
                <a:gd name="T17" fmla="*/ 452 h 1207"/>
                <a:gd name="T18" fmla="*/ 5950 w 8503"/>
                <a:gd name="T19" fmla="*/ 326 h 1207"/>
                <a:gd name="T20" fmla="*/ 6945 w 8503"/>
                <a:gd name="T21" fmla="*/ 1161 h 1207"/>
                <a:gd name="T22" fmla="*/ 6375 w 8503"/>
                <a:gd name="T23" fmla="*/ 1187 h 1207"/>
                <a:gd name="T24" fmla="*/ 6355 w 8503"/>
                <a:gd name="T25" fmla="*/ 28 h 1207"/>
                <a:gd name="T26" fmla="*/ 6956 w 8503"/>
                <a:gd name="T27" fmla="*/ 57 h 1207"/>
                <a:gd name="T28" fmla="*/ 7129 w 8503"/>
                <a:gd name="T29" fmla="*/ 201 h 1207"/>
                <a:gd name="T30" fmla="*/ 7176 w 8503"/>
                <a:gd name="T31" fmla="*/ 448 h 1207"/>
                <a:gd name="T32" fmla="*/ 7045 w 8503"/>
                <a:gd name="T33" fmla="*/ 670 h 1207"/>
                <a:gd name="T34" fmla="*/ 7255 w 8503"/>
                <a:gd name="T35" fmla="*/ 1184 h 1207"/>
                <a:gd name="T36" fmla="*/ 6632 w 8503"/>
                <a:gd name="T37" fmla="*/ 549 h 1207"/>
                <a:gd name="T38" fmla="*/ 6858 w 8503"/>
                <a:gd name="T39" fmla="*/ 499 h 1207"/>
                <a:gd name="T40" fmla="*/ 6881 w 8503"/>
                <a:gd name="T41" fmla="*/ 370 h 1207"/>
                <a:gd name="T42" fmla="*/ 6788 w 8503"/>
                <a:gd name="T43" fmla="*/ 271 h 1207"/>
                <a:gd name="T44" fmla="*/ 7260 w 8503"/>
                <a:gd name="T45" fmla="*/ 539 h 1207"/>
                <a:gd name="T46" fmla="*/ 7359 w 8503"/>
                <a:gd name="T47" fmla="*/ 259 h 1207"/>
                <a:gd name="T48" fmla="*/ 7550 w 8503"/>
                <a:gd name="T49" fmla="*/ 84 h 1207"/>
                <a:gd name="T50" fmla="*/ 7814 w 8503"/>
                <a:gd name="T51" fmla="*/ 3 h 1207"/>
                <a:gd name="T52" fmla="*/ 8183 w 8503"/>
                <a:gd name="T53" fmla="*/ 70 h 1207"/>
                <a:gd name="T54" fmla="*/ 8430 w 8503"/>
                <a:gd name="T55" fmla="*/ 308 h 1207"/>
                <a:gd name="T56" fmla="*/ 8500 w 8503"/>
                <a:gd name="T57" fmla="*/ 539 h 1207"/>
                <a:gd name="T58" fmla="*/ 8456 w 8503"/>
                <a:gd name="T59" fmla="*/ 846 h 1207"/>
                <a:gd name="T60" fmla="*/ 8282 w 8503"/>
                <a:gd name="T61" fmla="*/ 1075 h 1207"/>
                <a:gd name="T62" fmla="*/ 8070 w 8503"/>
                <a:gd name="T63" fmla="*/ 1181 h 1207"/>
                <a:gd name="T64" fmla="*/ 7690 w 8503"/>
                <a:gd name="T65" fmla="*/ 1181 h 1207"/>
                <a:gd name="T66" fmla="*/ 7394 w 8503"/>
                <a:gd name="T67" fmla="*/ 994 h 1207"/>
                <a:gd name="T68" fmla="*/ 7275 w 8503"/>
                <a:gd name="T69" fmla="*/ 760 h 1207"/>
                <a:gd name="T70" fmla="*/ 7563 w 8503"/>
                <a:gd name="T71" fmla="*/ 680 h 1207"/>
                <a:gd name="T72" fmla="*/ 7673 w 8503"/>
                <a:gd name="T73" fmla="*/ 878 h 1207"/>
                <a:gd name="T74" fmla="*/ 7914 w 8503"/>
                <a:gd name="T75" fmla="*/ 950 h 1207"/>
                <a:gd name="T76" fmla="*/ 8131 w 8503"/>
                <a:gd name="T77" fmla="*/ 833 h 1207"/>
                <a:gd name="T78" fmla="*/ 8201 w 8503"/>
                <a:gd name="T79" fmla="*/ 564 h 1207"/>
                <a:gd name="T80" fmla="*/ 8099 w 8503"/>
                <a:gd name="T81" fmla="*/ 339 h 1207"/>
                <a:gd name="T82" fmla="*/ 7880 w 8503"/>
                <a:gd name="T83" fmla="*/ 255 h 1207"/>
                <a:gd name="T84" fmla="*/ 7649 w 8503"/>
                <a:gd name="T85" fmla="*/ 350 h 1207"/>
                <a:gd name="T86" fmla="*/ 7556 w 8503"/>
                <a:gd name="T87" fmla="*/ 604 h 1207"/>
                <a:gd name="T88" fmla="*/ 399 w 8503"/>
                <a:gd name="T89" fmla="*/ 916 h 1207"/>
                <a:gd name="T90" fmla="*/ 177 w 8503"/>
                <a:gd name="T91" fmla="*/ 927 h 1207"/>
                <a:gd name="T92" fmla="*/ 382 w 8503"/>
                <a:gd name="T93" fmla="*/ 266 h 1207"/>
                <a:gd name="T94" fmla="*/ 648 w 8503"/>
                <a:gd name="T95" fmla="*/ 266 h 1207"/>
                <a:gd name="T96" fmla="*/ 871 w 8503"/>
                <a:gd name="T97" fmla="*/ 297 h 1207"/>
                <a:gd name="T98" fmla="*/ 872 w 8503"/>
                <a:gd name="T99" fmla="*/ 936 h 1207"/>
                <a:gd name="T100" fmla="*/ 28 w 8503"/>
                <a:gd name="T101" fmla="*/ 1054 h 1207"/>
                <a:gd name="T102" fmla="*/ 1043 w 8503"/>
                <a:gd name="T103" fmla="*/ 1171 h 1207"/>
                <a:gd name="T104" fmla="*/ 2 w 8503"/>
                <a:gd name="T105" fmla="*/ 1171 h 1207"/>
                <a:gd name="T106" fmla="*/ 522 w 8503"/>
                <a:gd name="T107" fmla="*/ 20 h 1207"/>
                <a:gd name="T108" fmla="*/ 1038 w 8503"/>
                <a:gd name="T109" fmla="*/ 146 h 1207"/>
                <a:gd name="T110" fmla="*/ 0 w 8503"/>
                <a:gd name="T111" fmla="*/ 12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03" h="1207">
                  <a:moveTo>
                    <a:pt x="5465" y="20"/>
                  </a:moveTo>
                  <a:lnTo>
                    <a:pt x="5817" y="20"/>
                  </a:lnTo>
                  <a:lnTo>
                    <a:pt x="5867" y="22"/>
                  </a:lnTo>
                  <a:lnTo>
                    <a:pt x="5915" y="26"/>
                  </a:lnTo>
                  <a:lnTo>
                    <a:pt x="5961" y="34"/>
                  </a:lnTo>
                  <a:lnTo>
                    <a:pt x="6003" y="46"/>
                  </a:lnTo>
                  <a:lnTo>
                    <a:pt x="6043" y="60"/>
                  </a:lnTo>
                  <a:lnTo>
                    <a:pt x="6081" y="77"/>
                  </a:lnTo>
                  <a:lnTo>
                    <a:pt x="6098" y="87"/>
                  </a:lnTo>
                  <a:lnTo>
                    <a:pt x="6115" y="98"/>
                  </a:lnTo>
                  <a:lnTo>
                    <a:pt x="6131" y="109"/>
                  </a:lnTo>
                  <a:lnTo>
                    <a:pt x="6146" y="121"/>
                  </a:lnTo>
                  <a:lnTo>
                    <a:pt x="6160" y="134"/>
                  </a:lnTo>
                  <a:lnTo>
                    <a:pt x="6174" y="148"/>
                  </a:lnTo>
                  <a:lnTo>
                    <a:pt x="6187" y="162"/>
                  </a:lnTo>
                  <a:lnTo>
                    <a:pt x="6199" y="178"/>
                  </a:lnTo>
                  <a:lnTo>
                    <a:pt x="6210" y="194"/>
                  </a:lnTo>
                  <a:lnTo>
                    <a:pt x="6220" y="210"/>
                  </a:lnTo>
                  <a:lnTo>
                    <a:pt x="6237" y="246"/>
                  </a:lnTo>
                  <a:lnTo>
                    <a:pt x="6251" y="284"/>
                  </a:lnTo>
                  <a:lnTo>
                    <a:pt x="6261" y="326"/>
                  </a:lnTo>
                  <a:lnTo>
                    <a:pt x="6265" y="347"/>
                  </a:lnTo>
                  <a:lnTo>
                    <a:pt x="6268" y="370"/>
                  </a:lnTo>
                  <a:lnTo>
                    <a:pt x="6270" y="417"/>
                  </a:lnTo>
                  <a:lnTo>
                    <a:pt x="6268" y="464"/>
                  </a:lnTo>
                  <a:lnTo>
                    <a:pt x="6265" y="486"/>
                  </a:lnTo>
                  <a:lnTo>
                    <a:pt x="6261" y="508"/>
                  </a:lnTo>
                  <a:lnTo>
                    <a:pt x="6251" y="550"/>
                  </a:lnTo>
                  <a:lnTo>
                    <a:pt x="6238" y="588"/>
                  </a:lnTo>
                  <a:lnTo>
                    <a:pt x="6220" y="625"/>
                  </a:lnTo>
                  <a:lnTo>
                    <a:pt x="6199" y="657"/>
                  </a:lnTo>
                  <a:lnTo>
                    <a:pt x="6174" y="687"/>
                  </a:lnTo>
                  <a:lnTo>
                    <a:pt x="6147" y="713"/>
                  </a:lnTo>
                  <a:lnTo>
                    <a:pt x="6115" y="737"/>
                  </a:lnTo>
                  <a:lnTo>
                    <a:pt x="6081" y="758"/>
                  </a:lnTo>
                  <a:lnTo>
                    <a:pt x="6044" y="775"/>
                  </a:lnTo>
                  <a:lnTo>
                    <a:pt x="6004" y="789"/>
                  </a:lnTo>
                  <a:lnTo>
                    <a:pt x="5961" y="800"/>
                  </a:lnTo>
                  <a:lnTo>
                    <a:pt x="5915" y="809"/>
                  </a:lnTo>
                  <a:lnTo>
                    <a:pt x="5867" y="813"/>
                  </a:lnTo>
                  <a:lnTo>
                    <a:pt x="5817" y="815"/>
                  </a:lnTo>
                  <a:lnTo>
                    <a:pt x="5722" y="815"/>
                  </a:lnTo>
                  <a:lnTo>
                    <a:pt x="5722" y="1159"/>
                  </a:lnTo>
                  <a:lnTo>
                    <a:pt x="5720" y="1171"/>
                  </a:lnTo>
                  <a:lnTo>
                    <a:pt x="5714" y="1179"/>
                  </a:lnTo>
                  <a:lnTo>
                    <a:pt x="5705" y="1185"/>
                  </a:lnTo>
                  <a:lnTo>
                    <a:pt x="5694" y="1187"/>
                  </a:lnTo>
                  <a:lnTo>
                    <a:pt x="5465" y="1187"/>
                  </a:lnTo>
                  <a:lnTo>
                    <a:pt x="5453" y="1185"/>
                  </a:lnTo>
                  <a:lnTo>
                    <a:pt x="5445" y="1179"/>
                  </a:lnTo>
                  <a:lnTo>
                    <a:pt x="5439" y="1171"/>
                  </a:lnTo>
                  <a:lnTo>
                    <a:pt x="5437" y="1159"/>
                  </a:lnTo>
                  <a:lnTo>
                    <a:pt x="5437" y="604"/>
                  </a:lnTo>
                  <a:lnTo>
                    <a:pt x="5437" y="48"/>
                  </a:lnTo>
                  <a:lnTo>
                    <a:pt x="5439" y="37"/>
                  </a:lnTo>
                  <a:lnTo>
                    <a:pt x="5445" y="28"/>
                  </a:lnTo>
                  <a:lnTo>
                    <a:pt x="5453" y="22"/>
                  </a:lnTo>
                  <a:lnTo>
                    <a:pt x="5465" y="20"/>
                  </a:lnTo>
                  <a:close/>
                  <a:moveTo>
                    <a:pt x="5817" y="264"/>
                  </a:moveTo>
                  <a:lnTo>
                    <a:pt x="5722" y="264"/>
                  </a:lnTo>
                  <a:lnTo>
                    <a:pt x="5722" y="570"/>
                  </a:lnTo>
                  <a:lnTo>
                    <a:pt x="5817" y="570"/>
                  </a:lnTo>
                  <a:lnTo>
                    <a:pt x="5852" y="568"/>
                  </a:lnTo>
                  <a:lnTo>
                    <a:pt x="5868" y="564"/>
                  </a:lnTo>
                  <a:lnTo>
                    <a:pt x="5883" y="560"/>
                  </a:lnTo>
                  <a:lnTo>
                    <a:pt x="5897" y="555"/>
                  </a:lnTo>
                  <a:lnTo>
                    <a:pt x="5910" y="548"/>
                  </a:lnTo>
                  <a:lnTo>
                    <a:pt x="5933" y="531"/>
                  </a:lnTo>
                  <a:lnTo>
                    <a:pt x="5942" y="520"/>
                  </a:lnTo>
                  <a:lnTo>
                    <a:pt x="5950" y="509"/>
                  </a:lnTo>
                  <a:lnTo>
                    <a:pt x="5964" y="483"/>
                  </a:lnTo>
                  <a:lnTo>
                    <a:pt x="5972" y="452"/>
                  </a:lnTo>
                  <a:lnTo>
                    <a:pt x="5974" y="435"/>
                  </a:lnTo>
                  <a:lnTo>
                    <a:pt x="5975" y="417"/>
                  </a:lnTo>
                  <a:lnTo>
                    <a:pt x="5974" y="399"/>
                  </a:lnTo>
                  <a:lnTo>
                    <a:pt x="5972" y="382"/>
                  </a:lnTo>
                  <a:lnTo>
                    <a:pt x="5969" y="367"/>
                  </a:lnTo>
                  <a:lnTo>
                    <a:pt x="5964" y="352"/>
                  </a:lnTo>
                  <a:lnTo>
                    <a:pt x="5958" y="338"/>
                  </a:lnTo>
                  <a:lnTo>
                    <a:pt x="5950" y="326"/>
                  </a:lnTo>
                  <a:lnTo>
                    <a:pt x="5942" y="314"/>
                  </a:lnTo>
                  <a:lnTo>
                    <a:pt x="5933" y="304"/>
                  </a:lnTo>
                  <a:lnTo>
                    <a:pt x="5922" y="295"/>
                  </a:lnTo>
                  <a:lnTo>
                    <a:pt x="5910" y="287"/>
                  </a:lnTo>
                  <a:lnTo>
                    <a:pt x="5883" y="274"/>
                  </a:lnTo>
                  <a:lnTo>
                    <a:pt x="5852" y="266"/>
                  </a:lnTo>
                  <a:lnTo>
                    <a:pt x="5817" y="264"/>
                  </a:lnTo>
                  <a:close/>
                  <a:moveTo>
                    <a:pt x="6945" y="1161"/>
                  </a:moveTo>
                  <a:lnTo>
                    <a:pt x="6742" y="764"/>
                  </a:lnTo>
                  <a:lnTo>
                    <a:pt x="6632" y="764"/>
                  </a:lnTo>
                  <a:lnTo>
                    <a:pt x="6632" y="1159"/>
                  </a:lnTo>
                  <a:lnTo>
                    <a:pt x="6630" y="1171"/>
                  </a:lnTo>
                  <a:lnTo>
                    <a:pt x="6624" y="1179"/>
                  </a:lnTo>
                  <a:lnTo>
                    <a:pt x="6615" y="1185"/>
                  </a:lnTo>
                  <a:lnTo>
                    <a:pt x="6604" y="1187"/>
                  </a:lnTo>
                  <a:lnTo>
                    <a:pt x="6375" y="1187"/>
                  </a:lnTo>
                  <a:lnTo>
                    <a:pt x="6364" y="1185"/>
                  </a:lnTo>
                  <a:lnTo>
                    <a:pt x="6355" y="1179"/>
                  </a:lnTo>
                  <a:lnTo>
                    <a:pt x="6349" y="1171"/>
                  </a:lnTo>
                  <a:lnTo>
                    <a:pt x="6347" y="1159"/>
                  </a:lnTo>
                  <a:lnTo>
                    <a:pt x="6347" y="604"/>
                  </a:lnTo>
                  <a:lnTo>
                    <a:pt x="6347" y="48"/>
                  </a:lnTo>
                  <a:lnTo>
                    <a:pt x="6349" y="37"/>
                  </a:lnTo>
                  <a:lnTo>
                    <a:pt x="6355" y="28"/>
                  </a:lnTo>
                  <a:lnTo>
                    <a:pt x="6364" y="22"/>
                  </a:lnTo>
                  <a:lnTo>
                    <a:pt x="6375" y="20"/>
                  </a:lnTo>
                  <a:lnTo>
                    <a:pt x="6741" y="20"/>
                  </a:lnTo>
                  <a:lnTo>
                    <a:pt x="6788" y="21"/>
                  </a:lnTo>
                  <a:lnTo>
                    <a:pt x="6833" y="26"/>
                  </a:lnTo>
                  <a:lnTo>
                    <a:pt x="6876" y="33"/>
                  </a:lnTo>
                  <a:lnTo>
                    <a:pt x="6917" y="44"/>
                  </a:lnTo>
                  <a:lnTo>
                    <a:pt x="6956" y="57"/>
                  </a:lnTo>
                  <a:lnTo>
                    <a:pt x="6992" y="74"/>
                  </a:lnTo>
                  <a:lnTo>
                    <a:pt x="7025" y="93"/>
                  </a:lnTo>
                  <a:lnTo>
                    <a:pt x="7056" y="116"/>
                  </a:lnTo>
                  <a:lnTo>
                    <a:pt x="7083" y="141"/>
                  </a:lnTo>
                  <a:lnTo>
                    <a:pt x="7096" y="155"/>
                  </a:lnTo>
                  <a:lnTo>
                    <a:pt x="7108" y="170"/>
                  </a:lnTo>
                  <a:lnTo>
                    <a:pt x="7119" y="185"/>
                  </a:lnTo>
                  <a:lnTo>
                    <a:pt x="7129" y="201"/>
                  </a:lnTo>
                  <a:lnTo>
                    <a:pt x="7146" y="235"/>
                  </a:lnTo>
                  <a:lnTo>
                    <a:pt x="7160" y="273"/>
                  </a:lnTo>
                  <a:lnTo>
                    <a:pt x="7171" y="313"/>
                  </a:lnTo>
                  <a:lnTo>
                    <a:pt x="7174" y="334"/>
                  </a:lnTo>
                  <a:lnTo>
                    <a:pt x="7177" y="356"/>
                  </a:lnTo>
                  <a:lnTo>
                    <a:pt x="7179" y="402"/>
                  </a:lnTo>
                  <a:lnTo>
                    <a:pt x="7178" y="425"/>
                  </a:lnTo>
                  <a:lnTo>
                    <a:pt x="7176" y="448"/>
                  </a:lnTo>
                  <a:lnTo>
                    <a:pt x="7172" y="470"/>
                  </a:lnTo>
                  <a:lnTo>
                    <a:pt x="7166" y="492"/>
                  </a:lnTo>
                  <a:lnTo>
                    <a:pt x="7159" y="513"/>
                  </a:lnTo>
                  <a:lnTo>
                    <a:pt x="7151" y="533"/>
                  </a:lnTo>
                  <a:lnTo>
                    <a:pt x="7131" y="572"/>
                  </a:lnTo>
                  <a:lnTo>
                    <a:pt x="7106" y="608"/>
                  </a:lnTo>
                  <a:lnTo>
                    <a:pt x="7077" y="641"/>
                  </a:lnTo>
                  <a:lnTo>
                    <a:pt x="7045" y="670"/>
                  </a:lnTo>
                  <a:lnTo>
                    <a:pt x="7009" y="696"/>
                  </a:lnTo>
                  <a:lnTo>
                    <a:pt x="7261" y="1151"/>
                  </a:lnTo>
                  <a:lnTo>
                    <a:pt x="7264" y="1158"/>
                  </a:lnTo>
                  <a:lnTo>
                    <a:pt x="7265" y="1164"/>
                  </a:lnTo>
                  <a:lnTo>
                    <a:pt x="7265" y="1170"/>
                  </a:lnTo>
                  <a:lnTo>
                    <a:pt x="7263" y="1176"/>
                  </a:lnTo>
                  <a:lnTo>
                    <a:pt x="7260" y="1181"/>
                  </a:lnTo>
                  <a:lnTo>
                    <a:pt x="7255" y="1184"/>
                  </a:lnTo>
                  <a:lnTo>
                    <a:pt x="7249" y="1186"/>
                  </a:lnTo>
                  <a:lnTo>
                    <a:pt x="7242" y="1187"/>
                  </a:lnTo>
                  <a:lnTo>
                    <a:pt x="6986" y="1187"/>
                  </a:lnTo>
                  <a:lnTo>
                    <a:pt x="6973" y="1186"/>
                  </a:lnTo>
                  <a:lnTo>
                    <a:pt x="6962" y="1181"/>
                  </a:lnTo>
                  <a:lnTo>
                    <a:pt x="6953" y="1173"/>
                  </a:lnTo>
                  <a:lnTo>
                    <a:pt x="6945" y="1161"/>
                  </a:lnTo>
                  <a:close/>
                  <a:moveTo>
                    <a:pt x="6632" y="549"/>
                  </a:moveTo>
                  <a:lnTo>
                    <a:pt x="6726" y="549"/>
                  </a:lnTo>
                  <a:lnTo>
                    <a:pt x="6758" y="547"/>
                  </a:lnTo>
                  <a:lnTo>
                    <a:pt x="6788" y="542"/>
                  </a:lnTo>
                  <a:lnTo>
                    <a:pt x="6802" y="537"/>
                  </a:lnTo>
                  <a:lnTo>
                    <a:pt x="6815" y="532"/>
                  </a:lnTo>
                  <a:lnTo>
                    <a:pt x="6838" y="518"/>
                  </a:lnTo>
                  <a:lnTo>
                    <a:pt x="6849" y="509"/>
                  </a:lnTo>
                  <a:lnTo>
                    <a:pt x="6858" y="499"/>
                  </a:lnTo>
                  <a:lnTo>
                    <a:pt x="6865" y="487"/>
                  </a:lnTo>
                  <a:lnTo>
                    <a:pt x="6872" y="474"/>
                  </a:lnTo>
                  <a:lnTo>
                    <a:pt x="6877" y="460"/>
                  </a:lnTo>
                  <a:lnTo>
                    <a:pt x="6881" y="444"/>
                  </a:lnTo>
                  <a:lnTo>
                    <a:pt x="6883" y="426"/>
                  </a:lnTo>
                  <a:lnTo>
                    <a:pt x="6884" y="407"/>
                  </a:lnTo>
                  <a:lnTo>
                    <a:pt x="6883" y="388"/>
                  </a:lnTo>
                  <a:lnTo>
                    <a:pt x="6881" y="370"/>
                  </a:lnTo>
                  <a:lnTo>
                    <a:pt x="6877" y="354"/>
                  </a:lnTo>
                  <a:lnTo>
                    <a:pt x="6872" y="339"/>
                  </a:lnTo>
                  <a:lnTo>
                    <a:pt x="6858" y="315"/>
                  </a:lnTo>
                  <a:lnTo>
                    <a:pt x="6849" y="304"/>
                  </a:lnTo>
                  <a:lnTo>
                    <a:pt x="6838" y="295"/>
                  </a:lnTo>
                  <a:lnTo>
                    <a:pt x="6827" y="287"/>
                  </a:lnTo>
                  <a:lnTo>
                    <a:pt x="6815" y="281"/>
                  </a:lnTo>
                  <a:lnTo>
                    <a:pt x="6788" y="271"/>
                  </a:lnTo>
                  <a:lnTo>
                    <a:pt x="6774" y="268"/>
                  </a:lnTo>
                  <a:lnTo>
                    <a:pt x="6758" y="265"/>
                  </a:lnTo>
                  <a:lnTo>
                    <a:pt x="6726" y="264"/>
                  </a:lnTo>
                  <a:lnTo>
                    <a:pt x="6632" y="264"/>
                  </a:lnTo>
                  <a:lnTo>
                    <a:pt x="6632" y="549"/>
                  </a:lnTo>
                  <a:close/>
                  <a:moveTo>
                    <a:pt x="7256" y="604"/>
                  </a:moveTo>
                  <a:lnTo>
                    <a:pt x="7257" y="571"/>
                  </a:lnTo>
                  <a:lnTo>
                    <a:pt x="7260" y="539"/>
                  </a:lnTo>
                  <a:lnTo>
                    <a:pt x="7263" y="508"/>
                  </a:lnTo>
                  <a:lnTo>
                    <a:pt x="7269" y="477"/>
                  </a:lnTo>
                  <a:lnTo>
                    <a:pt x="7275" y="447"/>
                  </a:lnTo>
                  <a:lnTo>
                    <a:pt x="7283" y="418"/>
                  </a:lnTo>
                  <a:lnTo>
                    <a:pt x="7303" y="362"/>
                  </a:lnTo>
                  <a:lnTo>
                    <a:pt x="7329" y="308"/>
                  </a:lnTo>
                  <a:lnTo>
                    <a:pt x="7343" y="283"/>
                  </a:lnTo>
                  <a:lnTo>
                    <a:pt x="7359" y="259"/>
                  </a:lnTo>
                  <a:lnTo>
                    <a:pt x="7394" y="213"/>
                  </a:lnTo>
                  <a:lnTo>
                    <a:pt x="7413" y="191"/>
                  </a:lnTo>
                  <a:lnTo>
                    <a:pt x="7434" y="171"/>
                  </a:lnTo>
                  <a:lnTo>
                    <a:pt x="7455" y="151"/>
                  </a:lnTo>
                  <a:lnTo>
                    <a:pt x="7477" y="133"/>
                  </a:lnTo>
                  <a:lnTo>
                    <a:pt x="7501" y="115"/>
                  </a:lnTo>
                  <a:lnTo>
                    <a:pt x="7525" y="99"/>
                  </a:lnTo>
                  <a:lnTo>
                    <a:pt x="7550" y="84"/>
                  </a:lnTo>
                  <a:lnTo>
                    <a:pt x="7576" y="70"/>
                  </a:lnTo>
                  <a:lnTo>
                    <a:pt x="7603" y="57"/>
                  </a:lnTo>
                  <a:lnTo>
                    <a:pt x="7631" y="45"/>
                  </a:lnTo>
                  <a:lnTo>
                    <a:pt x="7661" y="35"/>
                  </a:lnTo>
                  <a:lnTo>
                    <a:pt x="7690" y="26"/>
                  </a:lnTo>
                  <a:lnTo>
                    <a:pt x="7720" y="18"/>
                  </a:lnTo>
                  <a:lnTo>
                    <a:pt x="7751" y="12"/>
                  </a:lnTo>
                  <a:lnTo>
                    <a:pt x="7814" y="3"/>
                  </a:lnTo>
                  <a:lnTo>
                    <a:pt x="7880" y="0"/>
                  </a:lnTo>
                  <a:lnTo>
                    <a:pt x="7946" y="3"/>
                  </a:lnTo>
                  <a:lnTo>
                    <a:pt x="7978" y="7"/>
                  </a:lnTo>
                  <a:lnTo>
                    <a:pt x="8010" y="12"/>
                  </a:lnTo>
                  <a:lnTo>
                    <a:pt x="8070" y="26"/>
                  </a:lnTo>
                  <a:lnTo>
                    <a:pt x="8128" y="45"/>
                  </a:lnTo>
                  <a:lnTo>
                    <a:pt x="8156" y="57"/>
                  </a:lnTo>
                  <a:lnTo>
                    <a:pt x="8183" y="70"/>
                  </a:lnTo>
                  <a:lnTo>
                    <a:pt x="8234" y="99"/>
                  </a:lnTo>
                  <a:lnTo>
                    <a:pt x="8282" y="133"/>
                  </a:lnTo>
                  <a:lnTo>
                    <a:pt x="8326" y="171"/>
                  </a:lnTo>
                  <a:lnTo>
                    <a:pt x="8346" y="191"/>
                  </a:lnTo>
                  <a:lnTo>
                    <a:pt x="8365" y="213"/>
                  </a:lnTo>
                  <a:lnTo>
                    <a:pt x="8400" y="259"/>
                  </a:lnTo>
                  <a:lnTo>
                    <a:pt x="8416" y="283"/>
                  </a:lnTo>
                  <a:lnTo>
                    <a:pt x="8430" y="308"/>
                  </a:lnTo>
                  <a:lnTo>
                    <a:pt x="8444" y="335"/>
                  </a:lnTo>
                  <a:lnTo>
                    <a:pt x="8456" y="362"/>
                  </a:lnTo>
                  <a:lnTo>
                    <a:pt x="8467" y="389"/>
                  </a:lnTo>
                  <a:lnTo>
                    <a:pt x="8476" y="418"/>
                  </a:lnTo>
                  <a:lnTo>
                    <a:pt x="8484" y="447"/>
                  </a:lnTo>
                  <a:lnTo>
                    <a:pt x="8491" y="477"/>
                  </a:lnTo>
                  <a:lnTo>
                    <a:pt x="8496" y="508"/>
                  </a:lnTo>
                  <a:lnTo>
                    <a:pt x="8500" y="539"/>
                  </a:lnTo>
                  <a:lnTo>
                    <a:pt x="8503" y="604"/>
                  </a:lnTo>
                  <a:lnTo>
                    <a:pt x="8502" y="637"/>
                  </a:lnTo>
                  <a:lnTo>
                    <a:pt x="8500" y="668"/>
                  </a:lnTo>
                  <a:lnTo>
                    <a:pt x="8496" y="700"/>
                  </a:lnTo>
                  <a:lnTo>
                    <a:pt x="8491" y="730"/>
                  </a:lnTo>
                  <a:lnTo>
                    <a:pt x="8484" y="760"/>
                  </a:lnTo>
                  <a:lnTo>
                    <a:pt x="8476" y="789"/>
                  </a:lnTo>
                  <a:lnTo>
                    <a:pt x="8456" y="846"/>
                  </a:lnTo>
                  <a:lnTo>
                    <a:pt x="8430" y="899"/>
                  </a:lnTo>
                  <a:lnTo>
                    <a:pt x="8416" y="924"/>
                  </a:lnTo>
                  <a:lnTo>
                    <a:pt x="8400" y="948"/>
                  </a:lnTo>
                  <a:lnTo>
                    <a:pt x="8365" y="994"/>
                  </a:lnTo>
                  <a:lnTo>
                    <a:pt x="8346" y="1016"/>
                  </a:lnTo>
                  <a:lnTo>
                    <a:pt x="8326" y="1037"/>
                  </a:lnTo>
                  <a:lnTo>
                    <a:pt x="8304" y="1056"/>
                  </a:lnTo>
                  <a:lnTo>
                    <a:pt x="8282" y="1075"/>
                  </a:lnTo>
                  <a:lnTo>
                    <a:pt x="8259" y="1092"/>
                  </a:lnTo>
                  <a:lnTo>
                    <a:pt x="8234" y="1108"/>
                  </a:lnTo>
                  <a:lnTo>
                    <a:pt x="8209" y="1123"/>
                  </a:lnTo>
                  <a:lnTo>
                    <a:pt x="8183" y="1138"/>
                  </a:lnTo>
                  <a:lnTo>
                    <a:pt x="8156" y="1150"/>
                  </a:lnTo>
                  <a:lnTo>
                    <a:pt x="8128" y="1162"/>
                  </a:lnTo>
                  <a:lnTo>
                    <a:pt x="8100" y="1172"/>
                  </a:lnTo>
                  <a:lnTo>
                    <a:pt x="8070" y="1181"/>
                  </a:lnTo>
                  <a:lnTo>
                    <a:pt x="8040" y="1189"/>
                  </a:lnTo>
                  <a:lnTo>
                    <a:pt x="8010" y="1195"/>
                  </a:lnTo>
                  <a:lnTo>
                    <a:pt x="7946" y="1204"/>
                  </a:lnTo>
                  <a:lnTo>
                    <a:pt x="7880" y="1207"/>
                  </a:lnTo>
                  <a:lnTo>
                    <a:pt x="7814" y="1204"/>
                  </a:lnTo>
                  <a:lnTo>
                    <a:pt x="7782" y="1200"/>
                  </a:lnTo>
                  <a:lnTo>
                    <a:pt x="7751" y="1195"/>
                  </a:lnTo>
                  <a:lnTo>
                    <a:pt x="7690" y="1181"/>
                  </a:lnTo>
                  <a:lnTo>
                    <a:pt x="7631" y="1162"/>
                  </a:lnTo>
                  <a:lnTo>
                    <a:pt x="7603" y="1150"/>
                  </a:lnTo>
                  <a:lnTo>
                    <a:pt x="7576" y="1138"/>
                  </a:lnTo>
                  <a:lnTo>
                    <a:pt x="7525" y="1108"/>
                  </a:lnTo>
                  <a:lnTo>
                    <a:pt x="7477" y="1075"/>
                  </a:lnTo>
                  <a:lnTo>
                    <a:pt x="7434" y="1037"/>
                  </a:lnTo>
                  <a:lnTo>
                    <a:pt x="7413" y="1016"/>
                  </a:lnTo>
                  <a:lnTo>
                    <a:pt x="7394" y="994"/>
                  </a:lnTo>
                  <a:lnTo>
                    <a:pt x="7359" y="948"/>
                  </a:lnTo>
                  <a:lnTo>
                    <a:pt x="7343" y="924"/>
                  </a:lnTo>
                  <a:lnTo>
                    <a:pt x="7329" y="899"/>
                  </a:lnTo>
                  <a:lnTo>
                    <a:pt x="7316" y="873"/>
                  </a:lnTo>
                  <a:lnTo>
                    <a:pt x="7303" y="846"/>
                  </a:lnTo>
                  <a:lnTo>
                    <a:pt x="7293" y="818"/>
                  </a:lnTo>
                  <a:lnTo>
                    <a:pt x="7283" y="789"/>
                  </a:lnTo>
                  <a:lnTo>
                    <a:pt x="7275" y="760"/>
                  </a:lnTo>
                  <a:lnTo>
                    <a:pt x="7269" y="730"/>
                  </a:lnTo>
                  <a:lnTo>
                    <a:pt x="7263" y="700"/>
                  </a:lnTo>
                  <a:lnTo>
                    <a:pt x="7260" y="668"/>
                  </a:lnTo>
                  <a:lnTo>
                    <a:pt x="7257" y="637"/>
                  </a:lnTo>
                  <a:lnTo>
                    <a:pt x="7256" y="604"/>
                  </a:lnTo>
                  <a:close/>
                  <a:moveTo>
                    <a:pt x="7556" y="604"/>
                  </a:moveTo>
                  <a:lnTo>
                    <a:pt x="7558" y="643"/>
                  </a:lnTo>
                  <a:lnTo>
                    <a:pt x="7563" y="680"/>
                  </a:lnTo>
                  <a:lnTo>
                    <a:pt x="7570" y="714"/>
                  </a:lnTo>
                  <a:lnTo>
                    <a:pt x="7581" y="747"/>
                  </a:lnTo>
                  <a:lnTo>
                    <a:pt x="7594" y="778"/>
                  </a:lnTo>
                  <a:lnTo>
                    <a:pt x="7610" y="807"/>
                  </a:lnTo>
                  <a:lnTo>
                    <a:pt x="7629" y="833"/>
                  </a:lnTo>
                  <a:lnTo>
                    <a:pt x="7649" y="857"/>
                  </a:lnTo>
                  <a:lnTo>
                    <a:pt x="7661" y="868"/>
                  </a:lnTo>
                  <a:lnTo>
                    <a:pt x="7673" y="878"/>
                  </a:lnTo>
                  <a:lnTo>
                    <a:pt x="7698" y="897"/>
                  </a:lnTo>
                  <a:lnTo>
                    <a:pt x="7724" y="914"/>
                  </a:lnTo>
                  <a:lnTo>
                    <a:pt x="7753" y="927"/>
                  </a:lnTo>
                  <a:lnTo>
                    <a:pt x="7782" y="938"/>
                  </a:lnTo>
                  <a:lnTo>
                    <a:pt x="7814" y="945"/>
                  </a:lnTo>
                  <a:lnTo>
                    <a:pt x="7846" y="950"/>
                  </a:lnTo>
                  <a:lnTo>
                    <a:pt x="7880" y="952"/>
                  </a:lnTo>
                  <a:lnTo>
                    <a:pt x="7914" y="950"/>
                  </a:lnTo>
                  <a:lnTo>
                    <a:pt x="7947" y="945"/>
                  </a:lnTo>
                  <a:lnTo>
                    <a:pt x="7978" y="938"/>
                  </a:lnTo>
                  <a:lnTo>
                    <a:pt x="8008" y="927"/>
                  </a:lnTo>
                  <a:lnTo>
                    <a:pt x="8036" y="914"/>
                  </a:lnTo>
                  <a:lnTo>
                    <a:pt x="8063" y="897"/>
                  </a:lnTo>
                  <a:lnTo>
                    <a:pt x="8087" y="878"/>
                  </a:lnTo>
                  <a:lnTo>
                    <a:pt x="8110" y="857"/>
                  </a:lnTo>
                  <a:lnTo>
                    <a:pt x="8131" y="833"/>
                  </a:lnTo>
                  <a:lnTo>
                    <a:pt x="8149" y="807"/>
                  </a:lnTo>
                  <a:lnTo>
                    <a:pt x="8165" y="778"/>
                  </a:lnTo>
                  <a:lnTo>
                    <a:pt x="8178" y="747"/>
                  </a:lnTo>
                  <a:lnTo>
                    <a:pt x="8189" y="714"/>
                  </a:lnTo>
                  <a:lnTo>
                    <a:pt x="8197" y="680"/>
                  </a:lnTo>
                  <a:lnTo>
                    <a:pt x="8201" y="643"/>
                  </a:lnTo>
                  <a:lnTo>
                    <a:pt x="8203" y="604"/>
                  </a:lnTo>
                  <a:lnTo>
                    <a:pt x="8201" y="564"/>
                  </a:lnTo>
                  <a:lnTo>
                    <a:pt x="8197" y="528"/>
                  </a:lnTo>
                  <a:lnTo>
                    <a:pt x="8189" y="493"/>
                  </a:lnTo>
                  <a:lnTo>
                    <a:pt x="8178" y="460"/>
                  </a:lnTo>
                  <a:lnTo>
                    <a:pt x="8165" y="429"/>
                  </a:lnTo>
                  <a:lnTo>
                    <a:pt x="8149" y="400"/>
                  </a:lnTo>
                  <a:lnTo>
                    <a:pt x="8131" y="374"/>
                  </a:lnTo>
                  <a:lnTo>
                    <a:pt x="8110" y="350"/>
                  </a:lnTo>
                  <a:lnTo>
                    <a:pt x="8099" y="339"/>
                  </a:lnTo>
                  <a:lnTo>
                    <a:pt x="8087" y="329"/>
                  </a:lnTo>
                  <a:lnTo>
                    <a:pt x="8063" y="310"/>
                  </a:lnTo>
                  <a:lnTo>
                    <a:pt x="8036" y="294"/>
                  </a:lnTo>
                  <a:lnTo>
                    <a:pt x="8008" y="280"/>
                  </a:lnTo>
                  <a:lnTo>
                    <a:pt x="7978" y="269"/>
                  </a:lnTo>
                  <a:lnTo>
                    <a:pt x="7947" y="262"/>
                  </a:lnTo>
                  <a:lnTo>
                    <a:pt x="7914" y="257"/>
                  </a:lnTo>
                  <a:lnTo>
                    <a:pt x="7880" y="255"/>
                  </a:lnTo>
                  <a:lnTo>
                    <a:pt x="7846" y="257"/>
                  </a:lnTo>
                  <a:lnTo>
                    <a:pt x="7814" y="262"/>
                  </a:lnTo>
                  <a:lnTo>
                    <a:pt x="7782" y="269"/>
                  </a:lnTo>
                  <a:lnTo>
                    <a:pt x="7753" y="280"/>
                  </a:lnTo>
                  <a:lnTo>
                    <a:pt x="7724" y="294"/>
                  </a:lnTo>
                  <a:lnTo>
                    <a:pt x="7698" y="310"/>
                  </a:lnTo>
                  <a:lnTo>
                    <a:pt x="7673" y="329"/>
                  </a:lnTo>
                  <a:lnTo>
                    <a:pt x="7649" y="350"/>
                  </a:lnTo>
                  <a:lnTo>
                    <a:pt x="7629" y="374"/>
                  </a:lnTo>
                  <a:lnTo>
                    <a:pt x="7610" y="400"/>
                  </a:lnTo>
                  <a:lnTo>
                    <a:pt x="7594" y="429"/>
                  </a:lnTo>
                  <a:lnTo>
                    <a:pt x="7581" y="460"/>
                  </a:lnTo>
                  <a:lnTo>
                    <a:pt x="7570" y="493"/>
                  </a:lnTo>
                  <a:lnTo>
                    <a:pt x="7563" y="528"/>
                  </a:lnTo>
                  <a:lnTo>
                    <a:pt x="7558" y="564"/>
                  </a:lnTo>
                  <a:lnTo>
                    <a:pt x="7556" y="604"/>
                  </a:lnTo>
                  <a:close/>
                  <a:moveTo>
                    <a:pt x="854" y="944"/>
                  </a:moveTo>
                  <a:lnTo>
                    <a:pt x="664" y="944"/>
                  </a:lnTo>
                  <a:lnTo>
                    <a:pt x="648" y="942"/>
                  </a:lnTo>
                  <a:lnTo>
                    <a:pt x="636" y="937"/>
                  </a:lnTo>
                  <a:lnTo>
                    <a:pt x="625" y="928"/>
                  </a:lnTo>
                  <a:lnTo>
                    <a:pt x="616" y="917"/>
                  </a:lnTo>
                  <a:lnTo>
                    <a:pt x="399" y="609"/>
                  </a:lnTo>
                  <a:lnTo>
                    <a:pt x="399" y="916"/>
                  </a:lnTo>
                  <a:lnTo>
                    <a:pt x="397" y="927"/>
                  </a:lnTo>
                  <a:lnTo>
                    <a:pt x="391" y="936"/>
                  </a:lnTo>
                  <a:lnTo>
                    <a:pt x="382" y="942"/>
                  </a:lnTo>
                  <a:lnTo>
                    <a:pt x="371" y="944"/>
                  </a:lnTo>
                  <a:lnTo>
                    <a:pt x="203" y="944"/>
                  </a:lnTo>
                  <a:lnTo>
                    <a:pt x="191" y="942"/>
                  </a:lnTo>
                  <a:lnTo>
                    <a:pt x="182" y="936"/>
                  </a:lnTo>
                  <a:lnTo>
                    <a:pt x="177" y="927"/>
                  </a:lnTo>
                  <a:lnTo>
                    <a:pt x="175" y="916"/>
                  </a:lnTo>
                  <a:lnTo>
                    <a:pt x="175" y="292"/>
                  </a:lnTo>
                  <a:lnTo>
                    <a:pt x="177" y="281"/>
                  </a:lnTo>
                  <a:lnTo>
                    <a:pt x="182" y="272"/>
                  </a:lnTo>
                  <a:lnTo>
                    <a:pt x="191" y="266"/>
                  </a:lnTo>
                  <a:lnTo>
                    <a:pt x="203" y="264"/>
                  </a:lnTo>
                  <a:lnTo>
                    <a:pt x="371" y="264"/>
                  </a:lnTo>
                  <a:lnTo>
                    <a:pt x="382" y="266"/>
                  </a:lnTo>
                  <a:lnTo>
                    <a:pt x="391" y="272"/>
                  </a:lnTo>
                  <a:lnTo>
                    <a:pt x="397" y="281"/>
                  </a:lnTo>
                  <a:lnTo>
                    <a:pt x="399" y="292"/>
                  </a:lnTo>
                  <a:lnTo>
                    <a:pt x="399" y="570"/>
                  </a:lnTo>
                  <a:lnTo>
                    <a:pt x="616" y="290"/>
                  </a:lnTo>
                  <a:lnTo>
                    <a:pt x="625" y="279"/>
                  </a:lnTo>
                  <a:lnTo>
                    <a:pt x="636" y="271"/>
                  </a:lnTo>
                  <a:lnTo>
                    <a:pt x="648" y="266"/>
                  </a:lnTo>
                  <a:lnTo>
                    <a:pt x="664" y="264"/>
                  </a:lnTo>
                  <a:lnTo>
                    <a:pt x="848" y="264"/>
                  </a:lnTo>
                  <a:lnTo>
                    <a:pt x="863" y="267"/>
                  </a:lnTo>
                  <a:lnTo>
                    <a:pt x="868" y="271"/>
                  </a:lnTo>
                  <a:lnTo>
                    <a:pt x="871" y="276"/>
                  </a:lnTo>
                  <a:lnTo>
                    <a:pt x="873" y="283"/>
                  </a:lnTo>
                  <a:lnTo>
                    <a:pt x="873" y="290"/>
                  </a:lnTo>
                  <a:lnTo>
                    <a:pt x="871" y="297"/>
                  </a:lnTo>
                  <a:lnTo>
                    <a:pt x="866" y="305"/>
                  </a:lnTo>
                  <a:lnTo>
                    <a:pt x="631" y="587"/>
                  </a:lnTo>
                  <a:lnTo>
                    <a:pt x="871" y="902"/>
                  </a:lnTo>
                  <a:lnTo>
                    <a:pt x="875" y="910"/>
                  </a:lnTo>
                  <a:lnTo>
                    <a:pt x="877" y="918"/>
                  </a:lnTo>
                  <a:lnTo>
                    <a:pt x="877" y="925"/>
                  </a:lnTo>
                  <a:lnTo>
                    <a:pt x="876" y="931"/>
                  </a:lnTo>
                  <a:lnTo>
                    <a:pt x="872" y="936"/>
                  </a:lnTo>
                  <a:lnTo>
                    <a:pt x="867" y="940"/>
                  </a:lnTo>
                  <a:lnTo>
                    <a:pt x="854" y="944"/>
                  </a:lnTo>
                  <a:close/>
                  <a:moveTo>
                    <a:pt x="0" y="1159"/>
                  </a:moveTo>
                  <a:lnTo>
                    <a:pt x="0" y="1082"/>
                  </a:lnTo>
                  <a:lnTo>
                    <a:pt x="2" y="1071"/>
                  </a:lnTo>
                  <a:lnTo>
                    <a:pt x="8" y="1062"/>
                  </a:lnTo>
                  <a:lnTo>
                    <a:pt x="17" y="1056"/>
                  </a:lnTo>
                  <a:lnTo>
                    <a:pt x="28" y="1054"/>
                  </a:lnTo>
                  <a:lnTo>
                    <a:pt x="522" y="1054"/>
                  </a:lnTo>
                  <a:lnTo>
                    <a:pt x="1017" y="1054"/>
                  </a:lnTo>
                  <a:lnTo>
                    <a:pt x="1029" y="1056"/>
                  </a:lnTo>
                  <a:lnTo>
                    <a:pt x="1038" y="1062"/>
                  </a:lnTo>
                  <a:lnTo>
                    <a:pt x="1043" y="1071"/>
                  </a:lnTo>
                  <a:lnTo>
                    <a:pt x="1045" y="1082"/>
                  </a:lnTo>
                  <a:lnTo>
                    <a:pt x="1045" y="1159"/>
                  </a:lnTo>
                  <a:lnTo>
                    <a:pt x="1043" y="1171"/>
                  </a:lnTo>
                  <a:lnTo>
                    <a:pt x="1038" y="1180"/>
                  </a:lnTo>
                  <a:lnTo>
                    <a:pt x="1029" y="1185"/>
                  </a:lnTo>
                  <a:lnTo>
                    <a:pt x="1017" y="1187"/>
                  </a:lnTo>
                  <a:lnTo>
                    <a:pt x="522" y="1187"/>
                  </a:lnTo>
                  <a:lnTo>
                    <a:pt x="28" y="1187"/>
                  </a:lnTo>
                  <a:lnTo>
                    <a:pt x="17" y="1185"/>
                  </a:lnTo>
                  <a:lnTo>
                    <a:pt x="8" y="1180"/>
                  </a:lnTo>
                  <a:lnTo>
                    <a:pt x="2" y="1171"/>
                  </a:lnTo>
                  <a:lnTo>
                    <a:pt x="0" y="1159"/>
                  </a:lnTo>
                  <a:close/>
                  <a:moveTo>
                    <a:pt x="0" y="126"/>
                  </a:moveTo>
                  <a:lnTo>
                    <a:pt x="0" y="48"/>
                  </a:lnTo>
                  <a:lnTo>
                    <a:pt x="2" y="37"/>
                  </a:lnTo>
                  <a:lnTo>
                    <a:pt x="8" y="28"/>
                  </a:lnTo>
                  <a:lnTo>
                    <a:pt x="17" y="22"/>
                  </a:lnTo>
                  <a:lnTo>
                    <a:pt x="28" y="20"/>
                  </a:lnTo>
                  <a:lnTo>
                    <a:pt x="522" y="20"/>
                  </a:lnTo>
                  <a:lnTo>
                    <a:pt x="1017" y="20"/>
                  </a:lnTo>
                  <a:lnTo>
                    <a:pt x="1029" y="22"/>
                  </a:lnTo>
                  <a:lnTo>
                    <a:pt x="1038" y="28"/>
                  </a:lnTo>
                  <a:lnTo>
                    <a:pt x="1043" y="37"/>
                  </a:lnTo>
                  <a:lnTo>
                    <a:pt x="1045" y="48"/>
                  </a:lnTo>
                  <a:lnTo>
                    <a:pt x="1045" y="126"/>
                  </a:lnTo>
                  <a:lnTo>
                    <a:pt x="1043" y="137"/>
                  </a:lnTo>
                  <a:lnTo>
                    <a:pt x="1038" y="146"/>
                  </a:lnTo>
                  <a:lnTo>
                    <a:pt x="1029" y="151"/>
                  </a:lnTo>
                  <a:lnTo>
                    <a:pt x="1017" y="154"/>
                  </a:lnTo>
                  <a:lnTo>
                    <a:pt x="522" y="154"/>
                  </a:lnTo>
                  <a:lnTo>
                    <a:pt x="28" y="154"/>
                  </a:lnTo>
                  <a:lnTo>
                    <a:pt x="17" y="151"/>
                  </a:lnTo>
                  <a:lnTo>
                    <a:pt x="8" y="146"/>
                  </a:lnTo>
                  <a:lnTo>
                    <a:pt x="2" y="137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205B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endParaRPr>
            </a:p>
          </p:txBody>
        </p:sp>
      </p:grp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2FEF0B2-92C0-C65D-2A88-C3D83672BE1F}"/>
              </a:ext>
            </a:extLst>
          </p:cNvPr>
          <p:cNvSpPr txBox="1">
            <a:spLocks/>
          </p:cNvSpPr>
          <p:nvPr/>
        </p:nvSpPr>
        <p:spPr>
          <a:xfrm>
            <a:off x="8219661" y="1987611"/>
            <a:ext cx="3564971" cy="41052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39750" indent="-27305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806450" indent="-2667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346200" indent="-2746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612900" indent="-2667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878013" indent="-265113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2152650" indent="-2746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600" b="0" i="0" u="none" strike="noStrike" kern="1200" cap="none" spc="0" normalizeH="0" baseline="0" noProof="1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Regular" panose="00000500000000000000" pitchFamily="2" charset="0"/>
                <a:ea typeface="+mn-ea"/>
                <a:cs typeface="+mn-cs"/>
              </a:rPr>
              <a:t>Rakentamisen yrityspalvelu on osa </a:t>
            </a:r>
            <a:br>
              <a:rPr kumimoji="0" lang="fi-FI" sz="1600" b="0" i="0" u="none" strike="noStrike" kern="1200" cap="none" spc="0" normalizeH="0" baseline="0" noProof="1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Regular" panose="00000500000000000000" pitchFamily="2" charset="0"/>
                <a:ea typeface="+mn-ea"/>
                <a:cs typeface="+mn-cs"/>
              </a:rPr>
            </a:br>
            <a:r>
              <a:rPr kumimoji="0" lang="fi-FI" sz="1600" b="0" i="0" u="none" strike="noStrike" kern="1200" cap="none" spc="0" normalizeH="0" baseline="0" noProof="1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Regular" panose="00000500000000000000" pitchFamily="2" charset="0"/>
                <a:ea typeface="+mn-ea"/>
                <a:cs typeface="+mn-cs"/>
              </a:rPr>
              <a:t>K-ryhmää ja palvelee yhdessä </a:t>
            </a:r>
            <a:br>
              <a:rPr kumimoji="0" lang="fi-FI" sz="1600" b="0" i="0" u="none" strike="noStrike" kern="1200" cap="none" spc="0" normalizeH="0" baseline="0" noProof="1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Regular" panose="00000500000000000000" pitchFamily="2" charset="0"/>
                <a:ea typeface="+mn-ea"/>
                <a:cs typeface="+mn-cs"/>
              </a:rPr>
            </a:br>
            <a:r>
              <a:rPr kumimoji="0" lang="fi-FI" sz="1600" b="0" i="0" u="none" strike="noStrike" kern="1200" cap="none" spc="0" normalizeH="0" baseline="0" noProof="1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Regular" panose="00000500000000000000" pitchFamily="2" charset="0"/>
                <a:ea typeface="+mn-ea"/>
                <a:cs typeface="+mn-cs"/>
              </a:rPr>
              <a:t>K-Rauta-kauppojen kanssa erityisesti suurempia ja valtakunnallisia yritysasiakkaita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fi-FI" sz="1600" noProof="1">
              <a:solidFill>
                <a:srgbClr val="54585A"/>
              </a:solidFill>
              <a:latin typeface="Skatta Sans Regular" panose="00000500000000000000" pitchFamily="2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i-FI" sz="1600" dirty="0"/>
              <a:t>Jos työmaasi sijaitsevat laajemmalla alueella tai eri puolilla Suomea, voit hankkia tarvittavat materiaalit useammasta K-Raudasta yhdellä laskulla ja yhdenmukaisella hinnoittelulla </a:t>
            </a:r>
            <a:r>
              <a:rPr lang="fi-FI" sz="1600" dirty="0">
                <a:latin typeface="+mj-lt"/>
                <a:hlinkClick r:id="rId3"/>
              </a:rPr>
              <a:t>K-ryhmän rakentamisen yrityspalvelun</a:t>
            </a:r>
            <a:r>
              <a:rPr lang="fi-FI" sz="1600" dirty="0">
                <a:latin typeface="+mj-lt"/>
              </a:rPr>
              <a:t> </a:t>
            </a:r>
            <a:r>
              <a:rPr lang="fi-FI" sz="1600" dirty="0"/>
              <a:t>kautta.</a:t>
            </a:r>
            <a:endParaRPr kumimoji="0" lang="fi-FI" sz="1600" b="0" i="0" u="none" strike="noStrike" kern="1200" cap="none" spc="0" normalizeH="0" baseline="0" noProof="0" dirty="0">
              <a:ln>
                <a:noFill/>
              </a:ln>
              <a:solidFill>
                <a:srgbClr val="54585A"/>
              </a:solidFill>
              <a:effectLst/>
              <a:uLnTx/>
              <a:uFillTx/>
              <a:latin typeface="Skatta Sans Regular" panose="00000500000000000000" pitchFamily="2" charset="0"/>
              <a:ea typeface="+mn-ea"/>
              <a:cs typeface="+mn-cs"/>
            </a:endParaRPr>
          </a:p>
        </p:txBody>
      </p:sp>
      <p:sp>
        <p:nvSpPr>
          <p:cNvPr id="3" name="Tekstiruutu 2">
            <a:extLst>
              <a:ext uri="{FF2B5EF4-FFF2-40B4-BE49-F238E27FC236}">
                <a16:creationId xmlns:a16="http://schemas.microsoft.com/office/drawing/2014/main" id="{F018B7AB-B567-5C37-9FB4-81A339DF5A91}"/>
              </a:ext>
            </a:extLst>
          </p:cNvPr>
          <p:cNvSpPr txBox="1"/>
          <p:nvPr/>
        </p:nvSpPr>
        <p:spPr>
          <a:xfrm>
            <a:off x="695400" y="1700138"/>
            <a:ext cx="1639854" cy="318924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srgbClr val="FF6900"/>
                </a:solidFill>
                <a:effectLst/>
                <a:uLnTx/>
                <a:uFillTx/>
                <a:latin typeface="Skatta Sans Black"/>
                <a:ea typeface="+mn-ea"/>
                <a:cs typeface="+mn-cs"/>
              </a:rPr>
              <a:t>K-Rauta-kaupat</a:t>
            </a:r>
          </a:p>
        </p:txBody>
      </p:sp>
      <p:sp>
        <p:nvSpPr>
          <p:cNvPr id="6" name="Tekstiruutu 5">
            <a:extLst>
              <a:ext uri="{FF2B5EF4-FFF2-40B4-BE49-F238E27FC236}">
                <a16:creationId xmlns:a16="http://schemas.microsoft.com/office/drawing/2014/main" id="{E080A6CA-A7FC-2F73-8737-6DA2D0273218}"/>
              </a:ext>
            </a:extLst>
          </p:cNvPr>
          <p:cNvSpPr txBox="1"/>
          <p:nvPr/>
        </p:nvSpPr>
        <p:spPr>
          <a:xfrm>
            <a:off x="8109283" y="1700137"/>
            <a:ext cx="3646236" cy="318924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srgbClr val="FF6900"/>
                </a:solidFill>
                <a:effectLst/>
                <a:uLnTx/>
                <a:uFillTx/>
                <a:latin typeface="Skatta Sans Black"/>
                <a:ea typeface="+mn-ea"/>
                <a:cs typeface="+mn-cs"/>
              </a:rPr>
              <a:t>Rakentamisen yrityspalvelu, K-ryhmä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383AAB33-BF5C-B0AE-8CE6-51EBF92795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0" i="0" u="none" strike="noStrike" kern="1200" cap="none" spc="0" normalizeH="0" baseline="0" noProof="0">
                <a:ln>
                  <a:noFill/>
                </a:ln>
                <a:solidFill>
                  <a:srgbClr val="FF6900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rPr>
              <a:t>RIA - RKL yrittäjäpäivä 1.11.2023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6900"/>
              </a:solidFill>
              <a:effectLst/>
              <a:uLnTx/>
              <a:uFillTx/>
              <a:latin typeface="Skatta Sans Regula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7774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Placeholder 17" descr="A room with shelves of books and a person sitting in the background&#10;&#10;Description automatically generated">
            <a:extLst>
              <a:ext uri="{FF2B5EF4-FFF2-40B4-BE49-F238E27FC236}">
                <a16:creationId xmlns:a16="http://schemas.microsoft.com/office/drawing/2014/main" id="{B5798118-9807-A7E3-82BC-B64A72F48252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9E3763C-6C28-FD7F-81A1-32DF87A079F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6C7843D7-5FA8-0CAC-DDA5-8C9E2235095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696400" y="5670"/>
            <a:ext cx="2063552" cy="1839005"/>
          </a:xfrm>
          <a:custGeom>
            <a:avLst/>
            <a:gdLst>
              <a:gd name="T0" fmla="*/ 1508 w 3437"/>
              <a:gd name="T1" fmla="*/ 2040 h 3063"/>
              <a:gd name="T2" fmla="*/ 937 w 3437"/>
              <a:gd name="T3" fmla="*/ 2040 h 3063"/>
              <a:gd name="T4" fmla="*/ 573 w 3437"/>
              <a:gd name="T5" fmla="*/ 1531 h 3063"/>
              <a:gd name="T6" fmla="*/ 210 w 3437"/>
              <a:gd name="T7" fmla="*/ 1023 h 3063"/>
              <a:gd name="T8" fmla="*/ 780 w 3437"/>
              <a:gd name="T9" fmla="*/ 1023 h 3063"/>
              <a:gd name="T10" fmla="*/ 1144 w 3437"/>
              <a:gd name="T11" fmla="*/ 1531 h 3063"/>
              <a:gd name="T12" fmla="*/ 1508 w 3437"/>
              <a:gd name="T13" fmla="*/ 2040 h 3063"/>
              <a:gd name="T14" fmla="*/ 1719 w 3437"/>
              <a:gd name="T15" fmla="*/ 2040 h 3063"/>
              <a:gd name="T16" fmla="*/ 1354 w 3437"/>
              <a:gd name="T17" fmla="*/ 1531 h 3063"/>
              <a:gd name="T18" fmla="*/ 990 w 3437"/>
              <a:gd name="T19" fmla="*/ 1022 h 3063"/>
              <a:gd name="T20" fmla="*/ 1354 w 3437"/>
              <a:gd name="T21" fmla="*/ 510 h 3063"/>
              <a:gd name="T22" fmla="*/ 1719 w 3437"/>
              <a:gd name="T23" fmla="*/ 0 h 3063"/>
              <a:gd name="T24" fmla="*/ 1224 w 3437"/>
              <a:gd name="T25" fmla="*/ 0 h 3063"/>
              <a:gd name="T26" fmla="*/ 729 w 3437"/>
              <a:gd name="T27" fmla="*/ 0 h 3063"/>
              <a:gd name="T28" fmla="*/ 364 w 3437"/>
              <a:gd name="T29" fmla="*/ 510 h 3063"/>
              <a:gd name="T30" fmla="*/ 0 w 3437"/>
              <a:gd name="T31" fmla="*/ 1022 h 3063"/>
              <a:gd name="T32" fmla="*/ 364 w 3437"/>
              <a:gd name="T33" fmla="*/ 1531 h 3063"/>
              <a:gd name="T34" fmla="*/ 729 w 3437"/>
              <a:gd name="T35" fmla="*/ 2041 h 3063"/>
              <a:gd name="T36" fmla="*/ 364 w 3437"/>
              <a:gd name="T37" fmla="*/ 2552 h 3063"/>
              <a:gd name="T38" fmla="*/ 0 w 3437"/>
              <a:gd name="T39" fmla="*/ 3063 h 3063"/>
              <a:gd name="T40" fmla="*/ 494 w 3437"/>
              <a:gd name="T41" fmla="*/ 3063 h 3063"/>
              <a:gd name="T42" fmla="*/ 990 w 3437"/>
              <a:gd name="T43" fmla="*/ 3063 h 3063"/>
              <a:gd name="T44" fmla="*/ 1354 w 3437"/>
              <a:gd name="T45" fmla="*/ 2552 h 3063"/>
              <a:gd name="T46" fmla="*/ 1719 w 3437"/>
              <a:gd name="T47" fmla="*/ 2041 h 3063"/>
              <a:gd name="T48" fmla="*/ 2212 w 3437"/>
              <a:gd name="T49" fmla="*/ 2041 h 3063"/>
              <a:gd name="T50" fmla="*/ 2707 w 3437"/>
              <a:gd name="T51" fmla="*/ 2041 h 3063"/>
              <a:gd name="T52" fmla="*/ 3072 w 3437"/>
              <a:gd name="T53" fmla="*/ 1530 h 3063"/>
              <a:gd name="T54" fmla="*/ 3437 w 3437"/>
              <a:gd name="T55" fmla="*/ 1019 h 3063"/>
              <a:gd name="T56" fmla="*/ 2942 w 3437"/>
              <a:gd name="T57" fmla="*/ 1019 h 3063"/>
              <a:gd name="T58" fmla="*/ 2447 w 3437"/>
              <a:gd name="T59" fmla="*/ 1019 h 3063"/>
              <a:gd name="T60" fmla="*/ 2083 w 3437"/>
              <a:gd name="T61" fmla="*/ 1529 h 3063"/>
              <a:gd name="T62" fmla="*/ 1719 w 3437"/>
              <a:gd name="T63" fmla="*/ 2040 h 30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437" h="3063">
                <a:moveTo>
                  <a:pt x="1508" y="2040"/>
                </a:moveTo>
                <a:lnTo>
                  <a:pt x="937" y="2040"/>
                </a:lnTo>
                <a:lnTo>
                  <a:pt x="573" y="1531"/>
                </a:lnTo>
                <a:lnTo>
                  <a:pt x="210" y="1023"/>
                </a:lnTo>
                <a:lnTo>
                  <a:pt x="780" y="1023"/>
                </a:lnTo>
                <a:lnTo>
                  <a:pt x="1144" y="1531"/>
                </a:lnTo>
                <a:lnTo>
                  <a:pt x="1508" y="2040"/>
                </a:lnTo>
                <a:close/>
                <a:moveTo>
                  <a:pt x="1719" y="2040"/>
                </a:moveTo>
                <a:lnTo>
                  <a:pt x="1354" y="1531"/>
                </a:lnTo>
                <a:lnTo>
                  <a:pt x="990" y="1022"/>
                </a:lnTo>
                <a:lnTo>
                  <a:pt x="1354" y="510"/>
                </a:lnTo>
                <a:lnTo>
                  <a:pt x="1719" y="0"/>
                </a:lnTo>
                <a:lnTo>
                  <a:pt x="1224" y="0"/>
                </a:lnTo>
                <a:lnTo>
                  <a:pt x="729" y="0"/>
                </a:lnTo>
                <a:lnTo>
                  <a:pt x="364" y="510"/>
                </a:lnTo>
                <a:lnTo>
                  <a:pt x="0" y="1022"/>
                </a:lnTo>
                <a:lnTo>
                  <a:pt x="364" y="1531"/>
                </a:lnTo>
                <a:lnTo>
                  <a:pt x="729" y="2041"/>
                </a:lnTo>
                <a:lnTo>
                  <a:pt x="364" y="2552"/>
                </a:lnTo>
                <a:lnTo>
                  <a:pt x="0" y="3063"/>
                </a:lnTo>
                <a:lnTo>
                  <a:pt x="494" y="3063"/>
                </a:lnTo>
                <a:lnTo>
                  <a:pt x="990" y="3063"/>
                </a:lnTo>
                <a:lnTo>
                  <a:pt x="1354" y="2552"/>
                </a:lnTo>
                <a:lnTo>
                  <a:pt x="1719" y="2041"/>
                </a:lnTo>
                <a:lnTo>
                  <a:pt x="2212" y="2041"/>
                </a:lnTo>
                <a:lnTo>
                  <a:pt x="2707" y="2041"/>
                </a:lnTo>
                <a:lnTo>
                  <a:pt x="3072" y="1530"/>
                </a:lnTo>
                <a:lnTo>
                  <a:pt x="3437" y="1019"/>
                </a:lnTo>
                <a:lnTo>
                  <a:pt x="2942" y="1019"/>
                </a:lnTo>
                <a:lnTo>
                  <a:pt x="2447" y="1019"/>
                </a:lnTo>
                <a:lnTo>
                  <a:pt x="2083" y="1529"/>
                </a:lnTo>
                <a:lnTo>
                  <a:pt x="1719" y="204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B1E1D62-B804-BAB3-59B1-802FA8423C0B}"/>
              </a:ext>
            </a:extLst>
          </p:cNvPr>
          <p:cNvGrpSpPr/>
          <p:nvPr/>
        </p:nvGrpSpPr>
        <p:grpSpPr>
          <a:xfrm>
            <a:off x="2566988" y="3048793"/>
            <a:ext cx="7056438" cy="1096452"/>
            <a:chOff x="2566988" y="3048793"/>
            <a:chExt cx="7056438" cy="1096452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EE7D463F-F374-7815-A963-EFFCE9DA67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66988" y="3048793"/>
              <a:ext cx="7056438" cy="760413"/>
            </a:xfrm>
            <a:custGeom>
              <a:avLst/>
              <a:gdLst>
                <a:gd name="T0" fmla="*/ 819 w 8889"/>
                <a:gd name="T1" fmla="*/ 789 h 958"/>
                <a:gd name="T2" fmla="*/ 929 w 8889"/>
                <a:gd name="T3" fmla="*/ 402 h 958"/>
                <a:gd name="T4" fmla="*/ 690 w 8889"/>
                <a:gd name="T5" fmla="*/ 73 h 958"/>
                <a:gd name="T6" fmla="*/ 458 w 8889"/>
                <a:gd name="T7" fmla="*/ 247 h 958"/>
                <a:gd name="T8" fmla="*/ 600 w 8889"/>
                <a:gd name="T9" fmla="*/ 455 h 958"/>
                <a:gd name="T10" fmla="*/ 501 w 8889"/>
                <a:gd name="T11" fmla="*/ 693 h 958"/>
                <a:gd name="T12" fmla="*/ 1073 w 8889"/>
                <a:gd name="T13" fmla="*/ 14 h 958"/>
                <a:gd name="T14" fmla="*/ 3816 w 8889"/>
                <a:gd name="T15" fmla="*/ 878 h 958"/>
                <a:gd name="T16" fmla="*/ 4037 w 8889"/>
                <a:gd name="T17" fmla="*/ 530 h 958"/>
                <a:gd name="T18" fmla="*/ 3908 w 8889"/>
                <a:gd name="T19" fmla="*/ 154 h 958"/>
                <a:gd name="T20" fmla="*/ 3504 w 8889"/>
                <a:gd name="T21" fmla="*/ 1 h 958"/>
                <a:gd name="T22" fmla="*/ 3140 w 8889"/>
                <a:gd name="T23" fmla="*/ 170 h 958"/>
                <a:gd name="T24" fmla="*/ 3034 w 8889"/>
                <a:gd name="T25" fmla="*/ 578 h 958"/>
                <a:gd name="T26" fmla="*/ 3245 w 8889"/>
                <a:gd name="T27" fmla="*/ 878 h 958"/>
                <a:gd name="T28" fmla="*/ 3728 w 8889"/>
                <a:gd name="T29" fmla="*/ 922 h 958"/>
                <a:gd name="T30" fmla="*/ 3373 w 8889"/>
                <a:gd name="T31" fmla="*/ 376 h 958"/>
                <a:gd name="T32" fmla="*/ 3550 w 8889"/>
                <a:gd name="T33" fmla="*/ 269 h 958"/>
                <a:gd name="T34" fmla="*/ 3696 w 8889"/>
                <a:gd name="T35" fmla="*/ 394 h 958"/>
                <a:gd name="T36" fmla="*/ 3634 w 8889"/>
                <a:gd name="T37" fmla="*/ 657 h 958"/>
                <a:gd name="T38" fmla="*/ 3403 w 8889"/>
                <a:gd name="T39" fmla="*/ 632 h 958"/>
                <a:gd name="T40" fmla="*/ 4420 w 8889"/>
                <a:gd name="T41" fmla="*/ 955 h 958"/>
                <a:gd name="T42" fmla="*/ 4759 w 8889"/>
                <a:gd name="T43" fmla="*/ 861 h 958"/>
                <a:gd name="T44" fmla="*/ 4826 w 8889"/>
                <a:gd name="T45" fmla="*/ 599 h 958"/>
                <a:gd name="T46" fmla="*/ 4582 w 8889"/>
                <a:gd name="T47" fmla="*/ 424 h 958"/>
                <a:gd name="T48" fmla="*/ 4333 w 8889"/>
                <a:gd name="T49" fmla="*/ 324 h 958"/>
                <a:gd name="T50" fmla="*/ 4401 w 8889"/>
                <a:gd name="T51" fmla="*/ 145 h 958"/>
                <a:gd name="T52" fmla="*/ 4795 w 8889"/>
                <a:gd name="T53" fmla="*/ 79 h 958"/>
                <a:gd name="T54" fmla="*/ 4428 w 8889"/>
                <a:gd name="T55" fmla="*/ 10 h 958"/>
                <a:gd name="T56" fmla="*/ 4214 w 8889"/>
                <a:gd name="T57" fmla="*/ 184 h 958"/>
                <a:gd name="T58" fmla="*/ 4258 w 8889"/>
                <a:gd name="T59" fmla="*/ 439 h 958"/>
                <a:gd name="T60" fmla="*/ 4605 w 8889"/>
                <a:gd name="T61" fmla="*/ 561 h 958"/>
                <a:gd name="T62" fmla="*/ 4701 w 8889"/>
                <a:gd name="T63" fmla="*/ 720 h 958"/>
                <a:gd name="T64" fmla="*/ 4452 w 8889"/>
                <a:gd name="T65" fmla="*/ 837 h 958"/>
                <a:gd name="T66" fmla="*/ 6352 w 8889"/>
                <a:gd name="T67" fmla="*/ 901 h 958"/>
                <a:gd name="T68" fmla="*/ 6501 w 8889"/>
                <a:gd name="T69" fmla="*/ 602 h 958"/>
                <a:gd name="T70" fmla="*/ 6281 w 8889"/>
                <a:gd name="T71" fmla="*/ 801 h 958"/>
                <a:gd name="T72" fmla="*/ 6050 w 8889"/>
                <a:gd name="T73" fmla="*/ 818 h 958"/>
                <a:gd name="T74" fmla="*/ 5933 w 8889"/>
                <a:gd name="T75" fmla="*/ 579 h 958"/>
                <a:gd name="T76" fmla="*/ 5900 w 8889"/>
                <a:gd name="T77" fmla="*/ 858 h 958"/>
                <a:gd name="T78" fmla="*/ 6207 w 8889"/>
                <a:gd name="T79" fmla="*/ 955 h 958"/>
                <a:gd name="T80" fmla="*/ 7228 w 8889"/>
                <a:gd name="T81" fmla="*/ 211 h 958"/>
                <a:gd name="T82" fmla="*/ 7344 w 8889"/>
                <a:gd name="T83" fmla="*/ 521 h 958"/>
                <a:gd name="T84" fmla="*/ 7177 w 8889"/>
                <a:gd name="T85" fmla="*/ 783 h 958"/>
                <a:gd name="T86" fmla="*/ 7121 w 8889"/>
                <a:gd name="T87" fmla="*/ 933 h 958"/>
                <a:gd name="T88" fmla="*/ 7430 w 8889"/>
                <a:gd name="T89" fmla="*/ 697 h 958"/>
                <a:gd name="T90" fmla="*/ 7444 w 8889"/>
                <a:gd name="T91" fmla="*/ 294 h 958"/>
                <a:gd name="T92" fmla="*/ 7154 w 8889"/>
                <a:gd name="T93" fmla="*/ 35 h 958"/>
                <a:gd name="T94" fmla="*/ 8277 w 8889"/>
                <a:gd name="T95" fmla="*/ 779 h 958"/>
                <a:gd name="T96" fmla="*/ 8142 w 8889"/>
                <a:gd name="T97" fmla="*/ 499 h 958"/>
                <a:gd name="T98" fmla="*/ 8277 w 8889"/>
                <a:gd name="T99" fmla="*/ 180 h 958"/>
                <a:gd name="T100" fmla="*/ 8551 w 8889"/>
                <a:gd name="T101" fmla="*/ 141 h 958"/>
                <a:gd name="T102" fmla="*/ 8746 w 8889"/>
                <a:gd name="T103" fmla="*/ 387 h 958"/>
                <a:gd name="T104" fmla="*/ 8683 w 8889"/>
                <a:gd name="T105" fmla="*/ 711 h 958"/>
                <a:gd name="T106" fmla="*/ 8432 w 8889"/>
                <a:gd name="T107" fmla="*/ 837 h 958"/>
                <a:gd name="T108" fmla="*/ 8786 w 8889"/>
                <a:gd name="T109" fmla="*/ 787 h 958"/>
                <a:gd name="T110" fmla="*/ 8868 w 8889"/>
                <a:gd name="T111" fmla="*/ 334 h 958"/>
                <a:gd name="T112" fmla="*/ 8675 w 8889"/>
                <a:gd name="T113" fmla="*/ 68 h 958"/>
                <a:gd name="T114" fmla="*/ 8256 w 8889"/>
                <a:gd name="T115" fmla="*/ 47 h 958"/>
                <a:gd name="T116" fmla="*/ 8027 w 8889"/>
                <a:gd name="T117" fmla="*/ 334 h 958"/>
                <a:gd name="T118" fmla="*/ 8095 w 8889"/>
                <a:gd name="T119" fmla="*/ 769 h 958"/>
                <a:gd name="T120" fmla="*/ 8425 w 8889"/>
                <a:gd name="T121" fmla="*/ 958 h 9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889" h="958">
                  <a:moveTo>
                    <a:pt x="0" y="946"/>
                  </a:moveTo>
                  <a:lnTo>
                    <a:pt x="426" y="946"/>
                  </a:lnTo>
                  <a:lnTo>
                    <a:pt x="452" y="944"/>
                  </a:lnTo>
                  <a:lnTo>
                    <a:pt x="477" y="943"/>
                  </a:lnTo>
                  <a:lnTo>
                    <a:pt x="504" y="940"/>
                  </a:lnTo>
                  <a:lnTo>
                    <a:pt x="529" y="937"/>
                  </a:lnTo>
                  <a:lnTo>
                    <a:pt x="552" y="933"/>
                  </a:lnTo>
                  <a:lnTo>
                    <a:pt x="577" y="927"/>
                  </a:lnTo>
                  <a:lnTo>
                    <a:pt x="601" y="921"/>
                  </a:lnTo>
                  <a:lnTo>
                    <a:pt x="625" y="914"/>
                  </a:lnTo>
                  <a:lnTo>
                    <a:pt x="647" y="904"/>
                  </a:lnTo>
                  <a:lnTo>
                    <a:pt x="669" y="896"/>
                  </a:lnTo>
                  <a:lnTo>
                    <a:pt x="690" y="885"/>
                  </a:lnTo>
                  <a:lnTo>
                    <a:pt x="711" y="873"/>
                  </a:lnTo>
                  <a:lnTo>
                    <a:pt x="730" y="862"/>
                  </a:lnTo>
                  <a:lnTo>
                    <a:pt x="750" y="848"/>
                  </a:lnTo>
                  <a:lnTo>
                    <a:pt x="768" y="835"/>
                  </a:lnTo>
                  <a:lnTo>
                    <a:pt x="786" y="821"/>
                  </a:lnTo>
                  <a:lnTo>
                    <a:pt x="803" y="805"/>
                  </a:lnTo>
                  <a:lnTo>
                    <a:pt x="819" y="789"/>
                  </a:lnTo>
                  <a:lnTo>
                    <a:pt x="833" y="771"/>
                  </a:lnTo>
                  <a:lnTo>
                    <a:pt x="849" y="754"/>
                  </a:lnTo>
                  <a:lnTo>
                    <a:pt x="861" y="735"/>
                  </a:lnTo>
                  <a:lnTo>
                    <a:pt x="874" y="715"/>
                  </a:lnTo>
                  <a:lnTo>
                    <a:pt x="885" y="695"/>
                  </a:lnTo>
                  <a:lnTo>
                    <a:pt x="894" y="674"/>
                  </a:lnTo>
                  <a:lnTo>
                    <a:pt x="904" y="652"/>
                  </a:lnTo>
                  <a:lnTo>
                    <a:pt x="913" y="629"/>
                  </a:lnTo>
                  <a:lnTo>
                    <a:pt x="915" y="617"/>
                  </a:lnTo>
                  <a:lnTo>
                    <a:pt x="920" y="606"/>
                  </a:lnTo>
                  <a:lnTo>
                    <a:pt x="925" y="582"/>
                  </a:lnTo>
                  <a:lnTo>
                    <a:pt x="926" y="570"/>
                  </a:lnTo>
                  <a:lnTo>
                    <a:pt x="929" y="557"/>
                  </a:lnTo>
                  <a:lnTo>
                    <a:pt x="932" y="532"/>
                  </a:lnTo>
                  <a:lnTo>
                    <a:pt x="933" y="506"/>
                  </a:lnTo>
                  <a:lnTo>
                    <a:pt x="935" y="480"/>
                  </a:lnTo>
                  <a:lnTo>
                    <a:pt x="933" y="453"/>
                  </a:lnTo>
                  <a:lnTo>
                    <a:pt x="932" y="427"/>
                  </a:lnTo>
                  <a:lnTo>
                    <a:pt x="931" y="414"/>
                  </a:lnTo>
                  <a:lnTo>
                    <a:pt x="929" y="402"/>
                  </a:lnTo>
                  <a:lnTo>
                    <a:pt x="925" y="377"/>
                  </a:lnTo>
                  <a:lnTo>
                    <a:pt x="920" y="353"/>
                  </a:lnTo>
                  <a:lnTo>
                    <a:pt x="913" y="330"/>
                  </a:lnTo>
                  <a:lnTo>
                    <a:pt x="904" y="308"/>
                  </a:lnTo>
                  <a:lnTo>
                    <a:pt x="900" y="297"/>
                  </a:lnTo>
                  <a:lnTo>
                    <a:pt x="894" y="285"/>
                  </a:lnTo>
                  <a:lnTo>
                    <a:pt x="890" y="274"/>
                  </a:lnTo>
                  <a:lnTo>
                    <a:pt x="885" y="263"/>
                  </a:lnTo>
                  <a:lnTo>
                    <a:pt x="874" y="244"/>
                  </a:lnTo>
                  <a:lnTo>
                    <a:pt x="861" y="224"/>
                  </a:lnTo>
                  <a:lnTo>
                    <a:pt x="849" y="205"/>
                  </a:lnTo>
                  <a:lnTo>
                    <a:pt x="833" y="187"/>
                  </a:lnTo>
                  <a:lnTo>
                    <a:pt x="819" y="170"/>
                  </a:lnTo>
                  <a:lnTo>
                    <a:pt x="803" y="154"/>
                  </a:lnTo>
                  <a:lnTo>
                    <a:pt x="786" y="139"/>
                  </a:lnTo>
                  <a:lnTo>
                    <a:pt x="768" y="123"/>
                  </a:lnTo>
                  <a:lnTo>
                    <a:pt x="750" y="109"/>
                  </a:lnTo>
                  <a:lnTo>
                    <a:pt x="730" y="97"/>
                  </a:lnTo>
                  <a:lnTo>
                    <a:pt x="711" y="84"/>
                  </a:lnTo>
                  <a:lnTo>
                    <a:pt x="690" y="73"/>
                  </a:lnTo>
                  <a:lnTo>
                    <a:pt x="669" y="64"/>
                  </a:lnTo>
                  <a:lnTo>
                    <a:pt x="647" y="54"/>
                  </a:lnTo>
                  <a:lnTo>
                    <a:pt x="636" y="50"/>
                  </a:lnTo>
                  <a:lnTo>
                    <a:pt x="625" y="46"/>
                  </a:lnTo>
                  <a:lnTo>
                    <a:pt x="601" y="39"/>
                  </a:lnTo>
                  <a:lnTo>
                    <a:pt x="577" y="32"/>
                  </a:lnTo>
                  <a:lnTo>
                    <a:pt x="552" y="26"/>
                  </a:lnTo>
                  <a:lnTo>
                    <a:pt x="529" y="22"/>
                  </a:lnTo>
                  <a:lnTo>
                    <a:pt x="504" y="18"/>
                  </a:lnTo>
                  <a:lnTo>
                    <a:pt x="477" y="16"/>
                  </a:lnTo>
                  <a:lnTo>
                    <a:pt x="452" y="14"/>
                  </a:lnTo>
                  <a:lnTo>
                    <a:pt x="426" y="14"/>
                  </a:lnTo>
                  <a:lnTo>
                    <a:pt x="0" y="14"/>
                  </a:lnTo>
                  <a:lnTo>
                    <a:pt x="0" y="946"/>
                  </a:lnTo>
                  <a:close/>
                  <a:moveTo>
                    <a:pt x="327" y="717"/>
                  </a:moveTo>
                  <a:lnTo>
                    <a:pt x="327" y="243"/>
                  </a:lnTo>
                  <a:lnTo>
                    <a:pt x="419" y="243"/>
                  </a:lnTo>
                  <a:lnTo>
                    <a:pt x="438" y="244"/>
                  </a:lnTo>
                  <a:lnTo>
                    <a:pt x="448" y="245"/>
                  </a:lnTo>
                  <a:lnTo>
                    <a:pt x="458" y="247"/>
                  </a:lnTo>
                  <a:lnTo>
                    <a:pt x="466" y="249"/>
                  </a:lnTo>
                  <a:lnTo>
                    <a:pt x="476" y="252"/>
                  </a:lnTo>
                  <a:lnTo>
                    <a:pt x="484" y="256"/>
                  </a:lnTo>
                  <a:lnTo>
                    <a:pt x="492" y="261"/>
                  </a:lnTo>
                  <a:lnTo>
                    <a:pt x="509" y="270"/>
                  </a:lnTo>
                  <a:lnTo>
                    <a:pt x="516" y="276"/>
                  </a:lnTo>
                  <a:lnTo>
                    <a:pt x="523" y="281"/>
                  </a:lnTo>
                  <a:lnTo>
                    <a:pt x="537" y="295"/>
                  </a:lnTo>
                  <a:lnTo>
                    <a:pt x="544" y="302"/>
                  </a:lnTo>
                  <a:lnTo>
                    <a:pt x="549" y="310"/>
                  </a:lnTo>
                  <a:lnTo>
                    <a:pt x="556" y="319"/>
                  </a:lnTo>
                  <a:lnTo>
                    <a:pt x="561" y="327"/>
                  </a:lnTo>
                  <a:lnTo>
                    <a:pt x="572" y="345"/>
                  </a:lnTo>
                  <a:lnTo>
                    <a:pt x="580" y="365"/>
                  </a:lnTo>
                  <a:lnTo>
                    <a:pt x="584" y="376"/>
                  </a:lnTo>
                  <a:lnTo>
                    <a:pt x="587" y="385"/>
                  </a:lnTo>
                  <a:lnTo>
                    <a:pt x="593" y="408"/>
                  </a:lnTo>
                  <a:lnTo>
                    <a:pt x="597" y="431"/>
                  </a:lnTo>
                  <a:lnTo>
                    <a:pt x="598" y="442"/>
                  </a:lnTo>
                  <a:lnTo>
                    <a:pt x="600" y="455"/>
                  </a:lnTo>
                  <a:lnTo>
                    <a:pt x="601" y="467"/>
                  </a:lnTo>
                  <a:lnTo>
                    <a:pt x="601" y="480"/>
                  </a:lnTo>
                  <a:lnTo>
                    <a:pt x="600" y="505"/>
                  </a:lnTo>
                  <a:lnTo>
                    <a:pt x="597" y="528"/>
                  </a:lnTo>
                  <a:lnTo>
                    <a:pt x="595" y="539"/>
                  </a:lnTo>
                  <a:lnTo>
                    <a:pt x="593" y="552"/>
                  </a:lnTo>
                  <a:lnTo>
                    <a:pt x="590" y="563"/>
                  </a:lnTo>
                  <a:lnTo>
                    <a:pt x="587" y="573"/>
                  </a:lnTo>
                  <a:lnTo>
                    <a:pt x="584" y="584"/>
                  </a:lnTo>
                  <a:lnTo>
                    <a:pt x="580" y="595"/>
                  </a:lnTo>
                  <a:lnTo>
                    <a:pt x="572" y="614"/>
                  </a:lnTo>
                  <a:lnTo>
                    <a:pt x="561" y="632"/>
                  </a:lnTo>
                  <a:lnTo>
                    <a:pt x="556" y="640"/>
                  </a:lnTo>
                  <a:lnTo>
                    <a:pt x="549" y="649"/>
                  </a:lnTo>
                  <a:lnTo>
                    <a:pt x="537" y="664"/>
                  </a:lnTo>
                  <a:lnTo>
                    <a:pt x="530" y="670"/>
                  </a:lnTo>
                  <a:lnTo>
                    <a:pt x="523" y="677"/>
                  </a:lnTo>
                  <a:lnTo>
                    <a:pt x="516" y="682"/>
                  </a:lnTo>
                  <a:lnTo>
                    <a:pt x="509" y="688"/>
                  </a:lnTo>
                  <a:lnTo>
                    <a:pt x="501" y="693"/>
                  </a:lnTo>
                  <a:lnTo>
                    <a:pt x="492" y="699"/>
                  </a:lnTo>
                  <a:lnTo>
                    <a:pt x="484" y="703"/>
                  </a:lnTo>
                  <a:lnTo>
                    <a:pt x="476" y="706"/>
                  </a:lnTo>
                  <a:lnTo>
                    <a:pt x="466" y="708"/>
                  </a:lnTo>
                  <a:lnTo>
                    <a:pt x="458" y="711"/>
                  </a:lnTo>
                  <a:lnTo>
                    <a:pt x="448" y="714"/>
                  </a:lnTo>
                  <a:lnTo>
                    <a:pt x="438" y="715"/>
                  </a:lnTo>
                  <a:lnTo>
                    <a:pt x="419" y="717"/>
                  </a:lnTo>
                  <a:lnTo>
                    <a:pt x="327" y="717"/>
                  </a:lnTo>
                  <a:close/>
                  <a:moveTo>
                    <a:pt x="1808" y="946"/>
                  </a:moveTo>
                  <a:lnTo>
                    <a:pt x="1808" y="717"/>
                  </a:lnTo>
                  <a:lnTo>
                    <a:pt x="1399" y="717"/>
                  </a:lnTo>
                  <a:lnTo>
                    <a:pt x="1399" y="573"/>
                  </a:lnTo>
                  <a:lnTo>
                    <a:pt x="1714" y="573"/>
                  </a:lnTo>
                  <a:lnTo>
                    <a:pt x="1714" y="383"/>
                  </a:lnTo>
                  <a:lnTo>
                    <a:pt x="1399" y="383"/>
                  </a:lnTo>
                  <a:lnTo>
                    <a:pt x="1399" y="243"/>
                  </a:lnTo>
                  <a:lnTo>
                    <a:pt x="1803" y="243"/>
                  </a:lnTo>
                  <a:lnTo>
                    <a:pt x="1803" y="14"/>
                  </a:lnTo>
                  <a:lnTo>
                    <a:pt x="1073" y="14"/>
                  </a:lnTo>
                  <a:lnTo>
                    <a:pt x="1073" y="946"/>
                  </a:lnTo>
                  <a:lnTo>
                    <a:pt x="1808" y="946"/>
                  </a:lnTo>
                  <a:close/>
                  <a:moveTo>
                    <a:pt x="3020" y="946"/>
                  </a:moveTo>
                  <a:lnTo>
                    <a:pt x="2670" y="457"/>
                  </a:lnTo>
                  <a:lnTo>
                    <a:pt x="3012" y="14"/>
                  </a:lnTo>
                  <a:lnTo>
                    <a:pt x="2619" y="14"/>
                  </a:lnTo>
                  <a:lnTo>
                    <a:pt x="2297" y="456"/>
                  </a:lnTo>
                  <a:lnTo>
                    <a:pt x="2618" y="946"/>
                  </a:lnTo>
                  <a:lnTo>
                    <a:pt x="3020" y="946"/>
                  </a:lnTo>
                  <a:close/>
                  <a:moveTo>
                    <a:pt x="2294" y="946"/>
                  </a:moveTo>
                  <a:lnTo>
                    <a:pt x="2294" y="14"/>
                  </a:lnTo>
                  <a:lnTo>
                    <a:pt x="1966" y="14"/>
                  </a:lnTo>
                  <a:lnTo>
                    <a:pt x="1966" y="946"/>
                  </a:lnTo>
                  <a:lnTo>
                    <a:pt x="2294" y="946"/>
                  </a:lnTo>
                  <a:close/>
                  <a:moveTo>
                    <a:pt x="3728" y="922"/>
                  </a:moveTo>
                  <a:lnTo>
                    <a:pt x="3752" y="912"/>
                  </a:lnTo>
                  <a:lnTo>
                    <a:pt x="3774" y="901"/>
                  </a:lnTo>
                  <a:lnTo>
                    <a:pt x="3784" y="896"/>
                  </a:lnTo>
                  <a:lnTo>
                    <a:pt x="3795" y="890"/>
                  </a:lnTo>
                  <a:lnTo>
                    <a:pt x="3816" y="878"/>
                  </a:lnTo>
                  <a:lnTo>
                    <a:pt x="3835" y="865"/>
                  </a:lnTo>
                  <a:lnTo>
                    <a:pt x="3855" y="851"/>
                  </a:lnTo>
                  <a:lnTo>
                    <a:pt x="3873" y="837"/>
                  </a:lnTo>
                  <a:lnTo>
                    <a:pt x="3891" y="821"/>
                  </a:lnTo>
                  <a:lnTo>
                    <a:pt x="3908" y="805"/>
                  </a:lnTo>
                  <a:lnTo>
                    <a:pt x="3924" y="787"/>
                  </a:lnTo>
                  <a:lnTo>
                    <a:pt x="3938" y="769"/>
                  </a:lnTo>
                  <a:lnTo>
                    <a:pt x="3952" y="751"/>
                  </a:lnTo>
                  <a:lnTo>
                    <a:pt x="3966" y="732"/>
                  </a:lnTo>
                  <a:lnTo>
                    <a:pt x="3979" y="713"/>
                  </a:lnTo>
                  <a:lnTo>
                    <a:pt x="3990" y="692"/>
                  </a:lnTo>
                  <a:lnTo>
                    <a:pt x="3999" y="670"/>
                  </a:lnTo>
                  <a:lnTo>
                    <a:pt x="4009" y="647"/>
                  </a:lnTo>
                  <a:lnTo>
                    <a:pt x="4016" y="625"/>
                  </a:lnTo>
                  <a:lnTo>
                    <a:pt x="4020" y="613"/>
                  </a:lnTo>
                  <a:lnTo>
                    <a:pt x="4023" y="602"/>
                  </a:lnTo>
                  <a:lnTo>
                    <a:pt x="4029" y="578"/>
                  </a:lnTo>
                  <a:lnTo>
                    <a:pt x="4033" y="554"/>
                  </a:lnTo>
                  <a:lnTo>
                    <a:pt x="4036" y="542"/>
                  </a:lnTo>
                  <a:lnTo>
                    <a:pt x="4037" y="530"/>
                  </a:lnTo>
                  <a:lnTo>
                    <a:pt x="4038" y="505"/>
                  </a:lnTo>
                  <a:lnTo>
                    <a:pt x="4038" y="480"/>
                  </a:lnTo>
                  <a:lnTo>
                    <a:pt x="4038" y="453"/>
                  </a:lnTo>
                  <a:lnTo>
                    <a:pt x="4037" y="430"/>
                  </a:lnTo>
                  <a:lnTo>
                    <a:pt x="4033" y="405"/>
                  </a:lnTo>
                  <a:lnTo>
                    <a:pt x="4029" y="381"/>
                  </a:lnTo>
                  <a:lnTo>
                    <a:pt x="4023" y="358"/>
                  </a:lnTo>
                  <a:lnTo>
                    <a:pt x="4016" y="334"/>
                  </a:lnTo>
                  <a:lnTo>
                    <a:pt x="4009" y="312"/>
                  </a:lnTo>
                  <a:lnTo>
                    <a:pt x="4005" y="301"/>
                  </a:lnTo>
                  <a:lnTo>
                    <a:pt x="3999" y="290"/>
                  </a:lnTo>
                  <a:lnTo>
                    <a:pt x="3994" y="279"/>
                  </a:lnTo>
                  <a:lnTo>
                    <a:pt x="3990" y="267"/>
                  </a:lnTo>
                  <a:lnTo>
                    <a:pt x="3979" y="247"/>
                  </a:lnTo>
                  <a:lnTo>
                    <a:pt x="3966" y="227"/>
                  </a:lnTo>
                  <a:lnTo>
                    <a:pt x="3952" y="208"/>
                  </a:lnTo>
                  <a:lnTo>
                    <a:pt x="3938" y="188"/>
                  </a:lnTo>
                  <a:lnTo>
                    <a:pt x="3931" y="180"/>
                  </a:lnTo>
                  <a:lnTo>
                    <a:pt x="3924" y="170"/>
                  </a:lnTo>
                  <a:lnTo>
                    <a:pt x="3908" y="154"/>
                  </a:lnTo>
                  <a:lnTo>
                    <a:pt x="3891" y="137"/>
                  </a:lnTo>
                  <a:lnTo>
                    <a:pt x="3873" y="122"/>
                  </a:lnTo>
                  <a:lnTo>
                    <a:pt x="3865" y="115"/>
                  </a:lnTo>
                  <a:lnTo>
                    <a:pt x="3855" y="107"/>
                  </a:lnTo>
                  <a:lnTo>
                    <a:pt x="3835" y="94"/>
                  </a:lnTo>
                  <a:lnTo>
                    <a:pt x="3816" y="80"/>
                  </a:lnTo>
                  <a:lnTo>
                    <a:pt x="3795" y="68"/>
                  </a:lnTo>
                  <a:lnTo>
                    <a:pt x="3774" y="57"/>
                  </a:lnTo>
                  <a:lnTo>
                    <a:pt x="3752" y="47"/>
                  </a:lnTo>
                  <a:lnTo>
                    <a:pt x="3728" y="37"/>
                  </a:lnTo>
                  <a:lnTo>
                    <a:pt x="3706" y="29"/>
                  </a:lnTo>
                  <a:lnTo>
                    <a:pt x="3681" y="21"/>
                  </a:lnTo>
                  <a:lnTo>
                    <a:pt x="3670" y="18"/>
                  </a:lnTo>
                  <a:lnTo>
                    <a:pt x="3657" y="15"/>
                  </a:lnTo>
                  <a:lnTo>
                    <a:pt x="3632" y="10"/>
                  </a:lnTo>
                  <a:lnTo>
                    <a:pt x="3607" y="5"/>
                  </a:lnTo>
                  <a:lnTo>
                    <a:pt x="3582" y="3"/>
                  </a:lnTo>
                  <a:lnTo>
                    <a:pt x="3557" y="1"/>
                  </a:lnTo>
                  <a:lnTo>
                    <a:pt x="3531" y="0"/>
                  </a:lnTo>
                  <a:lnTo>
                    <a:pt x="3504" y="1"/>
                  </a:lnTo>
                  <a:lnTo>
                    <a:pt x="3478" y="3"/>
                  </a:lnTo>
                  <a:lnTo>
                    <a:pt x="3453" y="5"/>
                  </a:lnTo>
                  <a:lnTo>
                    <a:pt x="3428" y="10"/>
                  </a:lnTo>
                  <a:lnTo>
                    <a:pt x="3403" y="15"/>
                  </a:lnTo>
                  <a:lnTo>
                    <a:pt x="3379" y="21"/>
                  </a:lnTo>
                  <a:lnTo>
                    <a:pt x="3355" y="29"/>
                  </a:lnTo>
                  <a:lnTo>
                    <a:pt x="3332" y="37"/>
                  </a:lnTo>
                  <a:lnTo>
                    <a:pt x="3309" y="47"/>
                  </a:lnTo>
                  <a:lnTo>
                    <a:pt x="3287" y="57"/>
                  </a:lnTo>
                  <a:lnTo>
                    <a:pt x="3276" y="62"/>
                  </a:lnTo>
                  <a:lnTo>
                    <a:pt x="3266" y="68"/>
                  </a:lnTo>
                  <a:lnTo>
                    <a:pt x="3245" y="80"/>
                  </a:lnTo>
                  <a:lnTo>
                    <a:pt x="3226" y="94"/>
                  </a:lnTo>
                  <a:lnTo>
                    <a:pt x="3216" y="100"/>
                  </a:lnTo>
                  <a:lnTo>
                    <a:pt x="3207" y="107"/>
                  </a:lnTo>
                  <a:lnTo>
                    <a:pt x="3188" y="122"/>
                  </a:lnTo>
                  <a:lnTo>
                    <a:pt x="3180" y="130"/>
                  </a:lnTo>
                  <a:lnTo>
                    <a:pt x="3172" y="137"/>
                  </a:lnTo>
                  <a:lnTo>
                    <a:pt x="3155" y="154"/>
                  </a:lnTo>
                  <a:lnTo>
                    <a:pt x="3140" y="170"/>
                  </a:lnTo>
                  <a:lnTo>
                    <a:pt x="3124" y="188"/>
                  </a:lnTo>
                  <a:lnTo>
                    <a:pt x="3111" y="208"/>
                  </a:lnTo>
                  <a:lnTo>
                    <a:pt x="3098" y="227"/>
                  </a:lnTo>
                  <a:lnTo>
                    <a:pt x="3085" y="247"/>
                  </a:lnTo>
                  <a:lnTo>
                    <a:pt x="3074" y="267"/>
                  </a:lnTo>
                  <a:lnTo>
                    <a:pt x="3065" y="290"/>
                  </a:lnTo>
                  <a:lnTo>
                    <a:pt x="3055" y="312"/>
                  </a:lnTo>
                  <a:lnTo>
                    <a:pt x="3047" y="334"/>
                  </a:lnTo>
                  <a:lnTo>
                    <a:pt x="3044" y="345"/>
                  </a:lnTo>
                  <a:lnTo>
                    <a:pt x="3040" y="358"/>
                  </a:lnTo>
                  <a:lnTo>
                    <a:pt x="3034" y="381"/>
                  </a:lnTo>
                  <a:lnTo>
                    <a:pt x="3030" y="405"/>
                  </a:lnTo>
                  <a:lnTo>
                    <a:pt x="3028" y="417"/>
                  </a:lnTo>
                  <a:lnTo>
                    <a:pt x="3027" y="430"/>
                  </a:lnTo>
                  <a:lnTo>
                    <a:pt x="3026" y="453"/>
                  </a:lnTo>
                  <a:lnTo>
                    <a:pt x="3024" y="480"/>
                  </a:lnTo>
                  <a:lnTo>
                    <a:pt x="3026" y="505"/>
                  </a:lnTo>
                  <a:lnTo>
                    <a:pt x="3027" y="530"/>
                  </a:lnTo>
                  <a:lnTo>
                    <a:pt x="3030" y="554"/>
                  </a:lnTo>
                  <a:lnTo>
                    <a:pt x="3034" y="578"/>
                  </a:lnTo>
                  <a:lnTo>
                    <a:pt x="3040" y="602"/>
                  </a:lnTo>
                  <a:lnTo>
                    <a:pt x="3047" y="625"/>
                  </a:lnTo>
                  <a:lnTo>
                    <a:pt x="3055" y="647"/>
                  </a:lnTo>
                  <a:lnTo>
                    <a:pt x="3059" y="658"/>
                  </a:lnTo>
                  <a:lnTo>
                    <a:pt x="3065" y="670"/>
                  </a:lnTo>
                  <a:lnTo>
                    <a:pt x="3069" y="681"/>
                  </a:lnTo>
                  <a:lnTo>
                    <a:pt x="3074" y="692"/>
                  </a:lnTo>
                  <a:lnTo>
                    <a:pt x="3085" y="713"/>
                  </a:lnTo>
                  <a:lnTo>
                    <a:pt x="3098" y="732"/>
                  </a:lnTo>
                  <a:lnTo>
                    <a:pt x="3111" y="751"/>
                  </a:lnTo>
                  <a:lnTo>
                    <a:pt x="3124" y="769"/>
                  </a:lnTo>
                  <a:lnTo>
                    <a:pt x="3140" y="787"/>
                  </a:lnTo>
                  <a:lnTo>
                    <a:pt x="3155" y="805"/>
                  </a:lnTo>
                  <a:lnTo>
                    <a:pt x="3163" y="814"/>
                  </a:lnTo>
                  <a:lnTo>
                    <a:pt x="3172" y="821"/>
                  </a:lnTo>
                  <a:lnTo>
                    <a:pt x="3188" y="837"/>
                  </a:lnTo>
                  <a:lnTo>
                    <a:pt x="3198" y="844"/>
                  </a:lnTo>
                  <a:lnTo>
                    <a:pt x="3207" y="851"/>
                  </a:lnTo>
                  <a:lnTo>
                    <a:pt x="3226" y="865"/>
                  </a:lnTo>
                  <a:lnTo>
                    <a:pt x="3245" y="878"/>
                  </a:lnTo>
                  <a:lnTo>
                    <a:pt x="3266" y="890"/>
                  </a:lnTo>
                  <a:lnTo>
                    <a:pt x="3287" y="901"/>
                  </a:lnTo>
                  <a:lnTo>
                    <a:pt x="3309" y="912"/>
                  </a:lnTo>
                  <a:lnTo>
                    <a:pt x="3332" y="922"/>
                  </a:lnTo>
                  <a:lnTo>
                    <a:pt x="3355" y="930"/>
                  </a:lnTo>
                  <a:lnTo>
                    <a:pt x="3379" y="937"/>
                  </a:lnTo>
                  <a:lnTo>
                    <a:pt x="3403" y="944"/>
                  </a:lnTo>
                  <a:lnTo>
                    <a:pt x="3428" y="950"/>
                  </a:lnTo>
                  <a:lnTo>
                    <a:pt x="3453" y="952"/>
                  </a:lnTo>
                  <a:lnTo>
                    <a:pt x="3478" y="955"/>
                  </a:lnTo>
                  <a:lnTo>
                    <a:pt x="3504" y="958"/>
                  </a:lnTo>
                  <a:lnTo>
                    <a:pt x="3531" y="958"/>
                  </a:lnTo>
                  <a:lnTo>
                    <a:pt x="3557" y="958"/>
                  </a:lnTo>
                  <a:lnTo>
                    <a:pt x="3582" y="955"/>
                  </a:lnTo>
                  <a:lnTo>
                    <a:pt x="3607" y="952"/>
                  </a:lnTo>
                  <a:lnTo>
                    <a:pt x="3632" y="950"/>
                  </a:lnTo>
                  <a:lnTo>
                    <a:pt x="3657" y="944"/>
                  </a:lnTo>
                  <a:lnTo>
                    <a:pt x="3681" y="937"/>
                  </a:lnTo>
                  <a:lnTo>
                    <a:pt x="3706" y="930"/>
                  </a:lnTo>
                  <a:lnTo>
                    <a:pt x="3728" y="922"/>
                  </a:lnTo>
                  <a:close/>
                  <a:moveTo>
                    <a:pt x="3403" y="632"/>
                  </a:moveTo>
                  <a:lnTo>
                    <a:pt x="3397" y="625"/>
                  </a:lnTo>
                  <a:lnTo>
                    <a:pt x="3392" y="617"/>
                  </a:lnTo>
                  <a:lnTo>
                    <a:pt x="3386" y="610"/>
                  </a:lnTo>
                  <a:lnTo>
                    <a:pt x="3382" y="602"/>
                  </a:lnTo>
                  <a:lnTo>
                    <a:pt x="3378" y="593"/>
                  </a:lnTo>
                  <a:lnTo>
                    <a:pt x="3373" y="584"/>
                  </a:lnTo>
                  <a:lnTo>
                    <a:pt x="3366" y="566"/>
                  </a:lnTo>
                  <a:lnTo>
                    <a:pt x="3364" y="556"/>
                  </a:lnTo>
                  <a:lnTo>
                    <a:pt x="3361" y="546"/>
                  </a:lnTo>
                  <a:lnTo>
                    <a:pt x="3358" y="525"/>
                  </a:lnTo>
                  <a:lnTo>
                    <a:pt x="3355" y="503"/>
                  </a:lnTo>
                  <a:lnTo>
                    <a:pt x="3354" y="480"/>
                  </a:lnTo>
                  <a:lnTo>
                    <a:pt x="3355" y="456"/>
                  </a:lnTo>
                  <a:lnTo>
                    <a:pt x="3357" y="445"/>
                  </a:lnTo>
                  <a:lnTo>
                    <a:pt x="3358" y="434"/>
                  </a:lnTo>
                  <a:lnTo>
                    <a:pt x="3361" y="413"/>
                  </a:lnTo>
                  <a:lnTo>
                    <a:pt x="3366" y="394"/>
                  </a:lnTo>
                  <a:lnTo>
                    <a:pt x="3369" y="384"/>
                  </a:lnTo>
                  <a:lnTo>
                    <a:pt x="3373" y="376"/>
                  </a:lnTo>
                  <a:lnTo>
                    <a:pt x="3378" y="366"/>
                  </a:lnTo>
                  <a:lnTo>
                    <a:pt x="3382" y="358"/>
                  </a:lnTo>
                  <a:lnTo>
                    <a:pt x="3392" y="341"/>
                  </a:lnTo>
                  <a:lnTo>
                    <a:pt x="3397" y="334"/>
                  </a:lnTo>
                  <a:lnTo>
                    <a:pt x="3403" y="326"/>
                  </a:lnTo>
                  <a:lnTo>
                    <a:pt x="3415" y="313"/>
                  </a:lnTo>
                  <a:lnTo>
                    <a:pt x="3429" y="301"/>
                  </a:lnTo>
                  <a:lnTo>
                    <a:pt x="3436" y="295"/>
                  </a:lnTo>
                  <a:lnTo>
                    <a:pt x="3444" y="291"/>
                  </a:lnTo>
                  <a:lnTo>
                    <a:pt x="3451" y="287"/>
                  </a:lnTo>
                  <a:lnTo>
                    <a:pt x="3460" y="283"/>
                  </a:lnTo>
                  <a:lnTo>
                    <a:pt x="3468" y="279"/>
                  </a:lnTo>
                  <a:lnTo>
                    <a:pt x="3476" y="276"/>
                  </a:lnTo>
                  <a:lnTo>
                    <a:pt x="3485" y="273"/>
                  </a:lnTo>
                  <a:lnTo>
                    <a:pt x="3493" y="272"/>
                  </a:lnTo>
                  <a:lnTo>
                    <a:pt x="3501" y="270"/>
                  </a:lnTo>
                  <a:lnTo>
                    <a:pt x="3511" y="269"/>
                  </a:lnTo>
                  <a:lnTo>
                    <a:pt x="3531" y="267"/>
                  </a:lnTo>
                  <a:lnTo>
                    <a:pt x="3540" y="267"/>
                  </a:lnTo>
                  <a:lnTo>
                    <a:pt x="3550" y="269"/>
                  </a:lnTo>
                  <a:lnTo>
                    <a:pt x="3560" y="270"/>
                  </a:lnTo>
                  <a:lnTo>
                    <a:pt x="3570" y="272"/>
                  </a:lnTo>
                  <a:lnTo>
                    <a:pt x="3586" y="276"/>
                  </a:lnTo>
                  <a:lnTo>
                    <a:pt x="3596" y="279"/>
                  </a:lnTo>
                  <a:lnTo>
                    <a:pt x="3603" y="283"/>
                  </a:lnTo>
                  <a:lnTo>
                    <a:pt x="3611" y="287"/>
                  </a:lnTo>
                  <a:lnTo>
                    <a:pt x="3620" y="291"/>
                  </a:lnTo>
                  <a:lnTo>
                    <a:pt x="3627" y="295"/>
                  </a:lnTo>
                  <a:lnTo>
                    <a:pt x="3634" y="301"/>
                  </a:lnTo>
                  <a:lnTo>
                    <a:pt x="3641" y="306"/>
                  </a:lnTo>
                  <a:lnTo>
                    <a:pt x="3648" y="313"/>
                  </a:lnTo>
                  <a:lnTo>
                    <a:pt x="3654" y="319"/>
                  </a:lnTo>
                  <a:lnTo>
                    <a:pt x="3660" y="326"/>
                  </a:lnTo>
                  <a:lnTo>
                    <a:pt x="3666" y="334"/>
                  </a:lnTo>
                  <a:lnTo>
                    <a:pt x="3671" y="341"/>
                  </a:lnTo>
                  <a:lnTo>
                    <a:pt x="3681" y="358"/>
                  </a:lnTo>
                  <a:lnTo>
                    <a:pt x="3685" y="366"/>
                  </a:lnTo>
                  <a:lnTo>
                    <a:pt x="3689" y="376"/>
                  </a:lnTo>
                  <a:lnTo>
                    <a:pt x="3693" y="384"/>
                  </a:lnTo>
                  <a:lnTo>
                    <a:pt x="3696" y="394"/>
                  </a:lnTo>
                  <a:lnTo>
                    <a:pt x="3699" y="403"/>
                  </a:lnTo>
                  <a:lnTo>
                    <a:pt x="3702" y="413"/>
                  </a:lnTo>
                  <a:lnTo>
                    <a:pt x="3705" y="434"/>
                  </a:lnTo>
                  <a:lnTo>
                    <a:pt x="3707" y="456"/>
                  </a:lnTo>
                  <a:lnTo>
                    <a:pt x="3709" y="480"/>
                  </a:lnTo>
                  <a:lnTo>
                    <a:pt x="3707" y="503"/>
                  </a:lnTo>
                  <a:lnTo>
                    <a:pt x="3706" y="514"/>
                  </a:lnTo>
                  <a:lnTo>
                    <a:pt x="3705" y="525"/>
                  </a:lnTo>
                  <a:lnTo>
                    <a:pt x="3703" y="535"/>
                  </a:lnTo>
                  <a:lnTo>
                    <a:pt x="3702" y="546"/>
                  </a:lnTo>
                  <a:lnTo>
                    <a:pt x="3699" y="556"/>
                  </a:lnTo>
                  <a:lnTo>
                    <a:pt x="3696" y="566"/>
                  </a:lnTo>
                  <a:lnTo>
                    <a:pt x="3689" y="584"/>
                  </a:lnTo>
                  <a:lnTo>
                    <a:pt x="3685" y="593"/>
                  </a:lnTo>
                  <a:lnTo>
                    <a:pt x="3681" y="602"/>
                  </a:lnTo>
                  <a:lnTo>
                    <a:pt x="3677" y="610"/>
                  </a:lnTo>
                  <a:lnTo>
                    <a:pt x="3671" y="617"/>
                  </a:lnTo>
                  <a:lnTo>
                    <a:pt x="3660" y="632"/>
                  </a:lnTo>
                  <a:lnTo>
                    <a:pt x="3648" y="646"/>
                  </a:lnTo>
                  <a:lnTo>
                    <a:pt x="3634" y="657"/>
                  </a:lnTo>
                  <a:lnTo>
                    <a:pt x="3620" y="667"/>
                  </a:lnTo>
                  <a:lnTo>
                    <a:pt x="3611" y="671"/>
                  </a:lnTo>
                  <a:lnTo>
                    <a:pt x="3603" y="675"/>
                  </a:lnTo>
                  <a:lnTo>
                    <a:pt x="3586" y="682"/>
                  </a:lnTo>
                  <a:lnTo>
                    <a:pt x="3570" y="686"/>
                  </a:lnTo>
                  <a:lnTo>
                    <a:pt x="3550" y="689"/>
                  </a:lnTo>
                  <a:lnTo>
                    <a:pt x="3531" y="689"/>
                  </a:lnTo>
                  <a:lnTo>
                    <a:pt x="3511" y="689"/>
                  </a:lnTo>
                  <a:lnTo>
                    <a:pt x="3501" y="688"/>
                  </a:lnTo>
                  <a:lnTo>
                    <a:pt x="3493" y="686"/>
                  </a:lnTo>
                  <a:lnTo>
                    <a:pt x="3485" y="683"/>
                  </a:lnTo>
                  <a:lnTo>
                    <a:pt x="3476" y="682"/>
                  </a:lnTo>
                  <a:lnTo>
                    <a:pt x="3468" y="678"/>
                  </a:lnTo>
                  <a:lnTo>
                    <a:pt x="3460" y="675"/>
                  </a:lnTo>
                  <a:lnTo>
                    <a:pt x="3444" y="667"/>
                  </a:lnTo>
                  <a:lnTo>
                    <a:pt x="3429" y="657"/>
                  </a:lnTo>
                  <a:lnTo>
                    <a:pt x="3422" y="652"/>
                  </a:lnTo>
                  <a:lnTo>
                    <a:pt x="3415" y="646"/>
                  </a:lnTo>
                  <a:lnTo>
                    <a:pt x="3410" y="639"/>
                  </a:lnTo>
                  <a:lnTo>
                    <a:pt x="3403" y="632"/>
                  </a:lnTo>
                  <a:close/>
                  <a:moveTo>
                    <a:pt x="4346" y="817"/>
                  </a:moveTo>
                  <a:lnTo>
                    <a:pt x="4314" y="804"/>
                  </a:lnTo>
                  <a:lnTo>
                    <a:pt x="4283" y="792"/>
                  </a:lnTo>
                  <a:lnTo>
                    <a:pt x="4254" y="776"/>
                  </a:lnTo>
                  <a:lnTo>
                    <a:pt x="4240" y="768"/>
                  </a:lnTo>
                  <a:lnTo>
                    <a:pt x="4226" y="760"/>
                  </a:lnTo>
                  <a:lnTo>
                    <a:pt x="4164" y="866"/>
                  </a:lnTo>
                  <a:lnTo>
                    <a:pt x="4180" y="876"/>
                  </a:lnTo>
                  <a:lnTo>
                    <a:pt x="4198" y="886"/>
                  </a:lnTo>
                  <a:lnTo>
                    <a:pt x="4216" y="896"/>
                  </a:lnTo>
                  <a:lnTo>
                    <a:pt x="4235" y="904"/>
                  </a:lnTo>
                  <a:lnTo>
                    <a:pt x="4254" y="912"/>
                  </a:lnTo>
                  <a:lnTo>
                    <a:pt x="4274" y="921"/>
                  </a:lnTo>
                  <a:lnTo>
                    <a:pt x="4293" y="927"/>
                  </a:lnTo>
                  <a:lnTo>
                    <a:pt x="4312" y="933"/>
                  </a:lnTo>
                  <a:lnTo>
                    <a:pt x="4332" y="940"/>
                  </a:lnTo>
                  <a:lnTo>
                    <a:pt x="4353" y="944"/>
                  </a:lnTo>
                  <a:lnTo>
                    <a:pt x="4375" y="948"/>
                  </a:lnTo>
                  <a:lnTo>
                    <a:pt x="4396" y="952"/>
                  </a:lnTo>
                  <a:lnTo>
                    <a:pt x="4420" y="955"/>
                  </a:lnTo>
                  <a:lnTo>
                    <a:pt x="4442" y="957"/>
                  </a:lnTo>
                  <a:lnTo>
                    <a:pt x="4465" y="958"/>
                  </a:lnTo>
                  <a:lnTo>
                    <a:pt x="4491" y="958"/>
                  </a:lnTo>
                  <a:lnTo>
                    <a:pt x="4509" y="958"/>
                  </a:lnTo>
                  <a:lnTo>
                    <a:pt x="4527" y="957"/>
                  </a:lnTo>
                  <a:lnTo>
                    <a:pt x="4543" y="955"/>
                  </a:lnTo>
                  <a:lnTo>
                    <a:pt x="4561" y="954"/>
                  </a:lnTo>
                  <a:lnTo>
                    <a:pt x="4578" y="951"/>
                  </a:lnTo>
                  <a:lnTo>
                    <a:pt x="4595" y="947"/>
                  </a:lnTo>
                  <a:lnTo>
                    <a:pt x="4612" y="943"/>
                  </a:lnTo>
                  <a:lnTo>
                    <a:pt x="4627" y="939"/>
                  </a:lnTo>
                  <a:lnTo>
                    <a:pt x="4642" y="933"/>
                  </a:lnTo>
                  <a:lnTo>
                    <a:pt x="4657" y="927"/>
                  </a:lnTo>
                  <a:lnTo>
                    <a:pt x="4673" y="921"/>
                  </a:lnTo>
                  <a:lnTo>
                    <a:pt x="4687" y="914"/>
                  </a:lnTo>
                  <a:lnTo>
                    <a:pt x="4713" y="898"/>
                  </a:lnTo>
                  <a:lnTo>
                    <a:pt x="4726" y="890"/>
                  </a:lnTo>
                  <a:lnTo>
                    <a:pt x="4737" y="880"/>
                  </a:lnTo>
                  <a:lnTo>
                    <a:pt x="4748" y="872"/>
                  </a:lnTo>
                  <a:lnTo>
                    <a:pt x="4759" y="861"/>
                  </a:lnTo>
                  <a:lnTo>
                    <a:pt x="4769" y="851"/>
                  </a:lnTo>
                  <a:lnTo>
                    <a:pt x="4778" y="840"/>
                  </a:lnTo>
                  <a:lnTo>
                    <a:pt x="4788" y="829"/>
                  </a:lnTo>
                  <a:lnTo>
                    <a:pt x="4797" y="817"/>
                  </a:lnTo>
                  <a:lnTo>
                    <a:pt x="4804" y="804"/>
                  </a:lnTo>
                  <a:lnTo>
                    <a:pt x="4810" y="792"/>
                  </a:lnTo>
                  <a:lnTo>
                    <a:pt x="4817" y="779"/>
                  </a:lnTo>
                  <a:lnTo>
                    <a:pt x="4822" y="765"/>
                  </a:lnTo>
                  <a:lnTo>
                    <a:pt x="4827" y="751"/>
                  </a:lnTo>
                  <a:lnTo>
                    <a:pt x="4830" y="738"/>
                  </a:lnTo>
                  <a:lnTo>
                    <a:pt x="4834" y="722"/>
                  </a:lnTo>
                  <a:lnTo>
                    <a:pt x="4836" y="707"/>
                  </a:lnTo>
                  <a:lnTo>
                    <a:pt x="4837" y="692"/>
                  </a:lnTo>
                  <a:lnTo>
                    <a:pt x="4837" y="677"/>
                  </a:lnTo>
                  <a:lnTo>
                    <a:pt x="4837" y="663"/>
                  </a:lnTo>
                  <a:lnTo>
                    <a:pt x="4836" y="649"/>
                  </a:lnTo>
                  <a:lnTo>
                    <a:pt x="4834" y="636"/>
                  </a:lnTo>
                  <a:lnTo>
                    <a:pt x="4833" y="622"/>
                  </a:lnTo>
                  <a:lnTo>
                    <a:pt x="4829" y="610"/>
                  </a:lnTo>
                  <a:lnTo>
                    <a:pt x="4826" y="599"/>
                  </a:lnTo>
                  <a:lnTo>
                    <a:pt x="4822" y="586"/>
                  </a:lnTo>
                  <a:lnTo>
                    <a:pt x="4816" y="575"/>
                  </a:lnTo>
                  <a:lnTo>
                    <a:pt x="4810" y="564"/>
                  </a:lnTo>
                  <a:lnTo>
                    <a:pt x="4805" y="553"/>
                  </a:lnTo>
                  <a:lnTo>
                    <a:pt x="4798" y="543"/>
                  </a:lnTo>
                  <a:lnTo>
                    <a:pt x="4791" y="534"/>
                  </a:lnTo>
                  <a:lnTo>
                    <a:pt x="4783" y="524"/>
                  </a:lnTo>
                  <a:lnTo>
                    <a:pt x="4774" y="514"/>
                  </a:lnTo>
                  <a:lnTo>
                    <a:pt x="4765" y="506"/>
                  </a:lnTo>
                  <a:lnTo>
                    <a:pt x="4755" y="498"/>
                  </a:lnTo>
                  <a:lnTo>
                    <a:pt x="4744" y="489"/>
                  </a:lnTo>
                  <a:lnTo>
                    <a:pt x="4733" y="482"/>
                  </a:lnTo>
                  <a:lnTo>
                    <a:pt x="4720" y="474"/>
                  </a:lnTo>
                  <a:lnTo>
                    <a:pt x="4708" y="467"/>
                  </a:lnTo>
                  <a:lnTo>
                    <a:pt x="4694" y="460"/>
                  </a:lnTo>
                  <a:lnTo>
                    <a:pt x="4680" y="455"/>
                  </a:lnTo>
                  <a:lnTo>
                    <a:pt x="4666" y="449"/>
                  </a:lnTo>
                  <a:lnTo>
                    <a:pt x="4650" y="444"/>
                  </a:lnTo>
                  <a:lnTo>
                    <a:pt x="4618" y="432"/>
                  </a:lnTo>
                  <a:lnTo>
                    <a:pt x="4582" y="424"/>
                  </a:lnTo>
                  <a:lnTo>
                    <a:pt x="4564" y="420"/>
                  </a:lnTo>
                  <a:lnTo>
                    <a:pt x="4545" y="417"/>
                  </a:lnTo>
                  <a:lnTo>
                    <a:pt x="4525" y="414"/>
                  </a:lnTo>
                  <a:lnTo>
                    <a:pt x="4504" y="412"/>
                  </a:lnTo>
                  <a:lnTo>
                    <a:pt x="4481" y="408"/>
                  </a:lnTo>
                  <a:lnTo>
                    <a:pt x="4470" y="406"/>
                  </a:lnTo>
                  <a:lnTo>
                    <a:pt x="4459" y="405"/>
                  </a:lnTo>
                  <a:lnTo>
                    <a:pt x="4438" y="399"/>
                  </a:lnTo>
                  <a:lnTo>
                    <a:pt x="4420" y="394"/>
                  </a:lnTo>
                  <a:lnTo>
                    <a:pt x="4403" y="388"/>
                  </a:lnTo>
                  <a:lnTo>
                    <a:pt x="4388" y="381"/>
                  </a:lnTo>
                  <a:lnTo>
                    <a:pt x="4382" y="377"/>
                  </a:lnTo>
                  <a:lnTo>
                    <a:pt x="4375" y="373"/>
                  </a:lnTo>
                  <a:lnTo>
                    <a:pt x="4364" y="365"/>
                  </a:lnTo>
                  <a:lnTo>
                    <a:pt x="4360" y="360"/>
                  </a:lnTo>
                  <a:lnTo>
                    <a:pt x="4354" y="356"/>
                  </a:lnTo>
                  <a:lnTo>
                    <a:pt x="4346" y="346"/>
                  </a:lnTo>
                  <a:lnTo>
                    <a:pt x="4339" y="335"/>
                  </a:lnTo>
                  <a:lnTo>
                    <a:pt x="4336" y="330"/>
                  </a:lnTo>
                  <a:lnTo>
                    <a:pt x="4333" y="324"/>
                  </a:lnTo>
                  <a:lnTo>
                    <a:pt x="4329" y="312"/>
                  </a:lnTo>
                  <a:lnTo>
                    <a:pt x="4328" y="306"/>
                  </a:lnTo>
                  <a:lnTo>
                    <a:pt x="4326" y="299"/>
                  </a:lnTo>
                  <a:lnTo>
                    <a:pt x="4324" y="285"/>
                  </a:lnTo>
                  <a:lnTo>
                    <a:pt x="4324" y="272"/>
                  </a:lnTo>
                  <a:lnTo>
                    <a:pt x="4324" y="263"/>
                  </a:lnTo>
                  <a:lnTo>
                    <a:pt x="4325" y="254"/>
                  </a:lnTo>
                  <a:lnTo>
                    <a:pt x="4328" y="237"/>
                  </a:lnTo>
                  <a:lnTo>
                    <a:pt x="4329" y="229"/>
                  </a:lnTo>
                  <a:lnTo>
                    <a:pt x="4332" y="220"/>
                  </a:lnTo>
                  <a:lnTo>
                    <a:pt x="4339" y="206"/>
                  </a:lnTo>
                  <a:lnTo>
                    <a:pt x="4343" y="200"/>
                  </a:lnTo>
                  <a:lnTo>
                    <a:pt x="4347" y="193"/>
                  </a:lnTo>
                  <a:lnTo>
                    <a:pt x="4351" y="186"/>
                  </a:lnTo>
                  <a:lnTo>
                    <a:pt x="4357" y="180"/>
                  </a:lnTo>
                  <a:lnTo>
                    <a:pt x="4363" y="175"/>
                  </a:lnTo>
                  <a:lnTo>
                    <a:pt x="4368" y="169"/>
                  </a:lnTo>
                  <a:lnTo>
                    <a:pt x="4381" y="158"/>
                  </a:lnTo>
                  <a:lnTo>
                    <a:pt x="4393" y="150"/>
                  </a:lnTo>
                  <a:lnTo>
                    <a:pt x="4401" y="145"/>
                  </a:lnTo>
                  <a:lnTo>
                    <a:pt x="4408" y="141"/>
                  </a:lnTo>
                  <a:lnTo>
                    <a:pt x="4424" y="134"/>
                  </a:lnTo>
                  <a:lnTo>
                    <a:pt x="4432" y="132"/>
                  </a:lnTo>
                  <a:lnTo>
                    <a:pt x="4440" y="130"/>
                  </a:lnTo>
                  <a:lnTo>
                    <a:pt x="4457" y="126"/>
                  </a:lnTo>
                  <a:lnTo>
                    <a:pt x="4475" y="122"/>
                  </a:lnTo>
                  <a:lnTo>
                    <a:pt x="4493" y="120"/>
                  </a:lnTo>
                  <a:lnTo>
                    <a:pt x="4511" y="120"/>
                  </a:lnTo>
                  <a:lnTo>
                    <a:pt x="4539" y="120"/>
                  </a:lnTo>
                  <a:lnTo>
                    <a:pt x="4567" y="125"/>
                  </a:lnTo>
                  <a:lnTo>
                    <a:pt x="4581" y="126"/>
                  </a:lnTo>
                  <a:lnTo>
                    <a:pt x="4595" y="129"/>
                  </a:lnTo>
                  <a:lnTo>
                    <a:pt x="4623" y="136"/>
                  </a:lnTo>
                  <a:lnTo>
                    <a:pt x="4637" y="140"/>
                  </a:lnTo>
                  <a:lnTo>
                    <a:pt x="4650" y="144"/>
                  </a:lnTo>
                  <a:lnTo>
                    <a:pt x="4678" y="155"/>
                  </a:lnTo>
                  <a:lnTo>
                    <a:pt x="4705" y="169"/>
                  </a:lnTo>
                  <a:lnTo>
                    <a:pt x="4719" y="177"/>
                  </a:lnTo>
                  <a:lnTo>
                    <a:pt x="4731" y="186"/>
                  </a:lnTo>
                  <a:lnTo>
                    <a:pt x="4795" y="79"/>
                  </a:lnTo>
                  <a:lnTo>
                    <a:pt x="4759" y="59"/>
                  </a:lnTo>
                  <a:lnTo>
                    <a:pt x="4742" y="51"/>
                  </a:lnTo>
                  <a:lnTo>
                    <a:pt x="4724" y="43"/>
                  </a:lnTo>
                  <a:lnTo>
                    <a:pt x="4706" y="36"/>
                  </a:lnTo>
                  <a:lnTo>
                    <a:pt x="4698" y="32"/>
                  </a:lnTo>
                  <a:lnTo>
                    <a:pt x="4688" y="29"/>
                  </a:lnTo>
                  <a:lnTo>
                    <a:pt x="4670" y="23"/>
                  </a:lnTo>
                  <a:lnTo>
                    <a:pt x="4652" y="18"/>
                  </a:lnTo>
                  <a:lnTo>
                    <a:pt x="4634" y="14"/>
                  </a:lnTo>
                  <a:lnTo>
                    <a:pt x="4616" y="11"/>
                  </a:lnTo>
                  <a:lnTo>
                    <a:pt x="4599" y="8"/>
                  </a:lnTo>
                  <a:lnTo>
                    <a:pt x="4581" y="5"/>
                  </a:lnTo>
                  <a:lnTo>
                    <a:pt x="4563" y="3"/>
                  </a:lnTo>
                  <a:lnTo>
                    <a:pt x="4546" y="1"/>
                  </a:lnTo>
                  <a:lnTo>
                    <a:pt x="4511" y="0"/>
                  </a:lnTo>
                  <a:lnTo>
                    <a:pt x="4495" y="1"/>
                  </a:lnTo>
                  <a:lnTo>
                    <a:pt x="4477" y="1"/>
                  </a:lnTo>
                  <a:lnTo>
                    <a:pt x="4460" y="4"/>
                  </a:lnTo>
                  <a:lnTo>
                    <a:pt x="4445" y="7"/>
                  </a:lnTo>
                  <a:lnTo>
                    <a:pt x="4428" y="10"/>
                  </a:lnTo>
                  <a:lnTo>
                    <a:pt x="4413" y="14"/>
                  </a:lnTo>
                  <a:lnTo>
                    <a:pt x="4397" y="18"/>
                  </a:lnTo>
                  <a:lnTo>
                    <a:pt x="4383" y="23"/>
                  </a:lnTo>
                  <a:lnTo>
                    <a:pt x="4368" y="29"/>
                  </a:lnTo>
                  <a:lnTo>
                    <a:pt x="4354" y="36"/>
                  </a:lnTo>
                  <a:lnTo>
                    <a:pt x="4342" y="43"/>
                  </a:lnTo>
                  <a:lnTo>
                    <a:pt x="4329" y="50"/>
                  </a:lnTo>
                  <a:lnTo>
                    <a:pt x="4317" y="57"/>
                  </a:lnTo>
                  <a:lnTo>
                    <a:pt x="4305" y="65"/>
                  </a:lnTo>
                  <a:lnTo>
                    <a:pt x="4294" y="75"/>
                  </a:lnTo>
                  <a:lnTo>
                    <a:pt x="4283" y="83"/>
                  </a:lnTo>
                  <a:lnTo>
                    <a:pt x="4274" y="93"/>
                  </a:lnTo>
                  <a:lnTo>
                    <a:pt x="4264" y="104"/>
                  </a:lnTo>
                  <a:lnTo>
                    <a:pt x="4255" y="114"/>
                  </a:lnTo>
                  <a:lnTo>
                    <a:pt x="4247" y="125"/>
                  </a:lnTo>
                  <a:lnTo>
                    <a:pt x="4239" y="136"/>
                  </a:lnTo>
                  <a:lnTo>
                    <a:pt x="4232" y="147"/>
                  </a:lnTo>
                  <a:lnTo>
                    <a:pt x="4225" y="159"/>
                  </a:lnTo>
                  <a:lnTo>
                    <a:pt x="4219" y="172"/>
                  </a:lnTo>
                  <a:lnTo>
                    <a:pt x="4214" y="184"/>
                  </a:lnTo>
                  <a:lnTo>
                    <a:pt x="4210" y="197"/>
                  </a:lnTo>
                  <a:lnTo>
                    <a:pt x="4205" y="209"/>
                  </a:lnTo>
                  <a:lnTo>
                    <a:pt x="4203" y="223"/>
                  </a:lnTo>
                  <a:lnTo>
                    <a:pt x="4200" y="236"/>
                  </a:lnTo>
                  <a:lnTo>
                    <a:pt x="4198" y="249"/>
                  </a:lnTo>
                  <a:lnTo>
                    <a:pt x="4197" y="263"/>
                  </a:lnTo>
                  <a:lnTo>
                    <a:pt x="4197" y="277"/>
                  </a:lnTo>
                  <a:lnTo>
                    <a:pt x="4198" y="302"/>
                  </a:lnTo>
                  <a:lnTo>
                    <a:pt x="4201" y="326"/>
                  </a:lnTo>
                  <a:lnTo>
                    <a:pt x="4204" y="337"/>
                  </a:lnTo>
                  <a:lnTo>
                    <a:pt x="4207" y="349"/>
                  </a:lnTo>
                  <a:lnTo>
                    <a:pt x="4210" y="360"/>
                  </a:lnTo>
                  <a:lnTo>
                    <a:pt x="4214" y="370"/>
                  </a:lnTo>
                  <a:lnTo>
                    <a:pt x="4219" y="381"/>
                  </a:lnTo>
                  <a:lnTo>
                    <a:pt x="4223" y="392"/>
                  </a:lnTo>
                  <a:lnTo>
                    <a:pt x="4229" y="402"/>
                  </a:lnTo>
                  <a:lnTo>
                    <a:pt x="4236" y="412"/>
                  </a:lnTo>
                  <a:lnTo>
                    <a:pt x="4243" y="421"/>
                  </a:lnTo>
                  <a:lnTo>
                    <a:pt x="4250" y="431"/>
                  </a:lnTo>
                  <a:lnTo>
                    <a:pt x="4258" y="439"/>
                  </a:lnTo>
                  <a:lnTo>
                    <a:pt x="4267" y="449"/>
                  </a:lnTo>
                  <a:lnTo>
                    <a:pt x="4275" y="457"/>
                  </a:lnTo>
                  <a:lnTo>
                    <a:pt x="4285" y="466"/>
                  </a:lnTo>
                  <a:lnTo>
                    <a:pt x="4294" y="473"/>
                  </a:lnTo>
                  <a:lnTo>
                    <a:pt x="4305" y="481"/>
                  </a:lnTo>
                  <a:lnTo>
                    <a:pt x="4317" y="488"/>
                  </a:lnTo>
                  <a:lnTo>
                    <a:pt x="4329" y="495"/>
                  </a:lnTo>
                  <a:lnTo>
                    <a:pt x="4342" y="500"/>
                  </a:lnTo>
                  <a:lnTo>
                    <a:pt x="4354" y="506"/>
                  </a:lnTo>
                  <a:lnTo>
                    <a:pt x="4361" y="509"/>
                  </a:lnTo>
                  <a:lnTo>
                    <a:pt x="4368" y="512"/>
                  </a:lnTo>
                  <a:lnTo>
                    <a:pt x="4383" y="517"/>
                  </a:lnTo>
                  <a:lnTo>
                    <a:pt x="4399" y="521"/>
                  </a:lnTo>
                  <a:lnTo>
                    <a:pt x="4414" y="525"/>
                  </a:lnTo>
                  <a:lnTo>
                    <a:pt x="4429" y="530"/>
                  </a:lnTo>
                  <a:lnTo>
                    <a:pt x="4447" y="532"/>
                  </a:lnTo>
                  <a:lnTo>
                    <a:pt x="4482" y="538"/>
                  </a:lnTo>
                  <a:lnTo>
                    <a:pt x="4538" y="546"/>
                  </a:lnTo>
                  <a:lnTo>
                    <a:pt x="4584" y="556"/>
                  </a:lnTo>
                  <a:lnTo>
                    <a:pt x="4605" y="561"/>
                  </a:lnTo>
                  <a:lnTo>
                    <a:pt x="4623" y="567"/>
                  </a:lnTo>
                  <a:lnTo>
                    <a:pt x="4639" y="575"/>
                  </a:lnTo>
                  <a:lnTo>
                    <a:pt x="4646" y="579"/>
                  </a:lnTo>
                  <a:lnTo>
                    <a:pt x="4653" y="584"/>
                  </a:lnTo>
                  <a:lnTo>
                    <a:pt x="4659" y="588"/>
                  </a:lnTo>
                  <a:lnTo>
                    <a:pt x="4666" y="592"/>
                  </a:lnTo>
                  <a:lnTo>
                    <a:pt x="4671" y="597"/>
                  </a:lnTo>
                  <a:lnTo>
                    <a:pt x="4676" y="602"/>
                  </a:lnTo>
                  <a:lnTo>
                    <a:pt x="4681" y="607"/>
                  </a:lnTo>
                  <a:lnTo>
                    <a:pt x="4685" y="613"/>
                  </a:lnTo>
                  <a:lnTo>
                    <a:pt x="4688" y="618"/>
                  </a:lnTo>
                  <a:lnTo>
                    <a:pt x="4692" y="625"/>
                  </a:lnTo>
                  <a:lnTo>
                    <a:pt x="4695" y="631"/>
                  </a:lnTo>
                  <a:lnTo>
                    <a:pt x="4696" y="638"/>
                  </a:lnTo>
                  <a:lnTo>
                    <a:pt x="4701" y="653"/>
                  </a:lnTo>
                  <a:lnTo>
                    <a:pt x="4702" y="660"/>
                  </a:lnTo>
                  <a:lnTo>
                    <a:pt x="4703" y="668"/>
                  </a:lnTo>
                  <a:lnTo>
                    <a:pt x="4703" y="685"/>
                  </a:lnTo>
                  <a:lnTo>
                    <a:pt x="4703" y="703"/>
                  </a:lnTo>
                  <a:lnTo>
                    <a:pt x="4701" y="720"/>
                  </a:lnTo>
                  <a:lnTo>
                    <a:pt x="4698" y="726"/>
                  </a:lnTo>
                  <a:lnTo>
                    <a:pt x="4696" y="735"/>
                  </a:lnTo>
                  <a:lnTo>
                    <a:pt x="4689" y="749"/>
                  </a:lnTo>
                  <a:lnTo>
                    <a:pt x="4682" y="762"/>
                  </a:lnTo>
                  <a:lnTo>
                    <a:pt x="4677" y="768"/>
                  </a:lnTo>
                  <a:lnTo>
                    <a:pt x="4673" y="775"/>
                  </a:lnTo>
                  <a:lnTo>
                    <a:pt x="4662" y="786"/>
                  </a:lnTo>
                  <a:lnTo>
                    <a:pt x="4649" y="797"/>
                  </a:lnTo>
                  <a:lnTo>
                    <a:pt x="4634" y="807"/>
                  </a:lnTo>
                  <a:lnTo>
                    <a:pt x="4625" y="811"/>
                  </a:lnTo>
                  <a:lnTo>
                    <a:pt x="4617" y="815"/>
                  </a:lnTo>
                  <a:lnTo>
                    <a:pt x="4600" y="822"/>
                  </a:lnTo>
                  <a:lnTo>
                    <a:pt x="4581" y="828"/>
                  </a:lnTo>
                  <a:lnTo>
                    <a:pt x="4560" y="833"/>
                  </a:lnTo>
                  <a:lnTo>
                    <a:pt x="4550" y="835"/>
                  </a:lnTo>
                  <a:lnTo>
                    <a:pt x="4539" y="836"/>
                  </a:lnTo>
                  <a:lnTo>
                    <a:pt x="4516" y="837"/>
                  </a:lnTo>
                  <a:lnTo>
                    <a:pt x="4491" y="839"/>
                  </a:lnTo>
                  <a:lnTo>
                    <a:pt x="4471" y="839"/>
                  </a:lnTo>
                  <a:lnTo>
                    <a:pt x="4452" y="837"/>
                  </a:lnTo>
                  <a:lnTo>
                    <a:pt x="4433" y="836"/>
                  </a:lnTo>
                  <a:lnTo>
                    <a:pt x="4415" y="833"/>
                  </a:lnTo>
                  <a:lnTo>
                    <a:pt x="4397" y="830"/>
                  </a:lnTo>
                  <a:lnTo>
                    <a:pt x="4379" y="826"/>
                  </a:lnTo>
                  <a:lnTo>
                    <a:pt x="4363" y="822"/>
                  </a:lnTo>
                  <a:lnTo>
                    <a:pt x="4346" y="817"/>
                  </a:lnTo>
                  <a:close/>
                  <a:moveTo>
                    <a:pt x="5368" y="946"/>
                  </a:moveTo>
                  <a:lnTo>
                    <a:pt x="5368" y="133"/>
                  </a:lnTo>
                  <a:lnTo>
                    <a:pt x="5649" y="133"/>
                  </a:lnTo>
                  <a:lnTo>
                    <a:pt x="5649" y="14"/>
                  </a:lnTo>
                  <a:lnTo>
                    <a:pt x="4955" y="14"/>
                  </a:lnTo>
                  <a:lnTo>
                    <a:pt x="4955" y="133"/>
                  </a:lnTo>
                  <a:lnTo>
                    <a:pt x="5235" y="133"/>
                  </a:lnTo>
                  <a:lnTo>
                    <a:pt x="5235" y="946"/>
                  </a:lnTo>
                  <a:lnTo>
                    <a:pt x="5368" y="946"/>
                  </a:lnTo>
                  <a:close/>
                  <a:moveTo>
                    <a:pt x="6292" y="933"/>
                  </a:moveTo>
                  <a:lnTo>
                    <a:pt x="6309" y="926"/>
                  </a:lnTo>
                  <a:lnTo>
                    <a:pt x="6323" y="919"/>
                  </a:lnTo>
                  <a:lnTo>
                    <a:pt x="6338" y="911"/>
                  </a:lnTo>
                  <a:lnTo>
                    <a:pt x="6352" y="901"/>
                  </a:lnTo>
                  <a:lnTo>
                    <a:pt x="6366" y="891"/>
                  </a:lnTo>
                  <a:lnTo>
                    <a:pt x="6378" y="882"/>
                  </a:lnTo>
                  <a:lnTo>
                    <a:pt x="6391" y="871"/>
                  </a:lnTo>
                  <a:lnTo>
                    <a:pt x="6402" y="858"/>
                  </a:lnTo>
                  <a:lnTo>
                    <a:pt x="6413" y="846"/>
                  </a:lnTo>
                  <a:lnTo>
                    <a:pt x="6424" y="833"/>
                  </a:lnTo>
                  <a:lnTo>
                    <a:pt x="6434" y="818"/>
                  </a:lnTo>
                  <a:lnTo>
                    <a:pt x="6444" y="804"/>
                  </a:lnTo>
                  <a:lnTo>
                    <a:pt x="6452" y="789"/>
                  </a:lnTo>
                  <a:lnTo>
                    <a:pt x="6460" y="774"/>
                  </a:lnTo>
                  <a:lnTo>
                    <a:pt x="6465" y="765"/>
                  </a:lnTo>
                  <a:lnTo>
                    <a:pt x="6467" y="757"/>
                  </a:lnTo>
                  <a:lnTo>
                    <a:pt x="6474" y="739"/>
                  </a:lnTo>
                  <a:lnTo>
                    <a:pt x="6481" y="722"/>
                  </a:lnTo>
                  <a:lnTo>
                    <a:pt x="6485" y="703"/>
                  </a:lnTo>
                  <a:lnTo>
                    <a:pt x="6491" y="683"/>
                  </a:lnTo>
                  <a:lnTo>
                    <a:pt x="6494" y="664"/>
                  </a:lnTo>
                  <a:lnTo>
                    <a:pt x="6497" y="645"/>
                  </a:lnTo>
                  <a:lnTo>
                    <a:pt x="6499" y="622"/>
                  </a:lnTo>
                  <a:lnTo>
                    <a:pt x="6501" y="602"/>
                  </a:lnTo>
                  <a:lnTo>
                    <a:pt x="6501" y="579"/>
                  </a:lnTo>
                  <a:lnTo>
                    <a:pt x="6501" y="14"/>
                  </a:lnTo>
                  <a:lnTo>
                    <a:pt x="6367" y="14"/>
                  </a:lnTo>
                  <a:lnTo>
                    <a:pt x="6367" y="579"/>
                  </a:lnTo>
                  <a:lnTo>
                    <a:pt x="6366" y="610"/>
                  </a:lnTo>
                  <a:lnTo>
                    <a:pt x="6363" y="639"/>
                  </a:lnTo>
                  <a:lnTo>
                    <a:pt x="6362" y="652"/>
                  </a:lnTo>
                  <a:lnTo>
                    <a:pt x="6359" y="665"/>
                  </a:lnTo>
                  <a:lnTo>
                    <a:pt x="6353" y="690"/>
                  </a:lnTo>
                  <a:lnTo>
                    <a:pt x="6345" y="714"/>
                  </a:lnTo>
                  <a:lnTo>
                    <a:pt x="6341" y="725"/>
                  </a:lnTo>
                  <a:lnTo>
                    <a:pt x="6337" y="735"/>
                  </a:lnTo>
                  <a:lnTo>
                    <a:pt x="6331" y="744"/>
                  </a:lnTo>
                  <a:lnTo>
                    <a:pt x="6324" y="754"/>
                  </a:lnTo>
                  <a:lnTo>
                    <a:pt x="6318" y="764"/>
                  </a:lnTo>
                  <a:lnTo>
                    <a:pt x="6311" y="772"/>
                  </a:lnTo>
                  <a:lnTo>
                    <a:pt x="6305" y="781"/>
                  </a:lnTo>
                  <a:lnTo>
                    <a:pt x="6298" y="787"/>
                  </a:lnTo>
                  <a:lnTo>
                    <a:pt x="6289" y="794"/>
                  </a:lnTo>
                  <a:lnTo>
                    <a:pt x="6281" y="801"/>
                  </a:lnTo>
                  <a:lnTo>
                    <a:pt x="6273" y="807"/>
                  </a:lnTo>
                  <a:lnTo>
                    <a:pt x="6263" y="812"/>
                  </a:lnTo>
                  <a:lnTo>
                    <a:pt x="6254" y="818"/>
                  </a:lnTo>
                  <a:lnTo>
                    <a:pt x="6245" y="822"/>
                  </a:lnTo>
                  <a:lnTo>
                    <a:pt x="6234" y="826"/>
                  </a:lnTo>
                  <a:lnTo>
                    <a:pt x="6224" y="829"/>
                  </a:lnTo>
                  <a:lnTo>
                    <a:pt x="6213" y="832"/>
                  </a:lnTo>
                  <a:lnTo>
                    <a:pt x="6202" y="835"/>
                  </a:lnTo>
                  <a:lnTo>
                    <a:pt x="6189" y="836"/>
                  </a:lnTo>
                  <a:lnTo>
                    <a:pt x="6178" y="837"/>
                  </a:lnTo>
                  <a:lnTo>
                    <a:pt x="6165" y="839"/>
                  </a:lnTo>
                  <a:lnTo>
                    <a:pt x="6152" y="839"/>
                  </a:lnTo>
                  <a:lnTo>
                    <a:pt x="6126" y="837"/>
                  </a:lnTo>
                  <a:lnTo>
                    <a:pt x="6115" y="836"/>
                  </a:lnTo>
                  <a:lnTo>
                    <a:pt x="6103" y="835"/>
                  </a:lnTo>
                  <a:lnTo>
                    <a:pt x="6092" y="832"/>
                  </a:lnTo>
                  <a:lnTo>
                    <a:pt x="6081" y="829"/>
                  </a:lnTo>
                  <a:lnTo>
                    <a:pt x="6069" y="826"/>
                  </a:lnTo>
                  <a:lnTo>
                    <a:pt x="6060" y="822"/>
                  </a:lnTo>
                  <a:lnTo>
                    <a:pt x="6050" y="818"/>
                  </a:lnTo>
                  <a:lnTo>
                    <a:pt x="6040" y="812"/>
                  </a:lnTo>
                  <a:lnTo>
                    <a:pt x="6030" y="807"/>
                  </a:lnTo>
                  <a:lnTo>
                    <a:pt x="6022" y="801"/>
                  </a:lnTo>
                  <a:lnTo>
                    <a:pt x="6014" y="794"/>
                  </a:lnTo>
                  <a:lnTo>
                    <a:pt x="6005" y="787"/>
                  </a:lnTo>
                  <a:lnTo>
                    <a:pt x="5998" y="781"/>
                  </a:lnTo>
                  <a:lnTo>
                    <a:pt x="5990" y="772"/>
                  </a:lnTo>
                  <a:lnTo>
                    <a:pt x="5983" y="764"/>
                  </a:lnTo>
                  <a:lnTo>
                    <a:pt x="5978" y="754"/>
                  </a:lnTo>
                  <a:lnTo>
                    <a:pt x="5965" y="735"/>
                  </a:lnTo>
                  <a:lnTo>
                    <a:pt x="5961" y="725"/>
                  </a:lnTo>
                  <a:lnTo>
                    <a:pt x="5955" y="714"/>
                  </a:lnTo>
                  <a:lnTo>
                    <a:pt x="5951" y="703"/>
                  </a:lnTo>
                  <a:lnTo>
                    <a:pt x="5947" y="690"/>
                  </a:lnTo>
                  <a:lnTo>
                    <a:pt x="5944" y="678"/>
                  </a:lnTo>
                  <a:lnTo>
                    <a:pt x="5941" y="665"/>
                  </a:lnTo>
                  <a:lnTo>
                    <a:pt x="5937" y="639"/>
                  </a:lnTo>
                  <a:lnTo>
                    <a:pt x="5934" y="610"/>
                  </a:lnTo>
                  <a:lnTo>
                    <a:pt x="5933" y="595"/>
                  </a:lnTo>
                  <a:lnTo>
                    <a:pt x="5933" y="579"/>
                  </a:lnTo>
                  <a:lnTo>
                    <a:pt x="5933" y="14"/>
                  </a:lnTo>
                  <a:lnTo>
                    <a:pt x="5800" y="14"/>
                  </a:lnTo>
                  <a:lnTo>
                    <a:pt x="5800" y="579"/>
                  </a:lnTo>
                  <a:lnTo>
                    <a:pt x="5801" y="602"/>
                  </a:lnTo>
                  <a:lnTo>
                    <a:pt x="5801" y="622"/>
                  </a:lnTo>
                  <a:lnTo>
                    <a:pt x="5804" y="645"/>
                  </a:lnTo>
                  <a:lnTo>
                    <a:pt x="5807" y="664"/>
                  </a:lnTo>
                  <a:lnTo>
                    <a:pt x="5811" y="683"/>
                  </a:lnTo>
                  <a:lnTo>
                    <a:pt x="5815" y="703"/>
                  </a:lnTo>
                  <a:lnTo>
                    <a:pt x="5820" y="722"/>
                  </a:lnTo>
                  <a:lnTo>
                    <a:pt x="5823" y="731"/>
                  </a:lnTo>
                  <a:lnTo>
                    <a:pt x="5826" y="739"/>
                  </a:lnTo>
                  <a:lnTo>
                    <a:pt x="5833" y="757"/>
                  </a:lnTo>
                  <a:lnTo>
                    <a:pt x="5840" y="774"/>
                  </a:lnTo>
                  <a:lnTo>
                    <a:pt x="5848" y="789"/>
                  </a:lnTo>
                  <a:lnTo>
                    <a:pt x="5858" y="804"/>
                  </a:lnTo>
                  <a:lnTo>
                    <a:pt x="5866" y="818"/>
                  </a:lnTo>
                  <a:lnTo>
                    <a:pt x="5877" y="833"/>
                  </a:lnTo>
                  <a:lnTo>
                    <a:pt x="5887" y="846"/>
                  </a:lnTo>
                  <a:lnTo>
                    <a:pt x="5900" y="858"/>
                  </a:lnTo>
                  <a:lnTo>
                    <a:pt x="5911" y="871"/>
                  </a:lnTo>
                  <a:lnTo>
                    <a:pt x="5925" y="882"/>
                  </a:lnTo>
                  <a:lnTo>
                    <a:pt x="5937" y="891"/>
                  </a:lnTo>
                  <a:lnTo>
                    <a:pt x="5951" y="901"/>
                  </a:lnTo>
                  <a:lnTo>
                    <a:pt x="5965" y="911"/>
                  </a:lnTo>
                  <a:lnTo>
                    <a:pt x="5980" y="919"/>
                  </a:lnTo>
                  <a:lnTo>
                    <a:pt x="5987" y="922"/>
                  </a:lnTo>
                  <a:lnTo>
                    <a:pt x="5996" y="926"/>
                  </a:lnTo>
                  <a:lnTo>
                    <a:pt x="6011" y="933"/>
                  </a:lnTo>
                  <a:lnTo>
                    <a:pt x="6028" y="939"/>
                  </a:lnTo>
                  <a:lnTo>
                    <a:pt x="6044" y="944"/>
                  </a:lnTo>
                  <a:lnTo>
                    <a:pt x="6061" y="948"/>
                  </a:lnTo>
                  <a:lnTo>
                    <a:pt x="6079" y="952"/>
                  </a:lnTo>
                  <a:lnTo>
                    <a:pt x="6097" y="955"/>
                  </a:lnTo>
                  <a:lnTo>
                    <a:pt x="6115" y="957"/>
                  </a:lnTo>
                  <a:lnTo>
                    <a:pt x="6133" y="958"/>
                  </a:lnTo>
                  <a:lnTo>
                    <a:pt x="6152" y="958"/>
                  </a:lnTo>
                  <a:lnTo>
                    <a:pt x="6171" y="958"/>
                  </a:lnTo>
                  <a:lnTo>
                    <a:pt x="6189" y="957"/>
                  </a:lnTo>
                  <a:lnTo>
                    <a:pt x="6207" y="955"/>
                  </a:lnTo>
                  <a:lnTo>
                    <a:pt x="6225" y="952"/>
                  </a:lnTo>
                  <a:lnTo>
                    <a:pt x="6242" y="948"/>
                  </a:lnTo>
                  <a:lnTo>
                    <a:pt x="6260" y="944"/>
                  </a:lnTo>
                  <a:lnTo>
                    <a:pt x="6277" y="939"/>
                  </a:lnTo>
                  <a:lnTo>
                    <a:pt x="6292" y="933"/>
                  </a:lnTo>
                  <a:close/>
                  <a:moveTo>
                    <a:pt x="7010" y="133"/>
                  </a:moveTo>
                  <a:lnTo>
                    <a:pt x="7027" y="134"/>
                  </a:lnTo>
                  <a:lnTo>
                    <a:pt x="7042" y="134"/>
                  </a:lnTo>
                  <a:lnTo>
                    <a:pt x="7072" y="139"/>
                  </a:lnTo>
                  <a:lnTo>
                    <a:pt x="7088" y="143"/>
                  </a:lnTo>
                  <a:lnTo>
                    <a:pt x="7103" y="145"/>
                  </a:lnTo>
                  <a:lnTo>
                    <a:pt x="7118" y="151"/>
                  </a:lnTo>
                  <a:lnTo>
                    <a:pt x="7134" y="155"/>
                  </a:lnTo>
                  <a:lnTo>
                    <a:pt x="7148" y="161"/>
                  </a:lnTo>
                  <a:lnTo>
                    <a:pt x="7163" y="168"/>
                  </a:lnTo>
                  <a:lnTo>
                    <a:pt x="7177" y="175"/>
                  </a:lnTo>
                  <a:lnTo>
                    <a:pt x="7191" y="183"/>
                  </a:lnTo>
                  <a:lnTo>
                    <a:pt x="7203" y="191"/>
                  </a:lnTo>
                  <a:lnTo>
                    <a:pt x="7216" y="201"/>
                  </a:lnTo>
                  <a:lnTo>
                    <a:pt x="7228" y="211"/>
                  </a:lnTo>
                  <a:lnTo>
                    <a:pt x="7241" y="222"/>
                  </a:lnTo>
                  <a:lnTo>
                    <a:pt x="7252" y="233"/>
                  </a:lnTo>
                  <a:lnTo>
                    <a:pt x="7263" y="244"/>
                  </a:lnTo>
                  <a:lnTo>
                    <a:pt x="7274" y="258"/>
                  </a:lnTo>
                  <a:lnTo>
                    <a:pt x="7284" y="270"/>
                  </a:lnTo>
                  <a:lnTo>
                    <a:pt x="7292" y="284"/>
                  </a:lnTo>
                  <a:lnTo>
                    <a:pt x="7301" y="299"/>
                  </a:lnTo>
                  <a:lnTo>
                    <a:pt x="7309" y="313"/>
                  </a:lnTo>
                  <a:lnTo>
                    <a:pt x="7313" y="322"/>
                  </a:lnTo>
                  <a:lnTo>
                    <a:pt x="7317" y="330"/>
                  </a:lnTo>
                  <a:lnTo>
                    <a:pt x="7323" y="346"/>
                  </a:lnTo>
                  <a:lnTo>
                    <a:pt x="7330" y="363"/>
                  </a:lnTo>
                  <a:lnTo>
                    <a:pt x="7334" y="381"/>
                  </a:lnTo>
                  <a:lnTo>
                    <a:pt x="7338" y="399"/>
                  </a:lnTo>
                  <a:lnTo>
                    <a:pt x="7341" y="419"/>
                  </a:lnTo>
                  <a:lnTo>
                    <a:pt x="7344" y="438"/>
                  </a:lnTo>
                  <a:lnTo>
                    <a:pt x="7345" y="459"/>
                  </a:lnTo>
                  <a:lnTo>
                    <a:pt x="7345" y="480"/>
                  </a:lnTo>
                  <a:lnTo>
                    <a:pt x="7345" y="500"/>
                  </a:lnTo>
                  <a:lnTo>
                    <a:pt x="7344" y="521"/>
                  </a:lnTo>
                  <a:lnTo>
                    <a:pt x="7341" y="541"/>
                  </a:lnTo>
                  <a:lnTo>
                    <a:pt x="7338" y="559"/>
                  </a:lnTo>
                  <a:lnTo>
                    <a:pt x="7337" y="568"/>
                  </a:lnTo>
                  <a:lnTo>
                    <a:pt x="7334" y="578"/>
                  </a:lnTo>
                  <a:lnTo>
                    <a:pt x="7330" y="596"/>
                  </a:lnTo>
                  <a:lnTo>
                    <a:pt x="7323" y="613"/>
                  </a:lnTo>
                  <a:lnTo>
                    <a:pt x="7317" y="629"/>
                  </a:lnTo>
                  <a:lnTo>
                    <a:pt x="7309" y="645"/>
                  </a:lnTo>
                  <a:lnTo>
                    <a:pt x="7301" y="660"/>
                  </a:lnTo>
                  <a:lnTo>
                    <a:pt x="7292" y="675"/>
                  </a:lnTo>
                  <a:lnTo>
                    <a:pt x="7284" y="689"/>
                  </a:lnTo>
                  <a:lnTo>
                    <a:pt x="7274" y="701"/>
                  </a:lnTo>
                  <a:lnTo>
                    <a:pt x="7263" y="714"/>
                  </a:lnTo>
                  <a:lnTo>
                    <a:pt x="7252" y="726"/>
                  </a:lnTo>
                  <a:lnTo>
                    <a:pt x="7241" y="738"/>
                  </a:lnTo>
                  <a:lnTo>
                    <a:pt x="7228" y="749"/>
                  </a:lnTo>
                  <a:lnTo>
                    <a:pt x="7216" y="758"/>
                  </a:lnTo>
                  <a:lnTo>
                    <a:pt x="7203" y="767"/>
                  </a:lnTo>
                  <a:lnTo>
                    <a:pt x="7191" y="776"/>
                  </a:lnTo>
                  <a:lnTo>
                    <a:pt x="7177" y="783"/>
                  </a:lnTo>
                  <a:lnTo>
                    <a:pt x="7163" y="790"/>
                  </a:lnTo>
                  <a:lnTo>
                    <a:pt x="7148" y="797"/>
                  </a:lnTo>
                  <a:lnTo>
                    <a:pt x="7134" y="803"/>
                  </a:lnTo>
                  <a:lnTo>
                    <a:pt x="7118" y="808"/>
                  </a:lnTo>
                  <a:lnTo>
                    <a:pt x="7103" y="812"/>
                  </a:lnTo>
                  <a:lnTo>
                    <a:pt x="7088" y="817"/>
                  </a:lnTo>
                  <a:lnTo>
                    <a:pt x="7072" y="819"/>
                  </a:lnTo>
                  <a:lnTo>
                    <a:pt x="7057" y="822"/>
                  </a:lnTo>
                  <a:lnTo>
                    <a:pt x="7042" y="823"/>
                  </a:lnTo>
                  <a:lnTo>
                    <a:pt x="7027" y="825"/>
                  </a:lnTo>
                  <a:lnTo>
                    <a:pt x="7010" y="825"/>
                  </a:lnTo>
                  <a:lnTo>
                    <a:pt x="6858" y="825"/>
                  </a:lnTo>
                  <a:lnTo>
                    <a:pt x="6858" y="133"/>
                  </a:lnTo>
                  <a:lnTo>
                    <a:pt x="7010" y="133"/>
                  </a:lnTo>
                  <a:close/>
                  <a:moveTo>
                    <a:pt x="7010" y="946"/>
                  </a:moveTo>
                  <a:lnTo>
                    <a:pt x="7033" y="944"/>
                  </a:lnTo>
                  <a:lnTo>
                    <a:pt x="7056" y="943"/>
                  </a:lnTo>
                  <a:lnTo>
                    <a:pt x="7078" y="940"/>
                  </a:lnTo>
                  <a:lnTo>
                    <a:pt x="7100" y="937"/>
                  </a:lnTo>
                  <a:lnTo>
                    <a:pt x="7121" y="933"/>
                  </a:lnTo>
                  <a:lnTo>
                    <a:pt x="7143" y="927"/>
                  </a:lnTo>
                  <a:lnTo>
                    <a:pt x="7164" y="921"/>
                  </a:lnTo>
                  <a:lnTo>
                    <a:pt x="7186" y="914"/>
                  </a:lnTo>
                  <a:lnTo>
                    <a:pt x="7207" y="905"/>
                  </a:lnTo>
                  <a:lnTo>
                    <a:pt x="7227" y="896"/>
                  </a:lnTo>
                  <a:lnTo>
                    <a:pt x="7246" y="886"/>
                  </a:lnTo>
                  <a:lnTo>
                    <a:pt x="7266" y="875"/>
                  </a:lnTo>
                  <a:lnTo>
                    <a:pt x="7284" y="864"/>
                  </a:lnTo>
                  <a:lnTo>
                    <a:pt x="7302" y="851"/>
                  </a:lnTo>
                  <a:lnTo>
                    <a:pt x="7319" y="837"/>
                  </a:lnTo>
                  <a:lnTo>
                    <a:pt x="7327" y="830"/>
                  </a:lnTo>
                  <a:lnTo>
                    <a:pt x="7335" y="822"/>
                  </a:lnTo>
                  <a:lnTo>
                    <a:pt x="7344" y="815"/>
                  </a:lnTo>
                  <a:lnTo>
                    <a:pt x="7351" y="807"/>
                  </a:lnTo>
                  <a:lnTo>
                    <a:pt x="7366" y="792"/>
                  </a:lnTo>
                  <a:lnTo>
                    <a:pt x="7380" y="774"/>
                  </a:lnTo>
                  <a:lnTo>
                    <a:pt x="7394" y="756"/>
                  </a:lnTo>
                  <a:lnTo>
                    <a:pt x="7406" y="738"/>
                  </a:lnTo>
                  <a:lnTo>
                    <a:pt x="7419" y="718"/>
                  </a:lnTo>
                  <a:lnTo>
                    <a:pt x="7430" y="697"/>
                  </a:lnTo>
                  <a:lnTo>
                    <a:pt x="7440" y="677"/>
                  </a:lnTo>
                  <a:lnTo>
                    <a:pt x="7449" y="654"/>
                  </a:lnTo>
                  <a:lnTo>
                    <a:pt x="7456" y="632"/>
                  </a:lnTo>
                  <a:lnTo>
                    <a:pt x="7461" y="620"/>
                  </a:lnTo>
                  <a:lnTo>
                    <a:pt x="7463" y="609"/>
                  </a:lnTo>
                  <a:lnTo>
                    <a:pt x="7469" y="584"/>
                  </a:lnTo>
                  <a:lnTo>
                    <a:pt x="7473" y="559"/>
                  </a:lnTo>
                  <a:lnTo>
                    <a:pt x="7474" y="546"/>
                  </a:lnTo>
                  <a:lnTo>
                    <a:pt x="7476" y="534"/>
                  </a:lnTo>
                  <a:lnTo>
                    <a:pt x="7479" y="506"/>
                  </a:lnTo>
                  <a:lnTo>
                    <a:pt x="7479" y="480"/>
                  </a:lnTo>
                  <a:lnTo>
                    <a:pt x="7479" y="452"/>
                  </a:lnTo>
                  <a:lnTo>
                    <a:pt x="7476" y="426"/>
                  </a:lnTo>
                  <a:lnTo>
                    <a:pt x="7474" y="413"/>
                  </a:lnTo>
                  <a:lnTo>
                    <a:pt x="7473" y="401"/>
                  </a:lnTo>
                  <a:lnTo>
                    <a:pt x="7469" y="376"/>
                  </a:lnTo>
                  <a:lnTo>
                    <a:pt x="7463" y="351"/>
                  </a:lnTo>
                  <a:lnTo>
                    <a:pt x="7456" y="327"/>
                  </a:lnTo>
                  <a:lnTo>
                    <a:pt x="7449" y="305"/>
                  </a:lnTo>
                  <a:lnTo>
                    <a:pt x="7444" y="294"/>
                  </a:lnTo>
                  <a:lnTo>
                    <a:pt x="7440" y="283"/>
                  </a:lnTo>
                  <a:lnTo>
                    <a:pt x="7430" y="262"/>
                  </a:lnTo>
                  <a:lnTo>
                    <a:pt x="7419" y="241"/>
                  </a:lnTo>
                  <a:lnTo>
                    <a:pt x="7406" y="222"/>
                  </a:lnTo>
                  <a:lnTo>
                    <a:pt x="7394" y="202"/>
                  </a:lnTo>
                  <a:lnTo>
                    <a:pt x="7387" y="194"/>
                  </a:lnTo>
                  <a:lnTo>
                    <a:pt x="7380" y="184"/>
                  </a:lnTo>
                  <a:lnTo>
                    <a:pt x="7366" y="168"/>
                  </a:lnTo>
                  <a:lnTo>
                    <a:pt x="7351" y="151"/>
                  </a:lnTo>
                  <a:lnTo>
                    <a:pt x="7335" y="136"/>
                  </a:lnTo>
                  <a:lnTo>
                    <a:pt x="7319" y="122"/>
                  </a:lnTo>
                  <a:lnTo>
                    <a:pt x="7302" y="108"/>
                  </a:lnTo>
                  <a:lnTo>
                    <a:pt x="7284" y="96"/>
                  </a:lnTo>
                  <a:lnTo>
                    <a:pt x="7266" y="83"/>
                  </a:lnTo>
                  <a:lnTo>
                    <a:pt x="7246" y="72"/>
                  </a:lnTo>
                  <a:lnTo>
                    <a:pt x="7227" y="62"/>
                  </a:lnTo>
                  <a:lnTo>
                    <a:pt x="7207" y="54"/>
                  </a:lnTo>
                  <a:lnTo>
                    <a:pt x="7186" y="46"/>
                  </a:lnTo>
                  <a:lnTo>
                    <a:pt x="7164" y="37"/>
                  </a:lnTo>
                  <a:lnTo>
                    <a:pt x="7154" y="35"/>
                  </a:lnTo>
                  <a:lnTo>
                    <a:pt x="7143" y="32"/>
                  </a:lnTo>
                  <a:lnTo>
                    <a:pt x="7121" y="26"/>
                  </a:lnTo>
                  <a:lnTo>
                    <a:pt x="7100" y="22"/>
                  </a:lnTo>
                  <a:lnTo>
                    <a:pt x="7078" y="18"/>
                  </a:lnTo>
                  <a:lnTo>
                    <a:pt x="7056" y="15"/>
                  </a:lnTo>
                  <a:lnTo>
                    <a:pt x="7033" y="14"/>
                  </a:lnTo>
                  <a:lnTo>
                    <a:pt x="7010" y="14"/>
                  </a:lnTo>
                  <a:lnTo>
                    <a:pt x="6725" y="14"/>
                  </a:lnTo>
                  <a:lnTo>
                    <a:pt x="6725" y="946"/>
                  </a:lnTo>
                  <a:lnTo>
                    <a:pt x="7010" y="946"/>
                  </a:lnTo>
                  <a:close/>
                  <a:moveTo>
                    <a:pt x="7810" y="946"/>
                  </a:moveTo>
                  <a:lnTo>
                    <a:pt x="7810" y="14"/>
                  </a:lnTo>
                  <a:lnTo>
                    <a:pt x="7676" y="14"/>
                  </a:lnTo>
                  <a:lnTo>
                    <a:pt x="7676" y="946"/>
                  </a:lnTo>
                  <a:lnTo>
                    <a:pt x="7810" y="946"/>
                  </a:lnTo>
                  <a:close/>
                  <a:moveTo>
                    <a:pt x="8329" y="811"/>
                  </a:moveTo>
                  <a:lnTo>
                    <a:pt x="8315" y="804"/>
                  </a:lnTo>
                  <a:lnTo>
                    <a:pt x="8302" y="796"/>
                  </a:lnTo>
                  <a:lnTo>
                    <a:pt x="8290" y="787"/>
                  </a:lnTo>
                  <a:lnTo>
                    <a:pt x="8277" y="779"/>
                  </a:lnTo>
                  <a:lnTo>
                    <a:pt x="8265" y="769"/>
                  </a:lnTo>
                  <a:lnTo>
                    <a:pt x="8253" y="758"/>
                  </a:lnTo>
                  <a:lnTo>
                    <a:pt x="8242" y="747"/>
                  </a:lnTo>
                  <a:lnTo>
                    <a:pt x="8233" y="736"/>
                  </a:lnTo>
                  <a:lnTo>
                    <a:pt x="8221" y="724"/>
                  </a:lnTo>
                  <a:lnTo>
                    <a:pt x="8217" y="718"/>
                  </a:lnTo>
                  <a:lnTo>
                    <a:pt x="8212" y="711"/>
                  </a:lnTo>
                  <a:lnTo>
                    <a:pt x="8203" y="697"/>
                  </a:lnTo>
                  <a:lnTo>
                    <a:pt x="8195" y="683"/>
                  </a:lnTo>
                  <a:lnTo>
                    <a:pt x="8187" y="670"/>
                  </a:lnTo>
                  <a:lnTo>
                    <a:pt x="8180" y="654"/>
                  </a:lnTo>
                  <a:lnTo>
                    <a:pt x="8173" y="639"/>
                  </a:lnTo>
                  <a:lnTo>
                    <a:pt x="8166" y="622"/>
                  </a:lnTo>
                  <a:lnTo>
                    <a:pt x="8160" y="606"/>
                  </a:lnTo>
                  <a:lnTo>
                    <a:pt x="8155" y="589"/>
                  </a:lnTo>
                  <a:lnTo>
                    <a:pt x="8151" y="571"/>
                  </a:lnTo>
                  <a:lnTo>
                    <a:pt x="8148" y="553"/>
                  </a:lnTo>
                  <a:lnTo>
                    <a:pt x="8145" y="535"/>
                  </a:lnTo>
                  <a:lnTo>
                    <a:pt x="8142" y="517"/>
                  </a:lnTo>
                  <a:lnTo>
                    <a:pt x="8142" y="499"/>
                  </a:lnTo>
                  <a:lnTo>
                    <a:pt x="8141" y="480"/>
                  </a:lnTo>
                  <a:lnTo>
                    <a:pt x="8142" y="460"/>
                  </a:lnTo>
                  <a:lnTo>
                    <a:pt x="8142" y="441"/>
                  </a:lnTo>
                  <a:lnTo>
                    <a:pt x="8144" y="432"/>
                  </a:lnTo>
                  <a:lnTo>
                    <a:pt x="8145" y="423"/>
                  </a:lnTo>
                  <a:lnTo>
                    <a:pt x="8148" y="405"/>
                  </a:lnTo>
                  <a:lnTo>
                    <a:pt x="8151" y="387"/>
                  </a:lnTo>
                  <a:lnTo>
                    <a:pt x="8155" y="370"/>
                  </a:lnTo>
                  <a:lnTo>
                    <a:pt x="8160" y="353"/>
                  </a:lnTo>
                  <a:lnTo>
                    <a:pt x="8166" y="337"/>
                  </a:lnTo>
                  <a:lnTo>
                    <a:pt x="8173" y="320"/>
                  </a:lnTo>
                  <a:lnTo>
                    <a:pt x="8180" y="305"/>
                  </a:lnTo>
                  <a:lnTo>
                    <a:pt x="8195" y="274"/>
                  </a:lnTo>
                  <a:lnTo>
                    <a:pt x="8212" y="248"/>
                  </a:lnTo>
                  <a:lnTo>
                    <a:pt x="8221" y="234"/>
                  </a:lnTo>
                  <a:lnTo>
                    <a:pt x="8233" y="223"/>
                  </a:lnTo>
                  <a:lnTo>
                    <a:pt x="8242" y="211"/>
                  </a:lnTo>
                  <a:lnTo>
                    <a:pt x="8253" y="200"/>
                  </a:lnTo>
                  <a:lnTo>
                    <a:pt x="8265" y="190"/>
                  </a:lnTo>
                  <a:lnTo>
                    <a:pt x="8277" y="180"/>
                  </a:lnTo>
                  <a:lnTo>
                    <a:pt x="8290" y="170"/>
                  </a:lnTo>
                  <a:lnTo>
                    <a:pt x="8295" y="166"/>
                  </a:lnTo>
                  <a:lnTo>
                    <a:pt x="8302" y="162"/>
                  </a:lnTo>
                  <a:lnTo>
                    <a:pt x="8315" y="155"/>
                  </a:lnTo>
                  <a:lnTo>
                    <a:pt x="8329" y="147"/>
                  </a:lnTo>
                  <a:lnTo>
                    <a:pt x="8343" y="141"/>
                  </a:lnTo>
                  <a:lnTo>
                    <a:pt x="8356" y="136"/>
                  </a:lnTo>
                  <a:lnTo>
                    <a:pt x="8372" y="130"/>
                  </a:lnTo>
                  <a:lnTo>
                    <a:pt x="8386" y="127"/>
                  </a:lnTo>
                  <a:lnTo>
                    <a:pt x="8401" y="125"/>
                  </a:lnTo>
                  <a:lnTo>
                    <a:pt x="8416" y="122"/>
                  </a:lnTo>
                  <a:lnTo>
                    <a:pt x="8432" y="120"/>
                  </a:lnTo>
                  <a:lnTo>
                    <a:pt x="8447" y="120"/>
                  </a:lnTo>
                  <a:lnTo>
                    <a:pt x="8462" y="120"/>
                  </a:lnTo>
                  <a:lnTo>
                    <a:pt x="8477" y="122"/>
                  </a:lnTo>
                  <a:lnTo>
                    <a:pt x="8493" y="125"/>
                  </a:lnTo>
                  <a:lnTo>
                    <a:pt x="8508" y="127"/>
                  </a:lnTo>
                  <a:lnTo>
                    <a:pt x="8523" y="130"/>
                  </a:lnTo>
                  <a:lnTo>
                    <a:pt x="8537" y="136"/>
                  </a:lnTo>
                  <a:lnTo>
                    <a:pt x="8551" y="141"/>
                  </a:lnTo>
                  <a:lnTo>
                    <a:pt x="8565" y="147"/>
                  </a:lnTo>
                  <a:lnTo>
                    <a:pt x="8579" y="155"/>
                  </a:lnTo>
                  <a:lnTo>
                    <a:pt x="8593" y="162"/>
                  </a:lnTo>
                  <a:lnTo>
                    <a:pt x="8605" y="170"/>
                  </a:lnTo>
                  <a:lnTo>
                    <a:pt x="8618" y="180"/>
                  </a:lnTo>
                  <a:lnTo>
                    <a:pt x="8630" y="190"/>
                  </a:lnTo>
                  <a:lnTo>
                    <a:pt x="8642" y="200"/>
                  </a:lnTo>
                  <a:lnTo>
                    <a:pt x="8653" y="211"/>
                  </a:lnTo>
                  <a:lnTo>
                    <a:pt x="8664" y="223"/>
                  </a:lnTo>
                  <a:lnTo>
                    <a:pt x="8674" y="234"/>
                  </a:lnTo>
                  <a:lnTo>
                    <a:pt x="8683" y="248"/>
                  </a:lnTo>
                  <a:lnTo>
                    <a:pt x="8693" y="261"/>
                  </a:lnTo>
                  <a:lnTo>
                    <a:pt x="8701" y="274"/>
                  </a:lnTo>
                  <a:lnTo>
                    <a:pt x="8710" y="290"/>
                  </a:lnTo>
                  <a:lnTo>
                    <a:pt x="8717" y="305"/>
                  </a:lnTo>
                  <a:lnTo>
                    <a:pt x="8724" y="320"/>
                  </a:lnTo>
                  <a:lnTo>
                    <a:pt x="8731" y="337"/>
                  </a:lnTo>
                  <a:lnTo>
                    <a:pt x="8736" y="353"/>
                  </a:lnTo>
                  <a:lnTo>
                    <a:pt x="8742" y="370"/>
                  </a:lnTo>
                  <a:lnTo>
                    <a:pt x="8746" y="387"/>
                  </a:lnTo>
                  <a:lnTo>
                    <a:pt x="8749" y="405"/>
                  </a:lnTo>
                  <a:lnTo>
                    <a:pt x="8751" y="423"/>
                  </a:lnTo>
                  <a:lnTo>
                    <a:pt x="8754" y="441"/>
                  </a:lnTo>
                  <a:lnTo>
                    <a:pt x="8754" y="460"/>
                  </a:lnTo>
                  <a:lnTo>
                    <a:pt x="8756" y="480"/>
                  </a:lnTo>
                  <a:lnTo>
                    <a:pt x="8754" y="499"/>
                  </a:lnTo>
                  <a:lnTo>
                    <a:pt x="8754" y="517"/>
                  </a:lnTo>
                  <a:lnTo>
                    <a:pt x="8753" y="527"/>
                  </a:lnTo>
                  <a:lnTo>
                    <a:pt x="8751" y="535"/>
                  </a:lnTo>
                  <a:lnTo>
                    <a:pt x="8749" y="553"/>
                  </a:lnTo>
                  <a:lnTo>
                    <a:pt x="8746" y="571"/>
                  </a:lnTo>
                  <a:lnTo>
                    <a:pt x="8742" y="589"/>
                  </a:lnTo>
                  <a:lnTo>
                    <a:pt x="8736" y="606"/>
                  </a:lnTo>
                  <a:lnTo>
                    <a:pt x="8731" y="622"/>
                  </a:lnTo>
                  <a:lnTo>
                    <a:pt x="8724" y="639"/>
                  </a:lnTo>
                  <a:lnTo>
                    <a:pt x="8717" y="654"/>
                  </a:lnTo>
                  <a:lnTo>
                    <a:pt x="8710" y="670"/>
                  </a:lnTo>
                  <a:lnTo>
                    <a:pt x="8701" y="683"/>
                  </a:lnTo>
                  <a:lnTo>
                    <a:pt x="8693" y="697"/>
                  </a:lnTo>
                  <a:lnTo>
                    <a:pt x="8683" y="711"/>
                  </a:lnTo>
                  <a:lnTo>
                    <a:pt x="8674" y="724"/>
                  </a:lnTo>
                  <a:lnTo>
                    <a:pt x="8664" y="736"/>
                  </a:lnTo>
                  <a:lnTo>
                    <a:pt x="8653" y="747"/>
                  </a:lnTo>
                  <a:lnTo>
                    <a:pt x="8642" y="758"/>
                  </a:lnTo>
                  <a:lnTo>
                    <a:pt x="8630" y="769"/>
                  </a:lnTo>
                  <a:lnTo>
                    <a:pt x="8618" y="779"/>
                  </a:lnTo>
                  <a:lnTo>
                    <a:pt x="8605" y="787"/>
                  </a:lnTo>
                  <a:lnTo>
                    <a:pt x="8593" y="796"/>
                  </a:lnTo>
                  <a:lnTo>
                    <a:pt x="8579" y="804"/>
                  </a:lnTo>
                  <a:lnTo>
                    <a:pt x="8565" y="811"/>
                  </a:lnTo>
                  <a:lnTo>
                    <a:pt x="8558" y="815"/>
                  </a:lnTo>
                  <a:lnTo>
                    <a:pt x="8551" y="818"/>
                  </a:lnTo>
                  <a:lnTo>
                    <a:pt x="8537" y="823"/>
                  </a:lnTo>
                  <a:lnTo>
                    <a:pt x="8523" y="828"/>
                  </a:lnTo>
                  <a:lnTo>
                    <a:pt x="8508" y="832"/>
                  </a:lnTo>
                  <a:lnTo>
                    <a:pt x="8493" y="835"/>
                  </a:lnTo>
                  <a:lnTo>
                    <a:pt x="8477" y="837"/>
                  </a:lnTo>
                  <a:lnTo>
                    <a:pt x="8462" y="837"/>
                  </a:lnTo>
                  <a:lnTo>
                    <a:pt x="8447" y="839"/>
                  </a:lnTo>
                  <a:lnTo>
                    <a:pt x="8432" y="837"/>
                  </a:lnTo>
                  <a:lnTo>
                    <a:pt x="8416" y="837"/>
                  </a:lnTo>
                  <a:lnTo>
                    <a:pt x="8401" y="835"/>
                  </a:lnTo>
                  <a:lnTo>
                    <a:pt x="8386" y="832"/>
                  </a:lnTo>
                  <a:lnTo>
                    <a:pt x="8372" y="828"/>
                  </a:lnTo>
                  <a:lnTo>
                    <a:pt x="8356" y="823"/>
                  </a:lnTo>
                  <a:lnTo>
                    <a:pt x="8343" y="818"/>
                  </a:lnTo>
                  <a:lnTo>
                    <a:pt x="8329" y="811"/>
                  </a:lnTo>
                  <a:close/>
                  <a:moveTo>
                    <a:pt x="8618" y="922"/>
                  </a:moveTo>
                  <a:lnTo>
                    <a:pt x="8637" y="912"/>
                  </a:lnTo>
                  <a:lnTo>
                    <a:pt x="8657" y="901"/>
                  </a:lnTo>
                  <a:lnTo>
                    <a:pt x="8665" y="896"/>
                  </a:lnTo>
                  <a:lnTo>
                    <a:pt x="8675" y="890"/>
                  </a:lnTo>
                  <a:lnTo>
                    <a:pt x="8693" y="878"/>
                  </a:lnTo>
                  <a:lnTo>
                    <a:pt x="8710" y="865"/>
                  </a:lnTo>
                  <a:lnTo>
                    <a:pt x="8726" y="851"/>
                  </a:lnTo>
                  <a:lnTo>
                    <a:pt x="8743" y="837"/>
                  </a:lnTo>
                  <a:lnTo>
                    <a:pt x="8750" y="829"/>
                  </a:lnTo>
                  <a:lnTo>
                    <a:pt x="8758" y="821"/>
                  </a:lnTo>
                  <a:lnTo>
                    <a:pt x="8772" y="805"/>
                  </a:lnTo>
                  <a:lnTo>
                    <a:pt x="8786" y="787"/>
                  </a:lnTo>
                  <a:lnTo>
                    <a:pt x="8799" y="769"/>
                  </a:lnTo>
                  <a:lnTo>
                    <a:pt x="8811" y="751"/>
                  </a:lnTo>
                  <a:lnTo>
                    <a:pt x="8824" y="732"/>
                  </a:lnTo>
                  <a:lnTo>
                    <a:pt x="8834" y="713"/>
                  </a:lnTo>
                  <a:lnTo>
                    <a:pt x="8843" y="692"/>
                  </a:lnTo>
                  <a:lnTo>
                    <a:pt x="8853" y="670"/>
                  </a:lnTo>
                  <a:lnTo>
                    <a:pt x="8861" y="647"/>
                  </a:lnTo>
                  <a:lnTo>
                    <a:pt x="8868" y="625"/>
                  </a:lnTo>
                  <a:lnTo>
                    <a:pt x="8875" y="602"/>
                  </a:lnTo>
                  <a:lnTo>
                    <a:pt x="8879" y="578"/>
                  </a:lnTo>
                  <a:lnTo>
                    <a:pt x="8884" y="554"/>
                  </a:lnTo>
                  <a:lnTo>
                    <a:pt x="8886" y="530"/>
                  </a:lnTo>
                  <a:lnTo>
                    <a:pt x="8888" y="505"/>
                  </a:lnTo>
                  <a:lnTo>
                    <a:pt x="8889" y="480"/>
                  </a:lnTo>
                  <a:lnTo>
                    <a:pt x="8888" y="453"/>
                  </a:lnTo>
                  <a:lnTo>
                    <a:pt x="8886" y="430"/>
                  </a:lnTo>
                  <a:lnTo>
                    <a:pt x="8884" y="405"/>
                  </a:lnTo>
                  <a:lnTo>
                    <a:pt x="8879" y="381"/>
                  </a:lnTo>
                  <a:lnTo>
                    <a:pt x="8875" y="358"/>
                  </a:lnTo>
                  <a:lnTo>
                    <a:pt x="8868" y="334"/>
                  </a:lnTo>
                  <a:lnTo>
                    <a:pt x="8866" y="323"/>
                  </a:lnTo>
                  <a:lnTo>
                    <a:pt x="8861" y="312"/>
                  </a:lnTo>
                  <a:lnTo>
                    <a:pt x="8857" y="301"/>
                  </a:lnTo>
                  <a:lnTo>
                    <a:pt x="8853" y="290"/>
                  </a:lnTo>
                  <a:lnTo>
                    <a:pt x="8849" y="279"/>
                  </a:lnTo>
                  <a:lnTo>
                    <a:pt x="8843" y="267"/>
                  </a:lnTo>
                  <a:lnTo>
                    <a:pt x="8834" y="247"/>
                  </a:lnTo>
                  <a:lnTo>
                    <a:pt x="8824" y="227"/>
                  </a:lnTo>
                  <a:lnTo>
                    <a:pt x="8811" y="208"/>
                  </a:lnTo>
                  <a:lnTo>
                    <a:pt x="8799" y="188"/>
                  </a:lnTo>
                  <a:lnTo>
                    <a:pt x="8793" y="180"/>
                  </a:lnTo>
                  <a:lnTo>
                    <a:pt x="8786" y="170"/>
                  </a:lnTo>
                  <a:lnTo>
                    <a:pt x="8772" y="154"/>
                  </a:lnTo>
                  <a:lnTo>
                    <a:pt x="8758" y="137"/>
                  </a:lnTo>
                  <a:lnTo>
                    <a:pt x="8743" y="122"/>
                  </a:lnTo>
                  <a:lnTo>
                    <a:pt x="8735" y="115"/>
                  </a:lnTo>
                  <a:lnTo>
                    <a:pt x="8726" y="107"/>
                  </a:lnTo>
                  <a:lnTo>
                    <a:pt x="8710" y="94"/>
                  </a:lnTo>
                  <a:lnTo>
                    <a:pt x="8693" y="80"/>
                  </a:lnTo>
                  <a:lnTo>
                    <a:pt x="8675" y="68"/>
                  </a:lnTo>
                  <a:lnTo>
                    <a:pt x="8657" y="57"/>
                  </a:lnTo>
                  <a:lnTo>
                    <a:pt x="8637" y="47"/>
                  </a:lnTo>
                  <a:lnTo>
                    <a:pt x="8618" y="37"/>
                  </a:lnTo>
                  <a:lnTo>
                    <a:pt x="8597" y="29"/>
                  </a:lnTo>
                  <a:lnTo>
                    <a:pt x="8578" y="21"/>
                  </a:lnTo>
                  <a:lnTo>
                    <a:pt x="8557" y="15"/>
                  </a:lnTo>
                  <a:lnTo>
                    <a:pt x="8534" y="10"/>
                  </a:lnTo>
                  <a:lnTo>
                    <a:pt x="8514" y="5"/>
                  </a:lnTo>
                  <a:lnTo>
                    <a:pt x="8491" y="3"/>
                  </a:lnTo>
                  <a:lnTo>
                    <a:pt x="8469" y="1"/>
                  </a:lnTo>
                  <a:lnTo>
                    <a:pt x="8447" y="0"/>
                  </a:lnTo>
                  <a:lnTo>
                    <a:pt x="8425" y="1"/>
                  </a:lnTo>
                  <a:lnTo>
                    <a:pt x="8402" y="3"/>
                  </a:lnTo>
                  <a:lnTo>
                    <a:pt x="8380" y="5"/>
                  </a:lnTo>
                  <a:lnTo>
                    <a:pt x="8359" y="10"/>
                  </a:lnTo>
                  <a:lnTo>
                    <a:pt x="8337" y="15"/>
                  </a:lnTo>
                  <a:lnTo>
                    <a:pt x="8316" y="21"/>
                  </a:lnTo>
                  <a:lnTo>
                    <a:pt x="8297" y="29"/>
                  </a:lnTo>
                  <a:lnTo>
                    <a:pt x="8276" y="37"/>
                  </a:lnTo>
                  <a:lnTo>
                    <a:pt x="8256" y="47"/>
                  </a:lnTo>
                  <a:lnTo>
                    <a:pt x="8237" y="57"/>
                  </a:lnTo>
                  <a:lnTo>
                    <a:pt x="8228" y="62"/>
                  </a:lnTo>
                  <a:lnTo>
                    <a:pt x="8219" y="68"/>
                  </a:lnTo>
                  <a:lnTo>
                    <a:pt x="8201" y="80"/>
                  </a:lnTo>
                  <a:lnTo>
                    <a:pt x="8184" y="94"/>
                  </a:lnTo>
                  <a:lnTo>
                    <a:pt x="8167" y="107"/>
                  </a:lnTo>
                  <a:lnTo>
                    <a:pt x="8152" y="122"/>
                  </a:lnTo>
                  <a:lnTo>
                    <a:pt x="8137" y="137"/>
                  </a:lnTo>
                  <a:lnTo>
                    <a:pt x="8123" y="154"/>
                  </a:lnTo>
                  <a:lnTo>
                    <a:pt x="8116" y="162"/>
                  </a:lnTo>
                  <a:lnTo>
                    <a:pt x="8109" y="170"/>
                  </a:lnTo>
                  <a:lnTo>
                    <a:pt x="8095" y="188"/>
                  </a:lnTo>
                  <a:lnTo>
                    <a:pt x="8084" y="208"/>
                  </a:lnTo>
                  <a:lnTo>
                    <a:pt x="8073" y="227"/>
                  </a:lnTo>
                  <a:lnTo>
                    <a:pt x="8067" y="237"/>
                  </a:lnTo>
                  <a:lnTo>
                    <a:pt x="8062" y="247"/>
                  </a:lnTo>
                  <a:lnTo>
                    <a:pt x="8052" y="267"/>
                  </a:lnTo>
                  <a:lnTo>
                    <a:pt x="8042" y="290"/>
                  </a:lnTo>
                  <a:lnTo>
                    <a:pt x="8035" y="312"/>
                  </a:lnTo>
                  <a:lnTo>
                    <a:pt x="8027" y="334"/>
                  </a:lnTo>
                  <a:lnTo>
                    <a:pt x="8021" y="358"/>
                  </a:lnTo>
                  <a:lnTo>
                    <a:pt x="8017" y="381"/>
                  </a:lnTo>
                  <a:lnTo>
                    <a:pt x="8013" y="405"/>
                  </a:lnTo>
                  <a:lnTo>
                    <a:pt x="8010" y="430"/>
                  </a:lnTo>
                  <a:lnTo>
                    <a:pt x="8009" y="453"/>
                  </a:lnTo>
                  <a:lnTo>
                    <a:pt x="8007" y="480"/>
                  </a:lnTo>
                  <a:lnTo>
                    <a:pt x="8009" y="505"/>
                  </a:lnTo>
                  <a:lnTo>
                    <a:pt x="8010" y="530"/>
                  </a:lnTo>
                  <a:lnTo>
                    <a:pt x="8013" y="554"/>
                  </a:lnTo>
                  <a:lnTo>
                    <a:pt x="8017" y="578"/>
                  </a:lnTo>
                  <a:lnTo>
                    <a:pt x="8021" y="602"/>
                  </a:lnTo>
                  <a:lnTo>
                    <a:pt x="8027" y="625"/>
                  </a:lnTo>
                  <a:lnTo>
                    <a:pt x="8035" y="647"/>
                  </a:lnTo>
                  <a:lnTo>
                    <a:pt x="8042" y="670"/>
                  </a:lnTo>
                  <a:lnTo>
                    <a:pt x="8052" y="692"/>
                  </a:lnTo>
                  <a:lnTo>
                    <a:pt x="8062" y="713"/>
                  </a:lnTo>
                  <a:lnTo>
                    <a:pt x="8073" y="732"/>
                  </a:lnTo>
                  <a:lnTo>
                    <a:pt x="8078" y="742"/>
                  </a:lnTo>
                  <a:lnTo>
                    <a:pt x="8084" y="751"/>
                  </a:lnTo>
                  <a:lnTo>
                    <a:pt x="8095" y="769"/>
                  </a:lnTo>
                  <a:lnTo>
                    <a:pt x="8102" y="779"/>
                  </a:lnTo>
                  <a:lnTo>
                    <a:pt x="8109" y="787"/>
                  </a:lnTo>
                  <a:lnTo>
                    <a:pt x="8123" y="805"/>
                  </a:lnTo>
                  <a:lnTo>
                    <a:pt x="8130" y="814"/>
                  </a:lnTo>
                  <a:lnTo>
                    <a:pt x="8137" y="821"/>
                  </a:lnTo>
                  <a:lnTo>
                    <a:pt x="8152" y="837"/>
                  </a:lnTo>
                  <a:lnTo>
                    <a:pt x="8167" y="851"/>
                  </a:lnTo>
                  <a:lnTo>
                    <a:pt x="8184" y="865"/>
                  </a:lnTo>
                  <a:lnTo>
                    <a:pt x="8201" y="878"/>
                  </a:lnTo>
                  <a:lnTo>
                    <a:pt x="8219" y="890"/>
                  </a:lnTo>
                  <a:lnTo>
                    <a:pt x="8237" y="901"/>
                  </a:lnTo>
                  <a:lnTo>
                    <a:pt x="8256" y="912"/>
                  </a:lnTo>
                  <a:lnTo>
                    <a:pt x="8276" y="922"/>
                  </a:lnTo>
                  <a:lnTo>
                    <a:pt x="8297" y="930"/>
                  </a:lnTo>
                  <a:lnTo>
                    <a:pt x="8316" y="937"/>
                  </a:lnTo>
                  <a:lnTo>
                    <a:pt x="8337" y="944"/>
                  </a:lnTo>
                  <a:lnTo>
                    <a:pt x="8359" y="950"/>
                  </a:lnTo>
                  <a:lnTo>
                    <a:pt x="8380" y="952"/>
                  </a:lnTo>
                  <a:lnTo>
                    <a:pt x="8402" y="955"/>
                  </a:lnTo>
                  <a:lnTo>
                    <a:pt x="8425" y="958"/>
                  </a:lnTo>
                  <a:lnTo>
                    <a:pt x="8447" y="958"/>
                  </a:lnTo>
                  <a:lnTo>
                    <a:pt x="8469" y="958"/>
                  </a:lnTo>
                  <a:lnTo>
                    <a:pt x="8491" y="955"/>
                  </a:lnTo>
                  <a:lnTo>
                    <a:pt x="8514" y="952"/>
                  </a:lnTo>
                  <a:lnTo>
                    <a:pt x="8534" y="950"/>
                  </a:lnTo>
                  <a:lnTo>
                    <a:pt x="8557" y="944"/>
                  </a:lnTo>
                  <a:lnTo>
                    <a:pt x="8578" y="937"/>
                  </a:lnTo>
                  <a:lnTo>
                    <a:pt x="8597" y="930"/>
                  </a:lnTo>
                  <a:lnTo>
                    <a:pt x="8618" y="9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23163DA2-FF21-A4CC-3AE9-6660B89556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19857" y="3921426"/>
              <a:ext cx="1670829" cy="223819"/>
            </a:xfrm>
            <a:custGeom>
              <a:avLst/>
              <a:gdLst>
                <a:gd name="T0" fmla="*/ 1494 w 1605"/>
                <a:gd name="T1" fmla="*/ 107 h 215"/>
                <a:gd name="T2" fmla="*/ 1509 w 1605"/>
                <a:gd name="T3" fmla="*/ 192 h 215"/>
                <a:gd name="T4" fmla="*/ 1477 w 1605"/>
                <a:gd name="T5" fmla="*/ 121 h 215"/>
                <a:gd name="T6" fmla="*/ 1603 w 1605"/>
                <a:gd name="T7" fmla="*/ 7 h 215"/>
                <a:gd name="T8" fmla="*/ 1438 w 1605"/>
                <a:gd name="T9" fmla="*/ 111 h 215"/>
                <a:gd name="T10" fmla="*/ 1490 w 1605"/>
                <a:gd name="T11" fmla="*/ 215 h 215"/>
                <a:gd name="T12" fmla="*/ 1413 w 1605"/>
                <a:gd name="T13" fmla="*/ 148 h 215"/>
                <a:gd name="T14" fmla="*/ 1371 w 1605"/>
                <a:gd name="T15" fmla="*/ 80 h 215"/>
                <a:gd name="T16" fmla="*/ 1431 w 1605"/>
                <a:gd name="T17" fmla="*/ 5 h 215"/>
                <a:gd name="T18" fmla="*/ 1330 w 1605"/>
                <a:gd name="T19" fmla="*/ 191 h 215"/>
                <a:gd name="T20" fmla="*/ 1391 w 1605"/>
                <a:gd name="T21" fmla="*/ 207 h 215"/>
                <a:gd name="T22" fmla="*/ 1408 w 1605"/>
                <a:gd name="T23" fmla="*/ 156 h 215"/>
                <a:gd name="T24" fmla="*/ 1201 w 1605"/>
                <a:gd name="T25" fmla="*/ 42 h 215"/>
                <a:gd name="T26" fmla="*/ 1186 w 1605"/>
                <a:gd name="T27" fmla="*/ 102 h 215"/>
                <a:gd name="T28" fmla="*/ 1117 w 1605"/>
                <a:gd name="T29" fmla="*/ 130 h 215"/>
                <a:gd name="T30" fmla="*/ 1133 w 1605"/>
                <a:gd name="T31" fmla="*/ 214 h 215"/>
                <a:gd name="T32" fmla="*/ 1150 w 1605"/>
                <a:gd name="T33" fmla="*/ 190 h 215"/>
                <a:gd name="T34" fmla="*/ 1047 w 1605"/>
                <a:gd name="T35" fmla="*/ 128 h 215"/>
                <a:gd name="T36" fmla="*/ 1002 w 1605"/>
                <a:gd name="T37" fmla="*/ 146 h 215"/>
                <a:gd name="T38" fmla="*/ 948 w 1605"/>
                <a:gd name="T39" fmla="*/ 193 h 215"/>
                <a:gd name="T40" fmla="*/ 1028 w 1605"/>
                <a:gd name="T41" fmla="*/ 193 h 215"/>
                <a:gd name="T42" fmla="*/ 1098 w 1605"/>
                <a:gd name="T43" fmla="*/ 175 h 215"/>
                <a:gd name="T44" fmla="*/ 1125 w 1605"/>
                <a:gd name="T45" fmla="*/ 1 h 215"/>
                <a:gd name="T46" fmla="*/ 1052 w 1605"/>
                <a:gd name="T47" fmla="*/ 91 h 215"/>
                <a:gd name="T48" fmla="*/ 902 w 1605"/>
                <a:gd name="T49" fmla="*/ 97 h 215"/>
                <a:gd name="T50" fmla="*/ 844 w 1605"/>
                <a:gd name="T51" fmla="*/ 127 h 215"/>
                <a:gd name="T52" fmla="*/ 855 w 1605"/>
                <a:gd name="T53" fmla="*/ 214 h 215"/>
                <a:gd name="T54" fmla="*/ 933 w 1605"/>
                <a:gd name="T55" fmla="*/ 131 h 215"/>
                <a:gd name="T56" fmla="*/ 787 w 1605"/>
                <a:gd name="T57" fmla="*/ 117 h 215"/>
                <a:gd name="T58" fmla="*/ 739 w 1605"/>
                <a:gd name="T59" fmla="*/ 145 h 215"/>
                <a:gd name="T60" fmla="*/ 728 w 1605"/>
                <a:gd name="T61" fmla="*/ 118 h 215"/>
                <a:gd name="T62" fmla="*/ 728 w 1605"/>
                <a:gd name="T63" fmla="*/ 206 h 215"/>
                <a:gd name="T64" fmla="*/ 806 w 1605"/>
                <a:gd name="T65" fmla="*/ 202 h 215"/>
                <a:gd name="T66" fmla="*/ 830 w 1605"/>
                <a:gd name="T67" fmla="*/ 93 h 215"/>
                <a:gd name="T68" fmla="*/ 580 w 1605"/>
                <a:gd name="T69" fmla="*/ 101 h 215"/>
                <a:gd name="T70" fmla="*/ 569 w 1605"/>
                <a:gd name="T71" fmla="*/ 178 h 215"/>
                <a:gd name="T72" fmla="*/ 644 w 1605"/>
                <a:gd name="T73" fmla="*/ 185 h 215"/>
                <a:gd name="T74" fmla="*/ 658 w 1605"/>
                <a:gd name="T75" fmla="*/ 91 h 215"/>
                <a:gd name="T76" fmla="*/ 622 w 1605"/>
                <a:gd name="T77" fmla="*/ 188 h 215"/>
                <a:gd name="T78" fmla="*/ 619 w 1605"/>
                <a:gd name="T79" fmla="*/ 89 h 215"/>
                <a:gd name="T80" fmla="*/ 500 w 1605"/>
                <a:gd name="T81" fmla="*/ 109 h 215"/>
                <a:gd name="T82" fmla="*/ 442 w 1605"/>
                <a:gd name="T83" fmla="*/ 155 h 215"/>
                <a:gd name="T84" fmla="*/ 517 w 1605"/>
                <a:gd name="T85" fmla="*/ 197 h 215"/>
                <a:gd name="T86" fmla="*/ 477 w 1605"/>
                <a:gd name="T87" fmla="*/ 183 h 215"/>
                <a:gd name="T88" fmla="*/ 540 w 1605"/>
                <a:gd name="T89" fmla="*/ 93 h 215"/>
                <a:gd name="T90" fmla="*/ 425 w 1605"/>
                <a:gd name="T91" fmla="*/ 169 h 215"/>
                <a:gd name="T92" fmla="*/ 399 w 1605"/>
                <a:gd name="T93" fmla="*/ 10 h 215"/>
                <a:gd name="T94" fmla="*/ 368 w 1605"/>
                <a:gd name="T95" fmla="*/ 215 h 215"/>
                <a:gd name="T96" fmla="*/ 232 w 1605"/>
                <a:gd name="T97" fmla="*/ 115 h 215"/>
                <a:gd name="T98" fmla="*/ 252 w 1605"/>
                <a:gd name="T99" fmla="*/ 199 h 215"/>
                <a:gd name="T100" fmla="*/ 303 w 1605"/>
                <a:gd name="T101" fmla="*/ 211 h 215"/>
                <a:gd name="T102" fmla="*/ 313 w 1605"/>
                <a:gd name="T103" fmla="*/ 190 h 215"/>
                <a:gd name="T104" fmla="*/ 264 w 1605"/>
                <a:gd name="T105" fmla="*/ 174 h 215"/>
                <a:gd name="T106" fmla="*/ 262 w 1605"/>
                <a:gd name="T107" fmla="*/ 89 h 215"/>
                <a:gd name="T108" fmla="*/ 139 w 1605"/>
                <a:gd name="T109" fmla="*/ 143 h 215"/>
                <a:gd name="T110" fmla="*/ 71 w 1605"/>
                <a:gd name="T111" fmla="*/ 192 h 215"/>
                <a:gd name="T112" fmla="*/ 157 w 1605"/>
                <a:gd name="T113" fmla="*/ 56 h 215"/>
                <a:gd name="T114" fmla="*/ 113 w 1605"/>
                <a:gd name="T115" fmla="*/ 40 h 215"/>
                <a:gd name="T116" fmla="*/ 101 w 1605"/>
                <a:gd name="T117" fmla="*/ 211 h 215"/>
                <a:gd name="T118" fmla="*/ 173 w 1605"/>
                <a:gd name="T119" fmla="*/ 122 h 215"/>
                <a:gd name="T120" fmla="*/ 197 w 1605"/>
                <a:gd name="T121" fmla="*/ 64 h 215"/>
                <a:gd name="T122" fmla="*/ 59 w 1605"/>
                <a:gd name="T123" fmla="*/ 19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05" h="215">
                  <a:moveTo>
                    <a:pt x="1567" y="139"/>
                  </a:moveTo>
                  <a:lnTo>
                    <a:pt x="1567" y="134"/>
                  </a:lnTo>
                  <a:lnTo>
                    <a:pt x="1566" y="129"/>
                  </a:lnTo>
                  <a:lnTo>
                    <a:pt x="1565" y="125"/>
                  </a:lnTo>
                  <a:lnTo>
                    <a:pt x="1564" y="121"/>
                  </a:lnTo>
                  <a:lnTo>
                    <a:pt x="1560" y="113"/>
                  </a:lnTo>
                  <a:lnTo>
                    <a:pt x="1558" y="109"/>
                  </a:lnTo>
                  <a:lnTo>
                    <a:pt x="1555" y="106"/>
                  </a:lnTo>
                  <a:lnTo>
                    <a:pt x="1552" y="104"/>
                  </a:lnTo>
                  <a:lnTo>
                    <a:pt x="1549" y="101"/>
                  </a:lnTo>
                  <a:lnTo>
                    <a:pt x="1542" y="97"/>
                  </a:lnTo>
                  <a:lnTo>
                    <a:pt x="1534" y="95"/>
                  </a:lnTo>
                  <a:lnTo>
                    <a:pt x="1530" y="94"/>
                  </a:lnTo>
                  <a:lnTo>
                    <a:pt x="1525" y="94"/>
                  </a:lnTo>
                  <a:lnTo>
                    <a:pt x="1521" y="94"/>
                  </a:lnTo>
                  <a:lnTo>
                    <a:pt x="1517" y="95"/>
                  </a:lnTo>
                  <a:lnTo>
                    <a:pt x="1513" y="96"/>
                  </a:lnTo>
                  <a:lnTo>
                    <a:pt x="1509" y="97"/>
                  </a:lnTo>
                  <a:lnTo>
                    <a:pt x="1502" y="101"/>
                  </a:lnTo>
                  <a:lnTo>
                    <a:pt x="1495" y="105"/>
                  </a:lnTo>
                  <a:lnTo>
                    <a:pt x="1494" y="107"/>
                  </a:lnTo>
                  <a:lnTo>
                    <a:pt x="1494" y="109"/>
                  </a:lnTo>
                  <a:lnTo>
                    <a:pt x="1495" y="112"/>
                  </a:lnTo>
                  <a:lnTo>
                    <a:pt x="1496" y="113"/>
                  </a:lnTo>
                  <a:lnTo>
                    <a:pt x="1503" y="113"/>
                  </a:lnTo>
                  <a:lnTo>
                    <a:pt x="1509" y="113"/>
                  </a:lnTo>
                  <a:lnTo>
                    <a:pt x="1512" y="114"/>
                  </a:lnTo>
                  <a:lnTo>
                    <a:pt x="1514" y="115"/>
                  </a:lnTo>
                  <a:lnTo>
                    <a:pt x="1518" y="118"/>
                  </a:lnTo>
                  <a:lnTo>
                    <a:pt x="1521" y="121"/>
                  </a:lnTo>
                  <a:lnTo>
                    <a:pt x="1523" y="126"/>
                  </a:lnTo>
                  <a:lnTo>
                    <a:pt x="1524" y="130"/>
                  </a:lnTo>
                  <a:lnTo>
                    <a:pt x="1525" y="135"/>
                  </a:lnTo>
                  <a:lnTo>
                    <a:pt x="1525" y="140"/>
                  </a:lnTo>
                  <a:lnTo>
                    <a:pt x="1525" y="144"/>
                  </a:lnTo>
                  <a:lnTo>
                    <a:pt x="1525" y="152"/>
                  </a:lnTo>
                  <a:lnTo>
                    <a:pt x="1523" y="160"/>
                  </a:lnTo>
                  <a:lnTo>
                    <a:pt x="1521" y="170"/>
                  </a:lnTo>
                  <a:lnTo>
                    <a:pt x="1517" y="179"/>
                  </a:lnTo>
                  <a:lnTo>
                    <a:pt x="1515" y="184"/>
                  </a:lnTo>
                  <a:lnTo>
                    <a:pt x="1512" y="188"/>
                  </a:lnTo>
                  <a:lnTo>
                    <a:pt x="1509" y="192"/>
                  </a:lnTo>
                  <a:lnTo>
                    <a:pt x="1506" y="195"/>
                  </a:lnTo>
                  <a:lnTo>
                    <a:pt x="1502" y="198"/>
                  </a:lnTo>
                  <a:lnTo>
                    <a:pt x="1498" y="200"/>
                  </a:lnTo>
                  <a:lnTo>
                    <a:pt x="1494" y="201"/>
                  </a:lnTo>
                  <a:lnTo>
                    <a:pt x="1489" y="201"/>
                  </a:lnTo>
                  <a:lnTo>
                    <a:pt x="1486" y="201"/>
                  </a:lnTo>
                  <a:lnTo>
                    <a:pt x="1483" y="200"/>
                  </a:lnTo>
                  <a:lnTo>
                    <a:pt x="1481" y="199"/>
                  </a:lnTo>
                  <a:lnTo>
                    <a:pt x="1478" y="198"/>
                  </a:lnTo>
                  <a:lnTo>
                    <a:pt x="1476" y="196"/>
                  </a:lnTo>
                  <a:lnTo>
                    <a:pt x="1475" y="194"/>
                  </a:lnTo>
                  <a:lnTo>
                    <a:pt x="1472" y="189"/>
                  </a:lnTo>
                  <a:lnTo>
                    <a:pt x="1470" y="183"/>
                  </a:lnTo>
                  <a:lnTo>
                    <a:pt x="1470" y="177"/>
                  </a:lnTo>
                  <a:lnTo>
                    <a:pt x="1469" y="171"/>
                  </a:lnTo>
                  <a:lnTo>
                    <a:pt x="1469" y="165"/>
                  </a:lnTo>
                  <a:lnTo>
                    <a:pt x="1469" y="158"/>
                  </a:lnTo>
                  <a:lnTo>
                    <a:pt x="1470" y="151"/>
                  </a:lnTo>
                  <a:lnTo>
                    <a:pt x="1471" y="143"/>
                  </a:lnTo>
                  <a:lnTo>
                    <a:pt x="1473" y="136"/>
                  </a:lnTo>
                  <a:lnTo>
                    <a:pt x="1477" y="121"/>
                  </a:lnTo>
                  <a:lnTo>
                    <a:pt x="1480" y="114"/>
                  </a:lnTo>
                  <a:lnTo>
                    <a:pt x="1483" y="106"/>
                  </a:lnTo>
                  <a:lnTo>
                    <a:pt x="1491" y="92"/>
                  </a:lnTo>
                  <a:lnTo>
                    <a:pt x="1499" y="79"/>
                  </a:lnTo>
                  <a:lnTo>
                    <a:pt x="1504" y="73"/>
                  </a:lnTo>
                  <a:lnTo>
                    <a:pt x="1509" y="67"/>
                  </a:lnTo>
                  <a:lnTo>
                    <a:pt x="1515" y="61"/>
                  </a:lnTo>
                  <a:lnTo>
                    <a:pt x="1520" y="56"/>
                  </a:lnTo>
                  <a:lnTo>
                    <a:pt x="1529" y="49"/>
                  </a:lnTo>
                  <a:lnTo>
                    <a:pt x="1538" y="42"/>
                  </a:lnTo>
                  <a:lnTo>
                    <a:pt x="1548" y="36"/>
                  </a:lnTo>
                  <a:lnTo>
                    <a:pt x="1558" y="31"/>
                  </a:lnTo>
                  <a:lnTo>
                    <a:pt x="1563" y="28"/>
                  </a:lnTo>
                  <a:lnTo>
                    <a:pt x="1568" y="26"/>
                  </a:lnTo>
                  <a:lnTo>
                    <a:pt x="1579" y="22"/>
                  </a:lnTo>
                  <a:lnTo>
                    <a:pt x="1591" y="19"/>
                  </a:lnTo>
                  <a:lnTo>
                    <a:pt x="1603" y="16"/>
                  </a:lnTo>
                  <a:lnTo>
                    <a:pt x="1605" y="14"/>
                  </a:lnTo>
                  <a:lnTo>
                    <a:pt x="1605" y="11"/>
                  </a:lnTo>
                  <a:lnTo>
                    <a:pt x="1604" y="8"/>
                  </a:lnTo>
                  <a:lnTo>
                    <a:pt x="1603" y="7"/>
                  </a:lnTo>
                  <a:lnTo>
                    <a:pt x="1602" y="6"/>
                  </a:lnTo>
                  <a:lnTo>
                    <a:pt x="1589" y="7"/>
                  </a:lnTo>
                  <a:lnTo>
                    <a:pt x="1575" y="10"/>
                  </a:lnTo>
                  <a:lnTo>
                    <a:pt x="1561" y="13"/>
                  </a:lnTo>
                  <a:lnTo>
                    <a:pt x="1554" y="15"/>
                  </a:lnTo>
                  <a:lnTo>
                    <a:pt x="1547" y="17"/>
                  </a:lnTo>
                  <a:lnTo>
                    <a:pt x="1534" y="22"/>
                  </a:lnTo>
                  <a:lnTo>
                    <a:pt x="1520" y="28"/>
                  </a:lnTo>
                  <a:lnTo>
                    <a:pt x="1513" y="31"/>
                  </a:lnTo>
                  <a:lnTo>
                    <a:pt x="1507" y="35"/>
                  </a:lnTo>
                  <a:lnTo>
                    <a:pt x="1495" y="42"/>
                  </a:lnTo>
                  <a:lnTo>
                    <a:pt x="1487" y="48"/>
                  </a:lnTo>
                  <a:lnTo>
                    <a:pt x="1480" y="54"/>
                  </a:lnTo>
                  <a:lnTo>
                    <a:pt x="1473" y="61"/>
                  </a:lnTo>
                  <a:lnTo>
                    <a:pt x="1467" y="67"/>
                  </a:lnTo>
                  <a:lnTo>
                    <a:pt x="1461" y="74"/>
                  </a:lnTo>
                  <a:lnTo>
                    <a:pt x="1455" y="81"/>
                  </a:lnTo>
                  <a:lnTo>
                    <a:pt x="1450" y="89"/>
                  </a:lnTo>
                  <a:lnTo>
                    <a:pt x="1445" y="96"/>
                  </a:lnTo>
                  <a:lnTo>
                    <a:pt x="1441" y="104"/>
                  </a:lnTo>
                  <a:lnTo>
                    <a:pt x="1438" y="111"/>
                  </a:lnTo>
                  <a:lnTo>
                    <a:pt x="1433" y="126"/>
                  </a:lnTo>
                  <a:lnTo>
                    <a:pt x="1431" y="133"/>
                  </a:lnTo>
                  <a:lnTo>
                    <a:pt x="1430" y="140"/>
                  </a:lnTo>
                  <a:lnTo>
                    <a:pt x="1429" y="147"/>
                  </a:lnTo>
                  <a:lnTo>
                    <a:pt x="1428" y="154"/>
                  </a:lnTo>
                  <a:lnTo>
                    <a:pt x="1429" y="161"/>
                  </a:lnTo>
                  <a:lnTo>
                    <a:pt x="1429" y="167"/>
                  </a:lnTo>
                  <a:lnTo>
                    <a:pt x="1431" y="173"/>
                  </a:lnTo>
                  <a:lnTo>
                    <a:pt x="1432" y="179"/>
                  </a:lnTo>
                  <a:lnTo>
                    <a:pt x="1434" y="184"/>
                  </a:lnTo>
                  <a:lnTo>
                    <a:pt x="1437" y="189"/>
                  </a:lnTo>
                  <a:lnTo>
                    <a:pt x="1440" y="194"/>
                  </a:lnTo>
                  <a:lnTo>
                    <a:pt x="1443" y="198"/>
                  </a:lnTo>
                  <a:lnTo>
                    <a:pt x="1447" y="202"/>
                  </a:lnTo>
                  <a:lnTo>
                    <a:pt x="1453" y="205"/>
                  </a:lnTo>
                  <a:lnTo>
                    <a:pt x="1458" y="208"/>
                  </a:lnTo>
                  <a:lnTo>
                    <a:pt x="1463" y="210"/>
                  </a:lnTo>
                  <a:lnTo>
                    <a:pt x="1469" y="212"/>
                  </a:lnTo>
                  <a:lnTo>
                    <a:pt x="1476" y="214"/>
                  </a:lnTo>
                  <a:lnTo>
                    <a:pt x="1483" y="215"/>
                  </a:lnTo>
                  <a:lnTo>
                    <a:pt x="1490" y="215"/>
                  </a:lnTo>
                  <a:lnTo>
                    <a:pt x="1498" y="214"/>
                  </a:lnTo>
                  <a:lnTo>
                    <a:pt x="1505" y="213"/>
                  </a:lnTo>
                  <a:lnTo>
                    <a:pt x="1513" y="212"/>
                  </a:lnTo>
                  <a:lnTo>
                    <a:pt x="1520" y="209"/>
                  </a:lnTo>
                  <a:lnTo>
                    <a:pt x="1526" y="206"/>
                  </a:lnTo>
                  <a:lnTo>
                    <a:pt x="1533" y="202"/>
                  </a:lnTo>
                  <a:lnTo>
                    <a:pt x="1539" y="198"/>
                  </a:lnTo>
                  <a:lnTo>
                    <a:pt x="1544" y="193"/>
                  </a:lnTo>
                  <a:lnTo>
                    <a:pt x="1549" y="188"/>
                  </a:lnTo>
                  <a:lnTo>
                    <a:pt x="1554" y="182"/>
                  </a:lnTo>
                  <a:lnTo>
                    <a:pt x="1557" y="176"/>
                  </a:lnTo>
                  <a:lnTo>
                    <a:pt x="1561" y="169"/>
                  </a:lnTo>
                  <a:lnTo>
                    <a:pt x="1563" y="162"/>
                  </a:lnTo>
                  <a:lnTo>
                    <a:pt x="1565" y="155"/>
                  </a:lnTo>
                  <a:lnTo>
                    <a:pt x="1566" y="147"/>
                  </a:lnTo>
                  <a:lnTo>
                    <a:pt x="1567" y="139"/>
                  </a:lnTo>
                  <a:close/>
                  <a:moveTo>
                    <a:pt x="1408" y="156"/>
                  </a:moveTo>
                  <a:lnTo>
                    <a:pt x="1410" y="155"/>
                  </a:lnTo>
                  <a:lnTo>
                    <a:pt x="1411" y="153"/>
                  </a:lnTo>
                  <a:lnTo>
                    <a:pt x="1412" y="150"/>
                  </a:lnTo>
                  <a:lnTo>
                    <a:pt x="1413" y="148"/>
                  </a:lnTo>
                  <a:lnTo>
                    <a:pt x="1414" y="145"/>
                  </a:lnTo>
                  <a:lnTo>
                    <a:pt x="1413" y="143"/>
                  </a:lnTo>
                  <a:lnTo>
                    <a:pt x="1413" y="141"/>
                  </a:lnTo>
                  <a:lnTo>
                    <a:pt x="1411" y="139"/>
                  </a:lnTo>
                  <a:lnTo>
                    <a:pt x="1392" y="139"/>
                  </a:lnTo>
                  <a:lnTo>
                    <a:pt x="1388" y="139"/>
                  </a:lnTo>
                  <a:lnTo>
                    <a:pt x="1386" y="138"/>
                  </a:lnTo>
                  <a:lnTo>
                    <a:pt x="1386" y="137"/>
                  </a:lnTo>
                  <a:lnTo>
                    <a:pt x="1387" y="134"/>
                  </a:lnTo>
                  <a:lnTo>
                    <a:pt x="1406" y="75"/>
                  </a:lnTo>
                  <a:lnTo>
                    <a:pt x="1406" y="73"/>
                  </a:lnTo>
                  <a:lnTo>
                    <a:pt x="1406" y="72"/>
                  </a:lnTo>
                  <a:lnTo>
                    <a:pt x="1405" y="71"/>
                  </a:lnTo>
                  <a:lnTo>
                    <a:pt x="1404" y="70"/>
                  </a:lnTo>
                  <a:lnTo>
                    <a:pt x="1401" y="70"/>
                  </a:lnTo>
                  <a:lnTo>
                    <a:pt x="1399" y="70"/>
                  </a:lnTo>
                  <a:lnTo>
                    <a:pt x="1396" y="71"/>
                  </a:lnTo>
                  <a:lnTo>
                    <a:pt x="1389" y="73"/>
                  </a:lnTo>
                  <a:lnTo>
                    <a:pt x="1380" y="76"/>
                  </a:lnTo>
                  <a:lnTo>
                    <a:pt x="1374" y="79"/>
                  </a:lnTo>
                  <a:lnTo>
                    <a:pt x="1371" y="80"/>
                  </a:lnTo>
                  <a:lnTo>
                    <a:pt x="1368" y="82"/>
                  </a:lnTo>
                  <a:lnTo>
                    <a:pt x="1366" y="84"/>
                  </a:lnTo>
                  <a:lnTo>
                    <a:pt x="1365" y="85"/>
                  </a:lnTo>
                  <a:lnTo>
                    <a:pt x="1364" y="87"/>
                  </a:lnTo>
                  <a:lnTo>
                    <a:pt x="1363" y="90"/>
                  </a:lnTo>
                  <a:lnTo>
                    <a:pt x="1349" y="135"/>
                  </a:lnTo>
                  <a:lnTo>
                    <a:pt x="1348" y="137"/>
                  </a:lnTo>
                  <a:lnTo>
                    <a:pt x="1347" y="139"/>
                  </a:lnTo>
                  <a:lnTo>
                    <a:pt x="1345" y="139"/>
                  </a:lnTo>
                  <a:lnTo>
                    <a:pt x="1341" y="139"/>
                  </a:lnTo>
                  <a:lnTo>
                    <a:pt x="1306" y="139"/>
                  </a:lnTo>
                  <a:lnTo>
                    <a:pt x="1301" y="139"/>
                  </a:lnTo>
                  <a:lnTo>
                    <a:pt x="1300" y="138"/>
                  </a:lnTo>
                  <a:lnTo>
                    <a:pt x="1299" y="138"/>
                  </a:lnTo>
                  <a:lnTo>
                    <a:pt x="1299" y="137"/>
                  </a:lnTo>
                  <a:lnTo>
                    <a:pt x="1299" y="136"/>
                  </a:lnTo>
                  <a:lnTo>
                    <a:pt x="1301" y="134"/>
                  </a:lnTo>
                  <a:lnTo>
                    <a:pt x="1427" y="11"/>
                  </a:lnTo>
                  <a:lnTo>
                    <a:pt x="1430" y="7"/>
                  </a:lnTo>
                  <a:lnTo>
                    <a:pt x="1430" y="6"/>
                  </a:lnTo>
                  <a:lnTo>
                    <a:pt x="1431" y="5"/>
                  </a:lnTo>
                  <a:lnTo>
                    <a:pt x="1430" y="4"/>
                  </a:lnTo>
                  <a:lnTo>
                    <a:pt x="1430" y="3"/>
                  </a:lnTo>
                  <a:lnTo>
                    <a:pt x="1427" y="3"/>
                  </a:lnTo>
                  <a:lnTo>
                    <a:pt x="1416" y="3"/>
                  </a:lnTo>
                  <a:lnTo>
                    <a:pt x="1413" y="3"/>
                  </a:lnTo>
                  <a:lnTo>
                    <a:pt x="1410" y="4"/>
                  </a:lnTo>
                  <a:lnTo>
                    <a:pt x="1406" y="7"/>
                  </a:lnTo>
                  <a:lnTo>
                    <a:pt x="1268" y="146"/>
                  </a:lnTo>
                  <a:lnTo>
                    <a:pt x="1267" y="149"/>
                  </a:lnTo>
                  <a:lnTo>
                    <a:pt x="1267" y="152"/>
                  </a:lnTo>
                  <a:lnTo>
                    <a:pt x="1268" y="154"/>
                  </a:lnTo>
                  <a:lnTo>
                    <a:pt x="1270" y="156"/>
                  </a:lnTo>
                  <a:lnTo>
                    <a:pt x="1336" y="156"/>
                  </a:lnTo>
                  <a:lnTo>
                    <a:pt x="1339" y="156"/>
                  </a:lnTo>
                  <a:lnTo>
                    <a:pt x="1341" y="157"/>
                  </a:lnTo>
                  <a:lnTo>
                    <a:pt x="1341" y="159"/>
                  </a:lnTo>
                  <a:lnTo>
                    <a:pt x="1341" y="162"/>
                  </a:lnTo>
                  <a:lnTo>
                    <a:pt x="1337" y="175"/>
                  </a:lnTo>
                  <a:lnTo>
                    <a:pt x="1334" y="182"/>
                  </a:lnTo>
                  <a:lnTo>
                    <a:pt x="1332" y="187"/>
                  </a:lnTo>
                  <a:lnTo>
                    <a:pt x="1330" y="191"/>
                  </a:lnTo>
                  <a:lnTo>
                    <a:pt x="1328" y="195"/>
                  </a:lnTo>
                  <a:lnTo>
                    <a:pt x="1327" y="196"/>
                  </a:lnTo>
                  <a:lnTo>
                    <a:pt x="1325" y="197"/>
                  </a:lnTo>
                  <a:lnTo>
                    <a:pt x="1322" y="198"/>
                  </a:lnTo>
                  <a:lnTo>
                    <a:pt x="1318" y="199"/>
                  </a:lnTo>
                  <a:lnTo>
                    <a:pt x="1312" y="200"/>
                  </a:lnTo>
                  <a:lnTo>
                    <a:pt x="1302" y="201"/>
                  </a:lnTo>
                  <a:lnTo>
                    <a:pt x="1300" y="203"/>
                  </a:lnTo>
                  <a:lnTo>
                    <a:pt x="1299" y="206"/>
                  </a:lnTo>
                  <a:lnTo>
                    <a:pt x="1299" y="209"/>
                  </a:lnTo>
                  <a:lnTo>
                    <a:pt x="1300" y="210"/>
                  </a:lnTo>
                  <a:lnTo>
                    <a:pt x="1301" y="212"/>
                  </a:lnTo>
                  <a:lnTo>
                    <a:pt x="1322" y="211"/>
                  </a:lnTo>
                  <a:lnTo>
                    <a:pt x="1344" y="211"/>
                  </a:lnTo>
                  <a:lnTo>
                    <a:pt x="1366" y="211"/>
                  </a:lnTo>
                  <a:lnTo>
                    <a:pt x="1377" y="211"/>
                  </a:lnTo>
                  <a:lnTo>
                    <a:pt x="1388" y="212"/>
                  </a:lnTo>
                  <a:lnTo>
                    <a:pt x="1389" y="211"/>
                  </a:lnTo>
                  <a:lnTo>
                    <a:pt x="1390" y="210"/>
                  </a:lnTo>
                  <a:lnTo>
                    <a:pt x="1391" y="208"/>
                  </a:lnTo>
                  <a:lnTo>
                    <a:pt x="1391" y="207"/>
                  </a:lnTo>
                  <a:lnTo>
                    <a:pt x="1391" y="205"/>
                  </a:lnTo>
                  <a:lnTo>
                    <a:pt x="1391" y="203"/>
                  </a:lnTo>
                  <a:lnTo>
                    <a:pt x="1390" y="202"/>
                  </a:lnTo>
                  <a:lnTo>
                    <a:pt x="1390" y="201"/>
                  </a:lnTo>
                  <a:lnTo>
                    <a:pt x="1385" y="201"/>
                  </a:lnTo>
                  <a:lnTo>
                    <a:pt x="1380" y="200"/>
                  </a:lnTo>
                  <a:lnTo>
                    <a:pt x="1376" y="199"/>
                  </a:lnTo>
                  <a:lnTo>
                    <a:pt x="1373" y="197"/>
                  </a:lnTo>
                  <a:lnTo>
                    <a:pt x="1371" y="195"/>
                  </a:lnTo>
                  <a:lnTo>
                    <a:pt x="1371" y="193"/>
                  </a:lnTo>
                  <a:lnTo>
                    <a:pt x="1370" y="192"/>
                  </a:lnTo>
                  <a:lnTo>
                    <a:pt x="1371" y="187"/>
                  </a:lnTo>
                  <a:lnTo>
                    <a:pt x="1372" y="182"/>
                  </a:lnTo>
                  <a:lnTo>
                    <a:pt x="1374" y="175"/>
                  </a:lnTo>
                  <a:lnTo>
                    <a:pt x="1378" y="163"/>
                  </a:lnTo>
                  <a:lnTo>
                    <a:pt x="1379" y="159"/>
                  </a:lnTo>
                  <a:lnTo>
                    <a:pt x="1380" y="158"/>
                  </a:lnTo>
                  <a:lnTo>
                    <a:pt x="1381" y="157"/>
                  </a:lnTo>
                  <a:lnTo>
                    <a:pt x="1383" y="156"/>
                  </a:lnTo>
                  <a:lnTo>
                    <a:pt x="1387" y="156"/>
                  </a:lnTo>
                  <a:lnTo>
                    <a:pt x="1408" y="156"/>
                  </a:lnTo>
                  <a:close/>
                  <a:moveTo>
                    <a:pt x="1161" y="49"/>
                  </a:moveTo>
                  <a:lnTo>
                    <a:pt x="1162" y="52"/>
                  </a:lnTo>
                  <a:lnTo>
                    <a:pt x="1163" y="55"/>
                  </a:lnTo>
                  <a:lnTo>
                    <a:pt x="1163" y="57"/>
                  </a:lnTo>
                  <a:lnTo>
                    <a:pt x="1164" y="58"/>
                  </a:lnTo>
                  <a:lnTo>
                    <a:pt x="1166" y="61"/>
                  </a:lnTo>
                  <a:lnTo>
                    <a:pt x="1169" y="63"/>
                  </a:lnTo>
                  <a:lnTo>
                    <a:pt x="1171" y="64"/>
                  </a:lnTo>
                  <a:lnTo>
                    <a:pt x="1175" y="65"/>
                  </a:lnTo>
                  <a:lnTo>
                    <a:pt x="1179" y="65"/>
                  </a:lnTo>
                  <a:lnTo>
                    <a:pt x="1184" y="65"/>
                  </a:lnTo>
                  <a:lnTo>
                    <a:pt x="1186" y="64"/>
                  </a:lnTo>
                  <a:lnTo>
                    <a:pt x="1188" y="63"/>
                  </a:lnTo>
                  <a:lnTo>
                    <a:pt x="1190" y="62"/>
                  </a:lnTo>
                  <a:lnTo>
                    <a:pt x="1192" y="61"/>
                  </a:lnTo>
                  <a:lnTo>
                    <a:pt x="1194" y="60"/>
                  </a:lnTo>
                  <a:lnTo>
                    <a:pt x="1195" y="58"/>
                  </a:lnTo>
                  <a:lnTo>
                    <a:pt x="1198" y="55"/>
                  </a:lnTo>
                  <a:lnTo>
                    <a:pt x="1200" y="51"/>
                  </a:lnTo>
                  <a:lnTo>
                    <a:pt x="1201" y="46"/>
                  </a:lnTo>
                  <a:lnTo>
                    <a:pt x="1201" y="42"/>
                  </a:lnTo>
                  <a:lnTo>
                    <a:pt x="1201" y="38"/>
                  </a:lnTo>
                  <a:lnTo>
                    <a:pt x="1200" y="34"/>
                  </a:lnTo>
                  <a:lnTo>
                    <a:pt x="1199" y="31"/>
                  </a:lnTo>
                  <a:lnTo>
                    <a:pt x="1197" y="29"/>
                  </a:lnTo>
                  <a:lnTo>
                    <a:pt x="1194" y="27"/>
                  </a:lnTo>
                  <a:lnTo>
                    <a:pt x="1191" y="25"/>
                  </a:lnTo>
                  <a:lnTo>
                    <a:pt x="1188" y="24"/>
                  </a:lnTo>
                  <a:lnTo>
                    <a:pt x="1185" y="24"/>
                  </a:lnTo>
                  <a:lnTo>
                    <a:pt x="1180" y="25"/>
                  </a:lnTo>
                  <a:lnTo>
                    <a:pt x="1175" y="26"/>
                  </a:lnTo>
                  <a:lnTo>
                    <a:pt x="1171" y="28"/>
                  </a:lnTo>
                  <a:lnTo>
                    <a:pt x="1168" y="32"/>
                  </a:lnTo>
                  <a:lnTo>
                    <a:pt x="1167" y="33"/>
                  </a:lnTo>
                  <a:lnTo>
                    <a:pt x="1165" y="35"/>
                  </a:lnTo>
                  <a:lnTo>
                    <a:pt x="1163" y="39"/>
                  </a:lnTo>
                  <a:lnTo>
                    <a:pt x="1162" y="44"/>
                  </a:lnTo>
                  <a:lnTo>
                    <a:pt x="1161" y="49"/>
                  </a:lnTo>
                  <a:close/>
                  <a:moveTo>
                    <a:pt x="1182" y="115"/>
                  </a:moveTo>
                  <a:lnTo>
                    <a:pt x="1184" y="108"/>
                  </a:lnTo>
                  <a:lnTo>
                    <a:pt x="1185" y="104"/>
                  </a:lnTo>
                  <a:lnTo>
                    <a:pt x="1186" y="102"/>
                  </a:lnTo>
                  <a:lnTo>
                    <a:pt x="1185" y="99"/>
                  </a:lnTo>
                  <a:lnTo>
                    <a:pt x="1184" y="97"/>
                  </a:lnTo>
                  <a:lnTo>
                    <a:pt x="1183" y="95"/>
                  </a:lnTo>
                  <a:lnTo>
                    <a:pt x="1181" y="93"/>
                  </a:lnTo>
                  <a:lnTo>
                    <a:pt x="1179" y="91"/>
                  </a:lnTo>
                  <a:lnTo>
                    <a:pt x="1177" y="90"/>
                  </a:lnTo>
                  <a:lnTo>
                    <a:pt x="1174" y="89"/>
                  </a:lnTo>
                  <a:lnTo>
                    <a:pt x="1172" y="89"/>
                  </a:lnTo>
                  <a:lnTo>
                    <a:pt x="1166" y="89"/>
                  </a:lnTo>
                  <a:lnTo>
                    <a:pt x="1162" y="90"/>
                  </a:lnTo>
                  <a:lnTo>
                    <a:pt x="1158" y="91"/>
                  </a:lnTo>
                  <a:lnTo>
                    <a:pt x="1151" y="94"/>
                  </a:lnTo>
                  <a:lnTo>
                    <a:pt x="1143" y="98"/>
                  </a:lnTo>
                  <a:lnTo>
                    <a:pt x="1134" y="103"/>
                  </a:lnTo>
                  <a:lnTo>
                    <a:pt x="1127" y="109"/>
                  </a:lnTo>
                  <a:lnTo>
                    <a:pt x="1119" y="116"/>
                  </a:lnTo>
                  <a:lnTo>
                    <a:pt x="1113" y="123"/>
                  </a:lnTo>
                  <a:lnTo>
                    <a:pt x="1113" y="125"/>
                  </a:lnTo>
                  <a:lnTo>
                    <a:pt x="1113" y="127"/>
                  </a:lnTo>
                  <a:lnTo>
                    <a:pt x="1115" y="129"/>
                  </a:lnTo>
                  <a:lnTo>
                    <a:pt x="1117" y="130"/>
                  </a:lnTo>
                  <a:lnTo>
                    <a:pt x="1123" y="125"/>
                  </a:lnTo>
                  <a:lnTo>
                    <a:pt x="1130" y="120"/>
                  </a:lnTo>
                  <a:lnTo>
                    <a:pt x="1138" y="115"/>
                  </a:lnTo>
                  <a:lnTo>
                    <a:pt x="1141" y="113"/>
                  </a:lnTo>
                  <a:lnTo>
                    <a:pt x="1144" y="113"/>
                  </a:lnTo>
                  <a:lnTo>
                    <a:pt x="1145" y="113"/>
                  </a:lnTo>
                  <a:lnTo>
                    <a:pt x="1145" y="114"/>
                  </a:lnTo>
                  <a:lnTo>
                    <a:pt x="1144" y="117"/>
                  </a:lnTo>
                  <a:lnTo>
                    <a:pt x="1114" y="190"/>
                  </a:lnTo>
                  <a:lnTo>
                    <a:pt x="1111" y="198"/>
                  </a:lnTo>
                  <a:lnTo>
                    <a:pt x="1110" y="201"/>
                  </a:lnTo>
                  <a:lnTo>
                    <a:pt x="1110" y="203"/>
                  </a:lnTo>
                  <a:lnTo>
                    <a:pt x="1110" y="205"/>
                  </a:lnTo>
                  <a:lnTo>
                    <a:pt x="1111" y="206"/>
                  </a:lnTo>
                  <a:lnTo>
                    <a:pt x="1114" y="210"/>
                  </a:lnTo>
                  <a:lnTo>
                    <a:pt x="1116" y="212"/>
                  </a:lnTo>
                  <a:lnTo>
                    <a:pt x="1118" y="213"/>
                  </a:lnTo>
                  <a:lnTo>
                    <a:pt x="1121" y="214"/>
                  </a:lnTo>
                  <a:lnTo>
                    <a:pt x="1124" y="215"/>
                  </a:lnTo>
                  <a:lnTo>
                    <a:pt x="1128" y="215"/>
                  </a:lnTo>
                  <a:lnTo>
                    <a:pt x="1133" y="214"/>
                  </a:lnTo>
                  <a:lnTo>
                    <a:pt x="1137" y="213"/>
                  </a:lnTo>
                  <a:lnTo>
                    <a:pt x="1142" y="212"/>
                  </a:lnTo>
                  <a:lnTo>
                    <a:pt x="1151" y="208"/>
                  </a:lnTo>
                  <a:lnTo>
                    <a:pt x="1159" y="203"/>
                  </a:lnTo>
                  <a:lnTo>
                    <a:pt x="1167" y="198"/>
                  </a:lnTo>
                  <a:lnTo>
                    <a:pt x="1174" y="192"/>
                  </a:lnTo>
                  <a:lnTo>
                    <a:pt x="1181" y="186"/>
                  </a:lnTo>
                  <a:lnTo>
                    <a:pt x="1186" y="180"/>
                  </a:lnTo>
                  <a:lnTo>
                    <a:pt x="1186" y="177"/>
                  </a:lnTo>
                  <a:lnTo>
                    <a:pt x="1185" y="176"/>
                  </a:lnTo>
                  <a:lnTo>
                    <a:pt x="1184" y="175"/>
                  </a:lnTo>
                  <a:lnTo>
                    <a:pt x="1184" y="174"/>
                  </a:lnTo>
                  <a:lnTo>
                    <a:pt x="1182" y="173"/>
                  </a:lnTo>
                  <a:lnTo>
                    <a:pt x="1180" y="173"/>
                  </a:lnTo>
                  <a:lnTo>
                    <a:pt x="1173" y="179"/>
                  </a:lnTo>
                  <a:lnTo>
                    <a:pt x="1165" y="185"/>
                  </a:lnTo>
                  <a:lnTo>
                    <a:pt x="1157" y="189"/>
                  </a:lnTo>
                  <a:lnTo>
                    <a:pt x="1154" y="191"/>
                  </a:lnTo>
                  <a:lnTo>
                    <a:pt x="1152" y="191"/>
                  </a:lnTo>
                  <a:lnTo>
                    <a:pt x="1151" y="191"/>
                  </a:lnTo>
                  <a:lnTo>
                    <a:pt x="1150" y="190"/>
                  </a:lnTo>
                  <a:lnTo>
                    <a:pt x="1150" y="189"/>
                  </a:lnTo>
                  <a:lnTo>
                    <a:pt x="1151" y="187"/>
                  </a:lnTo>
                  <a:lnTo>
                    <a:pt x="1182" y="115"/>
                  </a:lnTo>
                  <a:close/>
                  <a:moveTo>
                    <a:pt x="1007" y="138"/>
                  </a:moveTo>
                  <a:lnTo>
                    <a:pt x="1016" y="126"/>
                  </a:lnTo>
                  <a:lnTo>
                    <a:pt x="1023" y="117"/>
                  </a:lnTo>
                  <a:lnTo>
                    <a:pt x="1030" y="111"/>
                  </a:lnTo>
                  <a:lnTo>
                    <a:pt x="1035" y="107"/>
                  </a:lnTo>
                  <a:lnTo>
                    <a:pt x="1039" y="104"/>
                  </a:lnTo>
                  <a:lnTo>
                    <a:pt x="1042" y="102"/>
                  </a:lnTo>
                  <a:lnTo>
                    <a:pt x="1044" y="102"/>
                  </a:lnTo>
                  <a:lnTo>
                    <a:pt x="1046" y="102"/>
                  </a:lnTo>
                  <a:lnTo>
                    <a:pt x="1048" y="102"/>
                  </a:lnTo>
                  <a:lnTo>
                    <a:pt x="1049" y="103"/>
                  </a:lnTo>
                  <a:lnTo>
                    <a:pt x="1050" y="105"/>
                  </a:lnTo>
                  <a:lnTo>
                    <a:pt x="1051" y="107"/>
                  </a:lnTo>
                  <a:lnTo>
                    <a:pt x="1051" y="110"/>
                  </a:lnTo>
                  <a:lnTo>
                    <a:pt x="1051" y="114"/>
                  </a:lnTo>
                  <a:lnTo>
                    <a:pt x="1051" y="118"/>
                  </a:lnTo>
                  <a:lnTo>
                    <a:pt x="1050" y="122"/>
                  </a:lnTo>
                  <a:lnTo>
                    <a:pt x="1047" y="128"/>
                  </a:lnTo>
                  <a:lnTo>
                    <a:pt x="1045" y="134"/>
                  </a:lnTo>
                  <a:lnTo>
                    <a:pt x="1042" y="140"/>
                  </a:lnTo>
                  <a:lnTo>
                    <a:pt x="1039" y="145"/>
                  </a:lnTo>
                  <a:lnTo>
                    <a:pt x="1033" y="155"/>
                  </a:lnTo>
                  <a:lnTo>
                    <a:pt x="1025" y="165"/>
                  </a:lnTo>
                  <a:lnTo>
                    <a:pt x="1020" y="171"/>
                  </a:lnTo>
                  <a:lnTo>
                    <a:pt x="1014" y="178"/>
                  </a:lnTo>
                  <a:lnTo>
                    <a:pt x="1008" y="183"/>
                  </a:lnTo>
                  <a:lnTo>
                    <a:pt x="1003" y="188"/>
                  </a:lnTo>
                  <a:lnTo>
                    <a:pt x="992" y="195"/>
                  </a:lnTo>
                  <a:lnTo>
                    <a:pt x="989" y="197"/>
                  </a:lnTo>
                  <a:lnTo>
                    <a:pt x="986" y="198"/>
                  </a:lnTo>
                  <a:lnTo>
                    <a:pt x="984" y="198"/>
                  </a:lnTo>
                  <a:lnTo>
                    <a:pt x="983" y="196"/>
                  </a:lnTo>
                  <a:lnTo>
                    <a:pt x="982" y="194"/>
                  </a:lnTo>
                  <a:lnTo>
                    <a:pt x="982" y="192"/>
                  </a:lnTo>
                  <a:lnTo>
                    <a:pt x="982" y="188"/>
                  </a:lnTo>
                  <a:lnTo>
                    <a:pt x="984" y="183"/>
                  </a:lnTo>
                  <a:lnTo>
                    <a:pt x="989" y="170"/>
                  </a:lnTo>
                  <a:lnTo>
                    <a:pt x="997" y="154"/>
                  </a:lnTo>
                  <a:lnTo>
                    <a:pt x="1002" y="146"/>
                  </a:lnTo>
                  <a:lnTo>
                    <a:pt x="1007" y="138"/>
                  </a:lnTo>
                  <a:close/>
                  <a:moveTo>
                    <a:pt x="1042" y="89"/>
                  </a:moveTo>
                  <a:lnTo>
                    <a:pt x="1036" y="89"/>
                  </a:lnTo>
                  <a:lnTo>
                    <a:pt x="1029" y="90"/>
                  </a:lnTo>
                  <a:lnTo>
                    <a:pt x="1022" y="92"/>
                  </a:lnTo>
                  <a:lnTo>
                    <a:pt x="1015" y="95"/>
                  </a:lnTo>
                  <a:lnTo>
                    <a:pt x="1008" y="98"/>
                  </a:lnTo>
                  <a:lnTo>
                    <a:pt x="1000" y="102"/>
                  </a:lnTo>
                  <a:lnTo>
                    <a:pt x="993" y="107"/>
                  </a:lnTo>
                  <a:lnTo>
                    <a:pt x="989" y="110"/>
                  </a:lnTo>
                  <a:lnTo>
                    <a:pt x="986" y="113"/>
                  </a:lnTo>
                  <a:lnTo>
                    <a:pt x="977" y="121"/>
                  </a:lnTo>
                  <a:lnTo>
                    <a:pt x="970" y="130"/>
                  </a:lnTo>
                  <a:lnTo>
                    <a:pt x="967" y="134"/>
                  </a:lnTo>
                  <a:lnTo>
                    <a:pt x="964" y="139"/>
                  </a:lnTo>
                  <a:lnTo>
                    <a:pt x="958" y="149"/>
                  </a:lnTo>
                  <a:lnTo>
                    <a:pt x="954" y="158"/>
                  </a:lnTo>
                  <a:lnTo>
                    <a:pt x="951" y="168"/>
                  </a:lnTo>
                  <a:lnTo>
                    <a:pt x="949" y="178"/>
                  </a:lnTo>
                  <a:lnTo>
                    <a:pt x="948" y="187"/>
                  </a:lnTo>
                  <a:lnTo>
                    <a:pt x="948" y="193"/>
                  </a:lnTo>
                  <a:lnTo>
                    <a:pt x="949" y="198"/>
                  </a:lnTo>
                  <a:lnTo>
                    <a:pt x="951" y="203"/>
                  </a:lnTo>
                  <a:lnTo>
                    <a:pt x="954" y="207"/>
                  </a:lnTo>
                  <a:lnTo>
                    <a:pt x="957" y="210"/>
                  </a:lnTo>
                  <a:lnTo>
                    <a:pt x="961" y="213"/>
                  </a:lnTo>
                  <a:lnTo>
                    <a:pt x="963" y="214"/>
                  </a:lnTo>
                  <a:lnTo>
                    <a:pt x="965" y="214"/>
                  </a:lnTo>
                  <a:lnTo>
                    <a:pt x="969" y="215"/>
                  </a:lnTo>
                  <a:lnTo>
                    <a:pt x="975" y="214"/>
                  </a:lnTo>
                  <a:lnTo>
                    <a:pt x="981" y="213"/>
                  </a:lnTo>
                  <a:lnTo>
                    <a:pt x="987" y="212"/>
                  </a:lnTo>
                  <a:lnTo>
                    <a:pt x="992" y="209"/>
                  </a:lnTo>
                  <a:lnTo>
                    <a:pt x="997" y="207"/>
                  </a:lnTo>
                  <a:lnTo>
                    <a:pt x="1002" y="204"/>
                  </a:lnTo>
                  <a:lnTo>
                    <a:pt x="1007" y="200"/>
                  </a:lnTo>
                  <a:lnTo>
                    <a:pt x="1011" y="196"/>
                  </a:lnTo>
                  <a:lnTo>
                    <a:pt x="1019" y="188"/>
                  </a:lnTo>
                  <a:lnTo>
                    <a:pt x="1027" y="179"/>
                  </a:lnTo>
                  <a:lnTo>
                    <a:pt x="1039" y="162"/>
                  </a:lnTo>
                  <a:lnTo>
                    <a:pt x="1032" y="181"/>
                  </a:lnTo>
                  <a:lnTo>
                    <a:pt x="1028" y="193"/>
                  </a:lnTo>
                  <a:lnTo>
                    <a:pt x="1027" y="198"/>
                  </a:lnTo>
                  <a:lnTo>
                    <a:pt x="1027" y="202"/>
                  </a:lnTo>
                  <a:lnTo>
                    <a:pt x="1027" y="207"/>
                  </a:lnTo>
                  <a:lnTo>
                    <a:pt x="1028" y="209"/>
                  </a:lnTo>
                  <a:lnTo>
                    <a:pt x="1029" y="211"/>
                  </a:lnTo>
                  <a:lnTo>
                    <a:pt x="1031" y="213"/>
                  </a:lnTo>
                  <a:lnTo>
                    <a:pt x="1033" y="214"/>
                  </a:lnTo>
                  <a:lnTo>
                    <a:pt x="1035" y="215"/>
                  </a:lnTo>
                  <a:lnTo>
                    <a:pt x="1038" y="215"/>
                  </a:lnTo>
                  <a:lnTo>
                    <a:pt x="1043" y="215"/>
                  </a:lnTo>
                  <a:lnTo>
                    <a:pt x="1048" y="214"/>
                  </a:lnTo>
                  <a:lnTo>
                    <a:pt x="1054" y="212"/>
                  </a:lnTo>
                  <a:lnTo>
                    <a:pt x="1059" y="211"/>
                  </a:lnTo>
                  <a:lnTo>
                    <a:pt x="1068" y="206"/>
                  </a:lnTo>
                  <a:lnTo>
                    <a:pt x="1077" y="201"/>
                  </a:lnTo>
                  <a:lnTo>
                    <a:pt x="1085" y="195"/>
                  </a:lnTo>
                  <a:lnTo>
                    <a:pt x="1091" y="190"/>
                  </a:lnTo>
                  <a:lnTo>
                    <a:pt x="1095" y="184"/>
                  </a:lnTo>
                  <a:lnTo>
                    <a:pt x="1099" y="180"/>
                  </a:lnTo>
                  <a:lnTo>
                    <a:pt x="1099" y="177"/>
                  </a:lnTo>
                  <a:lnTo>
                    <a:pt x="1098" y="175"/>
                  </a:lnTo>
                  <a:lnTo>
                    <a:pt x="1096" y="174"/>
                  </a:lnTo>
                  <a:lnTo>
                    <a:pt x="1094" y="173"/>
                  </a:lnTo>
                  <a:lnTo>
                    <a:pt x="1092" y="175"/>
                  </a:lnTo>
                  <a:lnTo>
                    <a:pt x="1090" y="177"/>
                  </a:lnTo>
                  <a:lnTo>
                    <a:pt x="1086" y="180"/>
                  </a:lnTo>
                  <a:lnTo>
                    <a:pt x="1078" y="186"/>
                  </a:lnTo>
                  <a:lnTo>
                    <a:pt x="1075" y="189"/>
                  </a:lnTo>
                  <a:lnTo>
                    <a:pt x="1070" y="190"/>
                  </a:lnTo>
                  <a:lnTo>
                    <a:pt x="1066" y="192"/>
                  </a:lnTo>
                  <a:lnTo>
                    <a:pt x="1065" y="192"/>
                  </a:lnTo>
                  <a:lnTo>
                    <a:pt x="1064" y="191"/>
                  </a:lnTo>
                  <a:lnTo>
                    <a:pt x="1064" y="190"/>
                  </a:lnTo>
                  <a:lnTo>
                    <a:pt x="1063" y="188"/>
                  </a:lnTo>
                  <a:lnTo>
                    <a:pt x="1064" y="186"/>
                  </a:lnTo>
                  <a:lnTo>
                    <a:pt x="1065" y="181"/>
                  </a:lnTo>
                  <a:lnTo>
                    <a:pt x="1068" y="169"/>
                  </a:lnTo>
                  <a:lnTo>
                    <a:pt x="1112" y="41"/>
                  </a:lnTo>
                  <a:lnTo>
                    <a:pt x="1119" y="21"/>
                  </a:lnTo>
                  <a:lnTo>
                    <a:pt x="1126" y="3"/>
                  </a:lnTo>
                  <a:lnTo>
                    <a:pt x="1126" y="2"/>
                  </a:lnTo>
                  <a:lnTo>
                    <a:pt x="1125" y="1"/>
                  </a:lnTo>
                  <a:lnTo>
                    <a:pt x="1123" y="0"/>
                  </a:lnTo>
                  <a:lnTo>
                    <a:pt x="1117" y="0"/>
                  </a:lnTo>
                  <a:lnTo>
                    <a:pt x="1110" y="1"/>
                  </a:lnTo>
                  <a:lnTo>
                    <a:pt x="1094" y="4"/>
                  </a:lnTo>
                  <a:lnTo>
                    <a:pt x="1080" y="7"/>
                  </a:lnTo>
                  <a:lnTo>
                    <a:pt x="1068" y="10"/>
                  </a:lnTo>
                  <a:lnTo>
                    <a:pt x="1067" y="12"/>
                  </a:lnTo>
                  <a:lnTo>
                    <a:pt x="1066" y="13"/>
                  </a:lnTo>
                  <a:lnTo>
                    <a:pt x="1066" y="15"/>
                  </a:lnTo>
                  <a:lnTo>
                    <a:pt x="1067" y="17"/>
                  </a:lnTo>
                  <a:lnTo>
                    <a:pt x="1076" y="22"/>
                  </a:lnTo>
                  <a:lnTo>
                    <a:pt x="1079" y="24"/>
                  </a:lnTo>
                  <a:lnTo>
                    <a:pt x="1080" y="26"/>
                  </a:lnTo>
                  <a:lnTo>
                    <a:pt x="1081" y="27"/>
                  </a:lnTo>
                  <a:lnTo>
                    <a:pt x="1081" y="29"/>
                  </a:lnTo>
                  <a:lnTo>
                    <a:pt x="1080" y="32"/>
                  </a:lnTo>
                  <a:lnTo>
                    <a:pt x="1078" y="39"/>
                  </a:lnTo>
                  <a:lnTo>
                    <a:pt x="1058" y="96"/>
                  </a:lnTo>
                  <a:lnTo>
                    <a:pt x="1055" y="93"/>
                  </a:lnTo>
                  <a:lnTo>
                    <a:pt x="1054" y="92"/>
                  </a:lnTo>
                  <a:lnTo>
                    <a:pt x="1052" y="91"/>
                  </a:lnTo>
                  <a:lnTo>
                    <a:pt x="1050" y="90"/>
                  </a:lnTo>
                  <a:lnTo>
                    <a:pt x="1047" y="89"/>
                  </a:lnTo>
                  <a:lnTo>
                    <a:pt x="1042" y="89"/>
                  </a:lnTo>
                  <a:close/>
                  <a:moveTo>
                    <a:pt x="944" y="89"/>
                  </a:moveTo>
                  <a:lnTo>
                    <a:pt x="940" y="89"/>
                  </a:lnTo>
                  <a:lnTo>
                    <a:pt x="937" y="90"/>
                  </a:lnTo>
                  <a:lnTo>
                    <a:pt x="933" y="92"/>
                  </a:lnTo>
                  <a:lnTo>
                    <a:pt x="929" y="94"/>
                  </a:lnTo>
                  <a:lnTo>
                    <a:pt x="926" y="97"/>
                  </a:lnTo>
                  <a:lnTo>
                    <a:pt x="922" y="101"/>
                  </a:lnTo>
                  <a:lnTo>
                    <a:pt x="915" y="109"/>
                  </a:lnTo>
                  <a:lnTo>
                    <a:pt x="910" y="117"/>
                  </a:lnTo>
                  <a:lnTo>
                    <a:pt x="904" y="126"/>
                  </a:lnTo>
                  <a:lnTo>
                    <a:pt x="891" y="148"/>
                  </a:lnTo>
                  <a:lnTo>
                    <a:pt x="889" y="148"/>
                  </a:lnTo>
                  <a:lnTo>
                    <a:pt x="900" y="117"/>
                  </a:lnTo>
                  <a:lnTo>
                    <a:pt x="902" y="111"/>
                  </a:lnTo>
                  <a:lnTo>
                    <a:pt x="903" y="106"/>
                  </a:lnTo>
                  <a:lnTo>
                    <a:pt x="903" y="101"/>
                  </a:lnTo>
                  <a:lnTo>
                    <a:pt x="903" y="99"/>
                  </a:lnTo>
                  <a:lnTo>
                    <a:pt x="902" y="97"/>
                  </a:lnTo>
                  <a:lnTo>
                    <a:pt x="900" y="94"/>
                  </a:lnTo>
                  <a:lnTo>
                    <a:pt x="899" y="92"/>
                  </a:lnTo>
                  <a:lnTo>
                    <a:pt x="897" y="91"/>
                  </a:lnTo>
                  <a:lnTo>
                    <a:pt x="893" y="89"/>
                  </a:lnTo>
                  <a:lnTo>
                    <a:pt x="890" y="89"/>
                  </a:lnTo>
                  <a:lnTo>
                    <a:pt x="887" y="89"/>
                  </a:lnTo>
                  <a:lnTo>
                    <a:pt x="883" y="89"/>
                  </a:lnTo>
                  <a:lnTo>
                    <a:pt x="880" y="90"/>
                  </a:lnTo>
                  <a:lnTo>
                    <a:pt x="876" y="91"/>
                  </a:lnTo>
                  <a:lnTo>
                    <a:pt x="872" y="92"/>
                  </a:lnTo>
                  <a:lnTo>
                    <a:pt x="868" y="94"/>
                  </a:lnTo>
                  <a:lnTo>
                    <a:pt x="865" y="96"/>
                  </a:lnTo>
                  <a:lnTo>
                    <a:pt x="858" y="101"/>
                  </a:lnTo>
                  <a:lnTo>
                    <a:pt x="853" y="106"/>
                  </a:lnTo>
                  <a:lnTo>
                    <a:pt x="848" y="111"/>
                  </a:lnTo>
                  <a:lnTo>
                    <a:pt x="844" y="117"/>
                  </a:lnTo>
                  <a:lnTo>
                    <a:pt x="841" y="121"/>
                  </a:lnTo>
                  <a:lnTo>
                    <a:pt x="841" y="124"/>
                  </a:lnTo>
                  <a:lnTo>
                    <a:pt x="842" y="126"/>
                  </a:lnTo>
                  <a:lnTo>
                    <a:pt x="843" y="127"/>
                  </a:lnTo>
                  <a:lnTo>
                    <a:pt x="844" y="127"/>
                  </a:lnTo>
                  <a:lnTo>
                    <a:pt x="846" y="128"/>
                  </a:lnTo>
                  <a:lnTo>
                    <a:pt x="853" y="121"/>
                  </a:lnTo>
                  <a:lnTo>
                    <a:pt x="860" y="116"/>
                  </a:lnTo>
                  <a:lnTo>
                    <a:pt x="866" y="112"/>
                  </a:lnTo>
                  <a:lnTo>
                    <a:pt x="869" y="111"/>
                  </a:lnTo>
                  <a:lnTo>
                    <a:pt x="871" y="110"/>
                  </a:lnTo>
                  <a:lnTo>
                    <a:pt x="872" y="110"/>
                  </a:lnTo>
                  <a:lnTo>
                    <a:pt x="873" y="111"/>
                  </a:lnTo>
                  <a:lnTo>
                    <a:pt x="873" y="112"/>
                  </a:lnTo>
                  <a:lnTo>
                    <a:pt x="873" y="113"/>
                  </a:lnTo>
                  <a:lnTo>
                    <a:pt x="873" y="116"/>
                  </a:lnTo>
                  <a:lnTo>
                    <a:pt x="872" y="120"/>
                  </a:lnTo>
                  <a:lnTo>
                    <a:pt x="858" y="161"/>
                  </a:lnTo>
                  <a:lnTo>
                    <a:pt x="844" y="203"/>
                  </a:lnTo>
                  <a:lnTo>
                    <a:pt x="844" y="206"/>
                  </a:lnTo>
                  <a:lnTo>
                    <a:pt x="844" y="208"/>
                  </a:lnTo>
                  <a:lnTo>
                    <a:pt x="845" y="209"/>
                  </a:lnTo>
                  <a:lnTo>
                    <a:pt x="846" y="211"/>
                  </a:lnTo>
                  <a:lnTo>
                    <a:pt x="849" y="212"/>
                  </a:lnTo>
                  <a:lnTo>
                    <a:pt x="851" y="214"/>
                  </a:lnTo>
                  <a:lnTo>
                    <a:pt x="855" y="214"/>
                  </a:lnTo>
                  <a:lnTo>
                    <a:pt x="861" y="215"/>
                  </a:lnTo>
                  <a:lnTo>
                    <a:pt x="865" y="215"/>
                  </a:lnTo>
                  <a:lnTo>
                    <a:pt x="869" y="214"/>
                  </a:lnTo>
                  <a:lnTo>
                    <a:pt x="873" y="212"/>
                  </a:lnTo>
                  <a:lnTo>
                    <a:pt x="874" y="211"/>
                  </a:lnTo>
                  <a:lnTo>
                    <a:pt x="875" y="210"/>
                  </a:lnTo>
                  <a:lnTo>
                    <a:pt x="889" y="175"/>
                  </a:lnTo>
                  <a:lnTo>
                    <a:pt x="897" y="158"/>
                  </a:lnTo>
                  <a:lnTo>
                    <a:pt x="906" y="141"/>
                  </a:lnTo>
                  <a:lnTo>
                    <a:pt x="911" y="131"/>
                  </a:lnTo>
                  <a:lnTo>
                    <a:pt x="917" y="123"/>
                  </a:lnTo>
                  <a:lnTo>
                    <a:pt x="922" y="117"/>
                  </a:lnTo>
                  <a:lnTo>
                    <a:pt x="924" y="115"/>
                  </a:lnTo>
                  <a:lnTo>
                    <a:pt x="926" y="115"/>
                  </a:lnTo>
                  <a:lnTo>
                    <a:pt x="928" y="115"/>
                  </a:lnTo>
                  <a:lnTo>
                    <a:pt x="928" y="116"/>
                  </a:lnTo>
                  <a:lnTo>
                    <a:pt x="929" y="116"/>
                  </a:lnTo>
                  <a:lnTo>
                    <a:pt x="930" y="119"/>
                  </a:lnTo>
                  <a:lnTo>
                    <a:pt x="931" y="122"/>
                  </a:lnTo>
                  <a:lnTo>
                    <a:pt x="932" y="127"/>
                  </a:lnTo>
                  <a:lnTo>
                    <a:pt x="933" y="131"/>
                  </a:lnTo>
                  <a:lnTo>
                    <a:pt x="934" y="133"/>
                  </a:lnTo>
                  <a:lnTo>
                    <a:pt x="936" y="134"/>
                  </a:lnTo>
                  <a:lnTo>
                    <a:pt x="937" y="135"/>
                  </a:lnTo>
                  <a:lnTo>
                    <a:pt x="939" y="135"/>
                  </a:lnTo>
                  <a:lnTo>
                    <a:pt x="942" y="135"/>
                  </a:lnTo>
                  <a:lnTo>
                    <a:pt x="946" y="133"/>
                  </a:lnTo>
                  <a:lnTo>
                    <a:pt x="949" y="131"/>
                  </a:lnTo>
                  <a:lnTo>
                    <a:pt x="952" y="127"/>
                  </a:lnTo>
                  <a:lnTo>
                    <a:pt x="955" y="123"/>
                  </a:lnTo>
                  <a:lnTo>
                    <a:pt x="957" y="118"/>
                  </a:lnTo>
                  <a:lnTo>
                    <a:pt x="958" y="112"/>
                  </a:lnTo>
                  <a:lnTo>
                    <a:pt x="959" y="106"/>
                  </a:lnTo>
                  <a:lnTo>
                    <a:pt x="958" y="102"/>
                  </a:lnTo>
                  <a:lnTo>
                    <a:pt x="958" y="99"/>
                  </a:lnTo>
                  <a:lnTo>
                    <a:pt x="956" y="95"/>
                  </a:lnTo>
                  <a:lnTo>
                    <a:pt x="955" y="93"/>
                  </a:lnTo>
                  <a:lnTo>
                    <a:pt x="953" y="91"/>
                  </a:lnTo>
                  <a:lnTo>
                    <a:pt x="950" y="90"/>
                  </a:lnTo>
                  <a:lnTo>
                    <a:pt x="947" y="89"/>
                  </a:lnTo>
                  <a:lnTo>
                    <a:pt x="944" y="89"/>
                  </a:lnTo>
                  <a:close/>
                  <a:moveTo>
                    <a:pt x="787" y="117"/>
                  </a:moveTo>
                  <a:lnTo>
                    <a:pt x="783" y="126"/>
                  </a:lnTo>
                  <a:lnTo>
                    <a:pt x="780" y="132"/>
                  </a:lnTo>
                  <a:lnTo>
                    <a:pt x="776" y="139"/>
                  </a:lnTo>
                  <a:lnTo>
                    <a:pt x="769" y="152"/>
                  </a:lnTo>
                  <a:lnTo>
                    <a:pt x="761" y="164"/>
                  </a:lnTo>
                  <a:lnTo>
                    <a:pt x="753" y="173"/>
                  </a:lnTo>
                  <a:lnTo>
                    <a:pt x="744" y="183"/>
                  </a:lnTo>
                  <a:lnTo>
                    <a:pt x="740" y="187"/>
                  </a:lnTo>
                  <a:lnTo>
                    <a:pt x="736" y="190"/>
                  </a:lnTo>
                  <a:lnTo>
                    <a:pt x="732" y="192"/>
                  </a:lnTo>
                  <a:lnTo>
                    <a:pt x="729" y="193"/>
                  </a:lnTo>
                  <a:lnTo>
                    <a:pt x="728" y="192"/>
                  </a:lnTo>
                  <a:lnTo>
                    <a:pt x="727" y="191"/>
                  </a:lnTo>
                  <a:lnTo>
                    <a:pt x="726" y="190"/>
                  </a:lnTo>
                  <a:lnTo>
                    <a:pt x="725" y="188"/>
                  </a:lnTo>
                  <a:lnTo>
                    <a:pt x="725" y="185"/>
                  </a:lnTo>
                  <a:lnTo>
                    <a:pt x="726" y="179"/>
                  </a:lnTo>
                  <a:lnTo>
                    <a:pt x="728" y="171"/>
                  </a:lnTo>
                  <a:lnTo>
                    <a:pt x="731" y="163"/>
                  </a:lnTo>
                  <a:lnTo>
                    <a:pt x="734" y="154"/>
                  </a:lnTo>
                  <a:lnTo>
                    <a:pt x="739" y="145"/>
                  </a:lnTo>
                  <a:lnTo>
                    <a:pt x="744" y="137"/>
                  </a:lnTo>
                  <a:lnTo>
                    <a:pt x="749" y="129"/>
                  </a:lnTo>
                  <a:lnTo>
                    <a:pt x="754" y="121"/>
                  </a:lnTo>
                  <a:lnTo>
                    <a:pt x="761" y="113"/>
                  </a:lnTo>
                  <a:lnTo>
                    <a:pt x="766" y="109"/>
                  </a:lnTo>
                  <a:lnTo>
                    <a:pt x="769" y="107"/>
                  </a:lnTo>
                  <a:lnTo>
                    <a:pt x="771" y="106"/>
                  </a:lnTo>
                  <a:lnTo>
                    <a:pt x="773" y="106"/>
                  </a:lnTo>
                  <a:lnTo>
                    <a:pt x="774" y="106"/>
                  </a:lnTo>
                  <a:lnTo>
                    <a:pt x="778" y="106"/>
                  </a:lnTo>
                  <a:lnTo>
                    <a:pt x="781" y="108"/>
                  </a:lnTo>
                  <a:lnTo>
                    <a:pt x="784" y="112"/>
                  </a:lnTo>
                  <a:lnTo>
                    <a:pt x="787" y="117"/>
                  </a:lnTo>
                  <a:close/>
                  <a:moveTo>
                    <a:pt x="781" y="93"/>
                  </a:moveTo>
                  <a:lnTo>
                    <a:pt x="775" y="93"/>
                  </a:lnTo>
                  <a:lnTo>
                    <a:pt x="769" y="94"/>
                  </a:lnTo>
                  <a:lnTo>
                    <a:pt x="762" y="96"/>
                  </a:lnTo>
                  <a:lnTo>
                    <a:pt x="756" y="99"/>
                  </a:lnTo>
                  <a:lnTo>
                    <a:pt x="749" y="102"/>
                  </a:lnTo>
                  <a:lnTo>
                    <a:pt x="742" y="107"/>
                  </a:lnTo>
                  <a:lnTo>
                    <a:pt x="728" y="118"/>
                  </a:lnTo>
                  <a:lnTo>
                    <a:pt x="719" y="128"/>
                  </a:lnTo>
                  <a:lnTo>
                    <a:pt x="714" y="133"/>
                  </a:lnTo>
                  <a:lnTo>
                    <a:pt x="710" y="138"/>
                  </a:lnTo>
                  <a:lnTo>
                    <a:pt x="702" y="149"/>
                  </a:lnTo>
                  <a:lnTo>
                    <a:pt x="695" y="160"/>
                  </a:lnTo>
                  <a:lnTo>
                    <a:pt x="690" y="170"/>
                  </a:lnTo>
                  <a:lnTo>
                    <a:pt x="686" y="180"/>
                  </a:lnTo>
                  <a:lnTo>
                    <a:pt x="684" y="189"/>
                  </a:lnTo>
                  <a:lnTo>
                    <a:pt x="683" y="197"/>
                  </a:lnTo>
                  <a:lnTo>
                    <a:pt x="683" y="200"/>
                  </a:lnTo>
                  <a:lnTo>
                    <a:pt x="685" y="204"/>
                  </a:lnTo>
                  <a:lnTo>
                    <a:pt x="686" y="207"/>
                  </a:lnTo>
                  <a:lnTo>
                    <a:pt x="689" y="209"/>
                  </a:lnTo>
                  <a:lnTo>
                    <a:pt x="691" y="212"/>
                  </a:lnTo>
                  <a:lnTo>
                    <a:pt x="694" y="213"/>
                  </a:lnTo>
                  <a:lnTo>
                    <a:pt x="699" y="214"/>
                  </a:lnTo>
                  <a:lnTo>
                    <a:pt x="702" y="215"/>
                  </a:lnTo>
                  <a:lnTo>
                    <a:pt x="706" y="215"/>
                  </a:lnTo>
                  <a:lnTo>
                    <a:pt x="710" y="214"/>
                  </a:lnTo>
                  <a:lnTo>
                    <a:pt x="719" y="211"/>
                  </a:lnTo>
                  <a:lnTo>
                    <a:pt x="728" y="206"/>
                  </a:lnTo>
                  <a:lnTo>
                    <a:pt x="737" y="200"/>
                  </a:lnTo>
                  <a:lnTo>
                    <a:pt x="746" y="193"/>
                  </a:lnTo>
                  <a:lnTo>
                    <a:pt x="754" y="185"/>
                  </a:lnTo>
                  <a:lnTo>
                    <a:pt x="762" y="177"/>
                  </a:lnTo>
                  <a:lnTo>
                    <a:pt x="769" y="169"/>
                  </a:lnTo>
                  <a:lnTo>
                    <a:pt x="770" y="169"/>
                  </a:lnTo>
                  <a:lnTo>
                    <a:pt x="762" y="191"/>
                  </a:lnTo>
                  <a:lnTo>
                    <a:pt x="759" y="198"/>
                  </a:lnTo>
                  <a:lnTo>
                    <a:pt x="759" y="201"/>
                  </a:lnTo>
                  <a:lnTo>
                    <a:pt x="758" y="204"/>
                  </a:lnTo>
                  <a:lnTo>
                    <a:pt x="759" y="207"/>
                  </a:lnTo>
                  <a:lnTo>
                    <a:pt x="761" y="211"/>
                  </a:lnTo>
                  <a:lnTo>
                    <a:pt x="763" y="213"/>
                  </a:lnTo>
                  <a:lnTo>
                    <a:pt x="765" y="214"/>
                  </a:lnTo>
                  <a:lnTo>
                    <a:pt x="767" y="215"/>
                  </a:lnTo>
                  <a:lnTo>
                    <a:pt x="770" y="215"/>
                  </a:lnTo>
                  <a:lnTo>
                    <a:pt x="778" y="214"/>
                  </a:lnTo>
                  <a:lnTo>
                    <a:pt x="786" y="212"/>
                  </a:lnTo>
                  <a:lnTo>
                    <a:pt x="794" y="209"/>
                  </a:lnTo>
                  <a:lnTo>
                    <a:pt x="802" y="205"/>
                  </a:lnTo>
                  <a:lnTo>
                    <a:pt x="806" y="202"/>
                  </a:lnTo>
                  <a:lnTo>
                    <a:pt x="810" y="200"/>
                  </a:lnTo>
                  <a:lnTo>
                    <a:pt x="817" y="194"/>
                  </a:lnTo>
                  <a:lnTo>
                    <a:pt x="823" y="187"/>
                  </a:lnTo>
                  <a:lnTo>
                    <a:pt x="829" y="181"/>
                  </a:lnTo>
                  <a:lnTo>
                    <a:pt x="828" y="178"/>
                  </a:lnTo>
                  <a:lnTo>
                    <a:pt x="827" y="176"/>
                  </a:lnTo>
                  <a:lnTo>
                    <a:pt x="825" y="175"/>
                  </a:lnTo>
                  <a:lnTo>
                    <a:pt x="823" y="174"/>
                  </a:lnTo>
                  <a:lnTo>
                    <a:pt x="816" y="181"/>
                  </a:lnTo>
                  <a:lnTo>
                    <a:pt x="811" y="184"/>
                  </a:lnTo>
                  <a:lnTo>
                    <a:pt x="807" y="187"/>
                  </a:lnTo>
                  <a:lnTo>
                    <a:pt x="800" y="191"/>
                  </a:lnTo>
                  <a:lnTo>
                    <a:pt x="797" y="192"/>
                  </a:lnTo>
                  <a:lnTo>
                    <a:pt x="795" y="192"/>
                  </a:lnTo>
                  <a:lnTo>
                    <a:pt x="794" y="192"/>
                  </a:lnTo>
                  <a:lnTo>
                    <a:pt x="794" y="191"/>
                  </a:lnTo>
                  <a:lnTo>
                    <a:pt x="794" y="189"/>
                  </a:lnTo>
                  <a:lnTo>
                    <a:pt x="795" y="186"/>
                  </a:lnTo>
                  <a:lnTo>
                    <a:pt x="804" y="162"/>
                  </a:lnTo>
                  <a:lnTo>
                    <a:pt x="813" y="138"/>
                  </a:lnTo>
                  <a:lnTo>
                    <a:pt x="830" y="93"/>
                  </a:lnTo>
                  <a:lnTo>
                    <a:pt x="829" y="91"/>
                  </a:lnTo>
                  <a:lnTo>
                    <a:pt x="826" y="89"/>
                  </a:lnTo>
                  <a:lnTo>
                    <a:pt x="823" y="87"/>
                  </a:lnTo>
                  <a:lnTo>
                    <a:pt x="819" y="85"/>
                  </a:lnTo>
                  <a:lnTo>
                    <a:pt x="814" y="84"/>
                  </a:lnTo>
                  <a:lnTo>
                    <a:pt x="808" y="84"/>
                  </a:lnTo>
                  <a:lnTo>
                    <a:pt x="804" y="84"/>
                  </a:lnTo>
                  <a:lnTo>
                    <a:pt x="800" y="86"/>
                  </a:lnTo>
                  <a:lnTo>
                    <a:pt x="794" y="100"/>
                  </a:lnTo>
                  <a:lnTo>
                    <a:pt x="790" y="97"/>
                  </a:lnTo>
                  <a:lnTo>
                    <a:pt x="787" y="95"/>
                  </a:lnTo>
                  <a:lnTo>
                    <a:pt x="783" y="93"/>
                  </a:lnTo>
                  <a:lnTo>
                    <a:pt x="781" y="93"/>
                  </a:lnTo>
                  <a:close/>
                  <a:moveTo>
                    <a:pt x="615" y="89"/>
                  </a:moveTo>
                  <a:lnTo>
                    <a:pt x="610" y="89"/>
                  </a:lnTo>
                  <a:lnTo>
                    <a:pt x="606" y="90"/>
                  </a:lnTo>
                  <a:lnTo>
                    <a:pt x="601" y="91"/>
                  </a:lnTo>
                  <a:lnTo>
                    <a:pt x="597" y="92"/>
                  </a:lnTo>
                  <a:lnTo>
                    <a:pt x="592" y="94"/>
                  </a:lnTo>
                  <a:lnTo>
                    <a:pt x="588" y="96"/>
                  </a:lnTo>
                  <a:lnTo>
                    <a:pt x="580" y="101"/>
                  </a:lnTo>
                  <a:lnTo>
                    <a:pt x="572" y="107"/>
                  </a:lnTo>
                  <a:lnTo>
                    <a:pt x="566" y="113"/>
                  </a:lnTo>
                  <a:lnTo>
                    <a:pt x="563" y="116"/>
                  </a:lnTo>
                  <a:lnTo>
                    <a:pt x="561" y="119"/>
                  </a:lnTo>
                  <a:lnTo>
                    <a:pt x="557" y="125"/>
                  </a:lnTo>
                  <a:lnTo>
                    <a:pt x="558" y="127"/>
                  </a:lnTo>
                  <a:lnTo>
                    <a:pt x="559" y="128"/>
                  </a:lnTo>
                  <a:lnTo>
                    <a:pt x="561" y="130"/>
                  </a:lnTo>
                  <a:lnTo>
                    <a:pt x="563" y="130"/>
                  </a:lnTo>
                  <a:lnTo>
                    <a:pt x="569" y="125"/>
                  </a:lnTo>
                  <a:lnTo>
                    <a:pt x="576" y="119"/>
                  </a:lnTo>
                  <a:lnTo>
                    <a:pt x="582" y="115"/>
                  </a:lnTo>
                  <a:lnTo>
                    <a:pt x="585" y="113"/>
                  </a:lnTo>
                  <a:lnTo>
                    <a:pt x="588" y="113"/>
                  </a:lnTo>
                  <a:lnTo>
                    <a:pt x="589" y="113"/>
                  </a:lnTo>
                  <a:lnTo>
                    <a:pt x="590" y="114"/>
                  </a:lnTo>
                  <a:lnTo>
                    <a:pt x="590" y="116"/>
                  </a:lnTo>
                  <a:lnTo>
                    <a:pt x="590" y="119"/>
                  </a:lnTo>
                  <a:lnTo>
                    <a:pt x="588" y="123"/>
                  </a:lnTo>
                  <a:lnTo>
                    <a:pt x="571" y="171"/>
                  </a:lnTo>
                  <a:lnTo>
                    <a:pt x="569" y="178"/>
                  </a:lnTo>
                  <a:lnTo>
                    <a:pt x="567" y="184"/>
                  </a:lnTo>
                  <a:lnTo>
                    <a:pt x="567" y="190"/>
                  </a:lnTo>
                  <a:lnTo>
                    <a:pt x="567" y="194"/>
                  </a:lnTo>
                  <a:lnTo>
                    <a:pt x="567" y="197"/>
                  </a:lnTo>
                  <a:lnTo>
                    <a:pt x="568" y="201"/>
                  </a:lnTo>
                  <a:lnTo>
                    <a:pt x="569" y="204"/>
                  </a:lnTo>
                  <a:lnTo>
                    <a:pt x="571" y="207"/>
                  </a:lnTo>
                  <a:lnTo>
                    <a:pt x="574" y="210"/>
                  </a:lnTo>
                  <a:lnTo>
                    <a:pt x="577" y="213"/>
                  </a:lnTo>
                  <a:lnTo>
                    <a:pt x="581" y="214"/>
                  </a:lnTo>
                  <a:lnTo>
                    <a:pt x="583" y="215"/>
                  </a:lnTo>
                  <a:lnTo>
                    <a:pt x="585" y="215"/>
                  </a:lnTo>
                  <a:lnTo>
                    <a:pt x="595" y="214"/>
                  </a:lnTo>
                  <a:lnTo>
                    <a:pt x="600" y="213"/>
                  </a:lnTo>
                  <a:lnTo>
                    <a:pt x="605" y="211"/>
                  </a:lnTo>
                  <a:lnTo>
                    <a:pt x="608" y="210"/>
                  </a:lnTo>
                  <a:lnTo>
                    <a:pt x="611" y="209"/>
                  </a:lnTo>
                  <a:lnTo>
                    <a:pt x="618" y="205"/>
                  </a:lnTo>
                  <a:lnTo>
                    <a:pt x="625" y="200"/>
                  </a:lnTo>
                  <a:lnTo>
                    <a:pt x="633" y="194"/>
                  </a:lnTo>
                  <a:lnTo>
                    <a:pt x="644" y="185"/>
                  </a:lnTo>
                  <a:lnTo>
                    <a:pt x="649" y="180"/>
                  </a:lnTo>
                  <a:lnTo>
                    <a:pt x="653" y="175"/>
                  </a:lnTo>
                  <a:lnTo>
                    <a:pt x="662" y="164"/>
                  </a:lnTo>
                  <a:lnTo>
                    <a:pt x="670" y="152"/>
                  </a:lnTo>
                  <a:lnTo>
                    <a:pt x="673" y="147"/>
                  </a:lnTo>
                  <a:lnTo>
                    <a:pt x="676" y="141"/>
                  </a:lnTo>
                  <a:lnTo>
                    <a:pt x="681" y="130"/>
                  </a:lnTo>
                  <a:lnTo>
                    <a:pt x="684" y="120"/>
                  </a:lnTo>
                  <a:lnTo>
                    <a:pt x="684" y="115"/>
                  </a:lnTo>
                  <a:lnTo>
                    <a:pt x="685" y="111"/>
                  </a:lnTo>
                  <a:lnTo>
                    <a:pt x="684" y="103"/>
                  </a:lnTo>
                  <a:lnTo>
                    <a:pt x="683" y="99"/>
                  </a:lnTo>
                  <a:lnTo>
                    <a:pt x="682" y="96"/>
                  </a:lnTo>
                  <a:lnTo>
                    <a:pt x="680" y="93"/>
                  </a:lnTo>
                  <a:lnTo>
                    <a:pt x="678" y="92"/>
                  </a:lnTo>
                  <a:lnTo>
                    <a:pt x="677" y="91"/>
                  </a:lnTo>
                  <a:lnTo>
                    <a:pt x="673" y="89"/>
                  </a:lnTo>
                  <a:lnTo>
                    <a:pt x="668" y="89"/>
                  </a:lnTo>
                  <a:lnTo>
                    <a:pt x="664" y="89"/>
                  </a:lnTo>
                  <a:lnTo>
                    <a:pt x="661" y="90"/>
                  </a:lnTo>
                  <a:lnTo>
                    <a:pt x="658" y="91"/>
                  </a:lnTo>
                  <a:lnTo>
                    <a:pt x="655" y="93"/>
                  </a:lnTo>
                  <a:lnTo>
                    <a:pt x="653" y="96"/>
                  </a:lnTo>
                  <a:lnTo>
                    <a:pt x="652" y="99"/>
                  </a:lnTo>
                  <a:lnTo>
                    <a:pt x="651" y="103"/>
                  </a:lnTo>
                  <a:lnTo>
                    <a:pt x="650" y="107"/>
                  </a:lnTo>
                  <a:lnTo>
                    <a:pt x="651" y="111"/>
                  </a:lnTo>
                  <a:lnTo>
                    <a:pt x="652" y="116"/>
                  </a:lnTo>
                  <a:lnTo>
                    <a:pt x="653" y="122"/>
                  </a:lnTo>
                  <a:lnTo>
                    <a:pt x="653" y="128"/>
                  </a:lnTo>
                  <a:lnTo>
                    <a:pt x="652" y="132"/>
                  </a:lnTo>
                  <a:lnTo>
                    <a:pt x="652" y="137"/>
                  </a:lnTo>
                  <a:lnTo>
                    <a:pt x="650" y="143"/>
                  </a:lnTo>
                  <a:lnTo>
                    <a:pt x="648" y="149"/>
                  </a:lnTo>
                  <a:lnTo>
                    <a:pt x="646" y="155"/>
                  </a:lnTo>
                  <a:lnTo>
                    <a:pt x="644" y="161"/>
                  </a:lnTo>
                  <a:lnTo>
                    <a:pt x="641" y="166"/>
                  </a:lnTo>
                  <a:lnTo>
                    <a:pt x="638" y="171"/>
                  </a:lnTo>
                  <a:lnTo>
                    <a:pt x="634" y="176"/>
                  </a:lnTo>
                  <a:lnTo>
                    <a:pt x="630" y="181"/>
                  </a:lnTo>
                  <a:lnTo>
                    <a:pt x="626" y="185"/>
                  </a:lnTo>
                  <a:lnTo>
                    <a:pt x="622" y="188"/>
                  </a:lnTo>
                  <a:lnTo>
                    <a:pt x="615" y="191"/>
                  </a:lnTo>
                  <a:lnTo>
                    <a:pt x="613" y="192"/>
                  </a:lnTo>
                  <a:lnTo>
                    <a:pt x="610" y="193"/>
                  </a:lnTo>
                  <a:lnTo>
                    <a:pt x="607" y="192"/>
                  </a:lnTo>
                  <a:lnTo>
                    <a:pt x="605" y="190"/>
                  </a:lnTo>
                  <a:lnTo>
                    <a:pt x="604" y="187"/>
                  </a:lnTo>
                  <a:lnTo>
                    <a:pt x="604" y="184"/>
                  </a:lnTo>
                  <a:lnTo>
                    <a:pt x="605" y="177"/>
                  </a:lnTo>
                  <a:lnTo>
                    <a:pt x="608" y="166"/>
                  </a:lnTo>
                  <a:lnTo>
                    <a:pt x="625" y="122"/>
                  </a:lnTo>
                  <a:lnTo>
                    <a:pt x="628" y="112"/>
                  </a:lnTo>
                  <a:lnTo>
                    <a:pt x="629" y="107"/>
                  </a:lnTo>
                  <a:lnTo>
                    <a:pt x="629" y="103"/>
                  </a:lnTo>
                  <a:lnTo>
                    <a:pt x="629" y="101"/>
                  </a:lnTo>
                  <a:lnTo>
                    <a:pt x="628" y="98"/>
                  </a:lnTo>
                  <a:lnTo>
                    <a:pt x="627" y="96"/>
                  </a:lnTo>
                  <a:lnTo>
                    <a:pt x="626" y="94"/>
                  </a:lnTo>
                  <a:lnTo>
                    <a:pt x="624" y="92"/>
                  </a:lnTo>
                  <a:lnTo>
                    <a:pt x="623" y="91"/>
                  </a:lnTo>
                  <a:lnTo>
                    <a:pt x="621" y="90"/>
                  </a:lnTo>
                  <a:lnTo>
                    <a:pt x="619" y="89"/>
                  </a:lnTo>
                  <a:lnTo>
                    <a:pt x="615" y="89"/>
                  </a:lnTo>
                  <a:close/>
                  <a:moveTo>
                    <a:pt x="513" y="102"/>
                  </a:moveTo>
                  <a:lnTo>
                    <a:pt x="515" y="102"/>
                  </a:lnTo>
                  <a:lnTo>
                    <a:pt x="517" y="104"/>
                  </a:lnTo>
                  <a:lnTo>
                    <a:pt x="518" y="106"/>
                  </a:lnTo>
                  <a:lnTo>
                    <a:pt x="519" y="108"/>
                  </a:lnTo>
                  <a:lnTo>
                    <a:pt x="518" y="111"/>
                  </a:lnTo>
                  <a:lnTo>
                    <a:pt x="518" y="115"/>
                  </a:lnTo>
                  <a:lnTo>
                    <a:pt x="515" y="121"/>
                  </a:lnTo>
                  <a:lnTo>
                    <a:pt x="512" y="128"/>
                  </a:lnTo>
                  <a:lnTo>
                    <a:pt x="508" y="133"/>
                  </a:lnTo>
                  <a:lnTo>
                    <a:pt x="501" y="139"/>
                  </a:lnTo>
                  <a:lnTo>
                    <a:pt x="495" y="144"/>
                  </a:lnTo>
                  <a:lnTo>
                    <a:pt x="487" y="147"/>
                  </a:lnTo>
                  <a:lnTo>
                    <a:pt x="484" y="149"/>
                  </a:lnTo>
                  <a:lnTo>
                    <a:pt x="480" y="150"/>
                  </a:lnTo>
                  <a:lnTo>
                    <a:pt x="483" y="141"/>
                  </a:lnTo>
                  <a:lnTo>
                    <a:pt x="487" y="130"/>
                  </a:lnTo>
                  <a:lnTo>
                    <a:pt x="493" y="119"/>
                  </a:lnTo>
                  <a:lnTo>
                    <a:pt x="496" y="114"/>
                  </a:lnTo>
                  <a:lnTo>
                    <a:pt x="500" y="109"/>
                  </a:lnTo>
                  <a:lnTo>
                    <a:pt x="504" y="106"/>
                  </a:lnTo>
                  <a:lnTo>
                    <a:pt x="507" y="104"/>
                  </a:lnTo>
                  <a:lnTo>
                    <a:pt x="508" y="103"/>
                  </a:lnTo>
                  <a:lnTo>
                    <a:pt x="510" y="102"/>
                  </a:lnTo>
                  <a:lnTo>
                    <a:pt x="513" y="102"/>
                  </a:lnTo>
                  <a:close/>
                  <a:moveTo>
                    <a:pt x="523" y="89"/>
                  </a:moveTo>
                  <a:lnTo>
                    <a:pt x="518" y="89"/>
                  </a:lnTo>
                  <a:lnTo>
                    <a:pt x="513" y="90"/>
                  </a:lnTo>
                  <a:lnTo>
                    <a:pt x="507" y="91"/>
                  </a:lnTo>
                  <a:lnTo>
                    <a:pt x="501" y="92"/>
                  </a:lnTo>
                  <a:lnTo>
                    <a:pt x="495" y="95"/>
                  </a:lnTo>
                  <a:lnTo>
                    <a:pt x="489" y="98"/>
                  </a:lnTo>
                  <a:lnTo>
                    <a:pt x="483" y="101"/>
                  </a:lnTo>
                  <a:lnTo>
                    <a:pt x="477" y="106"/>
                  </a:lnTo>
                  <a:lnTo>
                    <a:pt x="469" y="113"/>
                  </a:lnTo>
                  <a:lnTo>
                    <a:pt x="465" y="117"/>
                  </a:lnTo>
                  <a:lnTo>
                    <a:pt x="461" y="121"/>
                  </a:lnTo>
                  <a:lnTo>
                    <a:pt x="454" y="130"/>
                  </a:lnTo>
                  <a:lnTo>
                    <a:pt x="448" y="140"/>
                  </a:lnTo>
                  <a:lnTo>
                    <a:pt x="444" y="150"/>
                  </a:lnTo>
                  <a:lnTo>
                    <a:pt x="442" y="155"/>
                  </a:lnTo>
                  <a:lnTo>
                    <a:pt x="440" y="161"/>
                  </a:lnTo>
                  <a:lnTo>
                    <a:pt x="438" y="171"/>
                  </a:lnTo>
                  <a:lnTo>
                    <a:pt x="437" y="181"/>
                  </a:lnTo>
                  <a:lnTo>
                    <a:pt x="438" y="188"/>
                  </a:lnTo>
                  <a:lnTo>
                    <a:pt x="439" y="194"/>
                  </a:lnTo>
                  <a:lnTo>
                    <a:pt x="442" y="200"/>
                  </a:lnTo>
                  <a:lnTo>
                    <a:pt x="443" y="203"/>
                  </a:lnTo>
                  <a:lnTo>
                    <a:pt x="445" y="205"/>
                  </a:lnTo>
                  <a:lnTo>
                    <a:pt x="447" y="207"/>
                  </a:lnTo>
                  <a:lnTo>
                    <a:pt x="449" y="209"/>
                  </a:lnTo>
                  <a:lnTo>
                    <a:pt x="452" y="211"/>
                  </a:lnTo>
                  <a:lnTo>
                    <a:pt x="455" y="212"/>
                  </a:lnTo>
                  <a:lnTo>
                    <a:pt x="461" y="214"/>
                  </a:lnTo>
                  <a:lnTo>
                    <a:pt x="465" y="215"/>
                  </a:lnTo>
                  <a:lnTo>
                    <a:pt x="469" y="215"/>
                  </a:lnTo>
                  <a:lnTo>
                    <a:pt x="478" y="214"/>
                  </a:lnTo>
                  <a:lnTo>
                    <a:pt x="488" y="212"/>
                  </a:lnTo>
                  <a:lnTo>
                    <a:pt x="497" y="209"/>
                  </a:lnTo>
                  <a:lnTo>
                    <a:pt x="505" y="205"/>
                  </a:lnTo>
                  <a:lnTo>
                    <a:pt x="513" y="200"/>
                  </a:lnTo>
                  <a:lnTo>
                    <a:pt x="517" y="197"/>
                  </a:lnTo>
                  <a:lnTo>
                    <a:pt x="521" y="194"/>
                  </a:lnTo>
                  <a:lnTo>
                    <a:pt x="527" y="187"/>
                  </a:lnTo>
                  <a:lnTo>
                    <a:pt x="533" y="179"/>
                  </a:lnTo>
                  <a:lnTo>
                    <a:pt x="533" y="177"/>
                  </a:lnTo>
                  <a:lnTo>
                    <a:pt x="531" y="175"/>
                  </a:lnTo>
                  <a:lnTo>
                    <a:pt x="529" y="173"/>
                  </a:lnTo>
                  <a:lnTo>
                    <a:pt x="527" y="173"/>
                  </a:lnTo>
                  <a:lnTo>
                    <a:pt x="522" y="177"/>
                  </a:lnTo>
                  <a:lnTo>
                    <a:pt x="517" y="182"/>
                  </a:lnTo>
                  <a:lnTo>
                    <a:pt x="512" y="185"/>
                  </a:lnTo>
                  <a:lnTo>
                    <a:pt x="507" y="188"/>
                  </a:lnTo>
                  <a:lnTo>
                    <a:pt x="502" y="190"/>
                  </a:lnTo>
                  <a:lnTo>
                    <a:pt x="497" y="192"/>
                  </a:lnTo>
                  <a:lnTo>
                    <a:pt x="493" y="193"/>
                  </a:lnTo>
                  <a:lnTo>
                    <a:pt x="489" y="193"/>
                  </a:lnTo>
                  <a:lnTo>
                    <a:pt x="486" y="193"/>
                  </a:lnTo>
                  <a:lnTo>
                    <a:pt x="483" y="192"/>
                  </a:lnTo>
                  <a:lnTo>
                    <a:pt x="481" y="190"/>
                  </a:lnTo>
                  <a:lnTo>
                    <a:pt x="479" y="188"/>
                  </a:lnTo>
                  <a:lnTo>
                    <a:pt x="478" y="186"/>
                  </a:lnTo>
                  <a:lnTo>
                    <a:pt x="477" y="183"/>
                  </a:lnTo>
                  <a:lnTo>
                    <a:pt x="476" y="177"/>
                  </a:lnTo>
                  <a:lnTo>
                    <a:pt x="476" y="169"/>
                  </a:lnTo>
                  <a:lnTo>
                    <a:pt x="477" y="166"/>
                  </a:lnTo>
                  <a:lnTo>
                    <a:pt x="478" y="163"/>
                  </a:lnTo>
                  <a:lnTo>
                    <a:pt x="488" y="160"/>
                  </a:lnTo>
                  <a:lnTo>
                    <a:pt x="499" y="157"/>
                  </a:lnTo>
                  <a:lnTo>
                    <a:pt x="512" y="152"/>
                  </a:lnTo>
                  <a:lnTo>
                    <a:pt x="524" y="147"/>
                  </a:lnTo>
                  <a:lnTo>
                    <a:pt x="529" y="143"/>
                  </a:lnTo>
                  <a:lnTo>
                    <a:pt x="535" y="140"/>
                  </a:lnTo>
                  <a:lnTo>
                    <a:pt x="539" y="136"/>
                  </a:lnTo>
                  <a:lnTo>
                    <a:pt x="544" y="132"/>
                  </a:lnTo>
                  <a:lnTo>
                    <a:pt x="547" y="128"/>
                  </a:lnTo>
                  <a:lnTo>
                    <a:pt x="550" y="123"/>
                  </a:lnTo>
                  <a:lnTo>
                    <a:pt x="551" y="118"/>
                  </a:lnTo>
                  <a:lnTo>
                    <a:pt x="552" y="112"/>
                  </a:lnTo>
                  <a:lnTo>
                    <a:pt x="551" y="108"/>
                  </a:lnTo>
                  <a:lnTo>
                    <a:pt x="550" y="103"/>
                  </a:lnTo>
                  <a:lnTo>
                    <a:pt x="547" y="99"/>
                  </a:lnTo>
                  <a:lnTo>
                    <a:pt x="544" y="96"/>
                  </a:lnTo>
                  <a:lnTo>
                    <a:pt x="540" y="93"/>
                  </a:lnTo>
                  <a:lnTo>
                    <a:pt x="535" y="91"/>
                  </a:lnTo>
                  <a:lnTo>
                    <a:pt x="529" y="89"/>
                  </a:lnTo>
                  <a:lnTo>
                    <a:pt x="523" y="89"/>
                  </a:lnTo>
                  <a:close/>
                  <a:moveTo>
                    <a:pt x="373" y="215"/>
                  </a:moveTo>
                  <a:lnTo>
                    <a:pt x="379" y="215"/>
                  </a:lnTo>
                  <a:lnTo>
                    <a:pt x="384" y="214"/>
                  </a:lnTo>
                  <a:lnTo>
                    <a:pt x="390" y="213"/>
                  </a:lnTo>
                  <a:lnTo>
                    <a:pt x="395" y="211"/>
                  </a:lnTo>
                  <a:lnTo>
                    <a:pt x="404" y="207"/>
                  </a:lnTo>
                  <a:lnTo>
                    <a:pt x="408" y="204"/>
                  </a:lnTo>
                  <a:lnTo>
                    <a:pt x="411" y="201"/>
                  </a:lnTo>
                  <a:lnTo>
                    <a:pt x="418" y="195"/>
                  </a:lnTo>
                  <a:lnTo>
                    <a:pt x="423" y="188"/>
                  </a:lnTo>
                  <a:lnTo>
                    <a:pt x="427" y="182"/>
                  </a:lnTo>
                  <a:lnTo>
                    <a:pt x="431" y="175"/>
                  </a:lnTo>
                  <a:lnTo>
                    <a:pt x="431" y="174"/>
                  </a:lnTo>
                  <a:lnTo>
                    <a:pt x="431" y="173"/>
                  </a:lnTo>
                  <a:lnTo>
                    <a:pt x="430" y="171"/>
                  </a:lnTo>
                  <a:lnTo>
                    <a:pt x="428" y="169"/>
                  </a:lnTo>
                  <a:lnTo>
                    <a:pt x="427" y="169"/>
                  </a:lnTo>
                  <a:lnTo>
                    <a:pt x="425" y="169"/>
                  </a:lnTo>
                  <a:lnTo>
                    <a:pt x="418" y="176"/>
                  </a:lnTo>
                  <a:lnTo>
                    <a:pt x="410" y="185"/>
                  </a:lnTo>
                  <a:lnTo>
                    <a:pt x="401" y="192"/>
                  </a:lnTo>
                  <a:lnTo>
                    <a:pt x="398" y="194"/>
                  </a:lnTo>
                  <a:lnTo>
                    <a:pt x="395" y="195"/>
                  </a:lnTo>
                  <a:lnTo>
                    <a:pt x="393" y="195"/>
                  </a:lnTo>
                  <a:lnTo>
                    <a:pt x="392" y="194"/>
                  </a:lnTo>
                  <a:lnTo>
                    <a:pt x="392" y="193"/>
                  </a:lnTo>
                  <a:lnTo>
                    <a:pt x="392" y="191"/>
                  </a:lnTo>
                  <a:lnTo>
                    <a:pt x="393" y="187"/>
                  </a:lnTo>
                  <a:lnTo>
                    <a:pt x="394" y="182"/>
                  </a:lnTo>
                  <a:lnTo>
                    <a:pt x="443" y="42"/>
                  </a:lnTo>
                  <a:lnTo>
                    <a:pt x="457" y="3"/>
                  </a:lnTo>
                  <a:lnTo>
                    <a:pt x="456" y="2"/>
                  </a:lnTo>
                  <a:lnTo>
                    <a:pt x="456" y="1"/>
                  </a:lnTo>
                  <a:lnTo>
                    <a:pt x="454" y="0"/>
                  </a:lnTo>
                  <a:lnTo>
                    <a:pt x="447" y="0"/>
                  </a:lnTo>
                  <a:lnTo>
                    <a:pt x="440" y="1"/>
                  </a:lnTo>
                  <a:lnTo>
                    <a:pt x="425" y="4"/>
                  </a:lnTo>
                  <a:lnTo>
                    <a:pt x="410" y="7"/>
                  </a:lnTo>
                  <a:lnTo>
                    <a:pt x="399" y="10"/>
                  </a:lnTo>
                  <a:lnTo>
                    <a:pt x="398" y="12"/>
                  </a:lnTo>
                  <a:lnTo>
                    <a:pt x="397" y="13"/>
                  </a:lnTo>
                  <a:lnTo>
                    <a:pt x="397" y="15"/>
                  </a:lnTo>
                  <a:lnTo>
                    <a:pt x="398" y="17"/>
                  </a:lnTo>
                  <a:lnTo>
                    <a:pt x="406" y="22"/>
                  </a:lnTo>
                  <a:lnTo>
                    <a:pt x="409" y="24"/>
                  </a:lnTo>
                  <a:lnTo>
                    <a:pt x="410" y="26"/>
                  </a:lnTo>
                  <a:lnTo>
                    <a:pt x="411" y="27"/>
                  </a:lnTo>
                  <a:lnTo>
                    <a:pt x="411" y="29"/>
                  </a:lnTo>
                  <a:lnTo>
                    <a:pt x="410" y="32"/>
                  </a:lnTo>
                  <a:lnTo>
                    <a:pt x="408" y="39"/>
                  </a:lnTo>
                  <a:lnTo>
                    <a:pt x="358" y="185"/>
                  </a:lnTo>
                  <a:lnTo>
                    <a:pt x="355" y="195"/>
                  </a:lnTo>
                  <a:lnTo>
                    <a:pt x="354" y="199"/>
                  </a:lnTo>
                  <a:lnTo>
                    <a:pt x="354" y="202"/>
                  </a:lnTo>
                  <a:lnTo>
                    <a:pt x="355" y="207"/>
                  </a:lnTo>
                  <a:lnTo>
                    <a:pt x="356" y="209"/>
                  </a:lnTo>
                  <a:lnTo>
                    <a:pt x="358" y="211"/>
                  </a:lnTo>
                  <a:lnTo>
                    <a:pt x="360" y="212"/>
                  </a:lnTo>
                  <a:lnTo>
                    <a:pt x="363" y="214"/>
                  </a:lnTo>
                  <a:lnTo>
                    <a:pt x="368" y="215"/>
                  </a:lnTo>
                  <a:lnTo>
                    <a:pt x="373" y="215"/>
                  </a:lnTo>
                  <a:close/>
                  <a:moveTo>
                    <a:pt x="259" y="89"/>
                  </a:moveTo>
                  <a:lnTo>
                    <a:pt x="255" y="89"/>
                  </a:lnTo>
                  <a:lnTo>
                    <a:pt x="251" y="90"/>
                  </a:lnTo>
                  <a:lnTo>
                    <a:pt x="246" y="91"/>
                  </a:lnTo>
                  <a:lnTo>
                    <a:pt x="242" y="92"/>
                  </a:lnTo>
                  <a:lnTo>
                    <a:pt x="233" y="96"/>
                  </a:lnTo>
                  <a:lnTo>
                    <a:pt x="225" y="101"/>
                  </a:lnTo>
                  <a:lnTo>
                    <a:pt x="217" y="106"/>
                  </a:lnTo>
                  <a:lnTo>
                    <a:pt x="210" y="112"/>
                  </a:lnTo>
                  <a:lnTo>
                    <a:pt x="203" y="118"/>
                  </a:lnTo>
                  <a:lnTo>
                    <a:pt x="199" y="124"/>
                  </a:lnTo>
                  <a:lnTo>
                    <a:pt x="199" y="126"/>
                  </a:lnTo>
                  <a:lnTo>
                    <a:pt x="200" y="128"/>
                  </a:lnTo>
                  <a:lnTo>
                    <a:pt x="204" y="131"/>
                  </a:lnTo>
                  <a:lnTo>
                    <a:pt x="218" y="119"/>
                  </a:lnTo>
                  <a:lnTo>
                    <a:pt x="224" y="115"/>
                  </a:lnTo>
                  <a:lnTo>
                    <a:pt x="227" y="113"/>
                  </a:lnTo>
                  <a:lnTo>
                    <a:pt x="230" y="113"/>
                  </a:lnTo>
                  <a:lnTo>
                    <a:pt x="231" y="114"/>
                  </a:lnTo>
                  <a:lnTo>
                    <a:pt x="232" y="115"/>
                  </a:lnTo>
                  <a:lnTo>
                    <a:pt x="232" y="118"/>
                  </a:lnTo>
                  <a:lnTo>
                    <a:pt x="231" y="121"/>
                  </a:lnTo>
                  <a:lnTo>
                    <a:pt x="207" y="182"/>
                  </a:lnTo>
                  <a:lnTo>
                    <a:pt x="203" y="191"/>
                  </a:lnTo>
                  <a:lnTo>
                    <a:pt x="202" y="195"/>
                  </a:lnTo>
                  <a:lnTo>
                    <a:pt x="202" y="200"/>
                  </a:lnTo>
                  <a:lnTo>
                    <a:pt x="202" y="203"/>
                  </a:lnTo>
                  <a:lnTo>
                    <a:pt x="203" y="205"/>
                  </a:lnTo>
                  <a:lnTo>
                    <a:pt x="205" y="208"/>
                  </a:lnTo>
                  <a:lnTo>
                    <a:pt x="206" y="210"/>
                  </a:lnTo>
                  <a:lnTo>
                    <a:pt x="209" y="212"/>
                  </a:lnTo>
                  <a:lnTo>
                    <a:pt x="212" y="214"/>
                  </a:lnTo>
                  <a:lnTo>
                    <a:pt x="215" y="215"/>
                  </a:lnTo>
                  <a:lnTo>
                    <a:pt x="218" y="215"/>
                  </a:lnTo>
                  <a:lnTo>
                    <a:pt x="223" y="214"/>
                  </a:lnTo>
                  <a:lnTo>
                    <a:pt x="228" y="213"/>
                  </a:lnTo>
                  <a:lnTo>
                    <a:pt x="232" y="211"/>
                  </a:lnTo>
                  <a:lnTo>
                    <a:pt x="237" y="209"/>
                  </a:lnTo>
                  <a:lnTo>
                    <a:pt x="242" y="206"/>
                  </a:lnTo>
                  <a:lnTo>
                    <a:pt x="247" y="203"/>
                  </a:lnTo>
                  <a:lnTo>
                    <a:pt x="252" y="199"/>
                  </a:lnTo>
                  <a:lnTo>
                    <a:pt x="257" y="195"/>
                  </a:lnTo>
                  <a:lnTo>
                    <a:pt x="267" y="186"/>
                  </a:lnTo>
                  <a:lnTo>
                    <a:pt x="275" y="176"/>
                  </a:lnTo>
                  <a:lnTo>
                    <a:pt x="280" y="171"/>
                  </a:lnTo>
                  <a:lnTo>
                    <a:pt x="283" y="167"/>
                  </a:lnTo>
                  <a:lnTo>
                    <a:pt x="290" y="158"/>
                  </a:lnTo>
                  <a:lnTo>
                    <a:pt x="291" y="158"/>
                  </a:lnTo>
                  <a:lnTo>
                    <a:pt x="274" y="200"/>
                  </a:lnTo>
                  <a:lnTo>
                    <a:pt x="273" y="203"/>
                  </a:lnTo>
                  <a:lnTo>
                    <a:pt x="273" y="206"/>
                  </a:lnTo>
                  <a:lnTo>
                    <a:pt x="273" y="207"/>
                  </a:lnTo>
                  <a:lnTo>
                    <a:pt x="274" y="208"/>
                  </a:lnTo>
                  <a:lnTo>
                    <a:pt x="275" y="211"/>
                  </a:lnTo>
                  <a:lnTo>
                    <a:pt x="277" y="212"/>
                  </a:lnTo>
                  <a:lnTo>
                    <a:pt x="279" y="214"/>
                  </a:lnTo>
                  <a:lnTo>
                    <a:pt x="281" y="215"/>
                  </a:lnTo>
                  <a:lnTo>
                    <a:pt x="284" y="215"/>
                  </a:lnTo>
                  <a:lnTo>
                    <a:pt x="289" y="215"/>
                  </a:lnTo>
                  <a:lnTo>
                    <a:pt x="293" y="214"/>
                  </a:lnTo>
                  <a:lnTo>
                    <a:pt x="298" y="213"/>
                  </a:lnTo>
                  <a:lnTo>
                    <a:pt x="303" y="211"/>
                  </a:lnTo>
                  <a:lnTo>
                    <a:pt x="312" y="207"/>
                  </a:lnTo>
                  <a:lnTo>
                    <a:pt x="317" y="205"/>
                  </a:lnTo>
                  <a:lnTo>
                    <a:pt x="322" y="202"/>
                  </a:lnTo>
                  <a:lnTo>
                    <a:pt x="330" y="196"/>
                  </a:lnTo>
                  <a:lnTo>
                    <a:pt x="334" y="193"/>
                  </a:lnTo>
                  <a:lnTo>
                    <a:pt x="337" y="190"/>
                  </a:lnTo>
                  <a:lnTo>
                    <a:pt x="343" y="184"/>
                  </a:lnTo>
                  <a:lnTo>
                    <a:pt x="345" y="181"/>
                  </a:lnTo>
                  <a:lnTo>
                    <a:pt x="347" y="178"/>
                  </a:lnTo>
                  <a:lnTo>
                    <a:pt x="347" y="175"/>
                  </a:lnTo>
                  <a:lnTo>
                    <a:pt x="346" y="173"/>
                  </a:lnTo>
                  <a:lnTo>
                    <a:pt x="344" y="172"/>
                  </a:lnTo>
                  <a:lnTo>
                    <a:pt x="342" y="171"/>
                  </a:lnTo>
                  <a:lnTo>
                    <a:pt x="339" y="174"/>
                  </a:lnTo>
                  <a:lnTo>
                    <a:pt x="335" y="177"/>
                  </a:lnTo>
                  <a:lnTo>
                    <a:pt x="327" y="184"/>
                  </a:lnTo>
                  <a:lnTo>
                    <a:pt x="323" y="186"/>
                  </a:lnTo>
                  <a:lnTo>
                    <a:pt x="320" y="188"/>
                  </a:lnTo>
                  <a:lnTo>
                    <a:pt x="316" y="190"/>
                  </a:lnTo>
                  <a:lnTo>
                    <a:pt x="314" y="190"/>
                  </a:lnTo>
                  <a:lnTo>
                    <a:pt x="313" y="190"/>
                  </a:lnTo>
                  <a:lnTo>
                    <a:pt x="312" y="190"/>
                  </a:lnTo>
                  <a:lnTo>
                    <a:pt x="311" y="189"/>
                  </a:lnTo>
                  <a:lnTo>
                    <a:pt x="311" y="188"/>
                  </a:lnTo>
                  <a:lnTo>
                    <a:pt x="312" y="185"/>
                  </a:lnTo>
                  <a:lnTo>
                    <a:pt x="312" y="182"/>
                  </a:lnTo>
                  <a:lnTo>
                    <a:pt x="330" y="139"/>
                  </a:lnTo>
                  <a:lnTo>
                    <a:pt x="347" y="95"/>
                  </a:lnTo>
                  <a:lnTo>
                    <a:pt x="343" y="93"/>
                  </a:lnTo>
                  <a:lnTo>
                    <a:pt x="339" y="91"/>
                  </a:lnTo>
                  <a:lnTo>
                    <a:pt x="333" y="89"/>
                  </a:lnTo>
                  <a:lnTo>
                    <a:pt x="326" y="89"/>
                  </a:lnTo>
                  <a:lnTo>
                    <a:pt x="323" y="89"/>
                  </a:lnTo>
                  <a:lnTo>
                    <a:pt x="320" y="89"/>
                  </a:lnTo>
                  <a:lnTo>
                    <a:pt x="314" y="91"/>
                  </a:lnTo>
                  <a:lnTo>
                    <a:pt x="303" y="114"/>
                  </a:lnTo>
                  <a:lnTo>
                    <a:pt x="296" y="127"/>
                  </a:lnTo>
                  <a:lnTo>
                    <a:pt x="289" y="139"/>
                  </a:lnTo>
                  <a:lnTo>
                    <a:pt x="281" y="152"/>
                  </a:lnTo>
                  <a:lnTo>
                    <a:pt x="273" y="163"/>
                  </a:lnTo>
                  <a:lnTo>
                    <a:pt x="269" y="169"/>
                  </a:lnTo>
                  <a:lnTo>
                    <a:pt x="264" y="174"/>
                  </a:lnTo>
                  <a:lnTo>
                    <a:pt x="260" y="179"/>
                  </a:lnTo>
                  <a:lnTo>
                    <a:pt x="255" y="183"/>
                  </a:lnTo>
                  <a:lnTo>
                    <a:pt x="251" y="186"/>
                  </a:lnTo>
                  <a:lnTo>
                    <a:pt x="248" y="188"/>
                  </a:lnTo>
                  <a:lnTo>
                    <a:pt x="246" y="189"/>
                  </a:lnTo>
                  <a:lnTo>
                    <a:pt x="244" y="189"/>
                  </a:lnTo>
                  <a:lnTo>
                    <a:pt x="242" y="188"/>
                  </a:lnTo>
                  <a:lnTo>
                    <a:pt x="241" y="188"/>
                  </a:lnTo>
                  <a:lnTo>
                    <a:pt x="241" y="187"/>
                  </a:lnTo>
                  <a:lnTo>
                    <a:pt x="241" y="184"/>
                  </a:lnTo>
                  <a:lnTo>
                    <a:pt x="242" y="181"/>
                  </a:lnTo>
                  <a:lnTo>
                    <a:pt x="271" y="109"/>
                  </a:lnTo>
                  <a:lnTo>
                    <a:pt x="272" y="105"/>
                  </a:lnTo>
                  <a:lnTo>
                    <a:pt x="273" y="101"/>
                  </a:lnTo>
                  <a:lnTo>
                    <a:pt x="272" y="99"/>
                  </a:lnTo>
                  <a:lnTo>
                    <a:pt x="271" y="97"/>
                  </a:lnTo>
                  <a:lnTo>
                    <a:pt x="270" y="95"/>
                  </a:lnTo>
                  <a:lnTo>
                    <a:pt x="269" y="93"/>
                  </a:lnTo>
                  <a:lnTo>
                    <a:pt x="267" y="91"/>
                  </a:lnTo>
                  <a:lnTo>
                    <a:pt x="264" y="90"/>
                  </a:lnTo>
                  <a:lnTo>
                    <a:pt x="262" y="89"/>
                  </a:lnTo>
                  <a:lnTo>
                    <a:pt x="259" y="89"/>
                  </a:lnTo>
                  <a:close/>
                  <a:moveTo>
                    <a:pt x="87" y="123"/>
                  </a:moveTo>
                  <a:lnTo>
                    <a:pt x="88" y="118"/>
                  </a:lnTo>
                  <a:lnTo>
                    <a:pt x="90" y="116"/>
                  </a:lnTo>
                  <a:lnTo>
                    <a:pt x="91" y="115"/>
                  </a:lnTo>
                  <a:lnTo>
                    <a:pt x="93" y="115"/>
                  </a:lnTo>
                  <a:lnTo>
                    <a:pt x="95" y="114"/>
                  </a:lnTo>
                  <a:lnTo>
                    <a:pt x="103" y="114"/>
                  </a:lnTo>
                  <a:lnTo>
                    <a:pt x="111" y="115"/>
                  </a:lnTo>
                  <a:lnTo>
                    <a:pt x="115" y="115"/>
                  </a:lnTo>
                  <a:lnTo>
                    <a:pt x="118" y="116"/>
                  </a:lnTo>
                  <a:lnTo>
                    <a:pt x="124" y="119"/>
                  </a:lnTo>
                  <a:lnTo>
                    <a:pt x="127" y="121"/>
                  </a:lnTo>
                  <a:lnTo>
                    <a:pt x="129" y="123"/>
                  </a:lnTo>
                  <a:lnTo>
                    <a:pt x="132" y="125"/>
                  </a:lnTo>
                  <a:lnTo>
                    <a:pt x="133" y="127"/>
                  </a:lnTo>
                  <a:lnTo>
                    <a:pt x="135" y="130"/>
                  </a:lnTo>
                  <a:lnTo>
                    <a:pt x="136" y="133"/>
                  </a:lnTo>
                  <a:lnTo>
                    <a:pt x="137" y="136"/>
                  </a:lnTo>
                  <a:lnTo>
                    <a:pt x="138" y="140"/>
                  </a:lnTo>
                  <a:lnTo>
                    <a:pt x="139" y="143"/>
                  </a:lnTo>
                  <a:lnTo>
                    <a:pt x="139" y="147"/>
                  </a:lnTo>
                  <a:lnTo>
                    <a:pt x="138" y="153"/>
                  </a:lnTo>
                  <a:lnTo>
                    <a:pt x="138" y="158"/>
                  </a:lnTo>
                  <a:lnTo>
                    <a:pt x="136" y="163"/>
                  </a:lnTo>
                  <a:lnTo>
                    <a:pt x="134" y="168"/>
                  </a:lnTo>
                  <a:lnTo>
                    <a:pt x="132" y="173"/>
                  </a:lnTo>
                  <a:lnTo>
                    <a:pt x="129" y="177"/>
                  </a:lnTo>
                  <a:lnTo>
                    <a:pt x="126" y="181"/>
                  </a:lnTo>
                  <a:lnTo>
                    <a:pt x="123" y="184"/>
                  </a:lnTo>
                  <a:lnTo>
                    <a:pt x="119" y="188"/>
                  </a:lnTo>
                  <a:lnTo>
                    <a:pt x="115" y="190"/>
                  </a:lnTo>
                  <a:lnTo>
                    <a:pt x="110" y="193"/>
                  </a:lnTo>
                  <a:lnTo>
                    <a:pt x="106" y="195"/>
                  </a:lnTo>
                  <a:lnTo>
                    <a:pt x="101" y="196"/>
                  </a:lnTo>
                  <a:lnTo>
                    <a:pt x="96" y="197"/>
                  </a:lnTo>
                  <a:lnTo>
                    <a:pt x="91" y="198"/>
                  </a:lnTo>
                  <a:lnTo>
                    <a:pt x="86" y="198"/>
                  </a:lnTo>
                  <a:lnTo>
                    <a:pt x="81" y="198"/>
                  </a:lnTo>
                  <a:lnTo>
                    <a:pt x="77" y="197"/>
                  </a:lnTo>
                  <a:lnTo>
                    <a:pt x="73" y="195"/>
                  </a:lnTo>
                  <a:lnTo>
                    <a:pt x="71" y="192"/>
                  </a:lnTo>
                  <a:lnTo>
                    <a:pt x="70" y="191"/>
                  </a:lnTo>
                  <a:lnTo>
                    <a:pt x="69" y="189"/>
                  </a:lnTo>
                  <a:lnTo>
                    <a:pt x="69" y="184"/>
                  </a:lnTo>
                  <a:lnTo>
                    <a:pt x="70" y="178"/>
                  </a:lnTo>
                  <a:lnTo>
                    <a:pt x="71" y="172"/>
                  </a:lnTo>
                  <a:lnTo>
                    <a:pt x="87" y="123"/>
                  </a:lnTo>
                  <a:close/>
                  <a:moveTo>
                    <a:pt x="113" y="40"/>
                  </a:moveTo>
                  <a:lnTo>
                    <a:pt x="115" y="34"/>
                  </a:lnTo>
                  <a:lnTo>
                    <a:pt x="117" y="30"/>
                  </a:lnTo>
                  <a:lnTo>
                    <a:pt x="119" y="30"/>
                  </a:lnTo>
                  <a:lnTo>
                    <a:pt x="121" y="29"/>
                  </a:lnTo>
                  <a:lnTo>
                    <a:pt x="127" y="29"/>
                  </a:lnTo>
                  <a:lnTo>
                    <a:pt x="134" y="29"/>
                  </a:lnTo>
                  <a:lnTo>
                    <a:pt x="137" y="30"/>
                  </a:lnTo>
                  <a:lnTo>
                    <a:pt x="140" y="31"/>
                  </a:lnTo>
                  <a:lnTo>
                    <a:pt x="145" y="33"/>
                  </a:lnTo>
                  <a:lnTo>
                    <a:pt x="149" y="37"/>
                  </a:lnTo>
                  <a:lnTo>
                    <a:pt x="152" y="41"/>
                  </a:lnTo>
                  <a:lnTo>
                    <a:pt x="155" y="45"/>
                  </a:lnTo>
                  <a:lnTo>
                    <a:pt x="156" y="51"/>
                  </a:lnTo>
                  <a:lnTo>
                    <a:pt x="157" y="56"/>
                  </a:lnTo>
                  <a:lnTo>
                    <a:pt x="156" y="61"/>
                  </a:lnTo>
                  <a:lnTo>
                    <a:pt x="156" y="66"/>
                  </a:lnTo>
                  <a:lnTo>
                    <a:pt x="155" y="70"/>
                  </a:lnTo>
                  <a:lnTo>
                    <a:pt x="153" y="74"/>
                  </a:lnTo>
                  <a:lnTo>
                    <a:pt x="151" y="78"/>
                  </a:lnTo>
                  <a:lnTo>
                    <a:pt x="149" y="82"/>
                  </a:lnTo>
                  <a:lnTo>
                    <a:pt x="146" y="85"/>
                  </a:lnTo>
                  <a:lnTo>
                    <a:pt x="143" y="88"/>
                  </a:lnTo>
                  <a:lnTo>
                    <a:pt x="139" y="91"/>
                  </a:lnTo>
                  <a:lnTo>
                    <a:pt x="135" y="94"/>
                  </a:lnTo>
                  <a:lnTo>
                    <a:pt x="131" y="96"/>
                  </a:lnTo>
                  <a:lnTo>
                    <a:pt x="126" y="98"/>
                  </a:lnTo>
                  <a:lnTo>
                    <a:pt x="122" y="99"/>
                  </a:lnTo>
                  <a:lnTo>
                    <a:pt x="117" y="100"/>
                  </a:lnTo>
                  <a:lnTo>
                    <a:pt x="106" y="101"/>
                  </a:lnTo>
                  <a:lnTo>
                    <a:pt x="99" y="101"/>
                  </a:lnTo>
                  <a:lnTo>
                    <a:pt x="96" y="100"/>
                  </a:lnTo>
                  <a:lnTo>
                    <a:pt x="95" y="99"/>
                  </a:lnTo>
                  <a:lnTo>
                    <a:pt x="95" y="97"/>
                  </a:lnTo>
                  <a:lnTo>
                    <a:pt x="96" y="93"/>
                  </a:lnTo>
                  <a:lnTo>
                    <a:pt x="113" y="40"/>
                  </a:lnTo>
                  <a:close/>
                  <a:moveTo>
                    <a:pt x="36" y="168"/>
                  </a:moveTo>
                  <a:lnTo>
                    <a:pt x="33" y="177"/>
                  </a:lnTo>
                  <a:lnTo>
                    <a:pt x="30" y="184"/>
                  </a:lnTo>
                  <a:lnTo>
                    <a:pt x="28" y="190"/>
                  </a:lnTo>
                  <a:lnTo>
                    <a:pt x="25" y="194"/>
                  </a:lnTo>
                  <a:lnTo>
                    <a:pt x="23" y="196"/>
                  </a:lnTo>
                  <a:lnTo>
                    <a:pt x="20" y="198"/>
                  </a:lnTo>
                  <a:lnTo>
                    <a:pt x="16" y="199"/>
                  </a:lnTo>
                  <a:lnTo>
                    <a:pt x="12" y="200"/>
                  </a:lnTo>
                  <a:lnTo>
                    <a:pt x="3" y="202"/>
                  </a:lnTo>
                  <a:lnTo>
                    <a:pt x="2" y="202"/>
                  </a:lnTo>
                  <a:lnTo>
                    <a:pt x="1" y="203"/>
                  </a:lnTo>
                  <a:lnTo>
                    <a:pt x="0" y="206"/>
                  </a:lnTo>
                  <a:lnTo>
                    <a:pt x="0" y="209"/>
                  </a:lnTo>
                  <a:lnTo>
                    <a:pt x="1" y="211"/>
                  </a:lnTo>
                  <a:lnTo>
                    <a:pt x="2" y="212"/>
                  </a:lnTo>
                  <a:lnTo>
                    <a:pt x="42" y="211"/>
                  </a:lnTo>
                  <a:lnTo>
                    <a:pt x="56" y="211"/>
                  </a:lnTo>
                  <a:lnTo>
                    <a:pt x="75" y="212"/>
                  </a:lnTo>
                  <a:lnTo>
                    <a:pt x="88" y="212"/>
                  </a:lnTo>
                  <a:lnTo>
                    <a:pt x="101" y="211"/>
                  </a:lnTo>
                  <a:lnTo>
                    <a:pt x="113" y="210"/>
                  </a:lnTo>
                  <a:lnTo>
                    <a:pt x="125" y="208"/>
                  </a:lnTo>
                  <a:lnTo>
                    <a:pt x="131" y="206"/>
                  </a:lnTo>
                  <a:lnTo>
                    <a:pt x="137" y="205"/>
                  </a:lnTo>
                  <a:lnTo>
                    <a:pt x="142" y="203"/>
                  </a:lnTo>
                  <a:lnTo>
                    <a:pt x="147" y="200"/>
                  </a:lnTo>
                  <a:lnTo>
                    <a:pt x="157" y="194"/>
                  </a:lnTo>
                  <a:lnTo>
                    <a:pt x="161" y="191"/>
                  </a:lnTo>
                  <a:lnTo>
                    <a:pt x="165" y="187"/>
                  </a:lnTo>
                  <a:lnTo>
                    <a:pt x="168" y="183"/>
                  </a:lnTo>
                  <a:lnTo>
                    <a:pt x="172" y="179"/>
                  </a:lnTo>
                  <a:lnTo>
                    <a:pt x="174" y="174"/>
                  </a:lnTo>
                  <a:lnTo>
                    <a:pt x="177" y="169"/>
                  </a:lnTo>
                  <a:lnTo>
                    <a:pt x="179" y="164"/>
                  </a:lnTo>
                  <a:lnTo>
                    <a:pt x="180" y="159"/>
                  </a:lnTo>
                  <a:lnTo>
                    <a:pt x="181" y="153"/>
                  </a:lnTo>
                  <a:lnTo>
                    <a:pt x="181" y="147"/>
                  </a:lnTo>
                  <a:lnTo>
                    <a:pt x="181" y="140"/>
                  </a:lnTo>
                  <a:lnTo>
                    <a:pt x="179" y="134"/>
                  </a:lnTo>
                  <a:lnTo>
                    <a:pt x="177" y="128"/>
                  </a:lnTo>
                  <a:lnTo>
                    <a:pt x="173" y="122"/>
                  </a:lnTo>
                  <a:lnTo>
                    <a:pt x="169" y="117"/>
                  </a:lnTo>
                  <a:lnTo>
                    <a:pt x="165" y="113"/>
                  </a:lnTo>
                  <a:lnTo>
                    <a:pt x="159" y="110"/>
                  </a:lnTo>
                  <a:lnTo>
                    <a:pt x="153" y="107"/>
                  </a:lnTo>
                  <a:lnTo>
                    <a:pt x="149" y="105"/>
                  </a:lnTo>
                  <a:lnTo>
                    <a:pt x="148" y="105"/>
                  </a:lnTo>
                  <a:lnTo>
                    <a:pt x="148" y="104"/>
                  </a:lnTo>
                  <a:lnTo>
                    <a:pt x="149" y="103"/>
                  </a:lnTo>
                  <a:lnTo>
                    <a:pt x="156" y="101"/>
                  </a:lnTo>
                  <a:lnTo>
                    <a:pt x="163" y="99"/>
                  </a:lnTo>
                  <a:lnTo>
                    <a:pt x="171" y="97"/>
                  </a:lnTo>
                  <a:lnTo>
                    <a:pt x="174" y="95"/>
                  </a:lnTo>
                  <a:lnTo>
                    <a:pt x="178" y="93"/>
                  </a:lnTo>
                  <a:lnTo>
                    <a:pt x="184" y="88"/>
                  </a:lnTo>
                  <a:lnTo>
                    <a:pt x="187" y="86"/>
                  </a:lnTo>
                  <a:lnTo>
                    <a:pt x="189" y="83"/>
                  </a:lnTo>
                  <a:lnTo>
                    <a:pt x="191" y="80"/>
                  </a:lnTo>
                  <a:lnTo>
                    <a:pt x="193" y="76"/>
                  </a:lnTo>
                  <a:lnTo>
                    <a:pt x="195" y="73"/>
                  </a:lnTo>
                  <a:lnTo>
                    <a:pt x="196" y="69"/>
                  </a:lnTo>
                  <a:lnTo>
                    <a:pt x="197" y="64"/>
                  </a:lnTo>
                  <a:lnTo>
                    <a:pt x="197" y="60"/>
                  </a:lnTo>
                  <a:lnTo>
                    <a:pt x="197" y="56"/>
                  </a:lnTo>
                  <a:lnTo>
                    <a:pt x="196" y="51"/>
                  </a:lnTo>
                  <a:lnTo>
                    <a:pt x="195" y="47"/>
                  </a:lnTo>
                  <a:lnTo>
                    <a:pt x="193" y="43"/>
                  </a:lnTo>
                  <a:lnTo>
                    <a:pt x="191" y="39"/>
                  </a:lnTo>
                  <a:lnTo>
                    <a:pt x="188" y="35"/>
                  </a:lnTo>
                  <a:lnTo>
                    <a:pt x="185" y="32"/>
                  </a:lnTo>
                  <a:lnTo>
                    <a:pt x="181" y="29"/>
                  </a:lnTo>
                  <a:lnTo>
                    <a:pt x="176" y="25"/>
                  </a:lnTo>
                  <a:lnTo>
                    <a:pt x="170" y="23"/>
                  </a:lnTo>
                  <a:lnTo>
                    <a:pt x="164" y="20"/>
                  </a:lnTo>
                  <a:lnTo>
                    <a:pt x="156" y="18"/>
                  </a:lnTo>
                  <a:lnTo>
                    <a:pt x="148" y="17"/>
                  </a:lnTo>
                  <a:lnTo>
                    <a:pt x="139" y="16"/>
                  </a:lnTo>
                  <a:lnTo>
                    <a:pt x="129" y="15"/>
                  </a:lnTo>
                  <a:lnTo>
                    <a:pt x="118" y="15"/>
                  </a:lnTo>
                  <a:lnTo>
                    <a:pt x="101" y="16"/>
                  </a:lnTo>
                  <a:lnTo>
                    <a:pt x="86" y="16"/>
                  </a:lnTo>
                  <a:lnTo>
                    <a:pt x="60" y="18"/>
                  </a:lnTo>
                  <a:lnTo>
                    <a:pt x="59" y="19"/>
                  </a:lnTo>
                  <a:lnTo>
                    <a:pt x="58" y="20"/>
                  </a:lnTo>
                  <a:lnTo>
                    <a:pt x="57" y="21"/>
                  </a:lnTo>
                  <a:lnTo>
                    <a:pt x="57" y="23"/>
                  </a:lnTo>
                  <a:lnTo>
                    <a:pt x="57" y="26"/>
                  </a:lnTo>
                  <a:lnTo>
                    <a:pt x="58" y="28"/>
                  </a:lnTo>
                  <a:lnTo>
                    <a:pt x="67" y="30"/>
                  </a:lnTo>
                  <a:lnTo>
                    <a:pt x="70" y="31"/>
                  </a:lnTo>
                  <a:lnTo>
                    <a:pt x="73" y="32"/>
                  </a:lnTo>
                  <a:lnTo>
                    <a:pt x="73" y="33"/>
                  </a:lnTo>
                  <a:lnTo>
                    <a:pt x="74" y="34"/>
                  </a:lnTo>
                  <a:lnTo>
                    <a:pt x="75" y="37"/>
                  </a:lnTo>
                  <a:lnTo>
                    <a:pt x="75" y="40"/>
                  </a:lnTo>
                  <a:lnTo>
                    <a:pt x="74" y="45"/>
                  </a:lnTo>
                  <a:lnTo>
                    <a:pt x="70" y="57"/>
                  </a:lnTo>
                  <a:lnTo>
                    <a:pt x="36" y="16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Alatunnisteen paikkamerkki 1">
            <a:extLst>
              <a:ext uri="{FF2B5EF4-FFF2-40B4-BE49-F238E27FC236}">
                <a16:creationId xmlns:a16="http://schemas.microsoft.com/office/drawing/2014/main" id="{707ACD31-DE73-1A55-E768-320BBAE316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RIA - RKL yrittäjäpäivä 1.11.2023</a:t>
            </a:r>
          </a:p>
        </p:txBody>
      </p:sp>
    </p:spTree>
    <p:extLst>
      <p:ext uri="{BB962C8B-B14F-4D97-AF65-F5344CB8AC3E}">
        <p14:creationId xmlns:p14="http://schemas.microsoft.com/office/powerpoint/2010/main" val="412291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FD14ED-DB5C-368E-B92B-CB512200E21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fi-FI" dirty="0"/>
              <a:t>Upea yli 500 m² </a:t>
            </a:r>
            <a:r>
              <a:rPr lang="fi-FI" noProof="1"/>
              <a:t>showroom Helsingin</a:t>
            </a:r>
            <a:br>
              <a:rPr lang="fi-FI" noProof="1"/>
            </a:br>
            <a:r>
              <a:rPr lang="fi-FI" noProof="1"/>
              <a:t>ytimessä, osoitteessa Bulevardi 46</a:t>
            </a:r>
          </a:p>
          <a:p>
            <a:pPr lvl="1"/>
            <a:r>
              <a:rPr lang="fi-FI" dirty="0"/>
              <a:t>Tapahtumia rakennus- ja sisustusalan toimijoille, suunnittelijoille ja arkkitehdeille</a:t>
            </a:r>
          </a:p>
          <a:p>
            <a:pPr lvl="1"/>
            <a:r>
              <a:rPr lang="fi-FI" dirty="0"/>
              <a:t>Tuotteet, palvelut ja suunnitteluapu</a:t>
            </a:r>
            <a:br>
              <a:rPr lang="fi-FI" dirty="0"/>
            </a:br>
            <a:r>
              <a:rPr lang="fi-FI" dirty="0"/>
              <a:t>kaikkiin kohteisiin ja projekteihin</a:t>
            </a:r>
          </a:p>
          <a:p>
            <a:pPr lvl="1"/>
            <a:r>
              <a:rPr lang="fi-FI" dirty="0"/>
              <a:t>Inspiroivat tilat ammattilaisten käyttöön esimerkiksi suunnittelutyöhön, koulutuksiin</a:t>
            </a:r>
            <a:br>
              <a:rPr lang="fi-FI" dirty="0"/>
            </a:br>
            <a:r>
              <a:rPr lang="fi-FI" dirty="0"/>
              <a:t>ja kutsutilaisuuksiin</a:t>
            </a:r>
          </a:p>
          <a:p>
            <a:endParaRPr lang="en-US" dirty="0"/>
          </a:p>
        </p:txBody>
      </p:sp>
      <p:pic>
        <p:nvPicPr>
          <p:cNvPr id="47" name="Picture Placeholder 46" descr="A person pointing at a display of tile&#10;&#10;Description automatically generated">
            <a:extLst>
              <a:ext uri="{FF2B5EF4-FFF2-40B4-BE49-F238E27FC236}">
                <a16:creationId xmlns:a16="http://schemas.microsoft.com/office/drawing/2014/main" id="{1FB1DDC5-246A-BE78-C3C5-7407C37C9A9B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89" b="41693"/>
          <a:stretch/>
        </p:blipFill>
        <p:spPr>
          <a:xfrm>
            <a:off x="6096000" y="0"/>
            <a:ext cx="6096000" cy="3429000"/>
          </a:xfrm>
        </p:spPr>
      </p:pic>
      <p:pic>
        <p:nvPicPr>
          <p:cNvPr id="49" name="Picture Placeholder 48" descr="A person holding a catalog&#10;&#10;Description automatically generated">
            <a:extLst>
              <a:ext uri="{FF2B5EF4-FFF2-40B4-BE49-F238E27FC236}">
                <a16:creationId xmlns:a16="http://schemas.microsoft.com/office/drawing/2014/main" id="{07A7425B-093E-FB6D-35B0-DC07014A958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85" b="985"/>
          <a:stretch>
            <a:fillRect/>
          </a:stretch>
        </p:blipFill>
        <p:spPr/>
      </p:pic>
      <p:pic>
        <p:nvPicPr>
          <p:cNvPr id="51" name="Picture Placeholder 50" descr="A plate of cookies and a book on a table&#10;&#10;Description automatically generated">
            <a:extLst>
              <a:ext uri="{FF2B5EF4-FFF2-40B4-BE49-F238E27FC236}">
                <a16:creationId xmlns:a16="http://schemas.microsoft.com/office/drawing/2014/main" id="{54E8B404-5060-AA83-A7DA-84912ED1D13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5" b="575"/>
          <a:stretch>
            <a:fillRect/>
          </a:stretch>
        </p:blipFill>
        <p:spPr/>
      </p:pic>
      <p:sp>
        <p:nvSpPr>
          <p:cNvPr id="2" name="Freeform 5">
            <a:extLst>
              <a:ext uri="{FF2B5EF4-FFF2-40B4-BE49-F238E27FC236}">
                <a16:creationId xmlns:a16="http://schemas.microsoft.com/office/drawing/2014/main" id="{C32B1112-9B83-3D02-B74A-F699CF73113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07369" y="441275"/>
            <a:ext cx="1670353" cy="180000"/>
          </a:xfrm>
          <a:custGeom>
            <a:avLst/>
            <a:gdLst>
              <a:gd name="T0" fmla="*/ 819 w 8889"/>
              <a:gd name="T1" fmla="*/ 789 h 958"/>
              <a:gd name="T2" fmla="*/ 929 w 8889"/>
              <a:gd name="T3" fmla="*/ 402 h 958"/>
              <a:gd name="T4" fmla="*/ 690 w 8889"/>
              <a:gd name="T5" fmla="*/ 73 h 958"/>
              <a:gd name="T6" fmla="*/ 458 w 8889"/>
              <a:gd name="T7" fmla="*/ 247 h 958"/>
              <a:gd name="T8" fmla="*/ 600 w 8889"/>
              <a:gd name="T9" fmla="*/ 455 h 958"/>
              <a:gd name="T10" fmla="*/ 501 w 8889"/>
              <a:gd name="T11" fmla="*/ 693 h 958"/>
              <a:gd name="T12" fmla="*/ 1073 w 8889"/>
              <a:gd name="T13" fmla="*/ 14 h 958"/>
              <a:gd name="T14" fmla="*/ 3816 w 8889"/>
              <a:gd name="T15" fmla="*/ 878 h 958"/>
              <a:gd name="T16" fmla="*/ 4037 w 8889"/>
              <a:gd name="T17" fmla="*/ 530 h 958"/>
              <a:gd name="T18" fmla="*/ 3908 w 8889"/>
              <a:gd name="T19" fmla="*/ 154 h 958"/>
              <a:gd name="T20" fmla="*/ 3504 w 8889"/>
              <a:gd name="T21" fmla="*/ 1 h 958"/>
              <a:gd name="T22" fmla="*/ 3140 w 8889"/>
              <a:gd name="T23" fmla="*/ 170 h 958"/>
              <a:gd name="T24" fmla="*/ 3034 w 8889"/>
              <a:gd name="T25" fmla="*/ 578 h 958"/>
              <a:gd name="T26" fmla="*/ 3245 w 8889"/>
              <a:gd name="T27" fmla="*/ 878 h 958"/>
              <a:gd name="T28" fmla="*/ 3728 w 8889"/>
              <a:gd name="T29" fmla="*/ 922 h 958"/>
              <a:gd name="T30" fmla="*/ 3373 w 8889"/>
              <a:gd name="T31" fmla="*/ 376 h 958"/>
              <a:gd name="T32" fmla="*/ 3550 w 8889"/>
              <a:gd name="T33" fmla="*/ 269 h 958"/>
              <a:gd name="T34" fmla="*/ 3696 w 8889"/>
              <a:gd name="T35" fmla="*/ 394 h 958"/>
              <a:gd name="T36" fmla="*/ 3634 w 8889"/>
              <a:gd name="T37" fmla="*/ 657 h 958"/>
              <a:gd name="T38" fmla="*/ 3403 w 8889"/>
              <a:gd name="T39" fmla="*/ 632 h 958"/>
              <a:gd name="T40" fmla="*/ 4420 w 8889"/>
              <a:gd name="T41" fmla="*/ 955 h 958"/>
              <a:gd name="T42" fmla="*/ 4759 w 8889"/>
              <a:gd name="T43" fmla="*/ 861 h 958"/>
              <a:gd name="T44" fmla="*/ 4826 w 8889"/>
              <a:gd name="T45" fmla="*/ 599 h 958"/>
              <a:gd name="T46" fmla="*/ 4582 w 8889"/>
              <a:gd name="T47" fmla="*/ 424 h 958"/>
              <a:gd name="T48" fmla="*/ 4333 w 8889"/>
              <a:gd name="T49" fmla="*/ 324 h 958"/>
              <a:gd name="T50" fmla="*/ 4401 w 8889"/>
              <a:gd name="T51" fmla="*/ 145 h 958"/>
              <a:gd name="T52" fmla="*/ 4795 w 8889"/>
              <a:gd name="T53" fmla="*/ 79 h 958"/>
              <a:gd name="T54" fmla="*/ 4428 w 8889"/>
              <a:gd name="T55" fmla="*/ 10 h 958"/>
              <a:gd name="T56" fmla="*/ 4214 w 8889"/>
              <a:gd name="T57" fmla="*/ 184 h 958"/>
              <a:gd name="T58" fmla="*/ 4258 w 8889"/>
              <a:gd name="T59" fmla="*/ 439 h 958"/>
              <a:gd name="T60" fmla="*/ 4605 w 8889"/>
              <a:gd name="T61" fmla="*/ 561 h 958"/>
              <a:gd name="T62" fmla="*/ 4701 w 8889"/>
              <a:gd name="T63" fmla="*/ 720 h 958"/>
              <a:gd name="T64" fmla="*/ 4452 w 8889"/>
              <a:gd name="T65" fmla="*/ 837 h 958"/>
              <a:gd name="T66" fmla="*/ 6352 w 8889"/>
              <a:gd name="T67" fmla="*/ 901 h 958"/>
              <a:gd name="T68" fmla="*/ 6501 w 8889"/>
              <a:gd name="T69" fmla="*/ 602 h 958"/>
              <a:gd name="T70" fmla="*/ 6281 w 8889"/>
              <a:gd name="T71" fmla="*/ 801 h 958"/>
              <a:gd name="T72" fmla="*/ 6050 w 8889"/>
              <a:gd name="T73" fmla="*/ 818 h 958"/>
              <a:gd name="T74" fmla="*/ 5933 w 8889"/>
              <a:gd name="T75" fmla="*/ 579 h 958"/>
              <a:gd name="T76" fmla="*/ 5900 w 8889"/>
              <a:gd name="T77" fmla="*/ 858 h 958"/>
              <a:gd name="T78" fmla="*/ 6207 w 8889"/>
              <a:gd name="T79" fmla="*/ 955 h 958"/>
              <a:gd name="T80" fmla="*/ 7228 w 8889"/>
              <a:gd name="T81" fmla="*/ 211 h 958"/>
              <a:gd name="T82" fmla="*/ 7344 w 8889"/>
              <a:gd name="T83" fmla="*/ 521 h 958"/>
              <a:gd name="T84" fmla="*/ 7177 w 8889"/>
              <a:gd name="T85" fmla="*/ 783 h 958"/>
              <a:gd name="T86" fmla="*/ 7121 w 8889"/>
              <a:gd name="T87" fmla="*/ 933 h 958"/>
              <a:gd name="T88" fmla="*/ 7430 w 8889"/>
              <a:gd name="T89" fmla="*/ 697 h 958"/>
              <a:gd name="T90" fmla="*/ 7444 w 8889"/>
              <a:gd name="T91" fmla="*/ 294 h 958"/>
              <a:gd name="T92" fmla="*/ 7154 w 8889"/>
              <a:gd name="T93" fmla="*/ 35 h 958"/>
              <a:gd name="T94" fmla="*/ 8277 w 8889"/>
              <a:gd name="T95" fmla="*/ 779 h 958"/>
              <a:gd name="T96" fmla="*/ 8142 w 8889"/>
              <a:gd name="T97" fmla="*/ 499 h 958"/>
              <a:gd name="T98" fmla="*/ 8277 w 8889"/>
              <a:gd name="T99" fmla="*/ 180 h 958"/>
              <a:gd name="T100" fmla="*/ 8551 w 8889"/>
              <a:gd name="T101" fmla="*/ 141 h 958"/>
              <a:gd name="T102" fmla="*/ 8746 w 8889"/>
              <a:gd name="T103" fmla="*/ 387 h 958"/>
              <a:gd name="T104" fmla="*/ 8683 w 8889"/>
              <a:gd name="T105" fmla="*/ 711 h 958"/>
              <a:gd name="T106" fmla="*/ 8432 w 8889"/>
              <a:gd name="T107" fmla="*/ 837 h 958"/>
              <a:gd name="T108" fmla="*/ 8786 w 8889"/>
              <a:gd name="T109" fmla="*/ 787 h 958"/>
              <a:gd name="T110" fmla="*/ 8868 w 8889"/>
              <a:gd name="T111" fmla="*/ 334 h 958"/>
              <a:gd name="T112" fmla="*/ 8675 w 8889"/>
              <a:gd name="T113" fmla="*/ 68 h 958"/>
              <a:gd name="T114" fmla="*/ 8256 w 8889"/>
              <a:gd name="T115" fmla="*/ 47 h 958"/>
              <a:gd name="T116" fmla="*/ 8027 w 8889"/>
              <a:gd name="T117" fmla="*/ 334 h 958"/>
              <a:gd name="T118" fmla="*/ 8095 w 8889"/>
              <a:gd name="T119" fmla="*/ 769 h 958"/>
              <a:gd name="T120" fmla="*/ 8425 w 8889"/>
              <a:gd name="T121" fmla="*/ 958 h 9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8889" h="958">
                <a:moveTo>
                  <a:pt x="0" y="946"/>
                </a:moveTo>
                <a:lnTo>
                  <a:pt x="426" y="946"/>
                </a:lnTo>
                <a:lnTo>
                  <a:pt x="452" y="944"/>
                </a:lnTo>
                <a:lnTo>
                  <a:pt x="477" y="943"/>
                </a:lnTo>
                <a:lnTo>
                  <a:pt x="504" y="940"/>
                </a:lnTo>
                <a:lnTo>
                  <a:pt x="529" y="937"/>
                </a:lnTo>
                <a:lnTo>
                  <a:pt x="552" y="933"/>
                </a:lnTo>
                <a:lnTo>
                  <a:pt x="577" y="927"/>
                </a:lnTo>
                <a:lnTo>
                  <a:pt x="601" y="921"/>
                </a:lnTo>
                <a:lnTo>
                  <a:pt x="625" y="914"/>
                </a:lnTo>
                <a:lnTo>
                  <a:pt x="647" y="904"/>
                </a:lnTo>
                <a:lnTo>
                  <a:pt x="669" y="896"/>
                </a:lnTo>
                <a:lnTo>
                  <a:pt x="690" y="885"/>
                </a:lnTo>
                <a:lnTo>
                  <a:pt x="711" y="873"/>
                </a:lnTo>
                <a:lnTo>
                  <a:pt x="730" y="862"/>
                </a:lnTo>
                <a:lnTo>
                  <a:pt x="750" y="848"/>
                </a:lnTo>
                <a:lnTo>
                  <a:pt x="768" y="835"/>
                </a:lnTo>
                <a:lnTo>
                  <a:pt x="786" y="821"/>
                </a:lnTo>
                <a:lnTo>
                  <a:pt x="803" y="805"/>
                </a:lnTo>
                <a:lnTo>
                  <a:pt x="819" y="789"/>
                </a:lnTo>
                <a:lnTo>
                  <a:pt x="833" y="771"/>
                </a:lnTo>
                <a:lnTo>
                  <a:pt x="849" y="754"/>
                </a:lnTo>
                <a:lnTo>
                  <a:pt x="861" y="735"/>
                </a:lnTo>
                <a:lnTo>
                  <a:pt x="874" y="715"/>
                </a:lnTo>
                <a:lnTo>
                  <a:pt x="885" y="695"/>
                </a:lnTo>
                <a:lnTo>
                  <a:pt x="894" y="674"/>
                </a:lnTo>
                <a:lnTo>
                  <a:pt x="904" y="652"/>
                </a:lnTo>
                <a:lnTo>
                  <a:pt x="913" y="629"/>
                </a:lnTo>
                <a:lnTo>
                  <a:pt x="915" y="617"/>
                </a:lnTo>
                <a:lnTo>
                  <a:pt x="920" y="606"/>
                </a:lnTo>
                <a:lnTo>
                  <a:pt x="925" y="582"/>
                </a:lnTo>
                <a:lnTo>
                  <a:pt x="926" y="570"/>
                </a:lnTo>
                <a:lnTo>
                  <a:pt x="929" y="557"/>
                </a:lnTo>
                <a:lnTo>
                  <a:pt x="932" y="532"/>
                </a:lnTo>
                <a:lnTo>
                  <a:pt x="933" y="506"/>
                </a:lnTo>
                <a:lnTo>
                  <a:pt x="935" y="480"/>
                </a:lnTo>
                <a:lnTo>
                  <a:pt x="933" y="453"/>
                </a:lnTo>
                <a:lnTo>
                  <a:pt x="932" y="427"/>
                </a:lnTo>
                <a:lnTo>
                  <a:pt x="931" y="414"/>
                </a:lnTo>
                <a:lnTo>
                  <a:pt x="929" y="402"/>
                </a:lnTo>
                <a:lnTo>
                  <a:pt x="925" y="377"/>
                </a:lnTo>
                <a:lnTo>
                  <a:pt x="920" y="353"/>
                </a:lnTo>
                <a:lnTo>
                  <a:pt x="913" y="330"/>
                </a:lnTo>
                <a:lnTo>
                  <a:pt x="904" y="308"/>
                </a:lnTo>
                <a:lnTo>
                  <a:pt x="900" y="297"/>
                </a:lnTo>
                <a:lnTo>
                  <a:pt x="894" y="285"/>
                </a:lnTo>
                <a:lnTo>
                  <a:pt x="890" y="274"/>
                </a:lnTo>
                <a:lnTo>
                  <a:pt x="885" y="263"/>
                </a:lnTo>
                <a:lnTo>
                  <a:pt x="874" y="244"/>
                </a:lnTo>
                <a:lnTo>
                  <a:pt x="861" y="224"/>
                </a:lnTo>
                <a:lnTo>
                  <a:pt x="849" y="205"/>
                </a:lnTo>
                <a:lnTo>
                  <a:pt x="833" y="187"/>
                </a:lnTo>
                <a:lnTo>
                  <a:pt x="819" y="170"/>
                </a:lnTo>
                <a:lnTo>
                  <a:pt x="803" y="154"/>
                </a:lnTo>
                <a:lnTo>
                  <a:pt x="786" y="139"/>
                </a:lnTo>
                <a:lnTo>
                  <a:pt x="768" y="123"/>
                </a:lnTo>
                <a:lnTo>
                  <a:pt x="750" y="109"/>
                </a:lnTo>
                <a:lnTo>
                  <a:pt x="730" y="97"/>
                </a:lnTo>
                <a:lnTo>
                  <a:pt x="711" y="84"/>
                </a:lnTo>
                <a:lnTo>
                  <a:pt x="690" y="73"/>
                </a:lnTo>
                <a:lnTo>
                  <a:pt x="669" y="64"/>
                </a:lnTo>
                <a:lnTo>
                  <a:pt x="647" y="54"/>
                </a:lnTo>
                <a:lnTo>
                  <a:pt x="636" y="50"/>
                </a:lnTo>
                <a:lnTo>
                  <a:pt x="625" y="46"/>
                </a:lnTo>
                <a:lnTo>
                  <a:pt x="601" y="39"/>
                </a:lnTo>
                <a:lnTo>
                  <a:pt x="577" y="32"/>
                </a:lnTo>
                <a:lnTo>
                  <a:pt x="552" y="26"/>
                </a:lnTo>
                <a:lnTo>
                  <a:pt x="529" y="22"/>
                </a:lnTo>
                <a:lnTo>
                  <a:pt x="504" y="18"/>
                </a:lnTo>
                <a:lnTo>
                  <a:pt x="477" y="16"/>
                </a:lnTo>
                <a:lnTo>
                  <a:pt x="452" y="14"/>
                </a:lnTo>
                <a:lnTo>
                  <a:pt x="426" y="14"/>
                </a:lnTo>
                <a:lnTo>
                  <a:pt x="0" y="14"/>
                </a:lnTo>
                <a:lnTo>
                  <a:pt x="0" y="946"/>
                </a:lnTo>
                <a:close/>
                <a:moveTo>
                  <a:pt x="327" y="717"/>
                </a:moveTo>
                <a:lnTo>
                  <a:pt x="327" y="243"/>
                </a:lnTo>
                <a:lnTo>
                  <a:pt x="419" y="243"/>
                </a:lnTo>
                <a:lnTo>
                  <a:pt x="438" y="244"/>
                </a:lnTo>
                <a:lnTo>
                  <a:pt x="448" y="245"/>
                </a:lnTo>
                <a:lnTo>
                  <a:pt x="458" y="247"/>
                </a:lnTo>
                <a:lnTo>
                  <a:pt x="466" y="249"/>
                </a:lnTo>
                <a:lnTo>
                  <a:pt x="476" y="252"/>
                </a:lnTo>
                <a:lnTo>
                  <a:pt x="484" y="256"/>
                </a:lnTo>
                <a:lnTo>
                  <a:pt x="492" y="261"/>
                </a:lnTo>
                <a:lnTo>
                  <a:pt x="509" y="270"/>
                </a:lnTo>
                <a:lnTo>
                  <a:pt x="516" y="276"/>
                </a:lnTo>
                <a:lnTo>
                  <a:pt x="523" y="281"/>
                </a:lnTo>
                <a:lnTo>
                  <a:pt x="537" y="295"/>
                </a:lnTo>
                <a:lnTo>
                  <a:pt x="544" y="302"/>
                </a:lnTo>
                <a:lnTo>
                  <a:pt x="549" y="310"/>
                </a:lnTo>
                <a:lnTo>
                  <a:pt x="556" y="319"/>
                </a:lnTo>
                <a:lnTo>
                  <a:pt x="561" y="327"/>
                </a:lnTo>
                <a:lnTo>
                  <a:pt x="572" y="345"/>
                </a:lnTo>
                <a:lnTo>
                  <a:pt x="580" y="365"/>
                </a:lnTo>
                <a:lnTo>
                  <a:pt x="584" y="376"/>
                </a:lnTo>
                <a:lnTo>
                  <a:pt x="587" y="385"/>
                </a:lnTo>
                <a:lnTo>
                  <a:pt x="593" y="408"/>
                </a:lnTo>
                <a:lnTo>
                  <a:pt x="597" y="431"/>
                </a:lnTo>
                <a:lnTo>
                  <a:pt x="598" y="442"/>
                </a:lnTo>
                <a:lnTo>
                  <a:pt x="600" y="455"/>
                </a:lnTo>
                <a:lnTo>
                  <a:pt x="601" y="467"/>
                </a:lnTo>
                <a:lnTo>
                  <a:pt x="601" y="480"/>
                </a:lnTo>
                <a:lnTo>
                  <a:pt x="600" y="505"/>
                </a:lnTo>
                <a:lnTo>
                  <a:pt x="597" y="528"/>
                </a:lnTo>
                <a:lnTo>
                  <a:pt x="595" y="539"/>
                </a:lnTo>
                <a:lnTo>
                  <a:pt x="593" y="552"/>
                </a:lnTo>
                <a:lnTo>
                  <a:pt x="590" y="563"/>
                </a:lnTo>
                <a:lnTo>
                  <a:pt x="587" y="573"/>
                </a:lnTo>
                <a:lnTo>
                  <a:pt x="584" y="584"/>
                </a:lnTo>
                <a:lnTo>
                  <a:pt x="580" y="595"/>
                </a:lnTo>
                <a:lnTo>
                  <a:pt x="572" y="614"/>
                </a:lnTo>
                <a:lnTo>
                  <a:pt x="561" y="632"/>
                </a:lnTo>
                <a:lnTo>
                  <a:pt x="556" y="640"/>
                </a:lnTo>
                <a:lnTo>
                  <a:pt x="549" y="649"/>
                </a:lnTo>
                <a:lnTo>
                  <a:pt x="537" y="664"/>
                </a:lnTo>
                <a:lnTo>
                  <a:pt x="530" y="670"/>
                </a:lnTo>
                <a:lnTo>
                  <a:pt x="523" y="677"/>
                </a:lnTo>
                <a:lnTo>
                  <a:pt x="516" y="682"/>
                </a:lnTo>
                <a:lnTo>
                  <a:pt x="509" y="688"/>
                </a:lnTo>
                <a:lnTo>
                  <a:pt x="501" y="693"/>
                </a:lnTo>
                <a:lnTo>
                  <a:pt x="492" y="699"/>
                </a:lnTo>
                <a:lnTo>
                  <a:pt x="484" y="703"/>
                </a:lnTo>
                <a:lnTo>
                  <a:pt x="476" y="706"/>
                </a:lnTo>
                <a:lnTo>
                  <a:pt x="466" y="708"/>
                </a:lnTo>
                <a:lnTo>
                  <a:pt x="458" y="711"/>
                </a:lnTo>
                <a:lnTo>
                  <a:pt x="448" y="714"/>
                </a:lnTo>
                <a:lnTo>
                  <a:pt x="438" y="715"/>
                </a:lnTo>
                <a:lnTo>
                  <a:pt x="419" y="717"/>
                </a:lnTo>
                <a:lnTo>
                  <a:pt x="327" y="717"/>
                </a:lnTo>
                <a:close/>
                <a:moveTo>
                  <a:pt x="1808" y="946"/>
                </a:moveTo>
                <a:lnTo>
                  <a:pt x="1808" y="717"/>
                </a:lnTo>
                <a:lnTo>
                  <a:pt x="1399" y="717"/>
                </a:lnTo>
                <a:lnTo>
                  <a:pt x="1399" y="573"/>
                </a:lnTo>
                <a:lnTo>
                  <a:pt x="1714" y="573"/>
                </a:lnTo>
                <a:lnTo>
                  <a:pt x="1714" y="383"/>
                </a:lnTo>
                <a:lnTo>
                  <a:pt x="1399" y="383"/>
                </a:lnTo>
                <a:lnTo>
                  <a:pt x="1399" y="243"/>
                </a:lnTo>
                <a:lnTo>
                  <a:pt x="1803" y="243"/>
                </a:lnTo>
                <a:lnTo>
                  <a:pt x="1803" y="14"/>
                </a:lnTo>
                <a:lnTo>
                  <a:pt x="1073" y="14"/>
                </a:lnTo>
                <a:lnTo>
                  <a:pt x="1073" y="946"/>
                </a:lnTo>
                <a:lnTo>
                  <a:pt x="1808" y="946"/>
                </a:lnTo>
                <a:close/>
                <a:moveTo>
                  <a:pt x="3020" y="946"/>
                </a:moveTo>
                <a:lnTo>
                  <a:pt x="2670" y="457"/>
                </a:lnTo>
                <a:lnTo>
                  <a:pt x="3012" y="14"/>
                </a:lnTo>
                <a:lnTo>
                  <a:pt x="2619" y="14"/>
                </a:lnTo>
                <a:lnTo>
                  <a:pt x="2297" y="456"/>
                </a:lnTo>
                <a:lnTo>
                  <a:pt x="2618" y="946"/>
                </a:lnTo>
                <a:lnTo>
                  <a:pt x="3020" y="946"/>
                </a:lnTo>
                <a:close/>
                <a:moveTo>
                  <a:pt x="2294" y="946"/>
                </a:moveTo>
                <a:lnTo>
                  <a:pt x="2294" y="14"/>
                </a:lnTo>
                <a:lnTo>
                  <a:pt x="1966" y="14"/>
                </a:lnTo>
                <a:lnTo>
                  <a:pt x="1966" y="946"/>
                </a:lnTo>
                <a:lnTo>
                  <a:pt x="2294" y="946"/>
                </a:lnTo>
                <a:close/>
                <a:moveTo>
                  <a:pt x="3728" y="922"/>
                </a:moveTo>
                <a:lnTo>
                  <a:pt x="3752" y="912"/>
                </a:lnTo>
                <a:lnTo>
                  <a:pt x="3774" y="901"/>
                </a:lnTo>
                <a:lnTo>
                  <a:pt x="3784" y="896"/>
                </a:lnTo>
                <a:lnTo>
                  <a:pt x="3795" y="890"/>
                </a:lnTo>
                <a:lnTo>
                  <a:pt x="3816" y="878"/>
                </a:lnTo>
                <a:lnTo>
                  <a:pt x="3835" y="865"/>
                </a:lnTo>
                <a:lnTo>
                  <a:pt x="3855" y="851"/>
                </a:lnTo>
                <a:lnTo>
                  <a:pt x="3873" y="837"/>
                </a:lnTo>
                <a:lnTo>
                  <a:pt x="3891" y="821"/>
                </a:lnTo>
                <a:lnTo>
                  <a:pt x="3908" y="805"/>
                </a:lnTo>
                <a:lnTo>
                  <a:pt x="3924" y="787"/>
                </a:lnTo>
                <a:lnTo>
                  <a:pt x="3938" y="769"/>
                </a:lnTo>
                <a:lnTo>
                  <a:pt x="3952" y="751"/>
                </a:lnTo>
                <a:lnTo>
                  <a:pt x="3966" y="732"/>
                </a:lnTo>
                <a:lnTo>
                  <a:pt x="3979" y="713"/>
                </a:lnTo>
                <a:lnTo>
                  <a:pt x="3990" y="692"/>
                </a:lnTo>
                <a:lnTo>
                  <a:pt x="3999" y="670"/>
                </a:lnTo>
                <a:lnTo>
                  <a:pt x="4009" y="647"/>
                </a:lnTo>
                <a:lnTo>
                  <a:pt x="4016" y="625"/>
                </a:lnTo>
                <a:lnTo>
                  <a:pt x="4020" y="613"/>
                </a:lnTo>
                <a:lnTo>
                  <a:pt x="4023" y="602"/>
                </a:lnTo>
                <a:lnTo>
                  <a:pt x="4029" y="578"/>
                </a:lnTo>
                <a:lnTo>
                  <a:pt x="4033" y="554"/>
                </a:lnTo>
                <a:lnTo>
                  <a:pt x="4036" y="542"/>
                </a:lnTo>
                <a:lnTo>
                  <a:pt x="4037" y="530"/>
                </a:lnTo>
                <a:lnTo>
                  <a:pt x="4038" y="505"/>
                </a:lnTo>
                <a:lnTo>
                  <a:pt x="4038" y="480"/>
                </a:lnTo>
                <a:lnTo>
                  <a:pt x="4038" y="453"/>
                </a:lnTo>
                <a:lnTo>
                  <a:pt x="4037" y="430"/>
                </a:lnTo>
                <a:lnTo>
                  <a:pt x="4033" y="405"/>
                </a:lnTo>
                <a:lnTo>
                  <a:pt x="4029" y="381"/>
                </a:lnTo>
                <a:lnTo>
                  <a:pt x="4023" y="358"/>
                </a:lnTo>
                <a:lnTo>
                  <a:pt x="4016" y="334"/>
                </a:lnTo>
                <a:lnTo>
                  <a:pt x="4009" y="312"/>
                </a:lnTo>
                <a:lnTo>
                  <a:pt x="4005" y="301"/>
                </a:lnTo>
                <a:lnTo>
                  <a:pt x="3999" y="290"/>
                </a:lnTo>
                <a:lnTo>
                  <a:pt x="3994" y="279"/>
                </a:lnTo>
                <a:lnTo>
                  <a:pt x="3990" y="267"/>
                </a:lnTo>
                <a:lnTo>
                  <a:pt x="3979" y="247"/>
                </a:lnTo>
                <a:lnTo>
                  <a:pt x="3966" y="227"/>
                </a:lnTo>
                <a:lnTo>
                  <a:pt x="3952" y="208"/>
                </a:lnTo>
                <a:lnTo>
                  <a:pt x="3938" y="188"/>
                </a:lnTo>
                <a:lnTo>
                  <a:pt x="3931" y="180"/>
                </a:lnTo>
                <a:lnTo>
                  <a:pt x="3924" y="170"/>
                </a:lnTo>
                <a:lnTo>
                  <a:pt x="3908" y="154"/>
                </a:lnTo>
                <a:lnTo>
                  <a:pt x="3891" y="137"/>
                </a:lnTo>
                <a:lnTo>
                  <a:pt x="3873" y="122"/>
                </a:lnTo>
                <a:lnTo>
                  <a:pt x="3865" y="115"/>
                </a:lnTo>
                <a:lnTo>
                  <a:pt x="3855" y="107"/>
                </a:lnTo>
                <a:lnTo>
                  <a:pt x="3835" y="94"/>
                </a:lnTo>
                <a:lnTo>
                  <a:pt x="3816" y="80"/>
                </a:lnTo>
                <a:lnTo>
                  <a:pt x="3795" y="68"/>
                </a:lnTo>
                <a:lnTo>
                  <a:pt x="3774" y="57"/>
                </a:lnTo>
                <a:lnTo>
                  <a:pt x="3752" y="47"/>
                </a:lnTo>
                <a:lnTo>
                  <a:pt x="3728" y="37"/>
                </a:lnTo>
                <a:lnTo>
                  <a:pt x="3706" y="29"/>
                </a:lnTo>
                <a:lnTo>
                  <a:pt x="3681" y="21"/>
                </a:lnTo>
                <a:lnTo>
                  <a:pt x="3670" y="18"/>
                </a:lnTo>
                <a:lnTo>
                  <a:pt x="3657" y="15"/>
                </a:lnTo>
                <a:lnTo>
                  <a:pt x="3632" y="10"/>
                </a:lnTo>
                <a:lnTo>
                  <a:pt x="3607" y="5"/>
                </a:lnTo>
                <a:lnTo>
                  <a:pt x="3582" y="3"/>
                </a:lnTo>
                <a:lnTo>
                  <a:pt x="3557" y="1"/>
                </a:lnTo>
                <a:lnTo>
                  <a:pt x="3531" y="0"/>
                </a:lnTo>
                <a:lnTo>
                  <a:pt x="3504" y="1"/>
                </a:lnTo>
                <a:lnTo>
                  <a:pt x="3478" y="3"/>
                </a:lnTo>
                <a:lnTo>
                  <a:pt x="3453" y="5"/>
                </a:lnTo>
                <a:lnTo>
                  <a:pt x="3428" y="10"/>
                </a:lnTo>
                <a:lnTo>
                  <a:pt x="3403" y="15"/>
                </a:lnTo>
                <a:lnTo>
                  <a:pt x="3379" y="21"/>
                </a:lnTo>
                <a:lnTo>
                  <a:pt x="3355" y="29"/>
                </a:lnTo>
                <a:lnTo>
                  <a:pt x="3332" y="37"/>
                </a:lnTo>
                <a:lnTo>
                  <a:pt x="3309" y="47"/>
                </a:lnTo>
                <a:lnTo>
                  <a:pt x="3287" y="57"/>
                </a:lnTo>
                <a:lnTo>
                  <a:pt x="3276" y="62"/>
                </a:lnTo>
                <a:lnTo>
                  <a:pt x="3266" y="68"/>
                </a:lnTo>
                <a:lnTo>
                  <a:pt x="3245" y="80"/>
                </a:lnTo>
                <a:lnTo>
                  <a:pt x="3226" y="94"/>
                </a:lnTo>
                <a:lnTo>
                  <a:pt x="3216" y="100"/>
                </a:lnTo>
                <a:lnTo>
                  <a:pt x="3207" y="107"/>
                </a:lnTo>
                <a:lnTo>
                  <a:pt x="3188" y="122"/>
                </a:lnTo>
                <a:lnTo>
                  <a:pt x="3180" y="130"/>
                </a:lnTo>
                <a:lnTo>
                  <a:pt x="3172" y="137"/>
                </a:lnTo>
                <a:lnTo>
                  <a:pt x="3155" y="154"/>
                </a:lnTo>
                <a:lnTo>
                  <a:pt x="3140" y="170"/>
                </a:lnTo>
                <a:lnTo>
                  <a:pt x="3124" y="188"/>
                </a:lnTo>
                <a:lnTo>
                  <a:pt x="3111" y="208"/>
                </a:lnTo>
                <a:lnTo>
                  <a:pt x="3098" y="227"/>
                </a:lnTo>
                <a:lnTo>
                  <a:pt x="3085" y="247"/>
                </a:lnTo>
                <a:lnTo>
                  <a:pt x="3074" y="267"/>
                </a:lnTo>
                <a:lnTo>
                  <a:pt x="3065" y="290"/>
                </a:lnTo>
                <a:lnTo>
                  <a:pt x="3055" y="312"/>
                </a:lnTo>
                <a:lnTo>
                  <a:pt x="3047" y="334"/>
                </a:lnTo>
                <a:lnTo>
                  <a:pt x="3044" y="345"/>
                </a:lnTo>
                <a:lnTo>
                  <a:pt x="3040" y="358"/>
                </a:lnTo>
                <a:lnTo>
                  <a:pt x="3034" y="381"/>
                </a:lnTo>
                <a:lnTo>
                  <a:pt x="3030" y="405"/>
                </a:lnTo>
                <a:lnTo>
                  <a:pt x="3028" y="417"/>
                </a:lnTo>
                <a:lnTo>
                  <a:pt x="3027" y="430"/>
                </a:lnTo>
                <a:lnTo>
                  <a:pt x="3026" y="453"/>
                </a:lnTo>
                <a:lnTo>
                  <a:pt x="3024" y="480"/>
                </a:lnTo>
                <a:lnTo>
                  <a:pt x="3026" y="505"/>
                </a:lnTo>
                <a:lnTo>
                  <a:pt x="3027" y="530"/>
                </a:lnTo>
                <a:lnTo>
                  <a:pt x="3030" y="554"/>
                </a:lnTo>
                <a:lnTo>
                  <a:pt x="3034" y="578"/>
                </a:lnTo>
                <a:lnTo>
                  <a:pt x="3040" y="602"/>
                </a:lnTo>
                <a:lnTo>
                  <a:pt x="3047" y="625"/>
                </a:lnTo>
                <a:lnTo>
                  <a:pt x="3055" y="647"/>
                </a:lnTo>
                <a:lnTo>
                  <a:pt x="3059" y="658"/>
                </a:lnTo>
                <a:lnTo>
                  <a:pt x="3065" y="670"/>
                </a:lnTo>
                <a:lnTo>
                  <a:pt x="3069" y="681"/>
                </a:lnTo>
                <a:lnTo>
                  <a:pt x="3074" y="692"/>
                </a:lnTo>
                <a:lnTo>
                  <a:pt x="3085" y="713"/>
                </a:lnTo>
                <a:lnTo>
                  <a:pt x="3098" y="732"/>
                </a:lnTo>
                <a:lnTo>
                  <a:pt x="3111" y="751"/>
                </a:lnTo>
                <a:lnTo>
                  <a:pt x="3124" y="769"/>
                </a:lnTo>
                <a:lnTo>
                  <a:pt x="3140" y="787"/>
                </a:lnTo>
                <a:lnTo>
                  <a:pt x="3155" y="805"/>
                </a:lnTo>
                <a:lnTo>
                  <a:pt x="3163" y="814"/>
                </a:lnTo>
                <a:lnTo>
                  <a:pt x="3172" y="821"/>
                </a:lnTo>
                <a:lnTo>
                  <a:pt x="3188" y="837"/>
                </a:lnTo>
                <a:lnTo>
                  <a:pt x="3198" y="844"/>
                </a:lnTo>
                <a:lnTo>
                  <a:pt x="3207" y="851"/>
                </a:lnTo>
                <a:lnTo>
                  <a:pt x="3226" y="865"/>
                </a:lnTo>
                <a:lnTo>
                  <a:pt x="3245" y="878"/>
                </a:lnTo>
                <a:lnTo>
                  <a:pt x="3266" y="890"/>
                </a:lnTo>
                <a:lnTo>
                  <a:pt x="3287" y="901"/>
                </a:lnTo>
                <a:lnTo>
                  <a:pt x="3309" y="912"/>
                </a:lnTo>
                <a:lnTo>
                  <a:pt x="3332" y="922"/>
                </a:lnTo>
                <a:lnTo>
                  <a:pt x="3355" y="930"/>
                </a:lnTo>
                <a:lnTo>
                  <a:pt x="3379" y="937"/>
                </a:lnTo>
                <a:lnTo>
                  <a:pt x="3403" y="944"/>
                </a:lnTo>
                <a:lnTo>
                  <a:pt x="3428" y="950"/>
                </a:lnTo>
                <a:lnTo>
                  <a:pt x="3453" y="952"/>
                </a:lnTo>
                <a:lnTo>
                  <a:pt x="3478" y="955"/>
                </a:lnTo>
                <a:lnTo>
                  <a:pt x="3504" y="958"/>
                </a:lnTo>
                <a:lnTo>
                  <a:pt x="3531" y="958"/>
                </a:lnTo>
                <a:lnTo>
                  <a:pt x="3557" y="958"/>
                </a:lnTo>
                <a:lnTo>
                  <a:pt x="3582" y="955"/>
                </a:lnTo>
                <a:lnTo>
                  <a:pt x="3607" y="952"/>
                </a:lnTo>
                <a:lnTo>
                  <a:pt x="3632" y="950"/>
                </a:lnTo>
                <a:lnTo>
                  <a:pt x="3657" y="944"/>
                </a:lnTo>
                <a:lnTo>
                  <a:pt x="3681" y="937"/>
                </a:lnTo>
                <a:lnTo>
                  <a:pt x="3706" y="930"/>
                </a:lnTo>
                <a:lnTo>
                  <a:pt x="3728" y="922"/>
                </a:lnTo>
                <a:close/>
                <a:moveTo>
                  <a:pt x="3403" y="632"/>
                </a:moveTo>
                <a:lnTo>
                  <a:pt x="3397" y="625"/>
                </a:lnTo>
                <a:lnTo>
                  <a:pt x="3392" y="617"/>
                </a:lnTo>
                <a:lnTo>
                  <a:pt x="3386" y="610"/>
                </a:lnTo>
                <a:lnTo>
                  <a:pt x="3382" y="602"/>
                </a:lnTo>
                <a:lnTo>
                  <a:pt x="3378" y="593"/>
                </a:lnTo>
                <a:lnTo>
                  <a:pt x="3373" y="584"/>
                </a:lnTo>
                <a:lnTo>
                  <a:pt x="3366" y="566"/>
                </a:lnTo>
                <a:lnTo>
                  <a:pt x="3364" y="556"/>
                </a:lnTo>
                <a:lnTo>
                  <a:pt x="3361" y="546"/>
                </a:lnTo>
                <a:lnTo>
                  <a:pt x="3358" y="525"/>
                </a:lnTo>
                <a:lnTo>
                  <a:pt x="3355" y="503"/>
                </a:lnTo>
                <a:lnTo>
                  <a:pt x="3354" y="480"/>
                </a:lnTo>
                <a:lnTo>
                  <a:pt x="3355" y="456"/>
                </a:lnTo>
                <a:lnTo>
                  <a:pt x="3357" y="445"/>
                </a:lnTo>
                <a:lnTo>
                  <a:pt x="3358" y="434"/>
                </a:lnTo>
                <a:lnTo>
                  <a:pt x="3361" y="413"/>
                </a:lnTo>
                <a:lnTo>
                  <a:pt x="3366" y="394"/>
                </a:lnTo>
                <a:lnTo>
                  <a:pt x="3369" y="384"/>
                </a:lnTo>
                <a:lnTo>
                  <a:pt x="3373" y="376"/>
                </a:lnTo>
                <a:lnTo>
                  <a:pt x="3378" y="366"/>
                </a:lnTo>
                <a:lnTo>
                  <a:pt x="3382" y="358"/>
                </a:lnTo>
                <a:lnTo>
                  <a:pt x="3392" y="341"/>
                </a:lnTo>
                <a:lnTo>
                  <a:pt x="3397" y="334"/>
                </a:lnTo>
                <a:lnTo>
                  <a:pt x="3403" y="326"/>
                </a:lnTo>
                <a:lnTo>
                  <a:pt x="3415" y="313"/>
                </a:lnTo>
                <a:lnTo>
                  <a:pt x="3429" y="301"/>
                </a:lnTo>
                <a:lnTo>
                  <a:pt x="3436" y="295"/>
                </a:lnTo>
                <a:lnTo>
                  <a:pt x="3444" y="291"/>
                </a:lnTo>
                <a:lnTo>
                  <a:pt x="3451" y="287"/>
                </a:lnTo>
                <a:lnTo>
                  <a:pt x="3460" y="283"/>
                </a:lnTo>
                <a:lnTo>
                  <a:pt x="3468" y="279"/>
                </a:lnTo>
                <a:lnTo>
                  <a:pt x="3476" y="276"/>
                </a:lnTo>
                <a:lnTo>
                  <a:pt x="3485" y="273"/>
                </a:lnTo>
                <a:lnTo>
                  <a:pt x="3493" y="272"/>
                </a:lnTo>
                <a:lnTo>
                  <a:pt x="3501" y="270"/>
                </a:lnTo>
                <a:lnTo>
                  <a:pt x="3511" y="269"/>
                </a:lnTo>
                <a:lnTo>
                  <a:pt x="3531" y="267"/>
                </a:lnTo>
                <a:lnTo>
                  <a:pt x="3540" y="267"/>
                </a:lnTo>
                <a:lnTo>
                  <a:pt x="3550" y="269"/>
                </a:lnTo>
                <a:lnTo>
                  <a:pt x="3560" y="270"/>
                </a:lnTo>
                <a:lnTo>
                  <a:pt x="3570" y="272"/>
                </a:lnTo>
                <a:lnTo>
                  <a:pt x="3586" y="276"/>
                </a:lnTo>
                <a:lnTo>
                  <a:pt x="3596" y="279"/>
                </a:lnTo>
                <a:lnTo>
                  <a:pt x="3603" y="283"/>
                </a:lnTo>
                <a:lnTo>
                  <a:pt x="3611" y="287"/>
                </a:lnTo>
                <a:lnTo>
                  <a:pt x="3620" y="291"/>
                </a:lnTo>
                <a:lnTo>
                  <a:pt x="3627" y="295"/>
                </a:lnTo>
                <a:lnTo>
                  <a:pt x="3634" y="301"/>
                </a:lnTo>
                <a:lnTo>
                  <a:pt x="3641" y="306"/>
                </a:lnTo>
                <a:lnTo>
                  <a:pt x="3648" y="313"/>
                </a:lnTo>
                <a:lnTo>
                  <a:pt x="3654" y="319"/>
                </a:lnTo>
                <a:lnTo>
                  <a:pt x="3660" y="326"/>
                </a:lnTo>
                <a:lnTo>
                  <a:pt x="3666" y="334"/>
                </a:lnTo>
                <a:lnTo>
                  <a:pt x="3671" y="341"/>
                </a:lnTo>
                <a:lnTo>
                  <a:pt x="3681" y="358"/>
                </a:lnTo>
                <a:lnTo>
                  <a:pt x="3685" y="366"/>
                </a:lnTo>
                <a:lnTo>
                  <a:pt x="3689" y="376"/>
                </a:lnTo>
                <a:lnTo>
                  <a:pt x="3693" y="384"/>
                </a:lnTo>
                <a:lnTo>
                  <a:pt x="3696" y="394"/>
                </a:lnTo>
                <a:lnTo>
                  <a:pt x="3699" y="403"/>
                </a:lnTo>
                <a:lnTo>
                  <a:pt x="3702" y="413"/>
                </a:lnTo>
                <a:lnTo>
                  <a:pt x="3705" y="434"/>
                </a:lnTo>
                <a:lnTo>
                  <a:pt x="3707" y="456"/>
                </a:lnTo>
                <a:lnTo>
                  <a:pt x="3709" y="480"/>
                </a:lnTo>
                <a:lnTo>
                  <a:pt x="3707" y="503"/>
                </a:lnTo>
                <a:lnTo>
                  <a:pt x="3706" y="514"/>
                </a:lnTo>
                <a:lnTo>
                  <a:pt x="3705" y="525"/>
                </a:lnTo>
                <a:lnTo>
                  <a:pt x="3703" y="535"/>
                </a:lnTo>
                <a:lnTo>
                  <a:pt x="3702" y="546"/>
                </a:lnTo>
                <a:lnTo>
                  <a:pt x="3699" y="556"/>
                </a:lnTo>
                <a:lnTo>
                  <a:pt x="3696" y="566"/>
                </a:lnTo>
                <a:lnTo>
                  <a:pt x="3689" y="584"/>
                </a:lnTo>
                <a:lnTo>
                  <a:pt x="3685" y="593"/>
                </a:lnTo>
                <a:lnTo>
                  <a:pt x="3681" y="602"/>
                </a:lnTo>
                <a:lnTo>
                  <a:pt x="3677" y="610"/>
                </a:lnTo>
                <a:lnTo>
                  <a:pt x="3671" y="617"/>
                </a:lnTo>
                <a:lnTo>
                  <a:pt x="3660" y="632"/>
                </a:lnTo>
                <a:lnTo>
                  <a:pt x="3648" y="646"/>
                </a:lnTo>
                <a:lnTo>
                  <a:pt x="3634" y="657"/>
                </a:lnTo>
                <a:lnTo>
                  <a:pt x="3620" y="667"/>
                </a:lnTo>
                <a:lnTo>
                  <a:pt x="3611" y="671"/>
                </a:lnTo>
                <a:lnTo>
                  <a:pt x="3603" y="675"/>
                </a:lnTo>
                <a:lnTo>
                  <a:pt x="3586" y="682"/>
                </a:lnTo>
                <a:lnTo>
                  <a:pt x="3570" y="686"/>
                </a:lnTo>
                <a:lnTo>
                  <a:pt x="3550" y="689"/>
                </a:lnTo>
                <a:lnTo>
                  <a:pt x="3531" y="689"/>
                </a:lnTo>
                <a:lnTo>
                  <a:pt x="3511" y="689"/>
                </a:lnTo>
                <a:lnTo>
                  <a:pt x="3501" y="688"/>
                </a:lnTo>
                <a:lnTo>
                  <a:pt x="3493" y="686"/>
                </a:lnTo>
                <a:lnTo>
                  <a:pt x="3485" y="683"/>
                </a:lnTo>
                <a:lnTo>
                  <a:pt x="3476" y="682"/>
                </a:lnTo>
                <a:lnTo>
                  <a:pt x="3468" y="678"/>
                </a:lnTo>
                <a:lnTo>
                  <a:pt x="3460" y="675"/>
                </a:lnTo>
                <a:lnTo>
                  <a:pt x="3444" y="667"/>
                </a:lnTo>
                <a:lnTo>
                  <a:pt x="3429" y="657"/>
                </a:lnTo>
                <a:lnTo>
                  <a:pt x="3422" y="652"/>
                </a:lnTo>
                <a:lnTo>
                  <a:pt x="3415" y="646"/>
                </a:lnTo>
                <a:lnTo>
                  <a:pt x="3410" y="639"/>
                </a:lnTo>
                <a:lnTo>
                  <a:pt x="3403" y="632"/>
                </a:lnTo>
                <a:close/>
                <a:moveTo>
                  <a:pt x="4346" y="817"/>
                </a:moveTo>
                <a:lnTo>
                  <a:pt x="4314" y="804"/>
                </a:lnTo>
                <a:lnTo>
                  <a:pt x="4283" y="792"/>
                </a:lnTo>
                <a:lnTo>
                  <a:pt x="4254" y="776"/>
                </a:lnTo>
                <a:lnTo>
                  <a:pt x="4240" y="768"/>
                </a:lnTo>
                <a:lnTo>
                  <a:pt x="4226" y="760"/>
                </a:lnTo>
                <a:lnTo>
                  <a:pt x="4164" y="866"/>
                </a:lnTo>
                <a:lnTo>
                  <a:pt x="4180" y="876"/>
                </a:lnTo>
                <a:lnTo>
                  <a:pt x="4198" y="886"/>
                </a:lnTo>
                <a:lnTo>
                  <a:pt x="4216" y="896"/>
                </a:lnTo>
                <a:lnTo>
                  <a:pt x="4235" y="904"/>
                </a:lnTo>
                <a:lnTo>
                  <a:pt x="4254" y="912"/>
                </a:lnTo>
                <a:lnTo>
                  <a:pt x="4274" y="921"/>
                </a:lnTo>
                <a:lnTo>
                  <a:pt x="4293" y="927"/>
                </a:lnTo>
                <a:lnTo>
                  <a:pt x="4312" y="933"/>
                </a:lnTo>
                <a:lnTo>
                  <a:pt x="4332" y="940"/>
                </a:lnTo>
                <a:lnTo>
                  <a:pt x="4353" y="944"/>
                </a:lnTo>
                <a:lnTo>
                  <a:pt x="4375" y="948"/>
                </a:lnTo>
                <a:lnTo>
                  <a:pt x="4396" y="952"/>
                </a:lnTo>
                <a:lnTo>
                  <a:pt x="4420" y="955"/>
                </a:lnTo>
                <a:lnTo>
                  <a:pt x="4442" y="957"/>
                </a:lnTo>
                <a:lnTo>
                  <a:pt x="4465" y="958"/>
                </a:lnTo>
                <a:lnTo>
                  <a:pt x="4491" y="958"/>
                </a:lnTo>
                <a:lnTo>
                  <a:pt x="4509" y="958"/>
                </a:lnTo>
                <a:lnTo>
                  <a:pt x="4527" y="957"/>
                </a:lnTo>
                <a:lnTo>
                  <a:pt x="4543" y="955"/>
                </a:lnTo>
                <a:lnTo>
                  <a:pt x="4561" y="954"/>
                </a:lnTo>
                <a:lnTo>
                  <a:pt x="4578" y="951"/>
                </a:lnTo>
                <a:lnTo>
                  <a:pt x="4595" y="947"/>
                </a:lnTo>
                <a:lnTo>
                  <a:pt x="4612" y="943"/>
                </a:lnTo>
                <a:lnTo>
                  <a:pt x="4627" y="939"/>
                </a:lnTo>
                <a:lnTo>
                  <a:pt x="4642" y="933"/>
                </a:lnTo>
                <a:lnTo>
                  <a:pt x="4657" y="927"/>
                </a:lnTo>
                <a:lnTo>
                  <a:pt x="4673" y="921"/>
                </a:lnTo>
                <a:lnTo>
                  <a:pt x="4687" y="914"/>
                </a:lnTo>
                <a:lnTo>
                  <a:pt x="4713" y="898"/>
                </a:lnTo>
                <a:lnTo>
                  <a:pt x="4726" y="890"/>
                </a:lnTo>
                <a:lnTo>
                  <a:pt x="4737" y="880"/>
                </a:lnTo>
                <a:lnTo>
                  <a:pt x="4748" y="872"/>
                </a:lnTo>
                <a:lnTo>
                  <a:pt x="4759" y="861"/>
                </a:lnTo>
                <a:lnTo>
                  <a:pt x="4769" y="851"/>
                </a:lnTo>
                <a:lnTo>
                  <a:pt x="4778" y="840"/>
                </a:lnTo>
                <a:lnTo>
                  <a:pt x="4788" y="829"/>
                </a:lnTo>
                <a:lnTo>
                  <a:pt x="4797" y="817"/>
                </a:lnTo>
                <a:lnTo>
                  <a:pt x="4804" y="804"/>
                </a:lnTo>
                <a:lnTo>
                  <a:pt x="4810" y="792"/>
                </a:lnTo>
                <a:lnTo>
                  <a:pt x="4817" y="779"/>
                </a:lnTo>
                <a:lnTo>
                  <a:pt x="4822" y="765"/>
                </a:lnTo>
                <a:lnTo>
                  <a:pt x="4827" y="751"/>
                </a:lnTo>
                <a:lnTo>
                  <a:pt x="4830" y="738"/>
                </a:lnTo>
                <a:lnTo>
                  <a:pt x="4834" y="722"/>
                </a:lnTo>
                <a:lnTo>
                  <a:pt x="4836" y="707"/>
                </a:lnTo>
                <a:lnTo>
                  <a:pt x="4837" y="692"/>
                </a:lnTo>
                <a:lnTo>
                  <a:pt x="4837" y="677"/>
                </a:lnTo>
                <a:lnTo>
                  <a:pt x="4837" y="663"/>
                </a:lnTo>
                <a:lnTo>
                  <a:pt x="4836" y="649"/>
                </a:lnTo>
                <a:lnTo>
                  <a:pt x="4834" y="636"/>
                </a:lnTo>
                <a:lnTo>
                  <a:pt x="4833" y="622"/>
                </a:lnTo>
                <a:lnTo>
                  <a:pt x="4829" y="610"/>
                </a:lnTo>
                <a:lnTo>
                  <a:pt x="4826" y="599"/>
                </a:lnTo>
                <a:lnTo>
                  <a:pt x="4822" y="586"/>
                </a:lnTo>
                <a:lnTo>
                  <a:pt x="4816" y="575"/>
                </a:lnTo>
                <a:lnTo>
                  <a:pt x="4810" y="564"/>
                </a:lnTo>
                <a:lnTo>
                  <a:pt x="4805" y="553"/>
                </a:lnTo>
                <a:lnTo>
                  <a:pt x="4798" y="543"/>
                </a:lnTo>
                <a:lnTo>
                  <a:pt x="4791" y="534"/>
                </a:lnTo>
                <a:lnTo>
                  <a:pt x="4783" y="524"/>
                </a:lnTo>
                <a:lnTo>
                  <a:pt x="4774" y="514"/>
                </a:lnTo>
                <a:lnTo>
                  <a:pt x="4765" y="506"/>
                </a:lnTo>
                <a:lnTo>
                  <a:pt x="4755" y="498"/>
                </a:lnTo>
                <a:lnTo>
                  <a:pt x="4744" y="489"/>
                </a:lnTo>
                <a:lnTo>
                  <a:pt x="4733" y="482"/>
                </a:lnTo>
                <a:lnTo>
                  <a:pt x="4720" y="474"/>
                </a:lnTo>
                <a:lnTo>
                  <a:pt x="4708" y="467"/>
                </a:lnTo>
                <a:lnTo>
                  <a:pt x="4694" y="460"/>
                </a:lnTo>
                <a:lnTo>
                  <a:pt x="4680" y="455"/>
                </a:lnTo>
                <a:lnTo>
                  <a:pt x="4666" y="449"/>
                </a:lnTo>
                <a:lnTo>
                  <a:pt x="4650" y="444"/>
                </a:lnTo>
                <a:lnTo>
                  <a:pt x="4618" y="432"/>
                </a:lnTo>
                <a:lnTo>
                  <a:pt x="4582" y="424"/>
                </a:lnTo>
                <a:lnTo>
                  <a:pt x="4564" y="420"/>
                </a:lnTo>
                <a:lnTo>
                  <a:pt x="4545" y="417"/>
                </a:lnTo>
                <a:lnTo>
                  <a:pt x="4525" y="414"/>
                </a:lnTo>
                <a:lnTo>
                  <a:pt x="4504" y="412"/>
                </a:lnTo>
                <a:lnTo>
                  <a:pt x="4481" y="408"/>
                </a:lnTo>
                <a:lnTo>
                  <a:pt x="4470" y="406"/>
                </a:lnTo>
                <a:lnTo>
                  <a:pt x="4459" y="405"/>
                </a:lnTo>
                <a:lnTo>
                  <a:pt x="4438" y="399"/>
                </a:lnTo>
                <a:lnTo>
                  <a:pt x="4420" y="394"/>
                </a:lnTo>
                <a:lnTo>
                  <a:pt x="4403" y="388"/>
                </a:lnTo>
                <a:lnTo>
                  <a:pt x="4388" y="381"/>
                </a:lnTo>
                <a:lnTo>
                  <a:pt x="4382" y="377"/>
                </a:lnTo>
                <a:lnTo>
                  <a:pt x="4375" y="373"/>
                </a:lnTo>
                <a:lnTo>
                  <a:pt x="4364" y="365"/>
                </a:lnTo>
                <a:lnTo>
                  <a:pt x="4360" y="360"/>
                </a:lnTo>
                <a:lnTo>
                  <a:pt x="4354" y="356"/>
                </a:lnTo>
                <a:lnTo>
                  <a:pt x="4346" y="346"/>
                </a:lnTo>
                <a:lnTo>
                  <a:pt x="4339" y="335"/>
                </a:lnTo>
                <a:lnTo>
                  <a:pt x="4336" y="330"/>
                </a:lnTo>
                <a:lnTo>
                  <a:pt x="4333" y="324"/>
                </a:lnTo>
                <a:lnTo>
                  <a:pt x="4329" y="312"/>
                </a:lnTo>
                <a:lnTo>
                  <a:pt x="4328" y="306"/>
                </a:lnTo>
                <a:lnTo>
                  <a:pt x="4326" y="299"/>
                </a:lnTo>
                <a:lnTo>
                  <a:pt x="4324" y="285"/>
                </a:lnTo>
                <a:lnTo>
                  <a:pt x="4324" y="272"/>
                </a:lnTo>
                <a:lnTo>
                  <a:pt x="4324" y="263"/>
                </a:lnTo>
                <a:lnTo>
                  <a:pt x="4325" y="254"/>
                </a:lnTo>
                <a:lnTo>
                  <a:pt x="4328" y="237"/>
                </a:lnTo>
                <a:lnTo>
                  <a:pt x="4329" y="229"/>
                </a:lnTo>
                <a:lnTo>
                  <a:pt x="4332" y="220"/>
                </a:lnTo>
                <a:lnTo>
                  <a:pt x="4339" y="206"/>
                </a:lnTo>
                <a:lnTo>
                  <a:pt x="4343" y="200"/>
                </a:lnTo>
                <a:lnTo>
                  <a:pt x="4347" y="193"/>
                </a:lnTo>
                <a:lnTo>
                  <a:pt x="4351" y="186"/>
                </a:lnTo>
                <a:lnTo>
                  <a:pt x="4357" y="180"/>
                </a:lnTo>
                <a:lnTo>
                  <a:pt x="4363" y="175"/>
                </a:lnTo>
                <a:lnTo>
                  <a:pt x="4368" y="169"/>
                </a:lnTo>
                <a:lnTo>
                  <a:pt x="4381" y="158"/>
                </a:lnTo>
                <a:lnTo>
                  <a:pt x="4393" y="150"/>
                </a:lnTo>
                <a:lnTo>
                  <a:pt x="4401" y="145"/>
                </a:lnTo>
                <a:lnTo>
                  <a:pt x="4408" y="141"/>
                </a:lnTo>
                <a:lnTo>
                  <a:pt x="4424" y="134"/>
                </a:lnTo>
                <a:lnTo>
                  <a:pt x="4432" y="132"/>
                </a:lnTo>
                <a:lnTo>
                  <a:pt x="4440" y="130"/>
                </a:lnTo>
                <a:lnTo>
                  <a:pt x="4457" y="126"/>
                </a:lnTo>
                <a:lnTo>
                  <a:pt x="4475" y="122"/>
                </a:lnTo>
                <a:lnTo>
                  <a:pt x="4493" y="120"/>
                </a:lnTo>
                <a:lnTo>
                  <a:pt x="4511" y="120"/>
                </a:lnTo>
                <a:lnTo>
                  <a:pt x="4539" y="120"/>
                </a:lnTo>
                <a:lnTo>
                  <a:pt x="4567" y="125"/>
                </a:lnTo>
                <a:lnTo>
                  <a:pt x="4581" y="126"/>
                </a:lnTo>
                <a:lnTo>
                  <a:pt x="4595" y="129"/>
                </a:lnTo>
                <a:lnTo>
                  <a:pt x="4623" y="136"/>
                </a:lnTo>
                <a:lnTo>
                  <a:pt x="4637" y="140"/>
                </a:lnTo>
                <a:lnTo>
                  <a:pt x="4650" y="144"/>
                </a:lnTo>
                <a:lnTo>
                  <a:pt x="4678" y="155"/>
                </a:lnTo>
                <a:lnTo>
                  <a:pt x="4705" y="169"/>
                </a:lnTo>
                <a:lnTo>
                  <a:pt x="4719" y="177"/>
                </a:lnTo>
                <a:lnTo>
                  <a:pt x="4731" y="186"/>
                </a:lnTo>
                <a:lnTo>
                  <a:pt x="4795" y="79"/>
                </a:lnTo>
                <a:lnTo>
                  <a:pt x="4759" y="59"/>
                </a:lnTo>
                <a:lnTo>
                  <a:pt x="4742" y="51"/>
                </a:lnTo>
                <a:lnTo>
                  <a:pt x="4724" y="43"/>
                </a:lnTo>
                <a:lnTo>
                  <a:pt x="4706" y="36"/>
                </a:lnTo>
                <a:lnTo>
                  <a:pt x="4698" y="32"/>
                </a:lnTo>
                <a:lnTo>
                  <a:pt x="4688" y="29"/>
                </a:lnTo>
                <a:lnTo>
                  <a:pt x="4670" y="23"/>
                </a:lnTo>
                <a:lnTo>
                  <a:pt x="4652" y="18"/>
                </a:lnTo>
                <a:lnTo>
                  <a:pt x="4634" y="14"/>
                </a:lnTo>
                <a:lnTo>
                  <a:pt x="4616" y="11"/>
                </a:lnTo>
                <a:lnTo>
                  <a:pt x="4599" y="8"/>
                </a:lnTo>
                <a:lnTo>
                  <a:pt x="4581" y="5"/>
                </a:lnTo>
                <a:lnTo>
                  <a:pt x="4563" y="3"/>
                </a:lnTo>
                <a:lnTo>
                  <a:pt x="4546" y="1"/>
                </a:lnTo>
                <a:lnTo>
                  <a:pt x="4511" y="0"/>
                </a:lnTo>
                <a:lnTo>
                  <a:pt x="4495" y="1"/>
                </a:lnTo>
                <a:lnTo>
                  <a:pt x="4477" y="1"/>
                </a:lnTo>
                <a:lnTo>
                  <a:pt x="4460" y="4"/>
                </a:lnTo>
                <a:lnTo>
                  <a:pt x="4445" y="7"/>
                </a:lnTo>
                <a:lnTo>
                  <a:pt x="4428" y="10"/>
                </a:lnTo>
                <a:lnTo>
                  <a:pt x="4413" y="14"/>
                </a:lnTo>
                <a:lnTo>
                  <a:pt x="4397" y="18"/>
                </a:lnTo>
                <a:lnTo>
                  <a:pt x="4383" y="23"/>
                </a:lnTo>
                <a:lnTo>
                  <a:pt x="4368" y="29"/>
                </a:lnTo>
                <a:lnTo>
                  <a:pt x="4354" y="36"/>
                </a:lnTo>
                <a:lnTo>
                  <a:pt x="4342" y="43"/>
                </a:lnTo>
                <a:lnTo>
                  <a:pt x="4329" y="50"/>
                </a:lnTo>
                <a:lnTo>
                  <a:pt x="4317" y="57"/>
                </a:lnTo>
                <a:lnTo>
                  <a:pt x="4305" y="65"/>
                </a:lnTo>
                <a:lnTo>
                  <a:pt x="4294" y="75"/>
                </a:lnTo>
                <a:lnTo>
                  <a:pt x="4283" y="83"/>
                </a:lnTo>
                <a:lnTo>
                  <a:pt x="4274" y="93"/>
                </a:lnTo>
                <a:lnTo>
                  <a:pt x="4264" y="104"/>
                </a:lnTo>
                <a:lnTo>
                  <a:pt x="4255" y="114"/>
                </a:lnTo>
                <a:lnTo>
                  <a:pt x="4247" y="125"/>
                </a:lnTo>
                <a:lnTo>
                  <a:pt x="4239" y="136"/>
                </a:lnTo>
                <a:lnTo>
                  <a:pt x="4232" y="147"/>
                </a:lnTo>
                <a:lnTo>
                  <a:pt x="4225" y="159"/>
                </a:lnTo>
                <a:lnTo>
                  <a:pt x="4219" y="172"/>
                </a:lnTo>
                <a:lnTo>
                  <a:pt x="4214" y="184"/>
                </a:lnTo>
                <a:lnTo>
                  <a:pt x="4210" y="197"/>
                </a:lnTo>
                <a:lnTo>
                  <a:pt x="4205" y="209"/>
                </a:lnTo>
                <a:lnTo>
                  <a:pt x="4203" y="223"/>
                </a:lnTo>
                <a:lnTo>
                  <a:pt x="4200" y="236"/>
                </a:lnTo>
                <a:lnTo>
                  <a:pt x="4198" y="249"/>
                </a:lnTo>
                <a:lnTo>
                  <a:pt x="4197" y="263"/>
                </a:lnTo>
                <a:lnTo>
                  <a:pt x="4197" y="277"/>
                </a:lnTo>
                <a:lnTo>
                  <a:pt x="4198" y="302"/>
                </a:lnTo>
                <a:lnTo>
                  <a:pt x="4201" y="326"/>
                </a:lnTo>
                <a:lnTo>
                  <a:pt x="4204" y="337"/>
                </a:lnTo>
                <a:lnTo>
                  <a:pt x="4207" y="349"/>
                </a:lnTo>
                <a:lnTo>
                  <a:pt x="4210" y="360"/>
                </a:lnTo>
                <a:lnTo>
                  <a:pt x="4214" y="370"/>
                </a:lnTo>
                <a:lnTo>
                  <a:pt x="4219" y="381"/>
                </a:lnTo>
                <a:lnTo>
                  <a:pt x="4223" y="392"/>
                </a:lnTo>
                <a:lnTo>
                  <a:pt x="4229" y="402"/>
                </a:lnTo>
                <a:lnTo>
                  <a:pt x="4236" y="412"/>
                </a:lnTo>
                <a:lnTo>
                  <a:pt x="4243" y="421"/>
                </a:lnTo>
                <a:lnTo>
                  <a:pt x="4250" y="431"/>
                </a:lnTo>
                <a:lnTo>
                  <a:pt x="4258" y="439"/>
                </a:lnTo>
                <a:lnTo>
                  <a:pt x="4267" y="449"/>
                </a:lnTo>
                <a:lnTo>
                  <a:pt x="4275" y="457"/>
                </a:lnTo>
                <a:lnTo>
                  <a:pt x="4285" y="466"/>
                </a:lnTo>
                <a:lnTo>
                  <a:pt x="4294" y="473"/>
                </a:lnTo>
                <a:lnTo>
                  <a:pt x="4305" y="481"/>
                </a:lnTo>
                <a:lnTo>
                  <a:pt x="4317" y="488"/>
                </a:lnTo>
                <a:lnTo>
                  <a:pt x="4329" y="495"/>
                </a:lnTo>
                <a:lnTo>
                  <a:pt x="4342" y="500"/>
                </a:lnTo>
                <a:lnTo>
                  <a:pt x="4354" y="506"/>
                </a:lnTo>
                <a:lnTo>
                  <a:pt x="4361" y="509"/>
                </a:lnTo>
                <a:lnTo>
                  <a:pt x="4368" y="512"/>
                </a:lnTo>
                <a:lnTo>
                  <a:pt x="4383" y="517"/>
                </a:lnTo>
                <a:lnTo>
                  <a:pt x="4399" y="521"/>
                </a:lnTo>
                <a:lnTo>
                  <a:pt x="4414" y="525"/>
                </a:lnTo>
                <a:lnTo>
                  <a:pt x="4429" y="530"/>
                </a:lnTo>
                <a:lnTo>
                  <a:pt x="4447" y="532"/>
                </a:lnTo>
                <a:lnTo>
                  <a:pt x="4482" y="538"/>
                </a:lnTo>
                <a:lnTo>
                  <a:pt x="4538" y="546"/>
                </a:lnTo>
                <a:lnTo>
                  <a:pt x="4584" y="556"/>
                </a:lnTo>
                <a:lnTo>
                  <a:pt x="4605" y="561"/>
                </a:lnTo>
                <a:lnTo>
                  <a:pt x="4623" y="567"/>
                </a:lnTo>
                <a:lnTo>
                  <a:pt x="4639" y="575"/>
                </a:lnTo>
                <a:lnTo>
                  <a:pt x="4646" y="579"/>
                </a:lnTo>
                <a:lnTo>
                  <a:pt x="4653" y="584"/>
                </a:lnTo>
                <a:lnTo>
                  <a:pt x="4659" y="588"/>
                </a:lnTo>
                <a:lnTo>
                  <a:pt x="4666" y="592"/>
                </a:lnTo>
                <a:lnTo>
                  <a:pt x="4671" y="597"/>
                </a:lnTo>
                <a:lnTo>
                  <a:pt x="4676" y="602"/>
                </a:lnTo>
                <a:lnTo>
                  <a:pt x="4681" y="607"/>
                </a:lnTo>
                <a:lnTo>
                  <a:pt x="4685" y="613"/>
                </a:lnTo>
                <a:lnTo>
                  <a:pt x="4688" y="618"/>
                </a:lnTo>
                <a:lnTo>
                  <a:pt x="4692" y="625"/>
                </a:lnTo>
                <a:lnTo>
                  <a:pt x="4695" y="631"/>
                </a:lnTo>
                <a:lnTo>
                  <a:pt x="4696" y="638"/>
                </a:lnTo>
                <a:lnTo>
                  <a:pt x="4701" y="653"/>
                </a:lnTo>
                <a:lnTo>
                  <a:pt x="4702" y="660"/>
                </a:lnTo>
                <a:lnTo>
                  <a:pt x="4703" y="668"/>
                </a:lnTo>
                <a:lnTo>
                  <a:pt x="4703" y="685"/>
                </a:lnTo>
                <a:lnTo>
                  <a:pt x="4703" y="703"/>
                </a:lnTo>
                <a:lnTo>
                  <a:pt x="4701" y="720"/>
                </a:lnTo>
                <a:lnTo>
                  <a:pt x="4698" y="726"/>
                </a:lnTo>
                <a:lnTo>
                  <a:pt x="4696" y="735"/>
                </a:lnTo>
                <a:lnTo>
                  <a:pt x="4689" y="749"/>
                </a:lnTo>
                <a:lnTo>
                  <a:pt x="4682" y="762"/>
                </a:lnTo>
                <a:lnTo>
                  <a:pt x="4677" y="768"/>
                </a:lnTo>
                <a:lnTo>
                  <a:pt x="4673" y="775"/>
                </a:lnTo>
                <a:lnTo>
                  <a:pt x="4662" y="786"/>
                </a:lnTo>
                <a:lnTo>
                  <a:pt x="4649" y="797"/>
                </a:lnTo>
                <a:lnTo>
                  <a:pt x="4634" y="807"/>
                </a:lnTo>
                <a:lnTo>
                  <a:pt x="4625" y="811"/>
                </a:lnTo>
                <a:lnTo>
                  <a:pt x="4617" y="815"/>
                </a:lnTo>
                <a:lnTo>
                  <a:pt x="4600" y="822"/>
                </a:lnTo>
                <a:lnTo>
                  <a:pt x="4581" y="828"/>
                </a:lnTo>
                <a:lnTo>
                  <a:pt x="4560" y="833"/>
                </a:lnTo>
                <a:lnTo>
                  <a:pt x="4550" y="835"/>
                </a:lnTo>
                <a:lnTo>
                  <a:pt x="4539" y="836"/>
                </a:lnTo>
                <a:lnTo>
                  <a:pt x="4516" y="837"/>
                </a:lnTo>
                <a:lnTo>
                  <a:pt x="4491" y="839"/>
                </a:lnTo>
                <a:lnTo>
                  <a:pt x="4471" y="839"/>
                </a:lnTo>
                <a:lnTo>
                  <a:pt x="4452" y="837"/>
                </a:lnTo>
                <a:lnTo>
                  <a:pt x="4433" y="836"/>
                </a:lnTo>
                <a:lnTo>
                  <a:pt x="4415" y="833"/>
                </a:lnTo>
                <a:lnTo>
                  <a:pt x="4397" y="830"/>
                </a:lnTo>
                <a:lnTo>
                  <a:pt x="4379" y="826"/>
                </a:lnTo>
                <a:lnTo>
                  <a:pt x="4363" y="822"/>
                </a:lnTo>
                <a:lnTo>
                  <a:pt x="4346" y="817"/>
                </a:lnTo>
                <a:close/>
                <a:moveTo>
                  <a:pt x="5368" y="946"/>
                </a:moveTo>
                <a:lnTo>
                  <a:pt x="5368" y="133"/>
                </a:lnTo>
                <a:lnTo>
                  <a:pt x="5649" y="133"/>
                </a:lnTo>
                <a:lnTo>
                  <a:pt x="5649" y="14"/>
                </a:lnTo>
                <a:lnTo>
                  <a:pt x="4955" y="14"/>
                </a:lnTo>
                <a:lnTo>
                  <a:pt x="4955" y="133"/>
                </a:lnTo>
                <a:lnTo>
                  <a:pt x="5235" y="133"/>
                </a:lnTo>
                <a:lnTo>
                  <a:pt x="5235" y="946"/>
                </a:lnTo>
                <a:lnTo>
                  <a:pt x="5368" y="946"/>
                </a:lnTo>
                <a:close/>
                <a:moveTo>
                  <a:pt x="6292" y="933"/>
                </a:moveTo>
                <a:lnTo>
                  <a:pt x="6309" y="926"/>
                </a:lnTo>
                <a:lnTo>
                  <a:pt x="6323" y="919"/>
                </a:lnTo>
                <a:lnTo>
                  <a:pt x="6338" y="911"/>
                </a:lnTo>
                <a:lnTo>
                  <a:pt x="6352" y="901"/>
                </a:lnTo>
                <a:lnTo>
                  <a:pt x="6366" y="891"/>
                </a:lnTo>
                <a:lnTo>
                  <a:pt x="6378" y="882"/>
                </a:lnTo>
                <a:lnTo>
                  <a:pt x="6391" y="871"/>
                </a:lnTo>
                <a:lnTo>
                  <a:pt x="6402" y="858"/>
                </a:lnTo>
                <a:lnTo>
                  <a:pt x="6413" y="846"/>
                </a:lnTo>
                <a:lnTo>
                  <a:pt x="6424" y="833"/>
                </a:lnTo>
                <a:lnTo>
                  <a:pt x="6434" y="818"/>
                </a:lnTo>
                <a:lnTo>
                  <a:pt x="6444" y="804"/>
                </a:lnTo>
                <a:lnTo>
                  <a:pt x="6452" y="789"/>
                </a:lnTo>
                <a:lnTo>
                  <a:pt x="6460" y="774"/>
                </a:lnTo>
                <a:lnTo>
                  <a:pt x="6465" y="765"/>
                </a:lnTo>
                <a:lnTo>
                  <a:pt x="6467" y="757"/>
                </a:lnTo>
                <a:lnTo>
                  <a:pt x="6474" y="739"/>
                </a:lnTo>
                <a:lnTo>
                  <a:pt x="6481" y="722"/>
                </a:lnTo>
                <a:lnTo>
                  <a:pt x="6485" y="703"/>
                </a:lnTo>
                <a:lnTo>
                  <a:pt x="6491" y="683"/>
                </a:lnTo>
                <a:lnTo>
                  <a:pt x="6494" y="664"/>
                </a:lnTo>
                <a:lnTo>
                  <a:pt x="6497" y="645"/>
                </a:lnTo>
                <a:lnTo>
                  <a:pt x="6499" y="622"/>
                </a:lnTo>
                <a:lnTo>
                  <a:pt x="6501" y="602"/>
                </a:lnTo>
                <a:lnTo>
                  <a:pt x="6501" y="579"/>
                </a:lnTo>
                <a:lnTo>
                  <a:pt x="6501" y="14"/>
                </a:lnTo>
                <a:lnTo>
                  <a:pt x="6367" y="14"/>
                </a:lnTo>
                <a:lnTo>
                  <a:pt x="6367" y="579"/>
                </a:lnTo>
                <a:lnTo>
                  <a:pt x="6366" y="610"/>
                </a:lnTo>
                <a:lnTo>
                  <a:pt x="6363" y="639"/>
                </a:lnTo>
                <a:lnTo>
                  <a:pt x="6362" y="652"/>
                </a:lnTo>
                <a:lnTo>
                  <a:pt x="6359" y="665"/>
                </a:lnTo>
                <a:lnTo>
                  <a:pt x="6353" y="690"/>
                </a:lnTo>
                <a:lnTo>
                  <a:pt x="6345" y="714"/>
                </a:lnTo>
                <a:lnTo>
                  <a:pt x="6341" y="725"/>
                </a:lnTo>
                <a:lnTo>
                  <a:pt x="6337" y="735"/>
                </a:lnTo>
                <a:lnTo>
                  <a:pt x="6331" y="744"/>
                </a:lnTo>
                <a:lnTo>
                  <a:pt x="6324" y="754"/>
                </a:lnTo>
                <a:lnTo>
                  <a:pt x="6318" y="764"/>
                </a:lnTo>
                <a:lnTo>
                  <a:pt x="6311" y="772"/>
                </a:lnTo>
                <a:lnTo>
                  <a:pt x="6305" y="781"/>
                </a:lnTo>
                <a:lnTo>
                  <a:pt x="6298" y="787"/>
                </a:lnTo>
                <a:lnTo>
                  <a:pt x="6289" y="794"/>
                </a:lnTo>
                <a:lnTo>
                  <a:pt x="6281" y="801"/>
                </a:lnTo>
                <a:lnTo>
                  <a:pt x="6273" y="807"/>
                </a:lnTo>
                <a:lnTo>
                  <a:pt x="6263" y="812"/>
                </a:lnTo>
                <a:lnTo>
                  <a:pt x="6254" y="818"/>
                </a:lnTo>
                <a:lnTo>
                  <a:pt x="6245" y="822"/>
                </a:lnTo>
                <a:lnTo>
                  <a:pt x="6234" y="826"/>
                </a:lnTo>
                <a:lnTo>
                  <a:pt x="6224" y="829"/>
                </a:lnTo>
                <a:lnTo>
                  <a:pt x="6213" y="832"/>
                </a:lnTo>
                <a:lnTo>
                  <a:pt x="6202" y="835"/>
                </a:lnTo>
                <a:lnTo>
                  <a:pt x="6189" y="836"/>
                </a:lnTo>
                <a:lnTo>
                  <a:pt x="6178" y="837"/>
                </a:lnTo>
                <a:lnTo>
                  <a:pt x="6165" y="839"/>
                </a:lnTo>
                <a:lnTo>
                  <a:pt x="6152" y="839"/>
                </a:lnTo>
                <a:lnTo>
                  <a:pt x="6126" y="837"/>
                </a:lnTo>
                <a:lnTo>
                  <a:pt x="6115" y="836"/>
                </a:lnTo>
                <a:lnTo>
                  <a:pt x="6103" y="835"/>
                </a:lnTo>
                <a:lnTo>
                  <a:pt x="6092" y="832"/>
                </a:lnTo>
                <a:lnTo>
                  <a:pt x="6081" y="829"/>
                </a:lnTo>
                <a:lnTo>
                  <a:pt x="6069" y="826"/>
                </a:lnTo>
                <a:lnTo>
                  <a:pt x="6060" y="822"/>
                </a:lnTo>
                <a:lnTo>
                  <a:pt x="6050" y="818"/>
                </a:lnTo>
                <a:lnTo>
                  <a:pt x="6040" y="812"/>
                </a:lnTo>
                <a:lnTo>
                  <a:pt x="6030" y="807"/>
                </a:lnTo>
                <a:lnTo>
                  <a:pt x="6022" y="801"/>
                </a:lnTo>
                <a:lnTo>
                  <a:pt x="6014" y="794"/>
                </a:lnTo>
                <a:lnTo>
                  <a:pt x="6005" y="787"/>
                </a:lnTo>
                <a:lnTo>
                  <a:pt x="5998" y="781"/>
                </a:lnTo>
                <a:lnTo>
                  <a:pt x="5990" y="772"/>
                </a:lnTo>
                <a:lnTo>
                  <a:pt x="5983" y="764"/>
                </a:lnTo>
                <a:lnTo>
                  <a:pt x="5978" y="754"/>
                </a:lnTo>
                <a:lnTo>
                  <a:pt x="5965" y="735"/>
                </a:lnTo>
                <a:lnTo>
                  <a:pt x="5961" y="725"/>
                </a:lnTo>
                <a:lnTo>
                  <a:pt x="5955" y="714"/>
                </a:lnTo>
                <a:lnTo>
                  <a:pt x="5951" y="703"/>
                </a:lnTo>
                <a:lnTo>
                  <a:pt x="5947" y="690"/>
                </a:lnTo>
                <a:lnTo>
                  <a:pt x="5944" y="678"/>
                </a:lnTo>
                <a:lnTo>
                  <a:pt x="5941" y="665"/>
                </a:lnTo>
                <a:lnTo>
                  <a:pt x="5937" y="639"/>
                </a:lnTo>
                <a:lnTo>
                  <a:pt x="5934" y="610"/>
                </a:lnTo>
                <a:lnTo>
                  <a:pt x="5933" y="595"/>
                </a:lnTo>
                <a:lnTo>
                  <a:pt x="5933" y="579"/>
                </a:lnTo>
                <a:lnTo>
                  <a:pt x="5933" y="14"/>
                </a:lnTo>
                <a:lnTo>
                  <a:pt x="5800" y="14"/>
                </a:lnTo>
                <a:lnTo>
                  <a:pt x="5800" y="579"/>
                </a:lnTo>
                <a:lnTo>
                  <a:pt x="5801" y="602"/>
                </a:lnTo>
                <a:lnTo>
                  <a:pt x="5801" y="622"/>
                </a:lnTo>
                <a:lnTo>
                  <a:pt x="5804" y="645"/>
                </a:lnTo>
                <a:lnTo>
                  <a:pt x="5807" y="664"/>
                </a:lnTo>
                <a:lnTo>
                  <a:pt x="5811" y="683"/>
                </a:lnTo>
                <a:lnTo>
                  <a:pt x="5815" y="703"/>
                </a:lnTo>
                <a:lnTo>
                  <a:pt x="5820" y="722"/>
                </a:lnTo>
                <a:lnTo>
                  <a:pt x="5823" y="731"/>
                </a:lnTo>
                <a:lnTo>
                  <a:pt x="5826" y="739"/>
                </a:lnTo>
                <a:lnTo>
                  <a:pt x="5833" y="757"/>
                </a:lnTo>
                <a:lnTo>
                  <a:pt x="5840" y="774"/>
                </a:lnTo>
                <a:lnTo>
                  <a:pt x="5848" y="789"/>
                </a:lnTo>
                <a:lnTo>
                  <a:pt x="5858" y="804"/>
                </a:lnTo>
                <a:lnTo>
                  <a:pt x="5866" y="818"/>
                </a:lnTo>
                <a:lnTo>
                  <a:pt x="5877" y="833"/>
                </a:lnTo>
                <a:lnTo>
                  <a:pt x="5887" y="846"/>
                </a:lnTo>
                <a:lnTo>
                  <a:pt x="5900" y="858"/>
                </a:lnTo>
                <a:lnTo>
                  <a:pt x="5911" y="871"/>
                </a:lnTo>
                <a:lnTo>
                  <a:pt x="5925" y="882"/>
                </a:lnTo>
                <a:lnTo>
                  <a:pt x="5937" y="891"/>
                </a:lnTo>
                <a:lnTo>
                  <a:pt x="5951" y="901"/>
                </a:lnTo>
                <a:lnTo>
                  <a:pt x="5965" y="911"/>
                </a:lnTo>
                <a:lnTo>
                  <a:pt x="5980" y="919"/>
                </a:lnTo>
                <a:lnTo>
                  <a:pt x="5987" y="922"/>
                </a:lnTo>
                <a:lnTo>
                  <a:pt x="5996" y="926"/>
                </a:lnTo>
                <a:lnTo>
                  <a:pt x="6011" y="933"/>
                </a:lnTo>
                <a:lnTo>
                  <a:pt x="6028" y="939"/>
                </a:lnTo>
                <a:lnTo>
                  <a:pt x="6044" y="944"/>
                </a:lnTo>
                <a:lnTo>
                  <a:pt x="6061" y="948"/>
                </a:lnTo>
                <a:lnTo>
                  <a:pt x="6079" y="952"/>
                </a:lnTo>
                <a:lnTo>
                  <a:pt x="6097" y="955"/>
                </a:lnTo>
                <a:lnTo>
                  <a:pt x="6115" y="957"/>
                </a:lnTo>
                <a:lnTo>
                  <a:pt x="6133" y="958"/>
                </a:lnTo>
                <a:lnTo>
                  <a:pt x="6152" y="958"/>
                </a:lnTo>
                <a:lnTo>
                  <a:pt x="6171" y="958"/>
                </a:lnTo>
                <a:lnTo>
                  <a:pt x="6189" y="957"/>
                </a:lnTo>
                <a:lnTo>
                  <a:pt x="6207" y="955"/>
                </a:lnTo>
                <a:lnTo>
                  <a:pt x="6225" y="952"/>
                </a:lnTo>
                <a:lnTo>
                  <a:pt x="6242" y="948"/>
                </a:lnTo>
                <a:lnTo>
                  <a:pt x="6260" y="944"/>
                </a:lnTo>
                <a:lnTo>
                  <a:pt x="6277" y="939"/>
                </a:lnTo>
                <a:lnTo>
                  <a:pt x="6292" y="933"/>
                </a:lnTo>
                <a:close/>
                <a:moveTo>
                  <a:pt x="7010" y="133"/>
                </a:moveTo>
                <a:lnTo>
                  <a:pt x="7027" y="134"/>
                </a:lnTo>
                <a:lnTo>
                  <a:pt x="7042" y="134"/>
                </a:lnTo>
                <a:lnTo>
                  <a:pt x="7072" y="139"/>
                </a:lnTo>
                <a:lnTo>
                  <a:pt x="7088" y="143"/>
                </a:lnTo>
                <a:lnTo>
                  <a:pt x="7103" y="145"/>
                </a:lnTo>
                <a:lnTo>
                  <a:pt x="7118" y="151"/>
                </a:lnTo>
                <a:lnTo>
                  <a:pt x="7134" y="155"/>
                </a:lnTo>
                <a:lnTo>
                  <a:pt x="7148" y="161"/>
                </a:lnTo>
                <a:lnTo>
                  <a:pt x="7163" y="168"/>
                </a:lnTo>
                <a:lnTo>
                  <a:pt x="7177" y="175"/>
                </a:lnTo>
                <a:lnTo>
                  <a:pt x="7191" y="183"/>
                </a:lnTo>
                <a:lnTo>
                  <a:pt x="7203" y="191"/>
                </a:lnTo>
                <a:lnTo>
                  <a:pt x="7216" y="201"/>
                </a:lnTo>
                <a:lnTo>
                  <a:pt x="7228" y="211"/>
                </a:lnTo>
                <a:lnTo>
                  <a:pt x="7241" y="222"/>
                </a:lnTo>
                <a:lnTo>
                  <a:pt x="7252" y="233"/>
                </a:lnTo>
                <a:lnTo>
                  <a:pt x="7263" y="244"/>
                </a:lnTo>
                <a:lnTo>
                  <a:pt x="7274" y="258"/>
                </a:lnTo>
                <a:lnTo>
                  <a:pt x="7284" y="270"/>
                </a:lnTo>
                <a:lnTo>
                  <a:pt x="7292" y="284"/>
                </a:lnTo>
                <a:lnTo>
                  <a:pt x="7301" y="299"/>
                </a:lnTo>
                <a:lnTo>
                  <a:pt x="7309" y="313"/>
                </a:lnTo>
                <a:lnTo>
                  <a:pt x="7313" y="322"/>
                </a:lnTo>
                <a:lnTo>
                  <a:pt x="7317" y="330"/>
                </a:lnTo>
                <a:lnTo>
                  <a:pt x="7323" y="346"/>
                </a:lnTo>
                <a:lnTo>
                  <a:pt x="7330" y="363"/>
                </a:lnTo>
                <a:lnTo>
                  <a:pt x="7334" y="381"/>
                </a:lnTo>
                <a:lnTo>
                  <a:pt x="7338" y="399"/>
                </a:lnTo>
                <a:lnTo>
                  <a:pt x="7341" y="419"/>
                </a:lnTo>
                <a:lnTo>
                  <a:pt x="7344" y="438"/>
                </a:lnTo>
                <a:lnTo>
                  <a:pt x="7345" y="459"/>
                </a:lnTo>
                <a:lnTo>
                  <a:pt x="7345" y="480"/>
                </a:lnTo>
                <a:lnTo>
                  <a:pt x="7345" y="500"/>
                </a:lnTo>
                <a:lnTo>
                  <a:pt x="7344" y="521"/>
                </a:lnTo>
                <a:lnTo>
                  <a:pt x="7341" y="541"/>
                </a:lnTo>
                <a:lnTo>
                  <a:pt x="7338" y="559"/>
                </a:lnTo>
                <a:lnTo>
                  <a:pt x="7337" y="568"/>
                </a:lnTo>
                <a:lnTo>
                  <a:pt x="7334" y="578"/>
                </a:lnTo>
                <a:lnTo>
                  <a:pt x="7330" y="596"/>
                </a:lnTo>
                <a:lnTo>
                  <a:pt x="7323" y="613"/>
                </a:lnTo>
                <a:lnTo>
                  <a:pt x="7317" y="629"/>
                </a:lnTo>
                <a:lnTo>
                  <a:pt x="7309" y="645"/>
                </a:lnTo>
                <a:lnTo>
                  <a:pt x="7301" y="660"/>
                </a:lnTo>
                <a:lnTo>
                  <a:pt x="7292" y="675"/>
                </a:lnTo>
                <a:lnTo>
                  <a:pt x="7284" y="689"/>
                </a:lnTo>
                <a:lnTo>
                  <a:pt x="7274" y="701"/>
                </a:lnTo>
                <a:lnTo>
                  <a:pt x="7263" y="714"/>
                </a:lnTo>
                <a:lnTo>
                  <a:pt x="7252" y="726"/>
                </a:lnTo>
                <a:lnTo>
                  <a:pt x="7241" y="738"/>
                </a:lnTo>
                <a:lnTo>
                  <a:pt x="7228" y="749"/>
                </a:lnTo>
                <a:lnTo>
                  <a:pt x="7216" y="758"/>
                </a:lnTo>
                <a:lnTo>
                  <a:pt x="7203" y="767"/>
                </a:lnTo>
                <a:lnTo>
                  <a:pt x="7191" y="776"/>
                </a:lnTo>
                <a:lnTo>
                  <a:pt x="7177" y="783"/>
                </a:lnTo>
                <a:lnTo>
                  <a:pt x="7163" y="790"/>
                </a:lnTo>
                <a:lnTo>
                  <a:pt x="7148" y="797"/>
                </a:lnTo>
                <a:lnTo>
                  <a:pt x="7134" y="803"/>
                </a:lnTo>
                <a:lnTo>
                  <a:pt x="7118" y="808"/>
                </a:lnTo>
                <a:lnTo>
                  <a:pt x="7103" y="812"/>
                </a:lnTo>
                <a:lnTo>
                  <a:pt x="7088" y="817"/>
                </a:lnTo>
                <a:lnTo>
                  <a:pt x="7072" y="819"/>
                </a:lnTo>
                <a:lnTo>
                  <a:pt x="7057" y="822"/>
                </a:lnTo>
                <a:lnTo>
                  <a:pt x="7042" y="823"/>
                </a:lnTo>
                <a:lnTo>
                  <a:pt x="7027" y="825"/>
                </a:lnTo>
                <a:lnTo>
                  <a:pt x="7010" y="825"/>
                </a:lnTo>
                <a:lnTo>
                  <a:pt x="6858" y="825"/>
                </a:lnTo>
                <a:lnTo>
                  <a:pt x="6858" y="133"/>
                </a:lnTo>
                <a:lnTo>
                  <a:pt x="7010" y="133"/>
                </a:lnTo>
                <a:close/>
                <a:moveTo>
                  <a:pt x="7010" y="946"/>
                </a:moveTo>
                <a:lnTo>
                  <a:pt x="7033" y="944"/>
                </a:lnTo>
                <a:lnTo>
                  <a:pt x="7056" y="943"/>
                </a:lnTo>
                <a:lnTo>
                  <a:pt x="7078" y="940"/>
                </a:lnTo>
                <a:lnTo>
                  <a:pt x="7100" y="937"/>
                </a:lnTo>
                <a:lnTo>
                  <a:pt x="7121" y="933"/>
                </a:lnTo>
                <a:lnTo>
                  <a:pt x="7143" y="927"/>
                </a:lnTo>
                <a:lnTo>
                  <a:pt x="7164" y="921"/>
                </a:lnTo>
                <a:lnTo>
                  <a:pt x="7186" y="914"/>
                </a:lnTo>
                <a:lnTo>
                  <a:pt x="7207" y="905"/>
                </a:lnTo>
                <a:lnTo>
                  <a:pt x="7227" y="896"/>
                </a:lnTo>
                <a:lnTo>
                  <a:pt x="7246" y="886"/>
                </a:lnTo>
                <a:lnTo>
                  <a:pt x="7266" y="875"/>
                </a:lnTo>
                <a:lnTo>
                  <a:pt x="7284" y="864"/>
                </a:lnTo>
                <a:lnTo>
                  <a:pt x="7302" y="851"/>
                </a:lnTo>
                <a:lnTo>
                  <a:pt x="7319" y="837"/>
                </a:lnTo>
                <a:lnTo>
                  <a:pt x="7327" y="830"/>
                </a:lnTo>
                <a:lnTo>
                  <a:pt x="7335" y="822"/>
                </a:lnTo>
                <a:lnTo>
                  <a:pt x="7344" y="815"/>
                </a:lnTo>
                <a:lnTo>
                  <a:pt x="7351" y="807"/>
                </a:lnTo>
                <a:lnTo>
                  <a:pt x="7366" y="792"/>
                </a:lnTo>
                <a:lnTo>
                  <a:pt x="7380" y="774"/>
                </a:lnTo>
                <a:lnTo>
                  <a:pt x="7394" y="756"/>
                </a:lnTo>
                <a:lnTo>
                  <a:pt x="7406" y="738"/>
                </a:lnTo>
                <a:lnTo>
                  <a:pt x="7419" y="718"/>
                </a:lnTo>
                <a:lnTo>
                  <a:pt x="7430" y="697"/>
                </a:lnTo>
                <a:lnTo>
                  <a:pt x="7440" y="677"/>
                </a:lnTo>
                <a:lnTo>
                  <a:pt x="7449" y="654"/>
                </a:lnTo>
                <a:lnTo>
                  <a:pt x="7456" y="632"/>
                </a:lnTo>
                <a:lnTo>
                  <a:pt x="7461" y="620"/>
                </a:lnTo>
                <a:lnTo>
                  <a:pt x="7463" y="609"/>
                </a:lnTo>
                <a:lnTo>
                  <a:pt x="7469" y="584"/>
                </a:lnTo>
                <a:lnTo>
                  <a:pt x="7473" y="559"/>
                </a:lnTo>
                <a:lnTo>
                  <a:pt x="7474" y="546"/>
                </a:lnTo>
                <a:lnTo>
                  <a:pt x="7476" y="534"/>
                </a:lnTo>
                <a:lnTo>
                  <a:pt x="7479" y="506"/>
                </a:lnTo>
                <a:lnTo>
                  <a:pt x="7479" y="480"/>
                </a:lnTo>
                <a:lnTo>
                  <a:pt x="7479" y="452"/>
                </a:lnTo>
                <a:lnTo>
                  <a:pt x="7476" y="426"/>
                </a:lnTo>
                <a:lnTo>
                  <a:pt x="7474" y="413"/>
                </a:lnTo>
                <a:lnTo>
                  <a:pt x="7473" y="401"/>
                </a:lnTo>
                <a:lnTo>
                  <a:pt x="7469" y="376"/>
                </a:lnTo>
                <a:lnTo>
                  <a:pt x="7463" y="351"/>
                </a:lnTo>
                <a:lnTo>
                  <a:pt x="7456" y="327"/>
                </a:lnTo>
                <a:lnTo>
                  <a:pt x="7449" y="305"/>
                </a:lnTo>
                <a:lnTo>
                  <a:pt x="7444" y="294"/>
                </a:lnTo>
                <a:lnTo>
                  <a:pt x="7440" y="283"/>
                </a:lnTo>
                <a:lnTo>
                  <a:pt x="7430" y="262"/>
                </a:lnTo>
                <a:lnTo>
                  <a:pt x="7419" y="241"/>
                </a:lnTo>
                <a:lnTo>
                  <a:pt x="7406" y="222"/>
                </a:lnTo>
                <a:lnTo>
                  <a:pt x="7394" y="202"/>
                </a:lnTo>
                <a:lnTo>
                  <a:pt x="7387" y="194"/>
                </a:lnTo>
                <a:lnTo>
                  <a:pt x="7380" y="184"/>
                </a:lnTo>
                <a:lnTo>
                  <a:pt x="7366" y="168"/>
                </a:lnTo>
                <a:lnTo>
                  <a:pt x="7351" y="151"/>
                </a:lnTo>
                <a:lnTo>
                  <a:pt x="7335" y="136"/>
                </a:lnTo>
                <a:lnTo>
                  <a:pt x="7319" y="122"/>
                </a:lnTo>
                <a:lnTo>
                  <a:pt x="7302" y="108"/>
                </a:lnTo>
                <a:lnTo>
                  <a:pt x="7284" y="96"/>
                </a:lnTo>
                <a:lnTo>
                  <a:pt x="7266" y="83"/>
                </a:lnTo>
                <a:lnTo>
                  <a:pt x="7246" y="72"/>
                </a:lnTo>
                <a:lnTo>
                  <a:pt x="7227" y="62"/>
                </a:lnTo>
                <a:lnTo>
                  <a:pt x="7207" y="54"/>
                </a:lnTo>
                <a:lnTo>
                  <a:pt x="7186" y="46"/>
                </a:lnTo>
                <a:lnTo>
                  <a:pt x="7164" y="37"/>
                </a:lnTo>
                <a:lnTo>
                  <a:pt x="7154" y="35"/>
                </a:lnTo>
                <a:lnTo>
                  <a:pt x="7143" y="32"/>
                </a:lnTo>
                <a:lnTo>
                  <a:pt x="7121" y="26"/>
                </a:lnTo>
                <a:lnTo>
                  <a:pt x="7100" y="22"/>
                </a:lnTo>
                <a:lnTo>
                  <a:pt x="7078" y="18"/>
                </a:lnTo>
                <a:lnTo>
                  <a:pt x="7056" y="15"/>
                </a:lnTo>
                <a:lnTo>
                  <a:pt x="7033" y="14"/>
                </a:lnTo>
                <a:lnTo>
                  <a:pt x="7010" y="14"/>
                </a:lnTo>
                <a:lnTo>
                  <a:pt x="6725" y="14"/>
                </a:lnTo>
                <a:lnTo>
                  <a:pt x="6725" y="946"/>
                </a:lnTo>
                <a:lnTo>
                  <a:pt x="7010" y="946"/>
                </a:lnTo>
                <a:close/>
                <a:moveTo>
                  <a:pt x="7810" y="946"/>
                </a:moveTo>
                <a:lnTo>
                  <a:pt x="7810" y="14"/>
                </a:lnTo>
                <a:lnTo>
                  <a:pt x="7676" y="14"/>
                </a:lnTo>
                <a:lnTo>
                  <a:pt x="7676" y="946"/>
                </a:lnTo>
                <a:lnTo>
                  <a:pt x="7810" y="946"/>
                </a:lnTo>
                <a:close/>
                <a:moveTo>
                  <a:pt x="8329" y="811"/>
                </a:moveTo>
                <a:lnTo>
                  <a:pt x="8315" y="804"/>
                </a:lnTo>
                <a:lnTo>
                  <a:pt x="8302" y="796"/>
                </a:lnTo>
                <a:lnTo>
                  <a:pt x="8290" y="787"/>
                </a:lnTo>
                <a:lnTo>
                  <a:pt x="8277" y="779"/>
                </a:lnTo>
                <a:lnTo>
                  <a:pt x="8265" y="769"/>
                </a:lnTo>
                <a:lnTo>
                  <a:pt x="8253" y="758"/>
                </a:lnTo>
                <a:lnTo>
                  <a:pt x="8242" y="747"/>
                </a:lnTo>
                <a:lnTo>
                  <a:pt x="8233" y="736"/>
                </a:lnTo>
                <a:lnTo>
                  <a:pt x="8221" y="724"/>
                </a:lnTo>
                <a:lnTo>
                  <a:pt x="8217" y="718"/>
                </a:lnTo>
                <a:lnTo>
                  <a:pt x="8212" y="711"/>
                </a:lnTo>
                <a:lnTo>
                  <a:pt x="8203" y="697"/>
                </a:lnTo>
                <a:lnTo>
                  <a:pt x="8195" y="683"/>
                </a:lnTo>
                <a:lnTo>
                  <a:pt x="8187" y="670"/>
                </a:lnTo>
                <a:lnTo>
                  <a:pt x="8180" y="654"/>
                </a:lnTo>
                <a:lnTo>
                  <a:pt x="8173" y="639"/>
                </a:lnTo>
                <a:lnTo>
                  <a:pt x="8166" y="622"/>
                </a:lnTo>
                <a:lnTo>
                  <a:pt x="8160" y="606"/>
                </a:lnTo>
                <a:lnTo>
                  <a:pt x="8155" y="589"/>
                </a:lnTo>
                <a:lnTo>
                  <a:pt x="8151" y="571"/>
                </a:lnTo>
                <a:lnTo>
                  <a:pt x="8148" y="553"/>
                </a:lnTo>
                <a:lnTo>
                  <a:pt x="8145" y="535"/>
                </a:lnTo>
                <a:lnTo>
                  <a:pt x="8142" y="517"/>
                </a:lnTo>
                <a:lnTo>
                  <a:pt x="8142" y="499"/>
                </a:lnTo>
                <a:lnTo>
                  <a:pt x="8141" y="480"/>
                </a:lnTo>
                <a:lnTo>
                  <a:pt x="8142" y="460"/>
                </a:lnTo>
                <a:lnTo>
                  <a:pt x="8142" y="441"/>
                </a:lnTo>
                <a:lnTo>
                  <a:pt x="8144" y="432"/>
                </a:lnTo>
                <a:lnTo>
                  <a:pt x="8145" y="423"/>
                </a:lnTo>
                <a:lnTo>
                  <a:pt x="8148" y="405"/>
                </a:lnTo>
                <a:lnTo>
                  <a:pt x="8151" y="387"/>
                </a:lnTo>
                <a:lnTo>
                  <a:pt x="8155" y="370"/>
                </a:lnTo>
                <a:lnTo>
                  <a:pt x="8160" y="353"/>
                </a:lnTo>
                <a:lnTo>
                  <a:pt x="8166" y="337"/>
                </a:lnTo>
                <a:lnTo>
                  <a:pt x="8173" y="320"/>
                </a:lnTo>
                <a:lnTo>
                  <a:pt x="8180" y="305"/>
                </a:lnTo>
                <a:lnTo>
                  <a:pt x="8195" y="274"/>
                </a:lnTo>
                <a:lnTo>
                  <a:pt x="8212" y="248"/>
                </a:lnTo>
                <a:lnTo>
                  <a:pt x="8221" y="234"/>
                </a:lnTo>
                <a:lnTo>
                  <a:pt x="8233" y="223"/>
                </a:lnTo>
                <a:lnTo>
                  <a:pt x="8242" y="211"/>
                </a:lnTo>
                <a:lnTo>
                  <a:pt x="8253" y="200"/>
                </a:lnTo>
                <a:lnTo>
                  <a:pt x="8265" y="190"/>
                </a:lnTo>
                <a:lnTo>
                  <a:pt x="8277" y="180"/>
                </a:lnTo>
                <a:lnTo>
                  <a:pt x="8290" y="170"/>
                </a:lnTo>
                <a:lnTo>
                  <a:pt x="8295" y="166"/>
                </a:lnTo>
                <a:lnTo>
                  <a:pt x="8302" y="162"/>
                </a:lnTo>
                <a:lnTo>
                  <a:pt x="8315" y="155"/>
                </a:lnTo>
                <a:lnTo>
                  <a:pt x="8329" y="147"/>
                </a:lnTo>
                <a:lnTo>
                  <a:pt x="8343" y="141"/>
                </a:lnTo>
                <a:lnTo>
                  <a:pt x="8356" y="136"/>
                </a:lnTo>
                <a:lnTo>
                  <a:pt x="8372" y="130"/>
                </a:lnTo>
                <a:lnTo>
                  <a:pt x="8386" y="127"/>
                </a:lnTo>
                <a:lnTo>
                  <a:pt x="8401" y="125"/>
                </a:lnTo>
                <a:lnTo>
                  <a:pt x="8416" y="122"/>
                </a:lnTo>
                <a:lnTo>
                  <a:pt x="8432" y="120"/>
                </a:lnTo>
                <a:lnTo>
                  <a:pt x="8447" y="120"/>
                </a:lnTo>
                <a:lnTo>
                  <a:pt x="8462" y="120"/>
                </a:lnTo>
                <a:lnTo>
                  <a:pt x="8477" y="122"/>
                </a:lnTo>
                <a:lnTo>
                  <a:pt x="8493" y="125"/>
                </a:lnTo>
                <a:lnTo>
                  <a:pt x="8508" y="127"/>
                </a:lnTo>
                <a:lnTo>
                  <a:pt x="8523" y="130"/>
                </a:lnTo>
                <a:lnTo>
                  <a:pt x="8537" y="136"/>
                </a:lnTo>
                <a:lnTo>
                  <a:pt x="8551" y="141"/>
                </a:lnTo>
                <a:lnTo>
                  <a:pt x="8565" y="147"/>
                </a:lnTo>
                <a:lnTo>
                  <a:pt x="8579" y="155"/>
                </a:lnTo>
                <a:lnTo>
                  <a:pt x="8593" y="162"/>
                </a:lnTo>
                <a:lnTo>
                  <a:pt x="8605" y="170"/>
                </a:lnTo>
                <a:lnTo>
                  <a:pt x="8618" y="180"/>
                </a:lnTo>
                <a:lnTo>
                  <a:pt x="8630" y="190"/>
                </a:lnTo>
                <a:lnTo>
                  <a:pt x="8642" y="200"/>
                </a:lnTo>
                <a:lnTo>
                  <a:pt x="8653" y="211"/>
                </a:lnTo>
                <a:lnTo>
                  <a:pt x="8664" y="223"/>
                </a:lnTo>
                <a:lnTo>
                  <a:pt x="8674" y="234"/>
                </a:lnTo>
                <a:lnTo>
                  <a:pt x="8683" y="248"/>
                </a:lnTo>
                <a:lnTo>
                  <a:pt x="8693" y="261"/>
                </a:lnTo>
                <a:lnTo>
                  <a:pt x="8701" y="274"/>
                </a:lnTo>
                <a:lnTo>
                  <a:pt x="8710" y="290"/>
                </a:lnTo>
                <a:lnTo>
                  <a:pt x="8717" y="305"/>
                </a:lnTo>
                <a:lnTo>
                  <a:pt x="8724" y="320"/>
                </a:lnTo>
                <a:lnTo>
                  <a:pt x="8731" y="337"/>
                </a:lnTo>
                <a:lnTo>
                  <a:pt x="8736" y="353"/>
                </a:lnTo>
                <a:lnTo>
                  <a:pt x="8742" y="370"/>
                </a:lnTo>
                <a:lnTo>
                  <a:pt x="8746" y="387"/>
                </a:lnTo>
                <a:lnTo>
                  <a:pt x="8749" y="405"/>
                </a:lnTo>
                <a:lnTo>
                  <a:pt x="8751" y="423"/>
                </a:lnTo>
                <a:lnTo>
                  <a:pt x="8754" y="441"/>
                </a:lnTo>
                <a:lnTo>
                  <a:pt x="8754" y="460"/>
                </a:lnTo>
                <a:lnTo>
                  <a:pt x="8756" y="480"/>
                </a:lnTo>
                <a:lnTo>
                  <a:pt x="8754" y="499"/>
                </a:lnTo>
                <a:lnTo>
                  <a:pt x="8754" y="517"/>
                </a:lnTo>
                <a:lnTo>
                  <a:pt x="8753" y="527"/>
                </a:lnTo>
                <a:lnTo>
                  <a:pt x="8751" y="535"/>
                </a:lnTo>
                <a:lnTo>
                  <a:pt x="8749" y="553"/>
                </a:lnTo>
                <a:lnTo>
                  <a:pt x="8746" y="571"/>
                </a:lnTo>
                <a:lnTo>
                  <a:pt x="8742" y="589"/>
                </a:lnTo>
                <a:lnTo>
                  <a:pt x="8736" y="606"/>
                </a:lnTo>
                <a:lnTo>
                  <a:pt x="8731" y="622"/>
                </a:lnTo>
                <a:lnTo>
                  <a:pt x="8724" y="639"/>
                </a:lnTo>
                <a:lnTo>
                  <a:pt x="8717" y="654"/>
                </a:lnTo>
                <a:lnTo>
                  <a:pt x="8710" y="670"/>
                </a:lnTo>
                <a:lnTo>
                  <a:pt x="8701" y="683"/>
                </a:lnTo>
                <a:lnTo>
                  <a:pt x="8693" y="697"/>
                </a:lnTo>
                <a:lnTo>
                  <a:pt x="8683" y="711"/>
                </a:lnTo>
                <a:lnTo>
                  <a:pt x="8674" y="724"/>
                </a:lnTo>
                <a:lnTo>
                  <a:pt x="8664" y="736"/>
                </a:lnTo>
                <a:lnTo>
                  <a:pt x="8653" y="747"/>
                </a:lnTo>
                <a:lnTo>
                  <a:pt x="8642" y="758"/>
                </a:lnTo>
                <a:lnTo>
                  <a:pt x="8630" y="769"/>
                </a:lnTo>
                <a:lnTo>
                  <a:pt x="8618" y="779"/>
                </a:lnTo>
                <a:lnTo>
                  <a:pt x="8605" y="787"/>
                </a:lnTo>
                <a:lnTo>
                  <a:pt x="8593" y="796"/>
                </a:lnTo>
                <a:lnTo>
                  <a:pt x="8579" y="804"/>
                </a:lnTo>
                <a:lnTo>
                  <a:pt x="8565" y="811"/>
                </a:lnTo>
                <a:lnTo>
                  <a:pt x="8558" y="815"/>
                </a:lnTo>
                <a:lnTo>
                  <a:pt x="8551" y="818"/>
                </a:lnTo>
                <a:lnTo>
                  <a:pt x="8537" y="823"/>
                </a:lnTo>
                <a:lnTo>
                  <a:pt x="8523" y="828"/>
                </a:lnTo>
                <a:lnTo>
                  <a:pt x="8508" y="832"/>
                </a:lnTo>
                <a:lnTo>
                  <a:pt x="8493" y="835"/>
                </a:lnTo>
                <a:lnTo>
                  <a:pt x="8477" y="837"/>
                </a:lnTo>
                <a:lnTo>
                  <a:pt x="8462" y="837"/>
                </a:lnTo>
                <a:lnTo>
                  <a:pt x="8447" y="839"/>
                </a:lnTo>
                <a:lnTo>
                  <a:pt x="8432" y="837"/>
                </a:lnTo>
                <a:lnTo>
                  <a:pt x="8416" y="837"/>
                </a:lnTo>
                <a:lnTo>
                  <a:pt x="8401" y="835"/>
                </a:lnTo>
                <a:lnTo>
                  <a:pt x="8386" y="832"/>
                </a:lnTo>
                <a:lnTo>
                  <a:pt x="8372" y="828"/>
                </a:lnTo>
                <a:lnTo>
                  <a:pt x="8356" y="823"/>
                </a:lnTo>
                <a:lnTo>
                  <a:pt x="8343" y="818"/>
                </a:lnTo>
                <a:lnTo>
                  <a:pt x="8329" y="811"/>
                </a:lnTo>
                <a:close/>
                <a:moveTo>
                  <a:pt x="8618" y="922"/>
                </a:moveTo>
                <a:lnTo>
                  <a:pt x="8637" y="912"/>
                </a:lnTo>
                <a:lnTo>
                  <a:pt x="8657" y="901"/>
                </a:lnTo>
                <a:lnTo>
                  <a:pt x="8665" y="896"/>
                </a:lnTo>
                <a:lnTo>
                  <a:pt x="8675" y="890"/>
                </a:lnTo>
                <a:lnTo>
                  <a:pt x="8693" y="878"/>
                </a:lnTo>
                <a:lnTo>
                  <a:pt x="8710" y="865"/>
                </a:lnTo>
                <a:lnTo>
                  <a:pt x="8726" y="851"/>
                </a:lnTo>
                <a:lnTo>
                  <a:pt x="8743" y="837"/>
                </a:lnTo>
                <a:lnTo>
                  <a:pt x="8750" y="829"/>
                </a:lnTo>
                <a:lnTo>
                  <a:pt x="8758" y="821"/>
                </a:lnTo>
                <a:lnTo>
                  <a:pt x="8772" y="805"/>
                </a:lnTo>
                <a:lnTo>
                  <a:pt x="8786" y="787"/>
                </a:lnTo>
                <a:lnTo>
                  <a:pt x="8799" y="769"/>
                </a:lnTo>
                <a:lnTo>
                  <a:pt x="8811" y="751"/>
                </a:lnTo>
                <a:lnTo>
                  <a:pt x="8824" y="732"/>
                </a:lnTo>
                <a:lnTo>
                  <a:pt x="8834" y="713"/>
                </a:lnTo>
                <a:lnTo>
                  <a:pt x="8843" y="692"/>
                </a:lnTo>
                <a:lnTo>
                  <a:pt x="8853" y="670"/>
                </a:lnTo>
                <a:lnTo>
                  <a:pt x="8861" y="647"/>
                </a:lnTo>
                <a:lnTo>
                  <a:pt x="8868" y="625"/>
                </a:lnTo>
                <a:lnTo>
                  <a:pt x="8875" y="602"/>
                </a:lnTo>
                <a:lnTo>
                  <a:pt x="8879" y="578"/>
                </a:lnTo>
                <a:lnTo>
                  <a:pt x="8884" y="554"/>
                </a:lnTo>
                <a:lnTo>
                  <a:pt x="8886" y="530"/>
                </a:lnTo>
                <a:lnTo>
                  <a:pt x="8888" y="505"/>
                </a:lnTo>
                <a:lnTo>
                  <a:pt x="8889" y="480"/>
                </a:lnTo>
                <a:lnTo>
                  <a:pt x="8888" y="453"/>
                </a:lnTo>
                <a:lnTo>
                  <a:pt x="8886" y="430"/>
                </a:lnTo>
                <a:lnTo>
                  <a:pt x="8884" y="405"/>
                </a:lnTo>
                <a:lnTo>
                  <a:pt x="8879" y="381"/>
                </a:lnTo>
                <a:lnTo>
                  <a:pt x="8875" y="358"/>
                </a:lnTo>
                <a:lnTo>
                  <a:pt x="8868" y="334"/>
                </a:lnTo>
                <a:lnTo>
                  <a:pt x="8866" y="323"/>
                </a:lnTo>
                <a:lnTo>
                  <a:pt x="8861" y="312"/>
                </a:lnTo>
                <a:lnTo>
                  <a:pt x="8857" y="301"/>
                </a:lnTo>
                <a:lnTo>
                  <a:pt x="8853" y="290"/>
                </a:lnTo>
                <a:lnTo>
                  <a:pt x="8849" y="279"/>
                </a:lnTo>
                <a:lnTo>
                  <a:pt x="8843" y="267"/>
                </a:lnTo>
                <a:lnTo>
                  <a:pt x="8834" y="247"/>
                </a:lnTo>
                <a:lnTo>
                  <a:pt x="8824" y="227"/>
                </a:lnTo>
                <a:lnTo>
                  <a:pt x="8811" y="208"/>
                </a:lnTo>
                <a:lnTo>
                  <a:pt x="8799" y="188"/>
                </a:lnTo>
                <a:lnTo>
                  <a:pt x="8793" y="180"/>
                </a:lnTo>
                <a:lnTo>
                  <a:pt x="8786" y="170"/>
                </a:lnTo>
                <a:lnTo>
                  <a:pt x="8772" y="154"/>
                </a:lnTo>
                <a:lnTo>
                  <a:pt x="8758" y="137"/>
                </a:lnTo>
                <a:lnTo>
                  <a:pt x="8743" y="122"/>
                </a:lnTo>
                <a:lnTo>
                  <a:pt x="8735" y="115"/>
                </a:lnTo>
                <a:lnTo>
                  <a:pt x="8726" y="107"/>
                </a:lnTo>
                <a:lnTo>
                  <a:pt x="8710" y="94"/>
                </a:lnTo>
                <a:lnTo>
                  <a:pt x="8693" y="80"/>
                </a:lnTo>
                <a:lnTo>
                  <a:pt x="8675" y="68"/>
                </a:lnTo>
                <a:lnTo>
                  <a:pt x="8657" y="57"/>
                </a:lnTo>
                <a:lnTo>
                  <a:pt x="8637" y="47"/>
                </a:lnTo>
                <a:lnTo>
                  <a:pt x="8618" y="37"/>
                </a:lnTo>
                <a:lnTo>
                  <a:pt x="8597" y="29"/>
                </a:lnTo>
                <a:lnTo>
                  <a:pt x="8578" y="21"/>
                </a:lnTo>
                <a:lnTo>
                  <a:pt x="8557" y="15"/>
                </a:lnTo>
                <a:lnTo>
                  <a:pt x="8534" y="10"/>
                </a:lnTo>
                <a:lnTo>
                  <a:pt x="8514" y="5"/>
                </a:lnTo>
                <a:lnTo>
                  <a:pt x="8491" y="3"/>
                </a:lnTo>
                <a:lnTo>
                  <a:pt x="8469" y="1"/>
                </a:lnTo>
                <a:lnTo>
                  <a:pt x="8447" y="0"/>
                </a:lnTo>
                <a:lnTo>
                  <a:pt x="8425" y="1"/>
                </a:lnTo>
                <a:lnTo>
                  <a:pt x="8402" y="3"/>
                </a:lnTo>
                <a:lnTo>
                  <a:pt x="8380" y="5"/>
                </a:lnTo>
                <a:lnTo>
                  <a:pt x="8359" y="10"/>
                </a:lnTo>
                <a:lnTo>
                  <a:pt x="8337" y="15"/>
                </a:lnTo>
                <a:lnTo>
                  <a:pt x="8316" y="21"/>
                </a:lnTo>
                <a:lnTo>
                  <a:pt x="8297" y="29"/>
                </a:lnTo>
                <a:lnTo>
                  <a:pt x="8276" y="37"/>
                </a:lnTo>
                <a:lnTo>
                  <a:pt x="8256" y="47"/>
                </a:lnTo>
                <a:lnTo>
                  <a:pt x="8237" y="57"/>
                </a:lnTo>
                <a:lnTo>
                  <a:pt x="8228" y="62"/>
                </a:lnTo>
                <a:lnTo>
                  <a:pt x="8219" y="68"/>
                </a:lnTo>
                <a:lnTo>
                  <a:pt x="8201" y="80"/>
                </a:lnTo>
                <a:lnTo>
                  <a:pt x="8184" y="94"/>
                </a:lnTo>
                <a:lnTo>
                  <a:pt x="8167" y="107"/>
                </a:lnTo>
                <a:lnTo>
                  <a:pt x="8152" y="122"/>
                </a:lnTo>
                <a:lnTo>
                  <a:pt x="8137" y="137"/>
                </a:lnTo>
                <a:lnTo>
                  <a:pt x="8123" y="154"/>
                </a:lnTo>
                <a:lnTo>
                  <a:pt x="8116" y="162"/>
                </a:lnTo>
                <a:lnTo>
                  <a:pt x="8109" y="170"/>
                </a:lnTo>
                <a:lnTo>
                  <a:pt x="8095" y="188"/>
                </a:lnTo>
                <a:lnTo>
                  <a:pt x="8084" y="208"/>
                </a:lnTo>
                <a:lnTo>
                  <a:pt x="8073" y="227"/>
                </a:lnTo>
                <a:lnTo>
                  <a:pt x="8067" y="237"/>
                </a:lnTo>
                <a:lnTo>
                  <a:pt x="8062" y="247"/>
                </a:lnTo>
                <a:lnTo>
                  <a:pt x="8052" y="267"/>
                </a:lnTo>
                <a:lnTo>
                  <a:pt x="8042" y="290"/>
                </a:lnTo>
                <a:lnTo>
                  <a:pt x="8035" y="312"/>
                </a:lnTo>
                <a:lnTo>
                  <a:pt x="8027" y="334"/>
                </a:lnTo>
                <a:lnTo>
                  <a:pt x="8021" y="358"/>
                </a:lnTo>
                <a:lnTo>
                  <a:pt x="8017" y="381"/>
                </a:lnTo>
                <a:lnTo>
                  <a:pt x="8013" y="405"/>
                </a:lnTo>
                <a:lnTo>
                  <a:pt x="8010" y="430"/>
                </a:lnTo>
                <a:lnTo>
                  <a:pt x="8009" y="453"/>
                </a:lnTo>
                <a:lnTo>
                  <a:pt x="8007" y="480"/>
                </a:lnTo>
                <a:lnTo>
                  <a:pt x="8009" y="505"/>
                </a:lnTo>
                <a:lnTo>
                  <a:pt x="8010" y="530"/>
                </a:lnTo>
                <a:lnTo>
                  <a:pt x="8013" y="554"/>
                </a:lnTo>
                <a:lnTo>
                  <a:pt x="8017" y="578"/>
                </a:lnTo>
                <a:lnTo>
                  <a:pt x="8021" y="602"/>
                </a:lnTo>
                <a:lnTo>
                  <a:pt x="8027" y="625"/>
                </a:lnTo>
                <a:lnTo>
                  <a:pt x="8035" y="647"/>
                </a:lnTo>
                <a:lnTo>
                  <a:pt x="8042" y="670"/>
                </a:lnTo>
                <a:lnTo>
                  <a:pt x="8052" y="692"/>
                </a:lnTo>
                <a:lnTo>
                  <a:pt x="8062" y="713"/>
                </a:lnTo>
                <a:lnTo>
                  <a:pt x="8073" y="732"/>
                </a:lnTo>
                <a:lnTo>
                  <a:pt x="8078" y="742"/>
                </a:lnTo>
                <a:lnTo>
                  <a:pt x="8084" y="751"/>
                </a:lnTo>
                <a:lnTo>
                  <a:pt x="8095" y="769"/>
                </a:lnTo>
                <a:lnTo>
                  <a:pt x="8102" y="779"/>
                </a:lnTo>
                <a:lnTo>
                  <a:pt x="8109" y="787"/>
                </a:lnTo>
                <a:lnTo>
                  <a:pt x="8123" y="805"/>
                </a:lnTo>
                <a:lnTo>
                  <a:pt x="8130" y="814"/>
                </a:lnTo>
                <a:lnTo>
                  <a:pt x="8137" y="821"/>
                </a:lnTo>
                <a:lnTo>
                  <a:pt x="8152" y="837"/>
                </a:lnTo>
                <a:lnTo>
                  <a:pt x="8167" y="851"/>
                </a:lnTo>
                <a:lnTo>
                  <a:pt x="8184" y="865"/>
                </a:lnTo>
                <a:lnTo>
                  <a:pt x="8201" y="878"/>
                </a:lnTo>
                <a:lnTo>
                  <a:pt x="8219" y="890"/>
                </a:lnTo>
                <a:lnTo>
                  <a:pt x="8237" y="901"/>
                </a:lnTo>
                <a:lnTo>
                  <a:pt x="8256" y="912"/>
                </a:lnTo>
                <a:lnTo>
                  <a:pt x="8276" y="922"/>
                </a:lnTo>
                <a:lnTo>
                  <a:pt x="8297" y="930"/>
                </a:lnTo>
                <a:lnTo>
                  <a:pt x="8316" y="937"/>
                </a:lnTo>
                <a:lnTo>
                  <a:pt x="8337" y="944"/>
                </a:lnTo>
                <a:lnTo>
                  <a:pt x="8359" y="950"/>
                </a:lnTo>
                <a:lnTo>
                  <a:pt x="8380" y="952"/>
                </a:lnTo>
                <a:lnTo>
                  <a:pt x="8402" y="955"/>
                </a:lnTo>
                <a:lnTo>
                  <a:pt x="8425" y="958"/>
                </a:lnTo>
                <a:lnTo>
                  <a:pt x="8447" y="958"/>
                </a:lnTo>
                <a:lnTo>
                  <a:pt x="8469" y="958"/>
                </a:lnTo>
                <a:lnTo>
                  <a:pt x="8491" y="955"/>
                </a:lnTo>
                <a:lnTo>
                  <a:pt x="8514" y="952"/>
                </a:lnTo>
                <a:lnTo>
                  <a:pt x="8534" y="950"/>
                </a:lnTo>
                <a:lnTo>
                  <a:pt x="8557" y="944"/>
                </a:lnTo>
                <a:lnTo>
                  <a:pt x="8578" y="937"/>
                </a:lnTo>
                <a:lnTo>
                  <a:pt x="8597" y="930"/>
                </a:lnTo>
                <a:lnTo>
                  <a:pt x="8618" y="92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EB8CE1C6-103A-5B94-DB96-C4402A644C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>
                <a:solidFill>
                  <a:srgbClr val="FF6900"/>
                </a:solidFill>
              </a:rPr>
              <a:t>RIA - RKL yrittäjäpäivä 1.11.2023</a:t>
            </a:r>
            <a:endParaRPr lang="en-US">
              <a:solidFill>
                <a:srgbClr val="FF69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312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Placeholder 31" descr="A hand holding a piece of paper&#10;&#10;Description automatically generated">
            <a:extLst>
              <a:ext uri="{FF2B5EF4-FFF2-40B4-BE49-F238E27FC236}">
                <a16:creationId xmlns:a16="http://schemas.microsoft.com/office/drawing/2014/main" id="{899B3908-9A1D-93FF-F4CA-8BF0336BC4D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5" b="575"/>
          <a:stretch>
            <a:fillRect/>
          </a:stretch>
        </p:blipFill>
        <p:spPr/>
      </p:pic>
      <p:pic>
        <p:nvPicPr>
          <p:cNvPr id="28" name="Picture Placeholder 27" descr="A black counter with a plant and cutting boards&#10;&#10;Description automatically generated">
            <a:extLst>
              <a:ext uri="{FF2B5EF4-FFF2-40B4-BE49-F238E27FC236}">
                <a16:creationId xmlns:a16="http://schemas.microsoft.com/office/drawing/2014/main" id="{92D7DA40-679C-621F-AF59-BAC1AAA6224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A8E2BEE-68B9-3E84-A422-B6AFF79FA5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fi-FI" dirty="0"/>
            </a:br>
            <a:br>
              <a:rPr lang="fi-FI" dirty="0"/>
            </a:b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F75AEE-23B2-23CF-949A-FC37244B6CA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fi-FI" dirty="0"/>
              <a:t>Laaja valikoima tuotteita laatoista kylpyhuonekalusteisiin ja rakennus-materiaaleihin</a:t>
            </a:r>
          </a:p>
          <a:p>
            <a:pPr lvl="1"/>
            <a:r>
              <a:rPr lang="fi-FI" dirty="0"/>
              <a:t>Yhteistyökumppanin edustaja</a:t>
            </a:r>
            <a:br>
              <a:rPr lang="fi-FI" dirty="0"/>
            </a:br>
            <a:r>
              <a:rPr lang="fi-FI" dirty="0"/>
              <a:t>paikalla tarvittaessa</a:t>
            </a:r>
          </a:p>
          <a:p>
            <a:pPr lvl="1"/>
            <a:r>
              <a:rPr lang="fi-FI" dirty="0"/>
              <a:t>18 yhteistyökumppania ja Keskon</a:t>
            </a:r>
            <a:br>
              <a:rPr lang="fi-FI" dirty="0"/>
            </a:br>
            <a:r>
              <a:rPr lang="fi-FI" dirty="0"/>
              <a:t>laajan maahantuonnin tuotteet</a:t>
            </a:r>
          </a:p>
          <a:p>
            <a:pPr lvl="1"/>
            <a:r>
              <a:rPr lang="fi-FI" dirty="0"/>
              <a:t>Materiaalimalli-palvelu kaikkialle</a:t>
            </a:r>
            <a:br>
              <a:rPr lang="fi-FI" dirty="0"/>
            </a:br>
            <a:r>
              <a:rPr lang="fi-FI" dirty="0"/>
              <a:t>Suomeen</a:t>
            </a:r>
          </a:p>
          <a:p>
            <a:endParaRPr lang="en-US" dirty="0"/>
          </a:p>
        </p:txBody>
      </p:sp>
      <p:sp>
        <p:nvSpPr>
          <p:cNvPr id="23" name="Freeform 5">
            <a:extLst>
              <a:ext uri="{FF2B5EF4-FFF2-40B4-BE49-F238E27FC236}">
                <a16:creationId xmlns:a16="http://schemas.microsoft.com/office/drawing/2014/main" id="{56BB81B1-25A9-9041-BB42-20B0B642A3D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124160" y="441275"/>
            <a:ext cx="1670353" cy="180000"/>
          </a:xfrm>
          <a:custGeom>
            <a:avLst/>
            <a:gdLst>
              <a:gd name="T0" fmla="*/ 819 w 8889"/>
              <a:gd name="T1" fmla="*/ 789 h 958"/>
              <a:gd name="T2" fmla="*/ 929 w 8889"/>
              <a:gd name="T3" fmla="*/ 402 h 958"/>
              <a:gd name="T4" fmla="*/ 690 w 8889"/>
              <a:gd name="T5" fmla="*/ 73 h 958"/>
              <a:gd name="T6" fmla="*/ 458 w 8889"/>
              <a:gd name="T7" fmla="*/ 247 h 958"/>
              <a:gd name="T8" fmla="*/ 600 w 8889"/>
              <a:gd name="T9" fmla="*/ 455 h 958"/>
              <a:gd name="T10" fmla="*/ 501 w 8889"/>
              <a:gd name="T11" fmla="*/ 693 h 958"/>
              <a:gd name="T12" fmla="*/ 1073 w 8889"/>
              <a:gd name="T13" fmla="*/ 14 h 958"/>
              <a:gd name="T14" fmla="*/ 3816 w 8889"/>
              <a:gd name="T15" fmla="*/ 878 h 958"/>
              <a:gd name="T16" fmla="*/ 4037 w 8889"/>
              <a:gd name="T17" fmla="*/ 530 h 958"/>
              <a:gd name="T18" fmla="*/ 3908 w 8889"/>
              <a:gd name="T19" fmla="*/ 154 h 958"/>
              <a:gd name="T20" fmla="*/ 3504 w 8889"/>
              <a:gd name="T21" fmla="*/ 1 h 958"/>
              <a:gd name="T22" fmla="*/ 3140 w 8889"/>
              <a:gd name="T23" fmla="*/ 170 h 958"/>
              <a:gd name="T24" fmla="*/ 3034 w 8889"/>
              <a:gd name="T25" fmla="*/ 578 h 958"/>
              <a:gd name="T26" fmla="*/ 3245 w 8889"/>
              <a:gd name="T27" fmla="*/ 878 h 958"/>
              <a:gd name="T28" fmla="*/ 3728 w 8889"/>
              <a:gd name="T29" fmla="*/ 922 h 958"/>
              <a:gd name="T30" fmla="*/ 3373 w 8889"/>
              <a:gd name="T31" fmla="*/ 376 h 958"/>
              <a:gd name="T32" fmla="*/ 3550 w 8889"/>
              <a:gd name="T33" fmla="*/ 269 h 958"/>
              <a:gd name="T34" fmla="*/ 3696 w 8889"/>
              <a:gd name="T35" fmla="*/ 394 h 958"/>
              <a:gd name="T36" fmla="*/ 3634 w 8889"/>
              <a:gd name="T37" fmla="*/ 657 h 958"/>
              <a:gd name="T38" fmla="*/ 3403 w 8889"/>
              <a:gd name="T39" fmla="*/ 632 h 958"/>
              <a:gd name="T40" fmla="*/ 4420 w 8889"/>
              <a:gd name="T41" fmla="*/ 955 h 958"/>
              <a:gd name="T42" fmla="*/ 4759 w 8889"/>
              <a:gd name="T43" fmla="*/ 861 h 958"/>
              <a:gd name="T44" fmla="*/ 4826 w 8889"/>
              <a:gd name="T45" fmla="*/ 599 h 958"/>
              <a:gd name="T46" fmla="*/ 4582 w 8889"/>
              <a:gd name="T47" fmla="*/ 424 h 958"/>
              <a:gd name="T48" fmla="*/ 4333 w 8889"/>
              <a:gd name="T49" fmla="*/ 324 h 958"/>
              <a:gd name="T50" fmla="*/ 4401 w 8889"/>
              <a:gd name="T51" fmla="*/ 145 h 958"/>
              <a:gd name="T52" fmla="*/ 4795 w 8889"/>
              <a:gd name="T53" fmla="*/ 79 h 958"/>
              <a:gd name="T54" fmla="*/ 4428 w 8889"/>
              <a:gd name="T55" fmla="*/ 10 h 958"/>
              <a:gd name="T56" fmla="*/ 4214 w 8889"/>
              <a:gd name="T57" fmla="*/ 184 h 958"/>
              <a:gd name="T58" fmla="*/ 4258 w 8889"/>
              <a:gd name="T59" fmla="*/ 439 h 958"/>
              <a:gd name="T60" fmla="*/ 4605 w 8889"/>
              <a:gd name="T61" fmla="*/ 561 h 958"/>
              <a:gd name="T62" fmla="*/ 4701 w 8889"/>
              <a:gd name="T63" fmla="*/ 720 h 958"/>
              <a:gd name="T64" fmla="*/ 4452 w 8889"/>
              <a:gd name="T65" fmla="*/ 837 h 958"/>
              <a:gd name="T66" fmla="*/ 6352 w 8889"/>
              <a:gd name="T67" fmla="*/ 901 h 958"/>
              <a:gd name="T68" fmla="*/ 6501 w 8889"/>
              <a:gd name="T69" fmla="*/ 602 h 958"/>
              <a:gd name="T70" fmla="*/ 6281 w 8889"/>
              <a:gd name="T71" fmla="*/ 801 h 958"/>
              <a:gd name="T72" fmla="*/ 6050 w 8889"/>
              <a:gd name="T73" fmla="*/ 818 h 958"/>
              <a:gd name="T74" fmla="*/ 5933 w 8889"/>
              <a:gd name="T75" fmla="*/ 579 h 958"/>
              <a:gd name="T76" fmla="*/ 5900 w 8889"/>
              <a:gd name="T77" fmla="*/ 858 h 958"/>
              <a:gd name="T78" fmla="*/ 6207 w 8889"/>
              <a:gd name="T79" fmla="*/ 955 h 958"/>
              <a:gd name="T80" fmla="*/ 7228 w 8889"/>
              <a:gd name="T81" fmla="*/ 211 h 958"/>
              <a:gd name="T82" fmla="*/ 7344 w 8889"/>
              <a:gd name="T83" fmla="*/ 521 h 958"/>
              <a:gd name="T84" fmla="*/ 7177 w 8889"/>
              <a:gd name="T85" fmla="*/ 783 h 958"/>
              <a:gd name="T86" fmla="*/ 7121 w 8889"/>
              <a:gd name="T87" fmla="*/ 933 h 958"/>
              <a:gd name="T88" fmla="*/ 7430 w 8889"/>
              <a:gd name="T89" fmla="*/ 697 h 958"/>
              <a:gd name="T90" fmla="*/ 7444 w 8889"/>
              <a:gd name="T91" fmla="*/ 294 h 958"/>
              <a:gd name="T92" fmla="*/ 7154 w 8889"/>
              <a:gd name="T93" fmla="*/ 35 h 958"/>
              <a:gd name="T94" fmla="*/ 8277 w 8889"/>
              <a:gd name="T95" fmla="*/ 779 h 958"/>
              <a:gd name="T96" fmla="*/ 8142 w 8889"/>
              <a:gd name="T97" fmla="*/ 499 h 958"/>
              <a:gd name="T98" fmla="*/ 8277 w 8889"/>
              <a:gd name="T99" fmla="*/ 180 h 958"/>
              <a:gd name="T100" fmla="*/ 8551 w 8889"/>
              <a:gd name="T101" fmla="*/ 141 h 958"/>
              <a:gd name="T102" fmla="*/ 8746 w 8889"/>
              <a:gd name="T103" fmla="*/ 387 h 958"/>
              <a:gd name="T104" fmla="*/ 8683 w 8889"/>
              <a:gd name="T105" fmla="*/ 711 h 958"/>
              <a:gd name="T106" fmla="*/ 8432 w 8889"/>
              <a:gd name="T107" fmla="*/ 837 h 958"/>
              <a:gd name="T108" fmla="*/ 8786 w 8889"/>
              <a:gd name="T109" fmla="*/ 787 h 958"/>
              <a:gd name="T110" fmla="*/ 8868 w 8889"/>
              <a:gd name="T111" fmla="*/ 334 h 958"/>
              <a:gd name="T112" fmla="*/ 8675 w 8889"/>
              <a:gd name="T113" fmla="*/ 68 h 958"/>
              <a:gd name="T114" fmla="*/ 8256 w 8889"/>
              <a:gd name="T115" fmla="*/ 47 h 958"/>
              <a:gd name="T116" fmla="*/ 8027 w 8889"/>
              <a:gd name="T117" fmla="*/ 334 h 958"/>
              <a:gd name="T118" fmla="*/ 8095 w 8889"/>
              <a:gd name="T119" fmla="*/ 769 h 958"/>
              <a:gd name="T120" fmla="*/ 8425 w 8889"/>
              <a:gd name="T121" fmla="*/ 958 h 9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8889" h="958">
                <a:moveTo>
                  <a:pt x="0" y="946"/>
                </a:moveTo>
                <a:lnTo>
                  <a:pt x="426" y="946"/>
                </a:lnTo>
                <a:lnTo>
                  <a:pt x="452" y="944"/>
                </a:lnTo>
                <a:lnTo>
                  <a:pt x="477" y="943"/>
                </a:lnTo>
                <a:lnTo>
                  <a:pt x="504" y="940"/>
                </a:lnTo>
                <a:lnTo>
                  <a:pt x="529" y="937"/>
                </a:lnTo>
                <a:lnTo>
                  <a:pt x="552" y="933"/>
                </a:lnTo>
                <a:lnTo>
                  <a:pt x="577" y="927"/>
                </a:lnTo>
                <a:lnTo>
                  <a:pt x="601" y="921"/>
                </a:lnTo>
                <a:lnTo>
                  <a:pt x="625" y="914"/>
                </a:lnTo>
                <a:lnTo>
                  <a:pt x="647" y="904"/>
                </a:lnTo>
                <a:lnTo>
                  <a:pt x="669" y="896"/>
                </a:lnTo>
                <a:lnTo>
                  <a:pt x="690" y="885"/>
                </a:lnTo>
                <a:lnTo>
                  <a:pt x="711" y="873"/>
                </a:lnTo>
                <a:lnTo>
                  <a:pt x="730" y="862"/>
                </a:lnTo>
                <a:lnTo>
                  <a:pt x="750" y="848"/>
                </a:lnTo>
                <a:lnTo>
                  <a:pt x="768" y="835"/>
                </a:lnTo>
                <a:lnTo>
                  <a:pt x="786" y="821"/>
                </a:lnTo>
                <a:lnTo>
                  <a:pt x="803" y="805"/>
                </a:lnTo>
                <a:lnTo>
                  <a:pt x="819" y="789"/>
                </a:lnTo>
                <a:lnTo>
                  <a:pt x="833" y="771"/>
                </a:lnTo>
                <a:lnTo>
                  <a:pt x="849" y="754"/>
                </a:lnTo>
                <a:lnTo>
                  <a:pt x="861" y="735"/>
                </a:lnTo>
                <a:lnTo>
                  <a:pt x="874" y="715"/>
                </a:lnTo>
                <a:lnTo>
                  <a:pt x="885" y="695"/>
                </a:lnTo>
                <a:lnTo>
                  <a:pt x="894" y="674"/>
                </a:lnTo>
                <a:lnTo>
                  <a:pt x="904" y="652"/>
                </a:lnTo>
                <a:lnTo>
                  <a:pt x="913" y="629"/>
                </a:lnTo>
                <a:lnTo>
                  <a:pt x="915" y="617"/>
                </a:lnTo>
                <a:lnTo>
                  <a:pt x="920" y="606"/>
                </a:lnTo>
                <a:lnTo>
                  <a:pt x="925" y="582"/>
                </a:lnTo>
                <a:lnTo>
                  <a:pt x="926" y="570"/>
                </a:lnTo>
                <a:lnTo>
                  <a:pt x="929" y="557"/>
                </a:lnTo>
                <a:lnTo>
                  <a:pt x="932" y="532"/>
                </a:lnTo>
                <a:lnTo>
                  <a:pt x="933" y="506"/>
                </a:lnTo>
                <a:lnTo>
                  <a:pt x="935" y="480"/>
                </a:lnTo>
                <a:lnTo>
                  <a:pt x="933" y="453"/>
                </a:lnTo>
                <a:lnTo>
                  <a:pt x="932" y="427"/>
                </a:lnTo>
                <a:lnTo>
                  <a:pt x="931" y="414"/>
                </a:lnTo>
                <a:lnTo>
                  <a:pt x="929" y="402"/>
                </a:lnTo>
                <a:lnTo>
                  <a:pt x="925" y="377"/>
                </a:lnTo>
                <a:lnTo>
                  <a:pt x="920" y="353"/>
                </a:lnTo>
                <a:lnTo>
                  <a:pt x="913" y="330"/>
                </a:lnTo>
                <a:lnTo>
                  <a:pt x="904" y="308"/>
                </a:lnTo>
                <a:lnTo>
                  <a:pt x="900" y="297"/>
                </a:lnTo>
                <a:lnTo>
                  <a:pt x="894" y="285"/>
                </a:lnTo>
                <a:lnTo>
                  <a:pt x="890" y="274"/>
                </a:lnTo>
                <a:lnTo>
                  <a:pt x="885" y="263"/>
                </a:lnTo>
                <a:lnTo>
                  <a:pt x="874" y="244"/>
                </a:lnTo>
                <a:lnTo>
                  <a:pt x="861" y="224"/>
                </a:lnTo>
                <a:lnTo>
                  <a:pt x="849" y="205"/>
                </a:lnTo>
                <a:lnTo>
                  <a:pt x="833" y="187"/>
                </a:lnTo>
                <a:lnTo>
                  <a:pt x="819" y="170"/>
                </a:lnTo>
                <a:lnTo>
                  <a:pt x="803" y="154"/>
                </a:lnTo>
                <a:lnTo>
                  <a:pt x="786" y="139"/>
                </a:lnTo>
                <a:lnTo>
                  <a:pt x="768" y="123"/>
                </a:lnTo>
                <a:lnTo>
                  <a:pt x="750" y="109"/>
                </a:lnTo>
                <a:lnTo>
                  <a:pt x="730" y="97"/>
                </a:lnTo>
                <a:lnTo>
                  <a:pt x="711" y="84"/>
                </a:lnTo>
                <a:lnTo>
                  <a:pt x="690" y="73"/>
                </a:lnTo>
                <a:lnTo>
                  <a:pt x="669" y="64"/>
                </a:lnTo>
                <a:lnTo>
                  <a:pt x="647" y="54"/>
                </a:lnTo>
                <a:lnTo>
                  <a:pt x="636" y="50"/>
                </a:lnTo>
                <a:lnTo>
                  <a:pt x="625" y="46"/>
                </a:lnTo>
                <a:lnTo>
                  <a:pt x="601" y="39"/>
                </a:lnTo>
                <a:lnTo>
                  <a:pt x="577" y="32"/>
                </a:lnTo>
                <a:lnTo>
                  <a:pt x="552" y="26"/>
                </a:lnTo>
                <a:lnTo>
                  <a:pt x="529" y="22"/>
                </a:lnTo>
                <a:lnTo>
                  <a:pt x="504" y="18"/>
                </a:lnTo>
                <a:lnTo>
                  <a:pt x="477" y="16"/>
                </a:lnTo>
                <a:lnTo>
                  <a:pt x="452" y="14"/>
                </a:lnTo>
                <a:lnTo>
                  <a:pt x="426" y="14"/>
                </a:lnTo>
                <a:lnTo>
                  <a:pt x="0" y="14"/>
                </a:lnTo>
                <a:lnTo>
                  <a:pt x="0" y="946"/>
                </a:lnTo>
                <a:close/>
                <a:moveTo>
                  <a:pt x="327" y="717"/>
                </a:moveTo>
                <a:lnTo>
                  <a:pt x="327" y="243"/>
                </a:lnTo>
                <a:lnTo>
                  <a:pt x="419" y="243"/>
                </a:lnTo>
                <a:lnTo>
                  <a:pt x="438" y="244"/>
                </a:lnTo>
                <a:lnTo>
                  <a:pt x="448" y="245"/>
                </a:lnTo>
                <a:lnTo>
                  <a:pt x="458" y="247"/>
                </a:lnTo>
                <a:lnTo>
                  <a:pt x="466" y="249"/>
                </a:lnTo>
                <a:lnTo>
                  <a:pt x="476" y="252"/>
                </a:lnTo>
                <a:lnTo>
                  <a:pt x="484" y="256"/>
                </a:lnTo>
                <a:lnTo>
                  <a:pt x="492" y="261"/>
                </a:lnTo>
                <a:lnTo>
                  <a:pt x="509" y="270"/>
                </a:lnTo>
                <a:lnTo>
                  <a:pt x="516" y="276"/>
                </a:lnTo>
                <a:lnTo>
                  <a:pt x="523" y="281"/>
                </a:lnTo>
                <a:lnTo>
                  <a:pt x="537" y="295"/>
                </a:lnTo>
                <a:lnTo>
                  <a:pt x="544" y="302"/>
                </a:lnTo>
                <a:lnTo>
                  <a:pt x="549" y="310"/>
                </a:lnTo>
                <a:lnTo>
                  <a:pt x="556" y="319"/>
                </a:lnTo>
                <a:lnTo>
                  <a:pt x="561" y="327"/>
                </a:lnTo>
                <a:lnTo>
                  <a:pt x="572" y="345"/>
                </a:lnTo>
                <a:lnTo>
                  <a:pt x="580" y="365"/>
                </a:lnTo>
                <a:lnTo>
                  <a:pt x="584" y="376"/>
                </a:lnTo>
                <a:lnTo>
                  <a:pt x="587" y="385"/>
                </a:lnTo>
                <a:lnTo>
                  <a:pt x="593" y="408"/>
                </a:lnTo>
                <a:lnTo>
                  <a:pt x="597" y="431"/>
                </a:lnTo>
                <a:lnTo>
                  <a:pt x="598" y="442"/>
                </a:lnTo>
                <a:lnTo>
                  <a:pt x="600" y="455"/>
                </a:lnTo>
                <a:lnTo>
                  <a:pt x="601" y="467"/>
                </a:lnTo>
                <a:lnTo>
                  <a:pt x="601" y="480"/>
                </a:lnTo>
                <a:lnTo>
                  <a:pt x="600" y="505"/>
                </a:lnTo>
                <a:lnTo>
                  <a:pt x="597" y="528"/>
                </a:lnTo>
                <a:lnTo>
                  <a:pt x="595" y="539"/>
                </a:lnTo>
                <a:lnTo>
                  <a:pt x="593" y="552"/>
                </a:lnTo>
                <a:lnTo>
                  <a:pt x="590" y="563"/>
                </a:lnTo>
                <a:lnTo>
                  <a:pt x="587" y="573"/>
                </a:lnTo>
                <a:lnTo>
                  <a:pt x="584" y="584"/>
                </a:lnTo>
                <a:lnTo>
                  <a:pt x="580" y="595"/>
                </a:lnTo>
                <a:lnTo>
                  <a:pt x="572" y="614"/>
                </a:lnTo>
                <a:lnTo>
                  <a:pt x="561" y="632"/>
                </a:lnTo>
                <a:lnTo>
                  <a:pt x="556" y="640"/>
                </a:lnTo>
                <a:lnTo>
                  <a:pt x="549" y="649"/>
                </a:lnTo>
                <a:lnTo>
                  <a:pt x="537" y="664"/>
                </a:lnTo>
                <a:lnTo>
                  <a:pt x="530" y="670"/>
                </a:lnTo>
                <a:lnTo>
                  <a:pt x="523" y="677"/>
                </a:lnTo>
                <a:lnTo>
                  <a:pt x="516" y="682"/>
                </a:lnTo>
                <a:lnTo>
                  <a:pt x="509" y="688"/>
                </a:lnTo>
                <a:lnTo>
                  <a:pt x="501" y="693"/>
                </a:lnTo>
                <a:lnTo>
                  <a:pt x="492" y="699"/>
                </a:lnTo>
                <a:lnTo>
                  <a:pt x="484" y="703"/>
                </a:lnTo>
                <a:lnTo>
                  <a:pt x="476" y="706"/>
                </a:lnTo>
                <a:lnTo>
                  <a:pt x="466" y="708"/>
                </a:lnTo>
                <a:lnTo>
                  <a:pt x="458" y="711"/>
                </a:lnTo>
                <a:lnTo>
                  <a:pt x="448" y="714"/>
                </a:lnTo>
                <a:lnTo>
                  <a:pt x="438" y="715"/>
                </a:lnTo>
                <a:lnTo>
                  <a:pt x="419" y="717"/>
                </a:lnTo>
                <a:lnTo>
                  <a:pt x="327" y="717"/>
                </a:lnTo>
                <a:close/>
                <a:moveTo>
                  <a:pt x="1808" y="946"/>
                </a:moveTo>
                <a:lnTo>
                  <a:pt x="1808" y="717"/>
                </a:lnTo>
                <a:lnTo>
                  <a:pt x="1399" y="717"/>
                </a:lnTo>
                <a:lnTo>
                  <a:pt x="1399" y="573"/>
                </a:lnTo>
                <a:lnTo>
                  <a:pt x="1714" y="573"/>
                </a:lnTo>
                <a:lnTo>
                  <a:pt x="1714" y="383"/>
                </a:lnTo>
                <a:lnTo>
                  <a:pt x="1399" y="383"/>
                </a:lnTo>
                <a:lnTo>
                  <a:pt x="1399" y="243"/>
                </a:lnTo>
                <a:lnTo>
                  <a:pt x="1803" y="243"/>
                </a:lnTo>
                <a:lnTo>
                  <a:pt x="1803" y="14"/>
                </a:lnTo>
                <a:lnTo>
                  <a:pt x="1073" y="14"/>
                </a:lnTo>
                <a:lnTo>
                  <a:pt x="1073" y="946"/>
                </a:lnTo>
                <a:lnTo>
                  <a:pt x="1808" y="946"/>
                </a:lnTo>
                <a:close/>
                <a:moveTo>
                  <a:pt x="3020" y="946"/>
                </a:moveTo>
                <a:lnTo>
                  <a:pt x="2670" y="457"/>
                </a:lnTo>
                <a:lnTo>
                  <a:pt x="3012" y="14"/>
                </a:lnTo>
                <a:lnTo>
                  <a:pt x="2619" y="14"/>
                </a:lnTo>
                <a:lnTo>
                  <a:pt x="2297" y="456"/>
                </a:lnTo>
                <a:lnTo>
                  <a:pt x="2618" y="946"/>
                </a:lnTo>
                <a:lnTo>
                  <a:pt x="3020" y="946"/>
                </a:lnTo>
                <a:close/>
                <a:moveTo>
                  <a:pt x="2294" y="946"/>
                </a:moveTo>
                <a:lnTo>
                  <a:pt x="2294" y="14"/>
                </a:lnTo>
                <a:lnTo>
                  <a:pt x="1966" y="14"/>
                </a:lnTo>
                <a:lnTo>
                  <a:pt x="1966" y="946"/>
                </a:lnTo>
                <a:lnTo>
                  <a:pt x="2294" y="946"/>
                </a:lnTo>
                <a:close/>
                <a:moveTo>
                  <a:pt x="3728" y="922"/>
                </a:moveTo>
                <a:lnTo>
                  <a:pt x="3752" y="912"/>
                </a:lnTo>
                <a:lnTo>
                  <a:pt x="3774" y="901"/>
                </a:lnTo>
                <a:lnTo>
                  <a:pt x="3784" y="896"/>
                </a:lnTo>
                <a:lnTo>
                  <a:pt x="3795" y="890"/>
                </a:lnTo>
                <a:lnTo>
                  <a:pt x="3816" y="878"/>
                </a:lnTo>
                <a:lnTo>
                  <a:pt x="3835" y="865"/>
                </a:lnTo>
                <a:lnTo>
                  <a:pt x="3855" y="851"/>
                </a:lnTo>
                <a:lnTo>
                  <a:pt x="3873" y="837"/>
                </a:lnTo>
                <a:lnTo>
                  <a:pt x="3891" y="821"/>
                </a:lnTo>
                <a:lnTo>
                  <a:pt x="3908" y="805"/>
                </a:lnTo>
                <a:lnTo>
                  <a:pt x="3924" y="787"/>
                </a:lnTo>
                <a:lnTo>
                  <a:pt x="3938" y="769"/>
                </a:lnTo>
                <a:lnTo>
                  <a:pt x="3952" y="751"/>
                </a:lnTo>
                <a:lnTo>
                  <a:pt x="3966" y="732"/>
                </a:lnTo>
                <a:lnTo>
                  <a:pt x="3979" y="713"/>
                </a:lnTo>
                <a:lnTo>
                  <a:pt x="3990" y="692"/>
                </a:lnTo>
                <a:lnTo>
                  <a:pt x="3999" y="670"/>
                </a:lnTo>
                <a:lnTo>
                  <a:pt x="4009" y="647"/>
                </a:lnTo>
                <a:lnTo>
                  <a:pt x="4016" y="625"/>
                </a:lnTo>
                <a:lnTo>
                  <a:pt x="4020" y="613"/>
                </a:lnTo>
                <a:lnTo>
                  <a:pt x="4023" y="602"/>
                </a:lnTo>
                <a:lnTo>
                  <a:pt x="4029" y="578"/>
                </a:lnTo>
                <a:lnTo>
                  <a:pt x="4033" y="554"/>
                </a:lnTo>
                <a:lnTo>
                  <a:pt x="4036" y="542"/>
                </a:lnTo>
                <a:lnTo>
                  <a:pt x="4037" y="530"/>
                </a:lnTo>
                <a:lnTo>
                  <a:pt x="4038" y="505"/>
                </a:lnTo>
                <a:lnTo>
                  <a:pt x="4038" y="480"/>
                </a:lnTo>
                <a:lnTo>
                  <a:pt x="4038" y="453"/>
                </a:lnTo>
                <a:lnTo>
                  <a:pt x="4037" y="430"/>
                </a:lnTo>
                <a:lnTo>
                  <a:pt x="4033" y="405"/>
                </a:lnTo>
                <a:lnTo>
                  <a:pt x="4029" y="381"/>
                </a:lnTo>
                <a:lnTo>
                  <a:pt x="4023" y="358"/>
                </a:lnTo>
                <a:lnTo>
                  <a:pt x="4016" y="334"/>
                </a:lnTo>
                <a:lnTo>
                  <a:pt x="4009" y="312"/>
                </a:lnTo>
                <a:lnTo>
                  <a:pt x="4005" y="301"/>
                </a:lnTo>
                <a:lnTo>
                  <a:pt x="3999" y="290"/>
                </a:lnTo>
                <a:lnTo>
                  <a:pt x="3994" y="279"/>
                </a:lnTo>
                <a:lnTo>
                  <a:pt x="3990" y="267"/>
                </a:lnTo>
                <a:lnTo>
                  <a:pt x="3979" y="247"/>
                </a:lnTo>
                <a:lnTo>
                  <a:pt x="3966" y="227"/>
                </a:lnTo>
                <a:lnTo>
                  <a:pt x="3952" y="208"/>
                </a:lnTo>
                <a:lnTo>
                  <a:pt x="3938" y="188"/>
                </a:lnTo>
                <a:lnTo>
                  <a:pt x="3931" y="180"/>
                </a:lnTo>
                <a:lnTo>
                  <a:pt x="3924" y="170"/>
                </a:lnTo>
                <a:lnTo>
                  <a:pt x="3908" y="154"/>
                </a:lnTo>
                <a:lnTo>
                  <a:pt x="3891" y="137"/>
                </a:lnTo>
                <a:lnTo>
                  <a:pt x="3873" y="122"/>
                </a:lnTo>
                <a:lnTo>
                  <a:pt x="3865" y="115"/>
                </a:lnTo>
                <a:lnTo>
                  <a:pt x="3855" y="107"/>
                </a:lnTo>
                <a:lnTo>
                  <a:pt x="3835" y="94"/>
                </a:lnTo>
                <a:lnTo>
                  <a:pt x="3816" y="80"/>
                </a:lnTo>
                <a:lnTo>
                  <a:pt x="3795" y="68"/>
                </a:lnTo>
                <a:lnTo>
                  <a:pt x="3774" y="57"/>
                </a:lnTo>
                <a:lnTo>
                  <a:pt x="3752" y="47"/>
                </a:lnTo>
                <a:lnTo>
                  <a:pt x="3728" y="37"/>
                </a:lnTo>
                <a:lnTo>
                  <a:pt x="3706" y="29"/>
                </a:lnTo>
                <a:lnTo>
                  <a:pt x="3681" y="21"/>
                </a:lnTo>
                <a:lnTo>
                  <a:pt x="3670" y="18"/>
                </a:lnTo>
                <a:lnTo>
                  <a:pt x="3657" y="15"/>
                </a:lnTo>
                <a:lnTo>
                  <a:pt x="3632" y="10"/>
                </a:lnTo>
                <a:lnTo>
                  <a:pt x="3607" y="5"/>
                </a:lnTo>
                <a:lnTo>
                  <a:pt x="3582" y="3"/>
                </a:lnTo>
                <a:lnTo>
                  <a:pt x="3557" y="1"/>
                </a:lnTo>
                <a:lnTo>
                  <a:pt x="3531" y="0"/>
                </a:lnTo>
                <a:lnTo>
                  <a:pt x="3504" y="1"/>
                </a:lnTo>
                <a:lnTo>
                  <a:pt x="3478" y="3"/>
                </a:lnTo>
                <a:lnTo>
                  <a:pt x="3453" y="5"/>
                </a:lnTo>
                <a:lnTo>
                  <a:pt x="3428" y="10"/>
                </a:lnTo>
                <a:lnTo>
                  <a:pt x="3403" y="15"/>
                </a:lnTo>
                <a:lnTo>
                  <a:pt x="3379" y="21"/>
                </a:lnTo>
                <a:lnTo>
                  <a:pt x="3355" y="29"/>
                </a:lnTo>
                <a:lnTo>
                  <a:pt x="3332" y="37"/>
                </a:lnTo>
                <a:lnTo>
                  <a:pt x="3309" y="47"/>
                </a:lnTo>
                <a:lnTo>
                  <a:pt x="3287" y="57"/>
                </a:lnTo>
                <a:lnTo>
                  <a:pt x="3276" y="62"/>
                </a:lnTo>
                <a:lnTo>
                  <a:pt x="3266" y="68"/>
                </a:lnTo>
                <a:lnTo>
                  <a:pt x="3245" y="80"/>
                </a:lnTo>
                <a:lnTo>
                  <a:pt x="3226" y="94"/>
                </a:lnTo>
                <a:lnTo>
                  <a:pt x="3216" y="100"/>
                </a:lnTo>
                <a:lnTo>
                  <a:pt x="3207" y="107"/>
                </a:lnTo>
                <a:lnTo>
                  <a:pt x="3188" y="122"/>
                </a:lnTo>
                <a:lnTo>
                  <a:pt x="3180" y="130"/>
                </a:lnTo>
                <a:lnTo>
                  <a:pt x="3172" y="137"/>
                </a:lnTo>
                <a:lnTo>
                  <a:pt x="3155" y="154"/>
                </a:lnTo>
                <a:lnTo>
                  <a:pt x="3140" y="170"/>
                </a:lnTo>
                <a:lnTo>
                  <a:pt x="3124" y="188"/>
                </a:lnTo>
                <a:lnTo>
                  <a:pt x="3111" y="208"/>
                </a:lnTo>
                <a:lnTo>
                  <a:pt x="3098" y="227"/>
                </a:lnTo>
                <a:lnTo>
                  <a:pt x="3085" y="247"/>
                </a:lnTo>
                <a:lnTo>
                  <a:pt x="3074" y="267"/>
                </a:lnTo>
                <a:lnTo>
                  <a:pt x="3065" y="290"/>
                </a:lnTo>
                <a:lnTo>
                  <a:pt x="3055" y="312"/>
                </a:lnTo>
                <a:lnTo>
                  <a:pt x="3047" y="334"/>
                </a:lnTo>
                <a:lnTo>
                  <a:pt x="3044" y="345"/>
                </a:lnTo>
                <a:lnTo>
                  <a:pt x="3040" y="358"/>
                </a:lnTo>
                <a:lnTo>
                  <a:pt x="3034" y="381"/>
                </a:lnTo>
                <a:lnTo>
                  <a:pt x="3030" y="405"/>
                </a:lnTo>
                <a:lnTo>
                  <a:pt x="3028" y="417"/>
                </a:lnTo>
                <a:lnTo>
                  <a:pt x="3027" y="430"/>
                </a:lnTo>
                <a:lnTo>
                  <a:pt x="3026" y="453"/>
                </a:lnTo>
                <a:lnTo>
                  <a:pt x="3024" y="480"/>
                </a:lnTo>
                <a:lnTo>
                  <a:pt x="3026" y="505"/>
                </a:lnTo>
                <a:lnTo>
                  <a:pt x="3027" y="530"/>
                </a:lnTo>
                <a:lnTo>
                  <a:pt x="3030" y="554"/>
                </a:lnTo>
                <a:lnTo>
                  <a:pt x="3034" y="578"/>
                </a:lnTo>
                <a:lnTo>
                  <a:pt x="3040" y="602"/>
                </a:lnTo>
                <a:lnTo>
                  <a:pt x="3047" y="625"/>
                </a:lnTo>
                <a:lnTo>
                  <a:pt x="3055" y="647"/>
                </a:lnTo>
                <a:lnTo>
                  <a:pt x="3059" y="658"/>
                </a:lnTo>
                <a:lnTo>
                  <a:pt x="3065" y="670"/>
                </a:lnTo>
                <a:lnTo>
                  <a:pt x="3069" y="681"/>
                </a:lnTo>
                <a:lnTo>
                  <a:pt x="3074" y="692"/>
                </a:lnTo>
                <a:lnTo>
                  <a:pt x="3085" y="713"/>
                </a:lnTo>
                <a:lnTo>
                  <a:pt x="3098" y="732"/>
                </a:lnTo>
                <a:lnTo>
                  <a:pt x="3111" y="751"/>
                </a:lnTo>
                <a:lnTo>
                  <a:pt x="3124" y="769"/>
                </a:lnTo>
                <a:lnTo>
                  <a:pt x="3140" y="787"/>
                </a:lnTo>
                <a:lnTo>
                  <a:pt x="3155" y="805"/>
                </a:lnTo>
                <a:lnTo>
                  <a:pt x="3163" y="814"/>
                </a:lnTo>
                <a:lnTo>
                  <a:pt x="3172" y="821"/>
                </a:lnTo>
                <a:lnTo>
                  <a:pt x="3188" y="837"/>
                </a:lnTo>
                <a:lnTo>
                  <a:pt x="3198" y="844"/>
                </a:lnTo>
                <a:lnTo>
                  <a:pt x="3207" y="851"/>
                </a:lnTo>
                <a:lnTo>
                  <a:pt x="3226" y="865"/>
                </a:lnTo>
                <a:lnTo>
                  <a:pt x="3245" y="878"/>
                </a:lnTo>
                <a:lnTo>
                  <a:pt x="3266" y="890"/>
                </a:lnTo>
                <a:lnTo>
                  <a:pt x="3287" y="901"/>
                </a:lnTo>
                <a:lnTo>
                  <a:pt x="3309" y="912"/>
                </a:lnTo>
                <a:lnTo>
                  <a:pt x="3332" y="922"/>
                </a:lnTo>
                <a:lnTo>
                  <a:pt x="3355" y="930"/>
                </a:lnTo>
                <a:lnTo>
                  <a:pt x="3379" y="937"/>
                </a:lnTo>
                <a:lnTo>
                  <a:pt x="3403" y="944"/>
                </a:lnTo>
                <a:lnTo>
                  <a:pt x="3428" y="950"/>
                </a:lnTo>
                <a:lnTo>
                  <a:pt x="3453" y="952"/>
                </a:lnTo>
                <a:lnTo>
                  <a:pt x="3478" y="955"/>
                </a:lnTo>
                <a:lnTo>
                  <a:pt x="3504" y="958"/>
                </a:lnTo>
                <a:lnTo>
                  <a:pt x="3531" y="958"/>
                </a:lnTo>
                <a:lnTo>
                  <a:pt x="3557" y="958"/>
                </a:lnTo>
                <a:lnTo>
                  <a:pt x="3582" y="955"/>
                </a:lnTo>
                <a:lnTo>
                  <a:pt x="3607" y="952"/>
                </a:lnTo>
                <a:lnTo>
                  <a:pt x="3632" y="950"/>
                </a:lnTo>
                <a:lnTo>
                  <a:pt x="3657" y="944"/>
                </a:lnTo>
                <a:lnTo>
                  <a:pt x="3681" y="937"/>
                </a:lnTo>
                <a:lnTo>
                  <a:pt x="3706" y="930"/>
                </a:lnTo>
                <a:lnTo>
                  <a:pt x="3728" y="922"/>
                </a:lnTo>
                <a:close/>
                <a:moveTo>
                  <a:pt x="3403" y="632"/>
                </a:moveTo>
                <a:lnTo>
                  <a:pt x="3397" y="625"/>
                </a:lnTo>
                <a:lnTo>
                  <a:pt x="3392" y="617"/>
                </a:lnTo>
                <a:lnTo>
                  <a:pt x="3386" y="610"/>
                </a:lnTo>
                <a:lnTo>
                  <a:pt x="3382" y="602"/>
                </a:lnTo>
                <a:lnTo>
                  <a:pt x="3378" y="593"/>
                </a:lnTo>
                <a:lnTo>
                  <a:pt x="3373" y="584"/>
                </a:lnTo>
                <a:lnTo>
                  <a:pt x="3366" y="566"/>
                </a:lnTo>
                <a:lnTo>
                  <a:pt x="3364" y="556"/>
                </a:lnTo>
                <a:lnTo>
                  <a:pt x="3361" y="546"/>
                </a:lnTo>
                <a:lnTo>
                  <a:pt x="3358" y="525"/>
                </a:lnTo>
                <a:lnTo>
                  <a:pt x="3355" y="503"/>
                </a:lnTo>
                <a:lnTo>
                  <a:pt x="3354" y="480"/>
                </a:lnTo>
                <a:lnTo>
                  <a:pt x="3355" y="456"/>
                </a:lnTo>
                <a:lnTo>
                  <a:pt x="3357" y="445"/>
                </a:lnTo>
                <a:lnTo>
                  <a:pt x="3358" y="434"/>
                </a:lnTo>
                <a:lnTo>
                  <a:pt x="3361" y="413"/>
                </a:lnTo>
                <a:lnTo>
                  <a:pt x="3366" y="394"/>
                </a:lnTo>
                <a:lnTo>
                  <a:pt x="3369" y="384"/>
                </a:lnTo>
                <a:lnTo>
                  <a:pt x="3373" y="376"/>
                </a:lnTo>
                <a:lnTo>
                  <a:pt x="3378" y="366"/>
                </a:lnTo>
                <a:lnTo>
                  <a:pt x="3382" y="358"/>
                </a:lnTo>
                <a:lnTo>
                  <a:pt x="3392" y="341"/>
                </a:lnTo>
                <a:lnTo>
                  <a:pt x="3397" y="334"/>
                </a:lnTo>
                <a:lnTo>
                  <a:pt x="3403" y="326"/>
                </a:lnTo>
                <a:lnTo>
                  <a:pt x="3415" y="313"/>
                </a:lnTo>
                <a:lnTo>
                  <a:pt x="3429" y="301"/>
                </a:lnTo>
                <a:lnTo>
                  <a:pt x="3436" y="295"/>
                </a:lnTo>
                <a:lnTo>
                  <a:pt x="3444" y="291"/>
                </a:lnTo>
                <a:lnTo>
                  <a:pt x="3451" y="287"/>
                </a:lnTo>
                <a:lnTo>
                  <a:pt x="3460" y="283"/>
                </a:lnTo>
                <a:lnTo>
                  <a:pt x="3468" y="279"/>
                </a:lnTo>
                <a:lnTo>
                  <a:pt x="3476" y="276"/>
                </a:lnTo>
                <a:lnTo>
                  <a:pt x="3485" y="273"/>
                </a:lnTo>
                <a:lnTo>
                  <a:pt x="3493" y="272"/>
                </a:lnTo>
                <a:lnTo>
                  <a:pt x="3501" y="270"/>
                </a:lnTo>
                <a:lnTo>
                  <a:pt x="3511" y="269"/>
                </a:lnTo>
                <a:lnTo>
                  <a:pt x="3531" y="267"/>
                </a:lnTo>
                <a:lnTo>
                  <a:pt x="3540" y="267"/>
                </a:lnTo>
                <a:lnTo>
                  <a:pt x="3550" y="269"/>
                </a:lnTo>
                <a:lnTo>
                  <a:pt x="3560" y="270"/>
                </a:lnTo>
                <a:lnTo>
                  <a:pt x="3570" y="272"/>
                </a:lnTo>
                <a:lnTo>
                  <a:pt x="3586" y="276"/>
                </a:lnTo>
                <a:lnTo>
                  <a:pt x="3596" y="279"/>
                </a:lnTo>
                <a:lnTo>
                  <a:pt x="3603" y="283"/>
                </a:lnTo>
                <a:lnTo>
                  <a:pt x="3611" y="287"/>
                </a:lnTo>
                <a:lnTo>
                  <a:pt x="3620" y="291"/>
                </a:lnTo>
                <a:lnTo>
                  <a:pt x="3627" y="295"/>
                </a:lnTo>
                <a:lnTo>
                  <a:pt x="3634" y="301"/>
                </a:lnTo>
                <a:lnTo>
                  <a:pt x="3641" y="306"/>
                </a:lnTo>
                <a:lnTo>
                  <a:pt x="3648" y="313"/>
                </a:lnTo>
                <a:lnTo>
                  <a:pt x="3654" y="319"/>
                </a:lnTo>
                <a:lnTo>
                  <a:pt x="3660" y="326"/>
                </a:lnTo>
                <a:lnTo>
                  <a:pt x="3666" y="334"/>
                </a:lnTo>
                <a:lnTo>
                  <a:pt x="3671" y="341"/>
                </a:lnTo>
                <a:lnTo>
                  <a:pt x="3681" y="358"/>
                </a:lnTo>
                <a:lnTo>
                  <a:pt x="3685" y="366"/>
                </a:lnTo>
                <a:lnTo>
                  <a:pt x="3689" y="376"/>
                </a:lnTo>
                <a:lnTo>
                  <a:pt x="3693" y="384"/>
                </a:lnTo>
                <a:lnTo>
                  <a:pt x="3696" y="394"/>
                </a:lnTo>
                <a:lnTo>
                  <a:pt x="3699" y="403"/>
                </a:lnTo>
                <a:lnTo>
                  <a:pt x="3702" y="413"/>
                </a:lnTo>
                <a:lnTo>
                  <a:pt x="3705" y="434"/>
                </a:lnTo>
                <a:lnTo>
                  <a:pt x="3707" y="456"/>
                </a:lnTo>
                <a:lnTo>
                  <a:pt x="3709" y="480"/>
                </a:lnTo>
                <a:lnTo>
                  <a:pt x="3707" y="503"/>
                </a:lnTo>
                <a:lnTo>
                  <a:pt x="3706" y="514"/>
                </a:lnTo>
                <a:lnTo>
                  <a:pt x="3705" y="525"/>
                </a:lnTo>
                <a:lnTo>
                  <a:pt x="3703" y="535"/>
                </a:lnTo>
                <a:lnTo>
                  <a:pt x="3702" y="546"/>
                </a:lnTo>
                <a:lnTo>
                  <a:pt x="3699" y="556"/>
                </a:lnTo>
                <a:lnTo>
                  <a:pt x="3696" y="566"/>
                </a:lnTo>
                <a:lnTo>
                  <a:pt x="3689" y="584"/>
                </a:lnTo>
                <a:lnTo>
                  <a:pt x="3685" y="593"/>
                </a:lnTo>
                <a:lnTo>
                  <a:pt x="3681" y="602"/>
                </a:lnTo>
                <a:lnTo>
                  <a:pt x="3677" y="610"/>
                </a:lnTo>
                <a:lnTo>
                  <a:pt x="3671" y="617"/>
                </a:lnTo>
                <a:lnTo>
                  <a:pt x="3660" y="632"/>
                </a:lnTo>
                <a:lnTo>
                  <a:pt x="3648" y="646"/>
                </a:lnTo>
                <a:lnTo>
                  <a:pt x="3634" y="657"/>
                </a:lnTo>
                <a:lnTo>
                  <a:pt x="3620" y="667"/>
                </a:lnTo>
                <a:lnTo>
                  <a:pt x="3611" y="671"/>
                </a:lnTo>
                <a:lnTo>
                  <a:pt x="3603" y="675"/>
                </a:lnTo>
                <a:lnTo>
                  <a:pt x="3586" y="682"/>
                </a:lnTo>
                <a:lnTo>
                  <a:pt x="3570" y="686"/>
                </a:lnTo>
                <a:lnTo>
                  <a:pt x="3550" y="689"/>
                </a:lnTo>
                <a:lnTo>
                  <a:pt x="3531" y="689"/>
                </a:lnTo>
                <a:lnTo>
                  <a:pt x="3511" y="689"/>
                </a:lnTo>
                <a:lnTo>
                  <a:pt x="3501" y="688"/>
                </a:lnTo>
                <a:lnTo>
                  <a:pt x="3493" y="686"/>
                </a:lnTo>
                <a:lnTo>
                  <a:pt x="3485" y="683"/>
                </a:lnTo>
                <a:lnTo>
                  <a:pt x="3476" y="682"/>
                </a:lnTo>
                <a:lnTo>
                  <a:pt x="3468" y="678"/>
                </a:lnTo>
                <a:lnTo>
                  <a:pt x="3460" y="675"/>
                </a:lnTo>
                <a:lnTo>
                  <a:pt x="3444" y="667"/>
                </a:lnTo>
                <a:lnTo>
                  <a:pt x="3429" y="657"/>
                </a:lnTo>
                <a:lnTo>
                  <a:pt x="3422" y="652"/>
                </a:lnTo>
                <a:lnTo>
                  <a:pt x="3415" y="646"/>
                </a:lnTo>
                <a:lnTo>
                  <a:pt x="3410" y="639"/>
                </a:lnTo>
                <a:lnTo>
                  <a:pt x="3403" y="632"/>
                </a:lnTo>
                <a:close/>
                <a:moveTo>
                  <a:pt x="4346" y="817"/>
                </a:moveTo>
                <a:lnTo>
                  <a:pt x="4314" y="804"/>
                </a:lnTo>
                <a:lnTo>
                  <a:pt x="4283" y="792"/>
                </a:lnTo>
                <a:lnTo>
                  <a:pt x="4254" y="776"/>
                </a:lnTo>
                <a:lnTo>
                  <a:pt x="4240" y="768"/>
                </a:lnTo>
                <a:lnTo>
                  <a:pt x="4226" y="760"/>
                </a:lnTo>
                <a:lnTo>
                  <a:pt x="4164" y="866"/>
                </a:lnTo>
                <a:lnTo>
                  <a:pt x="4180" y="876"/>
                </a:lnTo>
                <a:lnTo>
                  <a:pt x="4198" y="886"/>
                </a:lnTo>
                <a:lnTo>
                  <a:pt x="4216" y="896"/>
                </a:lnTo>
                <a:lnTo>
                  <a:pt x="4235" y="904"/>
                </a:lnTo>
                <a:lnTo>
                  <a:pt x="4254" y="912"/>
                </a:lnTo>
                <a:lnTo>
                  <a:pt x="4274" y="921"/>
                </a:lnTo>
                <a:lnTo>
                  <a:pt x="4293" y="927"/>
                </a:lnTo>
                <a:lnTo>
                  <a:pt x="4312" y="933"/>
                </a:lnTo>
                <a:lnTo>
                  <a:pt x="4332" y="940"/>
                </a:lnTo>
                <a:lnTo>
                  <a:pt x="4353" y="944"/>
                </a:lnTo>
                <a:lnTo>
                  <a:pt x="4375" y="948"/>
                </a:lnTo>
                <a:lnTo>
                  <a:pt x="4396" y="952"/>
                </a:lnTo>
                <a:lnTo>
                  <a:pt x="4420" y="955"/>
                </a:lnTo>
                <a:lnTo>
                  <a:pt x="4442" y="957"/>
                </a:lnTo>
                <a:lnTo>
                  <a:pt x="4465" y="958"/>
                </a:lnTo>
                <a:lnTo>
                  <a:pt x="4491" y="958"/>
                </a:lnTo>
                <a:lnTo>
                  <a:pt x="4509" y="958"/>
                </a:lnTo>
                <a:lnTo>
                  <a:pt x="4527" y="957"/>
                </a:lnTo>
                <a:lnTo>
                  <a:pt x="4543" y="955"/>
                </a:lnTo>
                <a:lnTo>
                  <a:pt x="4561" y="954"/>
                </a:lnTo>
                <a:lnTo>
                  <a:pt x="4578" y="951"/>
                </a:lnTo>
                <a:lnTo>
                  <a:pt x="4595" y="947"/>
                </a:lnTo>
                <a:lnTo>
                  <a:pt x="4612" y="943"/>
                </a:lnTo>
                <a:lnTo>
                  <a:pt x="4627" y="939"/>
                </a:lnTo>
                <a:lnTo>
                  <a:pt x="4642" y="933"/>
                </a:lnTo>
                <a:lnTo>
                  <a:pt x="4657" y="927"/>
                </a:lnTo>
                <a:lnTo>
                  <a:pt x="4673" y="921"/>
                </a:lnTo>
                <a:lnTo>
                  <a:pt x="4687" y="914"/>
                </a:lnTo>
                <a:lnTo>
                  <a:pt x="4713" y="898"/>
                </a:lnTo>
                <a:lnTo>
                  <a:pt x="4726" y="890"/>
                </a:lnTo>
                <a:lnTo>
                  <a:pt x="4737" y="880"/>
                </a:lnTo>
                <a:lnTo>
                  <a:pt x="4748" y="872"/>
                </a:lnTo>
                <a:lnTo>
                  <a:pt x="4759" y="861"/>
                </a:lnTo>
                <a:lnTo>
                  <a:pt x="4769" y="851"/>
                </a:lnTo>
                <a:lnTo>
                  <a:pt x="4778" y="840"/>
                </a:lnTo>
                <a:lnTo>
                  <a:pt x="4788" y="829"/>
                </a:lnTo>
                <a:lnTo>
                  <a:pt x="4797" y="817"/>
                </a:lnTo>
                <a:lnTo>
                  <a:pt x="4804" y="804"/>
                </a:lnTo>
                <a:lnTo>
                  <a:pt x="4810" y="792"/>
                </a:lnTo>
                <a:lnTo>
                  <a:pt x="4817" y="779"/>
                </a:lnTo>
                <a:lnTo>
                  <a:pt x="4822" y="765"/>
                </a:lnTo>
                <a:lnTo>
                  <a:pt x="4827" y="751"/>
                </a:lnTo>
                <a:lnTo>
                  <a:pt x="4830" y="738"/>
                </a:lnTo>
                <a:lnTo>
                  <a:pt x="4834" y="722"/>
                </a:lnTo>
                <a:lnTo>
                  <a:pt x="4836" y="707"/>
                </a:lnTo>
                <a:lnTo>
                  <a:pt x="4837" y="692"/>
                </a:lnTo>
                <a:lnTo>
                  <a:pt x="4837" y="677"/>
                </a:lnTo>
                <a:lnTo>
                  <a:pt x="4837" y="663"/>
                </a:lnTo>
                <a:lnTo>
                  <a:pt x="4836" y="649"/>
                </a:lnTo>
                <a:lnTo>
                  <a:pt x="4834" y="636"/>
                </a:lnTo>
                <a:lnTo>
                  <a:pt x="4833" y="622"/>
                </a:lnTo>
                <a:lnTo>
                  <a:pt x="4829" y="610"/>
                </a:lnTo>
                <a:lnTo>
                  <a:pt x="4826" y="599"/>
                </a:lnTo>
                <a:lnTo>
                  <a:pt x="4822" y="586"/>
                </a:lnTo>
                <a:lnTo>
                  <a:pt x="4816" y="575"/>
                </a:lnTo>
                <a:lnTo>
                  <a:pt x="4810" y="564"/>
                </a:lnTo>
                <a:lnTo>
                  <a:pt x="4805" y="553"/>
                </a:lnTo>
                <a:lnTo>
                  <a:pt x="4798" y="543"/>
                </a:lnTo>
                <a:lnTo>
                  <a:pt x="4791" y="534"/>
                </a:lnTo>
                <a:lnTo>
                  <a:pt x="4783" y="524"/>
                </a:lnTo>
                <a:lnTo>
                  <a:pt x="4774" y="514"/>
                </a:lnTo>
                <a:lnTo>
                  <a:pt x="4765" y="506"/>
                </a:lnTo>
                <a:lnTo>
                  <a:pt x="4755" y="498"/>
                </a:lnTo>
                <a:lnTo>
                  <a:pt x="4744" y="489"/>
                </a:lnTo>
                <a:lnTo>
                  <a:pt x="4733" y="482"/>
                </a:lnTo>
                <a:lnTo>
                  <a:pt x="4720" y="474"/>
                </a:lnTo>
                <a:lnTo>
                  <a:pt x="4708" y="467"/>
                </a:lnTo>
                <a:lnTo>
                  <a:pt x="4694" y="460"/>
                </a:lnTo>
                <a:lnTo>
                  <a:pt x="4680" y="455"/>
                </a:lnTo>
                <a:lnTo>
                  <a:pt x="4666" y="449"/>
                </a:lnTo>
                <a:lnTo>
                  <a:pt x="4650" y="444"/>
                </a:lnTo>
                <a:lnTo>
                  <a:pt x="4618" y="432"/>
                </a:lnTo>
                <a:lnTo>
                  <a:pt x="4582" y="424"/>
                </a:lnTo>
                <a:lnTo>
                  <a:pt x="4564" y="420"/>
                </a:lnTo>
                <a:lnTo>
                  <a:pt x="4545" y="417"/>
                </a:lnTo>
                <a:lnTo>
                  <a:pt x="4525" y="414"/>
                </a:lnTo>
                <a:lnTo>
                  <a:pt x="4504" y="412"/>
                </a:lnTo>
                <a:lnTo>
                  <a:pt x="4481" y="408"/>
                </a:lnTo>
                <a:lnTo>
                  <a:pt x="4470" y="406"/>
                </a:lnTo>
                <a:lnTo>
                  <a:pt x="4459" y="405"/>
                </a:lnTo>
                <a:lnTo>
                  <a:pt x="4438" y="399"/>
                </a:lnTo>
                <a:lnTo>
                  <a:pt x="4420" y="394"/>
                </a:lnTo>
                <a:lnTo>
                  <a:pt x="4403" y="388"/>
                </a:lnTo>
                <a:lnTo>
                  <a:pt x="4388" y="381"/>
                </a:lnTo>
                <a:lnTo>
                  <a:pt x="4382" y="377"/>
                </a:lnTo>
                <a:lnTo>
                  <a:pt x="4375" y="373"/>
                </a:lnTo>
                <a:lnTo>
                  <a:pt x="4364" y="365"/>
                </a:lnTo>
                <a:lnTo>
                  <a:pt x="4360" y="360"/>
                </a:lnTo>
                <a:lnTo>
                  <a:pt x="4354" y="356"/>
                </a:lnTo>
                <a:lnTo>
                  <a:pt x="4346" y="346"/>
                </a:lnTo>
                <a:lnTo>
                  <a:pt x="4339" y="335"/>
                </a:lnTo>
                <a:lnTo>
                  <a:pt x="4336" y="330"/>
                </a:lnTo>
                <a:lnTo>
                  <a:pt x="4333" y="324"/>
                </a:lnTo>
                <a:lnTo>
                  <a:pt x="4329" y="312"/>
                </a:lnTo>
                <a:lnTo>
                  <a:pt x="4328" y="306"/>
                </a:lnTo>
                <a:lnTo>
                  <a:pt x="4326" y="299"/>
                </a:lnTo>
                <a:lnTo>
                  <a:pt x="4324" y="285"/>
                </a:lnTo>
                <a:lnTo>
                  <a:pt x="4324" y="272"/>
                </a:lnTo>
                <a:lnTo>
                  <a:pt x="4324" y="263"/>
                </a:lnTo>
                <a:lnTo>
                  <a:pt x="4325" y="254"/>
                </a:lnTo>
                <a:lnTo>
                  <a:pt x="4328" y="237"/>
                </a:lnTo>
                <a:lnTo>
                  <a:pt x="4329" y="229"/>
                </a:lnTo>
                <a:lnTo>
                  <a:pt x="4332" y="220"/>
                </a:lnTo>
                <a:lnTo>
                  <a:pt x="4339" y="206"/>
                </a:lnTo>
                <a:lnTo>
                  <a:pt x="4343" y="200"/>
                </a:lnTo>
                <a:lnTo>
                  <a:pt x="4347" y="193"/>
                </a:lnTo>
                <a:lnTo>
                  <a:pt x="4351" y="186"/>
                </a:lnTo>
                <a:lnTo>
                  <a:pt x="4357" y="180"/>
                </a:lnTo>
                <a:lnTo>
                  <a:pt x="4363" y="175"/>
                </a:lnTo>
                <a:lnTo>
                  <a:pt x="4368" y="169"/>
                </a:lnTo>
                <a:lnTo>
                  <a:pt x="4381" y="158"/>
                </a:lnTo>
                <a:lnTo>
                  <a:pt x="4393" y="150"/>
                </a:lnTo>
                <a:lnTo>
                  <a:pt x="4401" y="145"/>
                </a:lnTo>
                <a:lnTo>
                  <a:pt x="4408" y="141"/>
                </a:lnTo>
                <a:lnTo>
                  <a:pt x="4424" y="134"/>
                </a:lnTo>
                <a:lnTo>
                  <a:pt x="4432" y="132"/>
                </a:lnTo>
                <a:lnTo>
                  <a:pt x="4440" y="130"/>
                </a:lnTo>
                <a:lnTo>
                  <a:pt x="4457" y="126"/>
                </a:lnTo>
                <a:lnTo>
                  <a:pt x="4475" y="122"/>
                </a:lnTo>
                <a:lnTo>
                  <a:pt x="4493" y="120"/>
                </a:lnTo>
                <a:lnTo>
                  <a:pt x="4511" y="120"/>
                </a:lnTo>
                <a:lnTo>
                  <a:pt x="4539" y="120"/>
                </a:lnTo>
                <a:lnTo>
                  <a:pt x="4567" y="125"/>
                </a:lnTo>
                <a:lnTo>
                  <a:pt x="4581" y="126"/>
                </a:lnTo>
                <a:lnTo>
                  <a:pt x="4595" y="129"/>
                </a:lnTo>
                <a:lnTo>
                  <a:pt x="4623" y="136"/>
                </a:lnTo>
                <a:lnTo>
                  <a:pt x="4637" y="140"/>
                </a:lnTo>
                <a:lnTo>
                  <a:pt x="4650" y="144"/>
                </a:lnTo>
                <a:lnTo>
                  <a:pt x="4678" y="155"/>
                </a:lnTo>
                <a:lnTo>
                  <a:pt x="4705" y="169"/>
                </a:lnTo>
                <a:lnTo>
                  <a:pt x="4719" y="177"/>
                </a:lnTo>
                <a:lnTo>
                  <a:pt x="4731" y="186"/>
                </a:lnTo>
                <a:lnTo>
                  <a:pt x="4795" y="79"/>
                </a:lnTo>
                <a:lnTo>
                  <a:pt x="4759" y="59"/>
                </a:lnTo>
                <a:lnTo>
                  <a:pt x="4742" y="51"/>
                </a:lnTo>
                <a:lnTo>
                  <a:pt x="4724" y="43"/>
                </a:lnTo>
                <a:lnTo>
                  <a:pt x="4706" y="36"/>
                </a:lnTo>
                <a:lnTo>
                  <a:pt x="4698" y="32"/>
                </a:lnTo>
                <a:lnTo>
                  <a:pt x="4688" y="29"/>
                </a:lnTo>
                <a:lnTo>
                  <a:pt x="4670" y="23"/>
                </a:lnTo>
                <a:lnTo>
                  <a:pt x="4652" y="18"/>
                </a:lnTo>
                <a:lnTo>
                  <a:pt x="4634" y="14"/>
                </a:lnTo>
                <a:lnTo>
                  <a:pt x="4616" y="11"/>
                </a:lnTo>
                <a:lnTo>
                  <a:pt x="4599" y="8"/>
                </a:lnTo>
                <a:lnTo>
                  <a:pt x="4581" y="5"/>
                </a:lnTo>
                <a:lnTo>
                  <a:pt x="4563" y="3"/>
                </a:lnTo>
                <a:lnTo>
                  <a:pt x="4546" y="1"/>
                </a:lnTo>
                <a:lnTo>
                  <a:pt x="4511" y="0"/>
                </a:lnTo>
                <a:lnTo>
                  <a:pt x="4495" y="1"/>
                </a:lnTo>
                <a:lnTo>
                  <a:pt x="4477" y="1"/>
                </a:lnTo>
                <a:lnTo>
                  <a:pt x="4460" y="4"/>
                </a:lnTo>
                <a:lnTo>
                  <a:pt x="4445" y="7"/>
                </a:lnTo>
                <a:lnTo>
                  <a:pt x="4428" y="10"/>
                </a:lnTo>
                <a:lnTo>
                  <a:pt x="4413" y="14"/>
                </a:lnTo>
                <a:lnTo>
                  <a:pt x="4397" y="18"/>
                </a:lnTo>
                <a:lnTo>
                  <a:pt x="4383" y="23"/>
                </a:lnTo>
                <a:lnTo>
                  <a:pt x="4368" y="29"/>
                </a:lnTo>
                <a:lnTo>
                  <a:pt x="4354" y="36"/>
                </a:lnTo>
                <a:lnTo>
                  <a:pt x="4342" y="43"/>
                </a:lnTo>
                <a:lnTo>
                  <a:pt x="4329" y="50"/>
                </a:lnTo>
                <a:lnTo>
                  <a:pt x="4317" y="57"/>
                </a:lnTo>
                <a:lnTo>
                  <a:pt x="4305" y="65"/>
                </a:lnTo>
                <a:lnTo>
                  <a:pt x="4294" y="75"/>
                </a:lnTo>
                <a:lnTo>
                  <a:pt x="4283" y="83"/>
                </a:lnTo>
                <a:lnTo>
                  <a:pt x="4274" y="93"/>
                </a:lnTo>
                <a:lnTo>
                  <a:pt x="4264" y="104"/>
                </a:lnTo>
                <a:lnTo>
                  <a:pt x="4255" y="114"/>
                </a:lnTo>
                <a:lnTo>
                  <a:pt x="4247" y="125"/>
                </a:lnTo>
                <a:lnTo>
                  <a:pt x="4239" y="136"/>
                </a:lnTo>
                <a:lnTo>
                  <a:pt x="4232" y="147"/>
                </a:lnTo>
                <a:lnTo>
                  <a:pt x="4225" y="159"/>
                </a:lnTo>
                <a:lnTo>
                  <a:pt x="4219" y="172"/>
                </a:lnTo>
                <a:lnTo>
                  <a:pt x="4214" y="184"/>
                </a:lnTo>
                <a:lnTo>
                  <a:pt x="4210" y="197"/>
                </a:lnTo>
                <a:lnTo>
                  <a:pt x="4205" y="209"/>
                </a:lnTo>
                <a:lnTo>
                  <a:pt x="4203" y="223"/>
                </a:lnTo>
                <a:lnTo>
                  <a:pt x="4200" y="236"/>
                </a:lnTo>
                <a:lnTo>
                  <a:pt x="4198" y="249"/>
                </a:lnTo>
                <a:lnTo>
                  <a:pt x="4197" y="263"/>
                </a:lnTo>
                <a:lnTo>
                  <a:pt x="4197" y="277"/>
                </a:lnTo>
                <a:lnTo>
                  <a:pt x="4198" y="302"/>
                </a:lnTo>
                <a:lnTo>
                  <a:pt x="4201" y="326"/>
                </a:lnTo>
                <a:lnTo>
                  <a:pt x="4204" y="337"/>
                </a:lnTo>
                <a:lnTo>
                  <a:pt x="4207" y="349"/>
                </a:lnTo>
                <a:lnTo>
                  <a:pt x="4210" y="360"/>
                </a:lnTo>
                <a:lnTo>
                  <a:pt x="4214" y="370"/>
                </a:lnTo>
                <a:lnTo>
                  <a:pt x="4219" y="381"/>
                </a:lnTo>
                <a:lnTo>
                  <a:pt x="4223" y="392"/>
                </a:lnTo>
                <a:lnTo>
                  <a:pt x="4229" y="402"/>
                </a:lnTo>
                <a:lnTo>
                  <a:pt x="4236" y="412"/>
                </a:lnTo>
                <a:lnTo>
                  <a:pt x="4243" y="421"/>
                </a:lnTo>
                <a:lnTo>
                  <a:pt x="4250" y="431"/>
                </a:lnTo>
                <a:lnTo>
                  <a:pt x="4258" y="439"/>
                </a:lnTo>
                <a:lnTo>
                  <a:pt x="4267" y="449"/>
                </a:lnTo>
                <a:lnTo>
                  <a:pt x="4275" y="457"/>
                </a:lnTo>
                <a:lnTo>
                  <a:pt x="4285" y="466"/>
                </a:lnTo>
                <a:lnTo>
                  <a:pt x="4294" y="473"/>
                </a:lnTo>
                <a:lnTo>
                  <a:pt x="4305" y="481"/>
                </a:lnTo>
                <a:lnTo>
                  <a:pt x="4317" y="488"/>
                </a:lnTo>
                <a:lnTo>
                  <a:pt x="4329" y="495"/>
                </a:lnTo>
                <a:lnTo>
                  <a:pt x="4342" y="500"/>
                </a:lnTo>
                <a:lnTo>
                  <a:pt x="4354" y="506"/>
                </a:lnTo>
                <a:lnTo>
                  <a:pt x="4361" y="509"/>
                </a:lnTo>
                <a:lnTo>
                  <a:pt x="4368" y="512"/>
                </a:lnTo>
                <a:lnTo>
                  <a:pt x="4383" y="517"/>
                </a:lnTo>
                <a:lnTo>
                  <a:pt x="4399" y="521"/>
                </a:lnTo>
                <a:lnTo>
                  <a:pt x="4414" y="525"/>
                </a:lnTo>
                <a:lnTo>
                  <a:pt x="4429" y="530"/>
                </a:lnTo>
                <a:lnTo>
                  <a:pt x="4447" y="532"/>
                </a:lnTo>
                <a:lnTo>
                  <a:pt x="4482" y="538"/>
                </a:lnTo>
                <a:lnTo>
                  <a:pt x="4538" y="546"/>
                </a:lnTo>
                <a:lnTo>
                  <a:pt x="4584" y="556"/>
                </a:lnTo>
                <a:lnTo>
                  <a:pt x="4605" y="561"/>
                </a:lnTo>
                <a:lnTo>
                  <a:pt x="4623" y="567"/>
                </a:lnTo>
                <a:lnTo>
                  <a:pt x="4639" y="575"/>
                </a:lnTo>
                <a:lnTo>
                  <a:pt x="4646" y="579"/>
                </a:lnTo>
                <a:lnTo>
                  <a:pt x="4653" y="584"/>
                </a:lnTo>
                <a:lnTo>
                  <a:pt x="4659" y="588"/>
                </a:lnTo>
                <a:lnTo>
                  <a:pt x="4666" y="592"/>
                </a:lnTo>
                <a:lnTo>
                  <a:pt x="4671" y="597"/>
                </a:lnTo>
                <a:lnTo>
                  <a:pt x="4676" y="602"/>
                </a:lnTo>
                <a:lnTo>
                  <a:pt x="4681" y="607"/>
                </a:lnTo>
                <a:lnTo>
                  <a:pt x="4685" y="613"/>
                </a:lnTo>
                <a:lnTo>
                  <a:pt x="4688" y="618"/>
                </a:lnTo>
                <a:lnTo>
                  <a:pt x="4692" y="625"/>
                </a:lnTo>
                <a:lnTo>
                  <a:pt x="4695" y="631"/>
                </a:lnTo>
                <a:lnTo>
                  <a:pt x="4696" y="638"/>
                </a:lnTo>
                <a:lnTo>
                  <a:pt x="4701" y="653"/>
                </a:lnTo>
                <a:lnTo>
                  <a:pt x="4702" y="660"/>
                </a:lnTo>
                <a:lnTo>
                  <a:pt x="4703" y="668"/>
                </a:lnTo>
                <a:lnTo>
                  <a:pt x="4703" y="685"/>
                </a:lnTo>
                <a:lnTo>
                  <a:pt x="4703" y="703"/>
                </a:lnTo>
                <a:lnTo>
                  <a:pt x="4701" y="720"/>
                </a:lnTo>
                <a:lnTo>
                  <a:pt x="4698" y="726"/>
                </a:lnTo>
                <a:lnTo>
                  <a:pt x="4696" y="735"/>
                </a:lnTo>
                <a:lnTo>
                  <a:pt x="4689" y="749"/>
                </a:lnTo>
                <a:lnTo>
                  <a:pt x="4682" y="762"/>
                </a:lnTo>
                <a:lnTo>
                  <a:pt x="4677" y="768"/>
                </a:lnTo>
                <a:lnTo>
                  <a:pt x="4673" y="775"/>
                </a:lnTo>
                <a:lnTo>
                  <a:pt x="4662" y="786"/>
                </a:lnTo>
                <a:lnTo>
                  <a:pt x="4649" y="797"/>
                </a:lnTo>
                <a:lnTo>
                  <a:pt x="4634" y="807"/>
                </a:lnTo>
                <a:lnTo>
                  <a:pt x="4625" y="811"/>
                </a:lnTo>
                <a:lnTo>
                  <a:pt x="4617" y="815"/>
                </a:lnTo>
                <a:lnTo>
                  <a:pt x="4600" y="822"/>
                </a:lnTo>
                <a:lnTo>
                  <a:pt x="4581" y="828"/>
                </a:lnTo>
                <a:lnTo>
                  <a:pt x="4560" y="833"/>
                </a:lnTo>
                <a:lnTo>
                  <a:pt x="4550" y="835"/>
                </a:lnTo>
                <a:lnTo>
                  <a:pt x="4539" y="836"/>
                </a:lnTo>
                <a:lnTo>
                  <a:pt x="4516" y="837"/>
                </a:lnTo>
                <a:lnTo>
                  <a:pt x="4491" y="839"/>
                </a:lnTo>
                <a:lnTo>
                  <a:pt x="4471" y="839"/>
                </a:lnTo>
                <a:lnTo>
                  <a:pt x="4452" y="837"/>
                </a:lnTo>
                <a:lnTo>
                  <a:pt x="4433" y="836"/>
                </a:lnTo>
                <a:lnTo>
                  <a:pt x="4415" y="833"/>
                </a:lnTo>
                <a:lnTo>
                  <a:pt x="4397" y="830"/>
                </a:lnTo>
                <a:lnTo>
                  <a:pt x="4379" y="826"/>
                </a:lnTo>
                <a:lnTo>
                  <a:pt x="4363" y="822"/>
                </a:lnTo>
                <a:lnTo>
                  <a:pt x="4346" y="817"/>
                </a:lnTo>
                <a:close/>
                <a:moveTo>
                  <a:pt x="5368" y="946"/>
                </a:moveTo>
                <a:lnTo>
                  <a:pt x="5368" y="133"/>
                </a:lnTo>
                <a:lnTo>
                  <a:pt x="5649" y="133"/>
                </a:lnTo>
                <a:lnTo>
                  <a:pt x="5649" y="14"/>
                </a:lnTo>
                <a:lnTo>
                  <a:pt x="4955" y="14"/>
                </a:lnTo>
                <a:lnTo>
                  <a:pt x="4955" y="133"/>
                </a:lnTo>
                <a:lnTo>
                  <a:pt x="5235" y="133"/>
                </a:lnTo>
                <a:lnTo>
                  <a:pt x="5235" y="946"/>
                </a:lnTo>
                <a:lnTo>
                  <a:pt x="5368" y="946"/>
                </a:lnTo>
                <a:close/>
                <a:moveTo>
                  <a:pt x="6292" y="933"/>
                </a:moveTo>
                <a:lnTo>
                  <a:pt x="6309" y="926"/>
                </a:lnTo>
                <a:lnTo>
                  <a:pt x="6323" y="919"/>
                </a:lnTo>
                <a:lnTo>
                  <a:pt x="6338" y="911"/>
                </a:lnTo>
                <a:lnTo>
                  <a:pt x="6352" y="901"/>
                </a:lnTo>
                <a:lnTo>
                  <a:pt x="6366" y="891"/>
                </a:lnTo>
                <a:lnTo>
                  <a:pt x="6378" y="882"/>
                </a:lnTo>
                <a:lnTo>
                  <a:pt x="6391" y="871"/>
                </a:lnTo>
                <a:lnTo>
                  <a:pt x="6402" y="858"/>
                </a:lnTo>
                <a:lnTo>
                  <a:pt x="6413" y="846"/>
                </a:lnTo>
                <a:lnTo>
                  <a:pt x="6424" y="833"/>
                </a:lnTo>
                <a:lnTo>
                  <a:pt x="6434" y="818"/>
                </a:lnTo>
                <a:lnTo>
                  <a:pt x="6444" y="804"/>
                </a:lnTo>
                <a:lnTo>
                  <a:pt x="6452" y="789"/>
                </a:lnTo>
                <a:lnTo>
                  <a:pt x="6460" y="774"/>
                </a:lnTo>
                <a:lnTo>
                  <a:pt x="6465" y="765"/>
                </a:lnTo>
                <a:lnTo>
                  <a:pt x="6467" y="757"/>
                </a:lnTo>
                <a:lnTo>
                  <a:pt x="6474" y="739"/>
                </a:lnTo>
                <a:lnTo>
                  <a:pt x="6481" y="722"/>
                </a:lnTo>
                <a:lnTo>
                  <a:pt x="6485" y="703"/>
                </a:lnTo>
                <a:lnTo>
                  <a:pt x="6491" y="683"/>
                </a:lnTo>
                <a:lnTo>
                  <a:pt x="6494" y="664"/>
                </a:lnTo>
                <a:lnTo>
                  <a:pt x="6497" y="645"/>
                </a:lnTo>
                <a:lnTo>
                  <a:pt x="6499" y="622"/>
                </a:lnTo>
                <a:lnTo>
                  <a:pt x="6501" y="602"/>
                </a:lnTo>
                <a:lnTo>
                  <a:pt x="6501" y="579"/>
                </a:lnTo>
                <a:lnTo>
                  <a:pt x="6501" y="14"/>
                </a:lnTo>
                <a:lnTo>
                  <a:pt x="6367" y="14"/>
                </a:lnTo>
                <a:lnTo>
                  <a:pt x="6367" y="579"/>
                </a:lnTo>
                <a:lnTo>
                  <a:pt x="6366" y="610"/>
                </a:lnTo>
                <a:lnTo>
                  <a:pt x="6363" y="639"/>
                </a:lnTo>
                <a:lnTo>
                  <a:pt x="6362" y="652"/>
                </a:lnTo>
                <a:lnTo>
                  <a:pt x="6359" y="665"/>
                </a:lnTo>
                <a:lnTo>
                  <a:pt x="6353" y="690"/>
                </a:lnTo>
                <a:lnTo>
                  <a:pt x="6345" y="714"/>
                </a:lnTo>
                <a:lnTo>
                  <a:pt x="6341" y="725"/>
                </a:lnTo>
                <a:lnTo>
                  <a:pt x="6337" y="735"/>
                </a:lnTo>
                <a:lnTo>
                  <a:pt x="6331" y="744"/>
                </a:lnTo>
                <a:lnTo>
                  <a:pt x="6324" y="754"/>
                </a:lnTo>
                <a:lnTo>
                  <a:pt x="6318" y="764"/>
                </a:lnTo>
                <a:lnTo>
                  <a:pt x="6311" y="772"/>
                </a:lnTo>
                <a:lnTo>
                  <a:pt x="6305" y="781"/>
                </a:lnTo>
                <a:lnTo>
                  <a:pt x="6298" y="787"/>
                </a:lnTo>
                <a:lnTo>
                  <a:pt x="6289" y="794"/>
                </a:lnTo>
                <a:lnTo>
                  <a:pt x="6281" y="801"/>
                </a:lnTo>
                <a:lnTo>
                  <a:pt x="6273" y="807"/>
                </a:lnTo>
                <a:lnTo>
                  <a:pt x="6263" y="812"/>
                </a:lnTo>
                <a:lnTo>
                  <a:pt x="6254" y="818"/>
                </a:lnTo>
                <a:lnTo>
                  <a:pt x="6245" y="822"/>
                </a:lnTo>
                <a:lnTo>
                  <a:pt x="6234" y="826"/>
                </a:lnTo>
                <a:lnTo>
                  <a:pt x="6224" y="829"/>
                </a:lnTo>
                <a:lnTo>
                  <a:pt x="6213" y="832"/>
                </a:lnTo>
                <a:lnTo>
                  <a:pt x="6202" y="835"/>
                </a:lnTo>
                <a:lnTo>
                  <a:pt x="6189" y="836"/>
                </a:lnTo>
                <a:lnTo>
                  <a:pt x="6178" y="837"/>
                </a:lnTo>
                <a:lnTo>
                  <a:pt x="6165" y="839"/>
                </a:lnTo>
                <a:lnTo>
                  <a:pt x="6152" y="839"/>
                </a:lnTo>
                <a:lnTo>
                  <a:pt x="6126" y="837"/>
                </a:lnTo>
                <a:lnTo>
                  <a:pt x="6115" y="836"/>
                </a:lnTo>
                <a:lnTo>
                  <a:pt x="6103" y="835"/>
                </a:lnTo>
                <a:lnTo>
                  <a:pt x="6092" y="832"/>
                </a:lnTo>
                <a:lnTo>
                  <a:pt x="6081" y="829"/>
                </a:lnTo>
                <a:lnTo>
                  <a:pt x="6069" y="826"/>
                </a:lnTo>
                <a:lnTo>
                  <a:pt x="6060" y="822"/>
                </a:lnTo>
                <a:lnTo>
                  <a:pt x="6050" y="818"/>
                </a:lnTo>
                <a:lnTo>
                  <a:pt x="6040" y="812"/>
                </a:lnTo>
                <a:lnTo>
                  <a:pt x="6030" y="807"/>
                </a:lnTo>
                <a:lnTo>
                  <a:pt x="6022" y="801"/>
                </a:lnTo>
                <a:lnTo>
                  <a:pt x="6014" y="794"/>
                </a:lnTo>
                <a:lnTo>
                  <a:pt x="6005" y="787"/>
                </a:lnTo>
                <a:lnTo>
                  <a:pt x="5998" y="781"/>
                </a:lnTo>
                <a:lnTo>
                  <a:pt x="5990" y="772"/>
                </a:lnTo>
                <a:lnTo>
                  <a:pt x="5983" y="764"/>
                </a:lnTo>
                <a:lnTo>
                  <a:pt x="5978" y="754"/>
                </a:lnTo>
                <a:lnTo>
                  <a:pt x="5965" y="735"/>
                </a:lnTo>
                <a:lnTo>
                  <a:pt x="5961" y="725"/>
                </a:lnTo>
                <a:lnTo>
                  <a:pt x="5955" y="714"/>
                </a:lnTo>
                <a:lnTo>
                  <a:pt x="5951" y="703"/>
                </a:lnTo>
                <a:lnTo>
                  <a:pt x="5947" y="690"/>
                </a:lnTo>
                <a:lnTo>
                  <a:pt x="5944" y="678"/>
                </a:lnTo>
                <a:lnTo>
                  <a:pt x="5941" y="665"/>
                </a:lnTo>
                <a:lnTo>
                  <a:pt x="5937" y="639"/>
                </a:lnTo>
                <a:lnTo>
                  <a:pt x="5934" y="610"/>
                </a:lnTo>
                <a:lnTo>
                  <a:pt x="5933" y="595"/>
                </a:lnTo>
                <a:lnTo>
                  <a:pt x="5933" y="579"/>
                </a:lnTo>
                <a:lnTo>
                  <a:pt x="5933" y="14"/>
                </a:lnTo>
                <a:lnTo>
                  <a:pt x="5800" y="14"/>
                </a:lnTo>
                <a:lnTo>
                  <a:pt x="5800" y="579"/>
                </a:lnTo>
                <a:lnTo>
                  <a:pt x="5801" y="602"/>
                </a:lnTo>
                <a:lnTo>
                  <a:pt x="5801" y="622"/>
                </a:lnTo>
                <a:lnTo>
                  <a:pt x="5804" y="645"/>
                </a:lnTo>
                <a:lnTo>
                  <a:pt x="5807" y="664"/>
                </a:lnTo>
                <a:lnTo>
                  <a:pt x="5811" y="683"/>
                </a:lnTo>
                <a:lnTo>
                  <a:pt x="5815" y="703"/>
                </a:lnTo>
                <a:lnTo>
                  <a:pt x="5820" y="722"/>
                </a:lnTo>
                <a:lnTo>
                  <a:pt x="5823" y="731"/>
                </a:lnTo>
                <a:lnTo>
                  <a:pt x="5826" y="739"/>
                </a:lnTo>
                <a:lnTo>
                  <a:pt x="5833" y="757"/>
                </a:lnTo>
                <a:lnTo>
                  <a:pt x="5840" y="774"/>
                </a:lnTo>
                <a:lnTo>
                  <a:pt x="5848" y="789"/>
                </a:lnTo>
                <a:lnTo>
                  <a:pt x="5858" y="804"/>
                </a:lnTo>
                <a:lnTo>
                  <a:pt x="5866" y="818"/>
                </a:lnTo>
                <a:lnTo>
                  <a:pt x="5877" y="833"/>
                </a:lnTo>
                <a:lnTo>
                  <a:pt x="5887" y="846"/>
                </a:lnTo>
                <a:lnTo>
                  <a:pt x="5900" y="858"/>
                </a:lnTo>
                <a:lnTo>
                  <a:pt x="5911" y="871"/>
                </a:lnTo>
                <a:lnTo>
                  <a:pt x="5925" y="882"/>
                </a:lnTo>
                <a:lnTo>
                  <a:pt x="5937" y="891"/>
                </a:lnTo>
                <a:lnTo>
                  <a:pt x="5951" y="901"/>
                </a:lnTo>
                <a:lnTo>
                  <a:pt x="5965" y="911"/>
                </a:lnTo>
                <a:lnTo>
                  <a:pt x="5980" y="919"/>
                </a:lnTo>
                <a:lnTo>
                  <a:pt x="5987" y="922"/>
                </a:lnTo>
                <a:lnTo>
                  <a:pt x="5996" y="926"/>
                </a:lnTo>
                <a:lnTo>
                  <a:pt x="6011" y="933"/>
                </a:lnTo>
                <a:lnTo>
                  <a:pt x="6028" y="939"/>
                </a:lnTo>
                <a:lnTo>
                  <a:pt x="6044" y="944"/>
                </a:lnTo>
                <a:lnTo>
                  <a:pt x="6061" y="948"/>
                </a:lnTo>
                <a:lnTo>
                  <a:pt x="6079" y="952"/>
                </a:lnTo>
                <a:lnTo>
                  <a:pt x="6097" y="955"/>
                </a:lnTo>
                <a:lnTo>
                  <a:pt x="6115" y="957"/>
                </a:lnTo>
                <a:lnTo>
                  <a:pt x="6133" y="958"/>
                </a:lnTo>
                <a:lnTo>
                  <a:pt x="6152" y="958"/>
                </a:lnTo>
                <a:lnTo>
                  <a:pt x="6171" y="958"/>
                </a:lnTo>
                <a:lnTo>
                  <a:pt x="6189" y="957"/>
                </a:lnTo>
                <a:lnTo>
                  <a:pt x="6207" y="955"/>
                </a:lnTo>
                <a:lnTo>
                  <a:pt x="6225" y="952"/>
                </a:lnTo>
                <a:lnTo>
                  <a:pt x="6242" y="948"/>
                </a:lnTo>
                <a:lnTo>
                  <a:pt x="6260" y="944"/>
                </a:lnTo>
                <a:lnTo>
                  <a:pt x="6277" y="939"/>
                </a:lnTo>
                <a:lnTo>
                  <a:pt x="6292" y="933"/>
                </a:lnTo>
                <a:close/>
                <a:moveTo>
                  <a:pt x="7010" y="133"/>
                </a:moveTo>
                <a:lnTo>
                  <a:pt x="7027" y="134"/>
                </a:lnTo>
                <a:lnTo>
                  <a:pt x="7042" y="134"/>
                </a:lnTo>
                <a:lnTo>
                  <a:pt x="7072" y="139"/>
                </a:lnTo>
                <a:lnTo>
                  <a:pt x="7088" y="143"/>
                </a:lnTo>
                <a:lnTo>
                  <a:pt x="7103" y="145"/>
                </a:lnTo>
                <a:lnTo>
                  <a:pt x="7118" y="151"/>
                </a:lnTo>
                <a:lnTo>
                  <a:pt x="7134" y="155"/>
                </a:lnTo>
                <a:lnTo>
                  <a:pt x="7148" y="161"/>
                </a:lnTo>
                <a:lnTo>
                  <a:pt x="7163" y="168"/>
                </a:lnTo>
                <a:lnTo>
                  <a:pt x="7177" y="175"/>
                </a:lnTo>
                <a:lnTo>
                  <a:pt x="7191" y="183"/>
                </a:lnTo>
                <a:lnTo>
                  <a:pt x="7203" y="191"/>
                </a:lnTo>
                <a:lnTo>
                  <a:pt x="7216" y="201"/>
                </a:lnTo>
                <a:lnTo>
                  <a:pt x="7228" y="211"/>
                </a:lnTo>
                <a:lnTo>
                  <a:pt x="7241" y="222"/>
                </a:lnTo>
                <a:lnTo>
                  <a:pt x="7252" y="233"/>
                </a:lnTo>
                <a:lnTo>
                  <a:pt x="7263" y="244"/>
                </a:lnTo>
                <a:lnTo>
                  <a:pt x="7274" y="258"/>
                </a:lnTo>
                <a:lnTo>
                  <a:pt x="7284" y="270"/>
                </a:lnTo>
                <a:lnTo>
                  <a:pt x="7292" y="284"/>
                </a:lnTo>
                <a:lnTo>
                  <a:pt x="7301" y="299"/>
                </a:lnTo>
                <a:lnTo>
                  <a:pt x="7309" y="313"/>
                </a:lnTo>
                <a:lnTo>
                  <a:pt x="7313" y="322"/>
                </a:lnTo>
                <a:lnTo>
                  <a:pt x="7317" y="330"/>
                </a:lnTo>
                <a:lnTo>
                  <a:pt x="7323" y="346"/>
                </a:lnTo>
                <a:lnTo>
                  <a:pt x="7330" y="363"/>
                </a:lnTo>
                <a:lnTo>
                  <a:pt x="7334" y="381"/>
                </a:lnTo>
                <a:lnTo>
                  <a:pt x="7338" y="399"/>
                </a:lnTo>
                <a:lnTo>
                  <a:pt x="7341" y="419"/>
                </a:lnTo>
                <a:lnTo>
                  <a:pt x="7344" y="438"/>
                </a:lnTo>
                <a:lnTo>
                  <a:pt x="7345" y="459"/>
                </a:lnTo>
                <a:lnTo>
                  <a:pt x="7345" y="480"/>
                </a:lnTo>
                <a:lnTo>
                  <a:pt x="7345" y="500"/>
                </a:lnTo>
                <a:lnTo>
                  <a:pt x="7344" y="521"/>
                </a:lnTo>
                <a:lnTo>
                  <a:pt x="7341" y="541"/>
                </a:lnTo>
                <a:lnTo>
                  <a:pt x="7338" y="559"/>
                </a:lnTo>
                <a:lnTo>
                  <a:pt x="7337" y="568"/>
                </a:lnTo>
                <a:lnTo>
                  <a:pt x="7334" y="578"/>
                </a:lnTo>
                <a:lnTo>
                  <a:pt x="7330" y="596"/>
                </a:lnTo>
                <a:lnTo>
                  <a:pt x="7323" y="613"/>
                </a:lnTo>
                <a:lnTo>
                  <a:pt x="7317" y="629"/>
                </a:lnTo>
                <a:lnTo>
                  <a:pt x="7309" y="645"/>
                </a:lnTo>
                <a:lnTo>
                  <a:pt x="7301" y="660"/>
                </a:lnTo>
                <a:lnTo>
                  <a:pt x="7292" y="675"/>
                </a:lnTo>
                <a:lnTo>
                  <a:pt x="7284" y="689"/>
                </a:lnTo>
                <a:lnTo>
                  <a:pt x="7274" y="701"/>
                </a:lnTo>
                <a:lnTo>
                  <a:pt x="7263" y="714"/>
                </a:lnTo>
                <a:lnTo>
                  <a:pt x="7252" y="726"/>
                </a:lnTo>
                <a:lnTo>
                  <a:pt x="7241" y="738"/>
                </a:lnTo>
                <a:lnTo>
                  <a:pt x="7228" y="749"/>
                </a:lnTo>
                <a:lnTo>
                  <a:pt x="7216" y="758"/>
                </a:lnTo>
                <a:lnTo>
                  <a:pt x="7203" y="767"/>
                </a:lnTo>
                <a:lnTo>
                  <a:pt x="7191" y="776"/>
                </a:lnTo>
                <a:lnTo>
                  <a:pt x="7177" y="783"/>
                </a:lnTo>
                <a:lnTo>
                  <a:pt x="7163" y="790"/>
                </a:lnTo>
                <a:lnTo>
                  <a:pt x="7148" y="797"/>
                </a:lnTo>
                <a:lnTo>
                  <a:pt x="7134" y="803"/>
                </a:lnTo>
                <a:lnTo>
                  <a:pt x="7118" y="808"/>
                </a:lnTo>
                <a:lnTo>
                  <a:pt x="7103" y="812"/>
                </a:lnTo>
                <a:lnTo>
                  <a:pt x="7088" y="817"/>
                </a:lnTo>
                <a:lnTo>
                  <a:pt x="7072" y="819"/>
                </a:lnTo>
                <a:lnTo>
                  <a:pt x="7057" y="822"/>
                </a:lnTo>
                <a:lnTo>
                  <a:pt x="7042" y="823"/>
                </a:lnTo>
                <a:lnTo>
                  <a:pt x="7027" y="825"/>
                </a:lnTo>
                <a:lnTo>
                  <a:pt x="7010" y="825"/>
                </a:lnTo>
                <a:lnTo>
                  <a:pt x="6858" y="825"/>
                </a:lnTo>
                <a:lnTo>
                  <a:pt x="6858" y="133"/>
                </a:lnTo>
                <a:lnTo>
                  <a:pt x="7010" y="133"/>
                </a:lnTo>
                <a:close/>
                <a:moveTo>
                  <a:pt x="7010" y="946"/>
                </a:moveTo>
                <a:lnTo>
                  <a:pt x="7033" y="944"/>
                </a:lnTo>
                <a:lnTo>
                  <a:pt x="7056" y="943"/>
                </a:lnTo>
                <a:lnTo>
                  <a:pt x="7078" y="940"/>
                </a:lnTo>
                <a:lnTo>
                  <a:pt x="7100" y="937"/>
                </a:lnTo>
                <a:lnTo>
                  <a:pt x="7121" y="933"/>
                </a:lnTo>
                <a:lnTo>
                  <a:pt x="7143" y="927"/>
                </a:lnTo>
                <a:lnTo>
                  <a:pt x="7164" y="921"/>
                </a:lnTo>
                <a:lnTo>
                  <a:pt x="7186" y="914"/>
                </a:lnTo>
                <a:lnTo>
                  <a:pt x="7207" y="905"/>
                </a:lnTo>
                <a:lnTo>
                  <a:pt x="7227" y="896"/>
                </a:lnTo>
                <a:lnTo>
                  <a:pt x="7246" y="886"/>
                </a:lnTo>
                <a:lnTo>
                  <a:pt x="7266" y="875"/>
                </a:lnTo>
                <a:lnTo>
                  <a:pt x="7284" y="864"/>
                </a:lnTo>
                <a:lnTo>
                  <a:pt x="7302" y="851"/>
                </a:lnTo>
                <a:lnTo>
                  <a:pt x="7319" y="837"/>
                </a:lnTo>
                <a:lnTo>
                  <a:pt x="7327" y="830"/>
                </a:lnTo>
                <a:lnTo>
                  <a:pt x="7335" y="822"/>
                </a:lnTo>
                <a:lnTo>
                  <a:pt x="7344" y="815"/>
                </a:lnTo>
                <a:lnTo>
                  <a:pt x="7351" y="807"/>
                </a:lnTo>
                <a:lnTo>
                  <a:pt x="7366" y="792"/>
                </a:lnTo>
                <a:lnTo>
                  <a:pt x="7380" y="774"/>
                </a:lnTo>
                <a:lnTo>
                  <a:pt x="7394" y="756"/>
                </a:lnTo>
                <a:lnTo>
                  <a:pt x="7406" y="738"/>
                </a:lnTo>
                <a:lnTo>
                  <a:pt x="7419" y="718"/>
                </a:lnTo>
                <a:lnTo>
                  <a:pt x="7430" y="697"/>
                </a:lnTo>
                <a:lnTo>
                  <a:pt x="7440" y="677"/>
                </a:lnTo>
                <a:lnTo>
                  <a:pt x="7449" y="654"/>
                </a:lnTo>
                <a:lnTo>
                  <a:pt x="7456" y="632"/>
                </a:lnTo>
                <a:lnTo>
                  <a:pt x="7461" y="620"/>
                </a:lnTo>
                <a:lnTo>
                  <a:pt x="7463" y="609"/>
                </a:lnTo>
                <a:lnTo>
                  <a:pt x="7469" y="584"/>
                </a:lnTo>
                <a:lnTo>
                  <a:pt x="7473" y="559"/>
                </a:lnTo>
                <a:lnTo>
                  <a:pt x="7474" y="546"/>
                </a:lnTo>
                <a:lnTo>
                  <a:pt x="7476" y="534"/>
                </a:lnTo>
                <a:lnTo>
                  <a:pt x="7479" y="506"/>
                </a:lnTo>
                <a:lnTo>
                  <a:pt x="7479" y="480"/>
                </a:lnTo>
                <a:lnTo>
                  <a:pt x="7479" y="452"/>
                </a:lnTo>
                <a:lnTo>
                  <a:pt x="7476" y="426"/>
                </a:lnTo>
                <a:lnTo>
                  <a:pt x="7474" y="413"/>
                </a:lnTo>
                <a:lnTo>
                  <a:pt x="7473" y="401"/>
                </a:lnTo>
                <a:lnTo>
                  <a:pt x="7469" y="376"/>
                </a:lnTo>
                <a:lnTo>
                  <a:pt x="7463" y="351"/>
                </a:lnTo>
                <a:lnTo>
                  <a:pt x="7456" y="327"/>
                </a:lnTo>
                <a:lnTo>
                  <a:pt x="7449" y="305"/>
                </a:lnTo>
                <a:lnTo>
                  <a:pt x="7444" y="294"/>
                </a:lnTo>
                <a:lnTo>
                  <a:pt x="7440" y="283"/>
                </a:lnTo>
                <a:lnTo>
                  <a:pt x="7430" y="262"/>
                </a:lnTo>
                <a:lnTo>
                  <a:pt x="7419" y="241"/>
                </a:lnTo>
                <a:lnTo>
                  <a:pt x="7406" y="222"/>
                </a:lnTo>
                <a:lnTo>
                  <a:pt x="7394" y="202"/>
                </a:lnTo>
                <a:lnTo>
                  <a:pt x="7387" y="194"/>
                </a:lnTo>
                <a:lnTo>
                  <a:pt x="7380" y="184"/>
                </a:lnTo>
                <a:lnTo>
                  <a:pt x="7366" y="168"/>
                </a:lnTo>
                <a:lnTo>
                  <a:pt x="7351" y="151"/>
                </a:lnTo>
                <a:lnTo>
                  <a:pt x="7335" y="136"/>
                </a:lnTo>
                <a:lnTo>
                  <a:pt x="7319" y="122"/>
                </a:lnTo>
                <a:lnTo>
                  <a:pt x="7302" y="108"/>
                </a:lnTo>
                <a:lnTo>
                  <a:pt x="7284" y="96"/>
                </a:lnTo>
                <a:lnTo>
                  <a:pt x="7266" y="83"/>
                </a:lnTo>
                <a:lnTo>
                  <a:pt x="7246" y="72"/>
                </a:lnTo>
                <a:lnTo>
                  <a:pt x="7227" y="62"/>
                </a:lnTo>
                <a:lnTo>
                  <a:pt x="7207" y="54"/>
                </a:lnTo>
                <a:lnTo>
                  <a:pt x="7186" y="46"/>
                </a:lnTo>
                <a:lnTo>
                  <a:pt x="7164" y="37"/>
                </a:lnTo>
                <a:lnTo>
                  <a:pt x="7154" y="35"/>
                </a:lnTo>
                <a:lnTo>
                  <a:pt x="7143" y="32"/>
                </a:lnTo>
                <a:lnTo>
                  <a:pt x="7121" y="26"/>
                </a:lnTo>
                <a:lnTo>
                  <a:pt x="7100" y="22"/>
                </a:lnTo>
                <a:lnTo>
                  <a:pt x="7078" y="18"/>
                </a:lnTo>
                <a:lnTo>
                  <a:pt x="7056" y="15"/>
                </a:lnTo>
                <a:lnTo>
                  <a:pt x="7033" y="14"/>
                </a:lnTo>
                <a:lnTo>
                  <a:pt x="7010" y="14"/>
                </a:lnTo>
                <a:lnTo>
                  <a:pt x="6725" y="14"/>
                </a:lnTo>
                <a:lnTo>
                  <a:pt x="6725" y="946"/>
                </a:lnTo>
                <a:lnTo>
                  <a:pt x="7010" y="946"/>
                </a:lnTo>
                <a:close/>
                <a:moveTo>
                  <a:pt x="7810" y="946"/>
                </a:moveTo>
                <a:lnTo>
                  <a:pt x="7810" y="14"/>
                </a:lnTo>
                <a:lnTo>
                  <a:pt x="7676" y="14"/>
                </a:lnTo>
                <a:lnTo>
                  <a:pt x="7676" y="946"/>
                </a:lnTo>
                <a:lnTo>
                  <a:pt x="7810" y="946"/>
                </a:lnTo>
                <a:close/>
                <a:moveTo>
                  <a:pt x="8329" y="811"/>
                </a:moveTo>
                <a:lnTo>
                  <a:pt x="8315" y="804"/>
                </a:lnTo>
                <a:lnTo>
                  <a:pt x="8302" y="796"/>
                </a:lnTo>
                <a:lnTo>
                  <a:pt x="8290" y="787"/>
                </a:lnTo>
                <a:lnTo>
                  <a:pt x="8277" y="779"/>
                </a:lnTo>
                <a:lnTo>
                  <a:pt x="8265" y="769"/>
                </a:lnTo>
                <a:lnTo>
                  <a:pt x="8253" y="758"/>
                </a:lnTo>
                <a:lnTo>
                  <a:pt x="8242" y="747"/>
                </a:lnTo>
                <a:lnTo>
                  <a:pt x="8233" y="736"/>
                </a:lnTo>
                <a:lnTo>
                  <a:pt x="8221" y="724"/>
                </a:lnTo>
                <a:lnTo>
                  <a:pt x="8217" y="718"/>
                </a:lnTo>
                <a:lnTo>
                  <a:pt x="8212" y="711"/>
                </a:lnTo>
                <a:lnTo>
                  <a:pt x="8203" y="697"/>
                </a:lnTo>
                <a:lnTo>
                  <a:pt x="8195" y="683"/>
                </a:lnTo>
                <a:lnTo>
                  <a:pt x="8187" y="670"/>
                </a:lnTo>
                <a:lnTo>
                  <a:pt x="8180" y="654"/>
                </a:lnTo>
                <a:lnTo>
                  <a:pt x="8173" y="639"/>
                </a:lnTo>
                <a:lnTo>
                  <a:pt x="8166" y="622"/>
                </a:lnTo>
                <a:lnTo>
                  <a:pt x="8160" y="606"/>
                </a:lnTo>
                <a:lnTo>
                  <a:pt x="8155" y="589"/>
                </a:lnTo>
                <a:lnTo>
                  <a:pt x="8151" y="571"/>
                </a:lnTo>
                <a:lnTo>
                  <a:pt x="8148" y="553"/>
                </a:lnTo>
                <a:lnTo>
                  <a:pt x="8145" y="535"/>
                </a:lnTo>
                <a:lnTo>
                  <a:pt x="8142" y="517"/>
                </a:lnTo>
                <a:lnTo>
                  <a:pt x="8142" y="499"/>
                </a:lnTo>
                <a:lnTo>
                  <a:pt x="8141" y="480"/>
                </a:lnTo>
                <a:lnTo>
                  <a:pt x="8142" y="460"/>
                </a:lnTo>
                <a:lnTo>
                  <a:pt x="8142" y="441"/>
                </a:lnTo>
                <a:lnTo>
                  <a:pt x="8144" y="432"/>
                </a:lnTo>
                <a:lnTo>
                  <a:pt x="8145" y="423"/>
                </a:lnTo>
                <a:lnTo>
                  <a:pt x="8148" y="405"/>
                </a:lnTo>
                <a:lnTo>
                  <a:pt x="8151" y="387"/>
                </a:lnTo>
                <a:lnTo>
                  <a:pt x="8155" y="370"/>
                </a:lnTo>
                <a:lnTo>
                  <a:pt x="8160" y="353"/>
                </a:lnTo>
                <a:lnTo>
                  <a:pt x="8166" y="337"/>
                </a:lnTo>
                <a:lnTo>
                  <a:pt x="8173" y="320"/>
                </a:lnTo>
                <a:lnTo>
                  <a:pt x="8180" y="305"/>
                </a:lnTo>
                <a:lnTo>
                  <a:pt x="8195" y="274"/>
                </a:lnTo>
                <a:lnTo>
                  <a:pt x="8212" y="248"/>
                </a:lnTo>
                <a:lnTo>
                  <a:pt x="8221" y="234"/>
                </a:lnTo>
                <a:lnTo>
                  <a:pt x="8233" y="223"/>
                </a:lnTo>
                <a:lnTo>
                  <a:pt x="8242" y="211"/>
                </a:lnTo>
                <a:lnTo>
                  <a:pt x="8253" y="200"/>
                </a:lnTo>
                <a:lnTo>
                  <a:pt x="8265" y="190"/>
                </a:lnTo>
                <a:lnTo>
                  <a:pt x="8277" y="180"/>
                </a:lnTo>
                <a:lnTo>
                  <a:pt x="8290" y="170"/>
                </a:lnTo>
                <a:lnTo>
                  <a:pt x="8295" y="166"/>
                </a:lnTo>
                <a:lnTo>
                  <a:pt x="8302" y="162"/>
                </a:lnTo>
                <a:lnTo>
                  <a:pt x="8315" y="155"/>
                </a:lnTo>
                <a:lnTo>
                  <a:pt x="8329" y="147"/>
                </a:lnTo>
                <a:lnTo>
                  <a:pt x="8343" y="141"/>
                </a:lnTo>
                <a:lnTo>
                  <a:pt x="8356" y="136"/>
                </a:lnTo>
                <a:lnTo>
                  <a:pt x="8372" y="130"/>
                </a:lnTo>
                <a:lnTo>
                  <a:pt x="8386" y="127"/>
                </a:lnTo>
                <a:lnTo>
                  <a:pt x="8401" y="125"/>
                </a:lnTo>
                <a:lnTo>
                  <a:pt x="8416" y="122"/>
                </a:lnTo>
                <a:lnTo>
                  <a:pt x="8432" y="120"/>
                </a:lnTo>
                <a:lnTo>
                  <a:pt x="8447" y="120"/>
                </a:lnTo>
                <a:lnTo>
                  <a:pt x="8462" y="120"/>
                </a:lnTo>
                <a:lnTo>
                  <a:pt x="8477" y="122"/>
                </a:lnTo>
                <a:lnTo>
                  <a:pt x="8493" y="125"/>
                </a:lnTo>
                <a:lnTo>
                  <a:pt x="8508" y="127"/>
                </a:lnTo>
                <a:lnTo>
                  <a:pt x="8523" y="130"/>
                </a:lnTo>
                <a:lnTo>
                  <a:pt x="8537" y="136"/>
                </a:lnTo>
                <a:lnTo>
                  <a:pt x="8551" y="141"/>
                </a:lnTo>
                <a:lnTo>
                  <a:pt x="8565" y="147"/>
                </a:lnTo>
                <a:lnTo>
                  <a:pt x="8579" y="155"/>
                </a:lnTo>
                <a:lnTo>
                  <a:pt x="8593" y="162"/>
                </a:lnTo>
                <a:lnTo>
                  <a:pt x="8605" y="170"/>
                </a:lnTo>
                <a:lnTo>
                  <a:pt x="8618" y="180"/>
                </a:lnTo>
                <a:lnTo>
                  <a:pt x="8630" y="190"/>
                </a:lnTo>
                <a:lnTo>
                  <a:pt x="8642" y="200"/>
                </a:lnTo>
                <a:lnTo>
                  <a:pt x="8653" y="211"/>
                </a:lnTo>
                <a:lnTo>
                  <a:pt x="8664" y="223"/>
                </a:lnTo>
                <a:lnTo>
                  <a:pt x="8674" y="234"/>
                </a:lnTo>
                <a:lnTo>
                  <a:pt x="8683" y="248"/>
                </a:lnTo>
                <a:lnTo>
                  <a:pt x="8693" y="261"/>
                </a:lnTo>
                <a:lnTo>
                  <a:pt x="8701" y="274"/>
                </a:lnTo>
                <a:lnTo>
                  <a:pt x="8710" y="290"/>
                </a:lnTo>
                <a:lnTo>
                  <a:pt x="8717" y="305"/>
                </a:lnTo>
                <a:lnTo>
                  <a:pt x="8724" y="320"/>
                </a:lnTo>
                <a:lnTo>
                  <a:pt x="8731" y="337"/>
                </a:lnTo>
                <a:lnTo>
                  <a:pt x="8736" y="353"/>
                </a:lnTo>
                <a:lnTo>
                  <a:pt x="8742" y="370"/>
                </a:lnTo>
                <a:lnTo>
                  <a:pt x="8746" y="387"/>
                </a:lnTo>
                <a:lnTo>
                  <a:pt x="8749" y="405"/>
                </a:lnTo>
                <a:lnTo>
                  <a:pt x="8751" y="423"/>
                </a:lnTo>
                <a:lnTo>
                  <a:pt x="8754" y="441"/>
                </a:lnTo>
                <a:lnTo>
                  <a:pt x="8754" y="460"/>
                </a:lnTo>
                <a:lnTo>
                  <a:pt x="8756" y="480"/>
                </a:lnTo>
                <a:lnTo>
                  <a:pt x="8754" y="499"/>
                </a:lnTo>
                <a:lnTo>
                  <a:pt x="8754" y="517"/>
                </a:lnTo>
                <a:lnTo>
                  <a:pt x="8753" y="527"/>
                </a:lnTo>
                <a:lnTo>
                  <a:pt x="8751" y="535"/>
                </a:lnTo>
                <a:lnTo>
                  <a:pt x="8749" y="553"/>
                </a:lnTo>
                <a:lnTo>
                  <a:pt x="8746" y="571"/>
                </a:lnTo>
                <a:lnTo>
                  <a:pt x="8742" y="589"/>
                </a:lnTo>
                <a:lnTo>
                  <a:pt x="8736" y="606"/>
                </a:lnTo>
                <a:lnTo>
                  <a:pt x="8731" y="622"/>
                </a:lnTo>
                <a:lnTo>
                  <a:pt x="8724" y="639"/>
                </a:lnTo>
                <a:lnTo>
                  <a:pt x="8717" y="654"/>
                </a:lnTo>
                <a:lnTo>
                  <a:pt x="8710" y="670"/>
                </a:lnTo>
                <a:lnTo>
                  <a:pt x="8701" y="683"/>
                </a:lnTo>
                <a:lnTo>
                  <a:pt x="8693" y="697"/>
                </a:lnTo>
                <a:lnTo>
                  <a:pt x="8683" y="711"/>
                </a:lnTo>
                <a:lnTo>
                  <a:pt x="8674" y="724"/>
                </a:lnTo>
                <a:lnTo>
                  <a:pt x="8664" y="736"/>
                </a:lnTo>
                <a:lnTo>
                  <a:pt x="8653" y="747"/>
                </a:lnTo>
                <a:lnTo>
                  <a:pt x="8642" y="758"/>
                </a:lnTo>
                <a:lnTo>
                  <a:pt x="8630" y="769"/>
                </a:lnTo>
                <a:lnTo>
                  <a:pt x="8618" y="779"/>
                </a:lnTo>
                <a:lnTo>
                  <a:pt x="8605" y="787"/>
                </a:lnTo>
                <a:lnTo>
                  <a:pt x="8593" y="796"/>
                </a:lnTo>
                <a:lnTo>
                  <a:pt x="8579" y="804"/>
                </a:lnTo>
                <a:lnTo>
                  <a:pt x="8565" y="811"/>
                </a:lnTo>
                <a:lnTo>
                  <a:pt x="8558" y="815"/>
                </a:lnTo>
                <a:lnTo>
                  <a:pt x="8551" y="818"/>
                </a:lnTo>
                <a:lnTo>
                  <a:pt x="8537" y="823"/>
                </a:lnTo>
                <a:lnTo>
                  <a:pt x="8523" y="828"/>
                </a:lnTo>
                <a:lnTo>
                  <a:pt x="8508" y="832"/>
                </a:lnTo>
                <a:lnTo>
                  <a:pt x="8493" y="835"/>
                </a:lnTo>
                <a:lnTo>
                  <a:pt x="8477" y="837"/>
                </a:lnTo>
                <a:lnTo>
                  <a:pt x="8462" y="837"/>
                </a:lnTo>
                <a:lnTo>
                  <a:pt x="8447" y="839"/>
                </a:lnTo>
                <a:lnTo>
                  <a:pt x="8432" y="837"/>
                </a:lnTo>
                <a:lnTo>
                  <a:pt x="8416" y="837"/>
                </a:lnTo>
                <a:lnTo>
                  <a:pt x="8401" y="835"/>
                </a:lnTo>
                <a:lnTo>
                  <a:pt x="8386" y="832"/>
                </a:lnTo>
                <a:lnTo>
                  <a:pt x="8372" y="828"/>
                </a:lnTo>
                <a:lnTo>
                  <a:pt x="8356" y="823"/>
                </a:lnTo>
                <a:lnTo>
                  <a:pt x="8343" y="818"/>
                </a:lnTo>
                <a:lnTo>
                  <a:pt x="8329" y="811"/>
                </a:lnTo>
                <a:close/>
                <a:moveTo>
                  <a:pt x="8618" y="922"/>
                </a:moveTo>
                <a:lnTo>
                  <a:pt x="8637" y="912"/>
                </a:lnTo>
                <a:lnTo>
                  <a:pt x="8657" y="901"/>
                </a:lnTo>
                <a:lnTo>
                  <a:pt x="8665" y="896"/>
                </a:lnTo>
                <a:lnTo>
                  <a:pt x="8675" y="890"/>
                </a:lnTo>
                <a:lnTo>
                  <a:pt x="8693" y="878"/>
                </a:lnTo>
                <a:lnTo>
                  <a:pt x="8710" y="865"/>
                </a:lnTo>
                <a:lnTo>
                  <a:pt x="8726" y="851"/>
                </a:lnTo>
                <a:lnTo>
                  <a:pt x="8743" y="837"/>
                </a:lnTo>
                <a:lnTo>
                  <a:pt x="8750" y="829"/>
                </a:lnTo>
                <a:lnTo>
                  <a:pt x="8758" y="821"/>
                </a:lnTo>
                <a:lnTo>
                  <a:pt x="8772" y="805"/>
                </a:lnTo>
                <a:lnTo>
                  <a:pt x="8786" y="787"/>
                </a:lnTo>
                <a:lnTo>
                  <a:pt x="8799" y="769"/>
                </a:lnTo>
                <a:lnTo>
                  <a:pt x="8811" y="751"/>
                </a:lnTo>
                <a:lnTo>
                  <a:pt x="8824" y="732"/>
                </a:lnTo>
                <a:lnTo>
                  <a:pt x="8834" y="713"/>
                </a:lnTo>
                <a:lnTo>
                  <a:pt x="8843" y="692"/>
                </a:lnTo>
                <a:lnTo>
                  <a:pt x="8853" y="670"/>
                </a:lnTo>
                <a:lnTo>
                  <a:pt x="8861" y="647"/>
                </a:lnTo>
                <a:lnTo>
                  <a:pt x="8868" y="625"/>
                </a:lnTo>
                <a:lnTo>
                  <a:pt x="8875" y="602"/>
                </a:lnTo>
                <a:lnTo>
                  <a:pt x="8879" y="578"/>
                </a:lnTo>
                <a:lnTo>
                  <a:pt x="8884" y="554"/>
                </a:lnTo>
                <a:lnTo>
                  <a:pt x="8886" y="530"/>
                </a:lnTo>
                <a:lnTo>
                  <a:pt x="8888" y="505"/>
                </a:lnTo>
                <a:lnTo>
                  <a:pt x="8889" y="480"/>
                </a:lnTo>
                <a:lnTo>
                  <a:pt x="8888" y="453"/>
                </a:lnTo>
                <a:lnTo>
                  <a:pt x="8886" y="430"/>
                </a:lnTo>
                <a:lnTo>
                  <a:pt x="8884" y="405"/>
                </a:lnTo>
                <a:lnTo>
                  <a:pt x="8879" y="381"/>
                </a:lnTo>
                <a:lnTo>
                  <a:pt x="8875" y="358"/>
                </a:lnTo>
                <a:lnTo>
                  <a:pt x="8868" y="334"/>
                </a:lnTo>
                <a:lnTo>
                  <a:pt x="8866" y="323"/>
                </a:lnTo>
                <a:lnTo>
                  <a:pt x="8861" y="312"/>
                </a:lnTo>
                <a:lnTo>
                  <a:pt x="8857" y="301"/>
                </a:lnTo>
                <a:lnTo>
                  <a:pt x="8853" y="290"/>
                </a:lnTo>
                <a:lnTo>
                  <a:pt x="8849" y="279"/>
                </a:lnTo>
                <a:lnTo>
                  <a:pt x="8843" y="267"/>
                </a:lnTo>
                <a:lnTo>
                  <a:pt x="8834" y="247"/>
                </a:lnTo>
                <a:lnTo>
                  <a:pt x="8824" y="227"/>
                </a:lnTo>
                <a:lnTo>
                  <a:pt x="8811" y="208"/>
                </a:lnTo>
                <a:lnTo>
                  <a:pt x="8799" y="188"/>
                </a:lnTo>
                <a:lnTo>
                  <a:pt x="8793" y="180"/>
                </a:lnTo>
                <a:lnTo>
                  <a:pt x="8786" y="170"/>
                </a:lnTo>
                <a:lnTo>
                  <a:pt x="8772" y="154"/>
                </a:lnTo>
                <a:lnTo>
                  <a:pt x="8758" y="137"/>
                </a:lnTo>
                <a:lnTo>
                  <a:pt x="8743" y="122"/>
                </a:lnTo>
                <a:lnTo>
                  <a:pt x="8735" y="115"/>
                </a:lnTo>
                <a:lnTo>
                  <a:pt x="8726" y="107"/>
                </a:lnTo>
                <a:lnTo>
                  <a:pt x="8710" y="94"/>
                </a:lnTo>
                <a:lnTo>
                  <a:pt x="8693" y="80"/>
                </a:lnTo>
                <a:lnTo>
                  <a:pt x="8675" y="68"/>
                </a:lnTo>
                <a:lnTo>
                  <a:pt x="8657" y="57"/>
                </a:lnTo>
                <a:lnTo>
                  <a:pt x="8637" y="47"/>
                </a:lnTo>
                <a:lnTo>
                  <a:pt x="8618" y="37"/>
                </a:lnTo>
                <a:lnTo>
                  <a:pt x="8597" y="29"/>
                </a:lnTo>
                <a:lnTo>
                  <a:pt x="8578" y="21"/>
                </a:lnTo>
                <a:lnTo>
                  <a:pt x="8557" y="15"/>
                </a:lnTo>
                <a:lnTo>
                  <a:pt x="8534" y="10"/>
                </a:lnTo>
                <a:lnTo>
                  <a:pt x="8514" y="5"/>
                </a:lnTo>
                <a:lnTo>
                  <a:pt x="8491" y="3"/>
                </a:lnTo>
                <a:lnTo>
                  <a:pt x="8469" y="1"/>
                </a:lnTo>
                <a:lnTo>
                  <a:pt x="8447" y="0"/>
                </a:lnTo>
                <a:lnTo>
                  <a:pt x="8425" y="1"/>
                </a:lnTo>
                <a:lnTo>
                  <a:pt x="8402" y="3"/>
                </a:lnTo>
                <a:lnTo>
                  <a:pt x="8380" y="5"/>
                </a:lnTo>
                <a:lnTo>
                  <a:pt x="8359" y="10"/>
                </a:lnTo>
                <a:lnTo>
                  <a:pt x="8337" y="15"/>
                </a:lnTo>
                <a:lnTo>
                  <a:pt x="8316" y="21"/>
                </a:lnTo>
                <a:lnTo>
                  <a:pt x="8297" y="29"/>
                </a:lnTo>
                <a:lnTo>
                  <a:pt x="8276" y="37"/>
                </a:lnTo>
                <a:lnTo>
                  <a:pt x="8256" y="47"/>
                </a:lnTo>
                <a:lnTo>
                  <a:pt x="8237" y="57"/>
                </a:lnTo>
                <a:lnTo>
                  <a:pt x="8228" y="62"/>
                </a:lnTo>
                <a:lnTo>
                  <a:pt x="8219" y="68"/>
                </a:lnTo>
                <a:lnTo>
                  <a:pt x="8201" y="80"/>
                </a:lnTo>
                <a:lnTo>
                  <a:pt x="8184" y="94"/>
                </a:lnTo>
                <a:lnTo>
                  <a:pt x="8167" y="107"/>
                </a:lnTo>
                <a:lnTo>
                  <a:pt x="8152" y="122"/>
                </a:lnTo>
                <a:lnTo>
                  <a:pt x="8137" y="137"/>
                </a:lnTo>
                <a:lnTo>
                  <a:pt x="8123" y="154"/>
                </a:lnTo>
                <a:lnTo>
                  <a:pt x="8116" y="162"/>
                </a:lnTo>
                <a:lnTo>
                  <a:pt x="8109" y="170"/>
                </a:lnTo>
                <a:lnTo>
                  <a:pt x="8095" y="188"/>
                </a:lnTo>
                <a:lnTo>
                  <a:pt x="8084" y="208"/>
                </a:lnTo>
                <a:lnTo>
                  <a:pt x="8073" y="227"/>
                </a:lnTo>
                <a:lnTo>
                  <a:pt x="8067" y="237"/>
                </a:lnTo>
                <a:lnTo>
                  <a:pt x="8062" y="247"/>
                </a:lnTo>
                <a:lnTo>
                  <a:pt x="8052" y="267"/>
                </a:lnTo>
                <a:lnTo>
                  <a:pt x="8042" y="290"/>
                </a:lnTo>
                <a:lnTo>
                  <a:pt x="8035" y="312"/>
                </a:lnTo>
                <a:lnTo>
                  <a:pt x="8027" y="334"/>
                </a:lnTo>
                <a:lnTo>
                  <a:pt x="8021" y="358"/>
                </a:lnTo>
                <a:lnTo>
                  <a:pt x="8017" y="381"/>
                </a:lnTo>
                <a:lnTo>
                  <a:pt x="8013" y="405"/>
                </a:lnTo>
                <a:lnTo>
                  <a:pt x="8010" y="430"/>
                </a:lnTo>
                <a:lnTo>
                  <a:pt x="8009" y="453"/>
                </a:lnTo>
                <a:lnTo>
                  <a:pt x="8007" y="480"/>
                </a:lnTo>
                <a:lnTo>
                  <a:pt x="8009" y="505"/>
                </a:lnTo>
                <a:lnTo>
                  <a:pt x="8010" y="530"/>
                </a:lnTo>
                <a:lnTo>
                  <a:pt x="8013" y="554"/>
                </a:lnTo>
                <a:lnTo>
                  <a:pt x="8017" y="578"/>
                </a:lnTo>
                <a:lnTo>
                  <a:pt x="8021" y="602"/>
                </a:lnTo>
                <a:lnTo>
                  <a:pt x="8027" y="625"/>
                </a:lnTo>
                <a:lnTo>
                  <a:pt x="8035" y="647"/>
                </a:lnTo>
                <a:lnTo>
                  <a:pt x="8042" y="670"/>
                </a:lnTo>
                <a:lnTo>
                  <a:pt x="8052" y="692"/>
                </a:lnTo>
                <a:lnTo>
                  <a:pt x="8062" y="713"/>
                </a:lnTo>
                <a:lnTo>
                  <a:pt x="8073" y="732"/>
                </a:lnTo>
                <a:lnTo>
                  <a:pt x="8078" y="742"/>
                </a:lnTo>
                <a:lnTo>
                  <a:pt x="8084" y="751"/>
                </a:lnTo>
                <a:lnTo>
                  <a:pt x="8095" y="769"/>
                </a:lnTo>
                <a:lnTo>
                  <a:pt x="8102" y="779"/>
                </a:lnTo>
                <a:lnTo>
                  <a:pt x="8109" y="787"/>
                </a:lnTo>
                <a:lnTo>
                  <a:pt x="8123" y="805"/>
                </a:lnTo>
                <a:lnTo>
                  <a:pt x="8130" y="814"/>
                </a:lnTo>
                <a:lnTo>
                  <a:pt x="8137" y="821"/>
                </a:lnTo>
                <a:lnTo>
                  <a:pt x="8152" y="837"/>
                </a:lnTo>
                <a:lnTo>
                  <a:pt x="8167" y="851"/>
                </a:lnTo>
                <a:lnTo>
                  <a:pt x="8184" y="865"/>
                </a:lnTo>
                <a:lnTo>
                  <a:pt x="8201" y="878"/>
                </a:lnTo>
                <a:lnTo>
                  <a:pt x="8219" y="890"/>
                </a:lnTo>
                <a:lnTo>
                  <a:pt x="8237" y="901"/>
                </a:lnTo>
                <a:lnTo>
                  <a:pt x="8256" y="912"/>
                </a:lnTo>
                <a:lnTo>
                  <a:pt x="8276" y="922"/>
                </a:lnTo>
                <a:lnTo>
                  <a:pt x="8297" y="930"/>
                </a:lnTo>
                <a:lnTo>
                  <a:pt x="8316" y="937"/>
                </a:lnTo>
                <a:lnTo>
                  <a:pt x="8337" y="944"/>
                </a:lnTo>
                <a:lnTo>
                  <a:pt x="8359" y="950"/>
                </a:lnTo>
                <a:lnTo>
                  <a:pt x="8380" y="952"/>
                </a:lnTo>
                <a:lnTo>
                  <a:pt x="8402" y="955"/>
                </a:lnTo>
                <a:lnTo>
                  <a:pt x="8425" y="958"/>
                </a:lnTo>
                <a:lnTo>
                  <a:pt x="8447" y="958"/>
                </a:lnTo>
                <a:lnTo>
                  <a:pt x="8469" y="958"/>
                </a:lnTo>
                <a:lnTo>
                  <a:pt x="8491" y="955"/>
                </a:lnTo>
                <a:lnTo>
                  <a:pt x="8514" y="952"/>
                </a:lnTo>
                <a:lnTo>
                  <a:pt x="8534" y="950"/>
                </a:lnTo>
                <a:lnTo>
                  <a:pt x="8557" y="944"/>
                </a:lnTo>
                <a:lnTo>
                  <a:pt x="8578" y="937"/>
                </a:lnTo>
                <a:lnTo>
                  <a:pt x="8597" y="930"/>
                </a:lnTo>
                <a:lnTo>
                  <a:pt x="8618" y="92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9" name="Picture Placeholder 8" descr="A white and black rectangular object with knobs and knobs on a table with a vase of flowers&#10;&#10;Description automatically generated">
            <a:extLst>
              <a:ext uri="{FF2B5EF4-FFF2-40B4-BE49-F238E27FC236}">
                <a16:creationId xmlns:a16="http://schemas.microsoft.com/office/drawing/2014/main" id="{69C1D7ED-8374-B360-35FE-84E12A13DF4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85" b="985"/>
          <a:stretch>
            <a:fillRect/>
          </a:stretch>
        </p:blipFill>
        <p:spPr/>
      </p:pic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EEE139B4-C61B-1A7E-9804-58CFC6BF6F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RIA - RKL yrittäjäpäivä 1.11.202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5444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ECF74B-BEAD-BB65-F44C-D8A65CE93D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2" y="404664"/>
            <a:ext cx="10226675" cy="1008063"/>
          </a:xfrm>
        </p:spPr>
        <p:txBody>
          <a:bodyPr/>
          <a:lstStyle/>
          <a:p>
            <a:r>
              <a:rPr lang="fi-FI" altLang="fi-FI" noProof="1"/>
              <a:t>Tervetuloa Dekostudiolle!</a:t>
            </a:r>
            <a:endParaRPr lang="fi-FI" noProof="1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B55B3A8-6CEE-E06E-8EBE-C7D94CB15A3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82664" y="1844675"/>
            <a:ext cx="1872976" cy="1584325"/>
          </a:xfrm>
        </p:spPr>
        <p:txBody>
          <a:bodyPr/>
          <a:lstStyle/>
          <a:p>
            <a:r>
              <a:rPr lang="fi-FI" altLang="fi-FI" sz="1400" dirty="0">
                <a:latin typeface="+mj-lt"/>
              </a:rPr>
              <a:t>Avoinna ammattilaisille</a:t>
            </a:r>
            <a:br>
              <a:rPr lang="fi-FI" altLang="fi-FI" sz="1400" dirty="0">
                <a:latin typeface="+mj-lt"/>
              </a:rPr>
            </a:br>
            <a:r>
              <a:rPr lang="fi-FI" altLang="fi-FI" sz="1400" dirty="0">
                <a:latin typeface="+mj-lt"/>
              </a:rPr>
              <a:t>arkisin ma-to</a:t>
            </a:r>
            <a:br>
              <a:rPr lang="fi-FI" altLang="fi-FI" sz="1400" dirty="0">
                <a:latin typeface="+mj-lt"/>
              </a:rPr>
            </a:br>
            <a:r>
              <a:rPr lang="fi-FI" altLang="fi-FI" sz="1400" dirty="0">
                <a:latin typeface="+mj-lt"/>
              </a:rPr>
              <a:t>klo 8.30-17 ja</a:t>
            </a:r>
            <a:br>
              <a:rPr lang="fi-FI" altLang="fi-FI" sz="1400" dirty="0">
                <a:latin typeface="+mj-lt"/>
              </a:rPr>
            </a:br>
            <a:r>
              <a:rPr lang="fi-FI" altLang="fi-FI" sz="1400" dirty="0">
                <a:latin typeface="+mj-lt"/>
              </a:rPr>
              <a:t>pe klo 9-15. 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630F3558-27B0-8ABF-FA8C-615F6787DD8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143672" y="3429000"/>
            <a:ext cx="1800200" cy="2520950"/>
          </a:xfrm>
        </p:spPr>
        <p:txBody>
          <a:bodyPr/>
          <a:lstStyle/>
          <a:p>
            <a:r>
              <a:rPr lang="fi-FI" sz="1200" noProof="1">
                <a:latin typeface="+mj-lt"/>
              </a:rPr>
              <a:t>Minna Molkentin-Salmi</a:t>
            </a:r>
            <a:br>
              <a:rPr lang="fi-FI" sz="1200" noProof="1"/>
            </a:br>
            <a:r>
              <a:rPr lang="fi-FI" sz="1200" noProof="1"/>
              <a:t>Suunnitteluassistentti</a:t>
            </a:r>
            <a:br>
              <a:rPr lang="fi-FI" sz="1200" noProof="1"/>
            </a:br>
            <a:endParaRPr lang="fi-FI" sz="1200" noProof="1"/>
          </a:p>
          <a:p>
            <a:r>
              <a:rPr lang="fi-FI" sz="1200" noProof="1"/>
              <a:t>Rakentamisen yrityspalvelu, rakentamisen ja talotekniikan kauppa/ Dekostudio</a:t>
            </a:r>
          </a:p>
          <a:p>
            <a:r>
              <a:rPr lang="fi-FI" sz="1200" noProof="1">
                <a:latin typeface="+mj-lt"/>
                <a:hlinkClick r:id="rId2"/>
              </a:rPr>
              <a:t>minna.molkentin-salmi</a:t>
            </a:r>
            <a:br>
              <a:rPr lang="fi-FI" sz="1200" noProof="1">
                <a:latin typeface="+mj-lt"/>
                <a:hlinkClick r:id="rId2"/>
              </a:rPr>
            </a:br>
            <a:r>
              <a:rPr lang="fi-FI" sz="1200" noProof="1">
                <a:latin typeface="+mj-lt"/>
                <a:hlinkClick r:id="rId2"/>
              </a:rPr>
              <a:t>@kesko.fi</a:t>
            </a:r>
            <a:endParaRPr lang="fi-FI" sz="1200" noProof="1">
              <a:latin typeface="+mj-lt"/>
            </a:endParaRPr>
          </a:p>
          <a:p>
            <a:r>
              <a:rPr lang="fi-FI" sz="1200" noProof="1"/>
              <a:t>puh. 045 633 5677</a:t>
            </a:r>
          </a:p>
          <a:p>
            <a:endParaRPr lang="fi-FI" sz="1200" noProof="1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F54E97C-90A5-E522-0624-BD1E41C4F678}"/>
              </a:ext>
            </a:extLst>
          </p:cNvPr>
          <p:cNvCxnSpPr/>
          <p:nvPr/>
        </p:nvCxnSpPr>
        <p:spPr>
          <a:xfrm>
            <a:off x="3000375" y="1844675"/>
            <a:ext cx="0" cy="4105275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val 14">
            <a:extLst>
              <a:ext uri="{FF2B5EF4-FFF2-40B4-BE49-F238E27FC236}">
                <a16:creationId xmlns:a16="http://schemas.microsoft.com/office/drawing/2014/main" id="{BC2B33AF-1C4D-925B-B8EC-1F3BDEF8D0FA}"/>
              </a:ext>
            </a:extLst>
          </p:cNvPr>
          <p:cNvSpPr/>
          <p:nvPr/>
        </p:nvSpPr>
        <p:spPr>
          <a:xfrm>
            <a:off x="3143672" y="1844675"/>
            <a:ext cx="1440309" cy="1440309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katta Sans Regular"/>
              <a:ea typeface="+mn-ea"/>
              <a:cs typeface="+mn-cs"/>
            </a:endParaRPr>
          </a:p>
        </p:txBody>
      </p:sp>
      <p:sp>
        <p:nvSpPr>
          <p:cNvPr id="33" name="Content Placeholder 10">
            <a:extLst>
              <a:ext uri="{FF2B5EF4-FFF2-40B4-BE49-F238E27FC236}">
                <a16:creationId xmlns:a16="http://schemas.microsoft.com/office/drawing/2014/main" id="{37C23E62-AC77-813D-1374-A9CAC273B621}"/>
              </a:ext>
            </a:extLst>
          </p:cNvPr>
          <p:cNvSpPr txBox="1">
            <a:spLocks/>
          </p:cNvSpPr>
          <p:nvPr/>
        </p:nvSpPr>
        <p:spPr>
          <a:xfrm>
            <a:off x="5231904" y="3429000"/>
            <a:ext cx="1728192" cy="25209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39750" indent="-27305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806450" indent="-2667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346200" indent="-2746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612900" indent="-2667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878013" indent="-265113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2152650" indent="-2746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i-FI" sz="1200" b="0" i="0" u="none" strike="noStrike" kern="1200" cap="none" spc="0" normalizeH="0" baseline="0" noProof="1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Black"/>
                <a:ea typeface="+mn-ea"/>
                <a:cs typeface="+mn-cs"/>
              </a:rPr>
              <a:t>Jenna Javanainen</a:t>
            </a:r>
            <a:br>
              <a:rPr kumimoji="0" lang="fi-FI" sz="1200" b="0" i="0" u="none" strike="noStrike" kern="1200" cap="none" spc="0" normalizeH="0" baseline="0" noProof="1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rPr>
            </a:br>
            <a:r>
              <a:rPr kumimoji="0" lang="fi-FI" sz="1200" b="0" i="0" u="none" strike="noStrike" kern="1200" cap="none" spc="0" normalizeH="0" baseline="0" noProof="1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rPr>
              <a:t>Projektimyyjä</a:t>
            </a:r>
            <a:br>
              <a:rPr kumimoji="0" lang="fi-FI" sz="1200" b="0" i="0" u="none" strike="noStrike" kern="1200" cap="none" spc="0" normalizeH="0" baseline="0" noProof="1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rPr>
            </a:br>
            <a:endParaRPr kumimoji="0" lang="fi-FI" sz="1200" b="0" i="0" u="none" strike="noStrike" kern="1200" cap="none" spc="0" normalizeH="0" baseline="0" noProof="1">
              <a:ln>
                <a:noFill/>
              </a:ln>
              <a:solidFill>
                <a:srgbClr val="54585A"/>
              </a:solidFill>
              <a:effectLst/>
              <a:uLnTx/>
              <a:uFillTx/>
              <a:latin typeface="Skatta Sans Regular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i-FI" sz="1200" b="0" i="0" u="none" strike="noStrike" kern="1200" cap="none" spc="0" normalizeH="0" baseline="0" noProof="1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rPr>
              <a:t>Rakentamisen yritys-palvelu, rakentamisen</a:t>
            </a:r>
            <a:br>
              <a:rPr kumimoji="0" lang="fi-FI" sz="1200" b="0" i="0" u="none" strike="noStrike" kern="1200" cap="none" spc="0" normalizeH="0" baseline="0" noProof="1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rPr>
            </a:br>
            <a:r>
              <a:rPr kumimoji="0" lang="fi-FI" sz="1200" b="0" i="0" u="none" strike="noStrike" kern="1200" cap="none" spc="0" normalizeH="0" baseline="0" noProof="1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rPr>
              <a:t>ja talotekniikan kauppa</a:t>
            </a:r>
            <a:br>
              <a:rPr kumimoji="0" lang="fi-FI" sz="1200" b="0" i="0" u="none" strike="noStrike" kern="1200" cap="none" spc="0" normalizeH="0" baseline="0" noProof="1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rPr>
            </a:br>
            <a:endParaRPr kumimoji="0" lang="fi-FI" sz="1200" b="0" i="0" u="none" strike="noStrike" kern="1200" cap="none" spc="0" normalizeH="0" baseline="0" noProof="1">
              <a:ln>
                <a:noFill/>
              </a:ln>
              <a:solidFill>
                <a:srgbClr val="54585A"/>
              </a:solidFill>
              <a:effectLst/>
              <a:uLnTx/>
              <a:uFillTx/>
              <a:latin typeface="Skatta Sans Regular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i-FI" sz="1200" b="0" i="0" u="none" strike="noStrike" kern="1200" cap="none" spc="0" normalizeH="0" baseline="0" noProof="1">
                <a:ln>
                  <a:noFill/>
                </a:ln>
                <a:solidFill>
                  <a:srgbClr val="FF6900"/>
                </a:solidFill>
                <a:effectLst/>
                <a:uLnTx/>
                <a:uFillTx/>
                <a:latin typeface="Skatta Sans Black"/>
                <a:ea typeface="+mn-ea"/>
                <a:cs typeface="+mn-cs"/>
                <a:hlinkClick r:id="rId4"/>
              </a:rPr>
              <a:t>jenna.javanainen</a:t>
            </a:r>
            <a:br>
              <a:rPr kumimoji="0" lang="fi-FI" sz="1200" b="0" i="0" u="none" strike="noStrike" kern="1200" cap="none" spc="0" normalizeH="0" baseline="0" noProof="1">
                <a:ln>
                  <a:noFill/>
                </a:ln>
                <a:solidFill>
                  <a:srgbClr val="FF6900"/>
                </a:solidFill>
                <a:effectLst/>
                <a:uLnTx/>
                <a:uFillTx/>
                <a:latin typeface="Skatta Sans Black"/>
                <a:ea typeface="+mn-ea"/>
                <a:cs typeface="+mn-cs"/>
                <a:hlinkClick r:id="rId4"/>
              </a:rPr>
            </a:br>
            <a:r>
              <a:rPr kumimoji="0" lang="fi-FI" sz="1200" b="0" i="0" u="none" strike="noStrike" kern="1200" cap="none" spc="0" normalizeH="0" baseline="0" noProof="1">
                <a:ln>
                  <a:noFill/>
                </a:ln>
                <a:solidFill>
                  <a:srgbClr val="FF6900"/>
                </a:solidFill>
                <a:effectLst/>
                <a:uLnTx/>
                <a:uFillTx/>
                <a:latin typeface="Skatta Sans Black"/>
                <a:ea typeface="+mn-ea"/>
                <a:cs typeface="+mn-cs"/>
                <a:hlinkClick r:id="rId4"/>
              </a:rPr>
              <a:t>@kesko.fi</a:t>
            </a:r>
            <a:r>
              <a:rPr kumimoji="0" lang="fi-FI" sz="1200" b="0" i="0" u="none" strike="noStrike" kern="1200" cap="none" spc="0" normalizeH="0" baseline="0" noProof="1">
                <a:ln>
                  <a:noFill/>
                </a:ln>
                <a:solidFill>
                  <a:srgbClr val="FF6900"/>
                </a:solidFill>
                <a:effectLst/>
                <a:uLnTx/>
                <a:uFillTx/>
                <a:latin typeface="Skatta Sans Black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i-FI" sz="1200" b="0" i="0" u="none" strike="noStrike" kern="1200" cap="none" spc="0" normalizeH="0" baseline="0" noProof="1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rPr>
              <a:t>puh. 040 052 9291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fi-FI" sz="1200" b="0" i="0" u="none" strike="noStrike" kern="1200" cap="none" spc="0" normalizeH="0" baseline="0" noProof="1">
              <a:ln>
                <a:noFill/>
              </a:ln>
              <a:solidFill>
                <a:srgbClr val="54585A"/>
              </a:solidFill>
              <a:effectLst/>
              <a:uLnTx/>
              <a:uFillTx/>
              <a:latin typeface="Skatta Sans Regular"/>
              <a:ea typeface="+mn-ea"/>
              <a:cs typeface="+mn-cs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1641DF35-B81F-190A-FEB8-7FC0224377CD}"/>
              </a:ext>
            </a:extLst>
          </p:cNvPr>
          <p:cNvSpPr/>
          <p:nvPr/>
        </p:nvSpPr>
        <p:spPr>
          <a:xfrm>
            <a:off x="5231904" y="1844675"/>
            <a:ext cx="1440309" cy="1440309"/>
          </a:xfrm>
          <a:prstGeom prst="ellipse">
            <a:avLst/>
          </a:prstGeom>
          <a:blipFill>
            <a:blip r:embed="rId5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katta Sans Regular"/>
              <a:ea typeface="+mn-ea"/>
              <a:cs typeface="+mn-cs"/>
            </a:endParaRPr>
          </a:p>
        </p:txBody>
      </p:sp>
      <p:sp>
        <p:nvSpPr>
          <p:cNvPr id="35" name="Content Placeholder 10">
            <a:extLst>
              <a:ext uri="{FF2B5EF4-FFF2-40B4-BE49-F238E27FC236}">
                <a16:creationId xmlns:a16="http://schemas.microsoft.com/office/drawing/2014/main" id="{253B9A7C-D7F8-56D6-B0DD-0C004159AFE9}"/>
              </a:ext>
            </a:extLst>
          </p:cNvPr>
          <p:cNvSpPr txBox="1">
            <a:spLocks/>
          </p:cNvSpPr>
          <p:nvPr/>
        </p:nvSpPr>
        <p:spPr>
          <a:xfrm>
            <a:off x="7320136" y="3429000"/>
            <a:ext cx="1728192" cy="25209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39750" indent="-27305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806450" indent="-2667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346200" indent="-2746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612900" indent="-2667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878013" indent="-265113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2152650" indent="-2746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i-FI" sz="1200" b="0" i="0" u="none" strike="noStrike" kern="1200" cap="none" spc="0" normalizeH="0" baseline="0" noProof="1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Black"/>
                <a:ea typeface="+mn-ea"/>
                <a:cs typeface="+mn-cs"/>
              </a:rPr>
              <a:t>Erika Tarko-Viljanen</a:t>
            </a:r>
            <a:br>
              <a:rPr kumimoji="0" lang="fi-FI" sz="1200" b="0" i="0" u="none" strike="noStrike" kern="1200" cap="none" spc="0" normalizeH="0" baseline="0" noProof="1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rPr>
            </a:br>
            <a:r>
              <a:rPr kumimoji="0" lang="fi-FI" sz="1200" b="0" i="0" u="none" strike="noStrike" kern="1200" cap="none" spc="0" normalizeH="0" baseline="0" noProof="1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rPr>
              <a:t>Myyntineuvoja, Sisustus</a:t>
            </a:r>
            <a:br>
              <a:rPr kumimoji="0" lang="fi-FI" sz="1200" b="0" i="0" u="none" strike="noStrike" kern="1200" cap="none" spc="0" normalizeH="0" baseline="0" noProof="1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rPr>
            </a:br>
            <a:r>
              <a:rPr kumimoji="0" lang="fi-FI" sz="1200" b="0" i="0" u="none" strike="noStrike" kern="1200" cap="none" spc="0" normalizeH="0" baseline="0" noProof="1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rPr>
              <a:t>ja kalustaminen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i-FI" sz="1200" b="0" i="0" u="none" strike="noStrike" kern="1200" cap="none" spc="0" normalizeH="0" baseline="0" noProof="1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rPr>
              <a:t>Kesko Oyj</a:t>
            </a:r>
            <a:br>
              <a:rPr kumimoji="0" lang="fi-FI" sz="1200" b="0" i="0" u="none" strike="noStrike" kern="1200" cap="none" spc="0" normalizeH="0" baseline="0" noProof="1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rPr>
            </a:br>
            <a:br>
              <a:rPr kumimoji="0" lang="fi-FI" sz="1200" b="0" i="0" u="none" strike="noStrike" kern="1200" cap="none" spc="0" normalizeH="0" baseline="0" noProof="1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rPr>
            </a:br>
            <a:br>
              <a:rPr kumimoji="0" lang="fi-FI" sz="1200" b="0" i="0" u="none" strike="noStrike" kern="1200" cap="none" spc="0" normalizeH="0" baseline="0" noProof="1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rPr>
            </a:br>
            <a:endParaRPr kumimoji="0" lang="fi-FI" sz="1200" b="0" i="0" u="none" strike="noStrike" kern="1200" cap="none" spc="0" normalizeH="0" baseline="0" noProof="1">
              <a:ln>
                <a:noFill/>
              </a:ln>
              <a:solidFill>
                <a:srgbClr val="54585A"/>
              </a:solidFill>
              <a:effectLst/>
              <a:uLnTx/>
              <a:uFillTx/>
              <a:latin typeface="Skatta Sans Regular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i-FI" sz="1200" b="0" i="0" u="none" strike="noStrike" kern="1200" cap="none" spc="0" normalizeH="0" baseline="0" noProof="1">
                <a:ln>
                  <a:noFill/>
                </a:ln>
                <a:solidFill>
                  <a:srgbClr val="FF6900"/>
                </a:solidFill>
                <a:effectLst/>
                <a:uLnTx/>
                <a:uFillTx/>
                <a:latin typeface="Skatta Sans Black"/>
                <a:ea typeface="+mn-ea"/>
                <a:cs typeface="+mn-cs"/>
                <a:hlinkClick r:id="rId6"/>
              </a:rPr>
              <a:t>erika.tarko-viljanen</a:t>
            </a:r>
            <a:br>
              <a:rPr kumimoji="0" lang="fi-FI" sz="1200" b="0" i="0" u="none" strike="noStrike" kern="1200" cap="none" spc="0" normalizeH="0" baseline="0" noProof="1">
                <a:ln>
                  <a:noFill/>
                </a:ln>
                <a:solidFill>
                  <a:srgbClr val="FF6900"/>
                </a:solidFill>
                <a:effectLst/>
                <a:uLnTx/>
                <a:uFillTx/>
                <a:latin typeface="Skatta Sans Black"/>
                <a:ea typeface="+mn-ea"/>
                <a:cs typeface="+mn-cs"/>
                <a:hlinkClick r:id="rId6"/>
              </a:rPr>
            </a:br>
            <a:r>
              <a:rPr kumimoji="0" lang="fi-FI" sz="1200" b="0" i="0" u="none" strike="noStrike" kern="1200" cap="none" spc="0" normalizeH="0" baseline="0" noProof="1">
                <a:ln>
                  <a:noFill/>
                </a:ln>
                <a:solidFill>
                  <a:srgbClr val="FF6900"/>
                </a:solidFill>
                <a:effectLst/>
                <a:uLnTx/>
                <a:uFillTx/>
                <a:latin typeface="Skatta Sans Black"/>
                <a:ea typeface="+mn-ea"/>
                <a:cs typeface="+mn-cs"/>
                <a:hlinkClick r:id="rId6"/>
              </a:rPr>
              <a:t>@kesko.fi</a:t>
            </a:r>
            <a:r>
              <a:rPr kumimoji="0" lang="fi-FI" sz="1200" b="0" i="0" u="none" strike="noStrike" kern="1200" cap="none" spc="0" normalizeH="0" baseline="0" noProof="1">
                <a:ln>
                  <a:noFill/>
                </a:ln>
                <a:solidFill>
                  <a:srgbClr val="FF6900"/>
                </a:solidFill>
                <a:effectLst/>
                <a:uLnTx/>
                <a:uFillTx/>
                <a:latin typeface="Skatta Sans Black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i-FI" sz="1200" b="0" i="0" u="none" strike="noStrike" kern="1200" cap="none" spc="0" normalizeH="0" baseline="0" noProof="1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rPr>
              <a:t>puh. 050 502 3596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fi-FI" sz="1200" b="0" i="0" u="none" strike="noStrike" kern="1200" cap="none" spc="0" normalizeH="0" baseline="0" noProof="1">
              <a:ln>
                <a:noFill/>
              </a:ln>
              <a:solidFill>
                <a:srgbClr val="54585A"/>
              </a:solidFill>
              <a:effectLst/>
              <a:uLnTx/>
              <a:uFillTx/>
              <a:latin typeface="Skatta Sans Regular"/>
              <a:ea typeface="+mn-ea"/>
              <a:cs typeface="+mn-cs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C90832F4-0D7A-FB04-29F2-55A2118E70C5}"/>
              </a:ext>
            </a:extLst>
          </p:cNvPr>
          <p:cNvSpPr/>
          <p:nvPr/>
        </p:nvSpPr>
        <p:spPr>
          <a:xfrm>
            <a:off x="7319987" y="1844675"/>
            <a:ext cx="1440309" cy="1440309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katta Sans Regular"/>
              <a:ea typeface="+mn-ea"/>
              <a:cs typeface="+mn-cs"/>
            </a:endParaRPr>
          </a:p>
        </p:txBody>
      </p:sp>
      <p:sp>
        <p:nvSpPr>
          <p:cNvPr id="37" name="Content Placeholder 10">
            <a:extLst>
              <a:ext uri="{FF2B5EF4-FFF2-40B4-BE49-F238E27FC236}">
                <a16:creationId xmlns:a16="http://schemas.microsoft.com/office/drawing/2014/main" id="{07DEE611-DE83-3511-DFD1-C163553657B5}"/>
              </a:ext>
            </a:extLst>
          </p:cNvPr>
          <p:cNvSpPr txBox="1">
            <a:spLocks/>
          </p:cNvSpPr>
          <p:nvPr/>
        </p:nvSpPr>
        <p:spPr>
          <a:xfrm>
            <a:off x="9408368" y="3429000"/>
            <a:ext cx="1800970" cy="25209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39750" indent="-27305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806450" indent="-2667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346200" indent="-2746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612900" indent="-2667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878013" indent="-265113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2152650" indent="-2746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i-FI" sz="1200" b="0" i="0" u="none" strike="noStrike" kern="1200" cap="none" spc="0" normalizeH="0" baseline="0" noProof="1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Black"/>
                <a:ea typeface="+mn-ea"/>
                <a:cs typeface="+mn-cs"/>
              </a:rPr>
              <a:t>Susanna Soriola</a:t>
            </a:r>
            <a:br>
              <a:rPr kumimoji="0" lang="fi-FI" sz="1200" b="0" i="0" u="none" strike="noStrike" kern="1200" cap="none" spc="0" normalizeH="0" baseline="0" noProof="1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rPr>
            </a:br>
            <a:r>
              <a:rPr kumimoji="0" lang="fi-FI" sz="1200" b="0" i="0" u="none" strike="noStrike" kern="1200" cap="none" spc="0" normalizeH="0" baseline="0" noProof="1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rPr>
              <a:t>Myyntipäällikkö, Sisustus ja kalustaminen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i-FI" sz="1200" b="0" i="0" u="none" strike="noStrike" kern="1200" cap="none" spc="0" normalizeH="0" baseline="0" noProof="1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rPr>
              <a:t>Rakentamisen yritys-</a:t>
            </a:r>
            <a:br>
              <a:rPr kumimoji="0" lang="fi-FI" sz="1200" b="0" i="0" u="none" strike="noStrike" kern="1200" cap="none" spc="0" normalizeH="0" baseline="0" noProof="1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rPr>
            </a:br>
            <a:r>
              <a:rPr kumimoji="0" lang="fi-FI" sz="1200" b="0" i="0" u="none" strike="noStrike" kern="1200" cap="none" spc="0" normalizeH="0" baseline="0" noProof="1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rPr>
              <a:t>palvelu, rakentamisen ja talotekniikan kauppa</a:t>
            </a:r>
            <a:br>
              <a:rPr kumimoji="0" lang="fi-FI" sz="1200" b="0" i="0" u="none" strike="noStrike" kern="1200" cap="none" spc="0" normalizeH="0" baseline="0" noProof="1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rPr>
            </a:br>
            <a:endParaRPr kumimoji="0" lang="fi-FI" sz="1200" b="0" i="0" u="none" strike="noStrike" kern="1200" cap="none" spc="0" normalizeH="0" baseline="0" noProof="1">
              <a:ln>
                <a:noFill/>
              </a:ln>
              <a:solidFill>
                <a:srgbClr val="54585A"/>
              </a:solidFill>
              <a:effectLst/>
              <a:uLnTx/>
              <a:uFillTx/>
              <a:latin typeface="Skatta Sans Regular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i-FI" sz="1200" b="0" i="0" u="none" strike="noStrike" kern="1200" cap="none" spc="0" normalizeH="0" baseline="0" noProof="1">
                <a:ln>
                  <a:noFill/>
                </a:ln>
                <a:solidFill>
                  <a:srgbClr val="FF6900"/>
                </a:solidFill>
                <a:effectLst/>
                <a:uLnTx/>
                <a:uFillTx/>
                <a:latin typeface="Skatta Sans Black"/>
                <a:ea typeface="+mn-ea"/>
                <a:cs typeface="+mn-cs"/>
                <a:hlinkClick r:id="rId8"/>
              </a:rPr>
              <a:t>susanna.soriola</a:t>
            </a:r>
            <a:br>
              <a:rPr kumimoji="0" lang="fi-FI" sz="1200" b="0" i="0" u="none" strike="noStrike" kern="1200" cap="none" spc="0" normalizeH="0" baseline="0" noProof="1">
                <a:ln>
                  <a:noFill/>
                </a:ln>
                <a:solidFill>
                  <a:srgbClr val="FF6900"/>
                </a:solidFill>
                <a:effectLst/>
                <a:uLnTx/>
                <a:uFillTx/>
                <a:latin typeface="Skatta Sans Black"/>
                <a:ea typeface="+mn-ea"/>
                <a:cs typeface="+mn-cs"/>
                <a:hlinkClick r:id="rId8"/>
              </a:rPr>
            </a:br>
            <a:r>
              <a:rPr kumimoji="0" lang="fi-FI" sz="1200" b="0" i="0" u="none" strike="noStrike" kern="1200" cap="none" spc="0" normalizeH="0" baseline="0" noProof="1">
                <a:ln>
                  <a:noFill/>
                </a:ln>
                <a:solidFill>
                  <a:srgbClr val="FF6900"/>
                </a:solidFill>
                <a:effectLst/>
                <a:uLnTx/>
                <a:uFillTx/>
                <a:latin typeface="Skatta Sans Black"/>
                <a:ea typeface="+mn-ea"/>
                <a:cs typeface="+mn-cs"/>
                <a:hlinkClick r:id="rId8"/>
              </a:rPr>
              <a:t>@kesko.fi</a:t>
            </a:r>
            <a:r>
              <a:rPr kumimoji="0" lang="fi-FI" sz="1200" b="0" i="0" u="none" strike="noStrike" kern="1200" cap="none" spc="0" normalizeH="0" baseline="0" noProof="1">
                <a:ln>
                  <a:noFill/>
                </a:ln>
                <a:solidFill>
                  <a:srgbClr val="FF6900"/>
                </a:solidFill>
                <a:effectLst/>
                <a:uLnTx/>
                <a:uFillTx/>
                <a:latin typeface="Skatta Sans Black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i-FI" sz="1200" b="0" i="0" u="none" strike="noStrike" kern="1200" cap="none" spc="0" normalizeH="0" baseline="0" noProof="1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rPr>
              <a:t>puh. 040 418 1846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fi-FI" sz="1200" b="0" i="0" u="none" strike="noStrike" kern="1200" cap="none" spc="0" normalizeH="0" baseline="0" noProof="1">
              <a:ln>
                <a:noFill/>
              </a:ln>
              <a:solidFill>
                <a:srgbClr val="54585A"/>
              </a:solidFill>
              <a:effectLst/>
              <a:uLnTx/>
              <a:uFillTx/>
              <a:latin typeface="Skatta Sans Regular"/>
              <a:ea typeface="+mn-ea"/>
              <a:cs typeface="+mn-cs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C01F30A8-EACF-9293-59B8-7EB1C086CB55}"/>
              </a:ext>
            </a:extLst>
          </p:cNvPr>
          <p:cNvSpPr/>
          <p:nvPr/>
        </p:nvSpPr>
        <p:spPr>
          <a:xfrm>
            <a:off x="9408219" y="1844675"/>
            <a:ext cx="1440309" cy="1440309"/>
          </a:xfrm>
          <a:prstGeom prst="ellipse">
            <a:avLst/>
          </a:prstGeom>
          <a:blipFill>
            <a:blip r:embed="rId9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katta Sans Regular"/>
              <a:ea typeface="+mn-ea"/>
              <a:cs typeface="+mn-cs"/>
            </a:endParaRP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214B546F-60DD-5E21-57D3-AEFE8A012EEA}"/>
              </a:ext>
            </a:extLst>
          </p:cNvPr>
          <p:cNvSpPr txBox="1">
            <a:spLocks/>
          </p:cNvSpPr>
          <p:nvPr/>
        </p:nvSpPr>
        <p:spPr>
          <a:xfrm>
            <a:off x="982664" y="3429001"/>
            <a:ext cx="1872976" cy="25209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39750" indent="-27305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806450" indent="-2667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71563" indent="-265113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346200" indent="-2746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612900" indent="-2667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878013" indent="-265113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2152650" indent="-274638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i-FI" altLang="fi-FI" sz="1200" b="0" i="0" u="none" strike="noStrike" kern="1200" cap="none" spc="0" normalizeH="0" baseline="0" noProof="0" dirty="0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rPr>
              <a:t>Meihin voit aina olla myös etukäteen yhteydessä ja varata oman vierailuajan.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i-FI" altLang="fi-FI" sz="1200" b="0" i="0" u="none" strike="noStrike" kern="1200" cap="none" spc="0" normalizeH="0" baseline="0" noProof="0" dirty="0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Regular"/>
                <a:ea typeface="+mn-ea"/>
                <a:cs typeface="+mn-cs"/>
              </a:rPr>
              <a:t>Varaa aika sähköpostilla: </a:t>
            </a:r>
            <a:r>
              <a:rPr kumimoji="0" lang="fi-FI" altLang="fi-FI" sz="1200" b="0" i="0" u="none" strike="noStrike" kern="1200" cap="none" spc="0" normalizeH="0" baseline="0" noProof="0" dirty="0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Black"/>
                <a:ea typeface="+mn-ea"/>
                <a:cs typeface="+mn-cs"/>
                <a:hlinkClick r:id="rId10"/>
              </a:rPr>
              <a:t>dekostudio@kesko.fi</a:t>
            </a:r>
            <a:endParaRPr kumimoji="0" lang="fi-FI" altLang="fi-FI" sz="1200" b="0" i="0" u="none" strike="noStrike" kern="1200" cap="none" spc="0" normalizeH="0" baseline="0" noProof="0" dirty="0">
              <a:ln>
                <a:noFill/>
              </a:ln>
              <a:solidFill>
                <a:srgbClr val="54585A"/>
              </a:solidFill>
              <a:effectLst/>
              <a:uLnTx/>
              <a:uFillTx/>
              <a:latin typeface="Skatta Sans Black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i-FI" altLang="fi-FI" sz="1200" b="0" i="0" u="none" strike="noStrike" kern="1200" cap="none" spc="0" normalizeH="0" baseline="0" noProof="0" dirty="0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Black"/>
                <a:ea typeface="+mn-ea"/>
                <a:cs typeface="+mn-cs"/>
              </a:rPr>
              <a:t>Ajankohtaista:</a:t>
            </a:r>
            <a:br>
              <a:rPr kumimoji="0" lang="fi-FI" altLang="fi-FI" sz="1200" b="0" i="0" u="none" strike="noStrike" kern="1200" cap="none" spc="0" normalizeH="0" baseline="0" noProof="0" dirty="0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Black"/>
                <a:ea typeface="+mn-ea"/>
                <a:cs typeface="+mn-cs"/>
              </a:rPr>
            </a:br>
            <a:r>
              <a:rPr kumimoji="0" lang="fi-FI" altLang="fi-FI" sz="1200" b="0" i="0" u="none" strike="noStrike" kern="1200" cap="none" spc="0" normalizeH="0" baseline="0" noProof="0" dirty="0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Black"/>
                <a:ea typeface="+mn-ea"/>
                <a:cs typeface="+mn-cs"/>
                <a:hlinkClick r:id="rId11"/>
              </a:rPr>
              <a:t>www.dekostudio.fi</a:t>
            </a:r>
            <a:r>
              <a:rPr kumimoji="0" lang="fi-FI" altLang="fi-FI" sz="1200" b="0" i="0" u="none" strike="noStrike" kern="1200" cap="none" spc="0" normalizeH="0" baseline="0" noProof="0" dirty="0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Skatta Sans Black"/>
                <a:ea typeface="+mn-ea"/>
                <a:cs typeface="+mn-cs"/>
              </a:rPr>
              <a:t> 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C663F250-FEBA-1E6B-C117-B396D3197A4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07369" y="441275"/>
            <a:ext cx="1670353" cy="180000"/>
          </a:xfrm>
          <a:custGeom>
            <a:avLst/>
            <a:gdLst>
              <a:gd name="T0" fmla="*/ 819 w 8889"/>
              <a:gd name="T1" fmla="*/ 789 h 958"/>
              <a:gd name="T2" fmla="*/ 929 w 8889"/>
              <a:gd name="T3" fmla="*/ 402 h 958"/>
              <a:gd name="T4" fmla="*/ 690 w 8889"/>
              <a:gd name="T5" fmla="*/ 73 h 958"/>
              <a:gd name="T6" fmla="*/ 458 w 8889"/>
              <a:gd name="T7" fmla="*/ 247 h 958"/>
              <a:gd name="T8" fmla="*/ 600 w 8889"/>
              <a:gd name="T9" fmla="*/ 455 h 958"/>
              <a:gd name="T10" fmla="*/ 501 w 8889"/>
              <a:gd name="T11" fmla="*/ 693 h 958"/>
              <a:gd name="T12" fmla="*/ 1073 w 8889"/>
              <a:gd name="T13" fmla="*/ 14 h 958"/>
              <a:gd name="T14" fmla="*/ 3816 w 8889"/>
              <a:gd name="T15" fmla="*/ 878 h 958"/>
              <a:gd name="T16" fmla="*/ 4037 w 8889"/>
              <a:gd name="T17" fmla="*/ 530 h 958"/>
              <a:gd name="T18" fmla="*/ 3908 w 8889"/>
              <a:gd name="T19" fmla="*/ 154 h 958"/>
              <a:gd name="T20" fmla="*/ 3504 w 8889"/>
              <a:gd name="T21" fmla="*/ 1 h 958"/>
              <a:gd name="T22" fmla="*/ 3140 w 8889"/>
              <a:gd name="T23" fmla="*/ 170 h 958"/>
              <a:gd name="T24" fmla="*/ 3034 w 8889"/>
              <a:gd name="T25" fmla="*/ 578 h 958"/>
              <a:gd name="T26" fmla="*/ 3245 w 8889"/>
              <a:gd name="T27" fmla="*/ 878 h 958"/>
              <a:gd name="T28" fmla="*/ 3728 w 8889"/>
              <a:gd name="T29" fmla="*/ 922 h 958"/>
              <a:gd name="T30" fmla="*/ 3373 w 8889"/>
              <a:gd name="T31" fmla="*/ 376 h 958"/>
              <a:gd name="T32" fmla="*/ 3550 w 8889"/>
              <a:gd name="T33" fmla="*/ 269 h 958"/>
              <a:gd name="T34" fmla="*/ 3696 w 8889"/>
              <a:gd name="T35" fmla="*/ 394 h 958"/>
              <a:gd name="T36" fmla="*/ 3634 w 8889"/>
              <a:gd name="T37" fmla="*/ 657 h 958"/>
              <a:gd name="T38" fmla="*/ 3403 w 8889"/>
              <a:gd name="T39" fmla="*/ 632 h 958"/>
              <a:gd name="T40" fmla="*/ 4420 w 8889"/>
              <a:gd name="T41" fmla="*/ 955 h 958"/>
              <a:gd name="T42" fmla="*/ 4759 w 8889"/>
              <a:gd name="T43" fmla="*/ 861 h 958"/>
              <a:gd name="T44" fmla="*/ 4826 w 8889"/>
              <a:gd name="T45" fmla="*/ 599 h 958"/>
              <a:gd name="T46" fmla="*/ 4582 w 8889"/>
              <a:gd name="T47" fmla="*/ 424 h 958"/>
              <a:gd name="T48" fmla="*/ 4333 w 8889"/>
              <a:gd name="T49" fmla="*/ 324 h 958"/>
              <a:gd name="T50" fmla="*/ 4401 w 8889"/>
              <a:gd name="T51" fmla="*/ 145 h 958"/>
              <a:gd name="T52" fmla="*/ 4795 w 8889"/>
              <a:gd name="T53" fmla="*/ 79 h 958"/>
              <a:gd name="T54" fmla="*/ 4428 w 8889"/>
              <a:gd name="T55" fmla="*/ 10 h 958"/>
              <a:gd name="T56" fmla="*/ 4214 w 8889"/>
              <a:gd name="T57" fmla="*/ 184 h 958"/>
              <a:gd name="T58" fmla="*/ 4258 w 8889"/>
              <a:gd name="T59" fmla="*/ 439 h 958"/>
              <a:gd name="T60" fmla="*/ 4605 w 8889"/>
              <a:gd name="T61" fmla="*/ 561 h 958"/>
              <a:gd name="T62" fmla="*/ 4701 w 8889"/>
              <a:gd name="T63" fmla="*/ 720 h 958"/>
              <a:gd name="T64" fmla="*/ 4452 w 8889"/>
              <a:gd name="T65" fmla="*/ 837 h 958"/>
              <a:gd name="T66" fmla="*/ 6352 w 8889"/>
              <a:gd name="T67" fmla="*/ 901 h 958"/>
              <a:gd name="T68" fmla="*/ 6501 w 8889"/>
              <a:gd name="T69" fmla="*/ 602 h 958"/>
              <a:gd name="T70" fmla="*/ 6281 w 8889"/>
              <a:gd name="T71" fmla="*/ 801 h 958"/>
              <a:gd name="T72" fmla="*/ 6050 w 8889"/>
              <a:gd name="T73" fmla="*/ 818 h 958"/>
              <a:gd name="T74" fmla="*/ 5933 w 8889"/>
              <a:gd name="T75" fmla="*/ 579 h 958"/>
              <a:gd name="T76" fmla="*/ 5900 w 8889"/>
              <a:gd name="T77" fmla="*/ 858 h 958"/>
              <a:gd name="T78" fmla="*/ 6207 w 8889"/>
              <a:gd name="T79" fmla="*/ 955 h 958"/>
              <a:gd name="T80" fmla="*/ 7228 w 8889"/>
              <a:gd name="T81" fmla="*/ 211 h 958"/>
              <a:gd name="T82" fmla="*/ 7344 w 8889"/>
              <a:gd name="T83" fmla="*/ 521 h 958"/>
              <a:gd name="T84" fmla="*/ 7177 w 8889"/>
              <a:gd name="T85" fmla="*/ 783 h 958"/>
              <a:gd name="T86" fmla="*/ 7121 w 8889"/>
              <a:gd name="T87" fmla="*/ 933 h 958"/>
              <a:gd name="T88" fmla="*/ 7430 w 8889"/>
              <a:gd name="T89" fmla="*/ 697 h 958"/>
              <a:gd name="T90" fmla="*/ 7444 w 8889"/>
              <a:gd name="T91" fmla="*/ 294 h 958"/>
              <a:gd name="T92" fmla="*/ 7154 w 8889"/>
              <a:gd name="T93" fmla="*/ 35 h 958"/>
              <a:gd name="T94" fmla="*/ 8277 w 8889"/>
              <a:gd name="T95" fmla="*/ 779 h 958"/>
              <a:gd name="T96" fmla="*/ 8142 w 8889"/>
              <a:gd name="T97" fmla="*/ 499 h 958"/>
              <a:gd name="T98" fmla="*/ 8277 w 8889"/>
              <a:gd name="T99" fmla="*/ 180 h 958"/>
              <a:gd name="T100" fmla="*/ 8551 w 8889"/>
              <a:gd name="T101" fmla="*/ 141 h 958"/>
              <a:gd name="T102" fmla="*/ 8746 w 8889"/>
              <a:gd name="T103" fmla="*/ 387 h 958"/>
              <a:gd name="T104" fmla="*/ 8683 w 8889"/>
              <a:gd name="T105" fmla="*/ 711 h 958"/>
              <a:gd name="T106" fmla="*/ 8432 w 8889"/>
              <a:gd name="T107" fmla="*/ 837 h 958"/>
              <a:gd name="T108" fmla="*/ 8786 w 8889"/>
              <a:gd name="T109" fmla="*/ 787 h 958"/>
              <a:gd name="T110" fmla="*/ 8868 w 8889"/>
              <a:gd name="T111" fmla="*/ 334 h 958"/>
              <a:gd name="T112" fmla="*/ 8675 w 8889"/>
              <a:gd name="T113" fmla="*/ 68 h 958"/>
              <a:gd name="T114" fmla="*/ 8256 w 8889"/>
              <a:gd name="T115" fmla="*/ 47 h 958"/>
              <a:gd name="T116" fmla="*/ 8027 w 8889"/>
              <a:gd name="T117" fmla="*/ 334 h 958"/>
              <a:gd name="T118" fmla="*/ 8095 w 8889"/>
              <a:gd name="T119" fmla="*/ 769 h 958"/>
              <a:gd name="T120" fmla="*/ 8425 w 8889"/>
              <a:gd name="T121" fmla="*/ 958 h 9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8889" h="958">
                <a:moveTo>
                  <a:pt x="0" y="946"/>
                </a:moveTo>
                <a:lnTo>
                  <a:pt x="426" y="946"/>
                </a:lnTo>
                <a:lnTo>
                  <a:pt x="452" y="944"/>
                </a:lnTo>
                <a:lnTo>
                  <a:pt x="477" y="943"/>
                </a:lnTo>
                <a:lnTo>
                  <a:pt x="504" y="940"/>
                </a:lnTo>
                <a:lnTo>
                  <a:pt x="529" y="937"/>
                </a:lnTo>
                <a:lnTo>
                  <a:pt x="552" y="933"/>
                </a:lnTo>
                <a:lnTo>
                  <a:pt x="577" y="927"/>
                </a:lnTo>
                <a:lnTo>
                  <a:pt x="601" y="921"/>
                </a:lnTo>
                <a:lnTo>
                  <a:pt x="625" y="914"/>
                </a:lnTo>
                <a:lnTo>
                  <a:pt x="647" y="904"/>
                </a:lnTo>
                <a:lnTo>
                  <a:pt x="669" y="896"/>
                </a:lnTo>
                <a:lnTo>
                  <a:pt x="690" y="885"/>
                </a:lnTo>
                <a:lnTo>
                  <a:pt x="711" y="873"/>
                </a:lnTo>
                <a:lnTo>
                  <a:pt x="730" y="862"/>
                </a:lnTo>
                <a:lnTo>
                  <a:pt x="750" y="848"/>
                </a:lnTo>
                <a:lnTo>
                  <a:pt x="768" y="835"/>
                </a:lnTo>
                <a:lnTo>
                  <a:pt x="786" y="821"/>
                </a:lnTo>
                <a:lnTo>
                  <a:pt x="803" y="805"/>
                </a:lnTo>
                <a:lnTo>
                  <a:pt x="819" y="789"/>
                </a:lnTo>
                <a:lnTo>
                  <a:pt x="833" y="771"/>
                </a:lnTo>
                <a:lnTo>
                  <a:pt x="849" y="754"/>
                </a:lnTo>
                <a:lnTo>
                  <a:pt x="861" y="735"/>
                </a:lnTo>
                <a:lnTo>
                  <a:pt x="874" y="715"/>
                </a:lnTo>
                <a:lnTo>
                  <a:pt x="885" y="695"/>
                </a:lnTo>
                <a:lnTo>
                  <a:pt x="894" y="674"/>
                </a:lnTo>
                <a:lnTo>
                  <a:pt x="904" y="652"/>
                </a:lnTo>
                <a:lnTo>
                  <a:pt x="913" y="629"/>
                </a:lnTo>
                <a:lnTo>
                  <a:pt x="915" y="617"/>
                </a:lnTo>
                <a:lnTo>
                  <a:pt x="920" y="606"/>
                </a:lnTo>
                <a:lnTo>
                  <a:pt x="925" y="582"/>
                </a:lnTo>
                <a:lnTo>
                  <a:pt x="926" y="570"/>
                </a:lnTo>
                <a:lnTo>
                  <a:pt x="929" y="557"/>
                </a:lnTo>
                <a:lnTo>
                  <a:pt x="932" y="532"/>
                </a:lnTo>
                <a:lnTo>
                  <a:pt x="933" y="506"/>
                </a:lnTo>
                <a:lnTo>
                  <a:pt x="935" y="480"/>
                </a:lnTo>
                <a:lnTo>
                  <a:pt x="933" y="453"/>
                </a:lnTo>
                <a:lnTo>
                  <a:pt x="932" y="427"/>
                </a:lnTo>
                <a:lnTo>
                  <a:pt x="931" y="414"/>
                </a:lnTo>
                <a:lnTo>
                  <a:pt x="929" y="402"/>
                </a:lnTo>
                <a:lnTo>
                  <a:pt x="925" y="377"/>
                </a:lnTo>
                <a:lnTo>
                  <a:pt x="920" y="353"/>
                </a:lnTo>
                <a:lnTo>
                  <a:pt x="913" y="330"/>
                </a:lnTo>
                <a:lnTo>
                  <a:pt x="904" y="308"/>
                </a:lnTo>
                <a:lnTo>
                  <a:pt x="900" y="297"/>
                </a:lnTo>
                <a:lnTo>
                  <a:pt x="894" y="285"/>
                </a:lnTo>
                <a:lnTo>
                  <a:pt x="890" y="274"/>
                </a:lnTo>
                <a:lnTo>
                  <a:pt x="885" y="263"/>
                </a:lnTo>
                <a:lnTo>
                  <a:pt x="874" y="244"/>
                </a:lnTo>
                <a:lnTo>
                  <a:pt x="861" y="224"/>
                </a:lnTo>
                <a:lnTo>
                  <a:pt x="849" y="205"/>
                </a:lnTo>
                <a:lnTo>
                  <a:pt x="833" y="187"/>
                </a:lnTo>
                <a:lnTo>
                  <a:pt x="819" y="170"/>
                </a:lnTo>
                <a:lnTo>
                  <a:pt x="803" y="154"/>
                </a:lnTo>
                <a:lnTo>
                  <a:pt x="786" y="139"/>
                </a:lnTo>
                <a:lnTo>
                  <a:pt x="768" y="123"/>
                </a:lnTo>
                <a:lnTo>
                  <a:pt x="750" y="109"/>
                </a:lnTo>
                <a:lnTo>
                  <a:pt x="730" y="97"/>
                </a:lnTo>
                <a:lnTo>
                  <a:pt x="711" y="84"/>
                </a:lnTo>
                <a:lnTo>
                  <a:pt x="690" y="73"/>
                </a:lnTo>
                <a:lnTo>
                  <a:pt x="669" y="64"/>
                </a:lnTo>
                <a:lnTo>
                  <a:pt x="647" y="54"/>
                </a:lnTo>
                <a:lnTo>
                  <a:pt x="636" y="50"/>
                </a:lnTo>
                <a:lnTo>
                  <a:pt x="625" y="46"/>
                </a:lnTo>
                <a:lnTo>
                  <a:pt x="601" y="39"/>
                </a:lnTo>
                <a:lnTo>
                  <a:pt x="577" y="32"/>
                </a:lnTo>
                <a:lnTo>
                  <a:pt x="552" y="26"/>
                </a:lnTo>
                <a:lnTo>
                  <a:pt x="529" y="22"/>
                </a:lnTo>
                <a:lnTo>
                  <a:pt x="504" y="18"/>
                </a:lnTo>
                <a:lnTo>
                  <a:pt x="477" y="16"/>
                </a:lnTo>
                <a:lnTo>
                  <a:pt x="452" y="14"/>
                </a:lnTo>
                <a:lnTo>
                  <a:pt x="426" y="14"/>
                </a:lnTo>
                <a:lnTo>
                  <a:pt x="0" y="14"/>
                </a:lnTo>
                <a:lnTo>
                  <a:pt x="0" y="946"/>
                </a:lnTo>
                <a:close/>
                <a:moveTo>
                  <a:pt x="327" y="717"/>
                </a:moveTo>
                <a:lnTo>
                  <a:pt x="327" y="243"/>
                </a:lnTo>
                <a:lnTo>
                  <a:pt x="419" y="243"/>
                </a:lnTo>
                <a:lnTo>
                  <a:pt x="438" y="244"/>
                </a:lnTo>
                <a:lnTo>
                  <a:pt x="448" y="245"/>
                </a:lnTo>
                <a:lnTo>
                  <a:pt x="458" y="247"/>
                </a:lnTo>
                <a:lnTo>
                  <a:pt x="466" y="249"/>
                </a:lnTo>
                <a:lnTo>
                  <a:pt x="476" y="252"/>
                </a:lnTo>
                <a:lnTo>
                  <a:pt x="484" y="256"/>
                </a:lnTo>
                <a:lnTo>
                  <a:pt x="492" y="261"/>
                </a:lnTo>
                <a:lnTo>
                  <a:pt x="509" y="270"/>
                </a:lnTo>
                <a:lnTo>
                  <a:pt x="516" y="276"/>
                </a:lnTo>
                <a:lnTo>
                  <a:pt x="523" y="281"/>
                </a:lnTo>
                <a:lnTo>
                  <a:pt x="537" y="295"/>
                </a:lnTo>
                <a:lnTo>
                  <a:pt x="544" y="302"/>
                </a:lnTo>
                <a:lnTo>
                  <a:pt x="549" y="310"/>
                </a:lnTo>
                <a:lnTo>
                  <a:pt x="556" y="319"/>
                </a:lnTo>
                <a:lnTo>
                  <a:pt x="561" y="327"/>
                </a:lnTo>
                <a:lnTo>
                  <a:pt x="572" y="345"/>
                </a:lnTo>
                <a:lnTo>
                  <a:pt x="580" y="365"/>
                </a:lnTo>
                <a:lnTo>
                  <a:pt x="584" y="376"/>
                </a:lnTo>
                <a:lnTo>
                  <a:pt x="587" y="385"/>
                </a:lnTo>
                <a:lnTo>
                  <a:pt x="593" y="408"/>
                </a:lnTo>
                <a:lnTo>
                  <a:pt x="597" y="431"/>
                </a:lnTo>
                <a:lnTo>
                  <a:pt x="598" y="442"/>
                </a:lnTo>
                <a:lnTo>
                  <a:pt x="600" y="455"/>
                </a:lnTo>
                <a:lnTo>
                  <a:pt x="601" y="467"/>
                </a:lnTo>
                <a:lnTo>
                  <a:pt x="601" y="480"/>
                </a:lnTo>
                <a:lnTo>
                  <a:pt x="600" y="505"/>
                </a:lnTo>
                <a:lnTo>
                  <a:pt x="597" y="528"/>
                </a:lnTo>
                <a:lnTo>
                  <a:pt x="595" y="539"/>
                </a:lnTo>
                <a:lnTo>
                  <a:pt x="593" y="552"/>
                </a:lnTo>
                <a:lnTo>
                  <a:pt x="590" y="563"/>
                </a:lnTo>
                <a:lnTo>
                  <a:pt x="587" y="573"/>
                </a:lnTo>
                <a:lnTo>
                  <a:pt x="584" y="584"/>
                </a:lnTo>
                <a:lnTo>
                  <a:pt x="580" y="595"/>
                </a:lnTo>
                <a:lnTo>
                  <a:pt x="572" y="614"/>
                </a:lnTo>
                <a:lnTo>
                  <a:pt x="561" y="632"/>
                </a:lnTo>
                <a:lnTo>
                  <a:pt x="556" y="640"/>
                </a:lnTo>
                <a:lnTo>
                  <a:pt x="549" y="649"/>
                </a:lnTo>
                <a:lnTo>
                  <a:pt x="537" y="664"/>
                </a:lnTo>
                <a:lnTo>
                  <a:pt x="530" y="670"/>
                </a:lnTo>
                <a:lnTo>
                  <a:pt x="523" y="677"/>
                </a:lnTo>
                <a:lnTo>
                  <a:pt x="516" y="682"/>
                </a:lnTo>
                <a:lnTo>
                  <a:pt x="509" y="688"/>
                </a:lnTo>
                <a:lnTo>
                  <a:pt x="501" y="693"/>
                </a:lnTo>
                <a:lnTo>
                  <a:pt x="492" y="699"/>
                </a:lnTo>
                <a:lnTo>
                  <a:pt x="484" y="703"/>
                </a:lnTo>
                <a:lnTo>
                  <a:pt x="476" y="706"/>
                </a:lnTo>
                <a:lnTo>
                  <a:pt x="466" y="708"/>
                </a:lnTo>
                <a:lnTo>
                  <a:pt x="458" y="711"/>
                </a:lnTo>
                <a:lnTo>
                  <a:pt x="448" y="714"/>
                </a:lnTo>
                <a:lnTo>
                  <a:pt x="438" y="715"/>
                </a:lnTo>
                <a:lnTo>
                  <a:pt x="419" y="717"/>
                </a:lnTo>
                <a:lnTo>
                  <a:pt x="327" y="717"/>
                </a:lnTo>
                <a:close/>
                <a:moveTo>
                  <a:pt x="1808" y="946"/>
                </a:moveTo>
                <a:lnTo>
                  <a:pt x="1808" y="717"/>
                </a:lnTo>
                <a:lnTo>
                  <a:pt x="1399" y="717"/>
                </a:lnTo>
                <a:lnTo>
                  <a:pt x="1399" y="573"/>
                </a:lnTo>
                <a:lnTo>
                  <a:pt x="1714" y="573"/>
                </a:lnTo>
                <a:lnTo>
                  <a:pt x="1714" y="383"/>
                </a:lnTo>
                <a:lnTo>
                  <a:pt x="1399" y="383"/>
                </a:lnTo>
                <a:lnTo>
                  <a:pt x="1399" y="243"/>
                </a:lnTo>
                <a:lnTo>
                  <a:pt x="1803" y="243"/>
                </a:lnTo>
                <a:lnTo>
                  <a:pt x="1803" y="14"/>
                </a:lnTo>
                <a:lnTo>
                  <a:pt x="1073" y="14"/>
                </a:lnTo>
                <a:lnTo>
                  <a:pt x="1073" y="946"/>
                </a:lnTo>
                <a:lnTo>
                  <a:pt x="1808" y="946"/>
                </a:lnTo>
                <a:close/>
                <a:moveTo>
                  <a:pt x="3020" y="946"/>
                </a:moveTo>
                <a:lnTo>
                  <a:pt x="2670" y="457"/>
                </a:lnTo>
                <a:lnTo>
                  <a:pt x="3012" y="14"/>
                </a:lnTo>
                <a:lnTo>
                  <a:pt x="2619" y="14"/>
                </a:lnTo>
                <a:lnTo>
                  <a:pt x="2297" y="456"/>
                </a:lnTo>
                <a:lnTo>
                  <a:pt x="2618" y="946"/>
                </a:lnTo>
                <a:lnTo>
                  <a:pt x="3020" y="946"/>
                </a:lnTo>
                <a:close/>
                <a:moveTo>
                  <a:pt x="2294" y="946"/>
                </a:moveTo>
                <a:lnTo>
                  <a:pt x="2294" y="14"/>
                </a:lnTo>
                <a:lnTo>
                  <a:pt x="1966" y="14"/>
                </a:lnTo>
                <a:lnTo>
                  <a:pt x="1966" y="946"/>
                </a:lnTo>
                <a:lnTo>
                  <a:pt x="2294" y="946"/>
                </a:lnTo>
                <a:close/>
                <a:moveTo>
                  <a:pt x="3728" y="922"/>
                </a:moveTo>
                <a:lnTo>
                  <a:pt x="3752" y="912"/>
                </a:lnTo>
                <a:lnTo>
                  <a:pt x="3774" y="901"/>
                </a:lnTo>
                <a:lnTo>
                  <a:pt x="3784" y="896"/>
                </a:lnTo>
                <a:lnTo>
                  <a:pt x="3795" y="890"/>
                </a:lnTo>
                <a:lnTo>
                  <a:pt x="3816" y="878"/>
                </a:lnTo>
                <a:lnTo>
                  <a:pt x="3835" y="865"/>
                </a:lnTo>
                <a:lnTo>
                  <a:pt x="3855" y="851"/>
                </a:lnTo>
                <a:lnTo>
                  <a:pt x="3873" y="837"/>
                </a:lnTo>
                <a:lnTo>
                  <a:pt x="3891" y="821"/>
                </a:lnTo>
                <a:lnTo>
                  <a:pt x="3908" y="805"/>
                </a:lnTo>
                <a:lnTo>
                  <a:pt x="3924" y="787"/>
                </a:lnTo>
                <a:lnTo>
                  <a:pt x="3938" y="769"/>
                </a:lnTo>
                <a:lnTo>
                  <a:pt x="3952" y="751"/>
                </a:lnTo>
                <a:lnTo>
                  <a:pt x="3966" y="732"/>
                </a:lnTo>
                <a:lnTo>
                  <a:pt x="3979" y="713"/>
                </a:lnTo>
                <a:lnTo>
                  <a:pt x="3990" y="692"/>
                </a:lnTo>
                <a:lnTo>
                  <a:pt x="3999" y="670"/>
                </a:lnTo>
                <a:lnTo>
                  <a:pt x="4009" y="647"/>
                </a:lnTo>
                <a:lnTo>
                  <a:pt x="4016" y="625"/>
                </a:lnTo>
                <a:lnTo>
                  <a:pt x="4020" y="613"/>
                </a:lnTo>
                <a:lnTo>
                  <a:pt x="4023" y="602"/>
                </a:lnTo>
                <a:lnTo>
                  <a:pt x="4029" y="578"/>
                </a:lnTo>
                <a:lnTo>
                  <a:pt x="4033" y="554"/>
                </a:lnTo>
                <a:lnTo>
                  <a:pt x="4036" y="542"/>
                </a:lnTo>
                <a:lnTo>
                  <a:pt x="4037" y="530"/>
                </a:lnTo>
                <a:lnTo>
                  <a:pt x="4038" y="505"/>
                </a:lnTo>
                <a:lnTo>
                  <a:pt x="4038" y="480"/>
                </a:lnTo>
                <a:lnTo>
                  <a:pt x="4038" y="453"/>
                </a:lnTo>
                <a:lnTo>
                  <a:pt x="4037" y="430"/>
                </a:lnTo>
                <a:lnTo>
                  <a:pt x="4033" y="405"/>
                </a:lnTo>
                <a:lnTo>
                  <a:pt x="4029" y="381"/>
                </a:lnTo>
                <a:lnTo>
                  <a:pt x="4023" y="358"/>
                </a:lnTo>
                <a:lnTo>
                  <a:pt x="4016" y="334"/>
                </a:lnTo>
                <a:lnTo>
                  <a:pt x="4009" y="312"/>
                </a:lnTo>
                <a:lnTo>
                  <a:pt x="4005" y="301"/>
                </a:lnTo>
                <a:lnTo>
                  <a:pt x="3999" y="290"/>
                </a:lnTo>
                <a:lnTo>
                  <a:pt x="3994" y="279"/>
                </a:lnTo>
                <a:lnTo>
                  <a:pt x="3990" y="267"/>
                </a:lnTo>
                <a:lnTo>
                  <a:pt x="3979" y="247"/>
                </a:lnTo>
                <a:lnTo>
                  <a:pt x="3966" y="227"/>
                </a:lnTo>
                <a:lnTo>
                  <a:pt x="3952" y="208"/>
                </a:lnTo>
                <a:lnTo>
                  <a:pt x="3938" y="188"/>
                </a:lnTo>
                <a:lnTo>
                  <a:pt x="3931" y="180"/>
                </a:lnTo>
                <a:lnTo>
                  <a:pt x="3924" y="170"/>
                </a:lnTo>
                <a:lnTo>
                  <a:pt x="3908" y="154"/>
                </a:lnTo>
                <a:lnTo>
                  <a:pt x="3891" y="137"/>
                </a:lnTo>
                <a:lnTo>
                  <a:pt x="3873" y="122"/>
                </a:lnTo>
                <a:lnTo>
                  <a:pt x="3865" y="115"/>
                </a:lnTo>
                <a:lnTo>
                  <a:pt x="3855" y="107"/>
                </a:lnTo>
                <a:lnTo>
                  <a:pt x="3835" y="94"/>
                </a:lnTo>
                <a:lnTo>
                  <a:pt x="3816" y="80"/>
                </a:lnTo>
                <a:lnTo>
                  <a:pt x="3795" y="68"/>
                </a:lnTo>
                <a:lnTo>
                  <a:pt x="3774" y="57"/>
                </a:lnTo>
                <a:lnTo>
                  <a:pt x="3752" y="47"/>
                </a:lnTo>
                <a:lnTo>
                  <a:pt x="3728" y="37"/>
                </a:lnTo>
                <a:lnTo>
                  <a:pt x="3706" y="29"/>
                </a:lnTo>
                <a:lnTo>
                  <a:pt x="3681" y="21"/>
                </a:lnTo>
                <a:lnTo>
                  <a:pt x="3670" y="18"/>
                </a:lnTo>
                <a:lnTo>
                  <a:pt x="3657" y="15"/>
                </a:lnTo>
                <a:lnTo>
                  <a:pt x="3632" y="10"/>
                </a:lnTo>
                <a:lnTo>
                  <a:pt x="3607" y="5"/>
                </a:lnTo>
                <a:lnTo>
                  <a:pt x="3582" y="3"/>
                </a:lnTo>
                <a:lnTo>
                  <a:pt x="3557" y="1"/>
                </a:lnTo>
                <a:lnTo>
                  <a:pt x="3531" y="0"/>
                </a:lnTo>
                <a:lnTo>
                  <a:pt x="3504" y="1"/>
                </a:lnTo>
                <a:lnTo>
                  <a:pt x="3478" y="3"/>
                </a:lnTo>
                <a:lnTo>
                  <a:pt x="3453" y="5"/>
                </a:lnTo>
                <a:lnTo>
                  <a:pt x="3428" y="10"/>
                </a:lnTo>
                <a:lnTo>
                  <a:pt x="3403" y="15"/>
                </a:lnTo>
                <a:lnTo>
                  <a:pt x="3379" y="21"/>
                </a:lnTo>
                <a:lnTo>
                  <a:pt x="3355" y="29"/>
                </a:lnTo>
                <a:lnTo>
                  <a:pt x="3332" y="37"/>
                </a:lnTo>
                <a:lnTo>
                  <a:pt x="3309" y="47"/>
                </a:lnTo>
                <a:lnTo>
                  <a:pt x="3287" y="57"/>
                </a:lnTo>
                <a:lnTo>
                  <a:pt x="3276" y="62"/>
                </a:lnTo>
                <a:lnTo>
                  <a:pt x="3266" y="68"/>
                </a:lnTo>
                <a:lnTo>
                  <a:pt x="3245" y="80"/>
                </a:lnTo>
                <a:lnTo>
                  <a:pt x="3226" y="94"/>
                </a:lnTo>
                <a:lnTo>
                  <a:pt x="3216" y="100"/>
                </a:lnTo>
                <a:lnTo>
                  <a:pt x="3207" y="107"/>
                </a:lnTo>
                <a:lnTo>
                  <a:pt x="3188" y="122"/>
                </a:lnTo>
                <a:lnTo>
                  <a:pt x="3180" y="130"/>
                </a:lnTo>
                <a:lnTo>
                  <a:pt x="3172" y="137"/>
                </a:lnTo>
                <a:lnTo>
                  <a:pt x="3155" y="154"/>
                </a:lnTo>
                <a:lnTo>
                  <a:pt x="3140" y="170"/>
                </a:lnTo>
                <a:lnTo>
                  <a:pt x="3124" y="188"/>
                </a:lnTo>
                <a:lnTo>
                  <a:pt x="3111" y="208"/>
                </a:lnTo>
                <a:lnTo>
                  <a:pt x="3098" y="227"/>
                </a:lnTo>
                <a:lnTo>
                  <a:pt x="3085" y="247"/>
                </a:lnTo>
                <a:lnTo>
                  <a:pt x="3074" y="267"/>
                </a:lnTo>
                <a:lnTo>
                  <a:pt x="3065" y="290"/>
                </a:lnTo>
                <a:lnTo>
                  <a:pt x="3055" y="312"/>
                </a:lnTo>
                <a:lnTo>
                  <a:pt x="3047" y="334"/>
                </a:lnTo>
                <a:lnTo>
                  <a:pt x="3044" y="345"/>
                </a:lnTo>
                <a:lnTo>
                  <a:pt x="3040" y="358"/>
                </a:lnTo>
                <a:lnTo>
                  <a:pt x="3034" y="381"/>
                </a:lnTo>
                <a:lnTo>
                  <a:pt x="3030" y="405"/>
                </a:lnTo>
                <a:lnTo>
                  <a:pt x="3028" y="417"/>
                </a:lnTo>
                <a:lnTo>
                  <a:pt x="3027" y="430"/>
                </a:lnTo>
                <a:lnTo>
                  <a:pt x="3026" y="453"/>
                </a:lnTo>
                <a:lnTo>
                  <a:pt x="3024" y="480"/>
                </a:lnTo>
                <a:lnTo>
                  <a:pt x="3026" y="505"/>
                </a:lnTo>
                <a:lnTo>
                  <a:pt x="3027" y="530"/>
                </a:lnTo>
                <a:lnTo>
                  <a:pt x="3030" y="554"/>
                </a:lnTo>
                <a:lnTo>
                  <a:pt x="3034" y="578"/>
                </a:lnTo>
                <a:lnTo>
                  <a:pt x="3040" y="602"/>
                </a:lnTo>
                <a:lnTo>
                  <a:pt x="3047" y="625"/>
                </a:lnTo>
                <a:lnTo>
                  <a:pt x="3055" y="647"/>
                </a:lnTo>
                <a:lnTo>
                  <a:pt x="3059" y="658"/>
                </a:lnTo>
                <a:lnTo>
                  <a:pt x="3065" y="670"/>
                </a:lnTo>
                <a:lnTo>
                  <a:pt x="3069" y="681"/>
                </a:lnTo>
                <a:lnTo>
                  <a:pt x="3074" y="692"/>
                </a:lnTo>
                <a:lnTo>
                  <a:pt x="3085" y="713"/>
                </a:lnTo>
                <a:lnTo>
                  <a:pt x="3098" y="732"/>
                </a:lnTo>
                <a:lnTo>
                  <a:pt x="3111" y="751"/>
                </a:lnTo>
                <a:lnTo>
                  <a:pt x="3124" y="769"/>
                </a:lnTo>
                <a:lnTo>
                  <a:pt x="3140" y="787"/>
                </a:lnTo>
                <a:lnTo>
                  <a:pt x="3155" y="805"/>
                </a:lnTo>
                <a:lnTo>
                  <a:pt x="3163" y="814"/>
                </a:lnTo>
                <a:lnTo>
                  <a:pt x="3172" y="821"/>
                </a:lnTo>
                <a:lnTo>
                  <a:pt x="3188" y="837"/>
                </a:lnTo>
                <a:lnTo>
                  <a:pt x="3198" y="844"/>
                </a:lnTo>
                <a:lnTo>
                  <a:pt x="3207" y="851"/>
                </a:lnTo>
                <a:lnTo>
                  <a:pt x="3226" y="865"/>
                </a:lnTo>
                <a:lnTo>
                  <a:pt x="3245" y="878"/>
                </a:lnTo>
                <a:lnTo>
                  <a:pt x="3266" y="890"/>
                </a:lnTo>
                <a:lnTo>
                  <a:pt x="3287" y="901"/>
                </a:lnTo>
                <a:lnTo>
                  <a:pt x="3309" y="912"/>
                </a:lnTo>
                <a:lnTo>
                  <a:pt x="3332" y="922"/>
                </a:lnTo>
                <a:lnTo>
                  <a:pt x="3355" y="930"/>
                </a:lnTo>
                <a:lnTo>
                  <a:pt x="3379" y="937"/>
                </a:lnTo>
                <a:lnTo>
                  <a:pt x="3403" y="944"/>
                </a:lnTo>
                <a:lnTo>
                  <a:pt x="3428" y="950"/>
                </a:lnTo>
                <a:lnTo>
                  <a:pt x="3453" y="952"/>
                </a:lnTo>
                <a:lnTo>
                  <a:pt x="3478" y="955"/>
                </a:lnTo>
                <a:lnTo>
                  <a:pt x="3504" y="958"/>
                </a:lnTo>
                <a:lnTo>
                  <a:pt x="3531" y="958"/>
                </a:lnTo>
                <a:lnTo>
                  <a:pt x="3557" y="958"/>
                </a:lnTo>
                <a:lnTo>
                  <a:pt x="3582" y="955"/>
                </a:lnTo>
                <a:lnTo>
                  <a:pt x="3607" y="952"/>
                </a:lnTo>
                <a:lnTo>
                  <a:pt x="3632" y="950"/>
                </a:lnTo>
                <a:lnTo>
                  <a:pt x="3657" y="944"/>
                </a:lnTo>
                <a:lnTo>
                  <a:pt x="3681" y="937"/>
                </a:lnTo>
                <a:lnTo>
                  <a:pt x="3706" y="930"/>
                </a:lnTo>
                <a:lnTo>
                  <a:pt x="3728" y="922"/>
                </a:lnTo>
                <a:close/>
                <a:moveTo>
                  <a:pt x="3403" y="632"/>
                </a:moveTo>
                <a:lnTo>
                  <a:pt x="3397" y="625"/>
                </a:lnTo>
                <a:lnTo>
                  <a:pt x="3392" y="617"/>
                </a:lnTo>
                <a:lnTo>
                  <a:pt x="3386" y="610"/>
                </a:lnTo>
                <a:lnTo>
                  <a:pt x="3382" y="602"/>
                </a:lnTo>
                <a:lnTo>
                  <a:pt x="3378" y="593"/>
                </a:lnTo>
                <a:lnTo>
                  <a:pt x="3373" y="584"/>
                </a:lnTo>
                <a:lnTo>
                  <a:pt x="3366" y="566"/>
                </a:lnTo>
                <a:lnTo>
                  <a:pt x="3364" y="556"/>
                </a:lnTo>
                <a:lnTo>
                  <a:pt x="3361" y="546"/>
                </a:lnTo>
                <a:lnTo>
                  <a:pt x="3358" y="525"/>
                </a:lnTo>
                <a:lnTo>
                  <a:pt x="3355" y="503"/>
                </a:lnTo>
                <a:lnTo>
                  <a:pt x="3354" y="480"/>
                </a:lnTo>
                <a:lnTo>
                  <a:pt x="3355" y="456"/>
                </a:lnTo>
                <a:lnTo>
                  <a:pt x="3357" y="445"/>
                </a:lnTo>
                <a:lnTo>
                  <a:pt x="3358" y="434"/>
                </a:lnTo>
                <a:lnTo>
                  <a:pt x="3361" y="413"/>
                </a:lnTo>
                <a:lnTo>
                  <a:pt x="3366" y="394"/>
                </a:lnTo>
                <a:lnTo>
                  <a:pt x="3369" y="384"/>
                </a:lnTo>
                <a:lnTo>
                  <a:pt x="3373" y="376"/>
                </a:lnTo>
                <a:lnTo>
                  <a:pt x="3378" y="366"/>
                </a:lnTo>
                <a:lnTo>
                  <a:pt x="3382" y="358"/>
                </a:lnTo>
                <a:lnTo>
                  <a:pt x="3392" y="341"/>
                </a:lnTo>
                <a:lnTo>
                  <a:pt x="3397" y="334"/>
                </a:lnTo>
                <a:lnTo>
                  <a:pt x="3403" y="326"/>
                </a:lnTo>
                <a:lnTo>
                  <a:pt x="3415" y="313"/>
                </a:lnTo>
                <a:lnTo>
                  <a:pt x="3429" y="301"/>
                </a:lnTo>
                <a:lnTo>
                  <a:pt x="3436" y="295"/>
                </a:lnTo>
                <a:lnTo>
                  <a:pt x="3444" y="291"/>
                </a:lnTo>
                <a:lnTo>
                  <a:pt x="3451" y="287"/>
                </a:lnTo>
                <a:lnTo>
                  <a:pt x="3460" y="283"/>
                </a:lnTo>
                <a:lnTo>
                  <a:pt x="3468" y="279"/>
                </a:lnTo>
                <a:lnTo>
                  <a:pt x="3476" y="276"/>
                </a:lnTo>
                <a:lnTo>
                  <a:pt x="3485" y="273"/>
                </a:lnTo>
                <a:lnTo>
                  <a:pt x="3493" y="272"/>
                </a:lnTo>
                <a:lnTo>
                  <a:pt x="3501" y="270"/>
                </a:lnTo>
                <a:lnTo>
                  <a:pt x="3511" y="269"/>
                </a:lnTo>
                <a:lnTo>
                  <a:pt x="3531" y="267"/>
                </a:lnTo>
                <a:lnTo>
                  <a:pt x="3540" y="267"/>
                </a:lnTo>
                <a:lnTo>
                  <a:pt x="3550" y="269"/>
                </a:lnTo>
                <a:lnTo>
                  <a:pt x="3560" y="270"/>
                </a:lnTo>
                <a:lnTo>
                  <a:pt x="3570" y="272"/>
                </a:lnTo>
                <a:lnTo>
                  <a:pt x="3586" y="276"/>
                </a:lnTo>
                <a:lnTo>
                  <a:pt x="3596" y="279"/>
                </a:lnTo>
                <a:lnTo>
                  <a:pt x="3603" y="283"/>
                </a:lnTo>
                <a:lnTo>
                  <a:pt x="3611" y="287"/>
                </a:lnTo>
                <a:lnTo>
                  <a:pt x="3620" y="291"/>
                </a:lnTo>
                <a:lnTo>
                  <a:pt x="3627" y="295"/>
                </a:lnTo>
                <a:lnTo>
                  <a:pt x="3634" y="301"/>
                </a:lnTo>
                <a:lnTo>
                  <a:pt x="3641" y="306"/>
                </a:lnTo>
                <a:lnTo>
                  <a:pt x="3648" y="313"/>
                </a:lnTo>
                <a:lnTo>
                  <a:pt x="3654" y="319"/>
                </a:lnTo>
                <a:lnTo>
                  <a:pt x="3660" y="326"/>
                </a:lnTo>
                <a:lnTo>
                  <a:pt x="3666" y="334"/>
                </a:lnTo>
                <a:lnTo>
                  <a:pt x="3671" y="341"/>
                </a:lnTo>
                <a:lnTo>
                  <a:pt x="3681" y="358"/>
                </a:lnTo>
                <a:lnTo>
                  <a:pt x="3685" y="366"/>
                </a:lnTo>
                <a:lnTo>
                  <a:pt x="3689" y="376"/>
                </a:lnTo>
                <a:lnTo>
                  <a:pt x="3693" y="384"/>
                </a:lnTo>
                <a:lnTo>
                  <a:pt x="3696" y="394"/>
                </a:lnTo>
                <a:lnTo>
                  <a:pt x="3699" y="403"/>
                </a:lnTo>
                <a:lnTo>
                  <a:pt x="3702" y="413"/>
                </a:lnTo>
                <a:lnTo>
                  <a:pt x="3705" y="434"/>
                </a:lnTo>
                <a:lnTo>
                  <a:pt x="3707" y="456"/>
                </a:lnTo>
                <a:lnTo>
                  <a:pt x="3709" y="480"/>
                </a:lnTo>
                <a:lnTo>
                  <a:pt x="3707" y="503"/>
                </a:lnTo>
                <a:lnTo>
                  <a:pt x="3706" y="514"/>
                </a:lnTo>
                <a:lnTo>
                  <a:pt x="3705" y="525"/>
                </a:lnTo>
                <a:lnTo>
                  <a:pt x="3703" y="535"/>
                </a:lnTo>
                <a:lnTo>
                  <a:pt x="3702" y="546"/>
                </a:lnTo>
                <a:lnTo>
                  <a:pt x="3699" y="556"/>
                </a:lnTo>
                <a:lnTo>
                  <a:pt x="3696" y="566"/>
                </a:lnTo>
                <a:lnTo>
                  <a:pt x="3689" y="584"/>
                </a:lnTo>
                <a:lnTo>
                  <a:pt x="3685" y="593"/>
                </a:lnTo>
                <a:lnTo>
                  <a:pt x="3681" y="602"/>
                </a:lnTo>
                <a:lnTo>
                  <a:pt x="3677" y="610"/>
                </a:lnTo>
                <a:lnTo>
                  <a:pt x="3671" y="617"/>
                </a:lnTo>
                <a:lnTo>
                  <a:pt x="3660" y="632"/>
                </a:lnTo>
                <a:lnTo>
                  <a:pt x="3648" y="646"/>
                </a:lnTo>
                <a:lnTo>
                  <a:pt x="3634" y="657"/>
                </a:lnTo>
                <a:lnTo>
                  <a:pt x="3620" y="667"/>
                </a:lnTo>
                <a:lnTo>
                  <a:pt x="3611" y="671"/>
                </a:lnTo>
                <a:lnTo>
                  <a:pt x="3603" y="675"/>
                </a:lnTo>
                <a:lnTo>
                  <a:pt x="3586" y="682"/>
                </a:lnTo>
                <a:lnTo>
                  <a:pt x="3570" y="686"/>
                </a:lnTo>
                <a:lnTo>
                  <a:pt x="3550" y="689"/>
                </a:lnTo>
                <a:lnTo>
                  <a:pt x="3531" y="689"/>
                </a:lnTo>
                <a:lnTo>
                  <a:pt x="3511" y="689"/>
                </a:lnTo>
                <a:lnTo>
                  <a:pt x="3501" y="688"/>
                </a:lnTo>
                <a:lnTo>
                  <a:pt x="3493" y="686"/>
                </a:lnTo>
                <a:lnTo>
                  <a:pt x="3485" y="683"/>
                </a:lnTo>
                <a:lnTo>
                  <a:pt x="3476" y="682"/>
                </a:lnTo>
                <a:lnTo>
                  <a:pt x="3468" y="678"/>
                </a:lnTo>
                <a:lnTo>
                  <a:pt x="3460" y="675"/>
                </a:lnTo>
                <a:lnTo>
                  <a:pt x="3444" y="667"/>
                </a:lnTo>
                <a:lnTo>
                  <a:pt x="3429" y="657"/>
                </a:lnTo>
                <a:lnTo>
                  <a:pt x="3422" y="652"/>
                </a:lnTo>
                <a:lnTo>
                  <a:pt x="3415" y="646"/>
                </a:lnTo>
                <a:lnTo>
                  <a:pt x="3410" y="639"/>
                </a:lnTo>
                <a:lnTo>
                  <a:pt x="3403" y="632"/>
                </a:lnTo>
                <a:close/>
                <a:moveTo>
                  <a:pt x="4346" y="817"/>
                </a:moveTo>
                <a:lnTo>
                  <a:pt x="4314" y="804"/>
                </a:lnTo>
                <a:lnTo>
                  <a:pt x="4283" y="792"/>
                </a:lnTo>
                <a:lnTo>
                  <a:pt x="4254" y="776"/>
                </a:lnTo>
                <a:lnTo>
                  <a:pt x="4240" y="768"/>
                </a:lnTo>
                <a:lnTo>
                  <a:pt x="4226" y="760"/>
                </a:lnTo>
                <a:lnTo>
                  <a:pt x="4164" y="866"/>
                </a:lnTo>
                <a:lnTo>
                  <a:pt x="4180" y="876"/>
                </a:lnTo>
                <a:lnTo>
                  <a:pt x="4198" y="886"/>
                </a:lnTo>
                <a:lnTo>
                  <a:pt x="4216" y="896"/>
                </a:lnTo>
                <a:lnTo>
                  <a:pt x="4235" y="904"/>
                </a:lnTo>
                <a:lnTo>
                  <a:pt x="4254" y="912"/>
                </a:lnTo>
                <a:lnTo>
                  <a:pt x="4274" y="921"/>
                </a:lnTo>
                <a:lnTo>
                  <a:pt x="4293" y="927"/>
                </a:lnTo>
                <a:lnTo>
                  <a:pt x="4312" y="933"/>
                </a:lnTo>
                <a:lnTo>
                  <a:pt x="4332" y="940"/>
                </a:lnTo>
                <a:lnTo>
                  <a:pt x="4353" y="944"/>
                </a:lnTo>
                <a:lnTo>
                  <a:pt x="4375" y="948"/>
                </a:lnTo>
                <a:lnTo>
                  <a:pt x="4396" y="952"/>
                </a:lnTo>
                <a:lnTo>
                  <a:pt x="4420" y="955"/>
                </a:lnTo>
                <a:lnTo>
                  <a:pt x="4442" y="957"/>
                </a:lnTo>
                <a:lnTo>
                  <a:pt x="4465" y="958"/>
                </a:lnTo>
                <a:lnTo>
                  <a:pt x="4491" y="958"/>
                </a:lnTo>
                <a:lnTo>
                  <a:pt x="4509" y="958"/>
                </a:lnTo>
                <a:lnTo>
                  <a:pt x="4527" y="957"/>
                </a:lnTo>
                <a:lnTo>
                  <a:pt x="4543" y="955"/>
                </a:lnTo>
                <a:lnTo>
                  <a:pt x="4561" y="954"/>
                </a:lnTo>
                <a:lnTo>
                  <a:pt x="4578" y="951"/>
                </a:lnTo>
                <a:lnTo>
                  <a:pt x="4595" y="947"/>
                </a:lnTo>
                <a:lnTo>
                  <a:pt x="4612" y="943"/>
                </a:lnTo>
                <a:lnTo>
                  <a:pt x="4627" y="939"/>
                </a:lnTo>
                <a:lnTo>
                  <a:pt x="4642" y="933"/>
                </a:lnTo>
                <a:lnTo>
                  <a:pt x="4657" y="927"/>
                </a:lnTo>
                <a:lnTo>
                  <a:pt x="4673" y="921"/>
                </a:lnTo>
                <a:lnTo>
                  <a:pt x="4687" y="914"/>
                </a:lnTo>
                <a:lnTo>
                  <a:pt x="4713" y="898"/>
                </a:lnTo>
                <a:lnTo>
                  <a:pt x="4726" y="890"/>
                </a:lnTo>
                <a:lnTo>
                  <a:pt x="4737" y="880"/>
                </a:lnTo>
                <a:lnTo>
                  <a:pt x="4748" y="872"/>
                </a:lnTo>
                <a:lnTo>
                  <a:pt x="4759" y="861"/>
                </a:lnTo>
                <a:lnTo>
                  <a:pt x="4769" y="851"/>
                </a:lnTo>
                <a:lnTo>
                  <a:pt x="4778" y="840"/>
                </a:lnTo>
                <a:lnTo>
                  <a:pt x="4788" y="829"/>
                </a:lnTo>
                <a:lnTo>
                  <a:pt x="4797" y="817"/>
                </a:lnTo>
                <a:lnTo>
                  <a:pt x="4804" y="804"/>
                </a:lnTo>
                <a:lnTo>
                  <a:pt x="4810" y="792"/>
                </a:lnTo>
                <a:lnTo>
                  <a:pt x="4817" y="779"/>
                </a:lnTo>
                <a:lnTo>
                  <a:pt x="4822" y="765"/>
                </a:lnTo>
                <a:lnTo>
                  <a:pt x="4827" y="751"/>
                </a:lnTo>
                <a:lnTo>
                  <a:pt x="4830" y="738"/>
                </a:lnTo>
                <a:lnTo>
                  <a:pt x="4834" y="722"/>
                </a:lnTo>
                <a:lnTo>
                  <a:pt x="4836" y="707"/>
                </a:lnTo>
                <a:lnTo>
                  <a:pt x="4837" y="692"/>
                </a:lnTo>
                <a:lnTo>
                  <a:pt x="4837" y="677"/>
                </a:lnTo>
                <a:lnTo>
                  <a:pt x="4837" y="663"/>
                </a:lnTo>
                <a:lnTo>
                  <a:pt x="4836" y="649"/>
                </a:lnTo>
                <a:lnTo>
                  <a:pt x="4834" y="636"/>
                </a:lnTo>
                <a:lnTo>
                  <a:pt x="4833" y="622"/>
                </a:lnTo>
                <a:lnTo>
                  <a:pt x="4829" y="610"/>
                </a:lnTo>
                <a:lnTo>
                  <a:pt x="4826" y="599"/>
                </a:lnTo>
                <a:lnTo>
                  <a:pt x="4822" y="586"/>
                </a:lnTo>
                <a:lnTo>
                  <a:pt x="4816" y="575"/>
                </a:lnTo>
                <a:lnTo>
                  <a:pt x="4810" y="564"/>
                </a:lnTo>
                <a:lnTo>
                  <a:pt x="4805" y="553"/>
                </a:lnTo>
                <a:lnTo>
                  <a:pt x="4798" y="543"/>
                </a:lnTo>
                <a:lnTo>
                  <a:pt x="4791" y="534"/>
                </a:lnTo>
                <a:lnTo>
                  <a:pt x="4783" y="524"/>
                </a:lnTo>
                <a:lnTo>
                  <a:pt x="4774" y="514"/>
                </a:lnTo>
                <a:lnTo>
                  <a:pt x="4765" y="506"/>
                </a:lnTo>
                <a:lnTo>
                  <a:pt x="4755" y="498"/>
                </a:lnTo>
                <a:lnTo>
                  <a:pt x="4744" y="489"/>
                </a:lnTo>
                <a:lnTo>
                  <a:pt x="4733" y="482"/>
                </a:lnTo>
                <a:lnTo>
                  <a:pt x="4720" y="474"/>
                </a:lnTo>
                <a:lnTo>
                  <a:pt x="4708" y="467"/>
                </a:lnTo>
                <a:lnTo>
                  <a:pt x="4694" y="460"/>
                </a:lnTo>
                <a:lnTo>
                  <a:pt x="4680" y="455"/>
                </a:lnTo>
                <a:lnTo>
                  <a:pt x="4666" y="449"/>
                </a:lnTo>
                <a:lnTo>
                  <a:pt x="4650" y="444"/>
                </a:lnTo>
                <a:lnTo>
                  <a:pt x="4618" y="432"/>
                </a:lnTo>
                <a:lnTo>
                  <a:pt x="4582" y="424"/>
                </a:lnTo>
                <a:lnTo>
                  <a:pt x="4564" y="420"/>
                </a:lnTo>
                <a:lnTo>
                  <a:pt x="4545" y="417"/>
                </a:lnTo>
                <a:lnTo>
                  <a:pt x="4525" y="414"/>
                </a:lnTo>
                <a:lnTo>
                  <a:pt x="4504" y="412"/>
                </a:lnTo>
                <a:lnTo>
                  <a:pt x="4481" y="408"/>
                </a:lnTo>
                <a:lnTo>
                  <a:pt x="4470" y="406"/>
                </a:lnTo>
                <a:lnTo>
                  <a:pt x="4459" y="405"/>
                </a:lnTo>
                <a:lnTo>
                  <a:pt x="4438" y="399"/>
                </a:lnTo>
                <a:lnTo>
                  <a:pt x="4420" y="394"/>
                </a:lnTo>
                <a:lnTo>
                  <a:pt x="4403" y="388"/>
                </a:lnTo>
                <a:lnTo>
                  <a:pt x="4388" y="381"/>
                </a:lnTo>
                <a:lnTo>
                  <a:pt x="4382" y="377"/>
                </a:lnTo>
                <a:lnTo>
                  <a:pt x="4375" y="373"/>
                </a:lnTo>
                <a:lnTo>
                  <a:pt x="4364" y="365"/>
                </a:lnTo>
                <a:lnTo>
                  <a:pt x="4360" y="360"/>
                </a:lnTo>
                <a:lnTo>
                  <a:pt x="4354" y="356"/>
                </a:lnTo>
                <a:lnTo>
                  <a:pt x="4346" y="346"/>
                </a:lnTo>
                <a:lnTo>
                  <a:pt x="4339" y="335"/>
                </a:lnTo>
                <a:lnTo>
                  <a:pt x="4336" y="330"/>
                </a:lnTo>
                <a:lnTo>
                  <a:pt x="4333" y="324"/>
                </a:lnTo>
                <a:lnTo>
                  <a:pt x="4329" y="312"/>
                </a:lnTo>
                <a:lnTo>
                  <a:pt x="4328" y="306"/>
                </a:lnTo>
                <a:lnTo>
                  <a:pt x="4326" y="299"/>
                </a:lnTo>
                <a:lnTo>
                  <a:pt x="4324" y="285"/>
                </a:lnTo>
                <a:lnTo>
                  <a:pt x="4324" y="272"/>
                </a:lnTo>
                <a:lnTo>
                  <a:pt x="4324" y="263"/>
                </a:lnTo>
                <a:lnTo>
                  <a:pt x="4325" y="254"/>
                </a:lnTo>
                <a:lnTo>
                  <a:pt x="4328" y="237"/>
                </a:lnTo>
                <a:lnTo>
                  <a:pt x="4329" y="229"/>
                </a:lnTo>
                <a:lnTo>
                  <a:pt x="4332" y="220"/>
                </a:lnTo>
                <a:lnTo>
                  <a:pt x="4339" y="206"/>
                </a:lnTo>
                <a:lnTo>
                  <a:pt x="4343" y="200"/>
                </a:lnTo>
                <a:lnTo>
                  <a:pt x="4347" y="193"/>
                </a:lnTo>
                <a:lnTo>
                  <a:pt x="4351" y="186"/>
                </a:lnTo>
                <a:lnTo>
                  <a:pt x="4357" y="180"/>
                </a:lnTo>
                <a:lnTo>
                  <a:pt x="4363" y="175"/>
                </a:lnTo>
                <a:lnTo>
                  <a:pt x="4368" y="169"/>
                </a:lnTo>
                <a:lnTo>
                  <a:pt x="4381" y="158"/>
                </a:lnTo>
                <a:lnTo>
                  <a:pt x="4393" y="150"/>
                </a:lnTo>
                <a:lnTo>
                  <a:pt x="4401" y="145"/>
                </a:lnTo>
                <a:lnTo>
                  <a:pt x="4408" y="141"/>
                </a:lnTo>
                <a:lnTo>
                  <a:pt x="4424" y="134"/>
                </a:lnTo>
                <a:lnTo>
                  <a:pt x="4432" y="132"/>
                </a:lnTo>
                <a:lnTo>
                  <a:pt x="4440" y="130"/>
                </a:lnTo>
                <a:lnTo>
                  <a:pt x="4457" y="126"/>
                </a:lnTo>
                <a:lnTo>
                  <a:pt x="4475" y="122"/>
                </a:lnTo>
                <a:lnTo>
                  <a:pt x="4493" y="120"/>
                </a:lnTo>
                <a:lnTo>
                  <a:pt x="4511" y="120"/>
                </a:lnTo>
                <a:lnTo>
                  <a:pt x="4539" y="120"/>
                </a:lnTo>
                <a:lnTo>
                  <a:pt x="4567" y="125"/>
                </a:lnTo>
                <a:lnTo>
                  <a:pt x="4581" y="126"/>
                </a:lnTo>
                <a:lnTo>
                  <a:pt x="4595" y="129"/>
                </a:lnTo>
                <a:lnTo>
                  <a:pt x="4623" y="136"/>
                </a:lnTo>
                <a:lnTo>
                  <a:pt x="4637" y="140"/>
                </a:lnTo>
                <a:lnTo>
                  <a:pt x="4650" y="144"/>
                </a:lnTo>
                <a:lnTo>
                  <a:pt x="4678" y="155"/>
                </a:lnTo>
                <a:lnTo>
                  <a:pt x="4705" y="169"/>
                </a:lnTo>
                <a:lnTo>
                  <a:pt x="4719" y="177"/>
                </a:lnTo>
                <a:lnTo>
                  <a:pt x="4731" y="186"/>
                </a:lnTo>
                <a:lnTo>
                  <a:pt x="4795" y="79"/>
                </a:lnTo>
                <a:lnTo>
                  <a:pt x="4759" y="59"/>
                </a:lnTo>
                <a:lnTo>
                  <a:pt x="4742" y="51"/>
                </a:lnTo>
                <a:lnTo>
                  <a:pt x="4724" y="43"/>
                </a:lnTo>
                <a:lnTo>
                  <a:pt x="4706" y="36"/>
                </a:lnTo>
                <a:lnTo>
                  <a:pt x="4698" y="32"/>
                </a:lnTo>
                <a:lnTo>
                  <a:pt x="4688" y="29"/>
                </a:lnTo>
                <a:lnTo>
                  <a:pt x="4670" y="23"/>
                </a:lnTo>
                <a:lnTo>
                  <a:pt x="4652" y="18"/>
                </a:lnTo>
                <a:lnTo>
                  <a:pt x="4634" y="14"/>
                </a:lnTo>
                <a:lnTo>
                  <a:pt x="4616" y="11"/>
                </a:lnTo>
                <a:lnTo>
                  <a:pt x="4599" y="8"/>
                </a:lnTo>
                <a:lnTo>
                  <a:pt x="4581" y="5"/>
                </a:lnTo>
                <a:lnTo>
                  <a:pt x="4563" y="3"/>
                </a:lnTo>
                <a:lnTo>
                  <a:pt x="4546" y="1"/>
                </a:lnTo>
                <a:lnTo>
                  <a:pt x="4511" y="0"/>
                </a:lnTo>
                <a:lnTo>
                  <a:pt x="4495" y="1"/>
                </a:lnTo>
                <a:lnTo>
                  <a:pt x="4477" y="1"/>
                </a:lnTo>
                <a:lnTo>
                  <a:pt x="4460" y="4"/>
                </a:lnTo>
                <a:lnTo>
                  <a:pt x="4445" y="7"/>
                </a:lnTo>
                <a:lnTo>
                  <a:pt x="4428" y="10"/>
                </a:lnTo>
                <a:lnTo>
                  <a:pt x="4413" y="14"/>
                </a:lnTo>
                <a:lnTo>
                  <a:pt x="4397" y="18"/>
                </a:lnTo>
                <a:lnTo>
                  <a:pt x="4383" y="23"/>
                </a:lnTo>
                <a:lnTo>
                  <a:pt x="4368" y="29"/>
                </a:lnTo>
                <a:lnTo>
                  <a:pt x="4354" y="36"/>
                </a:lnTo>
                <a:lnTo>
                  <a:pt x="4342" y="43"/>
                </a:lnTo>
                <a:lnTo>
                  <a:pt x="4329" y="50"/>
                </a:lnTo>
                <a:lnTo>
                  <a:pt x="4317" y="57"/>
                </a:lnTo>
                <a:lnTo>
                  <a:pt x="4305" y="65"/>
                </a:lnTo>
                <a:lnTo>
                  <a:pt x="4294" y="75"/>
                </a:lnTo>
                <a:lnTo>
                  <a:pt x="4283" y="83"/>
                </a:lnTo>
                <a:lnTo>
                  <a:pt x="4274" y="93"/>
                </a:lnTo>
                <a:lnTo>
                  <a:pt x="4264" y="104"/>
                </a:lnTo>
                <a:lnTo>
                  <a:pt x="4255" y="114"/>
                </a:lnTo>
                <a:lnTo>
                  <a:pt x="4247" y="125"/>
                </a:lnTo>
                <a:lnTo>
                  <a:pt x="4239" y="136"/>
                </a:lnTo>
                <a:lnTo>
                  <a:pt x="4232" y="147"/>
                </a:lnTo>
                <a:lnTo>
                  <a:pt x="4225" y="159"/>
                </a:lnTo>
                <a:lnTo>
                  <a:pt x="4219" y="172"/>
                </a:lnTo>
                <a:lnTo>
                  <a:pt x="4214" y="184"/>
                </a:lnTo>
                <a:lnTo>
                  <a:pt x="4210" y="197"/>
                </a:lnTo>
                <a:lnTo>
                  <a:pt x="4205" y="209"/>
                </a:lnTo>
                <a:lnTo>
                  <a:pt x="4203" y="223"/>
                </a:lnTo>
                <a:lnTo>
                  <a:pt x="4200" y="236"/>
                </a:lnTo>
                <a:lnTo>
                  <a:pt x="4198" y="249"/>
                </a:lnTo>
                <a:lnTo>
                  <a:pt x="4197" y="263"/>
                </a:lnTo>
                <a:lnTo>
                  <a:pt x="4197" y="277"/>
                </a:lnTo>
                <a:lnTo>
                  <a:pt x="4198" y="302"/>
                </a:lnTo>
                <a:lnTo>
                  <a:pt x="4201" y="326"/>
                </a:lnTo>
                <a:lnTo>
                  <a:pt x="4204" y="337"/>
                </a:lnTo>
                <a:lnTo>
                  <a:pt x="4207" y="349"/>
                </a:lnTo>
                <a:lnTo>
                  <a:pt x="4210" y="360"/>
                </a:lnTo>
                <a:lnTo>
                  <a:pt x="4214" y="370"/>
                </a:lnTo>
                <a:lnTo>
                  <a:pt x="4219" y="381"/>
                </a:lnTo>
                <a:lnTo>
                  <a:pt x="4223" y="392"/>
                </a:lnTo>
                <a:lnTo>
                  <a:pt x="4229" y="402"/>
                </a:lnTo>
                <a:lnTo>
                  <a:pt x="4236" y="412"/>
                </a:lnTo>
                <a:lnTo>
                  <a:pt x="4243" y="421"/>
                </a:lnTo>
                <a:lnTo>
                  <a:pt x="4250" y="431"/>
                </a:lnTo>
                <a:lnTo>
                  <a:pt x="4258" y="439"/>
                </a:lnTo>
                <a:lnTo>
                  <a:pt x="4267" y="449"/>
                </a:lnTo>
                <a:lnTo>
                  <a:pt x="4275" y="457"/>
                </a:lnTo>
                <a:lnTo>
                  <a:pt x="4285" y="466"/>
                </a:lnTo>
                <a:lnTo>
                  <a:pt x="4294" y="473"/>
                </a:lnTo>
                <a:lnTo>
                  <a:pt x="4305" y="481"/>
                </a:lnTo>
                <a:lnTo>
                  <a:pt x="4317" y="488"/>
                </a:lnTo>
                <a:lnTo>
                  <a:pt x="4329" y="495"/>
                </a:lnTo>
                <a:lnTo>
                  <a:pt x="4342" y="500"/>
                </a:lnTo>
                <a:lnTo>
                  <a:pt x="4354" y="506"/>
                </a:lnTo>
                <a:lnTo>
                  <a:pt x="4361" y="509"/>
                </a:lnTo>
                <a:lnTo>
                  <a:pt x="4368" y="512"/>
                </a:lnTo>
                <a:lnTo>
                  <a:pt x="4383" y="517"/>
                </a:lnTo>
                <a:lnTo>
                  <a:pt x="4399" y="521"/>
                </a:lnTo>
                <a:lnTo>
                  <a:pt x="4414" y="525"/>
                </a:lnTo>
                <a:lnTo>
                  <a:pt x="4429" y="530"/>
                </a:lnTo>
                <a:lnTo>
                  <a:pt x="4447" y="532"/>
                </a:lnTo>
                <a:lnTo>
                  <a:pt x="4482" y="538"/>
                </a:lnTo>
                <a:lnTo>
                  <a:pt x="4538" y="546"/>
                </a:lnTo>
                <a:lnTo>
                  <a:pt x="4584" y="556"/>
                </a:lnTo>
                <a:lnTo>
                  <a:pt x="4605" y="561"/>
                </a:lnTo>
                <a:lnTo>
                  <a:pt x="4623" y="567"/>
                </a:lnTo>
                <a:lnTo>
                  <a:pt x="4639" y="575"/>
                </a:lnTo>
                <a:lnTo>
                  <a:pt x="4646" y="579"/>
                </a:lnTo>
                <a:lnTo>
                  <a:pt x="4653" y="584"/>
                </a:lnTo>
                <a:lnTo>
                  <a:pt x="4659" y="588"/>
                </a:lnTo>
                <a:lnTo>
                  <a:pt x="4666" y="592"/>
                </a:lnTo>
                <a:lnTo>
                  <a:pt x="4671" y="597"/>
                </a:lnTo>
                <a:lnTo>
                  <a:pt x="4676" y="602"/>
                </a:lnTo>
                <a:lnTo>
                  <a:pt x="4681" y="607"/>
                </a:lnTo>
                <a:lnTo>
                  <a:pt x="4685" y="613"/>
                </a:lnTo>
                <a:lnTo>
                  <a:pt x="4688" y="618"/>
                </a:lnTo>
                <a:lnTo>
                  <a:pt x="4692" y="625"/>
                </a:lnTo>
                <a:lnTo>
                  <a:pt x="4695" y="631"/>
                </a:lnTo>
                <a:lnTo>
                  <a:pt x="4696" y="638"/>
                </a:lnTo>
                <a:lnTo>
                  <a:pt x="4701" y="653"/>
                </a:lnTo>
                <a:lnTo>
                  <a:pt x="4702" y="660"/>
                </a:lnTo>
                <a:lnTo>
                  <a:pt x="4703" y="668"/>
                </a:lnTo>
                <a:lnTo>
                  <a:pt x="4703" y="685"/>
                </a:lnTo>
                <a:lnTo>
                  <a:pt x="4703" y="703"/>
                </a:lnTo>
                <a:lnTo>
                  <a:pt x="4701" y="720"/>
                </a:lnTo>
                <a:lnTo>
                  <a:pt x="4698" y="726"/>
                </a:lnTo>
                <a:lnTo>
                  <a:pt x="4696" y="735"/>
                </a:lnTo>
                <a:lnTo>
                  <a:pt x="4689" y="749"/>
                </a:lnTo>
                <a:lnTo>
                  <a:pt x="4682" y="762"/>
                </a:lnTo>
                <a:lnTo>
                  <a:pt x="4677" y="768"/>
                </a:lnTo>
                <a:lnTo>
                  <a:pt x="4673" y="775"/>
                </a:lnTo>
                <a:lnTo>
                  <a:pt x="4662" y="786"/>
                </a:lnTo>
                <a:lnTo>
                  <a:pt x="4649" y="797"/>
                </a:lnTo>
                <a:lnTo>
                  <a:pt x="4634" y="807"/>
                </a:lnTo>
                <a:lnTo>
                  <a:pt x="4625" y="811"/>
                </a:lnTo>
                <a:lnTo>
                  <a:pt x="4617" y="815"/>
                </a:lnTo>
                <a:lnTo>
                  <a:pt x="4600" y="822"/>
                </a:lnTo>
                <a:lnTo>
                  <a:pt x="4581" y="828"/>
                </a:lnTo>
                <a:lnTo>
                  <a:pt x="4560" y="833"/>
                </a:lnTo>
                <a:lnTo>
                  <a:pt x="4550" y="835"/>
                </a:lnTo>
                <a:lnTo>
                  <a:pt x="4539" y="836"/>
                </a:lnTo>
                <a:lnTo>
                  <a:pt x="4516" y="837"/>
                </a:lnTo>
                <a:lnTo>
                  <a:pt x="4491" y="839"/>
                </a:lnTo>
                <a:lnTo>
                  <a:pt x="4471" y="839"/>
                </a:lnTo>
                <a:lnTo>
                  <a:pt x="4452" y="837"/>
                </a:lnTo>
                <a:lnTo>
                  <a:pt x="4433" y="836"/>
                </a:lnTo>
                <a:lnTo>
                  <a:pt x="4415" y="833"/>
                </a:lnTo>
                <a:lnTo>
                  <a:pt x="4397" y="830"/>
                </a:lnTo>
                <a:lnTo>
                  <a:pt x="4379" y="826"/>
                </a:lnTo>
                <a:lnTo>
                  <a:pt x="4363" y="822"/>
                </a:lnTo>
                <a:lnTo>
                  <a:pt x="4346" y="817"/>
                </a:lnTo>
                <a:close/>
                <a:moveTo>
                  <a:pt x="5368" y="946"/>
                </a:moveTo>
                <a:lnTo>
                  <a:pt x="5368" y="133"/>
                </a:lnTo>
                <a:lnTo>
                  <a:pt x="5649" y="133"/>
                </a:lnTo>
                <a:lnTo>
                  <a:pt x="5649" y="14"/>
                </a:lnTo>
                <a:lnTo>
                  <a:pt x="4955" y="14"/>
                </a:lnTo>
                <a:lnTo>
                  <a:pt x="4955" y="133"/>
                </a:lnTo>
                <a:lnTo>
                  <a:pt x="5235" y="133"/>
                </a:lnTo>
                <a:lnTo>
                  <a:pt x="5235" y="946"/>
                </a:lnTo>
                <a:lnTo>
                  <a:pt x="5368" y="946"/>
                </a:lnTo>
                <a:close/>
                <a:moveTo>
                  <a:pt x="6292" y="933"/>
                </a:moveTo>
                <a:lnTo>
                  <a:pt x="6309" y="926"/>
                </a:lnTo>
                <a:lnTo>
                  <a:pt x="6323" y="919"/>
                </a:lnTo>
                <a:lnTo>
                  <a:pt x="6338" y="911"/>
                </a:lnTo>
                <a:lnTo>
                  <a:pt x="6352" y="901"/>
                </a:lnTo>
                <a:lnTo>
                  <a:pt x="6366" y="891"/>
                </a:lnTo>
                <a:lnTo>
                  <a:pt x="6378" y="882"/>
                </a:lnTo>
                <a:lnTo>
                  <a:pt x="6391" y="871"/>
                </a:lnTo>
                <a:lnTo>
                  <a:pt x="6402" y="858"/>
                </a:lnTo>
                <a:lnTo>
                  <a:pt x="6413" y="846"/>
                </a:lnTo>
                <a:lnTo>
                  <a:pt x="6424" y="833"/>
                </a:lnTo>
                <a:lnTo>
                  <a:pt x="6434" y="818"/>
                </a:lnTo>
                <a:lnTo>
                  <a:pt x="6444" y="804"/>
                </a:lnTo>
                <a:lnTo>
                  <a:pt x="6452" y="789"/>
                </a:lnTo>
                <a:lnTo>
                  <a:pt x="6460" y="774"/>
                </a:lnTo>
                <a:lnTo>
                  <a:pt x="6465" y="765"/>
                </a:lnTo>
                <a:lnTo>
                  <a:pt x="6467" y="757"/>
                </a:lnTo>
                <a:lnTo>
                  <a:pt x="6474" y="739"/>
                </a:lnTo>
                <a:lnTo>
                  <a:pt x="6481" y="722"/>
                </a:lnTo>
                <a:lnTo>
                  <a:pt x="6485" y="703"/>
                </a:lnTo>
                <a:lnTo>
                  <a:pt x="6491" y="683"/>
                </a:lnTo>
                <a:lnTo>
                  <a:pt x="6494" y="664"/>
                </a:lnTo>
                <a:lnTo>
                  <a:pt x="6497" y="645"/>
                </a:lnTo>
                <a:lnTo>
                  <a:pt x="6499" y="622"/>
                </a:lnTo>
                <a:lnTo>
                  <a:pt x="6501" y="602"/>
                </a:lnTo>
                <a:lnTo>
                  <a:pt x="6501" y="579"/>
                </a:lnTo>
                <a:lnTo>
                  <a:pt x="6501" y="14"/>
                </a:lnTo>
                <a:lnTo>
                  <a:pt x="6367" y="14"/>
                </a:lnTo>
                <a:lnTo>
                  <a:pt x="6367" y="579"/>
                </a:lnTo>
                <a:lnTo>
                  <a:pt x="6366" y="610"/>
                </a:lnTo>
                <a:lnTo>
                  <a:pt x="6363" y="639"/>
                </a:lnTo>
                <a:lnTo>
                  <a:pt x="6362" y="652"/>
                </a:lnTo>
                <a:lnTo>
                  <a:pt x="6359" y="665"/>
                </a:lnTo>
                <a:lnTo>
                  <a:pt x="6353" y="690"/>
                </a:lnTo>
                <a:lnTo>
                  <a:pt x="6345" y="714"/>
                </a:lnTo>
                <a:lnTo>
                  <a:pt x="6341" y="725"/>
                </a:lnTo>
                <a:lnTo>
                  <a:pt x="6337" y="735"/>
                </a:lnTo>
                <a:lnTo>
                  <a:pt x="6331" y="744"/>
                </a:lnTo>
                <a:lnTo>
                  <a:pt x="6324" y="754"/>
                </a:lnTo>
                <a:lnTo>
                  <a:pt x="6318" y="764"/>
                </a:lnTo>
                <a:lnTo>
                  <a:pt x="6311" y="772"/>
                </a:lnTo>
                <a:lnTo>
                  <a:pt x="6305" y="781"/>
                </a:lnTo>
                <a:lnTo>
                  <a:pt x="6298" y="787"/>
                </a:lnTo>
                <a:lnTo>
                  <a:pt x="6289" y="794"/>
                </a:lnTo>
                <a:lnTo>
                  <a:pt x="6281" y="801"/>
                </a:lnTo>
                <a:lnTo>
                  <a:pt x="6273" y="807"/>
                </a:lnTo>
                <a:lnTo>
                  <a:pt x="6263" y="812"/>
                </a:lnTo>
                <a:lnTo>
                  <a:pt x="6254" y="818"/>
                </a:lnTo>
                <a:lnTo>
                  <a:pt x="6245" y="822"/>
                </a:lnTo>
                <a:lnTo>
                  <a:pt x="6234" y="826"/>
                </a:lnTo>
                <a:lnTo>
                  <a:pt x="6224" y="829"/>
                </a:lnTo>
                <a:lnTo>
                  <a:pt x="6213" y="832"/>
                </a:lnTo>
                <a:lnTo>
                  <a:pt x="6202" y="835"/>
                </a:lnTo>
                <a:lnTo>
                  <a:pt x="6189" y="836"/>
                </a:lnTo>
                <a:lnTo>
                  <a:pt x="6178" y="837"/>
                </a:lnTo>
                <a:lnTo>
                  <a:pt x="6165" y="839"/>
                </a:lnTo>
                <a:lnTo>
                  <a:pt x="6152" y="839"/>
                </a:lnTo>
                <a:lnTo>
                  <a:pt x="6126" y="837"/>
                </a:lnTo>
                <a:lnTo>
                  <a:pt x="6115" y="836"/>
                </a:lnTo>
                <a:lnTo>
                  <a:pt x="6103" y="835"/>
                </a:lnTo>
                <a:lnTo>
                  <a:pt x="6092" y="832"/>
                </a:lnTo>
                <a:lnTo>
                  <a:pt x="6081" y="829"/>
                </a:lnTo>
                <a:lnTo>
                  <a:pt x="6069" y="826"/>
                </a:lnTo>
                <a:lnTo>
                  <a:pt x="6060" y="822"/>
                </a:lnTo>
                <a:lnTo>
                  <a:pt x="6050" y="818"/>
                </a:lnTo>
                <a:lnTo>
                  <a:pt x="6040" y="812"/>
                </a:lnTo>
                <a:lnTo>
                  <a:pt x="6030" y="807"/>
                </a:lnTo>
                <a:lnTo>
                  <a:pt x="6022" y="801"/>
                </a:lnTo>
                <a:lnTo>
                  <a:pt x="6014" y="794"/>
                </a:lnTo>
                <a:lnTo>
                  <a:pt x="6005" y="787"/>
                </a:lnTo>
                <a:lnTo>
                  <a:pt x="5998" y="781"/>
                </a:lnTo>
                <a:lnTo>
                  <a:pt x="5990" y="772"/>
                </a:lnTo>
                <a:lnTo>
                  <a:pt x="5983" y="764"/>
                </a:lnTo>
                <a:lnTo>
                  <a:pt x="5978" y="754"/>
                </a:lnTo>
                <a:lnTo>
                  <a:pt x="5965" y="735"/>
                </a:lnTo>
                <a:lnTo>
                  <a:pt x="5961" y="725"/>
                </a:lnTo>
                <a:lnTo>
                  <a:pt x="5955" y="714"/>
                </a:lnTo>
                <a:lnTo>
                  <a:pt x="5951" y="703"/>
                </a:lnTo>
                <a:lnTo>
                  <a:pt x="5947" y="690"/>
                </a:lnTo>
                <a:lnTo>
                  <a:pt x="5944" y="678"/>
                </a:lnTo>
                <a:lnTo>
                  <a:pt x="5941" y="665"/>
                </a:lnTo>
                <a:lnTo>
                  <a:pt x="5937" y="639"/>
                </a:lnTo>
                <a:lnTo>
                  <a:pt x="5934" y="610"/>
                </a:lnTo>
                <a:lnTo>
                  <a:pt x="5933" y="595"/>
                </a:lnTo>
                <a:lnTo>
                  <a:pt x="5933" y="579"/>
                </a:lnTo>
                <a:lnTo>
                  <a:pt x="5933" y="14"/>
                </a:lnTo>
                <a:lnTo>
                  <a:pt x="5800" y="14"/>
                </a:lnTo>
                <a:lnTo>
                  <a:pt x="5800" y="579"/>
                </a:lnTo>
                <a:lnTo>
                  <a:pt x="5801" y="602"/>
                </a:lnTo>
                <a:lnTo>
                  <a:pt x="5801" y="622"/>
                </a:lnTo>
                <a:lnTo>
                  <a:pt x="5804" y="645"/>
                </a:lnTo>
                <a:lnTo>
                  <a:pt x="5807" y="664"/>
                </a:lnTo>
                <a:lnTo>
                  <a:pt x="5811" y="683"/>
                </a:lnTo>
                <a:lnTo>
                  <a:pt x="5815" y="703"/>
                </a:lnTo>
                <a:lnTo>
                  <a:pt x="5820" y="722"/>
                </a:lnTo>
                <a:lnTo>
                  <a:pt x="5823" y="731"/>
                </a:lnTo>
                <a:lnTo>
                  <a:pt x="5826" y="739"/>
                </a:lnTo>
                <a:lnTo>
                  <a:pt x="5833" y="757"/>
                </a:lnTo>
                <a:lnTo>
                  <a:pt x="5840" y="774"/>
                </a:lnTo>
                <a:lnTo>
                  <a:pt x="5848" y="789"/>
                </a:lnTo>
                <a:lnTo>
                  <a:pt x="5858" y="804"/>
                </a:lnTo>
                <a:lnTo>
                  <a:pt x="5866" y="818"/>
                </a:lnTo>
                <a:lnTo>
                  <a:pt x="5877" y="833"/>
                </a:lnTo>
                <a:lnTo>
                  <a:pt x="5887" y="846"/>
                </a:lnTo>
                <a:lnTo>
                  <a:pt x="5900" y="858"/>
                </a:lnTo>
                <a:lnTo>
                  <a:pt x="5911" y="871"/>
                </a:lnTo>
                <a:lnTo>
                  <a:pt x="5925" y="882"/>
                </a:lnTo>
                <a:lnTo>
                  <a:pt x="5937" y="891"/>
                </a:lnTo>
                <a:lnTo>
                  <a:pt x="5951" y="901"/>
                </a:lnTo>
                <a:lnTo>
                  <a:pt x="5965" y="911"/>
                </a:lnTo>
                <a:lnTo>
                  <a:pt x="5980" y="919"/>
                </a:lnTo>
                <a:lnTo>
                  <a:pt x="5987" y="922"/>
                </a:lnTo>
                <a:lnTo>
                  <a:pt x="5996" y="926"/>
                </a:lnTo>
                <a:lnTo>
                  <a:pt x="6011" y="933"/>
                </a:lnTo>
                <a:lnTo>
                  <a:pt x="6028" y="939"/>
                </a:lnTo>
                <a:lnTo>
                  <a:pt x="6044" y="944"/>
                </a:lnTo>
                <a:lnTo>
                  <a:pt x="6061" y="948"/>
                </a:lnTo>
                <a:lnTo>
                  <a:pt x="6079" y="952"/>
                </a:lnTo>
                <a:lnTo>
                  <a:pt x="6097" y="955"/>
                </a:lnTo>
                <a:lnTo>
                  <a:pt x="6115" y="957"/>
                </a:lnTo>
                <a:lnTo>
                  <a:pt x="6133" y="958"/>
                </a:lnTo>
                <a:lnTo>
                  <a:pt x="6152" y="958"/>
                </a:lnTo>
                <a:lnTo>
                  <a:pt x="6171" y="958"/>
                </a:lnTo>
                <a:lnTo>
                  <a:pt x="6189" y="957"/>
                </a:lnTo>
                <a:lnTo>
                  <a:pt x="6207" y="955"/>
                </a:lnTo>
                <a:lnTo>
                  <a:pt x="6225" y="952"/>
                </a:lnTo>
                <a:lnTo>
                  <a:pt x="6242" y="948"/>
                </a:lnTo>
                <a:lnTo>
                  <a:pt x="6260" y="944"/>
                </a:lnTo>
                <a:lnTo>
                  <a:pt x="6277" y="939"/>
                </a:lnTo>
                <a:lnTo>
                  <a:pt x="6292" y="933"/>
                </a:lnTo>
                <a:close/>
                <a:moveTo>
                  <a:pt x="7010" y="133"/>
                </a:moveTo>
                <a:lnTo>
                  <a:pt x="7027" y="134"/>
                </a:lnTo>
                <a:lnTo>
                  <a:pt x="7042" y="134"/>
                </a:lnTo>
                <a:lnTo>
                  <a:pt x="7072" y="139"/>
                </a:lnTo>
                <a:lnTo>
                  <a:pt x="7088" y="143"/>
                </a:lnTo>
                <a:lnTo>
                  <a:pt x="7103" y="145"/>
                </a:lnTo>
                <a:lnTo>
                  <a:pt x="7118" y="151"/>
                </a:lnTo>
                <a:lnTo>
                  <a:pt x="7134" y="155"/>
                </a:lnTo>
                <a:lnTo>
                  <a:pt x="7148" y="161"/>
                </a:lnTo>
                <a:lnTo>
                  <a:pt x="7163" y="168"/>
                </a:lnTo>
                <a:lnTo>
                  <a:pt x="7177" y="175"/>
                </a:lnTo>
                <a:lnTo>
                  <a:pt x="7191" y="183"/>
                </a:lnTo>
                <a:lnTo>
                  <a:pt x="7203" y="191"/>
                </a:lnTo>
                <a:lnTo>
                  <a:pt x="7216" y="201"/>
                </a:lnTo>
                <a:lnTo>
                  <a:pt x="7228" y="211"/>
                </a:lnTo>
                <a:lnTo>
                  <a:pt x="7241" y="222"/>
                </a:lnTo>
                <a:lnTo>
                  <a:pt x="7252" y="233"/>
                </a:lnTo>
                <a:lnTo>
                  <a:pt x="7263" y="244"/>
                </a:lnTo>
                <a:lnTo>
                  <a:pt x="7274" y="258"/>
                </a:lnTo>
                <a:lnTo>
                  <a:pt x="7284" y="270"/>
                </a:lnTo>
                <a:lnTo>
                  <a:pt x="7292" y="284"/>
                </a:lnTo>
                <a:lnTo>
                  <a:pt x="7301" y="299"/>
                </a:lnTo>
                <a:lnTo>
                  <a:pt x="7309" y="313"/>
                </a:lnTo>
                <a:lnTo>
                  <a:pt x="7313" y="322"/>
                </a:lnTo>
                <a:lnTo>
                  <a:pt x="7317" y="330"/>
                </a:lnTo>
                <a:lnTo>
                  <a:pt x="7323" y="346"/>
                </a:lnTo>
                <a:lnTo>
                  <a:pt x="7330" y="363"/>
                </a:lnTo>
                <a:lnTo>
                  <a:pt x="7334" y="381"/>
                </a:lnTo>
                <a:lnTo>
                  <a:pt x="7338" y="399"/>
                </a:lnTo>
                <a:lnTo>
                  <a:pt x="7341" y="419"/>
                </a:lnTo>
                <a:lnTo>
                  <a:pt x="7344" y="438"/>
                </a:lnTo>
                <a:lnTo>
                  <a:pt x="7345" y="459"/>
                </a:lnTo>
                <a:lnTo>
                  <a:pt x="7345" y="480"/>
                </a:lnTo>
                <a:lnTo>
                  <a:pt x="7345" y="500"/>
                </a:lnTo>
                <a:lnTo>
                  <a:pt x="7344" y="521"/>
                </a:lnTo>
                <a:lnTo>
                  <a:pt x="7341" y="541"/>
                </a:lnTo>
                <a:lnTo>
                  <a:pt x="7338" y="559"/>
                </a:lnTo>
                <a:lnTo>
                  <a:pt x="7337" y="568"/>
                </a:lnTo>
                <a:lnTo>
                  <a:pt x="7334" y="578"/>
                </a:lnTo>
                <a:lnTo>
                  <a:pt x="7330" y="596"/>
                </a:lnTo>
                <a:lnTo>
                  <a:pt x="7323" y="613"/>
                </a:lnTo>
                <a:lnTo>
                  <a:pt x="7317" y="629"/>
                </a:lnTo>
                <a:lnTo>
                  <a:pt x="7309" y="645"/>
                </a:lnTo>
                <a:lnTo>
                  <a:pt x="7301" y="660"/>
                </a:lnTo>
                <a:lnTo>
                  <a:pt x="7292" y="675"/>
                </a:lnTo>
                <a:lnTo>
                  <a:pt x="7284" y="689"/>
                </a:lnTo>
                <a:lnTo>
                  <a:pt x="7274" y="701"/>
                </a:lnTo>
                <a:lnTo>
                  <a:pt x="7263" y="714"/>
                </a:lnTo>
                <a:lnTo>
                  <a:pt x="7252" y="726"/>
                </a:lnTo>
                <a:lnTo>
                  <a:pt x="7241" y="738"/>
                </a:lnTo>
                <a:lnTo>
                  <a:pt x="7228" y="749"/>
                </a:lnTo>
                <a:lnTo>
                  <a:pt x="7216" y="758"/>
                </a:lnTo>
                <a:lnTo>
                  <a:pt x="7203" y="767"/>
                </a:lnTo>
                <a:lnTo>
                  <a:pt x="7191" y="776"/>
                </a:lnTo>
                <a:lnTo>
                  <a:pt x="7177" y="783"/>
                </a:lnTo>
                <a:lnTo>
                  <a:pt x="7163" y="790"/>
                </a:lnTo>
                <a:lnTo>
                  <a:pt x="7148" y="797"/>
                </a:lnTo>
                <a:lnTo>
                  <a:pt x="7134" y="803"/>
                </a:lnTo>
                <a:lnTo>
                  <a:pt x="7118" y="808"/>
                </a:lnTo>
                <a:lnTo>
                  <a:pt x="7103" y="812"/>
                </a:lnTo>
                <a:lnTo>
                  <a:pt x="7088" y="817"/>
                </a:lnTo>
                <a:lnTo>
                  <a:pt x="7072" y="819"/>
                </a:lnTo>
                <a:lnTo>
                  <a:pt x="7057" y="822"/>
                </a:lnTo>
                <a:lnTo>
                  <a:pt x="7042" y="823"/>
                </a:lnTo>
                <a:lnTo>
                  <a:pt x="7027" y="825"/>
                </a:lnTo>
                <a:lnTo>
                  <a:pt x="7010" y="825"/>
                </a:lnTo>
                <a:lnTo>
                  <a:pt x="6858" y="825"/>
                </a:lnTo>
                <a:lnTo>
                  <a:pt x="6858" y="133"/>
                </a:lnTo>
                <a:lnTo>
                  <a:pt x="7010" y="133"/>
                </a:lnTo>
                <a:close/>
                <a:moveTo>
                  <a:pt x="7010" y="946"/>
                </a:moveTo>
                <a:lnTo>
                  <a:pt x="7033" y="944"/>
                </a:lnTo>
                <a:lnTo>
                  <a:pt x="7056" y="943"/>
                </a:lnTo>
                <a:lnTo>
                  <a:pt x="7078" y="940"/>
                </a:lnTo>
                <a:lnTo>
                  <a:pt x="7100" y="937"/>
                </a:lnTo>
                <a:lnTo>
                  <a:pt x="7121" y="933"/>
                </a:lnTo>
                <a:lnTo>
                  <a:pt x="7143" y="927"/>
                </a:lnTo>
                <a:lnTo>
                  <a:pt x="7164" y="921"/>
                </a:lnTo>
                <a:lnTo>
                  <a:pt x="7186" y="914"/>
                </a:lnTo>
                <a:lnTo>
                  <a:pt x="7207" y="905"/>
                </a:lnTo>
                <a:lnTo>
                  <a:pt x="7227" y="896"/>
                </a:lnTo>
                <a:lnTo>
                  <a:pt x="7246" y="886"/>
                </a:lnTo>
                <a:lnTo>
                  <a:pt x="7266" y="875"/>
                </a:lnTo>
                <a:lnTo>
                  <a:pt x="7284" y="864"/>
                </a:lnTo>
                <a:lnTo>
                  <a:pt x="7302" y="851"/>
                </a:lnTo>
                <a:lnTo>
                  <a:pt x="7319" y="837"/>
                </a:lnTo>
                <a:lnTo>
                  <a:pt x="7327" y="830"/>
                </a:lnTo>
                <a:lnTo>
                  <a:pt x="7335" y="822"/>
                </a:lnTo>
                <a:lnTo>
                  <a:pt x="7344" y="815"/>
                </a:lnTo>
                <a:lnTo>
                  <a:pt x="7351" y="807"/>
                </a:lnTo>
                <a:lnTo>
                  <a:pt x="7366" y="792"/>
                </a:lnTo>
                <a:lnTo>
                  <a:pt x="7380" y="774"/>
                </a:lnTo>
                <a:lnTo>
                  <a:pt x="7394" y="756"/>
                </a:lnTo>
                <a:lnTo>
                  <a:pt x="7406" y="738"/>
                </a:lnTo>
                <a:lnTo>
                  <a:pt x="7419" y="718"/>
                </a:lnTo>
                <a:lnTo>
                  <a:pt x="7430" y="697"/>
                </a:lnTo>
                <a:lnTo>
                  <a:pt x="7440" y="677"/>
                </a:lnTo>
                <a:lnTo>
                  <a:pt x="7449" y="654"/>
                </a:lnTo>
                <a:lnTo>
                  <a:pt x="7456" y="632"/>
                </a:lnTo>
                <a:lnTo>
                  <a:pt x="7461" y="620"/>
                </a:lnTo>
                <a:lnTo>
                  <a:pt x="7463" y="609"/>
                </a:lnTo>
                <a:lnTo>
                  <a:pt x="7469" y="584"/>
                </a:lnTo>
                <a:lnTo>
                  <a:pt x="7473" y="559"/>
                </a:lnTo>
                <a:lnTo>
                  <a:pt x="7474" y="546"/>
                </a:lnTo>
                <a:lnTo>
                  <a:pt x="7476" y="534"/>
                </a:lnTo>
                <a:lnTo>
                  <a:pt x="7479" y="506"/>
                </a:lnTo>
                <a:lnTo>
                  <a:pt x="7479" y="480"/>
                </a:lnTo>
                <a:lnTo>
                  <a:pt x="7479" y="452"/>
                </a:lnTo>
                <a:lnTo>
                  <a:pt x="7476" y="426"/>
                </a:lnTo>
                <a:lnTo>
                  <a:pt x="7474" y="413"/>
                </a:lnTo>
                <a:lnTo>
                  <a:pt x="7473" y="401"/>
                </a:lnTo>
                <a:lnTo>
                  <a:pt x="7469" y="376"/>
                </a:lnTo>
                <a:lnTo>
                  <a:pt x="7463" y="351"/>
                </a:lnTo>
                <a:lnTo>
                  <a:pt x="7456" y="327"/>
                </a:lnTo>
                <a:lnTo>
                  <a:pt x="7449" y="305"/>
                </a:lnTo>
                <a:lnTo>
                  <a:pt x="7444" y="294"/>
                </a:lnTo>
                <a:lnTo>
                  <a:pt x="7440" y="283"/>
                </a:lnTo>
                <a:lnTo>
                  <a:pt x="7430" y="262"/>
                </a:lnTo>
                <a:lnTo>
                  <a:pt x="7419" y="241"/>
                </a:lnTo>
                <a:lnTo>
                  <a:pt x="7406" y="222"/>
                </a:lnTo>
                <a:lnTo>
                  <a:pt x="7394" y="202"/>
                </a:lnTo>
                <a:lnTo>
                  <a:pt x="7387" y="194"/>
                </a:lnTo>
                <a:lnTo>
                  <a:pt x="7380" y="184"/>
                </a:lnTo>
                <a:lnTo>
                  <a:pt x="7366" y="168"/>
                </a:lnTo>
                <a:lnTo>
                  <a:pt x="7351" y="151"/>
                </a:lnTo>
                <a:lnTo>
                  <a:pt x="7335" y="136"/>
                </a:lnTo>
                <a:lnTo>
                  <a:pt x="7319" y="122"/>
                </a:lnTo>
                <a:lnTo>
                  <a:pt x="7302" y="108"/>
                </a:lnTo>
                <a:lnTo>
                  <a:pt x="7284" y="96"/>
                </a:lnTo>
                <a:lnTo>
                  <a:pt x="7266" y="83"/>
                </a:lnTo>
                <a:lnTo>
                  <a:pt x="7246" y="72"/>
                </a:lnTo>
                <a:lnTo>
                  <a:pt x="7227" y="62"/>
                </a:lnTo>
                <a:lnTo>
                  <a:pt x="7207" y="54"/>
                </a:lnTo>
                <a:lnTo>
                  <a:pt x="7186" y="46"/>
                </a:lnTo>
                <a:lnTo>
                  <a:pt x="7164" y="37"/>
                </a:lnTo>
                <a:lnTo>
                  <a:pt x="7154" y="35"/>
                </a:lnTo>
                <a:lnTo>
                  <a:pt x="7143" y="32"/>
                </a:lnTo>
                <a:lnTo>
                  <a:pt x="7121" y="26"/>
                </a:lnTo>
                <a:lnTo>
                  <a:pt x="7100" y="22"/>
                </a:lnTo>
                <a:lnTo>
                  <a:pt x="7078" y="18"/>
                </a:lnTo>
                <a:lnTo>
                  <a:pt x="7056" y="15"/>
                </a:lnTo>
                <a:lnTo>
                  <a:pt x="7033" y="14"/>
                </a:lnTo>
                <a:lnTo>
                  <a:pt x="7010" y="14"/>
                </a:lnTo>
                <a:lnTo>
                  <a:pt x="6725" y="14"/>
                </a:lnTo>
                <a:lnTo>
                  <a:pt x="6725" y="946"/>
                </a:lnTo>
                <a:lnTo>
                  <a:pt x="7010" y="946"/>
                </a:lnTo>
                <a:close/>
                <a:moveTo>
                  <a:pt x="7810" y="946"/>
                </a:moveTo>
                <a:lnTo>
                  <a:pt x="7810" y="14"/>
                </a:lnTo>
                <a:lnTo>
                  <a:pt x="7676" y="14"/>
                </a:lnTo>
                <a:lnTo>
                  <a:pt x="7676" y="946"/>
                </a:lnTo>
                <a:lnTo>
                  <a:pt x="7810" y="946"/>
                </a:lnTo>
                <a:close/>
                <a:moveTo>
                  <a:pt x="8329" y="811"/>
                </a:moveTo>
                <a:lnTo>
                  <a:pt x="8315" y="804"/>
                </a:lnTo>
                <a:lnTo>
                  <a:pt x="8302" y="796"/>
                </a:lnTo>
                <a:lnTo>
                  <a:pt x="8290" y="787"/>
                </a:lnTo>
                <a:lnTo>
                  <a:pt x="8277" y="779"/>
                </a:lnTo>
                <a:lnTo>
                  <a:pt x="8265" y="769"/>
                </a:lnTo>
                <a:lnTo>
                  <a:pt x="8253" y="758"/>
                </a:lnTo>
                <a:lnTo>
                  <a:pt x="8242" y="747"/>
                </a:lnTo>
                <a:lnTo>
                  <a:pt x="8233" y="736"/>
                </a:lnTo>
                <a:lnTo>
                  <a:pt x="8221" y="724"/>
                </a:lnTo>
                <a:lnTo>
                  <a:pt x="8217" y="718"/>
                </a:lnTo>
                <a:lnTo>
                  <a:pt x="8212" y="711"/>
                </a:lnTo>
                <a:lnTo>
                  <a:pt x="8203" y="697"/>
                </a:lnTo>
                <a:lnTo>
                  <a:pt x="8195" y="683"/>
                </a:lnTo>
                <a:lnTo>
                  <a:pt x="8187" y="670"/>
                </a:lnTo>
                <a:lnTo>
                  <a:pt x="8180" y="654"/>
                </a:lnTo>
                <a:lnTo>
                  <a:pt x="8173" y="639"/>
                </a:lnTo>
                <a:lnTo>
                  <a:pt x="8166" y="622"/>
                </a:lnTo>
                <a:lnTo>
                  <a:pt x="8160" y="606"/>
                </a:lnTo>
                <a:lnTo>
                  <a:pt x="8155" y="589"/>
                </a:lnTo>
                <a:lnTo>
                  <a:pt x="8151" y="571"/>
                </a:lnTo>
                <a:lnTo>
                  <a:pt x="8148" y="553"/>
                </a:lnTo>
                <a:lnTo>
                  <a:pt x="8145" y="535"/>
                </a:lnTo>
                <a:lnTo>
                  <a:pt x="8142" y="517"/>
                </a:lnTo>
                <a:lnTo>
                  <a:pt x="8142" y="499"/>
                </a:lnTo>
                <a:lnTo>
                  <a:pt x="8141" y="480"/>
                </a:lnTo>
                <a:lnTo>
                  <a:pt x="8142" y="460"/>
                </a:lnTo>
                <a:lnTo>
                  <a:pt x="8142" y="441"/>
                </a:lnTo>
                <a:lnTo>
                  <a:pt x="8144" y="432"/>
                </a:lnTo>
                <a:lnTo>
                  <a:pt x="8145" y="423"/>
                </a:lnTo>
                <a:lnTo>
                  <a:pt x="8148" y="405"/>
                </a:lnTo>
                <a:lnTo>
                  <a:pt x="8151" y="387"/>
                </a:lnTo>
                <a:lnTo>
                  <a:pt x="8155" y="370"/>
                </a:lnTo>
                <a:lnTo>
                  <a:pt x="8160" y="353"/>
                </a:lnTo>
                <a:lnTo>
                  <a:pt x="8166" y="337"/>
                </a:lnTo>
                <a:lnTo>
                  <a:pt x="8173" y="320"/>
                </a:lnTo>
                <a:lnTo>
                  <a:pt x="8180" y="305"/>
                </a:lnTo>
                <a:lnTo>
                  <a:pt x="8195" y="274"/>
                </a:lnTo>
                <a:lnTo>
                  <a:pt x="8212" y="248"/>
                </a:lnTo>
                <a:lnTo>
                  <a:pt x="8221" y="234"/>
                </a:lnTo>
                <a:lnTo>
                  <a:pt x="8233" y="223"/>
                </a:lnTo>
                <a:lnTo>
                  <a:pt x="8242" y="211"/>
                </a:lnTo>
                <a:lnTo>
                  <a:pt x="8253" y="200"/>
                </a:lnTo>
                <a:lnTo>
                  <a:pt x="8265" y="190"/>
                </a:lnTo>
                <a:lnTo>
                  <a:pt x="8277" y="180"/>
                </a:lnTo>
                <a:lnTo>
                  <a:pt x="8290" y="170"/>
                </a:lnTo>
                <a:lnTo>
                  <a:pt x="8295" y="166"/>
                </a:lnTo>
                <a:lnTo>
                  <a:pt x="8302" y="162"/>
                </a:lnTo>
                <a:lnTo>
                  <a:pt x="8315" y="155"/>
                </a:lnTo>
                <a:lnTo>
                  <a:pt x="8329" y="147"/>
                </a:lnTo>
                <a:lnTo>
                  <a:pt x="8343" y="141"/>
                </a:lnTo>
                <a:lnTo>
                  <a:pt x="8356" y="136"/>
                </a:lnTo>
                <a:lnTo>
                  <a:pt x="8372" y="130"/>
                </a:lnTo>
                <a:lnTo>
                  <a:pt x="8386" y="127"/>
                </a:lnTo>
                <a:lnTo>
                  <a:pt x="8401" y="125"/>
                </a:lnTo>
                <a:lnTo>
                  <a:pt x="8416" y="122"/>
                </a:lnTo>
                <a:lnTo>
                  <a:pt x="8432" y="120"/>
                </a:lnTo>
                <a:lnTo>
                  <a:pt x="8447" y="120"/>
                </a:lnTo>
                <a:lnTo>
                  <a:pt x="8462" y="120"/>
                </a:lnTo>
                <a:lnTo>
                  <a:pt x="8477" y="122"/>
                </a:lnTo>
                <a:lnTo>
                  <a:pt x="8493" y="125"/>
                </a:lnTo>
                <a:lnTo>
                  <a:pt x="8508" y="127"/>
                </a:lnTo>
                <a:lnTo>
                  <a:pt x="8523" y="130"/>
                </a:lnTo>
                <a:lnTo>
                  <a:pt x="8537" y="136"/>
                </a:lnTo>
                <a:lnTo>
                  <a:pt x="8551" y="141"/>
                </a:lnTo>
                <a:lnTo>
                  <a:pt x="8565" y="147"/>
                </a:lnTo>
                <a:lnTo>
                  <a:pt x="8579" y="155"/>
                </a:lnTo>
                <a:lnTo>
                  <a:pt x="8593" y="162"/>
                </a:lnTo>
                <a:lnTo>
                  <a:pt x="8605" y="170"/>
                </a:lnTo>
                <a:lnTo>
                  <a:pt x="8618" y="180"/>
                </a:lnTo>
                <a:lnTo>
                  <a:pt x="8630" y="190"/>
                </a:lnTo>
                <a:lnTo>
                  <a:pt x="8642" y="200"/>
                </a:lnTo>
                <a:lnTo>
                  <a:pt x="8653" y="211"/>
                </a:lnTo>
                <a:lnTo>
                  <a:pt x="8664" y="223"/>
                </a:lnTo>
                <a:lnTo>
                  <a:pt x="8674" y="234"/>
                </a:lnTo>
                <a:lnTo>
                  <a:pt x="8683" y="248"/>
                </a:lnTo>
                <a:lnTo>
                  <a:pt x="8693" y="261"/>
                </a:lnTo>
                <a:lnTo>
                  <a:pt x="8701" y="274"/>
                </a:lnTo>
                <a:lnTo>
                  <a:pt x="8710" y="290"/>
                </a:lnTo>
                <a:lnTo>
                  <a:pt x="8717" y="305"/>
                </a:lnTo>
                <a:lnTo>
                  <a:pt x="8724" y="320"/>
                </a:lnTo>
                <a:lnTo>
                  <a:pt x="8731" y="337"/>
                </a:lnTo>
                <a:lnTo>
                  <a:pt x="8736" y="353"/>
                </a:lnTo>
                <a:lnTo>
                  <a:pt x="8742" y="370"/>
                </a:lnTo>
                <a:lnTo>
                  <a:pt x="8746" y="387"/>
                </a:lnTo>
                <a:lnTo>
                  <a:pt x="8749" y="405"/>
                </a:lnTo>
                <a:lnTo>
                  <a:pt x="8751" y="423"/>
                </a:lnTo>
                <a:lnTo>
                  <a:pt x="8754" y="441"/>
                </a:lnTo>
                <a:lnTo>
                  <a:pt x="8754" y="460"/>
                </a:lnTo>
                <a:lnTo>
                  <a:pt x="8756" y="480"/>
                </a:lnTo>
                <a:lnTo>
                  <a:pt x="8754" y="499"/>
                </a:lnTo>
                <a:lnTo>
                  <a:pt x="8754" y="517"/>
                </a:lnTo>
                <a:lnTo>
                  <a:pt x="8753" y="527"/>
                </a:lnTo>
                <a:lnTo>
                  <a:pt x="8751" y="535"/>
                </a:lnTo>
                <a:lnTo>
                  <a:pt x="8749" y="553"/>
                </a:lnTo>
                <a:lnTo>
                  <a:pt x="8746" y="571"/>
                </a:lnTo>
                <a:lnTo>
                  <a:pt x="8742" y="589"/>
                </a:lnTo>
                <a:lnTo>
                  <a:pt x="8736" y="606"/>
                </a:lnTo>
                <a:lnTo>
                  <a:pt x="8731" y="622"/>
                </a:lnTo>
                <a:lnTo>
                  <a:pt x="8724" y="639"/>
                </a:lnTo>
                <a:lnTo>
                  <a:pt x="8717" y="654"/>
                </a:lnTo>
                <a:lnTo>
                  <a:pt x="8710" y="670"/>
                </a:lnTo>
                <a:lnTo>
                  <a:pt x="8701" y="683"/>
                </a:lnTo>
                <a:lnTo>
                  <a:pt x="8693" y="697"/>
                </a:lnTo>
                <a:lnTo>
                  <a:pt x="8683" y="711"/>
                </a:lnTo>
                <a:lnTo>
                  <a:pt x="8674" y="724"/>
                </a:lnTo>
                <a:lnTo>
                  <a:pt x="8664" y="736"/>
                </a:lnTo>
                <a:lnTo>
                  <a:pt x="8653" y="747"/>
                </a:lnTo>
                <a:lnTo>
                  <a:pt x="8642" y="758"/>
                </a:lnTo>
                <a:lnTo>
                  <a:pt x="8630" y="769"/>
                </a:lnTo>
                <a:lnTo>
                  <a:pt x="8618" y="779"/>
                </a:lnTo>
                <a:lnTo>
                  <a:pt x="8605" y="787"/>
                </a:lnTo>
                <a:lnTo>
                  <a:pt x="8593" y="796"/>
                </a:lnTo>
                <a:lnTo>
                  <a:pt x="8579" y="804"/>
                </a:lnTo>
                <a:lnTo>
                  <a:pt x="8565" y="811"/>
                </a:lnTo>
                <a:lnTo>
                  <a:pt x="8558" y="815"/>
                </a:lnTo>
                <a:lnTo>
                  <a:pt x="8551" y="818"/>
                </a:lnTo>
                <a:lnTo>
                  <a:pt x="8537" y="823"/>
                </a:lnTo>
                <a:lnTo>
                  <a:pt x="8523" y="828"/>
                </a:lnTo>
                <a:lnTo>
                  <a:pt x="8508" y="832"/>
                </a:lnTo>
                <a:lnTo>
                  <a:pt x="8493" y="835"/>
                </a:lnTo>
                <a:lnTo>
                  <a:pt x="8477" y="837"/>
                </a:lnTo>
                <a:lnTo>
                  <a:pt x="8462" y="837"/>
                </a:lnTo>
                <a:lnTo>
                  <a:pt x="8447" y="839"/>
                </a:lnTo>
                <a:lnTo>
                  <a:pt x="8432" y="837"/>
                </a:lnTo>
                <a:lnTo>
                  <a:pt x="8416" y="837"/>
                </a:lnTo>
                <a:lnTo>
                  <a:pt x="8401" y="835"/>
                </a:lnTo>
                <a:lnTo>
                  <a:pt x="8386" y="832"/>
                </a:lnTo>
                <a:lnTo>
                  <a:pt x="8372" y="828"/>
                </a:lnTo>
                <a:lnTo>
                  <a:pt x="8356" y="823"/>
                </a:lnTo>
                <a:lnTo>
                  <a:pt x="8343" y="818"/>
                </a:lnTo>
                <a:lnTo>
                  <a:pt x="8329" y="811"/>
                </a:lnTo>
                <a:close/>
                <a:moveTo>
                  <a:pt x="8618" y="922"/>
                </a:moveTo>
                <a:lnTo>
                  <a:pt x="8637" y="912"/>
                </a:lnTo>
                <a:lnTo>
                  <a:pt x="8657" y="901"/>
                </a:lnTo>
                <a:lnTo>
                  <a:pt x="8665" y="896"/>
                </a:lnTo>
                <a:lnTo>
                  <a:pt x="8675" y="890"/>
                </a:lnTo>
                <a:lnTo>
                  <a:pt x="8693" y="878"/>
                </a:lnTo>
                <a:lnTo>
                  <a:pt x="8710" y="865"/>
                </a:lnTo>
                <a:lnTo>
                  <a:pt x="8726" y="851"/>
                </a:lnTo>
                <a:lnTo>
                  <a:pt x="8743" y="837"/>
                </a:lnTo>
                <a:lnTo>
                  <a:pt x="8750" y="829"/>
                </a:lnTo>
                <a:lnTo>
                  <a:pt x="8758" y="821"/>
                </a:lnTo>
                <a:lnTo>
                  <a:pt x="8772" y="805"/>
                </a:lnTo>
                <a:lnTo>
                  <a:pt x="8786" y="787"/>
                </a:lnTo>
                <a:lnTo>
                  <a:pt x="8799" y="769"/>
                </a:lnTo>
                <a:lnTo>
                  <a:pt x="8811" y="751"/>
                </a:lnTo>
                <a:lnTo>
                  <a:pt x="8824" y="732"/>
                </a:lnTo>
                <a:lnTo>
                  <a:pt x="8834" y="713"/>
                </a:lnTo>
                <a:lnTo>
                  <a:pt x="8843" y="692"/>
                </a:lnTo>
                <a:lnTo>
                  <a:pt x="8853" y="670"/>
                </a:lnTo>
                <a:lnTo>
                  <a:pt x="8861" y="647"/>
                </a:lnTo>
                <a:lnTo>
                  <a:pt x="8868" y="625"/>
                </a:lnTo>
                <a:lnTo>
                  <a:pt x="8875" y="602"/>
                </a:lnTo>
                <a:lnTo>
                  <a:pt x="8879" y="578"/>
                </a:lnTo>
                <a:lnTo>
                  <a:pt x="8884" y="554"/>
                </a:lnTo>
                <a:lnTo>
                  <a:pt x="8886" y="530"/>
                </a:lnTo>
                <a:lnTo>
                  <a:pt x="8888" y="505"/>
                </a:lnTo>
                <a:lnTo>
                  <a:pt x="8889" y="480"/>
                </a:lnTo>
                <a:lnTo>
                  <a:pt x="8888" y="453"/>
                </a:lnTo>
                <a:lnTo>
                  <a:pt x="8886" y="430"/>
                </a:lnTo>
                <a:lnTo>
                  <a:pt x="8884" y="405"/>
                </a:lnTo>
                <a:lnTo>
                  <a:pt x="8879" y="381"/>
                </a:lnTo>
                <a:lnTo>
                  <a:pt x="8875" y="358"/>
                </a:lnTo>
                <a:lnTo>
                  <a:pt x="8868" y="334"/>
                </a:lnTo>
                <a:lnTo>
                  <a:pt x="8866" y="323"/>
                </a:lnTo>
                <a:lnTo>
                  <a:pt x="8861" y="312"/>
                </a:lnTo>
                <a:lnTo>
                  <a:pt x="8857" y="301"/>
                </a:lnTo>
                <a:lnTo>
                  <a:pt x="8853" y="290"/>
                </a:lnTo>
                <a:lnTo>
                  <a:pt x="8849" y="279"/>
                </a:lnTo>
                <a:lnTo>
                  <a:pt x="8843" y="267"/>
                </a:lnTo>
                <a:lnTo>
                  <a:pt x="8834" y="247"/>
                </a:lnTo>
                <a:lnTo>
                  <a:pt x="8824" y="227"/>
                </a:lnTo>
                <a:lnTo>
                  <a:pt x="8811" y="208"/>
                </a:lnTo>
                <a:lnTo>
                  <a:pt x="8799" y="188"/>
                </a:lnTo>
                <a:lnTo>
                  <a:pt x="8793" y="180"/>
                </a:lnTo>
                <a:lnTo>
                  <a:pt x="8786" y="170"/>
                </a:lnTo>
                <a:lnTo>
                  <a:pt x="8772" y="154"/>
                </a:lnTo>
                <a:lnTo>
                  <a:pt x="8758" y="137"/>
                </a:lnTo>
                <a:lnTo>
                  <a:pt x="8743" y="122"/>
                </a:lnTo>
                <a:lnTo>
                  <a:pt x="8735" y="115"/>
                </a:lnTo>
                <a:lnTo>
                  <a:pt x="8726" y="107"/>
                </a:lnTo>
                <a:lnTo>
                  <a:pt x="8710" y="94"/>
                </a:lnTo>
                <a:lnTo>
                  <a:pt x="8693" y="80"/>
                </a:lnTo>
                <a:lnTo>
                  <a:pt x="8675" y="68"/>
                </a:lnTo>
                <a:lnTo>
                  <a:pt x="8657" y="57"/>
                </a:lnTo>
                <a:lnTo>
                  <a:pt x="8637" y="47"/>
                </a:lnTo>
                <a:lnTo>
                  <a:pt x="8618" y="37"/>
                </a:lnTo>
                <a:lnTo>
                  <a:pt x="8597" y="29"/>
                </a:lnTo>
                <a:lnTo>
                  <a:pt x="8578" y="21"/>
                </a:lnTo>
                <a:lnTo>
                  <a:pt x="8557" y="15"/>
                </a:lnTo>
                <a:lnTo>
                  <a:pt x="8534" y="10"/>
                </a:lnTo>
                <a:lnTo>
                  <a:pt x="8514" y="5"/>
                </a:lnTo>
                <a:lnTo>
                  <a:pt x="8491" y="3"/>
                </a:lnTo>
                <a:lnTo>
                  <a:pt x="8469" y="1"/>
                </a:lnTo>
                <a:lnTo>
                  <a:pt x="8447" y="0"/>
                </a:lnTo>
                <a:lnTo>
                  <a:pt x="8425" y="1"/>
                </a:lnTo>
                <a:lnTo>
                  <a:pt x="8402" y="3"/>
                </a:lnTo>
                <a:lnTo>
                  <a:pt x="8380" y="5"/>
                </a:lnTo>
                <a:lnTo>
                  <a:pt x="8359" y="10"/>
                </a:lnTo>
                <a:lnTo>
                  <a:pt x="8337" y="15"/>
                </a:lnTo>
                <a:lnTo>
                  <a:pt x="8316" y="21"/>
                </a:lnTo>
                <a:lnTo>
                  <a:pt x="8297" y="29"/>
                </a:lnTo>
                <a:lnTo>
                  <a:pt x="8276" y="37"/>
                </a:lnTo>
                <a:lnTo>
                  <a:pt x="8256" y="47"/>
                </a:lnTo>
                <a:lnTo>
                  <a:pt x="8237" y="57"/>
                </a:lnTo>
                <a:lnTo>
                  <a:pt x="8228" y="62"/>
                </a:lnTo>
                <a:lnTo>
                  <a:pt x="8219" y="68"/>
                </a:lnTo>
                <a:lnTo>
                  <a:pt x="8201" y="80"/>
                </a:lnTo>
                <a:lnTo>
                  <a:pt x="8184" y="94"/>
                </a:lnTo>
                <a:lnTo>
                  <a:pt x="8167" y="107"/>
                </a:lnTo>
                <a:lnTo>
                  <a:pt x="8152" y="122"/>
                </a:lnTo>
                <a:lnTo>
                  <a:pt x="8137" y="137"/>
                </a:lnTo>
                <a:lnTo>
                  <a:pt x="8123" y="154"/>
                </a:lnTo>
                <a:lnTo>
                  <a:pt x="8116" y="162"/>
                </a:lnTo>
                <a:lnTo>
                  <a:pt x="8109" y="170"/>
                </a:lnTo>
                <a:lnTo>
                  <a:pt x="8095" y="188"/>
                </a:lnTo>
                <a:lnTo>
                  <a:pt x="8084" y="208"/>
                </a:lnTo>
                <a:lnTo>
                  <a:pt x="8073" y="227"/>
                </a:lnTo>
                <a:lnTo>
                  <a:pt x="8067" y="237"/>
                </a:lnTo>
                <a:lnTo>
                  <a:pt x="8062" y="247"/>
                </a:lnTo>
                <a:lnTo>
                  <a:pt x="8052" y="267"/>
                </a:lnTo>
                <a:lnTo>
                  <a:pt x="8042" y="290"/>
                </a:lnTo>
                <a:lnTo>
                  <a:pt x="8035" y="312"/>
                </a:lnTo>
                <a:lnTo>
                  <a:pt x="8027" y="334"/>
                </a:lnTo>
                <a:lnTo>
                  <a:pt x="8021" y="358"/>
                </a:lnTo>
                <a:lnTo>
                  <a:pt x="8017" y="381"/>
                </a:lnTo>
                <a:lnTo>
                  <a:pt x="8013" y="405"/>
                </a:lnTo>
                <a:lnTo>
                  <a:pt x="8010" y="430"/>
                </a:lnTo>
                <a:lnTo>
                  <a:pt x="8009" y="453"/>
                </a:lnTo>
                <a:lnTo>
                  <a:pt x="8007" y="480"/>
                </a:lnTo>
                <a:lnTo>
                  <a:pt x="8009" y="505"/>
                </a:lnTo>
                <a:lnTo>
                  <a:pt x="8010" y="530"/>
                </a:lnTo>
                <a:lnTo>
                  <a:pt x="8013" y="554"/>
                </a:lnTo>
                <a:lnTo>
                  <a:pt x="8017" y="578"/>
                </a:lnTo>
                <a:lnTo>
                  <a:pt x="8021" y="602"/>
                </a:lnTo>
                <a:lnTo>
                  <a:pt x="8027" y="625"/>
                </a:lnTo>
                <a:lnTo>
                  <a:pt x="8035" y="647"/>
                </a:lnTo>
                <a:lnTo>
                  <a:pt x="8042" y="670"/>
                </a:lnTo>
                <a:lnTo>
                  <a:pt x="8052" y="692"/>
                </a:lnTo>
                <a:lnTo>
                  <a:pt x="8062" y="713"/>
                </a:lnTo>
                <a:lnTo>
                  <a:pt x="8073" y="732"/>
                </a:lnTo>
                <a:lnTo>
                  <a:pt x="8078" y="742"/>
                </a:lnTo>
                <a:lnTo>
                  <a:pt x="8084" y="751"/>
                </a:lnTo>
                <a:lnTo>
                  <a:pt x="8095" y="769"/>
                </a:lnTo>
                <a:lnTo>
                  <a:pt x="8102" y="779"/>
                </a:lnTo>
                <a:lnTo>
                  <a:pt x="8109" y="787"/>
                </a:lnTo>
                <a:lnTo>
                  <a:pt x="8123" y="805"/>
                </a:lnTo>
                <a:lnTo>
                  <a:pt x="8130" y="814"/>
                </a:lnTo>
                <a:lnTo>
                  <a:pt x="8137" y="821"/>
                </a:lnTo>
                <a:lnTo>
                  <a:pt x="8152" y="837"/>
                </a:lnTo>
                <a:lnTo>
                  <a:pt x="8167" y="851"/>
                </a:lnTo>
                <a:lnTo>
                  <a:pt x="8184" y="865"/>
                </a:lnTo>
                <a:lnTo>
                  <a:pt x="8201" y="878"/>
                </a:lnTo>
                <a:lnTo>
                  <a:pt x="8219" y="890"/>
                </a:lnTo>
                <a:lnTo>
                  <a:pt x="8237" y="901"/>
                </a:lnTo>
                <a:lnTo>
                  <a:pt x="8256" y="912"/>
                </a:lnTo>
                <a:lnTo>
                  <a:pt x="8276" y="922"/>
                </a:lnTo>
                <a:lnTo>
                  <a:pt x="8297" y="930"/>
                </a:lnTo>
                <a:lnTo>
                  <a:pt x="8316" y="937"/>
                </a:lnTo>
                <a:lnTo>
                  <a:pt x="8337" y="944"/>
                </a:lnTo>
                <a:lnTo>
                  <a:pt x="8359" y="950"/>
                </a:lnTo>
                <a:lnTo>
                  <a:pt x="8380" y="952"/>
                </a:lnTo>
                <a:lnTo>
                  <a:pt x="8402" y="955"/>
                </a:lnTo>
                <a:lnTo>
                  <a:pt x="8425" y="958"/>
                </a:lnTo>
                <a:lnTo>
                  <a:pt x="8447" y="958"/>
                </a:lnTo>
                <a:lnTo>
                  <a:pt x="8469" y="958"/>
                </a:lnTo>
                <a:lnTo>
                  <a:pt x="8491" y="955"/>
                </a:lnTo>
                <a:lnTo>
                  <a:pt x="8514" y="952"/>
                </a:lnTo>
                <a:lnTo>
                  <a:pt x="8534" y="950"/>
                </a:lnTo>
                <a:lnTo>
                  <a:pt x="8557" y="944"/>
                </a:lnTo>
                <a:lnTo>
                  <a:pt x="8578" y="937"/>
                </a:lnTo>
                <a:lnTo>
                  <a:pt x="8597" y="930"/>
                </a:lnTo>
                <a:lnTo>
                  <a:pt x="8618" y="92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katta Sans Regula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4731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hBIhv6WZhfgzFpMo3Zjw"/>
</p:tagLst>
</file>

<file path=ppt/theme/theme1.xml><?xml version="1.0" encoding="utf-8"?>
<a:theme xmlns:a="http://schemas.openxmlformats.org/drawingml/2006/main" name="K-Rauta Pro">
  <a:themeElements>
    <a:clrScheme name="K-Rauta Pro 2023">
      <a:dk1>
        <a:srgbClr val="000000"/>
      </a:dk1>
      <a:lt1>
        <a:sysClr val="window" lastClr="FFFFFF"/>
      </a:lt1>
      <a:dk2>
        <a:srgbClr val="C1C5C8"/>
      </a:dk2>
      <a:lt2>
        <a:srgbClr val="F2F4F4"/>
      </a:lt2>
      <a:accent1>
        <a:srgbClr val="54585A"/>
      </a:accent1>
      <a:accent2>
        <a:srgbClr val="FF6900"/>
      </a:accent2>
      <a:accent3>
        <a:srgbClr val="878A8C"/>
      </a:accent3>
      <a:accent4>
        <a:srgbClr val="AAACAD"/>
      </a:accent4>
      <a:accent5>
        <a:srgbClr val="C1C5C8"/>
      </a:accent5>
      <a:accent6>
        <a:srgbClr val="76797B"/>
      </a:accent6>
      <a:hlink>
        <a:srgbClr val="FF6900"/>
      </a:hlink>
      <a:folHlink>
        <a:srgbClr val="FF6900"/>
      </a:folHlink>
    </a:clrScheme>
    <a:fontScheme name="KESKO 2022 embed">
      <a:majorFont>
        <a:latin typeface="Skatta Sans Black"/>
        <a:ea typeface=""/>
        <a:cs typeface=""/>
      </a:majorFont>
      <a:minorFont>
        <a:latin typeface="Skatta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 algn="l">
          <a:defRPr sz="1400" dirty="0" err="1" smtClean="0">
            <a:solidFill>
              <a:schemeClr val="accent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k-rauta_pro_sample.potx" id="{94074425-ED7E-4773-A6BD-5D5003B26609}" vid="{DDAC60D7-71C4-4347-9F0D-5D67F4A6FAD4}"/>
    </a:ext>
  </a:extLst>
</a:theme>
</file>

<file path=ppt/theme/theme2.xml><?xml version="1.0" encoding="utf-8"?>
<a:theme xmlns:a="http://schemas.openxmlformats.org/drawingml/2006/main" name="KESKO 2022">
  <a:themeElements>
    <a:clrScheme name="KESKO 2021">
      <a:dk1>
        <a:srgbClr val="000000"/>
      </a:dk1>
      <a:lt1>
        <a:sysClr val="window" lastClr="FFFFFF"/>
      </a:lt1>
      <a:dk2>
        <a:srgbClr val="E6DED5"/>
      </a:dk2>
      <a:lt2>
        <a:srgbClr val="F2F4F4"/>
      </a:lt2>
      <a:accent1>
        <a:srgbClr val="00205B"/>
      </a:accent1>
      <a:accent2>
        <a:srgbClr val="FF6900"/>
      </a:accent2>
      <a:accent3>
        <a:srgbClr val="54585A"/>
      </a:accent3>
      <a:accent4>
        <a:srgbClr val="898D8D"/>
      </a:accent4>
      <a:accent5>
        <a:srgbClr val="9EA2A2"/>
      </a:accent5>
      <a:accent6>
        <a:srgbClr val="8090AD"/>
      </a:accent6>
      <a:hlink>
        <a:srgbClr val="25282A"/>
      </a:hlink>
      <a:folHlink>
        <a:srgbClr val="25282A"/>
      </a:folHlink>
    </a:clrScheme>
    <a:fontScheme name="KESKO 2022 embed">
      <a:majorFont>
        <a:latin typeface="Skatta Sans Black"/>
        <a:ea typeface=""/>
        <a:cs typeface=""/>
      </a:majorFont>
      <a:minorFont>
        <a:latin typeface="Skatta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sz="1400" dirty="0" smtClean="0">
            <a:solidFill>
              <a:schemeClr val="accent3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kesko_2022_sample.potx" id="{90C8DB1A-B5F8-494D-A337-C1A8397E77BF}" vid="{22E17AF6-0FBE-407E-892E-8FBE41EA9E3C}"/>
    </a:ext>
  </a:extLst>
</a:theme>
</file>

<file path=ppt/theme/theme3.xml><?xml version="1.0" encoding="utf-8"?>
<a:theme xmlns:a="http://schemas.openxmlformats.org/drawingml/2006/main" name="1_KESKO 2022">
  <a:themeElements>
    <a:clrScheme name="KESKO 2021">
      <a:dk1>
        <a:srgbClr val="000000"/>
      </a:dk1>
      <a:lt1>
        <a:sysClr val="window" lastClr="FFFFFF"/>
      </a:lt1>
      <a:dk2>
        <a:srgbClr val="E6DED5"/>
      </a:dk2>
      <a:lt2>
        <a:srgbClr val="F2F4F4"/>
      </a:lt2>
      <a:accent1>
        <a:srgbClr val="00205B"/>
      </a:accent1>
      <a:accent2>
        <a:srgbClr val="FF6900"/>
      </a:accent2>
      <a:accent3>
        <a:srgbClr val="54585A"/>
      </a:accent3>
      <a:accent4>
        <a:srgbClr val="898D8D"/>
      </a:accent4>
      <a:accent5>
        <a:srgbClr val="9EA2A2"/>
      </a:accent5>
      <a:accent6>
        <a:srgbClr val="8090AD"/>
      </a:accent6>
      <a:hlink>
        <a:srgbClr val="25282A"/>
      </a:hlink>
      <a:folHlink>
        <a:srgbClr val="25282A"/>
      </a:folHlink>
    </a:clrScheme>
    <a:fontScheme name="KESKO 2022 embed">
      <a:majorFont>
        <a:latin typeface="Skatta Sans Black"/>
        <a:ea typeface=""/>
        <a:cs typeface=""/>
      </a:majorFont>
      <a:minorFont>
        <a:latin typeface="Skatta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sz="1400" dirty="0" smtClean="0">
            <a:solidFill>
              <a:schemeClr val="accent3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kesko_2022_sample.potx" id="{90C8DB1A-B5F8-494D-A337-C1A8397E77BF}" vid="{22E17AF6-0FBE-407E-892E-8FBE41EA9E3C}"/>
    </a:ext>
  </a:extLst>
</a:theme>
</file>

<file path=ppt/theme/theme4.xml><?xml version="1.0" encoding="utf-8"?>
<a:theme xmlns:a="http://schemas.openxmlformats.org/drawingml/2006/main" name="1_K-Rauta Pro">
  <a:themeElements>
    <a:clrScheme name="K-Rauta Pro 2023">
      <a:dk1>
        <a:srgbClr val="000000"/>
      </a:dk1>
      <a:lt1>
        <a:sysClr val="window" lastClr="FFFFFF"/>
      </a:lt1>
      <a:dk2>
        <a:srgbClr val="C1C5C8"/>
      </a:dk2>
      <a:lt2>
        <a:srgbClr val="F2F4F4"/>
      </a:lt2>
      <a:accent1>
        <a:srgbClr val="54585A"/>
      </a:accent1>
      <a:accent2>
        <a:srgbClr val="FF6900"/>
      </a:accent2>
      <a:accent3>
        <a:srgbClr val="878A8C"/>
      </a:accent3>
      <a:accent4>
        <a:srgbClr val="AAACAD"/>
      </a:accent4>
      <a:accent5>
        <a:srgbClr val="C1C5C8"/>
      </a:accent5>
      <a:accent6>
        <a:srgbClr val="76797B"/>
      </a:accent6>
      <a:hlink>
        <a:srgbClr val="FF6900"/>
      </a:hlink>
      <a:folHlink>
        <a:srgbClr val="FF6900"/>
      </a:folHlink>
    </a:clrScheme>
    <a:fontScheme name="KESKO 2022 embed">
      <a:majorFont>
        <a:latin typeface="Skatta Sans Black"/>
        <a:ea typeface=""/>
        <a:cs typeface=""/>
      </a:majorFont>
      <a:minorFont>
        <a:latin typeface="Skatta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 algn="l">
          <a:defRPr sz="1400" dirty="0" err="1" smtClean="0">
            <a:solidFill>
              <a:schemeClr val="accent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k-rauta_pro_sample.potx" id="{94074425-ED7E-4773-A6BD-5D5003B26609}" vid="{DDAC60D7-71C4-4347-9F0D-5D67F4A6FAD4}"/>
    </a:ext>
  </a:extLst>
</a:theme>
</file>

<file path=ppt/theme/theme5.xml><?xml version="1.0" encoding="utf-8"?>
<a:theme xmlns:a="http://schemas.openxmlformats.org/drawingml/2006/main" name="2_K-Rauta Pro">
  <a:themeElements>
    <a:clrScheme name="K-Rauta Pro 2023">
      <a:dk1>
        <a:srgbClr val="000000"/>
      </a:dk1>
      <a:lt1>
        <a:sysClr val="window" lastClr="FFFFFF"/>
      </a:lt1>
      <a:dk2>
        <a:srgbClr val="C1C5C8"/>
      </a:dk2>
      <a:lt2>
        <a:srgbClr val="F2F4F4"/>
      </a:lt2>
      <a:accent1>
        <a:srgbClr val="54585A"/>
      </a:accent1>
      <a:accent2>
        <a:srgbClr val="FF6900"/>
      </a:accent2>
      <a:accent3>
        <a:srgbClr val="878A8C"/>
      </a:accent3>
      <a:accent4>
        <a:srgbClr val="AAACAD"/>
      </a:accent4>
      <a:accent5>
        <a:srgbClr val="C1C5C8"/>
      </a:accent5>
      <a:accent6>
        <a:srgbClr val="76797B"/>
      </a:accent6>
      <a:hlink>
        <a:srgbClr val="FF6900"/>
      </a:hlink>
      <a:folHlink>
        <a:srgbClr val="FF6900"/>
      </a:folHlink>
    </a:clrScheme>
    <a:fontScheme name="KESKO 2022 embed">
      <a:majorFont>
        <a:latin typeface="Skatta Sans Black"/>
        <a:ea typeface=""/>
        <a:cs typeface=""/>
      </a:majorFont>
      <a:minorFont>
        <a:latin typeface="Skatta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 algn="l">
          <a:defRPr sz="1400" dirty="0" err="1" smtClean="0">
            <a:solidFill>
              <a:schemeClr val="accent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k-rauta_pro_sample.potx" id="{94074425-ED7E-4773-A6BD-5D5003B26609}" vid="{DDAC60D7-71C4-4347-9F0D-5D67F4A6FAD4}"/>
    </a:ext>
  </a:extLst>
</a:theme>
</file>

<file path=ppt/theme/theme6.xml><?xml version="1.0" encoding="utf-8"?>
<a:theme xmlns:a="http://schemas.openxmlformats.org/drawingml/2006/main" name="Office Theme">
  <a:themeElements>
    <a:clrScheme name="K-Rauta Pro 2023">
      <a:dk1>
        <a:srgbClr val="000000"/>
      </a:dk1>
      <a:lt1>
        <a:sysClr val="window" lastClr="FFFFFF"/>
      </a:lt1>
      <a:dk2>
        <a:srgbClr val="C1C5C8"/>
      </a:dk2>
      <a:lt2>
        <a:srgbClr val="F2F4F4"/>
      </a:lt2>
      <a:accent1>
        <a:srgbClr val="54585A"/>
      </a:accent1>
      <a:accent2>
        <a:srgbClr val="FF6900"/>
      </a:accent2>
      <a:accent3>
        <a:srgbClr val="878A8C"/>
      </a:accent3>
      <a:accent4>
        <a:srgbClr val="AAACAD"/>
      </a:accent4>
      <a:accent5>
        <a:srgbClr val="C1C5C8"/>
      </a:accent5>
      <a:accent6>
        <a:srgbClr val="76797B"/>
      </a:accent6>
      <a:hlink>
        <a:srgbClr val="FF6900"/>
      </a:hlink>
      <a:folHlink>
        <a:srgbClr val="FF6900"/>
      </a:folHlink>
    </a:clrScheme>
    <a:fontScheme name="KESKO 2022 embed">
      <a:majorFont>
        <a:latin typeface="Skatta Sans Black"/>
        <a:ea typeface=""/>
        <a:cs typeface=""/>
      </a:majorFont>
      <a:minorFont>
        <a:latin typeface="Skatta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K-Rauta Pro 2023">
      <a:dk1>
        <a:srgbClr val="000000"/>
      </a:dk1>
      <a:lt1>
        <a:sysClr val="window" lastClr="FFFFFF"/>
      </a:lt1>
      <a:dk2>
        <a:srgbClr val="C1C5C8"/>
      </a:dk2>
      <a:lt2>
        <a:srgbClr val="F2F4F4"/>
      </a:lt2>
      <a:accent1>
        <a:srgbClr val="54585A"/>
      </a:accent1>
      <a:accent2>
        <a:srgbClr val="FF6900"/>
      </a:accent2>
      <a:accent3>
        <a:srgbClr val="878A8C"/>
      </a:accent3>
      <a:accent4>
        <a:srgbClr val="AAACAD"/>
      </a:accent4>
      <a:accent5>
        <a:srgbClr val="C1C5C8"/>
      </a:accent5>
      <a:accent6>
        <a:srgbClr val="76797B"/>
      </a:accent6>
      <a:hlink>
        <a:srgbClr val="FF6900"/>
      </a:hlink>
      <a:folHlink>
        <a:srgbClr val="FF6900"/>
      </a:folHlink>
    </a:clrScheme>
    <a:fontScheme name="KESKO 2022 embed">
      <a:majorFont>
        <a:latin typeface="Skatta Sans Black"/>
        <a:ea typeface=""/>
        <a:cs typeface=""/>
      </a:majorFont>
      <a:minorFont>
        <a:latin typeface="Skatta Sans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Application xmlns="http://www.sap.com/cof/powerpoint/application">
  <Version>2</Version>
  <Revision>2.8.1400.98665</Revision>
</Application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BC6B2B865F30AE4588B2F3E7BABEFCCE" ma:contentTypeVersion="17" ma:contentTypeDescription="Luo uusi asiakirja." ma:contentTypeScope="" ma:versionID="c2b61db5fb4e0d62315050850a33b70e">
  <xsd:schema xmlns:xsd="http://www.w3.org/2001/XMLSchema" xmlns:xs="http://www.w3.org/2001/XMLSchema" xmlns:p="http://schemas.microsoft.com/office/2006/metadata/properties" xmlns:ns2="c1de6643-f6a4-45ec-aa38-4d7143a523ef" xmlns:ns3="ffbdf9bf-e3e0-4aa8-86ae-96ed03841bfd" targetNamespace="http://schemas.microsoft.com/office/2006/metadata/properties" ma:root="true" ma:fieldsID="fbbafbfb5f12367019de756079d90b98" ns2:_="" ns3:_="">
    <xsd:import namespace="c1de6643-f6a4-45ec-aa38-4d7143a523ef"/>
    <xsd:import namespace="ffbdf9bf-e3e0-4aa8-86ae-96ed03841bf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3:SharedWithUsers" minOccurs="0"/>
                <xsd:element ref="ns3:SharedWithDetail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de6643-f6a4-45ec-aa38-4d7143a523e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0" nillable="true" ma:taxonomy="true" ma:internalName="lcf76f155ced4ddcb4097134ff3c332f" ma:taxonomyFieldName="MediaServiceImageTags" ma:displayName="Kuvien tunnisteet" ma:readOnly="false" ma:fieldId="{5cf76f15-5ced-4ddc-b409-7134ff3c332f}" ma:taxonomyMulti="true" ma:sspId="0993a77c-346a-4936-94a6-9d75931ce83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bdf9bf-e3e0-4aa8-86ae-96ed03841bfd" elementFormDefault="qualified">
    <xsd:import namespace="http://schemas.microsoft.com/office/2006/documentManagement/types"/>
    <xsd:import namespace="http://schemas.microsoft.com/office/infopath/2007/PartnerControls"/>
    <xsd:element name="TaxCatchAll" ma:index="21" nillable="true" ma:displayName="Taxonomy Catch All Column" ma:hidden="true" ma:list="{c3393fd4-35d7-41cc-b5b9-c9004ddbe632}" ma:internalName="TaxCatchAll" ma:showField="CatchAllData" ma:web="ffbdf9bf-e3e0-4aa8-86ae-96ed03841bf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2" nillable="true" ma:displayName="Jaettu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Jakamisen tiedot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2147DF8-F533-4E97-BECE-DCC73DFC3547}">
  <ds:schemaRefs>
    <ds:schemaRef ds:uri="http://www.sap.com/cof/powerpoint/application"/>
  </ds:schemaRefs>
</ds:datastoreItem>
</file>

<file path=customXml/itemProps2.xml><?xml version="1.0" encoding="utf-8"?>
<ds:datastoreItem xmlns:ds="http://schemas.openxmlformats.org/officeDocument/2006/customXml" ds:itemID="{FA953ED2-6B7F-435F-B3A7-1B5A6FD8C78C}"/>
</file>

<file path=customXml/itemProps3.xml><?xml version="1.0" encoding="utf-8"?>
<ds:datastoreItem xmlns:ds="http://schemas.openxmlformats.org/officeDocument/2006/customXml" ds:itemID="{C418036A-E7F2-4287-9F8F-4D9D1962E99E}"/>
</file>

<file path=docProps/app.xml><?xml version="1.0" encoding="utf-8"?>
<Properties xmlns="http://schemas.openxmlformats.org/officeDocument/2006/extended-properties" xmlns:vt="http://schemas.openxmlformats.org/officeDocument/2006/docPropsVTypes">
  <Template>k-rauta_pro_sample</Template>
  <TotalTime>1804</TotalTime>
  <Words>437</Words>
  <Application>Microsoft Office PowerPoint</Application>
  <PresentationFormat>Laajakuva</PresentationFormat>
  <Paragraphs>66</Paragraphs>
  <Slides>7</Slides>
  <Notes>2</Notes>
  <HiddenSlides>0</HiddenSlides>
  <MMClips>0</MMClips>
  <ScaleCrop>false</ScaleCrop>
  <HeadingPairs>
    <vt:vector size="8" baseType="variant">
      <vt:variant>
        <vt:lpstr>Käytetyt fontit</vt:lpstr>
      </vt:variant>
      <vt:variant>
        <vt:i4>5</vt:i4>
      </vt:variant>
      <vt:variant>
        <vt:lpstr>Teema</vt:lpstr>
      </vt:variant>
      <vt:variant>
        <vt:i4>5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7</vt:i4>
      </vt:variant>
    </vt:vector>
  </HeadingPairs>
  <TitlesOfParts>
    <vt:vector size="18" baseType="lpstr">
      <vt:lpstr>Arial</vt:lpstr>
      <vt:lpstr>Skatta Sans Regular</vt:lpstr>
      <vt:lpstr>Skatta Sans Black</vt:lpstr>
      <vt:lpstr>SkattaSans-Medium</vt:lpstr>
      <vt:lpstr>Skatta Sans Bold</vt:lpstr>
      <vt:lpstr>K-Rauta Pro</vt:lpstr>
      <vt:lpstr>KESKO 2022</vt:lpstr>
      <vt:lpstr>1_KESKO 2022</vt:lpstr>
      <vt:lpstr>1_K-Rauta Pro</vt:lpstr>
      <vt:lpstr>2_K-Rauta Pro</vt:lpstr>
      <vt:lpstr>think-cell Slide</vt:lpstr>
      <vt:lpstr>PowerPoint-esitys</vt:lpstr>
      <vt:lpstr>Suomalaisten arvostama, alan luotetuin rautakauppa,  joka palvelee ammattitaitoisesti kaikkialla Suomessa</vt:lpstr>
      <vt:lpstr>Sujuvampien työmaiden puolesta </vt:lpstr>
      <vt:lpstr>PowerPoint-esitys</vt:lpstr>
      <vt:lpstr>PowerPoint-esitys</vt:lpstr>
      <vt:lpstr>  </vt:lpstr>
      <vt:lpstr>Tervetuloa Dekostudiolle!</vt:lpstr>
    </vt:vector>
  </TitlesOfParts>
  <Manager/>
  <Company>grow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ka kontio</dc:creator>
  <dc:description>embed version</dc:description>
  <cp:lastModifiedBy>Pere Olli</cp:lastModifiedBy>
  <cp:revision>17</cp:revision>
  <dcterms:created xsi:type="dcterms:W3CDTF">2023-10-20T09:56:16Z</dcterms:created>
  <dcterms:modified xsi:type="dcterms:W3CDTF">2023-10-31T12:54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914aa28-8067-4004-849a-93ab903c078e_Enabled">
    <vt:lpwstr>true</vt:lpwstr>
  </property>
  <property fmtid="{D5CDD505-2E9C-101B-9397-08002B2CF9AE}" pid="3" name="MSIP_Label_f914aa28-8067-4004-849a-93ab903c078e_SetDate">
    <vt:lpwstr>2023-10-24T12:13:43Z</vt:lpwstr>
  </property>
  <property fmtid="{D5CDD505-2E9C-101B-9397-08002B2CF9AE}" pid="4" name="MSIP_Label_f914aa28-8067-4004-849a-93ab903c078e_Method">
    <vt:lpwstr>Standard</vt:lpwstr>
  </property>
  <property fmtid="{D5CDD505-2E9C-101B-9397-08002B2CF9AE}" pid="5" name="MSIP_Label_f914aa28-8067-4004-849a-93ab903c078e_Name">
    <vt:lpwstr>f914aa28-8067-4004-849a-93ab903c078e</vt:lpwstr>
  </property>
  <property fmtid="{D5CDD505-2E9C-101B-9397-08002B2CF9AE}" pid="6" name="MSIP_Label_f914aa28-8067-4004-849a-93ab903c078e_SiteId">
    <vt:lpwstr>ae6e7baa-e1bf-4ef0-92a1-4eb28ec805c0</vt:lpwstr>
  </property>
  <property fmtid="{D5CDD505-2E9C-101B-9397-08002B2CF9AE}" pid="7" name="MSIP_Label_f914aa28-8067-4004-849a-93ab903c078e_ActionId">
    <vt:lpwstr>bbd7ce2e-5b13-4753-9f8f-37483d3edcde</vt:lpwstr>
  </property>
  <property fmtid="{D5CDD505-2E9C-101B-9397-08002B2CF9AE}" pid="8" name="MSIP_Label_f914aa28-8067-4004-849a-93ab903c078e_ContentBits">
    <vt:lpwstr>0</vt:lpwstr>
  </property>
</Properties>
</file>